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51"/>
  </p:notesMasterIdLst>
  <p:handoutMasterIdLst>
    <p:handoutMasterId r:id="rId52"/>
  </p:handoutMasterIdLst>
  <p:sldIdLst>
    <p:sldId id="2145706646" r:id="rId5"/>
    <p:sldId id="2145706650" r:id="rId6"/>
    <p:sldId id="2145706651" r:id="rId7"/>
    <p:sldId id="2145706652" r:id="rId8"/>
    <p:sldId id="2145706654" r:id="rId9"/>
    <p:sldId id="2145706660" r:id="rId10"/>
    <p:sldId id="2145706656" r:id="rId11"/>
    <p:sldId id="2145706655" r:id="rId12"/>
    <p:sldId id="2145706659" r:id="rId13"/>
    <p:sldId id="2145706657" r:id="rId14"/>
    <p:sldId id="2145706658" r:id="rId15"/>
    <p:sldId id="2145706661" r:id="rId16"/>
    <p:sldId id="2145706693" r:id="rId17"/>
    <p:sldId id="2145706688" r:id="rId18"/>
    <p:sldId id="2145706664" r:id="rId19"/>
    <p:sldId id="2145706663" r:id="rId20"/>
    <p:sldId id="2145706674" r:id="rId21"/>
    <p:sldId id="2145706665" r:id="rId22"/>
    <p:sldId id="2145706666" r:id="rId23"/>
    <p:sldId id="2145706667" r:id="rId24"/>
    <p:sldId id="2145706668" r:id="rId25"/>
    <p:sldId id="2145706669" r:id="rId26"/>
    <p:sldId id="2145706670" r:id="rId27"/>
    <p:sldId id="2145706677" r:id="rId28"/>
    <p:sldId id="2145706678" r:id="rId29"/>
    <p:sldId id="2145706675" r:id="rId30"/>
    <p:sldId id="2145706683" r:id="rId31"/>
    <p:sldId id="2145706686" r:id="rId32"/>
    <p:sldId id="2145706681" r:id="rId33"/>
    <p:sldId id="2145706685" r:id="rId34"/>
    <p:sldId id="2145706687" r:id="rId35"/>
    <p:sldId id="2145706689" r:id="rId36"/>
    <p:sldId id="2145706690" r:id="rId37"/>
    <p:sldId id="2145706691" r:id="rId38"/>
    <p:sldId id="2145706680" r:id="rId39"/>
    <p:sldId id="2145706676" r:id="rId40"/>
    <p:sldId id="2145706679" r:id="rId41"/>
    <p:sldId id="2145706682" r:id="rId42"/>
    <p:sldId id="1027" r:id="rId43"/>
    <p:sldId id="2145706649" r:id="rId44"/>
    <p:sldId id="2145706636" r:id="rId45"/>
    <p:sldId id="2145706638" r:id="rId46"/>
    <p:sldId id="2145706637" r:id="rId47"/>
    <p:sldId id="269" r:id="rId48"/>
    <p:sldId id="1773" r:id="rId49"/>
    <p:sldId id="1772" r:id="rId50"/>
  </p:sldIdLst>
  <p:sldSz cx="12192000" cy="6858000"/>
  <p:notesSz cx="6797675" cy="9926638"/>
  <p:embeddedFontLst>
    <p:embeddedFont>
      <p:font typeface="Ubuntu" panose="020B0604020202020204" charset="0"/>
      <p:regular r:id="rId53"/>
      <p:bold r:id="rId54"/>
      <p:italic r:id="rId55"/>
      <p:boldItalic r:id="rId56"/>
    </p:embeddedFont>
    <p:embeddedFont>
      <p:font typeface="Ubuntu Light" panose="020B0604030602030204" charset="0"/>
      <p:regular r:id="rId57"/>
      <p:italic r:id="rId58"/>
    </p:embeddedFont>
    <p:embeddedFont>
      <p:font typeface="Verdana" panose="020B0604030504040204" pitchFamily="34" charset="0"/>
      <p:regular r:id="rId59"/>
      <p:bold r:id="rId60"/>
      <p:italic r:id="rId61"/>
      <p:boldItalic r:id="rId62"/>
    </p:embeddedFont>
  </p:embeddedFontLst>
  <p:custDataLst>
    <p:tags r:id="rId6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4596B"/>
    <a:srgbClr val="616585"/>
    <a:srgbClr val="F6F6F6"/>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5A1AA1-1855-4064-9EB2-CD5361C30D88}" v="180" dt="2024-09-19T07:52:59.8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886"/>
        <p:guide pos="5609"/>
        <p:guide pos="2071"/>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font" Target="fonts/font9.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4.fntdata"/><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7.fntdata"/><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2.fntdata"/><Relationship Id="rId62" Type="http://schemas.openxmlformats.org/officeDocument/2006/relationships/font" Target="fonts/font10.fntdata"/><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5.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 Id="rId60" Type="http://schemas.openxmlformats.org/officeDocument/2006/relationships/font" Target="fonts/font8.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3.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NONO, Nathan" userId="99f38b78-d58b-43dc-971c-441766c63fc4" providerId="ADAL" clId="{645A1AA1-1855-4064-9EB2-CD5361C30D88}"/>
    <pc:docChg chg="undo redo custSel addSld delSld modSld sldOrd">
      <pc:chgData name="WANONO, Nathan" userId="99f38b78-d58b-43dc-971c-441766c63fc4" providerId="ADAL" clId="{645A1AA1-1855-4064-9EB2-CD5361C30D88}" dt="2024-09-19T07:52:59.875" v="25055"/>
      <pc:docMkLst>
        <pc:docMk/>
      </pc:docMkLst>
      <pc:sldChg chg="ord">
        <pc:chgData name="WANONO, Nathan" userId="99f38b78-d58b-43dc-971c-441766c63fc4" providerId="ADAL" clId="{645A1AA1-1855-4064-9EB2-CD5361C30D88}" dt="2024-09-10T12:30:08.370" v="4637"/>
        <pc:sldMkLst>
          <pc:docMk/>
          <pc:sldMk cId="1044416223" sldId="1027"/>
        </pc:sldMkLst>
      </pc:sldChg>
      <pc:sldChg chg="addSp delSp modSp mod">
        <pc:chgData name="WANONO, Nathan" userId="99f38b78-d58b-43dc-971c-441766c63fc4" providerId="ADAL" clId="{645A1AA1-1855-4064-9EB2-CD5361C30D88}" dt="2024-09-10T11:26:27.135" v="3806" actId="18131"/>
        <pc:sldMkLst>
          <pc:docMk/>
          <pc:sldMk cId="4043674719" sldId="2145706646"/>
        </pc:sldMkLst>
        <pc:spChg chg="add">
          <ac:chgData name="WANONO, Nathan" userId="99f38b78-d58b-43dc-971c-441766c63fc4" providerId="ADAL" clId="{645A1AA1-1855-4064-9EB2-CD5361C30D88}" dt="2024-09-10T11:25:30.345" v="3797"/>
          <ac:spMkLst>
            <pc:docMk/>
            <pc:sldMk cId="4043674719" sldId="2145706646"/>
            <ac:spMk id="2" creationId="{B1E1B8A4-8D52-5EC5-E14D-F3CE3FA8A910}"/>
          </ac:spMkLst>
        </pc:spChg>
        <pc:spChg chg="add del mod">
          <ac:chgData name="WANONO, Nathan" userId="99f38b78-d58b-43dc-971c-441766c63fc4" providerId="ADAL" clId="{645A1AA1-1855-4064-9EB2-CD5361C30D88}" dt="2024-09-10T11:25:45.020" v="3801"/>
          <ac:spMkLst>
            <pc:docMk/>
            <pc:sldMk cId="4043674719" sldId="2145706646"/>
            <ac:spMk id="10" creationId="{84B25CCF-8567-210B-9D34-968599124B9F}"/>
          </ac:spMkLst>
        </pc:spChg>
        <pc:picChg chg="add del mod">
          <ac:chgData name="WANONO, Nathan" userId="99f38b78-d58b-43dc-971c-441766c63fc4" providerId="ADAL" clId="{645A1AA1-1855-4064-9EB2-CD5361C30D88}" dt="2024-09-10T11:25:46.127" v="3802" actId="478"/>
          <ac:picMkLst>
            <pc:docMk/>
            <pc:sldMk cId="4043674719" sldId="2145706646"/>
            <ac:picMk id="3" creationId="{E46EC267-E399-8A8D-3FF3-BF9D15A91446}"/>
          </ac:picMkLst>
        </pc:picChg>
        <pc:picChg chg="ord">
          <ac:chgData name="WANONO, Nathan" userId="99f38b78-d58b-43dc-971c-441766c63fc4" providerId="ADAL" clId="{645A1AA1-1855-4064-9EB2-CD5361C30D88}" dt="2024-09-10T11:26:11.584" v="3805" actId="166"/>
          <ac:picMkLst>
            <pc:docMk/>
            <pc:sldMk cId="4043674719" sldId="2145706646"/>
            <ac:picMk id="7" creationId="{9AB398E5-0640-DCAA-A791-2D7104B71006}"/>
          </ac:picMkLst>
        </pc:picChg>
        <pc:picChg chg="del mod modCrop">
          <ac:chgData name="WANONO, Nathan" userId="99f38b78-d58b-43dc-971c-441766c63fc4" providerId="ADAL" clId="{645A1AA1-1855-4064-9EB2-CD5361C30D88}" dt="2024-09-10T11:25:37.369" v="3799" actId="478"/>
          <ac:picMkLst>
            <pc:docMk/>
            <pc:sldMk cId="4043674719" sldId="2145706646"/>
            <ac:picMk id="8" creationId="{192BF0A1-A789-A72A-F35D-9E3AFE3DA1C4}"/>
          </ac:picMkLst>
        </pc:picChg>
        <pc:picChg chg="add mod modCrop">
          <ac:chgData name="WANONO, Nathan" userId="99f38b78-d58b-43dc-971c-441766c63fc4" providerId="ADAL" clId="{645A1AA1-1855-4064-9EB2-CD5361C30D88}" dt="2024-09-10T11:26:27.135" v="3806" actId="18131"/>
          <ac:picMkLst>
            <pc:docMk/>
            <pc:sldMk cId="4043674719" sldId="2145706646"/>
            <ac:picMk id="11" creationId="{F8926922-D33B-071B-599A-F36CB8AED4D3}"/>
          </ac:picMkLst>
        </pc:picChg>
      </pc:sldChg>
      <pc:sldChg chg="addSp modSp mod">
        <pc:chgData name="WANONO, Nathan" userId="99f38b78-d58b-43dc-971c-441766c63fc4" providerId="ADAL" clId="{645A1AA1-1855-4064-9EB2-CD5361C30D88}" dt="2024-09-17T11:47:40.921" v="19861" actId="1035"/>
        <pc:sldMkLst>
          <pc:docMk/>
          <pc:sldMk cId="2018589469" sldId="2145706650"/>
        </pc:sldMkLst>
        <pc:spChg chg="add mod">
          <ac:chgData name="WANONO, Nathan" userId="99f38b78-d58b-43dc-971c-441766c63fc4" providerId="ADAL" clId="{645A1AA1-1855-4064-9EB2-CD5361C30D88}" dt="2024-09-17T11:47:40.921" v="19861" actId="1035"/>
          <ac:spMkLst>
            <pc:docMk/>
            <pc:sldMk cId="2018589469" sldId="2145706650"/>
            <ac:spMk id="2" creationId="{4B1C660C-046D-A32B-FDA5-10D133D35551}"/>
          </ac:spMkLst>
        </pc:spChg>
        <pc:spChg chg="add mod">
          <ac:chgData name="WANONO, Nathan" userId="99f38b78-d58b-43dc-971c-441766c63fc4" providerId="ADAL" clId="{645A1AA1-1855-4064-9EB2-CD5361C30D88}" dt="2024-09-17T11:47:40.921" v="19861" actId="1035"/>
          <ac:spMkLst>
            <pc:docMk/>
            <pc:sldMk cId="2018589469" sldId="2145706650"/>
            <ac:spMk id="3" creationId="{625239CC-6212-0598-F30D-54AEC962225A}"/>
          </ac:spMkLst>
        </pc:spChg>
        <pc:spChg chg="add mod">
          <ac:chgData name="WANONO, Nathan" userId="99f38b78-d58b-43dc-971c-441766c63fc4" providerId="ADAL" clId="{645A1AA1-1855-4064-9EB2-CD5361C30D88}" dt="2024-09-17T11:47:40.921" v="19861" actId="1035"/>
          <ac:spMkLst>
            <pc:docMk/>
            <pc:sldMk cId="2018589469" sldId="2145706650"/>
            <ac:spMk id="4" creationId="{2F715D4B-BC4F-B5BC-9EA4-917CE7DC0971}"/>
          </ac:spMkLst>
        </pc:spChg>
        <pc:spChg chg="add mod">
          <ac:chgData name="WANONO, Nathan" userId="99f38b78-d58b-43dc-971c-441766c63fc4" providerId="ADAL" clId="{645A1AA1-1855-4064-9EB2-CD5361C30D88}" dt="2024-09-17T11:47:40.921" v="19861" actId="1035"/>
          <ac:spMkLst>
            <pc:docMk/>
            <pc:sldMk cId="2018589469" sldId="2145706650"/>
            <ac:spMk id="5" creationId="{9581F256-1F5E-3D66-BA9C-9294E241CBC5}"/>
          </ac:spMkLst>
        </pc:spChg>
        <pc:spChg chg="mod">
          <ac:chgData name="WANONO, Nathan" userId="99f38b78-d58b-43dc-971c-441766c63fc4" providerId="ADAL" clId="{645A1AA1-1855-4064-9EB2-CD5361C30D88}" dt="2024-09-17T11:47:40.921" v="19861" actId="1035"/>
          <ac:spMkLst>
            <pc:docMk/>
            <pc:sldMk cId="2018589469" sldId="2145706650"/>
            <ac:spMk id="7" creationId="{A9ACB6C4-D529-CFD9-2B4E-2279BE7A6F2D}"/>
          </ac:spMkLst>
        </pc:spChg>
        <pc:spChg chg="mod">
          <ac:chgData name="WANONO, Nathan" userId="99f38b78-d58b-43dc-971c-441766c63fc4" providerId="ADAL" clId="{645A1AA1-1855-4064-9EB2-CD5361C30D88}" dt="2024-09-17T11:47:40.921" v="19861" actId="1035"/>
          <ac:spMkLst>
            <pc:docMk/>
            <pc:sldMk cId="2018589469" sldId="2145706650"/>
            <ac:spMk id="8" creationId="{63CEE730-E95C-4C74-9C56-C8E08E796A26}"/>
          </ac:spMkLst>
        </pc:spChg>
        <pc:spChg chg="mod">
          <ac:chgData name="WANONO, Nathan" userId="99f38b78-d58b-43dc-971c-441766c63fc4" providerId="ADAL" clId="{645A1AA1-1855-4064-9EB2-CD5361C30D88}" dt="2024-09-17T11:47:40.921" v="19861" actId="1035"/>
          <ac:spMkLst>
            <pc:docMk/>
            <pc:sldMk cId="2018589469" sldId="2145706650"/>
            <ac:spMk id="9" creationId="{79267479-9272-48BE-3B29-7FCE03D349C8}"/>
          </ac:spMkLst>
        </pc:spChg>
        <pc:spChg chg="mod">
          <ac:chgData name="WANONO, Nathan" userId="99f38b78-d58b-43dc-971c-441766c63fc4" providerId="ADAL" clId="{645A1AA1-1855-4064-9EB2-CD5361C30D88}" dt="2024-09-17T11:47:40.921" v="19861" actId="1035"/>
          <ac:spMkLst>
            <pc:docMk/>
            <pc:sldMk cId="2018589469" sldId="2145706650"/>
            <ac:spMk id="10" creationId="{EC3D582E-C79C-00DA-5428-930389788197}"/>
          </ac:spMkLst>
        </pc:spChg>
        <pc:spChg chg="mod">
          <ac:chgData name="WANONO, Nathan" userId="99f38b78-d58b-43dc-971c-441766c63fc4" providerId="ADAL" clId="{645A1AA1-1855-4064-9EB2-CD5361C30D88}" dt="2024-09-17T11:47:40.921" v="19861" actId="1035"/>
          <ac:spMkLst>
            <pc:docMk/>
            <pc:sldMk cId="2018589469" sldId="2145706650"/>
            <ac:spMk id="11" creationId="{A7BAFDC0-576C-9EE6-360C-4FC83B69EF96}"/>
          </ac:spMkLst>
        </pc:spChg>
        <pc:spChg chg="mod">
          <ac:chgData name="WANONO, Nathan" userId="99f38b78-d58b-43dc-971c-441766c63fc4" providerId="ADAL" clId="{645A1AA1-1855-4064-9EB2-CD5361C30D88}" dt="2024-09-17T11:47:40.921" v="19861" actId="1035"/>
          <ac:spMkLst>
            <pc:docMk/>
            <pc:sldMk cId="2018589469" sldId="2145706650"/>
            <ac:spMk id="12" creationId="{F0FF664F-A6AA-B05B-F3BD-52042902CBBF}"/>
          </ac:spMkLst>
        </pc:spChg>
        <pc:spChg chg="mod">
          <ac:chgData name="WANONO, Nathan" userId="99f38b78-d58b-43dc-971c-441766c63fc4" providerId="ADAL" clId="{645A1AA1-1855-4064-9EB2-CD5361C30D88}" dt="2024-09-17T11:47:40.921" v="19861" actId="1035"/>
          <ac:spMkLst>
            <pc:docMk/>
            <pc:sldMk cId="2018589469" sldId="2145706650"/>
            <ac:spMk id="13" creationId="{A98EB30F-A963-E899-80F3-305EB1B4946A}"/>
          </ac:spMkLst>
        </pc:spChg>
        <pc:spChg chg="mod">
          <ac:chgData name="WANONO, Nathan" userId="99f38b78-d58b-43dc-971c-441766c63fc4" providerId="ADAL" clId="{645A1AA1-1855-4064-9EB2-CD5361C30D88}" dt="2024-09-17T11:47:40.921" v="19861" actId="1035"/>
          <ac:spMkLst>
            <pc:docMk/>
            <pc:sldMk cId="2018589469" sldId="2145706650"/>
            <ac:spMk id="14" creationId="{2D320CD5-465D-25B7-92EF-9DFEA369A049}"/>
          </ac:spMkLst>
        </pc:spChg>
        <pc:spChg chg="mod">
          <ac:chgData name="WANONO, Nathan" userId="99f38b78-d58b-43dc-971c-441766c63fc4" providerId="ADAL" clId="{645A1AA1-1855-4064-9EB2-CD5361C30D88}" dt="2024-09-17T11:47:40.921" v="19861" actId="1035"/>
          <ac:spMkLst>
            <pc:docMk/>
            <pc:sldMk cId="2018589469" sldId="2145706650"/>
            <ac:spMk id="15" creationId="{16B6FFC7-95F8-7381-244F-F261603F3946}"/>
          </ac:spMkLst>
        </pc:spChg>
        <pc:spChg chg="mod">
          <ac:chgData name="WANONO, Nathan" userId="99f38b78-d58b-43dc-971c-441766c63fc4" providerId="ADAL" clId="{645A1AA1-1855-4064-9EB2-CD5361C30D88}" dt="2024-09-17T11:47:40.921" v="19861" actId="1035"/>
          <ac:spMkLst>
            <pc:docMk/>
            <pc:sldMk cId="2018589469" sldId="2145706650"/>
            <ac:spMk id="16" creationId="{B1F993C6-02C6-8EFD-5E06-4EE160FE2742}"/>
          </ac:spMkLst>
        </pc:spChg>
        <pc:spChg chg="mod">
          <ac:chgData name="WANONO, Nathan" userId="99f38b78-d58b-43dc-971c-441766c63fc4" providerId="ADAL" clId="{645A1AA1-1855-4064-9EB2-CD5361C30D88}" dt="2024-09-17T11:47:40.921" v="19861" actId="1035"/>
          <ac:spMkLst>
            <pc:docMk/>
            <pc:sldMk cId="2018589469" sldId="2145706650"/>
            <ac:spMk id="17" creationId="{CC7B2E1A-4804-D5F8-C7BA-282DA04456AA}"/>
          </ac:spMkLst>
        </pc:spChg>
        <pc:spChg chg="mod">
          <ac:chgData name="WANONO, Nathan" userId="99f38b78-d58b-43dc-971c-441766c63fc4" providerId="ADAL" clId="{645A1AA1-1855-4064-9EB2-CD5361C30D88}" dt="2024-09-17T11:47:40.921" v="19861" actId="1035"/>
          <ac:spMkLst>
            <pc:docMk/>
            <pc:sldMk cId="2018589469" sldId="2145706650"/>
            <ac:spMk id="18" creationId="{906B1491-E78F-1308-BCBD-E3B7F79E7CE3}"/>
          </ac:spMkLst>
        </pc:spChg>
      </pc:sldChg>
      <pc:sldChg chg="addSp delSp modSp new mod modClrScheme chgLayout">
        <pc:chgData name="WANONO, Nathan" userId="99f38b78-d58b-43dc-971c-441766c63fc4" providerId="ADAL" clId="{645A1AA1-1855-4064-9EB2-CD5361C30D88}" dt="2024-09-10T08:10:20.105" v="2"/>
        <pc:sldMkLst>
          <pc:docMk/>
          <pc:sldMk cId="3407994388" sldId="2145706651"/>
        </pc:sldMkLst>
        <pc:spChg chg="del mod ord">
          <ac:chgData name="WANONO, Nathan" userId="99f38b78-d58b-43dc-971c-441766c63fc4" providerId="ADAL" clId="{645A1AA1-1855-4064-9EB2-CD5361C30D88}" dt="2024-09-10T08:10:15.605" v="1" actId="700"/>
          <ac:spMkLst>
            <pc:docMk/>
            <pc:sldMk cId="3407994388" sldId="2145706651"/>
            <ac:spMk id="2" creationId="{63E81979-D918-A3F6-6CD1-FA16C0A57219}"/>
          </ac:spMkLst>
        </pc:spChg>
        <pc:spChg chg="del">
          <ac:chgData name="WANONO, Nathan" userId="99f38b78-d58b-43dc-971c-441766c63fc4" providerId="ADAL" clId="{645A1AA1-1855-4064-9EB2-CD5361C30D88}" dt="2024-09-10T08:10:15.605" v="1" actId="700"/>
          <ac:spMkLst>
            <pc:docMk/>
            <pc:sldMk cId="3407994388" sldId="2145706651"/>
            <ac:spMk id="3" creationId="{E5FF86F0-FCEB-CE2E-8445-8F223D4E12EA}"/>
          </ac:spMkLst>
        </pc:spChg>
        <pc:spChg chg="del">
          <ac:chgData name="WANONO, Nathan" userId="99f38b78-d58b-43dc-971c-441766c63fc4" providerId="ADAL" clId="{645A1AA1-1855-4064-9EB2-CD5361C30D88}" dt="2024-09-10T08:10:15.605" v="1" actId="700"/>
          <ac:spMkLst>
            <pc:docMk/>
            <pc:sldMk cId="3407994388" sldId="2145706651"/>
            <ac:spMk id="4" creationId="{F612F259-69E1-ABF1-84DA-A1C291C9E658}"/>
          </ac:spMkLst>
        </pc:spChg>
        <pc:spChg chg="del">
          <ac:chgData name="WANONO, Nathan" userId="99f38b78-d58b-43dc-971c-441766c63fc4" providerId="ADAL" clId="{645A1AA1-1855-4064-9EB2-CD5361C30D88}" dt="2024-09-10T08:10:15.605" v="1" actId="700"/>
          <ac:spMkLst>
            <pc:docMk/>
            <pc:sldMk cId="3407994388" sldId="2145706651"/>
            <ac:spMk id="5" creationId="{4C97BA4E-6A70-8354-4FCA-5C00B9F8ADC9}"/>
          </ac:spMkLst>
        </pc:spChg>
        <pc:spChg chg="del">
          <ac:chgData name="WANONO, Nathan" userId="99f38b78-d58b-43dc-971c-441766c63fc4" providerId="ADAL" clId="{645A1AA1-1855-4064-9EB2-CD5361C30D88}" dt="2024-09-10T08:10:15.605" v="1" actId="700"/>
          <ac:spMkLst>
            <pc:docMk/>
            <pc:sldMk cId="3407994388" sldId="2145706651"/>
            <ac:spMk id="6" creationId="{5B6CFF1F-129C-8067-B7C7-D24C3055734E}"/>
          </ac:spMkLst>
        </pc:spChg>
        <pc:spChg chg="del">
          <ac:chgData name="WANONO, Nathan" userId="99f38b78-d58b-43dc-971c-441766c63fc4" providerId="ADAL" clId="{645A1AA1-1855-4064-9EB2-CD5361C30D88}" dt="2024-09-10T08:10:15.605" v="1" actId="700"/>
          <ac:spMkLst>
            <pc:docMk/>
            <pc:sldMk cId="3407994388" sldId="2145706651"/>
            <ac:spMk id="7" creationId="{5A96C5EF-492C-E53D-5DC3-86813A7C4ABB}"/>
          </ac:spMkLst>
        </pc:spChg>
        <pc:spChg chg="del">
          <ac:chgData name="WANONO, Nathan" userId="99f38b78-d58b-43dc-971c-441766c63fc4" providerId="ADAL" clId="{645A1AA1-1855-4064-9EB2-CD5361C30D88}" dt="2024-09-10T08:10:15.605" v="1" actId="700"/>
          <ac:spMkLst>
            <pc:docMk/>
            <pc:sldMk cId="3407994388" sldId="2145706651"/>
            <ac:spMk id="8" creationId="{20D5E11A-3C64-26BC-7886-04BF92E3E292}"/>
          </ac:spMkLst>
        </pc:spChg>
        <pc:spChg chg="del">
          <ac:chgData name="WANONO, Nathan" userId="99f38b78-d58b-43dc-971c-441766c63fc4" providerId="ADAL" clId="{645A1AA1-1855-4064-9EB2-CD5361C30D88}" dt="2024-09-10T08:10:15.605" v="1" actId="700"/>
          <ac:spMkLst>
            <pc:docMk/>
            <pc:sldMk cId="3407994388" sldId="2145706651"/>
            <ac:spMk id="9" creationId="{F1DC6CAE-8AAF-9809-8FC3-66C2C6A68144}"/>
          </ac:spMkLst>
        </pc:spChg>
        <pc:spChg chg="del">
          <ac:chgData name="WANONO, Nathan" userId="99f38b78-d58b-43dc-971c-441766c63fc4" providerId="ADAL" clId="{645A1AA1-1855-4064-9EB2-CD5361C30D88}" dt="2024-09-10T08:10:15.605" v="1" actId="700"/>
          <ac:spMkLst>
            <pc:docMk/>
            <pc:sldMk cId="3407994388" sldId="2145706651"/>
            <ac:spMk id="10" creationId="{0F8DF606-30CC-BC7E-CDCA-83136ABD7156}"/>
          </ac:spMkLst>
        </pc:spChg>
        <pc:spChg chg="del">
          <ac:chgData name="WANONO, Nathan" userId="99f38b78-d58b-43dc-971c-441766c63fc4" providerId="ADAL" clId="{645A1AA1-1855-4064-9EB2-CD5361C30D88}" dt="2024-09-10T08:10:15.605" v="1" actId="700"/>
          <ac:spMkLst>
            <pc:docMk/>
            <pc:sldMk cId="3407994388" sldId="2145706651"/>
            <ac:spMk id="11" creationId="{0AF10F50-5F81-61B3-46AD-10534519C369}"/>
          </ac:spMkLst>
        </pc:spChg>
        <pc:spChg chg="del">
          <ac:chgData name="WANONO, Nathan" userId="99f38b78-d58b-43dc-971c-441766c63fc4" providerId="ADAL" clId="{645A1AA1-1855-4064-9EB2-CD5361C30D88}" dt="2024-09-10T08:10:15.605" v="1" actId="700"/>
          <ac:spMkLst>
            <pc:docMk/>
            <pc:sldMk cId="3407994388" sldId="2145706651"/>
            <ac:spMk id="12" creationId="{9E591094-489D-FC5A-68EB-D69EDE2262C8}"/>
          </ac:spMkLst>
        </pc:spChg>
        <pc:spChg chg="del">
          <ac:chgData name="WANONO, Nathan" userId="99f38b78-d58b-43dc-971c-441766c63fc4" providerId="ADAL" clId="{645A1AA1-1855-4064-9EB2-CD5361C30D88}" dt="2024-09-10T08:10:15.605" v="1" actId="700"/>
          <ac:spMkLst>
            <pc:docMk/>
            <pc:sldMk cId="3407994388" sldId="2145706651"/>
            <ac:spMk id="13" creationId="{143E7B86-0844-41E8-66DB-A0D0D27A8B5B}"/>
          </ac:spMkLst>
        </pc:spChg>
        <pc:spChg chg="del">
          <ac:chgData name="WANONO, Nathan" userId="99f38b78-d58b-43dc-971c-441766c63fc4" providerId="ADAL" clId="{645A1AA1-1855-4064-9EB2-CD5361C30D88}" dt="2024-09-10T08:10:15.605" v="1" actId="700"/>
          <ac:spMkLst>
            <pc:docMk/>
            <pc:sldMk cId="3407994388" sldId="2145706651"/>
            <ac:spMk id="14" creationId="{15B82560-DC55-0052-C101-F2633D4A9F1A}"/>
          </ac:spMkLst>
        </pc:spChg>
        <pc:spChg chg="add mod ord">
          <ac:chgData name="WANONO, Nathan" userId="99f38b78-d58b-43dc-971c-441766c63fc4" providerId="ADAL" clId="{645A1AA1-1855-4064-9EB2-CD5361C30D88}" dt="2024-09-10T08:10:20.105" v="2"/>
          <ac:spMkLst>
            <pc:docMk/>
            <pc:sldMk cId="3407994388" sldId="2145706651"/>
            <ac:spMk id="15" creationId="{8D532E29-48E6-4DAB-AA82-2A90F9990E15}"/>
          </ac:spMkLst>
        </pc:spChg>
      </pc:sldChg>
      <pc:sldChg chg="addSp delSp modSp new mod modClrScheme chgLayout">
        <pc:chgData name="WANONO, Nathan" userId="99f38b78-d58b-43dc-971c-441766c63fc4" providerId="ADAL" clId="{645A1AA1-1855-4064-9EB2-CD5361C30D88}" dt="2024-09-18T10:32:03.637" v="24603" actId="207"/>
        <pc:sldMkLst>
          <pc:docMk/>
          <pc:sldMk cId="2409670067" sldId="2145706652"/>
        </pc:sldMkLst>
        <pc:spChg chg="del mod ord">
          <ac:chgData name="WANONO, Nathan" userId="99f38b78-d58b-43dc-971c-441766c63fc4" providerId="ADAL" clId="{645A1AA1-1855-4064-9EB2-CD5361C30D88}" dt="2024-09-10T08:10:32.878" v="4" actId="700"/>
          <ac:spMkLst>
            <pc:docMk/>
            <pc:sldMk cId="2409670067" sldId="2145706652"/>
            <ac:spMk id="2" creationId="{F76830F7-2C2B-A620-056A-5A2292DEA653}"/>
          </ac:spMkLst>
        </pc:spChg>
        <pc:spChg chg="add mod ord">
          <ac:chgData name="WANONO, Nathan" userId="99f38b78-d58b-43dc-971c-441766c63fc4" providerId="ADAL" clId="{645A1AA1-1855-4064-9EB2-CD5361C30D88}" dt="2024-09-10T08:50:21.846" v="1428" actId="20577"/>
          <ac:spMkLst>
            <pc:docMk/>
            <pc:sldMk cId="2409670067" sldId="2145706652"/>
            <ac:spMk id="3" creationId="{F1261247-D114-B15E-D6B0-FD5D1DC5DAEA}"/>
          </ac:spMkLst>
        </pc:spChg>
        <pc:spChg chg="add del mod ord">
          <ac:chgData name="WANONO, Nathan" userId="99f38b78-d58b-43dc-971c-441766c63fc4" providerId="ADAL" clId="{645A1AA1-1855-4064-9EB2-CD5361C30D88}" dt="2024-09-10T08:10:54.550" v="5" actId="478"/>
          <ac:spMkLst>
            <pc:docMk/>
            <pc:sldMk cId="2409670067" sldId="2145706652"/>
            <ac:spMk id="4" creationId="{621D1A3D-119C-5EA0-558A-22EA8CBC7AC8}"/>
          </ac:spMkLst>
        </pc:spChg>
        <pc:spChg chg="add del mod ord">
          <ac:chgData name="WANONO, Nathan" userId="99f38b78-d58b-43dc-971c-441766c63fc4" providerId="ADAL" clId="{645A1AA1-1855-4064-9EB2-CD5361C30D88}" dt="2024-09-18T10:32:03.637" v="24603" actId="207"/>
          <ac:spMkLst>
            <pc:docMk/>
            <pc:sldMk cId="2409670067" sldId="2145706652"/>
            <ac:spMk id="5" creationId="{3AA7F2A3-B0C0-D68A-CA8D-C23BFCFC8367}"/>
          </ac:spMkLst>
        </pc:spChg>
        <pc:spChg chg="mod">
          <ac:chgData name="WANONO, Nathan" userId="99f38b78-d58b-43dc-971c-441766c63fc4" providerId="ADAL" clId="{645A1AA1-1855-4064-9EB2-CD5361C30D88}" dt="2024-09-10T08:24:57.848" v="927"/>
          <ac:spMkLst>
            <pc:docMk/>
            <pc:sldMk cId="2409670067" sldId="2145706652"/>
            <ac:spMk id="7" creationId="{929C82F8-E96B-A9A7-27FC-6068D6F2A13C}"/>
          </ac:spMkLst>
        </pc:spChg>
        <pc:spChg chg="mod">
          <ac:chgData name="WANONO, Nathan" userId="99f38b78-d58b-43dc-971c-441766c63fc4" providerId="ADAL" clId="{645A1AA1-1855-4064-9EB2-CD5361C30D88}" dt="2024-09-10T08:24:57.848" v="927"/>
          <ac:spMkLst>
            <pc:docMk/>
            <pc:sldMk cId="2409670067" sldId="2145706652"/>
            <ac:spMk id="8" creationId="{9B66F796-A56D-B101-6FDB-83BD9847F5F9}"/>
          </ac:spMkLst>
        </pc:spChg>
        <pc:spChg chg="mod">
          <ac:chgData name="WANONO, Nathan" userId="99f38b78-d58b-43dc-971c-441766c63fc4" providerId="ADAL" clId="{645A1AA1-1855-4064-9EB2-CD5361C30D88}" dt="2024-09-10T08:24:57.848" v="927"/>
          <ac:spMkLst>
            <pc:docMk/>
            <pc:sldMk cId="2409670067" sldId="2145706652"/>
            <ac:spMk id="9" creationId="{E2343A20-061E-1EAC-1BA5-7220CE401947}"/>
          </ac:spMkLst>
        </pc:spChg>
        <pc:spChg chg="mod">
          <ac:chgData name="WANONO, Nathan" userId="99f38b78-d58b-43dc-971c-441766c63fc4" providerId="ADAL" clId="{645A1AA1-1855-4064-9EB2-CD5361C30D88}" dt="2024-09-10T08:24:57.848" v="927"/>
          <ac:spMkLst>
            <pc:docMk/>
            <pc:sldMk cId="2409670067" sldId="2145706652"/>
            <ac:spMk id="10" creationId="{1B1167BE-73FD-FC8D-4A97-66EED07FB36B}"/>
          </ac:spMkLst>
        </pc:spChg>
        <pc:spChg chg="mod">
          <ac:chgData name="WANONO, Nathan" userId="99f38b78-d58b-43dc-971c-441766c63fc4" providerId="ADAL" clId="{645A1AA1-1855-4064-9EB2-CD5361C30D88}" dt="2024-09-10T08:24:57.848" v="927"/>
          <ac:spMkLst>
            <pc:docMk/>
            <pc:sldMk cId="2409670067" sldId="2145706652"/>
            <ac:spMk id="11" creationId="{F770243E-62B6-F153-A4DB-6415322A98C2}"/>
          </ac:spMkLst>
        </pc:spChg>
        <pc:spChg chg="mod">
          <ac:chgData name="WANONO, Nathan" userId="99f38b78-d58b-43dc-971c-441766c63fc4" providerId="ADAL" clId="{645A1AA1-1855-4064-9EB2-CD5361C30D88}" dt="2024-09-10T08:24:57.848" v="927"/>
          <ac:spMkLst>
            <pc:docMk/>
            <pc:sldMk cId="2409670067" sldId="2145706652"/>
            <ac:spMk id="12" creationId="{ABCBB293-1EF6-83AB-08C6-F4F9BBACB02B}"/>
          </ac:spMkLst>
        </pc:spChg>
        <pc:spChg chg="add del">
          <ac:chgData name="WANONO, Nathan" userId="99f38b78-d58b-43dc-971c-441766c63fc4" providerId="ADAL" clId="{645A1AA1-1855-4064-9EB2-CD5361C30D88}" dt="2024-09-10T08:51:52.389" v="1442" actId="11529"/>
          <ac:spMkLst>
            <pc:docMk/>
            <pc:sldMk cId="2409670067" sldId="2145706652"/>
            <ac:spMk id="18" creationId="{760DAC94-C046-2882-96ED-86DDFB6C69C9}"/>
          </ac:spMkLst>
        </pc:spChg>
        <pc:spChg chg="add del mod">
          <ac:chgData name="WANONO, Nathan" userId="99f38b78-d58b-43dc-971c-441766c63fc4" providerId="ADAL" clId="{645A1AA1-1855-4064-9EB2-CD5361C30D88}" dt="2024-09-10T08:52:51.764" v="1447" actId="478"/>
          <ac:spMkLst>
            <pc:docMk/>
            <pc:sldMk cId="2409670067" sldId="2145706652"/>
            <ac:spMk id="19" creationId="{242E04A8-09E0-D44B-1B6A-9B5529074F59}"/>
          </ac:spMkLst>
        </pc:spChg>
        <pc:spChg chg="add mod">
          <ac:chgData name="WANONO, Nathan" userId="99f38b78-d58b-43dc-971c-441766c63fc4" providerId="ADAL" clId="{645A1AA1-1855-4064-9EB2-CD5361C30D88}" dt="2024-09-10T09:24:32.282" v="2050" actId="164"/>
          <ac:spMkLst>
            <pc:docMk/>
            <pc:sldMk cId="2409670067" sldId="2145706652"/>
            <ac:spMk id="20" creationId="{2FE90F1F-B6CF-413D-A312-F1C1A77CCFC9}"/>
          </ac:spMkLst>
        </pc:spChg>
        <pc:spChg chg="add mod">
          <ac:chgData name="WANONO, Nathan" userId="99f38b78-d58b-43dc-971c-441766c63fc4" providerId="ADAL" clId="{645A1AA1-1855-4064-9EB2-CD5361C30D88}" dt="2024-09-10T09:24:32.282" v="2050" actId="164"/>
          <ac:spMkLst>
            <pc:docMk/>
            <pc:sldMk cId="2409670067" sldId="2145706652"/>
            <ac:spMk id="21" creationId="{F8485B85-DB19-E5B1-AB1B-CBB55894EBBF}"/>
          </ac:spMkLst>
        </pc:spChg>
        <pc:spChg chg="add mod">
          <ac:chgData name="WANONO, Nathan" userId="99f38b78-d58b-43dc-971c-441766c63fc4" providerId="ADAL" clId="{645A1AA1-1855-4064-9EB2-CD5361C30D88}" dt="2024-09-10T09:24:32.282" v="2050" actId="164"/>
          <ac:spMkLst>
            <pc:docMk/>
            <pc:sldMk cId="2409670067" sldId="2145706652"/>
            <ac:spMk id="22" creationId="{42C3550E-6674-D624-B253-F6D5DB7F5102}"/>
          </ac:spMkLst>
        </pc:spChg>
        <pc:spChg chg="add mod">
          <ac:chgData name="WANONO, Nathan" userId="99f38b78-d58b-43dc-971c-441766c63fc4" providerId="ADAL" clId="{645A1AA1-1855-4064-9EB2-CD5361C30D88}" dt="2024-09-10T09:24:32.282" v="2050" actId="164"/>
          <ac:spMkLst>
            <pc:docMk/>
            <pc:sldMk cId="2409670067" sldId="2145706652"/>
            <ac:spMk id="23" creationId="{C197AB3C-633D-0EF7-E1BE-1BB4E79FA1E8}"/>
          </ac:spMkLst>
        </pc:spChg>
        <pc:spChg chg="add mod">
          <ac:chgData name="WANONO, Nathan" userId="99f38b78-d58b-43dc-971c-441766c63fc4" providerId="ADAL" clId="{645A1AA1-1855-4064-9EB2-CD5361C30D88}" dt="2024-09-10T09:24:32.282" v="2050" actId="164"/>
          <ac:spMkLst>
            <pc:docMk/>
            <pc:sldMk cId="2409670067" sldId="2145706652"/>
            <ac:spMk id="24" creationId="{F9F215C7-5011-FE4F-0250-47AB4179B8A9}"/>
          </ac:spMkLst>
        </pc:spChg>
        <pc:spChg chg="add mod">
          <ac:chgData name="WANONO, Nathan" userId="99f38b78-d58b-43dc-971c-441766c63fc4" providerId="ADAL" clId="{645A1AA1-1855-4064-9EB2-CD5361C30D88}" dt="2024-09-10T09:24:32.282" v="2050" actId="164"/>
          <ac:spMkLst>
            <pc:docMk/>
            <pc:sldMk cId="2409670067" sldId="2145706652"/>
            <ac:spMk id="25" creationId="{F52B1BC9-EE11-913F-6A0A-BF44DFB8C132}"/>
          </ac:spMkLst>
        </pc:spChg>
        <pc:grpChg chg="add del mod">
          <ac:chgData name="WANONO, Nathan" userId="99f38b78-d58b-43dc-971c-441766c63fc4" providerId="ADAL" clId="{645A1AA1-1855-4064-9EB2-CD5361C30D88}" dt="2024-09-10T09:24:32.282" v="2050" actId="164"/>
          <ac:grpSpMkLst>
            <pc:docMk/>
            <pc:sldMk cId="2409670067" sldId="2145706652"/>
            <ac:grpSpMk id="6" creationId="{4E16524D-3658-EE2F-02CF-1D70BDE46AA4}"/>
          </ac:grpSpMkLst>
        </pc:grpChg>
        <pc:grpChg chg="add mod">
          <ac:chgData name="WANONO, Nathan" userId="99f38b78-d58b-43dc-971c-441766c63fc4" providerId="ADAL" clId="{645A1AA1-1855-4064-9EB2-CD5361C30D88}" dt="2024-09-10T09:24:32.282" v="2050" actId="164"/>
          <ac:grpSpMkLst>
            <pc:docMk/>
            <pc:sldMk cId="2409670067" sldId="2145706652"/>
            <ac:grpSpMk id="26" creationId="{13989E1D-F284-47B3-0EC5-B5096838CE98}"/>
          </ac:grpSpMkLst>
        </pc:grpChg>
        <pc:cxnChg chg="mod">
          <ac:chgData name="WANONO, Nathan" userId="99f38b78-d58b-43dc-971c-441766c63fc4" providerId="ADAL" clId="{645A1AA1-1855-4064-9EB2-CD5361C30D88}" dt="2024-09-10T08:50:23.869" v="1437" actId="478"/>
          <ac:cxnSpMkLst>
            <pc:docMk/>
            <pc:sldMk cId="2409670067" sldId="2145706652"/>
            <ac:cxnSpMk id="13" creationId="{D7047D8D-9FE9-34DD-D6E1-8CFE6786283D}"/>
          </ac:cxnSpMkLst>
        </pc:cxnChg>
        <pc:cxnChg chg="mod">
          <ac:chgData name="WANONO, Nathan" userId="99f38b78-d58b-43dc-971c-441766c63fc4" providerId="ADAL" clId="{645A1AA1-1855-4064-9EB2-CD5361C30D88}" dt="2024-09-10T08:50:23.869" v="1437" actId="478"/>
          <ac:cxnSpMkLst>
            <pc:docMk/>
            <pc:sldMk cId="2409670067" sldId="2145706652"/>
            <ac:cxnSpMk id="14" creationId="{7F349496-BC9F-6E16-9484-3E1A3D1477CC}"/>
          </ac:cxnSpMkLst>
        </pc:cxnChg>
        <pc:cxnChg chg="mod">
          <ac:chgData name="WANONO, Nathan" userId="99f38b78-d58b-43dc-971c-441766c63fc4" providerId="ADAL" clId="{645A1AA1-1855-4064-9EB2-CD5361C30D88}" dt="2024-09-10T08:50:23.869" v="1437" actId="478"/>
          <ac:cxnSpMkLst>
            <pc:docMk/>
            <pc:sldMk cId="2409670067" sldId="2145706652"/>
            <ac:cxnSpMk id="15" creationId="{3C5D0723-9D69-3279-329E-3171043305CC}"/>
          </ac:cxnSpMkLst>
        </pc:cxnChg>
        <pc:cxnChg chg="mod">
          <ac:chgData name="WANONO, Nathan" userId="99f38b78-d58b-43dc-971c-441766c63fc4" providerId="ADAL" clId="{645A1AA1-1855-4064-9EB2-CD5361C30D88}" dt="2024-09-10T08:50:23.869" v="1437" actId="478"/>
          <ac:cxnSpMkLst>
            <pc:docMk/>
            <pc:sldMk cId="2409670067" sldId="2145706652"/>
            <ac:cxnSpMk id="16" creationId="{ECEC01AB-497C-7C4F-3253-AA5982A39F84}"/>
          </ac:cxnSpMkLst>
        </pc:cxnChg>
        <pc:cxnChg chg="mod">
          <ac:chgData name="WANONO, Nathan" userId="99f38b78-d58b-43dc-971c-441766c63fc4" providerId="ADAL" clId="{645A1AA1-1855-4064-9EB2-CD5361C30D88}" dt="2024-09-10T08:50:23.869" v="1437" actId="478"/>
          <ac:cxnSpMkLst>
            <pc:docMk/>
            <pc:sldMk cId="2409670067" sldId="2145706652"/>
            <ac:cxnSpMk id="17" creationId="{A8261543-6339-5805-4410-E2DE54469F02}"/>
          </ac:cxnSpMkLst>
        </pc:cxnChg>
      </pc:sldChg>
      <pc:sldChg chg="addSp delSp modSp add del mod">
        <pc:chgData name="WANONO, Nathan" userId="99f38b78-d58b-43dc-971c-441766c63fc4" providerId="ADAL" clId="{645A1AA1-1855-4064-9EB2-CD5361C30D88}" dt="2024-09-10T08:37:42.922" v="1303" actId="47"/>
        <pc:sldMkLst>
          <pc:docMk/>
          <pc:sldMk cId="4072565940" sldId="2145706653"/>
        </pc:sldMkLst>
        <pc:spChg chg="mod">
          <ac:chgData name="WANONO, Nathan" userId="99f38b78-d58b-43dc-971c-441766c63fc4" providerId="ADAL" clId="{645A1AA1-1855-4064-9EB2-CD5361C30D88}" dt="2024-09-10T08:23:24.248" v="904" actId="1076"/>
          <ac:spMkLst>
            <pc:docMk/>
            <pc:sldMk cId="4072565940" sldId="2145706653"/>
            <ac:spMk id="3" creationId="{F1261247-D114-B15E-D6B0-FD5D1DC5DAEA}"/>
          </ac:spMkLst>
        </pc:spChg>
        <pc:spChg chg="add del mod">
          <ac:chgData name="WANONO, Nathan" userId="99f38b78-d58b-43dc-971c-441766c63fc4" providerId="ADAL" clId="{645A1AA1-1855-4064-9EB2-CD5361C30D88}" dt="2024-09-10T08:19:52.977" v="828" actId="478"/>
          <ac:spMkLst>
            <pc:docMk/>
            <pc:sldMk cId="4072565940" sldId="2145706653"/>
            <ac:spMk id="4" creationId="{BE948D60-5A7B-0700-5AD0-A7A8F0E2D4FB}"/>
          </ac:spMkLst>
        </pc:spChg>
        <pc:spChg chg="del">
          <ac:chgData name="WANONO, Nathan" userId="99f38b78-d58b-43dc-971c-441766c63fc4" providerId="ADAL" clId="{645A1AA1-1855-4064-9EB2-CD5361C30D88}" dt="2024-09-10T08:19:50.791" v="827" actId="478"/>
          <ac:spMkLst>
            <pc:docMk/>
            <pc:sldMk cId="4072565940" sldId="2145706653"/>
            <ac:spMk id="5" creationId="{3AA7F2A3-B0C0-D68A-CA8D-C23BFCFC8367}"/>
          </ac:spMkLst>
        </pc:spChg>
        <pc:spChg chg="add mod">
          <ac:chgData name="WANONO, Nathan" userId="99f38b78-d58b-43dc-971c-441766c63fc4" providerId="ADAL" clId="{645A1AA1-1855-4064-9EB2-CD5361C30D88}" dt="2024-09-10T08:24:55.672" v="926" actId="164"/>
          <ac:spMkLst>
            <pc:docMk/>
            <pc:sldMk cId="4072565940" sldId="2145706653"/>
            <ac:spMk id="6" creationId="{9A3DD81D-6878-A078-040F-BC34D229A49A}"/>
          </ac:spMkLst>
        </pc:spChg>
        <pc:spChg chg="add mod">
          <ac:chgData name="WANONO, Nathan" userId="99f38b78-d58b-43dc-971c-441766c63fc4" providerId="ADAL" clId="{645A1AA1-1855-4064-9EB2-CD5361C30D88}" dt="2024-09-10T08:24:55.672" v="926" actId="164"/>
          <ac:spMkLst>
            <pc:docMk/>
            <pc:sldMk cId="4072565940" sldId="2145706653"/>
            <ac:spMk id="7" creationId="{40965CDD-97DA-2DC5-1DD5-97516947F8D0}"/>
          </ac:spMkLst>
        </pc:spChg>
        <pc:spChg chg="add mod">
          <ac:chgData name="WANONO, Nathan" userId="99f38b78-d58b-43dc-971c-441766c63fc4" providerId="ADAL" clId="{645A1AA1-1855-4064-9EB2-CD5361C30D88}" dt="2024-09-10T08:24:55.672" v="926" actId="164"/>
          <ac:spMkLst>
            <pc:docMk/>
            <pc:sldMk cId="4072565940" sldId="2145706653"/>
            <ac:spMk id="8" creationId="{60B114AC-FF1C-1750-CC30-2EB31CC315B9}"/>
          </ac:spMkLst>
        </pc:spChg>
        <pc:spChg chg="add mod">
          <ac:chgData name="WANONO, Nathan" userId="99f38b78-d58b-43dc-971c-441766c63fc4" providerId="ADAL" clId="{645A1AA1-1855-4064-9EB2-CD5361C30D88}" dt="2024-09-10T08:24:55.672" v="926" actId="164"/>
          <ac:spMkLst>
            <pc:docMk/>
            <pc:sldMk cId="4072565940" sldId="2145706653"/>
            <ac:spMk id="9" creationId="{AB3090AB-8340-1058-1FB6-B0E438A2BA02}"/>
          </ac:spMkLst>
        </pc:spChg>
        <pc:spChg chg="add mod">
          <ac:chgData name="WANONO, Nathan" userId="99f38b78-d58b-43dc-971c-441766c63fc4" providerId="ADAL" clId="{645A1AA1-1855-4064-9EB2-CD5361C30D88}" dt="2024-09-10T08:24:55.672" v="926" actId="164"/>
          <ac:spMkLst>
            <pc:docMk/>
            <pc:sldMk cId="4072565940" sldId="2145706653"/>
            <ac:spMk id="10" creationId="{76012FFE-BA2E-C1C2-344C-CCE5C2BE11DB}"/>
          </ac:spMkLst>
        </pc:spChg>
        <pc:spChg chg="add mod">
          <ac:chgData name="WANONO, Nathan" userId="99f38b78-d58b-43dc-971c-441766c63fc4" providerId="ADAL" clId="{645A1AA1-1855-4064-9EB2-CD5361C30D88}" dt="2024-09-10T08:24:55.672" v="926" actId="164"/>
          <ac:spMkLst>
            <pc:docMk/>
            <pc:sldMk cId="4072565940" sldId="2145706653"/>
            <ac:spMk id="11" creationId="{39FB3D59-38DF-12E3-83F3-BCAC8A71B561}"/>
          </ac:spMkLst>
        </pc:spChg>
        <pc:spChg chg="add mod">
          <ac:chgData name="WANONO, Nathan" userId="99f38b78-d58b-43dc-971c-441766c63fc4" providerId="ADAL" clId="{645A1AA1-1855-4064-9EB2-CD5361C30D88}" dt="2024-09-10T08:22:12.540" v="881"/>
          <ac:spMkLst>
            <pc:docMk/>
            <pc:sldMk cId="4072565940" sldId="2145706653"/>
            <ac:spMk id="31" creationId="{CF777B4B-C8ED-81E9-759E-B97A5F3E1AF0}"/>
          </ac:spMkLst>
        </pc:spChg>
        <pc:spChg chg="add mod">
          <ac:chgData name="WANONO, Nathan" userId="99f38b78-d58b-43dc-971c-441766c63fc4" providerId="ADAL" clId="{645A1AA1-1855-4064-9EB2-CD5361C30D88}" dt="2024-09-10T08:22:12.540" v="881"/>
          <ac:spMkLst>
            <pc:docMk/>
            <pc:sldMk cId="4072565940" sldId="2145706653"/>
            <ac:spMk id="32" creationId="{F62CD814-2489-F7A5-729E-460E0337FFE0}"/>
          </ac:spMkLst>
        </pc:spChg>
        <pc:spChg chg="add mod">
          <ac:chgData name="WANONO, Nathan" userId="99f38b78-d58b-43dc-971c-441766c63fc4" providerId="ADAL" clId="{645A1AA1-1855-4064-9EB2-CD5361C30D88}" dt="2024-09-10T08:22:12.540" v="881"/>
          <ac:spMkLst>
            <pc:docMk/>
            <pc:sldMk cId="4072565940" sldId="2145706653"/>
            <ac:spMk id="33" creationId="{5427C9CC-E4F4-3655-9842-70B02116FAAC}"/>
          </ac:spMkLst>
        </pc:spChg>
        <pc:spChg chg="add mod">
          <ac:chgData name="WANONO, Nathan" userId="99f38b78-d58b-43dc-971c-441766c63fc4" providerId="ADAL" clId="{645A1AA1-1855-4064-9EB2-CD5361C30D88}" dt="2024-09-10T08:22:12.540" v="881"/>
          <ac:spMkLst>
            <pc:docMk/>
            <pc:sldMk cId="4072565940" sldId="2145706653"/>
            <ac:spMk id="34" creationId="{ADCFC461-CBFE-732C-2279-FEED3F48CD0D}"/>
          </ac:spMkLst>
        </pc:spChg>
        <pc:spChg chg="add mod">
          <ac:chgData name="WANONO, Nathan" userId="99f38b78-d58b-43dc-971c-441766c63fc4" providerId="ADAL" clId="{645A1AA1-1855-4064-9EB2-CD5361C30D88}" dt="2024-09-10T08:22:12.540" v="881"/>
          <ac:spMkLst>
            <pc:docMk/>
            <pc:sldMk cId="4072565940" sldId="2145706653"/>
            <ac:spMk id="35" creationId="{BE3B91E4-9E3F-BFBB-7249-365B256DCF61}"/>
          </ac:spMkLst>
        </pc:spChg>
        <pc:spChg chg="add mod">
          <ac:chgData name="WANONO, Nathan" userId="99f38b78-d58b-43dc-971c-441766c63fc4" providerId="ADAL" clId="{645A1AA1-1855-4064-9EB2-CD5361C30D88}" dt="2024-09-10T08:22:12.540" v="881"/>
          <ac:spMkLst>
            <pc:docMk/>
            <pc:sldMk cId="4072565940" sldId="2145706653"/>
            <ac:spMk id="36" creationId="{DEA9D339-527F-0F7F-A86B-37A0DF9A07CA}"/>
          </ac:spMkLst>
        </pc:spChg>
        <pc:grpChg chg="add mod">
          <ac:chgData name="WANONO, Nathan" userId="99f38b78-d58b-43dc-971c-441766c63fc4" providerId="ADAL" clId="{645A1AA1-1855-4064-9EB2-CD5361C30D88}" dt="2024-09-10T08:24:55.672" v="926" actId="164"/>
          <ac:grpSpMkLst>
            <pc:docMk/>
            <pc:sldMk cId="4072565940" sldId="2145706653"/>
            <ac:grpSpMk id="61" creationId="{625902AA-F166-AF2E-CCA6-B2367244F8CD}"/>
          </ac:grpSpMkLst>
        </pc:grpChg>
        <pc:cxnChg chg="add mod">
          <ac:chgData name="WANONO, Nathan" userId="99f38b78-d58b-43dc-971c-441766c63fc4" providerId="ADAL" clId="{645A1AA1-1855-4064-9EB2-CD5361C30D88}" dt="2024-09-10T08:24:55.672" v="926" actId="164"/>
          <ac:cxnSpMkLst>
            <pc:docMk/>
            <pc:sldMk cId="4072565940" sldId="2145706653"/>
            <ac:cxnSpMk id="13" creationId="{DA3DE3DE-887D-A39F-510F-9D55262141F3}"/>
          </ac:cxnSpMkLst>
        </pc:cxnChg>
        <pc:cxnChg chg="add mod">
          <ac:chgData name="WANONO, Nathan" userId="99f38b78-d58b-43dc-971c-441766c63fc4" providerId="ADAL" clId="{645A1AA1-1855-4064-9EB2-CD5361C30D88}" dt="2024-09-10T08:24:55.672" v="926" actId="164"/>
          <ac:cxnSpMkLst>
            <pc:docMk/>
            <pc:sldMk cId="4072565940" sldId="2145706653"/>
            <ac:cxnSpMk id="16" creationId="{CFE2E742-2428-DE26-5295-6682377116DF}"/>
          </ac:cxnSpMkLst>
        </pc:cxnChg>
        <pc:cxnChg chg="add mod">
          <ac:chgData name="WANONO, Nathan" userId="99f38b78-d58b-43dc-971c-441766c63fc4" providerId="ADAL" clId="{645A1AA1-1855-4064-9EB2-CD5361C30D88}" dt="2024-09-10T08:24:55.672" v="926" actId="164"/>
          <ac:cxnSpMkLst>
            <pc:docMk/>
            <pc:sldMk cId="4072565940" sldId="2145706653"/>
            <ac:cxnSpMk id="19" creationId="{AC249527-36E8-A180-3B4C-3ACE93EC35A1}"/>
          </ac:cxnSpMkLst>
        </pc:cxnChg>
        <pc:cxnChg chg="add mod">
          <ac:chgData name="WANONO, Nathan" userId="99f38b78-d58b-43dc-971c-441766c63fc4" providerId="ADAL" clId="{645A1AA1-1855-4064-9EB2-CD5361C30D88}" dt="2024-09-10T08:24:55.672" v="926" actId="164"/>
          <ac:cxnSpMkLst>
            <pc:docMk/>
            <pc:sldMk cId="4072565940" sldId="2145706653"/>
            <ac:cxnSpMk id="25" creationId="{37B0AF2D-0B37-F60E-3C9E-D209290A898F}"/>
          </ac:cxnSpMkLst>
        </pc:cxnChg>
        <pc:cxnChg chg="add mod">
          <ac:chgData name="WANONO, Nathan" userId="99f38b78-d58b-43dc-971c-441766c63fc4" providerId="ADAL" clId="{645A1AA1-1855-4064-9EB2-CD5361C30D88}" dt="2024-09-10T08:24:55.672" v="926" actId="164"/>
          <ac:cxnSpMkLst>
            <pc:docMk/>
            <pc:sldMk cId="4072565940" sldId="2145706653"/>
            <ac:cxnSpMk id="28" creationId="{C2F01BC0-EBA0-7F35-2514-954EB92FF2BC}"/>
          </ac:cxnSpMkLst>
        </pc:cxnChg>
        <pc:cxnChg chg="add mod">
          <ac:chgData name="WANONO, Nathan" userId="99f38b78-d58b-43dc-971c-441766c63fc4" providerId="ADAL" clId="{645A1AA1-1855-4064-9EB2-CD5361C30D88}" dt="2024-09-10T08:22:12.540" v="881"/>
          <ac:cxnSpMkLst>
            <pc:docMk/>
            <pc:sldMk cId="4072565940" sldId="2145706653"/>
            <ac:cxnSpMk id="37" creationId="{4A13E2B5-A1BF-9CCA-CA29-F2478E6123BC}"/>
          </ac:cxnSpMkLst>
        </pc:cxnChg>
        <pc:cxnChg chg="add mod">
          <ac:chgData name="WANONO, Nathan" userId="99f38b78-d58b-43dc-971c-441766c63fc4" providerId="ADAL" clId="{645A1AA1-1855-4064-9EB2-CD5361C30D88}" dt="2024-09-10T08:22:12.540" v="881"/>
          <ac:cxnSpMkLst>
            <pc:docMk/>
            <pc:sldMk cId="4072565940" sldId="2145706653"/>
            <ac:cxnSpMk id="38" creationId="{5155231B-52D6-1517-CCB4-220D10D441F0}"/>
          </ac:cxnSpMkLst>
        </pc:cxnChg>
        <pc:cxnChg chg="add mod">
          <ac:chgData name="WANONO, Nathan" userId="99f38b78-d58b-43dc-971c-441766c63fc4" providerId="ADAL" clId="{645A1AA1-1855-4064-9EB2-CD5361C30D88}" dt="2024-09-10T08:22:12.540" v="881"/>
          <ac:cxnSpMkLst>
            <pc:docMk/>
            <pc:sldMk cId="4072565940" sldId="2145706653"/>
            <ac:cxnSpMk id="39" creationId="{E70256E6-2EFA-F5E1-7D80-D5B1C7CABE9D}"/>
          </ac:cxnSpMkLst>
        </pc:cxnChg>
        <pc:cxnChg chg="add mod">
          <ac:chgData name="WANONO, Nathan" userId="99f38b78-d58b-43dc-971c-441766c63fc4" providerId="ADAL" clId="{645A1AA1-1855-4064-9EB2-CD5361C30D88}" dt="2024-09-10T08:22:12.540" v="881"/>
          <ac:cxnSpMkLst>
            <pc:docMk/>
            <pc:sldMk cId="4072565940" sldId="2145706653"/>
            <ac:cxnSpMk id="40" creationId="{EF61ED60-32A0-17C6-6FDB-18E5A1A3D5AD}"/>
          </ac:cxnSpMkLst>
        </pc:cxnChg>
        <pc:cxnChg chg="add mod">
          <ac:chgData name="WANONO, Nathan" userId="99f38b78-d58b-43dc-971c-441766c63fc4" providerId="ADAL" clId="{645A1AA1-1855-4064-9EB2-CD5361C30D88}" dt="2024-09-10T08:22:12.540" v="881"/>
          <ac:cxnSpMkLst>
            <pc:docMk/>
            <pc:sldMk cId="4072565940" sldId="2145706653"/>
            <ac:cxnSpMk id="41" creationId="{56441C1C-2C77-F448-2557-C69658EF4338}"/>
          </ac:cxnSpMkLst>
        </pc:cxnChg>
      </pc:sldChg>
      <pc:sldChg chg="addSp delSp modSp add mod">
        <pc:chgData name="WANONO, Nathan" userId="99f38b78-d58b-43dc-971c-441766c63fc4" providerId="ADAL" clId="{645A1AA1-1855-4064-9EB2-CD5361C30D88}" dt="2024-09-12T16:00:32.523" v="10713" actId="20577"/>
        <pc:sldMkLst>
          <pc:docMk/>
          <pc:sldMk cId="2195275454" sldId="2145706654"/>
        </pc:sldMkLst>
        <pc:spChg chg="mod">
          <ac:chgData name="WANONO, Nathan" userId="99f38b78-d58b-43dc-971c-441766c63fc4" providerId="ADAL" clId="{645A1AA1-1855-4064-9EB2-CD5361C30D88}" dt="2024-09-10T08:25:48.729" v="969" actId="20577"/>
          <ac:spMkLst>
            <pc:docMk/>
            <pc:sldMk cId="2195275454" sldId="2145706654"/>
            <ac:spMk id="3" creationId="{F1261247-D114-B15E-D6B0-FD5D1DC5DAEA}"/>
          </ac:spMkLst>
        </pc:spChg>
        <pc:spChg chg="add del mod">
          <ac:chgData name="WANONO, Nathan" userId="99f38b78-d58b-43dc-971c-441766c63fc4" providerId="ADAL" clId="{645A1AA1-1855-4064-9EB2-CD5361C30D88}" dt="2024-09-10T08:25:54.395" v="971" actId="478"/>
          <ac:spMkLst>
            <pc:docMk/>
            <pc:sldMk cId="2195275454" sldId="2145706654"/>
            <ac:spMk id="4" creationId="{9BFB0D5A-F467-1033-7E9D-87085C1FEFFE}"/>
          </ac:spMkLst>
        </pc:spChg>
        <pc:spChg chg="del">
          <ac:chgData name="WANONO, Nathan" userId="99f38b78-d58b-43dc-971c-441766c63fc4" providerId="ADAL" clId="{645A1AA1-1855-4064-9EB2-CD5361C30D88}" dt="2024-09-10T08:25:52.114" v="970" actId="478"/>
          <ac:spMkLst>
            <pc:docMk/>
            <pc:sldMk cId="2195275454" sldId="2145706654"/>
            <ac:spMk id="5" creationId="{3AA7F2A3-B0C0-D68A-CA8D-C23BFCFC8367}"/>
          </ac:spMkLst>
        </pc:spChg>
        <pc:spChg chg="add mod">
          <ac:chgData name="WANONO, Nathan" userId="99f38b78-d58b-43dc-971c-441766c63fc4" providerId="ADAL" clId="{645A1AA1-1855-4064-9EB2-CD5361C30D88}" dt="2024-09-10T08:37:38.164" v="1302" actId="1036"/>
          <ac:spMkLst>
            <pc:docMk/>
            <pc:sldMk cId="2195275454" sldId="2145706654"/>
            <ac:spMk id="18" creationId="{109B9CDA-2421-8681-F4B8-DF5D6C53E5E4}"/>
          </ac:spMkLst>
        </pc:spChg>
        <pc:spChg chg="add mod">
          <ac:chgData name="WANONO, Nathan" userId="99f38b78-d58b-43dc-971c-441766c63fc4" providerId="ADAL" clId="{645A1AA1-1855-4064-9EB2-CD5361C30D88}" dt="2024-09-10T08:37:35.326" v="1298" actId="1036"/>
          <ac:spMkLst>
            <pc:docMk/>
            <pc:sldMk cId="2195275454" sldId="2145706654"/>
            <ac:spMk id="20" creationId="{A8290D6C-3AFA-E20B-8BFC-D4E63D9D63CB}"/>
          </ac:spMkLst>
        </pc:spChg>
        <pc:spChg chg="add mod">
          <ac:chgData name="WANONO, Nathan" userId="99f38b78-d58b-43dc-971c-441766c63fc4" providerId="ADAL" clId="{645A1AA1-1855-4064-9EB2-CD5361C30D88}" dt="2024-09-12T16:00:18.211" v="10712" actId="14861"/>
          <ac:spMkLst>
            <pc:docMk/>
            <pc:sldMk cId="2195275454" sldId="2145706654"/>
            <ac:spMk id="21" creationId="{D2E25917-3C82-DF38-B227-2B053986B9B7}"/>
          </ac:spMkLst>
        </pc:spChg>
        <pc:spChg chg="add mod">
          <ac:chgData name="WANONO, Nathan" userId="99f38b78-d58b-43dc-971c-441766c63fc4" providerId="ADAL" clId="{645A1AA1-1855-4064-9EB2-CD5361C30D88}" dt="2024-09-12T16:00:18.211" v="10712" actId="14861"/>
          <ac:spMkLst>
            <pc:docMk/>
            <pc:sldMk cId="2195275454" sldId="2145706654"/>
            <ac:spMk id="22" creationId="{BDB9682A-5DAF-FEDB-4905-126F6DC6EC67}"/>
          </ac:spMkLst>
        </pc:spChg>
        <pc:spChg chg="add mod">
          <ac:chgData name="WANONO, Nathan" userId="99f38b78-d58b-43dc-971c-441766c63fc4" providerId="ADAL" clId="{645A1AA1-1855-4064-9EB2-CD5361C30D88}" dt="2024-09-12T16:00:32.523" v="10713" actId="20577"/>
          <ac:spMkLst>
            <pc:docMk/>
            <pc:sldMk cId="2195275454" sldId="2145706654"/>
            <ac:spMk id="23" creationId="{2826A832-FC9A-30CB-BAAB-B2232A423479}"/>
          </ac:spMkLst>
        </pc:spChg>
        <pc:spChg chg="add mod">
          <ac:chgData name="WANONO, Nathan" userId="99f38b78-d58b-43dc-971c-441766c63fc4" providerId="ADAL" clId="{645A1AA1-1855-4064-9EB2-CD5361C30D88}" dt="2024-09-12T16:00:18.211" v="10712" actId="14861"/>
          <ac:spMkLst>
            <pc:docMk/>
            <pc:sldMk cId="2195275454" sldId="2145706654"/>
            <ac:spMk id="24" creationId="{5434DC21-9615-C5C6-68D6-4320B4587B16}"/>
          </ac:spMkLst>
        </pc:spChg>
        <pc:spChg chg="add mod">
          <ac:chgData name="WANONO, Nathan" userId="99f38b78-d58b-43dc-971c-441766c63fc4" providerId="ADAL" clId="{645A1AA1-1855-4064-9EB2-CD5361C30D88}" dt="2024-09-12T16:00:18.211" v="10712" actId="14861"/>
          <ac:spMkLst>
            <pc:docMk/>
            <pc:sldMk cId="2195275454" sldId="2145706654"/>
            <ac:spMk id="25" creationId="{55AC0A09-3CAB-9D38-486B-5254AEE2EDB2}"/>
          </ac:spMkLst>
        </pc:spChg>
        <pc:spChg chg="add mod">
          <ac:chgData name="WANONO, Nathan" userId="99f38b78-d58b-43dc-971c-441766c63fc4" providerId="ADAL" clId="{645A1AA1-1855-4064-9EB2-CD5361C30D88}" dt="2024-09-12T16:00:18.211" v="10712" actId="14861"/>
          <ac:spMkLst>
            <pc:docMk/>
            <pc:sldMk cId="2195275454" sldId="2145706654"/>
            <ac:spMk id="26" creationId="{00FB20FD-983C-13D1-1F1E-8C39C3697612}"/>
          </ac:spMkLst>
        </pc:spChg>
        <pc:grpChg chg="del">
          <ac:chgData name="WANONO, Nathan" userId="99f38b78-d58b-43dc-971c-441766c63fc4" providerId="ADAL" clId="{645A1AA1-1855-4064-9EB2-CD5361C30D88}" dt="2024-09-10T08:25:55.346" v="972" actId="478"/>
          <ac:grpSpMkLst>
            <pc:docMk/>
            <pc:sldMk cId="2195275454" sldId="2145706654"/>
            <ac:grpSpMk id="6" creationId="{4E16524D-3658-EE2F-02CF-1D70BDE46AA4}"/>
          </ac:grpSpMkLst>
        </pc:grpChg>
        <pc:cxnChg chg="mod">
          <ac:chgData name="WANONO, Nathan" userId="99f38b78-d58b-43dc-971c-441766c63fc4" providerId="ADAL" clId="{645A1AA1-1855-4064-9EB2-CD5361C30D88}" dt="2024-09-10T08:25:55.346" v="972" actId="478"/>
          <ac:cxnSpMkLst>
            <pc:docMk/>
            <pc:sldMk cId="2195275454" sldId="2145706654"/>
            <ac:cxnSpMk id="13" creationId="{D7047D8D-9FE9-34DD-D6E1-8CFE6786283D}"/>
          </ac:cxnSpMkLst>
        </pc:cxnChg>
        <pc:cxnChg chg="mod">
          <ac:chgData name="WANONO, Nathan" userId="99f38b78-d58b-43dc-971c-441766c63fc4" providerId="ADAL" clId="{645A1AA1-1855-4064-9EB2-CD5361C30D88}" dt="2024-09-10T08:25:55.346" v="972" actId="478"/>
          <ac:cxnSpMkLst>
            <pc:docMk/>
            <pc:sldMk cId="2195275454" sldId="2145706654"/>
            <ac:cxnSpMk id="14" creationId="{7F349496-BC9F-6E16-9484-3E1A3D1477CC}"/>
          </ac:cxnSpMkLst>
        </pc:cxnChg>
        <pc:cxnChg chg="mod">
          <ac:chgData name="WANONO, Nathan" userId="99f38b78-d58b-43dc-971c-441766c63fc4" providerId="ADAL" clId="{645A1AA1-1855-4064-9EB2-CD5361C30D88}" dt="2024-09-10T08:25:55.346" v="972" actId="478"/>
          <ac:cxnSpMkLst>
            <pc:docMk/>
            <pc:sldMk cId="2195275454" sldId="2145706654"/>
            <ac:cxnSpMk id="15" creationId="{3C5D0723-9D69-3279-329E-3171043305CC}"/>
          </ac:cxnSpMkLst>
        </pc:cxnChg>
        <pc:cxnChg chg="mod">
          <ac:chgData name="WANONO, Nathan" userId="99f38b78-d58b-43dc-971c-441766c63fc4" providerId="ADAL" clId="{645A1AA1-1855-4064-9EB2-CD5361C30D88}" dt="2024-09-10T08:25:55.346" v="972" actId="478"/>
          <ac:cxnSpMkLst>
            <pc:docMk/>
            <pc:sldMk cId="2195275454" sldId="2145706654"/>
            <ac:cxnSpMk id="16" creationId="{ECEC01AB-497C-7C4F-3253-AA5982A39F84}"/>
          </ac:cxnSpMkLst>
        </pc:cxnChg>
        <pc:cxnChg chg="mod">
          <ac:chgData name="WANONO, Nathan" userId="99f38b78-d58b-43dc-971c-441766c63fc4" providerId="ADAL" clId="{645A1AA1-1855-4064-9EB2-CD5361C30D88}" dt="2024-09-10T08:25:55.346" v="972" actId="478"/>
          <ac:cxnSpMkLst>
            <pc:docMk/>
            <pc:sldMk cId="2195275454" sldId="2145706654"/>
            <ac:cxnSpMk id="17" creationId="{A8261543-6339-5805-4410-E2DE54469F02}"/>
          </ac:cxnSpMkLst>
        </pc:cxnChg>
        <pc:cxnChg chg="add mod">
          <ac:chgData name="WANONO, Nathan" userId="99f38b78-d58b-43dc-971c-441766c63fc4" providerId="ADAL" clId="{645A1AA1-1855-4064-9EB2-CD5361C30D88}" dt="2024-09-12T16:00:18.211" v="10712" actId="14861"/>
          <ac:cxnSpMkLst>
            <pc:docMk/>
            <pc:sldMk cId="2195275454" sldId="2145706654"/>
            <ac:cxnSpMk id="28" creationId="{BDDCCE94-CDF8-5302-A7DC-2CB51E9FB9A3}"/>
          </ac:cxnSpMkLst>
        </pc:cxnChg>
        <pc:cxnChg chg="add mod">
          <ac:chgData name="WANONO, Nathan" userId="99f38b78-d58b-43dc-971c-441766c63fc4" providerId="ADAL" clId="{645A1AA1-1855-4064-9EB2-CD5361C30D88}" dt="2024-09-12T16:00:18.211" v="10712" actId="14861"/>
          <ac:cxnSpMkLst>
            <pc:docMk/>
            <pc:sldMk cId="2195275454" sldId="2145706654"/>
            <ac:cxnSpMk id="29" creationId="{94BB0FC3-2619-DBA3-EC55-FBEFD1A562B1}"/>
          </ac:cxnSpMkLst>
        </pc:cxnChg>
        <pc:cxnChg chg="add mod">
          <ac:chgData name="WANONO, Nathan" userId="99f38b78-d58b-43dc-971c-441766c63fc4" providerId="ADAL" clId="{645A1AA1-1855-4064-9EB2-CD5361C30D88}" dt="2024-09-12T16:00:18.211" v="10712" actId="14861"/>
          <ac:cxnSpMkLst>
            <pc:docMk/>
            <pc:sldMk cId="2195275454" sldId="2145706654"/>
            <ac:cxnSpMk id="32" creationId="{C605D1DC-96AD-9EEA-CA92-F70C55AEC8BA}"/>
          </ac:cxnSpMkLst>
        </pc:cxnChg>
      </pc:sldChg>
      <pc:sldChg chg="addSp delSp modSp add mod ord">
        <pc:chgData name="WANONO, Nathan" userId="99f38b78-d58b-43dc-971c-441766c63fc4" providerId="ADAL" clId="{645A1AA1-1855-4064-9EB2-CD5361C30D88}" dt="2024-09-13T07:58:10.526" v="11078" actId="20577"/>
        <pc:sldMkLst>
          <pc:docMk/>
          <pc:sldMk cId="3178987347" sldId="2145706655"/>
        </pc:sldMkLst>
        <pc:spChg chg="mod">
          <ac:chgData name="WANONO, Nathan" userId="99f38b78-d58b-43dc-971c-441766c63fc4" providerId="ADAL" clId="{645A1AA1-1855-4064-9EB2-CD5361C30D88}" dt="2024-09-10T09:40:30.981" v="2859" actId="6549"/>
          <ac:spMkLst>
            <pc:docMk/>
            <pc:sldMk cId="3178987347" sldId="2145706655"/>
            <ac:spMk id="3" creationId="{F1261247-D114-B15E-D6B0-FD5D1DC5DAEA}"/>
          </ac:spMkLst>
        </pc:spChg>
        <pc:spChg chg="mod">
          <ac:chgData name="WANONO, Nathan" userId="99f38b78-d58b-43dc-971c-441766c63fc4" providerId="ADAL" clId="{645A1AA1-1855-4064-9EB2-CD5361C30D88}" dt="2024-09-10T09:29:30.920" v="2458"/>
          <ac:spMkLst>
            <pc:docMk/>
            <pc:sldMk cId="3178987347" sldId="2145706655"/>
            <ac:spMk id="4" creationId="{C9FD2AE9-85F0-65C0-1837-9EFEFCA4B5F3}"/>
          </ac:spMkLst>
        </pc:spChg>
        <pc:spChg chg="mod">
          <ac:chgData name="WANONO, Nathan" userId="99f38b78-d58b-43dc-971c-441766c63fc4" providerId="ADAL" clId="{645A1AA1-1855-4064-9EB2-CD5361C30D88}" dt="2024-09-13T07:58:10.526" v="11078" actId="20577"/>
          <ac:spMkLst>
            <pc:docMk/>
            <pc:sldMk cId="3178987347" sldId="2145706655"/>
            <ac:spMk id="5" creationId="{3AA7F2A3-B0C0-D68A-CA8D-C23BFCFC8367}"/>
          </ac:spMkLst>
        </pc:spChg>
        <pc:spChg chg="mod">
          <ac:chgData name="WANONO, Nathan" userId="99f38b78-d58b-43dc-971c-441766c63fc4" providerId="ADAL" clId="{645A1AA1-1855-4064-9EB2-CD5361C30D88}" dt="2024-09-10T09:29:30.920" v="2458"/>
          <ac:spMkLst>
            <pc:docMk/>
            <pc:sldMk cId="3178987347" sldId="2145706655"/>
            <ac:spMk id="18" creationId="{87ED97C1-6C30-E7B5-A55F-CF0642332502}"/>
          </ac:spMkLst>
        </pc:spChg>
        <pc:spChg chg="mod">
          <ac:chgData name="WANONO, Nathan" userId="99f38b78-d58b-43dc-971c-441766c63fc4" providerId="ADAL" clId="{645A1AA1-1855-4064-9EB2-CD5361C30D88}" dt="2024-09-10T09:29:30.920" v="2458"/>
          <ac:spMkLst>
            <pc:docMk/>
            <pc:sldMk cId="3178987347" sldId="2145706655"/>
            <ac:spMk id="19" creationId="{E03B6331-3B82-7031-269E-D4B5E7997739}"/>
          </ac:spMkLst>
        </pc:spChg>
        <pc:spChg chg="mod">
          <ac:chgData name="WANONO, Nathan" userId="99f38b78-d58b-43dc-971c-441766c63fc4" providerId="ADAL" clId="{645A1AA1-1855-4064-9EB2-CD5361C30D88}" dt="2024-09-10T09:29:30.920" v="2458"/>
          <ac:spMkLst>
            <pc:docMk/>
            <pc:sldMk cId="3178987347" sldId="2145706655"/>
            <ac:spMk id="20" creationId="{D4DD4471-8E36-1087-53B3-FB7BAE1DA451}"/>
          </ac:spMkLst>
        </pc:spChg>
        <pc:spChg chg="mod">
          <ac:chgData name="WANONO, Nathan" userId="99f38b78-d58b-43dc-971c-441766c63fc4" providerId="ADAL" clId="{645A1AA1-1855-4064-9EB2-CD5361C30D88}" dt="2024-09-10T09:29:30.920" v="2458"/>
          <ac:spMkLst>
            <pc:docMk/>
            <pc:sldMk cId="3178987347" sldId="2145706655"/>
            <ac:spMk id="21" creationId="{57626108-6410-17EB-6382-8D37568980A8}"/>
          </ac:spMkLst>
        </pc:spChg>
        <pc:spChg chg="mod">
          <ac:chgData name="WANONO, Nathan" userId="99f38b78-d58b-43dc-971c-441766c63fc4" providerId="ADAL" clId="{645A1AA1-1855-4064-9EB2-CD5361C30D88}" dt="2024-09-10T09:29:30.920" v="2458"/>
          <ac:spMkLst>
            <pc:docMk/>
            <pc:sldMk cId="3178987347" sldId="2145706655"/>
            <ac:spMk id="22" creationId="{81F2A65E-EDB3-76B8-B54C-BA1E2800BE3E}"/>
          </ac:spMkLst>
        </pc:spChg>
        <pc:spChg chg="add mod">
          <ac:chgData name="WANONO, Nathan" userId="99f38b78-d58b-43dc-971c-441766c63fc4" providerId="ADAL" clId="{645A1AA1-1855-4064-9EB2-CD5361C30D88}" dt="2024-09-10T11:20:40.783" v="3779" actId="1076"/>
          <ac:spMkLst>
            <pc:docMk/>
            <pc:sldMk cId="3178987347" sldId="2145706655"/>
            <ac:spMk id="28" creationId="{1F76CD77-64BF-00D9-F546-51DA50885E13}"/>
          </ac:spMkLst>
        </pc:spChg>
        <pc:spChg chg="add del mod">
          <ac:chgData name="WANONO, Nathan" userId="99f38b78-d58b-43dc-971c-441766c63fc4" providerId="ADAL" clId="{645A1AA1-1855-4064-9EB2-CD5361C30D88}" dt="2024-09-10T09:35:45.545" v="2812" actId="478"/>
          <ac:spMkLst>
            <pc:docMk/>
            <pc:sldMk cId="3178987347" sldId="2145706655"/>
            <ac:spMk id="29" creationId="{0265C7D2-1A1E-1374-72C3-8A99BE399EAF}"/>
          </ac:spMkLst>
        </pc:spChg>
        <pc:spChg chg="add del mod">
          <ac:chgData name="WANONO, Nathan" userId="99f38b78-d58b-43dc-971c-441766c63fc4" providerId="ADAL" clId="{645A1AA1-1855-4064-9EB2-CD5361C30D88}" dt="2024-09-10T09:35:46.233" v="2813" actId="478"/>
          <ac:spMkLst>
            <pc:docMk/>
            <pc:sldMk cId="3178987347" sldId="2145706655"/>
            <ac:spMk id="30" creationId="{E31D58A1-1C48-D15E-15F7-ABE051AD283B}"/>
          </ac:spMkLst>
        </pc:spChg>
        <pc:spChg chg="add del mod">
          <ac:chgData name="WANONO, Nathan" userId="99f38b78-d58b-43dc-971c-441766c63fc4" providerId="ADAL" clId="{645A1AA1-1855-4064-9EB2-CD5361C30D88}" dt="2024-09-10T09:35:49.247" v="2816" actId="478"/>
          <ac:spMkLst>
            <pc:docMk/>
            <pc:sldMk cId="3178987347" sldId="2145706655"/>
            <ac:spMk id="31" creationId="{C0978283-F214-5069-0C52-CA65BB1DA15D}"/>
          </ac:spMkLst>
        </pc:spChg>
        <pc:spChg chg="add del mod">
          <ac:chgData name="WANONO, Nathan" userId="99f38b78-d58b-43dc-971c-441766c63fc4" providerId="ADAL" clId="{645A1AA1-1855-4064-9EB2-CD5361C30D88}" dt="2024-09-10T09:35:49.922" v="2817" actId="478"/>
          <ac:spMkLst>
            <pc:docMk/>
            <pc:sldMk cId="3178987347" sldId="2145706655"/>
            <ac:spMk id="32" creationId="{E53B9496-D086-5DB6-95C4-1A0884F63FED}"/>
          </ac:spMkLst>
        </pc:spChg>
        <pc:spChg chg="add del mod">
          <ac:chgData name="WANONO, Nathan" userId="99f38b78-d58b-43dc-971c-441766c63fc4" providerId="ADAL" clId="{645A1AA1-1855-4064-9EB2-CD5361C30D88}" dt="2024-09-10T09:35:50.937" v="2818" actId="478"/>
          <ac:spMkLst>
            <pc:docMk/>
            <pc:sldMk cId="3178987347" sldId="2145706655"/>
            <ac:spMk id="33" creationId="{1B55E7FF-5F66-7C45-B2E2-CB6E2096D07A}"/>
          </ac:spMkLst>
        </pc:spChg>
        <pc:spChg chg="add del mod">
          <ac:chgData name="WANONO, Nathan" userId="99f38b78-d58b-43dc-971c-441766c63fc4" providerId="ADAL" clId="{645A1AA1-1855-4064-9EB2-CD5361C30D88}" dt="2024-09-10T09:31:33.224" v="2774" actId="478"/>
          <ac:spMkLst>
            <pc:docMk/>
            <pc:sldMk cId="3178987347" sldId="2145706655"/>
            <ac:spMk id="34" creationId="{0FD6B564-96FB-AFF2-BC60-FE6A7B8CC4C9}"/>
          </ac:spMkLst>
        </pc:spChg>
        <pc:spChg chg="add mod">
          <ac:chgData name="WANONO, Nathan" userId="99f38b78-d58b-43dc-971c-441766c63fc4" providerId="ADAL" clId="{645A1AA1-1855-4064-9EB2-CD5361C30D88}" dt="2024-09-10T09:35:43.458" v="2811" actId="164"/>
          <ac:spMkLst>
            <pc:docMk/>
            <pc:sldMk cId="3178987347" sldId="2145706655"/>
            <ac:spMk id="36" creationId="{F02F2CF4-064A-F7CF-9E06-6BB298B2DD6F}"/>
          </ac:spMkLst>
        </pc:spChg>
        <pc:spChg chg="mod">
          <ac:chgData name="WANONO, Nathan" userId="99f38b78-d58b-43dc-971c-441766c63fc4" providerId="ADAL" clId="{645A1AA1-1855-4064-9EB2-CD5361C30D88}" dt="2024-09-10T09:35:57.975" v="2821" actId="368"/>
          <ac:spMkLst>
            <pc:docMk/>
            <pc:sldMk cId="3178987347" sldId="2145706655"/>
            <ac:spMk id="45" creationId="{FD0A0567-E915-565F-5F5B-6E735004A2DD}"/>
          </ac:spMkLst>
        </pc:spChg>
        <pc:spChg chg="mod">
          <ac:chgData name="WANONO, Nathan" userId="99f38b78-d58b-43dc-971c-441766c63fc4" providerId="ADAL" clId="{645A1AA1-1855-4064-9EB2-CD5361C30D88}" dt="2024-09-10T09:36:01.558" v="2823"/>
          <ac:spMkLst>
            <pc:docMk/>
            <pc:sldMk cId="3178987347" sldId="2145706655"/>
            <ac:spMk id="48" creationId="{A8361647-8D78-8E0E-2AF6-35B77D7255D8}"/>
          </ac:spMkLst>
        </pc:spChg>
        <pc:spChg chg="mod">
          <ac:chgData name="WANONO, Nathan" userId="99f38b78-d58b-43dc-971c-441766c63fc4" providerId="ADAL" clId="{645A1AA1-1855-4064-9EB2-CD5361C30D88}" dt="2024-09-10T09:36:06.208" v="2825"/>
          <ac:spMkLst>
            <pc:docMk/>
            <pc:sldMk cId="3178987347" sldId="2145706655"/>
            <ac:spMk id="51" creationId="{64532A0B-86DE-922F-224C-ABBEA753C63B}"/>
          </ac:spMkLst>
        </pc:spChg>
        <pc:spChg chg="mod">
          <ac:chgData name="WANONO, Nathan" userId="99f38b78-d58b-43dc-971c-441766c63fc4" providerId="ADAL" clId="{645A1AA1-1855-4064-9EB2-CD5361C30D88}" dt="2024-09-10T09:36:15.664" v="2827"/>
          <ac:spMkLst>
            <pc:docMk/>
            <pc:sldMk cId="3178987347" sldId="2145706655"/>
            <ac:spMk id="54" creationId="{A35B1307-4B83-1403-CD43-52577F27233C}"/>
          </ac:spMkLst>
        </pc:spChg>
        <pc:spChg chg="mod">
          <ac:chgData name="WANONO, Nathan" userId="99f38b78-d58b-43dc-971c-441766c63fc4" providerId="ADAL" clId="{645A1AA1-1855-4064-9EB2-CD5361C30D88}" dt="2024-09-10T09:36:26.443" v="2828" actId="571"/>
          <ac:spMkLst>
            <pc:docMk/>
            <pc:sldMk cId="3178987347" sldId="2145706655"/>
            <ac:spMk id="57" creationId="{E205E8A2-6B27-DF57-C065-EFA15B744723}"/>
          </ac:spMkLst>
        </pc:spChg>
        <pc:spChg chg="mod">
          <ac:chgData name="WANONO, Nathan" userId="99f38b78-d58b-43dc-971c-441766c63fc4" providerId="ADAL" clId="{645A1AA1-1855-4064-9EB2-CD5361C30D88}" dt="2024-09-10T09:36:26.818" v="2829"/>
          <ac:spMkLst>
            <pc:docMk/>
            <pc:sldMk cId="3178987347" sldId="2145706655"/>
            <ac:spMk id="60" creationId="{8B7C348F-4234-BCF6-545C-63DA5A5E7BA9}"/>
          </ac:spMkLst>
        </pc:spChg>
        <pc:spChg chg="add mod">
          <ac:chgData name="WANONO, Nathan" userId="99f38b78-d58b-43dc-971c-441766c63fc4" providerId="ADAL" clId="{645A1AA1-1855-4064-9EB2-CD5361C30D88}" dt="2024-09-10T11:20:40.783" v="3779" actId="1076"/>
          <ac:spMkLst>
            <pc:docMk/>
            <pc:sldMk cId="3178987347" sldId="2145706655"/>
            <ac:spMk id="65" creationId="{2396B6D4-419C-C6D1-3F1D-A54181CF3CD3}"/>
          </ac:spMkLst>
        </pc:spChg>
        <pc:grpChg chg="add mod">
          <ac:chgData name="WANONO, Nathan" userId="99f38b78-d58b-43dc-971c-441766c63fc4" providerId="ADAL" clId="{645A1AA1-1855-4064-9EB2-CD5361C30D88}" dt="2024-09-10T11:20:40.783" v="3779" actId="1076"/>
          <ac:grpSpMkLst>
            <pc:docMk/>
            <pc:sldMk cId="3178987347" sldId="2145706655"/>
            <ac:grpSpMk id="2" creationId="{F3AB3C0E-D918-A40E-9639-B6B65B5F3AD7}"/>
          </ac:grpSpMkLst>
        </pc:grpChg>
        <pc:grpChg chg="del">
          <ac:chgData name="WANONO, Nathan" userId="99f38b78-d58b-43dc-971c-441766c63fc4" providerId="ADAL" clId="{645A1AA1-1855-4064-9EB2-CD5361C30D88}" dt="2024-09-10T08:37:47.235" v="1307" actId="478"/>
          <ac:grpSpMkLst>
            <pc:docMk/>
            <pc:sldMk cId="3178987347" sldId="2145706655"/>
            <ac:grpSpMk id="6" creationId="{4E16524D-3658-EE2F-02CF-1D70BDE46AA4}"/>
          </ac:grpSpMkLst>
        </pc:grpChg>
        <pc:grpChg chg="add mod">
          <ac:chgData name="WANONO, Nathan" userId="99f38b78-d58b-43dc-971c-441766c63fc4" providerId="ADAL" clId="{645A1AA1-1855-4064-9EB2-CD5361C30D88}" dt="2024-09-10T11:20:40.783" v="3779" actId="1076"/>
          <ac:grpSpMkLst>
            <pc:docMk/>
            <pc:sldMk cId="3178987347" sldId="2145706655"/>
            <ac:grpSpMk id="43" creationId="{3B94B388-3DA6-DB04-65B8-92C64C0A1136}"/>
          </ac:grpSpMkLst>
        </pc:grpChg>
        <pc:grpChg chg="add mod">
          <ac:chgData name="WANONO, Nathan" userId="99f38b78-d58b-43dc-971c-441766c63fc4" providerId="ADAL" clId="{645A1AA1-1855-4064-9EB2-CD5361C30D88}" dt="2024-09-10T11:20:40.783" v="3779" actId="1076"/>
          <ac:grpSpMkLst>
            <pc:docMk/>
            <pc:sldMk cId="3178987347" sldId="2145706655"/>
            <ac:grpSpMk id="44" creationId="{5C8BFA7E-D3B4-73F5-3748-29CDECD9F4B7}"/>
          </ac:grpSpMkLst>
        </pc:grpChg>
        <pc:grpChg chg="add mod">
          <ac:chgData name="WANONO, Nathan" userId="99f38b78-d58b-43dc-971c-441766c63fc4" providerId="ADAL" clId="{645A1AA1-1855-4064-9EB2-CD5361C30D88}" dt="2024-09-10T11:20:40.783" v="3779" actId="1076"/>
          <ac:grpSpMkLst>
            <pc:docMk/>
            <pc:sldMk cId="3178987347" sldId="2145706655"/>
            <ac:grpSpMk id="47" creationId="{33D6E9B8-A4FE-DE49-B2C0-E89E6C53E52D}"/>
          </ac:grpSpMkLst>
        </pc:grpChg>
        <pc:grpChg chg="add mod">
          <ac:chgData name="WANONO, Nathan" userId="99f38b78-d58b-43dc-971c-441766c63fc4" providerId="ADAL" clId="{645A1AA1-1855-4064-9EB2-CD5361C30D88}" dt="2024-09-10T11:20:40.783" v="3779" actId="1076"/>
          <ac:grpSpMkLst>
            <pc:docMk/>
            <pc:sldMk cId="3178987347" sldId="2145706655"/>
            <ac:grpSpMk id="50" creationId="{4CAFD09A-6A1C-C99A-A0A7-A574B044B1B5}"/>
          </ac:grpSpMkLst>
        </pc:grpChg>
        <pc:grpChg chg="add del mod">
          <ac:chgData name="WANONO, Nathan" userId="99f38b78-d58b-43dc-971c-441766c63fc4" providerId="ADAL" clId="{645A1AA1-1855-4064-9EB2-CD5361C30D88}" dt="2024-09-10T09:36:32.214" v="2831" actId="478"/>
          <ac:grpSpMkLst>
            <pc:docMk/>
            <pc:sldMk cId="3178987347" sldId="2145706655"/>
            <ac:grpSpMk id="53" creationId="{928BC30A-304D-D599-1829-02B58BE29A94}"/>
          </ac:grpSpMkLst>
        </pc:grpChg>
        <pc:grpChg chg="add mod">
          <ac:chgData name="WANONO, Nathan" userId="99f38b78-d58b-43dc-971c-441766c63fc4" providerId="ADAL" clId="{645A1AA1-1855-4064-9EB2-CD5361C30D88}" dt="2024-09-10T11:20:40.783" v="3779" actId="1076"/>
          <ac:grpSpMkLst>
            <pc:docMk/>
            <pc:sldMk cId="3178987347" sldId="2145706655"/>
            <ac:grpSpMk id="56" creationId="{CE69BD68-9847-8242-8C8D-AAD53C3816C8}"/>
          </ac:grpSpMkLst>
        </pc:grpChg>
        <pc:grpChg chg="add mod">
          <ac:chgData name="WANONO, Nathan" userId="99f38b78-d58b-43dc-971c-441766c63fc4" providerId="ADAL" clId="{645A1AA1-1855-4064-9EB2-CD5361C30D88}" dt="2024-09-10T11:20:40.783" v="3779" actId="1076"/>
          <ac:grpSpMkLst>
            <pc:docMk/>
            <pc:sldMk cId="3178987347" sldId="2145706655"/>
            <ac:grpSpMk id="59" creationId="{D2040DAF-E6FE-765A-3639-710F1768548B}"/>
          </ac:grpSpMkLst>
        </pc:grpChg>
        <pc:picChg chg="add mod">
          <ac:chgData name="WANONO, Nathan" userId="99f38b78-d58b-43dc-971c-441766c63fc4" providerId="ADAL" clId="{645A1AA1-1855-4064-9EB2-CD5361C30D88}" dt="2024-09-10T09:35:43.458" v="2811" actId="164"/>
          <ac:picMkLst>
            <pc:docMk/>
            <pc:sldMk cId="3178987347" sldId="2145706655"/>
            <ac:picMk id="41" creationId="{C8161DED-ABC8-F5C4-E71C-1EB7A7DC9123}"/>
          </ac:picMkLst>
        </pc:picChg>
        <pc:picChg chg="mod">
          <ac:chgData name="WANONO, Nathan" userId="99f38b78-d58b-43dc-971c-441766c63fc4" providerId="ADAL" clId="{645A1AA1-1855-4064-9EB2-CD5361C30D88}" dt="2024-09-10T09:35:53.800" v="2819"/>
          <ac:picMkLst>
            <pc:docMk/>
            <pc:sldMk cId="3178987347" sldId="2145706655"/>
            <ac:picMk id="46" creationId="{FE3A78E6-0939-3238-90B4-4D2926C2B20A}"/>
          </ac:picMkLst>
        </pc:picChg>
        <pc:picChg chg="mod">
          <ac:chgData name="WANONO, Nathan" userId="99f38b78-d58b-43dc-971c-441766c63fc4" providerId="ADAL" clId="{645A1AA1-1855-4064-9EB2-CD5361C30D88}" dt="2024-09-10T09:36:01.558" v="2823"/>
          <ac:picMkLst>
            <pc:docMk/>
            <pc:sldMk cId="3178987347" sldId="2145706655"/>
            <ac:picMk id="49" creationId="{6FF71A22-0D5A-E838-5231-8F90FB38D711}"/>
          </ac:picMkLst>
        </pc:picChg>
        <pc:picChg chg="mod">
          <ac:chgData name="WANONO, Nathan" userId="99f38b78-d58b-43dc-971c-441766c63fc4" providerId="ADAL" clId="{645A1AA1-1855-4064-9EB2-CD5361C30D88}" dt="2024-09-10T09:36:06.208" v="2825"/>
          <ac:picMkLst>
            <pc:docMk/>
            <pc:sldMk cId="3178987347" sldId="2145706655"/>
            <ac:picMk id="52" creationId="{5F0AF793-E59D-FBB9-7FB2-D11493454817}"/>
          </ac:picMkLst>
        </pc:picChg>
        <pc:picChg chg="mod">
          <ac:chgData name="WANONO, Nathan" userId="99f38b78-d58b-43dc-971c-441766c63fc4" providerId="ADAL" clId="{645A1AA1-1855-4064-9EB2-CD5361C30D88}" dt="2024-09-10T09:36:15.664" v="2827"/>
          <ac:picMkLst>
            <pc:docMk/>
            <pc:sldMk cId="3178987347" sldId="2145706655"/>
            <ac:picMk id="55" creationId="{EE3017CB-6829-2697-F278-AF19D7AD2B22}"/>
          </ac:picMkLst>
        </pc:picChg>
        <pc:picChg chg="mod">
          <ac:chgData name="WANONO, Nathan" userId="99f38b78-d58b-43dc-971c-441766c63fc4" providerId="ADAL" clId="{645A1AA1-1855-4064-9EB2-CD5361C30D88}" dt="2024-09-10T09:36:26.443" v="2828" actId="571"/>
          <ac:picMkLst>
            <pc:docMk/>
            <pc:sldMk cId="3178987347" sldId="2145706655"/>
            <ac:picMk id="58" creationId="{D9CC807E-439B-1322-4106-41AB706DF060}"/>
          </ac:picMkLst>
        </pc:picChg>
        <pc:picChg chg="mod">
          <ac:chgData name="WANONO, Nathan" userId="99f38b78-d58b-43dc-971c-441766c63fc4" providerId="ADAL" clId="{645A1AA1-1855-4064-9EB2-CD5361C30D88}" dt="2024-09-10T09:36:26.818" v="2829"/>
          <ac:picMkLst>
            <pc:docMk/>
            <pc:sldMk cId="3178987347" sldId="2145706655"/>
            <ac:picMk id="61" creationId="{5E1D28C9-B4BF-4A0A-1197-1890D137D269}"/>
          </ac:picMkLst>
        </pc:picChg>
        <pc:cxnChg chg="mod">
          <ac:chgData name="WANONO, Nathan" userId="99f38b78-d58b-43dc-971c-441766c63fc4" providerId="ADAL" clId="{645A1AA1-1855-4064-9EB2-CD5361C30D88}" dt="2024-09-10T08:37:47.235" v="1307" actId="478"/>
          <ac:cxnSpMkLst>
            <pc:docMk/>
            <pc:sldMk cId="3178987347" sldId="2145706655"/>
            <ac:cxnSpMk id="13" creationId="{D7047D8D-9FE9-34DD-D6E1-8CFE6786283D}"/>
          </ac:cxnSpMkLst>
        </pc:cxnChg>
        <pc:cxnChg chg="mod">
          <ac:chgData name="WANONO, Nathan" userId="99f38b78-d58b-43dc-971c-441766c63fc4" providerId="ADAL" clId="{645A1AA1-1855-4064-9EB2-CD5361C30D88}" dt="2024-09-10T08:37:47.235" v="1307" actId="478"/>
          <ac:cxnSpMkLst>
            <pc:docMk/>
            <pc:sldMk cId="3178987347" sldId="2145706655"/>
            <ac:cxnSpMk id="14" creationId="{7F349496-BC9F-6E16-9484-3E1A3D1477CC}"/>
          </ac:cxnSpMkLst>
        </pc:cxnChg>
        <pc:cxnChg chg="mod">
          <ac:chgData name="WANONO, Nathan" userId="99f38b78-d58b-43dc-971c-441766c63fc4" providerId="ADAL" clId="{645A1AA1-1855-4064-9EB2-CD5361C30D88}" dt="2024-09-10T08:37:47.235" v="1307" actId="478"/>
          <ac:cxnSpMkLst>
            <pc:docMk/>
            <pc:sldMk cId="3178987347" sldId="2145706655"/>
            <ac:cxnSpMk id="15" creationId="{3C5D0723-9D69-3279-329E-3171043305CC}"/>
          </ac:cxnSpMkLst>
        </pc:cxnChg>
        <pc:cxnChg chg="mod">
          <ac:chgData name="WANONO, Nathan" userId="99f38b78-d58b-43dc-971c-441766c63fc4" providerId="ADAL" clId="{645A1AA1-1855-4064-9EB2-CD5361C30D88}" dt="2024-09-10T08:37:47.235" v="1307" actId="478"/>
          <ac:cxnSpMkLst>
            <pc:docMk/>
            <pc:sldMk cId="3178987347" sldId="2145706655"/>
            <ac:cxnSpMk id="16" creationId="{ECEC01AB-497C-7C4F-3253-AA5982A39F84}"/>
          </ac:cxnSpMkLst>
        </pc:cxnChg>
        <pc:cxnChg chg="mod">
          <ac:chgData name="WANONO, Nathan" userId="99f38b78-d58b-43dc-971c-441766c63fc4" providerId="ADAL" clId="{645A1AA1-1855-4064-9EB2-CD5361C30D88}" dt="2024-09-10T08:37:47.235" v="1307" actId="478"/>
          <ac:cxnSpMkLst>
            <pc:docMk/>
            <pc:sldMk cId="3178987347" sldId="2145706655"/>
            <ac:cxnSpMk id="17" creationId="{A8261543-6339-5805-4410-E2DE54469F02}"/>
          </ac:cxnSpMkLst>
        </pc:cxnChg>
        <pc:cxnChg chg="mod">
          <ac:chgData name="WANONO, Nathan" userId="99f38b78-d58b-43dc-971c-441766c63fc4" providerId="ADAL" clId="{645A1AA1-1855-4064-9EB2-CD5361C30D88}" dt="2024-09-10T09:29:30.920" v="2458"/>
          <ac:cxnSpMkLst>
            <pc:docMk/>
            <pc:sldMk cId="3178987347" sldId="2145706655"/>
            <ac:cxnSpMk id="23" creationId="{2BFCBB7B-5589-388E-DF43-E1319991A84A}"/>
          </ac:cxnSpMkLst>
        </pc:cxnChg>
        <pc:cxnChg chg="mod">
          <ac:chgData name="WANONO, Nathan" userId="99f38b78-d58b-43dc-971c-441766c63fc4" providerId="ADAL" clId="{645A1AA1-1855-4064-9EB2-CD5361C30D88}" dt="2024-09-10T09:29:30.920" v="2458"/>
          <ac:cxnSpMkLst>
            <pc:docMk/>
            <pc:sldMk cId="3178987347" sldId="2145706655"/>
            <ac:cxnSpMk id="24" creationId="{330A878C-90E2-9C64-3639-F2AE524B8FD8}"/>
          </ac:cxnSpMkLst>
        </pc:cxnChg>
        <pc:cxnChg chg="mod">
          <ac:chgData name="WANONO, Nathan" userId="99f38b78-d58b-43dc-971c-441766c63fc4" providerId="ADAL" clId="{645A1AA1-1855-4064-9EB2-CD5361C30D88}" dt="2024-09-10T09:29:30.920" v="2458"/>
          <ac:cxnSpMkLst>
            <pc:docMk/>
            <pc:sldMk cId="3178987347" sldId="2145706655"/>
            <ac:cxnSpMk id="25" creationId="{E1686C84-D83B-B17D-8492-9B603E1C1C2A}"/>
          </ac:cxnSpMkLst>
        </pc:cxnChg>
        <pc:cxnChg chg="mod">
          <ac:chgData name="WANONO, Nathan" userId="99f38b78-d58b-43dc-971c-441766c63fc4" providerId="ADAL" clId="{645A1AA1-1855-4064-9EB2-CD5361C30D88}" dt="2024-09-10T09:29:30.920" v="2458"/>
          <ac:cxnSpMkLst>
            <pc:docMk/>
            <pc:sldMk cId="3178987347" sldId="2145706655"/>
            <ac:cxnSpMk id="26" creationId="{220671E7-0D90-4A95-23C7-A8DD491E21D7}"/>
          </ac:cxnSpMkLst>
        </pc:cxnChg>
        <pc:cxnChg chg="mod">
          <ac:chgData name="WANONO, Nathan" userId="99f38b78-d58b-43dc-971c-441766c63fc4" providerId="ADAL" clId="{645A1AA1-1855-4064-9EB2-CD5361C30D88}" dt="2024-09-10T09:29:30.920" v="2458"/>
          <ac:cxnSpMkLst>
            <pc:docMk/>
            <pc:sldMk cId="3178987347" sldId="2145706655"/>
            <ac:cxnSpMk id="27" creationId="{453D345E-E675-6299-6E9F-4FB6BCDE49D7}"/>
          </ac:cxnSpMkLst>
        </pc:cxnChg>
        <pc:cxnChg chg="add del mod">
          <ac:chgData name="WANONO, Nathan" userId="99f38b78-d58b-43dc-971c-441766c63fc4" providerId="ADAL" clId="{645A1AA1-1855-4064-9EB2-CD5361C30D88}" dt="2024-09-10T09:31:33.953" v="2775" actId="478"/>
          <ac:cxnSpMkLst>
            <pc:docMk/>
            <pc:sldMk cId="3178987347" sldId="2145706655"/>
            <ac:cxnSpMk id="35" creationId="{6988512A-44AF-67AF-1F6B-82EC63C8367D}"/>
          </ac:cxnSpMkLst>
        </pc:cxnChg>
        <pc:cxnChg chg="add mod">
          <ac:chgData name="WANONO, Nathan" userId="99f38b78-d58b-43dc-971c-441766c63fc4" providerId="ADAL" clId="{645A1AA1-1855-4064-9EB2-CD5361C30D88}" dt="2024-09-10T11:20:40.783" v="3779" actId="1076"/>
          <ac:cxnSpMkLst>
            <pc:docMk/>
            <pc:sldMk cId="3178987347" sldId="2145706655"/>
            <ac:cxnSpMk id="37" creationId="{8EBDC7E0-F1E6-F41D-0B25-039DED2B7310}"/>
          </ac:cxnSpMkLst>
        </pc:cxnChg>
        <pc:cxnChg chg="add mod">
          <ac:chgData name="WANONO, Nathan" userId="99f38b78-d58b-43dc-971c-441766c63fc4" providerId="ADAL" clId="{645A1AA1-1855-4064-9EB2-CD5361C30D88}" dt="2024-09-10T11:20:40.783" v="3779" actId="1076"/>
          <ac:cxnSpMkLst>
            <pc:docMk/>
            <pc:sldMk cId="3178987347" sldId="2145706655"/>
            <ac:cxnSpMk id="62" creationId="{CB352FAE-E27D-B6A9-B69F-1BCABDC563F7}"/>
          </ac:cxnSpMkLst>
        </pc:cxnChg>
      </pc:sldChg>
      <pc:sldChg chg="add del ord">
        <pc:chgData name="WANONO, Nathan" userId="99f38b78-d58b-43dc-971c-441766c63fc4" providerId="ADAL" clId="{645A1AA1-1855-4064-9EB2-CD5361C30D88}" dt="2024-09-10T09:14:57.403" v="1617" actId="47"/>
        <pc:sldMkLst>
          <pc:docMk/>
          <pc:sldMk cId="1552681394" sldId="2145706656"/>
        </pc:sldMkLst>
      </pc:sldChg>
      <pc:sldChg chg="addSp delSp modSp add mod ord">
        <pc:chgData name="WANONO, Nathan" userId="99f38b78-d58b-43dc-971c-441766c63fc4" providerId="ADAL" clId="{645A1AA1-1855-4064-9EB2-CD5361C30D88}" dt="2024-09-13T15:20:30.592" v="17945" actId="20577"/>
        <pc:sldMkLst>
          <pc:docMk/>
          <pc:sldMk cId="1957123377" sldId="2145706656"/>
        </pc:sldMkLst>
        <pc:spChg chg="mod">
          <ac:chgData name="WANONO, Nathan" userId="99f38b78-d58b-43dc-971c-441766c63fc4" providerId="ADAL" clId="{645A1AA1-1855-4064-9EB2-CD5361C30D88}" dt="2024-09-10T09:23:38.023" v="1898" actId="313"/>
          <ac:spMkLst>
            <pc:docMk/>
            <pc:sldMk cId="1957123377" sldId="2145706656"/>
            <ac:spMk id="3" creationId="{F1261247-D114-B15E-D6B0-FD5D1DC5DAEA}"/>
          </ac:spMkLst>
        </pc:spChg>
        <pc:spChg chg="add del mod">
          <ac:chgData name="WANONO, Nathan" userId="99f38b78-d58b-43dc-971c-441766c63fc4" providerId="ADAL" clId="{645A1AA1-1855-4064-9EB2-CD5361C30D88}" dt="2024-09-10T11:14:45.048" v="3775" actId="1076"/>
          <ac:spMkLst>
            <pc:docMk/>
            <pc:sldMk cId="1957123377" sldId="2145706656"/>
            <ac:spMk id="4" creationId="{FE0AD2AE-31C5-77CB-66E6-903CA8376D25}"/>
          </ac:spMkLst>
        </pc:spChg>
        <pc:spChg chg="mod">
          <ac:chgData name="WANONO, Nathan" userId="99f38b78-d58b-43dc-971c-441766c63fc4" providerId="ADAL" clId="{645A1AA1-1855-4064-9EB2-CD5361C30D88}" dt="2024-09-13T15:20:30.592" v="17945" actId="20577"/>
          <ac:spMkLst>
            <pc:docMk/>
            <pc:sldMk cId="1957123377" sldId="2145706656"/>
            <ac:spMk id="5" creationId="{3AA7F2A3-B0C0-D68A-CA8D-C23BFCFC8367}"/>
          </ac:spMkLst>
        </pc:spChg>
        <pc:spChg chg="mod">
          <ac:chgData name="WANONO, Nathan" userId="99f38b78-d58b-43dc-971c-441766c63fc4" providerId="ADAL" clId="{645A1AA1-1855-4064-9EB2-CD5361C30D88}" dt="2024-09-10T09:27:21.318" v="2441" actId="165"/>
          <ac:spMkLst>
            <pc:docMk/>
            <pc:sldMk cId="1957123377" sldId="2145706656"/>
            <ac:spMk id="7" creationId="{929C82F8-E96B-A9A7-27FC-6068D6F2A13C}"/>
          </ac:spMkLst>
        </pc:spChg>
        <pc:spChg chg="mod">
          <ac:chgData name="WANONO, Nathan" userId="99f38b78-d58b-43dc-971c-441766c63fc4" providerId="ADAL" clId="{645A1AA1-1855-4064-9EB2-CD5361C30D88}" dt="2024-09-10T09:27:21.318" v="2441" actId="165"/>
          <ac:spMkLst>
            <pc:docMk/>
            <pc:sldMk cId="1957123377" sldId="2145706656"/>
            <ac:spMk id="8" creationId="{9B66F796-A56D-B101-6FDB-83BD9847F5F9}"/>
          </ac:spMkLst>
        </pc:spChg>
        <pc:spChg chg="mod">
          <ac:chgData name="WANONO, Nathan" userId="99f38b78-d58b-43dc-971c-441766c63fc4" providerId="ADAL" clId="{645A1AA1-1855-4064-9EB2-CD5361C30D88}" dt="2024-09-10T09:27:21.318" v="2441" actId="165"/>
          <ac:spMkLst>
            <pc:docMk/>
            <pc:sldMk cId="1957123377" sldId="2145706656"/>
            <ac:spMk id="9" creationId="{E2343A20-061E-1EAC-1BA5-7220CE401947}"/>
          </ac:spMkLst>
        </pc:spChg>
        <pc:spChg chg="mod">
          <ac:chgData name="WANONO, Nathan" userId="99f38b78-d58b-43dc-971c-441766c63fc4" providerId="ADAL" clId="{645A1AA1-1855-4064-9EB2-CD5361C30D88}" dt="2024-09-10T09:27:21.318" v="2441" actId="165"/>
          <ac:spMkLst>
            <pc:docMk/>
            <pc:sldMk cId="1957123377" sldId="2145706656"/>
            <ac:spMk id="10" creationId="{1B1167BE-73FD-FC8D-4A97-66EED07FB36B}"/>
          </ac:spMkLst>
        </pc:spChg>
        <pc:spChg chg="mod">
          <ac:chgData name="WANONO, Nathan" userId="99f38b78-d58b-43dc-971c-441766c63fc4" providerId="ADAL" clId="{645A1AA1-1855-4064-9EB2-CD5361C30D88}" dt="2024-09-10T09:27:21.318" v="2441" actId="165"/>
          <ac:spMkLst>
            <pc:docMk/>
            <pc:sldMk cId="1957123377" sldId="2145706656"/>
            <ac:spMk id="11" creationId="{F770243E-62B6-F153-A4DB-6415322A98C2}"/>
          </ac:spMkLst>
        </pc:spChg>
        <pc:spChg chg="mod">
          <ac:chgData name="WANONO, Nathan" userId="99f38b78-d58b-43dc-971c-441766c63fc4" providerId="ADAL" clId="{645A1AA1-1855-4064-9EB2-CD5361C30D88}" dt="2024-09-10T09:27:21.318" v="2441" actId="165"/>
          <ac:spMkLst>
            <pc:docMk/>
            <pc:sldMk cId="1957123377" sldId="2145706656"/>
            <ac:spMk id="12" creationId="{ABCBB293-1EF6-83AB-08C6-F4F9BBACB02B}"/>
          </ac:spMkLst>
        </pc:spChg>
        <pc:spChg chg="add del mod topLvl">
          <ac:chgData name="WANONO, Nathan" userId="99f38b78-d58b-43dc-971c-441766c63fc4" providerId="ADAL" clId="{645A1AA1-1855-4064-9EB2-CD5361C30D88}" dt="2024-09-10T11:14:45.048" v="3775" actId="1076"/>
          <ac:spMkLst>
            <pc:docMk/>
            <pc:sldMk cId="1957123377" sldId="2145706656"/>
            <ac:spMk id="20" creationId="{2FE90F1F-B6CF-413D-A312-F1C1A77CCFC9}"/>
          </ac:spMkLst>
        </pc:spChg>
        <pc:spChg chg="add del mod topLvl">
          <ac:chgData name="WANONO, Nathan" userId="99f38b78-d58b-43dc-971c-441766c63fc4" providerId="ADAL" clId="{645A1AA1-1855-4064-9EB2-CD5361C30D88}" dt="2024-09-10T11:14:45.048" v="3775" actId="1076"/>
          <ac:spMkLst>
            <pc:docMk/>
            <pc:sldMk cId="1957123377" sldId="2145706656"/>
            <ac:spMk id="21" creationId="{F8485B85-DB19-E5B1-AB1B-CBB55894EBBF}"/>
          </ac:spMkLst>
        </pc:spChg>
        <pc:spChg chg="add del mod topLvl">
          <ac:chgData name="WANONO, Nathan" userId="99f38b78-d58b-43dc-971c-441766c63fc4" providerId="ADAL" clId="{645A1AA1-1855-4064-9EB2-CD5361C30D88}" dt="2024-09-10T11:14:45.048" v="3775" actId="1076"/>
          <ac:spMkLst>
            <pc:docMk/>
            <pc:sldMk cId="1957123377" sldId="2145706656"/>
            <ac:spMk id="22" creationId="{42C3550E-6674-D624-B253-F6D5DB7F5102}"/>
          </ac:spMkLst>
        </pc:spChg>
        <pc:spChg chg="add del mod topLvl">
          <ac:chgData name="WANONO, Nathan" userId="99f38b78-d58b-43dc-971c-441766c63fc4" providerId="ADAL" clId="{645A1AA1-1855-4064-9EB2-CD5361C30D88}" dt="2024-09-10T11:14:45.048" v="3775" actId="1076"/>
          <ac:spMkLst>
            <pc:docMk/>
            <pc:sldMk cId="1957123377" sldId="2145706656"/>
            <ac:spMk id="23" creationId="{C197AB3C-633D-0EF7-E1BE-1BB4E79FA1E8}"/>
          </ac:spMkLst>
        </pc:spChg>
        <pc:spChg chg="add del mod topLvl">
          <ac:chgData name="WANONO, Nathan" userId="99f38b78-d58b-43dc-971c-441766c63fc4" providerId="ADAL" clId="{645A1AA1-1855-4064-9EB2-CD5361C30D88}" dt="2024-09-10T11:14:45.048" v="3775" actId="1076"/>
          <ac:spMkLst>
            <pc:docMk/>
            <pc:sldMk cId="1957123377" sldId="2145706656"/>
            <ac:spMk id="24" creationId="{F9F215C7-5011-FE4F-0250-47AB4179B8A9}"/>
          </ac:spMkLst>
        </pc:spChg>
        <pc:spChg chg="add del mod topLvl">
          <ac:chgData name="WANONO, Nathan" userId="99f38b78-d58b-43dc-971c-441766c63fc4" providerId="ADAL" clId="{645A1AA1-1855-4064-9EB2-CD5361C30D88}" dt="2024-09-10T11:14:45.048" v="3775" actId="1076"/>
          <ac:spMkLst>
            <pc:docMk/>
            <pc:sldMk cId="1957123377" sldId="2145706656"/>
            <ac:spMk id="25" creationId="{F52B1BC9-EE11-913F-6A0A-BF44DFB8C132}"/>
          </ac:spMkLst>
        </pc:spChg>
        <pc:grpChg chg="add del mod">
          <ac:chgData name="WANONO, Nathan" userId="99f38b78-d58b-43dc-971c-441766c63fc4" providerId="ADAL" clId="{645A1AA1-1855-4064-9EB2-CD5361C30D88}" dt="2024-09-10T09:27:21.318" v="2441" actId="165"/>
          <ac:grpSpMkLst>
            <pc:docMk/>
            <pc:sldMk cId="1957123377" sldId="2145706656"/>
            <ac:grpSpMk id="2" creationId="{9798A52F-2DA7-D4B3-AB02-4EA1D495A1C4}"/>
          </ac:grpSpMkLst>
        </pc:grpChg>
        <pc:grpChg chg="add del mod topLvl">
          <ac:chgData name="WANONO, Nathan" userId="99f38b78-d58b-43dc-971c-441766c63fc4" providerId="ADAL" clId="{645A1AA1-1855-4064-9EB2-CD5361C30D88}" dt="2024-09-10T11:14:45.048" v="3775" actId="1076"/>
          <ac:grpSpMkLst>
            <pc:docMk/>
            <pc:sldMk cId="1957123377" sldId="2145706656"/>
            <ac:grpSpMk id="6" creationId="{4E16524D-3658-EE2F-02CF-1D70BDE46AA4}"/>
          </ac:grpSpMkLst>
        </pc:grpChg>
        <pc:cxnChg chg="mod">
          <ac:chgData name="WANONO, Nathan" userId="99f38b78-d58b-43dc-971c-441766c63fc4" providerId="ADAL" clId="{645A1AA1-1855-4064-9EB2-CD5361C30D88}" dt="2024-09-10T09:29:29.282" v="2457" actId="21"/>
          <ac:cxnSpMkLst>
            <pc:docMk/>
            <pc:sldMk cId="1957123377" sldId="2145706656"/>
            <ac:cxnSpMk id="13" creationId="{D7047D8D-9FE9-34DD-D6E1-8CFE6786283D}"/>
          </ac:cxnSpMkLst>
        </pc:cxnChg>
        <pc:cxnChg chg="mod">
          <ac:chgData name="WANONO, Nathan" userId="99f38b78-d58b-43dc-971c-441766c63fc4" providerId="ADAL" clId="{645A1AA1-1855-4064-9EB2-CD5361C30D88}" dt="2024-09-10T09:29:29.282" v="2457" actId="21"/>
          <ac:cxnSpMkLst>
            <pc:docMk/>
            <pc:sldMk cId="1957123377" sldId="2145706656"/>
            <ac:cxnSpMk id="14" creationId="{7F349496-BC9F-6E16-9484-3E1A3D1477CC}"/>
          </ac:cxnSpMkLst>
        </pc:cxnChg>
        <pc:cxnChg chg="mod">
          <ac:chgData name="WANONO, Nathan" userId="99f38b78-d58b-43dc-971c-441766c63fc4" providerId="ADAL" clId="{645A1AA1-1855-4064-9EB2-CD5361C30D88}" dt="2024-09-10T09:29:29.282" v="2457" actId="21"/>
          <ac:cxnSpMkLst>
            <pc:docMk/>
            <pc:sldMk cId="1957123377" sldId="2145706656"/>
            <ac:cxnSpMk id="15" creationId="{3C5D0723-9D69-3279-329E-3171043305CC}"/>
          </ac:cxnSpMkLst>
        </pc:cxnChg>
        <pc:cxnChg chg="mod">
          <ac:chgData name="WANONO, Nathan" userId="99f38b78-d58b-43dc-971c-441766c63fc4" providerId="ADAL" clId="{645A1AA1-1855-4064-9EB2-CD5361C30D88}" dt="2024-09-10T09:29:29.282" v="2457" actId="21"/>
          <ac:cxnSpMkLst>
            <pc:docMk/>
            <pc:sldMk cId="1957123377" sldId="2145706656"/>
            <ac:cxnSpMk id="16" creationId="{ECEC01AB-497C-7C4F-3253-AA5982A39F84}"/>
          </ac:cxnSpMkLst>
        </pc:cxnChg>
        <pc:cxnChg chg="mod">
          <ac:chgData name="WANONO, Nathan" userId="99f38b78-d58b-43dc-971c-441766c63fc4" providerId="ADAL" clId="{645A1AA1-1855-4064-9EB2-CD5361C30D88}" dt="2024-09-10T09:29:29.282" v="2457" actId="21"/>
          <ac:cxnSpMkLst>
            <pc:docMk/>
            <pc:sldMk cId="1957123377" sldId="2145706656"/>
            <ac:cxnSpMk id="17" creationId="{A8261543-6339-5805-4410-E2DE54469F02}"/>
          </ac:cxnSpMkLst>
        </pc:cxnChg>
        <pc:cxnChg chg="add del mod">
          <ac:chgData name="WANONO, Nathan" userId="99f38b78-d58b-43dc-971c-441766c63fc4" providerId="ADAL" clId="{645A1AA1-1855-4064-9EB2-CD5361C30D88}" dt="2024-09-10T11:14:45.048" v="3775" actId="1076"/>
          <ac:cxnSpMkLst>
            <pc:docMk/>
            <pc:sldMk cId="1957123377" sldId="2145706656"/>
            <ac:cxnSpMk id="19" creationId="{D2BCB0B3-3A74-8F0F-D2E6-1199706EB51A}"/>
          </ac:cxnSpMkLst>
        </pc:cxnChg>
      </pc:sldChg>
      <pc:sldChg chg="modSp add mod ord">
        <pc:chgData name="WANONO, Nathan" userId="99f38b78-d58b-43dc-971c-441766c63fc4" providerId="ADAL" clId="{645A1AA1-1855-4064-9EB2-CD5361C30D88}" dt="2024-09-11T13:49:46.548" v="5381" actId="6549"/>
        <pc:sldMkLst>
          <pc:docMk/>
          <pc:sldMk cId="1365634450" sldId="2145706657"/>
        </pc:sldMkLst>
        <pc:spChg chg="mod">
          <ac:chgData name="WANONO, Nathan" userId="99f38b78-d58b-43dc-971c-441766c63fc4" providerId="ADAL" clId="{645A1AA1-1855-4064-9EB2-CD5361C30D88}" dt="2024-09-11T13:49:46.548" v="5381" actId="6549"/>
          <ac:spMkLst>
            <pc:docMk/>
            <pc:sldMk cId="1365634450" sldId="2145706657"/>
            <ac:spMk id="15" creationId="{8D532E29-48E6-4DAB-AA82-2A90F9990E15}"/>
          </ac:spMkLst>
        </pc:spChg>
      </pc:sldChg>
      <pc:sldChg chg="addSp delSp modSp add mod">
        <pc:chgData name="WANONO, Nathan" userId="99f38b78-d58b-43dc-971c-441766c63fc4" providerId="ADAL" clId="{645A1AA1-1855-4064-9EB2-CD5361C30D88}" dt="2024-09-18T10:43:34.963" v="24836" actId="20577"/>
        <pc:sldMkLst>
          <pc:docMk/>
          <pc:sldMk cId="1502916076" sldId="2145706658"/>
        </pc:sldMkLst>
        <pc:spChg chg="mod">
          <ac:chgData name="WANONO, Nathan" userId="99f38b78-d58b-43dc-971c-441766c63fc4" providerId="ADAL" clId="{645A1AA1-1855-4064-9EB2-CD5361C30D88}" dt="2024-09-10T12:10:51.858" v="4053" actId="20577"/>
          <ac:spMkLst>
            <pc:docMk/>
            <pc:sldMk cId="1502916076" sldId="2145706658"/>
            <ac:spMk id="3" creationId="{F1261247-D114-B15E-D6B0-FD5D1DC5DAEA}"/>
          </ac:spMkLst>
        </pc:spChg>
        <pc:spChg chg="mod">
          <ac:chgData name="WANONO, Nathan" userId="99f38b78-d58b-43dc-971c-441766c63fc4" providerId="ADAL" clId="{645A1AA1-1855-4064-9EB2-CD5361C30D88}" dt="2024-09-18T10:43:34.963" v="24836" actId="20577"/>
          <ac:spMkLst>
            <pc:docMk/>
            <pc:sldMk cId="1502916076" sldId="2145706658"/>
            <ac:spMk id="5" creationId="{3AA7F2A3-B0C0-D68A-CA8D-C23BFCFC8367}"/>
          </ac:spMkLst>
        </pc:spChg>
        <pc:spChg chg="del">
          <ac:chgData name="WANONO, Nathan" userId="99f38b78-d58b-43dc-971c-441766c63fc4" providerId="ADAL" clId="{645A1AA1-1855-4064-9EB2-CD5361C30D88}" dt="2024-09-10T09:42:38.676" v="2904" actId="478"/>
          <ac:spMkLst>
            <pc:docMk/>
            <pc:sldMk cId="1502916076" sldId="2145706658"/>
            <ac:spMk id="28" creationId="{1F76CD77-64BF-00D9-F546-51DA50885E13}"/>
          </ac:spMkLst>
        </pc:spChg>
        <pc:spChg chg="add mod">
          <ac:chgData name="WANONO, Nathan" userId="99f38b78-d58b-43dc-971c-441766c63fc4" providerId="ADAL" clId="{645A1AA1-1855-4064-9EB2-CD5361C30D88}" dt="2024-09-10T12:26:24.495" v="4588" actId="164"/>
          <ac:spMkLst>
            <pc:docMk/>
            <pc:sldMk cId="1502916076" sldId="2145706658"/>
            <ac:spMk id="63" creationId="{B52F42E7-559F-A8E2-F991-A3470357461F}"/>
          </ac:spMkLst>
        </pc:spChg>
        <pc:spChg chg="add mod">
          <ac:chgData name="WANONO, Nathan" userId="99f38b78-d58b-43dc-971c-441766c63fc4" providerId="ADAL" clId="{645A1AA1-1855-4064-9EB2-CD5361C30D88}" dt="2024-09-10T12:26:24.495" v="4588" actId="164"/>
          <ac:spMkLst>
            <pc:docMk/>
            <pc:sldMk cId="1502916076" sldId="2145706658"/>
            <ac:spMk id="64" creationId="{6104ABF9-A3E0-34BB-4934-B93483E498F1}"/>
          </ac:spMkLst>
        </pc:spChg>
        <pc:spChg chg="del">
          <ac:chgData name="WANONO, Nathan" userId="99f38b78-d58b-43dc-971c-441766c63fc4" providerId="ADAL" clId="{645A1AA1-1855-4064-9EB2-CD5361C30D88}" dt="2024-09-10T09:42:38.676" v="2904" actId="478"/>
          <ac:spMkLst>
            <pc:docMk/>
            <pc:sldMk cId="1502916076" sldId="2145706658"/>
            <ac:spMk id="65" creationId="{2396B6D4-419C-C6D1-3F1D-A54181CF3CD3}"/>
          </ac:spMkLst>
        </pc:spChg>
        <pc:grpChg chg="del">
          <ac:chgData name="WANONO, Nathan" userId="99f38b78-d58b-43dc-971c-441766c63fc4" providerId="ADAL" clId="{645A1AA1-1855-4064-9EB2-CD5361C30D88}" dt="2024-09-10T09:42:38.676" v="2904" actId="478"/>
          <ac:grpSpMkLst>
            <pc:docMk/>
            <pc:sldMk cId="1502916076" sldId="2145706658"/>
            <ac:grpSpMk id="2" creationId="{F3AB3C0E-D918-A40E-9639-B6B65B5F3AD7}"/>
          </ac:grpSpMkLst>
        </pc:grpChg>
        <pc:grpChg chg="add mod">
          <ac:chgData name="WANONO, Nathan" userId="99f38b78-d58b-43dc-971c-441766c63fc4" providerId="ADAL" clId="{645A1AA1-1855-4064-9EB2-CD5361C30D88}" dt="2024-09-10T12:26:24.495" v="4588" actId="164"/>
          <ac:grpSpMkLst>
            <pc:docMk/>
            <pc:sldMk cId="1502916076" sldId="2145706658"/>
            <ac:grpSpMk id="35" creationId="{6F63444C-BE7F-6210-3E63-E837DFEEE24C}"/>
          </ac:grpSpMkLst>
        </pc:grpChg>
        <pc:grpChg chg="del">
          <ac:chgData name="WANONO, Nathan" userId="99f38b78-d58b-43dc-971c-441766c63fc4" providerId="ADAL" clId="{645A1AA1-1855-4064-9EB2-CD5361C30D88}" dt="2024-09-10T09:42:38.676" v="2904" actId="478"/>
          <ac:grpSpMkLst>
            <pc:docMk/>
            <pc:sldMk cId="1502916076" sldId="2145706658"/>
            <ac:grpSpMk id="43" creationId="{3B94B388-3DA6-DB04-65B8-92C64C0A1136}"/>
          </ac:grpSpMkLst>
        </pc:grpChg>
        <pc:grpChg chg="del">
          <ac:chgData name="WANONO, Nathan" userId="99f38b78-d58b-43dc-971c-441766c63fc4" providerId="ADAL" clId="{645A1AA1-1855-4064-9EB2-CD5361C30D88}" dt="2024-09-10T09:42:38.676" v="2904" actId="478"/>
          <ac:grpSpMkLst>
            <pc:docMk/>
            <pc:sldMk cId="1502916076" sldId="2145706658"/>
            <ac:grpSpMk id="44" creationId="{5C8BFA7E-D3B4-73F5-3748-29CDECD9F4B7}"/>
          </ac:grpSpMkLst>
        </pc:grpChg>
        <pc:grpChg chg="del">
          <ac:chgData name="WANONO, Nathan" userId="99f38b78-d58b-43dc-971c-441766c63fc4" providerId="ADAL" clId="{645A1AA1-1855-4064-9EB2-CD5361C30D88}" dt="2024-09-10T09:42:38.676" v="2904" actId="478"/>
          <ac:grpSpMkLst>
            <pc:docMk/>
            <pc:sldMk cId="1502916076" sldId="2145706658"/>
            <ac:grpSpMk id="47" creationId="{33D6E9B8-A4FE-DE49-B2C0-E89E6C53E52D}"/>
          </ac:grpSpMkLst>
        </pc:grpChg>
        <pc:grpChg chg="del">
          <ac:chgData name="WANONO, Nathan" userId="99f38b78-d58b-43dc-971c-441766c63fc4" providerId="ADAL" clId="{645A1AA1-1855-4064-9EB2-CD5361C30D88}" dt="2024-09-10T09:42:38.676" v="2904" actId="478"/>
          <ac:grpSpMkLst>
            <pc:docMk/>
            <pc:sldMk cId="1502916076" sldId="2145706658"/>
            <ac:grpSpMk id="50" creationId="{4CAFD09A-6A1C-C99A-A0A7-A574B044B1B5}"/>
          </ac:grpSpMkLst>
        </pc:grpChg>
        <pc:grpChg chg="del">
          <ac:chgData name="WANONO, Nathan" userId="99f38b78-d58b-43dc-971c-441766c63fc4" providerId="ADAL" clId="{645A1AA1-1855-4064-9EB2-CD5361C30D88}" dt="2024-09-10T09:42:38.676" v="2904" actId="478"/>
          <ac:grpSpMkLst>
            <pc:docMk/>
            <pc:sldMk cId="1502916076" sldId="2145706658"/>
            <ac:grpSpMk id="56" creationId="{CE69BD68-9847-8242-8C8D-AAD53C3816C8}"/>
          </ac:grpSpMkLst>
        </pc:grpChg>
        <pc:grpChg chg="del">
          <ac:chgData name="WANONO, Nathan" userId="99f38b78-d58b-43dc-971c-441766c63fc4" providerId="ADAL" clId="{645A1AA1-1855-4064-9EB2-CD5361C30D88}" dt="2024-09-10T09:42:38.676" v="2904" actId="478"/>
          <ac:grpSpMkLst>
            <pc:docMk/>
            <pc:sldMk cId="1502916076" sldId="2145706658"/>
            <ac:grpSpMk id="59" creationId="{D2040DAF-E6FE-765A-3639-710F1768548B}"/>
          </ac:grpSpMkLst>
        </pc:grpChg>
        <pc:grpChg chg="add mod">
          <ac:chgData name="WANONO, Nathan" userId="99f38b78-d58b-43dc-971c-441766c63fc4" providerId="ADAL" clId="{645A1AA1-1855-4064-9EB2-CD5361C30D88}" dt="2024-09-10T12:28:31.626" v="4635" actId="1076"/>
          <ac:grpSpMkLst>
            <pc:docMk/>
            <pc:sldMk cId="1502916076" sldId="2145706658"/>
            <ac:grpSpMk id="66" creationId="{8E848204-2B1B-B133-B639-4FC47CFCF2B3}"/>
          </ac:grpSpMkLst>
        </pc:grpChg>
        <pc:picChg chg="add mod">
          <ac:chgData name="WANONO, Nathan" userId="99f38b78-d58b-43dc-971c-441766c63fc4" providerId="ADAL" clId="{645A1AA1-1855-4064-9EB2-CD5361C30D88}" dt="2024-09-10T12:26:24.495" v="4588" actId="164"/>
          <ac:picMkLst>
            <pc:docMk/>
            <pc:sldMk cId="1502916076" sldId="2145706658"/>
            <ac:picMk id="6" creationId="{3D7591F0-177A-3AD8-23CA-743BA0F75AB9}"/>
          </ac:picMkLst>
        </pc:picChg>
        <pc:picChg chg="add mod">
          <ac:chgData name="WANONO, Nathan" userId="99f38b78-d58b-43dc-971c-441766c63fc4" providerId="ADAL" clId="{645A1AA1-1855-4064-9EB2-CD5361C30D88}" dt="2024-09-10T12:26:24.495" v="4588" actId="164"/>
          <ac:picMkLst>
            <pc:docMk/>
            <pc:sldMk cId="1502916076" sldId="2145706658"/>
            <ac:picMk id="8" creationId="{4F541998-B832-7F24-11E1-621D7EDB7899}"/>
          </ac:picMkLst>
        </pc:picChg>
        <pc:picChg chg="add del mod">
          <ac:chgData name="WANONO, Nathan" userId="99f38b78-d58b-43dc-971c-441766c63fc4" providerId="ADAL" clId="{645A1AA1-1855-4064-9EB2-CD5361C30D88}" dt="2024-09-10T12:21:44.784" v="4487" actId="478"/>
          <ac:picMkLst>
            <pc:docMk/>
            <pc:sldMk cId="1502916076" sldId="2145706658"/>
            <ac:picMk id="10" creationId="{5183AD72-4B7B-4A86-52D9-B0FE34387E81}"/>
          </ac:picMkLst>
        </pc:picChg>
        <pc:picChg chg="add mod">
          <ac:chgData name="WANONO, Nathan" userId="99f38b78-d58b-43dc-971c-441766c63fc4" providerId="ADAL" clId="{645A1AA1-1855-4064-9EB2-CD5361C30D88}" dt="2024-09-10T12:26:24.495" v="4588" actId="164"/>
          <ac:picMkLst>
            <pc:docMk/>
            <pc:sldMk cId="1502916076" sldId="2145706658"/>
            <ac:picMk id="11" creationId="{F6B68292-78BE-9E05-91EF-436461712F6D}"/>
          </ac:picMkLst>
        </pc:picChg>
        <pc:picChg chg="add mod">
          <ac:chgData name="WANONO, Nathan" userId="99f38b78-d58b-43dc-971c-441766c63fc4" providerId="ADAL" clId="{645A1AA1-1855-4064-9EB2-CD5361C30D88}" dt="2024-09-10T12:24:19.495" v="4522" actId="208"/>
          <ac:picMkLst>
            <pc:docMk/>
            <pc:sldMk cId="1502916076" sldId="2145706658"/>
            <ac:picMk id="29" creationId="{6A5EAE04-C573-6834-1DF8-20B0A5E22296}"/>
          </ac:picMkLst>
        </pc:picChg>
        <pc:picChg chg="add mod">
          <ac:chgData name="WANONO, Nathan" userId="99f38b78-d58b-43dc-971c-441766c63fc4" providerId="ADAL" clId="{645A1AA1-1855-4064-9EB2-CD5361C30D88}" dt="2024-09-10T12:24:19.495" v="4522" actId="208"/>
          <ac:picMkLst>
            <pc:docMk/>
            <pc:sldMk cId="1502916076" sldId="2145706658"/>
            <ac:picMk id="34" creationId="{76A2509E-DB02-CCA8-DDF9-CAD57C99B441}"/>
          </ac:picMkLst>
        </pc:picChg>
        <pc:cxnChg chg="add mod">
          <ac:chgData name="WANONO, Nathan" userId="99f38b78-d58b-43dc-971c-441766c63fc4" providerId="ADAL" clId="{645A1AA1-1855-4064-9EB2-CD5361C30D88}" dt="2024-09-10T12:26:24.495" v="4588" actId="164"/>
          <ac:cxnSpMkLst>
            <pc:docMk/>
            <pc:sldMk cId="1502916076" sldId="2145706658"/>
            <ac:cxnSpMk id="12" creationId="{50330491-2028-CE47-1238-6A4D4FD9B56D}"/>
          </ac:cxnSpMkLst>
        </pc:cxnChg>
        <pc:cxnChg chg="add mod">
          <ac:chgData name="WANONO, Nathan" userId="99f38b78-d58b-43dc-971c-441766c63fc4" providerId="ADAL" clId="{645A1AA1-1855-4064-9EB2-CD5361C30D88}" dt="2024-09-10T12:26:24.495" v="4588" actId="164"/>
          <ac:cxnSpMkLst>
            <pc:docMk/>
            <pc:sldMk cId="1502916076" sldId="2145706658"/>
            <ac:cxnSpMk id="15" creationId="{F48B20E6-5703-373E-389F-8895D19D8F37}"/>
          </ac:cxnSpMkLst>
        </pc:cxnChg>
        <pc:cxnChg chg="mod">
          <ac:chgData name="WANONO, Nathan" userId="99f38b78-d58b-43dc-971c-441766c63fc4" providerId="ADAL" clId="{645A1AA1-1855-4064-9EB2-CD5361C30D88}" dt="2024-09-10T09:42:38.676" v="2904" actId="478"/>
          <ac:cxnSpMkLst>
            <pc:docMk/>
            <pc:sldMk cId="1502916076" sldId="2145706658"/>
            <ac:cxnSpMk id="23" creationId="{2BFCBB7B-5589-388E-DF43-E1319991A84A}"/>
          </ac:cxnSpMkLst>
        </pc:cxnChg>
        <pc:cxnChg chg="mod">
          <ac:chgData name="WANONO, Nathan" userId="99f38b78-d58b-43dc-971c-441766c63fc4" providerId="ADAL" clId="{645A1AA1-1855-4064-9EB2-CD5361C30D88}" dt="2024-09-10T09:42:38.676" v="2904" actId="478"/>
          <ac:cxnSpMkLst>
            <pc:docMk/>
            <pc:sldMk cId="1502916076" sldId="2145706658"/>
            <ac:cxnSpMk id="24" creationId="{330A878C-90E2-9C64-3639-F2AE524B8FD8}"/>
          </ac:cxnSpMkLst>
        </pc:cxnChg>
        <pc:cxnChg chg="mod">
          <ac:chgData name="WANONO, Nathan" userId="99f38b78-d58b-43dc-971c-441766c63fc4" providerId="ADAL" clId="{645A1AA1-1855-4064-9EB2-CD5361C30D88}" dt="2024-09-10T09:42:38.676" v="2904" actId="478"/>
          <ac:cxnSpMkLst>
            <pc:docMk/>
            <pc:sldMk cId="1502916076" sldId="2145706658"/>
            <ac:cxnSpMk id="25" creationId="{E1686C84-D83B-B17D-8492-9B603E1C1C2A}"/>
          </ac:cxnSpMkLst>
        </pc:cxnChg>
        <pc:cxnChg chg="mod">
          <ac:chgData name="WANONO, Nathan" userId="99f38b78-d58b-43dc-971c-441766c63fc4" providerId="ADAL" clId="{645A1AA1-1855-4064-9EB2-CD5361C30D88}" dt="2024-09-10T09:42:38.676" v="2904" actId="478"/>
          <ac:cxnSpMkLst>
            <pc:docMk/>
            <pc:sldMk cId="1502916076" sldId="2145706658"/>
            <ac:cxnSpMk id="26" creationId="{220671E7-0D90-4A95-23C7-A8DD491E21D7}"/>
          </ac:cxnSpMkLst>
        </pc:cxnChg>
        <pc:cxnChg chg="mod">
          <ac:chgData name="WANONO, Nathan" userId="99f38b78-d58b-43dc-971c-441766c63fc4" providerId="ADAL" clId="{645A1AA1-1855-4064-9EB2-CD5361C30D88}" dt="2024-09-10T09:42:38.676" v="2904" actId="478"/>
          <ac:cxnSpMkLst>
            <pc:docMk/>
            <pc:sldMk cId="1502916076" sldId="2145706658"/>
            <ac:cxnSpMk id="27" creationId="{453D345E-E675-6299-6E9F-4FB6BCDE49D7}"/>
          </ac:cxnSpMkLst>
        </pc:cxnChg>
        <pc:cxnChg chg="del mod">
          <ac:chgData name="WANONO, Nathan" userId="99f38b78-d58b-43dc-971c-441766c63fc4" providerId="ADAL" clId="{645A1AA1-1855-4064-9EB2-CD5361C30D88}" dt="2024-09-10T09:42:38.676" v="2904" actId="478"/>
          <ac:cxnSpMkLst>
            <pc:docMk/>
            <pc:sldMk cId="1502916076" sldId="2145706658"/>
            <ac:cxnSpMk id="37" creationId="{8EBDC7E0-F1E6-F41D-0B25-039DED2B7310}"/>
          </ac:cxnSpMkLst>
        </pc:cxnChg>
        <pc:cxnChg chg="add mod">
          <ac:chgData name="WANONO, Nathan" userId="99f38b78-d58b-43dc-971c-441766c63fc4" providerId="ADAL" clId="{645A1AA1-1855-4064-9EB2-CD5361C30D88}" dt="2024-09-10T12:26:24.495" v="4588" actId="164"/>
          <ac:cxnSpMkLst>
            <pc:docMk/>
            <pc:sldMk cId="1502916076" sldId="2145706658"/>
            <ac:cxnSpMk id="39" creationId="{CA346CAC-40F8-582B-9973-A5F93B083DFC}"/>
          </ac:cxnSpMkLst>
        </pc:cxnChg>
        <pc:cxnChg chg="add mod">
          <ac:chgData name="WANONO, Nathan" userId="99f38b78-d58b-43dc-971c-441766c63fc4" providerId="ADAL" clId="{645A1AA1-1855-4064-9EB2-CD5361C30D88}" dt="2024-09-10T12:26:24.495" v="4588" actId="164"/>
          <ac:cxnSpMkLst>
            <pc:docMk/>
            <pc:sldMk cId="1502916076" sldId="2145706658"/>
            <ac:cxnSpMk id="40" creationId="{4BD8DBC7-DC88-FDE2-B992-EB546FFA5370}"/>
          </ac:cxnSpMkLst>
        </pc:cxnChg>
        <pc:cxnChg chg="del mod">
          <ac:chgData name="WANONO, Nathan" userId="99f38b78-d58b-43dc-971c-441766c63fc4" providerId="ADAL" clId="{645A1AA1-1855-4064-9EB2-CD5361C30D88}" dt="2024-09-10T09:42:38.676" v="2904" actId="478"/>
          <ac:cxnSpMkLst>
            <pc:docMk/>
            <pc:sldMk cId="1502916076" sldId="2145706658"/>
            <ac:cxnSpMk id="62" creationId="{CB352FAE-E27D-B6A9-B69F-1BCABDC563F7}"/>
          </ac:cxnSpMkLst>
        </pc:cxnChg>
      </pc:sldChg>
      <pc:sldChg chg="add del">
        <pc:chgData name="WANONO, Nathan" userId="99f38b78-d58b-43dc-971c-441766c63fc4" providerId="ADAL" clId="{645A1AA1-1855-4064-9EB2-CD5361C30D88}" dt="2024-09-10T09:43:48.143" v="3053" actId="47"/>
        <pc:sldMkLst>
          <pc:docMk/>
          <pc:sldMk cId="3588170364" sldId="2145706659"/>
        </pc:sldMkLst>
      </pc:sldChg>
      <pc:sldChg chg="addSp delSp modSp add mod">
        <pc:chgData name="WANONO, Nathan" userId="99f38b78-d58b-43dc-971c-441766c63fc4" providerId="ADAL" clId="{645A1AA1-1855-4064-9EB2-CD5361C30D88}" dt="2024-09-18T10:33:54.176" v="24801" actId="1076"/>
        <pc:sldMkLst>
          <pc:docMk/>
          <pc:sldMk cId="3719828671" sldId="2145706659"/>
        </pc:sldMkLst>
        <pc:spChg chg="add mod">
          <ac:chgData name="WANONO, Nathan" userId="99f38b78-d58b-43dc-971c-441766c63fc4" providerId="ADAL" clId="{645A1AA1-1855-4064-9EB2-CD5361C30D88}" dt="2024-09-18T10:33:54.176" v="24801" actId="1076"/>
          <ac:spMkLst>
            <pc:docMk/>
            <pc:sldMk cId="3719828671" sldId="2145706659"/>
            <ac:spMk id="2" creationId="{90376EBC-E427-81E0-AAE5-8538F07F7131}"/>
          </ac:spMkLst>
        </pc:spChg>
        <pc:spChg chg="mod">
          <ac:chgData name="WANONO, Nathan" userId="99f38b78-d58b-43dc-971c-441766c63fc4" providerId="ADAL" clId="{645A1AA1-1855-4064-9EB2-CD5361C30D88}" dt="2024-09-10T09:44:13.301" v="3097" actId="20577"/>
          <ac:spMkLst>
            <pc:docMk/>
            <pc:sldMk cId="3719828671" sldId="2145706659"/>
            <ac:spMk id="3" creationId="{F1261247-D114-B15E-D6B0-FD5D1DC5DAEA}"/>
          </ac:spMkLst>
        </pc:spChg>
        <pc:spChg chg="mod">
          <ac:chgData name="WANONO, Nathan" userId="99f38b78-d58b-43dc-971c-441766c63fc4" providerId="ADAL" clId="{645A1AA1-1855-4064-9EB2-CD5361C30D88}" dt="2024-09-13T15:22:11.380" v="18002" actId="20577"/>
          <ac:spMkLst>
            <pc:docMk/>
            <pc:sldMk cId="3719828671" sldId="2145706659"/>
            <ac:spMk id="5" creationId="{3AA7F2A3-B0C0-D68A-CA8D-C23BFCFC8367}"/>
          </ac:spMkLst>
        </pc:spChg>
        <pc:spChg chg="add mod">
          <ac:chgData name="WANONO, Nathan" userId="99f38b78-d58b-43dc-971c-441766c63fc4" providerId="ADAL" clId="{645A1AA1-1855-4064-9EB2-CD5361C30D88}" dt="2024-09-12T16:03:29.338" v="10925" actId="1035"/>
          <ac:spMkLst>
            <pc:docMk/>
            <pc:sldMk cId="3719828671" sldId="2145706659"/>
            <ac:spMk id="6" creationId="{F82E0ED5-7559-C5B8-00BA-78DAD259FBC0}"/>
          </ac:spMkLst>
        </pc:spChg>
        <pc:spChg chg="mod">
          <ac:chgData name="WANONO, Nathan" userId="99f38b78-d58b-43dc-971c-441766c63fc4" providerId="ADAL" clId="{645A1AA1-1855-4064-9EB2-CD5361C30D88}" dt="2024-09-10T09:58:19.908" v="3546"/>
          <ac:spMkLst>
            <pc:docMk/>
            <pc:sldMk cId="3719828671" sldId="2145706659"/>
            <ac:spMk id="8" creationId="{DE13C4AA-6F00-AF4A-7A55-0234DAFA4F82}"/>
          </ac:spMkLst>
        </pc:spChg>
        <pc:spChg chg="mod">
          <ac:chgData name="WANONO, Nathan" userId="99f38b78-d58b-43dc-971c-441766c63fc4" providerId="ADAL" clId="{645A1AA1-1855-4064-9EB2-CD5361C30D88}" dt="2024-09-10T09:58:34.168" v="3550"/>
          <ac:spMkLst>
            <pc:docMk/>
            <pc:sldMk cId="3719828671" sldId="2145706659"/>
            <ac:spMk id="11" creationId="{4EA2CCF8-9A8E-F986-A6A5-B551FD142AB9}"/>
          </ac:spMkLst>
        </pc:spChg>
        <pc:spChg chg="add mod">
          <ac:chgData name="WANONO, Nathan" userId="99f38b78-d58b-43dc-971c-441766c63fc4" providerId="ADAL" clId="{645A1AA1-1855-4064-9EB2-CD5361C30D88}" dt="2024-09-12T16:03:29.338" v="10925" actId="1035"/>
          <ac:spMkLst>
            <pc:docMk/>
            <pc:sldMk cId="3719828671" sldId="2145706659"/>
            <ac:spMk id="13" creationId="{0F5ACCE5-B4D5-E72A-9CDA-C75F6EF1DD4B}"/>
          </ac:spMkLst>
        </pc:spChg>
        <pc:spChg chg="del">
          <ac:chgData name="WANONO, Nathan" userId="99f38b78-d58b-43dc-971c-441766c63fc4" providerId="ADAL" clId="{645A1AA1-1855-4064-9EB2-CD5361C30D88}" dt="2024-09-10T09:44:16.636" v="3098" actId="478"/>
          <ac:spMkLst>
            <pc:docMk/>
            <pc:sldMk cId="3719828671" sldId="2145706659"/>
            <ac:spMk id="28" creationId="{1F76CD77-64BF-00D9-F546-51DA50885E13}"/>
          </ac:spMkLst>
        </pc:spChg>
        <pc:spChg chg="add mod">
          <ac:chgData name="WANONO, Nathan" userId="99f38b78-d58b-43dc-971c-441766c63fc4" providerId="ADAL" clId="{645A1AA1-1855-4064-9EB2-CD5361C30D88}" dt="2024-09-12T16:03:17.621" v="10920" actId="1036"/>
          <ac:spMkLst>
            <pc:docMk/>
            <pc:sldMk cId="3719828671" sldId="2145706659"/>
            <ac:spMk id="33" creationId="{8D0970B9-1099-9E5B-86FF-69D2DE677B8A}"/>
          </ac:spMkLst>
        </pc:spChg>
        <pc:spChg chg="mod">
          <ac:chgData name="WANONO, Nathan" userId="99f38b78-d58b-43dc-971c-441766c63fc4" providerId="ADAL" clId="{645A1AA1-1855-4064-9EB2-CD5361C30D88}" dt="2024-09-10T10:00:08.298" v="3574"/>
          <ac:spMkLst>
            <pc:docMk/>
            <pc:sldMk cId="3719828671" sldId="2145706659"/>
            <ac:spMk id="35" creationId="{46795B17-F939-B3BC-6B6F-5937D3DE02CE}"/>
          </ac:spMkLst>
        </pc:spChg>
        <pc:spChg chg="add mod">
          <ac:chgData name="WANONO, Nathan" userId="99f38b78-d58b-43dc-971c-441766c63fc4" providerId="ADAL" clId="{645A1AA1-1855-4064-9EB2-CD5361C30D88}" dt="2024-09-12T16:03:17.621" v="10920" actId="1036"/>
          <ac:spMkLst>
            <pc:docMk/>
            <pc:sldMk cId="3719828671" sldId="2145706659"/>
            <ac:spMk id="39" creationId="{DC223013-54BB-AC17-5008-565BF18EB5CA}"/>
          </ac:spMkLst>
        </pc:spChg>
        <pc:spChg chg="add mod">
          <ac:chgData name="WANONO, Nathan" userId="99f38b78-d58b-43dc-971c-441766c63fc4" providerId="ADAL" clId="{645A1AA1-1855-4064-9EB2-CD5361C30D88}" dt="2024-09-12T16:03:17.621" v="10920" actId="1036"/>
          <ac:spMkLst>
            <pc:docMk/>
            <pc:sldMk cId="3719828671" sldId="2145706659"/>
            <ac:spMk id="64" creationId="{85E3DCAB-C8D7-EB78-65D4-F8D5EF88B603}"/>
          </ac:spMkLst>
        </pc:spChg>
        <pc:spChg chg="del">
          <ac:chgData name="WANONO, Nathan" userId="99f38b78-d58b-43dc-971c-441766c63fc4" providerId="ADAL" clId="{645A1AA1-1855-4064-9EB2-CD5361C30D88}" dt="2024-09-10T09:44:16.636" v="3098" actId="478"/>
          <ac:spMkLst>
            <pc:docMk/>
            <pc:sldMk cId="3719828671" sldId="2145706659"/>
            <ac:spMk id="65" creationId="{2396B6D4-419C-C6D1-3F1D-A54181CF3CD3}"/>
          </ac:spMkLst>
        </pc:spChg>
        <pc:spChg chg="add mod">
          <ac:chgData name="WANONO, Nathan" userId="99f38b78-d58b-43dc-971c-441766c63fc4" providerId="ADAL" clId="{645A1AA1-1855-4064-9EB2-CD5361C30D88}" dt="2024-09-12T16:03:17.621" v="10920" actId="1036"/>
          <ac:spMkLst>
            <pc:docMk/>
            <pc:sldMk cId="3719828671" sldId="2145706659"/>
            <ac:spMk id="71" creationId="{F4A73818-E4E5-4DF8-A310-ED68C37D6F4D}"/>
          </ac:spMkLst>
        </pc:spChg>
        <pc:spChg chg="add mod">
          <ac:chgData name="WANONO, Nathan" userId="99f38b78-d58b-43dc-971c-441766c63fc4" providerId="ADAL" clId="{645A1AA1-1855-4064-9EB2-CD5361C30D88}" dt="2024-09-18T10:32:42.404" v="24606" actId="1076"/>
          <ac:spMkLst>
            <pc:docMk/>
            <pc:sldMk cId="3719828671" sldId="2145706659"/>
            <ac:spMk id="74" creationId="{583D5FDA-AD4B-8DEA-2246-942C5654F974}"/>
          </ac:spMkLst>
        </pc:spChg>
        <pc:grpChg chg="del">
          <ac:chgData name="WANONO, Nathan" userId="99f38b78-d58b-43dc-971c-441766c63fc4" providerId="ADAL" clId="{645A1AA1-1855-4064-9EB2-CD5361C30D88}" dt="2024-09-10T09:44:16.636" v="3098" actId="478"/>
          <ac:grpSpMkLst>
            <pc:docMk/>
            <pc:sldMk cId="3719828671" sldId="2145706659"/>
            <ac:grpSpMk id="2" creationId="{F3AB3C0E-D918-A40E-9639-B6B65B5F3AD7}"/>
          </ac:grpSpMkLst>
        </pc:grpChg>
        <pc:grpChg chg="add mod">
          <ac:chgData name="WANONO, Nathan" userId="99f38b78-d58b-43dc-971c-441766c63fc4" providerId="ADAL" clId="{645A1AA1-1855-4064-9EB2-CD5361C30D88}" dt="2024-09-12T16:03:29.338" v="10925" actId="1035"/>
          <ac:grpSpMkLst>
            <pc:docMk/>
            <pc:sldMk cId="3719828671" sldId="2145706659"/>
            <ac:grpSpMk id="7" creationId="{1CB28D3C-28BC-696F-CA34-63BA5C9A7FE6}"/>
          </ac:grpSpMkLst>
        </pc:grpChg>
        <pc:grpChg chg="add del mod">
          <ac:chgData name="WANONO, Nathan" userId="99f38b78-d58b-43dc-971c-441766c63fc4" providerId="ADAL" clId="{645A1AA1-1855-4064-9EB2-CD5361C30D88}" dt="2024-09-10T09:58:39.272" v="3552" actId="478"/>
          <ac:grpSpMkLst>
            <pc:docMk/>
            <pc:sldMk cId="3719828671" sldId="2145706659"/>
            <ac:grpSpMk id="10" creationId="{D2BB24A7-6BA3-36D6-3F1B-DD7459C70D7F}"/>
          </ac:grpSpMkLst>
        </pc:grpChg>
        <pc:grpChg chg="add del mod">
          <ac:chgData name="WANONO, Nathan" userId="99f38b78-d58b-43dc-971c-441766c63fc4" providerId="ADAL" clId="{645A1AA1-1855-4064-9EB2-CD5361C30D88}" dt="2024-09-10T10:00:15.048" v="3576" actId="478"/>
          <ac:grpSpMkLst>
            <pc:docMk/>
            <pc:sldMk cId="3719828671" sldId="2145706659"/>
            <ac:grpSpMk id="34" creationId="{59CFC7D6-E67E-6A32-29D5-A0814FA13FC6}"/>
          </ac:grpSpMkLst>
        </pc:grpChg>
        <pc:grpChg chg="del">
          <ac:chgData name="WANONO, Nathan" userId="99f38b78-d58b-43dc-971c-441766c63fc4" providerId="ADAL" clId="{645A1AA1-1855-4064-9EB2-CD5361C30D88}" dt="2024-09-10T09:44:16.636" v="3098" actId="478"/>
          <ac:grpSpMkLst>
            <pc:docMk/>
            <pc:sldMk cId="3719828671" sldId="2145706659"/>
            <ac:grpSpMk id="43" creationId="{3B94B388-3DA6-DB04-65B8-92C64C0A1136}"/>
          </ac:grpSpMkLst>
        </pc:grpChg>
        <pc:grpChg chg="del">
          <ac:chgData name="WANONO, Nathan" userId="99f38b78-d58b-43dc-971c-441766c63fc4" providerId="ADAL" clId="{645A1AA1-1855-4064-9EB2-CD5361C30D88}" dt="2024-09-10T09:44:16.636" v="3098" actId="478"/>
          <ac:grpSpMkLst>
            <pc:docMk/>
            <pc:sldMk cId="3719828671" sldId="2145706659"/>
            <ac:grpSpMk id="44" creationId="{5C8BFA7E-D3B4-73F5-3748-29CDECD9F4B7}"/>
          </ac:grpSpMkLst>
        </pc:grpChg>
        <pc:grpChg chg="del">
          <ac:chgData name="WANONO, Nathan" userId="99f38b78-d58b-43dc-971c-441766c63fc4" providerId="ADAL" clId="{645A1AA1-1855-4064-9EB2-CD5361C30D88}" dt="2024-09-10T09:44:16.636" v="3098" actId="478"/>
          <ac:grpSpMkLst>
            <pc:docMk/>
            <pc:sldMk cId="3719828671" sldId="2145706659"/>
            <ac:grpSpMk id="47" creationId="{33D6E9B8-A4FE-DE49-B2C0-E89E6C53E52D}"/>
          </ac:grpSpMkLst>
        </pc:grpChg>
        <pc:grpChg chg="del">
          <ac:chgData name="WANONO, Nathan" userId="99f38b78-d58b-43dc-971c-441766c63fc4" providerId="ADAL" clId="{645A1AA1-1855-4064-9EB2-CD5361C30D88}" dt="2024-09-10T09:44:16.636" v="3098" actId="478"/>
          <ac:grpSpMkLst>
            <pc:docMk/>
            <pc:sldMk cId="3719828671" sldId="2145706659"/>
            <ac:grpSpMk id="50" creationId="{4CAFD09A-6A1C-C99A-A0A7-A574B044B1B5}"/>
          </ac:grpSpMkLst>
        </pc:grpChg>
        <pc:grpChg chg="del">
          <ac:chgData name="WANONO, Nathan" userId="99f38b78-d58b-43dc-971c-441766c63fc4" providerId="ADAL" clId="{645A1AA1-1855-4064-9EB2-CD5361C30D88}" dt="2024-09-10T09:44:16.636" v="3098" actId="478"/>
          <ac:grpSpMkLst>
            <pc:docMk/>
            <pc:sldMk cId="3719828671" sldId="2145706659"/>
            <ac:grpSpMk id="56" creationId="{CE69BD68-9847-8242-8C8D-AAD53C3816C8}"/>
          </ac:grpSpMkLst>
        </pc:grpChg>
        <pc:grpChg chg="del">
          <ac:chgData name="WANONO, Nathan" userId="99f38b78-d58b-43dc-971c-441766c63fc4" providerId="ADAL" clId="{645A1AA1-1855-4064-9EB2-CD5361C30D88}" dt="2024-09-10T09:44:16.636" v="3098" actId="478"/>
          <ac:grpSpMkLst>
            <pc:docMk/>
            <pc:sldMk cId="3719828671" sldId="2145706659"/>
            <ac:grpSpMk id="59" creationId="{D2040DAF-E6FE-765A-3639-710F1768548B}"/>
          </ac:grpSpMkLst>
        </pc:grpChg>
        <pc:picChg chg="mod">
          <ac:chgData name="WANONO, Nathan" userId="99f38b78-d58b-43dc-971c-441766c63fc4" providerId="ADAL" clId="{645A1AA1-1855-4064-9EB2-CD5361C30D88}" dt="2024-09-10T09:58:19.908" v="3546"/>
          <ac:picMkLst>
            <pc:docMk/>
            <pc:sldMk cId="3719828671" sldId="2145706659"/>
            <ac:picMk id="9" creationId="{3F2B344D-35D4-C62B-0074-C622A31E23A2}"/>
          </ac:picMkLst>
        </pc:picChg>
        <pc:picChg chg="mod">
          <ac:chgData name="WANONO, Nathan" userId="99f38b78-d58b-43dc-971c-441766c63fc4" providerId="ADAL" clId="{645A1AA1-1855-4064-9EB2-CD5361C30D88}" dt="2024-09-10T09:58:34.168" v="3550"/>
          <ac:picMkLst>
            <pc:docMk/>
            <pc:sldMk cId="3719828671" sldId="2145706659"/>
            <ac:picMk id="12" creationId="{C2D23574-EDE4-7DB7-F3CC-415436C211E0}"/>
          </ac:picMkLst>
        </pc:picChg>
        <pc:picChg chg="add mod">
          <ac:chgData name="WANONO, Nathan" userId="99f38b78-d58b-43dc-971c-441766c63fc4" providerId="ADAL" clId="{645A1AA1-1855-4064-9EB2-CD5361C30D88}" dt="2024-09-12T16:03:29.338" v="10925" actId="1035"/>
          <ac:picMkLst>
            <pc:docMk/>
            <pc:sldMk cId="3719828671" sldId="2145706659"/>
            <ac:picMk id="31" creationId="{4E716F3E-A7D9-E0E5-AC91-5CCA92066C0A}"/>
          </ac:picMkLst>
        </pc:picChg>
        <pc:picChg chg="add mod">
          <ac:chgData name="WANONO, Nathan" userId="99f38b78-d58b-43dc-971c-441766c63fc4" providerId="ADAL" clId="{645A1AA1-1855-4064-9EB2-CD5361C30D88}" dt="2024-09-12T16:03:29.338" v="10925" actId="1035"/>
          <ac:picMkLst>
            <pc:docMk/>
            <pc:sldMk cId="3719828671" sldId="2145706659"/>
            <ac:picMk id="32" creationId="{B2E0E02C-13BA-DF25-B33F-E3C0572E7D29}"/>
          </ac:picMkLst>
        </pc:picChg>
        <pc:picChg chg="mod">
          <ac:chgData name="WANONO, Nathan" userId="99f38b78-d58b-43dc-971c-441766c63fc4" providerId="ADAL" clId="{645A1AA1-1855-4064-9EB2-CD5361C30D88}" dt="2024-09-10T10:00:08.298" v="3574"/>
          <ac:picMkLst>
            <pc:docMk/>
            <pc:sldMk cId="3719828671" sldId="2145706659"/>
            <ac:picMk id="38" creationId="{29E67676-1C48-35D1-A990-46196D60A7A0}"/>
          </ac:picMkLst>
        </pc:picChg>
        <pc:picChg chg="add del mod">
          <ac:chgData name="WANONO, Nathan" userId="99f38b78-d58b-43dc-971c-441766c63fc4" providerId="ADAL" clId="{645A1AA1-1855-4064-9EB2-CD5361C30D88}" dt="2024-09-10T11:08:15.544" v="3613" actId="478"/>
          <ac:picMkLst>
            <pc:docMk/>
            <pc:sldMk cId="3719828671" sldId="2145706659"/>
            <ac:picMk id="53" creationId="{DAE54AC9-4325-E1B6-7D47-01DBD4E3A5B4}"/>
          </ac:picMkLst>
        </pc:picChg>
        <pc:picChg chg="add del mod">
          <ac:chgData name="WANONO, Nathan" userId="99f38b78-d58b-43dc-971c-441766c63fc4" providerId="ADAL" clId="{645A1AA1-1855-4064-9EB2-CD5361C30D88}" dt="2024-09-10T11:09:52.426" v="3667" actId="478"/>
          <ac:picMkLst>
            <pc:docMk/>
            <pc:sldMk cId="3719828671" sldId="2145706659"/>
            <ac:picMk id="54" creationId="{331CD887-84E9-371E-CF3B-3CC7D8789485}"/>
          </ac:picMkLst>
        </pc:picChg>
        <pc:cxnChg chg="add mod">
          <ac:chgData name="WANONO, Nathan" userId="99f38b78-d58b-43dc-971c-441766c63fc4" providerId="ADAL" clId="{645A1AA1-1855-4064-9EB2-CD5361C30D88}" dt="2024-09-12T16:03:29.338" v="10925" actId="1035"/>
          <ac:cxnSpMkLst>
            <pc:docMk/>
            <pc:sldMk cId="3719828671" sldId="2145706659"/>
            <ac:cxnSpMk id="14" creationId="{27E6479B-159A-2E11-7E58-C46169B3F902}"/>
          </ac:cxnSpMkLst>
        </pc:cxnChg>
        <pc:cxnChg chg="add mod">
          <ac:chgData name="WANONO, Nathan" userId="99f38b78-d58b-43dc-971c-441766c63fc4" providerId="ADAL" clId="{645A1AA1-1855-4064-9EB2-CD5361C30D88}" dt="2024-09-12T16:03:29.338" v="10925" actId="1035"/>
          <ac:cxnSpMkLst>
            <pc:docMk/>
            <pc:sldMk cId="3719828671" sldId="2145706659"/>
            <ac:cxnSpMk id="17" creationId="{8597B3D3-DCF7-6A84-8567-65D420B58A37}"/>
          </ac:cxnSpMkLst>
        </pc:cxnChg>
        <pc:cxnChg chg="mod">
          <ac:chgData name="WANONO, Nathan" userId="99f38b78-d58b-43dc-971c-441766c63fc4" providerId="ADAL" clId="{645A1AA1-1855-4064-9EB2-CD5361C30D88}" dt="2024-09-10T09:44:16.636" v="3098" actId="478"/>
          <ac:cxnSpMkLst>
            <pc:docMk/>
            <pc:sldMk cId="3719828671" sldId="2145706659"/>
            <ac:cxnSpMk id="23" creationId="{2BFCBB7B-5589-388E-DF43-E1319991A84A}"/>
          </ac:cxnSpMkLst>
        </pc:cxnChg>
        <pc:cxnChg chg="mod">
          <ac:chgData name="WANONO, Nathan" userId="99f38b78-d58b-43dc-971c-441766c63fc4" providerId="ADAL" clId="{645A1AA1-1855-4064-9EB2-CD5361C30D88}" dt="2024-09-10T09:44:16.636" v="3098" actId="478"/>
          <ac:cxnSpMkLst>
            <pc:docMk/>
            <pc:sldMk cId="3719828671" sldId="2145706659"/>
            <ac:cxnSpMk id="24" creationId="{330A878C-90E2-9C64-3639-F2AE524B8FD8}"/>
          </ac:cxnSpMkLst>
        </pc:cxnChg>
        <pc:cxnChg chg="mod">
          <ac:chgData name="WANONO, Nathan" userId="99f38b78-d58b-43dc-971c-441766c63fc4" providerId="ADAL" clId="{645A1AA1-1855-4064-9EB2-CD5361C30D88}" dt="2024-09-10T09:44:16.636" v="3098" actId="478"/>
          <ac:cxnSpMkLst>
            <pc:docMk/>
            <pc:sldMk cId="3719828671" sldId="2145706659"/>
            <ac:cxnSpMk id="25" creationId="{E1686C84-D83B-B17D-8492-9B603E1C1C2A}"/>
          </ac:cxnSpMkLst>
        </pc:cxnChg>
        <pc:cxnChg chg="mod">
          <ac:chgData name="WANONO, Nathan" userId="99f38b78-d58b-43dc-971c-441766c63fc4" providerId="ADAL" clId="{645A1AA1-1855-4064-9EB2-CD5361C30D88}" dt="2024-09-10T09:44:16.636" v="3098" actId="478"/>
          <ac:cxnSpMkLst>
            <pc:docMk/>
            <pc:sldMk cId="3719828671" sldId="2145706659"/>
            <ac:cxnSpMk id="26" creationId="{220671E7-0D90-4A95-23C7-A8DD491E21D7}"/>
          </ac:cxnSpMkLst>
        </pc:cxnChg>
        <pc:cxnChg chg="mod">
          <ac:chgData name="WANONO, Nathan" userId="99f38b78-d58b-43dc-971c-441766c63fc4" providerId="ADAL" clId="{645A1AA1-1855-4064-9EB2-CD5361C30D88}" dt="2024-09-10T09:44:16.636" v="3098" actId="478"/>
          <ac:cxnSpMkLst>
            <pc:docMk/>
            <pc:sldMk cId="3719828671" sldId="2145706659"/>
            <ac:cxnSpMk id="27" creationId="{453D345E-E675-6299-6E9F-4FB6BCDE49D7}"/>
          </ac:cxnSpMkLst>
        </pc:cxnChg>
        <pc:cxnChg chg="del mod">
          <ac:chgData name="WANONO, Nathan" userId="99f38b78-d58b-43dc-971c-441766c63fc4" providerId="ADAL" clId="{645A1AA1-1855-4064-9EB2-CD5361C30D88}" dt="2024-09-10T09:44:16.636" v="3098" actId="478"/>
          <ac:cxnSpMkLst>
            <pc:docMk/>
            <pc:sldMk cId="3719828671" sldId="2145706659"/>
            <ac:cxnSpMk id="37" creationId="{8EBDC7E0-F1E6-F41D-0B25-039DED2B7310}"/>
          </ac:cxnSpMkLst>
        </pc:cxnChg>
        <pc:cxnChg chg="add mod">
          <ac:chgData name="WANONO, Nathan" userId="99f38b78-d58b-43dc-971c-441766c63fc4" providerId="ADAL" clId="{645A1AA1-1855-4064-9EB2-CD5361C30D88}" dt="2024-09-12T16:03:17.621" v="10920" actId="1036"/>
          <ac:cxnSpMkLst>
            <pc:docMk/>
            <pc:sldMk cId="3719828671" sldId="2145706659"/>
            <ac:cxnSpMk id="40" creationId="{6BDA723F-6144-904E-FA23-46D401B56F5C}"/>
          </ac:cxnSpMkLst>
        </pc:cxnChg>
        <pc:cxnChg chg="add mod">
          <ac:chgData name="WANONO, Nathan" userId="99f38b78-d58b-43dc-971c-441766c63fc4" providerId="ADAL" clId="{645A1AA1-1855-4064-9EB2-CD5361C30D88}" dt="2024-09-12T16:03:17.621" v="10920" actId="1036"/>
          <ac:cxnSpMkLst>
            <pc:docMk/>
            <pc:sldMk cId="3719828671" sldId="2145706659"/>
            <ac:cxnSpMk id="42" creationId="{2DA2EE5F-BF43-C6D3-2A81-3E9669D1F892}"/>
          </ac:cxnSpMkLst>
        </pc:cxnChg>
        <pc:cxnChg chg="del mod">
          <ac:chgData name="WANONO, Nathan" userId="99f38b78-d58b-43dc-971c-441766c63fc4" providerId="ADAL" clId="{645A1AA1-1855-4064-9EB2-CD5361C30D88}" dt="2024-09-10T09:44:16.636" v="3098" actId="478"/>
          <ac:cxnSpMkLst>
            <pc:docMk/>
            <pc:sldMk cId="3719828671" sldId="2145706659"/>
            <ac:cxnSpMk id="62" creationId="{CB352FAE-E27D-B6A9-B69F-1BCABDC563F7}"/>
          </ac:cxnSpMkLst>
        </pc:cxnChg>
      </pc:sldChg>
      <pc:sldChg chg="delSp modSp add mod">
        <pc:chgData name="WANONO, Nathan" userId="99f38b78-d58b-43dc-971c-441766c63fc4" providerId="ADAL" clId="{645A1AA1-1855-4064-9EB2-CD5361C30D88}" dt="2024-09-12T16:01:08.085" v="10715" actId="14100"/>
        <pc:sldMkLst>
          <pc:docMk/>
          <pc:sldMk cId="314182212" sldId="2145706660"/>
        </pc:sldMkLst>
        <pc:spChg chg="mod">
          <ac:chgData name="WANONO, Nathan" userId="99f38b78-d58b-43dc-971c-441766c63fc4" providerId="ADAL" clId="{645A1AA1-1855-4064-9EB2-CD5361C30D88}" dt="2024-09-12T16:01:08.085" v="10715" actId="14100"/>
          <ac:spMkLst>
            <pc:docMk/>
            <pc:sldMk cId="314182212" sldId="2145706660"/>
            <ac:spMk id="18" creationId="{109B9CDA-2421-8681-F4B8-DF5D6C53E5E4}"/>
          </ac:spMkLst>
        </pc:spChg>
        <pc:spChg chg="mod">
          <ac:chgData name="WANONO, Nathan" userId="99f38b78-d58b-43dc-971c-441766c63fc4" providerId="ADAL" clId="{645A1AA1-1855-4064-9EB2-CD5361C30D88}" dt="2024-09-12T16:01:05.439" v="10714" actId="14100"/>
          <ac:spMkLst>
            <pc:docMk/>
            <pc:sldMk cId="314182212" sldId="2145706660"/>
            <ac:spMk id="20" creationId="{A8290D6C-3AFA-E20B-8BFC-D4E63D9D63CB}"/>
          </ac:spMkLst>
        </pc:spChg>
        <pc:spChg chg="del">
          <ac:chgData name="WANONO, Nathan" userId="99f38b78-d58b-43dc-971c-441766c63fc4" providerId="ADAL" clId="{645A1AA1-1855-4064-9EB2-CD5361C30D88}" dt="2024-09-10T12:37:31.616" v="4646" actId="478"/>
          <ac:spMkLst>
            <pc:docMk/>
            <pc:sldMk cId="314182212" sldId="2145706660"/>
            <ac:spMk id="21" creationId="{D2E25917-3C82-DF38-B227-2B053986B9B7}"/>
          </ac:spMkLst>
        </pc:spChg>
        <pc:spChg chg="del">
          <ac:chgData name="WANONO, Nathan" userId="99f38b78-d58b-43dc-971c-441766c63fc4" providerId="ADAL" clId="{645A1AA1-1855-4064-9EB2-CD5361C30D88}" dt="2024-09-10T12:37:28.208" v="4642" actId="478"/>
          <ac:spMkLst>
            <pc:docMk/>
            <pc:sldMk cId="314182212" sldId="2145706660"/>
            <ac:spMk id="22" creationId="{BDB9682A-5DAF-FEDB-4905-126F6DC6EC67}"/>
          </ac:spMkLst>
        </pc:spChg>
        <pc:spChg chg="del">
          <ac:chgData name="WANONO, Nathan" userId="99f38b78-d58b-43dc-971c-441766c63fc4" providerId="ADAL" clId="{645A1AA1-1855-4064-9EB2-CD5361C30D88}" dt="2024-09-10T12:37:27.413" v="4641" actId="478"/>
          <ac:spMkLst>
            <pc:docMk/>
            <pc:sldMk cId="314182212" sldId="2145706660"/>
            <ac:spMk id="23" creationId="{2826A832-FC9A-30CB-BAAB-B2232A423479}"/>
          </ac:spMkLst>
        </pc:spChg>
        <pc:spChg chg="del">
          <ac:chgData name="WANONO, Nathan" userId="99f38b78-d58b-43dc-971c-441766c63fc4" providerId="ADAL" clId="{645A1AA1-1855-4064-9EB2-CD5361C30D88}" dt="2024-09-10T12:37:35.837" v="4649" actId="478"/>
          <ac:spMkLst>
            <pc:docMk/>
            <pc:sldMk cId="314182212" sldId="2145706660"/>
            <ac:spMk id="24" creationId="{5434DC21-9615-C5C6-68D6-4320B4587B16}"/>
          </ac:spMkLst>
        </pc:spChg>
        <pc:spChg chg="del">
          <ac:chgData name="WANONO, Nathan" userId="99f38b78-d58b-43dc-971c-441766c63fc4" providerId="ADAL" clId="{645A1AA1-1855-4064-9EB2-CD5361C30D88}" dt="2024-09-10T12:37:29.128" v="4643" actId="478"/>
          <ac:spMkLst>
            <pc:docMk/>
            <pc:sldMk cId="314182212" sldId="2145706660"/>
            <ac:spMk id="25" creationId="{55AC0A09-3CAB-9D38-486B-5254AEE2EDB2}"/>
          </ac:spMkLst>
        </pc:spChg>
        <pc:spChg chg="del">
          <ac:chgData name="WANONO, Nathan" userId="99f38b78-d58b-43dc-971c-441766c63fc4" providerId="ADAL" clId="{645A1AA1-1855-4064-9EB2-CD5361C30D88}" dt="2024-09-10T12:37:33.201" v="4647" actId="478"/>
          <ac:spMkLst>
            <pc:docMk/>
            <pc:sldMk cId="314182212" sldId="2145706660"/>
            <ac:spMk id="26" creationId="{00FB20FD-983C-13D1-1F1E-8C39C3697612}"/>
          </ac:spMkLst>
        </pc:spChg>
        <pc:cxnChg chg="del mod">
          <ac:chgData name="WANONO, Nathan" userId="99f38b78-d58b-43dc-971c-441766c63fc4" providerId="ADAL" clId="{645A1AA1-1855-4064-9EB2-CD5361C30D88}" dt="2024-09-10T12:37:30.909" v="4645" actId="478"/>
          <ac:cxnSpMkLst>
            <pc:docMk/>
            <pc:sldMk cId="314182212" sldId="2145706660"/>
            <ac:cxnSpMk id="28" creationId="{BDDCCE94-CDF8-5302-A7DC-2CB51E9FB9A3}"/>
          </ac:cxnSpMkLst>
        </pc:cxnChg>
        <pc:cxnChg chg="del mod">
          <ac:chgData name="WANONO, Nathan" userId="99f38b78-d58b-43dc-971c-441766c63fc4" providerId="ADAL" clId="{645A1AA1-1855-4064-9EB2-CD5361C30D88}" dt="2024-09-10T12:37:29.946" v="4644" actId="478"/>
          <ac:cxnSpMkLst>
            <pc:docMk/>
            <pc:sldMk cId="314182212" sldId="2145706660"/>
            <ac:cxnSpMk id="29" creationId="{94BB0FC3-2619-DBA3-EC55-FBEFD1A562B1}"/>
          </ac:cxnSpMkLst>
        </pc:cxnChg>
        <pc:cxnChg chg="del mod">
          <ac:chgData name="WANONO, Nathan" userId="99f38b78-d58b-43dc-971c-441766c63fc4" providerId="ADAL" clId="{645A1AA1-1855-4064-9EB2-CD5361C30D88}" dt="2024-09-10T12:37:33.926" v="4648" actId="478"/>
          <ac:cxnSpMkLst>
            <pc:docMk/>
            <pc:sldMk cId="314182212" sldId="2145706660"/>
            <ac:cxnSpMk id="32" creationId="{C605D1DC-96AD-9EEA-CA92-F70C55AEC8BA}"/>
          </ac:cxnSpMkLst>
        </pc:cxnChg>
      </pc:sldChg>
      <pc:sldChg chg="addSp delSp modSp add mod">
        <pc:chgData name="WANONO, Nathan" userId="99f38b78-d58b-43dc-971c-441766c63fc4" providerId="ADAL" clId="{645A1AA1-1855-4064-9EB2-CD5361C30D88}" dt="2024-09-12T15:52:30.102" v="10637" actId="14861"/>
        <pc:sldMkLst>
          <pc:docMk/>
          <pc:sldMk cId="626070572" sldId="2145706661"/>
        </pc:sldMkLst>
        <pc:spChg chg="mod">
          <ac:chgData name="WANONO, Nathan" userId="99f38b78-d58b-43dc-971c-441766c63fc4" providerId="ADAL" clId="{645A1AA1-1855-4064-9EB2-CD5361C30D88}" dt="2024-09-10T12:40:02.512" v="4767" actId="20577"/>
          <ac:spMkLst>
            <pc:docMk/>
            <pc:sldMk cId="626070572" sldId="2145706661"/>
            <ac:spMk id="3" creationId="{F1261247-D114-B15E-D6B0-FD5D1DC5DAEA}"/>
          </ac:spMkLst>
        </pc:spChg>
        <pc:spChg chg="mod">
          <ac:chgData name="WANONO, Nathan" userId="99f38b78-d58b-43dc-971c-441766c63fc4" providerId="ADAL" clId="{645A1AA1-1855-4064-9EB2-CD5361C30D88}" dt="2024-09-11T14:17:45.903" v="6336" actId="1076"/>
          <ac:spMkLst>
            <pc:docMk/>
            <pc:sldMk cId="626070572" sldId="2145706661"/>
            <ac:spMk id="5" creationId="{3AA7F2A3-B0C0-D68A-CA8D-C23BFCFC8367}"/>
          </ac:spMkLst>
        </pc:spChg>
        <pc:spChg chg="mod topLvl">
          <ac:chgData name="WANONO, Nathan" userId="99f38b78-d58b-43dc-971c-441766c63fc4" providerId="ADAL" clId="{645A1AA1-1855-4064-9EB2-CD5361C30D88}" dt="2024-09-11T13:29:09.240" v="5301" actId="1076"/>
          <ac:spMkLst>
            <pc:docMk/>
            <pc:sldMk cId="626070572" sldId="2145706661"/>
            <ac:spMk id="13" creationId="{799540FE-4786-8225-DCCB-F6C642832119}"/>
          </ac:spMkLst>
        </pc:spChg>
        <pc:spChg chg="mod topLvl">
          <ac:chgData name="WANONO, Nathan" userId="99f38b78-d58b-43dc-971c-441766c63fc4" providerId="ADAL" clId="{645A1AA1-1855-4064-9EB2-CD5361C30D88}" dt="2024-09-11T13:29:12.586" v="5302" actId="1076"/>
          <ac:spMkLst>
            <pc:docMk/>
            <pc:sldMk cId="626070572" sldId="2145706661"/>
            <ac:spMk id="14" creationId="{796035E6-D116-1507-EFC1-8E804122FB1B}"/>
          </ac:spMkLst>
        </pc:spChg>
        <pc:spChg chg="add mod">
          <ac:chgData name="WANONO, Nathan" userId="99f38b78-d58b-43dc-971c-441766c63fc4" providerId="ADAL" clId="{645A1AA1-1855-4064-9EB2-CD5361C30D88}" dt="2024-09-11T12:25:19.799" v="5281" actId="1076"/>
          <ac:spMkLst>
            <pc:docMk/>
            <pc:sldMk cId="626070572" sldId="2145706661"/>
            <ac:spMk id="22" creationId="{6E3AB764-4E05-EBDB-14C9-54A5D1033EF6}"/>
          </ac:spMkLst>
        </pc:spChg>
        <pc:spChg chg="add mod">
          <ac:chgData name="WANONO, Nathan" userId="99f38b78-d58b-43dc-971c-441766c63fc4" providerId="ADAL" clId="{645A1AA1-1855-4064-9EB2-CD5361C30D88}" dt="2024-09-11T12:25:49.996" v="5300" actId="207"/>
          <ac:spMkLst>
            <pc:docMk/>
            <pc:sldMk cId="626070572" sldId="2145706661"/>
            <ac:spMk id="23" creationId="{BBBD8CF0-9505-6AD3-7DC3-6FD1E1064D7D}"/>
          </ac:spMkLst>
        </pc:spChg>
        <pc:grpChg chg="add del mod">
          <ac:chgData name="WANONO, Nathan" userId="99f38b78-d58b-43dc-971c-441766c63fc4" providerId="ADAL" clId="{645A1AA1-1855-4064-9EB2-CD5361C30D88}" dt="2024-09-11T12:15:54.955" v="5208" actId="165"/>
          <ac:grpSpMkLst>
            <pc:docMk/>
            <pc:sldMk cId="626070572" sldId="2145706661"/>
            <ac:grpSpMk id="2" creationId="{A33865C9-762A-DC7E-BBA1-AB1C7200AF72}"/>
          </ac:grpSpMkLst>
        </pc:grpChg>
        <pc:grpChg chg="mod topLvl">
          <ac:chgData name="WANONO, Nathan" userId="99f38b78-d58b-43dc-971c-441766c63fc4" providerId="ADAL" clId="{645A1AA1-1855-4064-9EB2-CD5361C30D88}" dt="2024-09-11T12:15:54.955" v="5208" actId="165"/>
          <ac:grpSpMkLst>
            <pc:docMk/>
            <pc:sldMk cId="626070572" sldId="2145706661"/>
            <ac:grpSpMk id="10" creationId="{07026B04-7AEA-4A82-518A-8098C239276F}"/>
          </ac:grpSpMkLst>
        </pc:grpChg>
        <pc:grpChg chg="del">
          <ac:chgData name="WANONO, Nathan" userId="99f38b78-d58b-43dc-971c-441766c63fc4" providerId="ADAL" clId="{645A1AA1-1855-4064-9EB2-CD5361C30D88}" dt="2024-09-10T14:49:47.832" v="5205" actId="478"/>
          <ac:grpSpMkLst>
            <pc:docMk/>
            <pc:sldMk cId="626070572" sldId="2145706661"/>
            <ac:grpSpMk id="66" creationId="{8E848204-2B1B-B133-B639-4FC47CFCF2B3}"/>
          </ac:grpSpMkLst>
        </pc:grpChg>
        <pc:picChg chg="mod topLvl">
          <ac:chgData name="WANONO, Nathan" userId="99f38b78-d58b-43dc-971c-441766c63fc4" providerId="ADAL" clId="{645A1AA1-1855-4064-9EB2-CD5361C30D88}" dt="2024-09-12T15:52:30.102" v="10637" actId="14861"/>
          <ac:picMkLst>
            <pc:docMk/>
            <pc:sldMk cId="626070572" sldId="2145706661"/>
            <ac:picMk id="4" creationId="{B91B06F2-6370-05E6-4E14-B368C721002B}"/>
          </ac:picMkLst>
        </pc:picChg>
        <pc:picChg chg="mod topLvl">
          <ac:chgData name="WANONO, Nathan" userId="99f38b78-d58b-43dc-971c-441766c63fc4" providerId="ADAL" clId="{645A1AA1-1855-4064-9EB2-CD5361C30D88}" dt="2024-09-11T12:15:54.955" v="5208" actId="165"/>
          <ac:picMkLst>
            <pc:docMk/>
            <pc:sldMk cId="626070572" sldId="2145706661"/>
            <ac:picMk id="6" creationId="{A5846AC7-28C8-CC1F-1EC6-032546562EA0}"/>
          </ac:picMkLst>
        </pc:picChg>
        <pc:picChg chg="mod topLvl">
          <ac:chgData name="WANONO, Nathan" userId="99f38b78-d58b-43dc-971c-441766c63fc4" providerId="ADAL" clId="{645A1AA1-1855-4064-9EB2-CD5361C30D88}" dt="2024-09-11T12:15:54.955" v="5208" actId="165"/>
          <ac:picMkLst>
            <pc:docMk/>
            <pc:sldMk cId="626070572" sldId="2145706661"/>
            <ac:picMk id="7" creationId="{BB21F99E-14E0-ED0D-B7A7-E5C32F28CF93}"/>
          </ac:picMkLst>
        </pc:picChg>
        <pc:picChg chg="mod">
          <ac:chgData name="WANONO, Nathan" userId="99f38b78-d58b-43dc-971c-441766c63fc4" providerId="ADAL" clId="{645A1AA1-1855-4064-9EB2-CD5361C30D88}" dt="2024-09-11T12:15:54.955" v="5208" actId="165"/>
          <ac:picMkLst>
            <pc:docMk/>
            <pc:sldMk cId="626070572" sldId="2145706661"/>
            <ac:picMk id="15" creationId="{E8FEE59F-DA55-37A0-0285-926D00F050C1}"/>
          </ac:picMkLst>
        </pc:picChg>
        <pc:picChg chg="mod">
          <ac:chgData name="WANONO, Nathan" userId="99f38b78-d58b-43dc-971c-441766c63fc4" providerId="ADAL" clId="{645A1AA1-1855-4064-9EB2-CD5361C30D88}" dt="2024-09-11T12:15:54.955" v="5208" actId="165"/>
          <ac:picMkLst>
            <pc:docMk/>
            <pc:sldMk cId="626070572" sldId="2145706661"/>
            <ac:picMk id="16" creationId="{8CD15D67-E66A-3872-EDF5-C7A6664EA318}"/>
          </ac:picMkLst>
        </pc:picChg>
        <pc:picChg chg="add mod">
          <ac:chgData name="WANONO, Nathan" userId="99f38b78-d58b-43dc-971c-441766c63fc4" providerId="ADAL" clId="{645A1AA1-1855-4064-9EB2-CD5361C30D88}" dt="2024-09-11T12:24:06.245" v="5223" actId="208"/>
          <ac:picMkLst>
            <pc:docMk/>
            <pc:sldMk cId="626070572" sldId="2145706661"/>
            <ac:picMk id="19" creationId="{40CF47E8-9C65-B05E-BB03-A8C823925F5A}"/>
          </ac:picMkLst>
        </pc:picChg>
        <pc:cxnChg chg="mod topLvl">
          <ac:chgData name="WANONO, Nathan" userId="99f38b78-d58b-43dc-971c-441766c63fc4" providerId="ADAL" clId="{645A1AA1-1855-4064-9EB2-CD5361C30D88}" dt="2024-09-11T12:15:54.955" v="5208" actId="165"/>
          <ac:cxnSpMkLst>
            <pc:docMk/>
            <pc:sldMk cId="626070572" sldId="2145706661"/>
            <ac:cxnSpMk id="8" creationId="{40A3745E-3BE6-700E-A172-034EA6E98006}"/>
          </ac:cxnSpMkLst>
        </pc:cxnChg>
        <pc:cxnChg chg="mod topLvl">
          <ac:chgData name="WANONO, Nathan" userId="99f38b78-d58b-43dc-971c-441766c63fc4" providerId="ADAL" clId="{645A1AA1-1855-4064-9EB2-CD5361C30D88}" dt="2024-09-11T12:15:54.955" v="5208" actId="165"/>
          <ac:cxnSpMkLst>
            <pc:docMk/>
            <pc:sldMk cId="626070572" sldId="2145706661"/>
            <ac:cxnSpMk id="9" creationId="{F8D9E6CE-85CE-294F-D347-A7FBE9483EDE}"/>
          </ac:cxnSpMkLst>
        </pc:cxnChg>
        <pc:cxnChg chg="mod topLvl">
          <ac:chgData name="WANONO, Nathan" userId="99f38b78-d58b-43dc-971c-441766c63fc4" providerId="ADAL" clId="{645A1AA1-1855-4064-9EB2-CD5361C30D88}" dt="2024-09-11T12:24:10.754" v="5224" actId="14100"/>
          <ac:cxnSpMkLst>
            <pc:docMk/>
            <pc:sldMk cId="626070572" sldId="2145706661"/>
            <ac:cxnSpMk id="11" creationId="{BFC98978-AC12-9098-7DA4-BB60655DECD5}"/>
          </ac:cxnSpMkLst>
        </pc:cxnChg>
        <pc:cxnChg chg="mod topLvl">
          <ac:chgData name="WANONO, Nathan" userId="99f38b78-d58b-43dc-971c-441766c63fc4" providerId="ADAL" clId="{645A1AA1-1855-4064-9EB2-CD5361C30D88}" dt="2024-09-11T12:24:14.295" v="5225" actId="14100"/>
          <ac:cxnSpMkLst>
            <pc:docMk/>
            <pc:sldMk cId="626070572" sldId="2145706661"/>
            <ac:cxnSpMk id="12" creationId="{04BD9815-2D8C-D1BC-74DF-1C0B88DB61BD}"/>
          </ac:cxnSpMkLst>
        </pc:cxnChg>
        <pc:cxnChg chg="mod">
          <ac:chgData name="WANONO, Nathan" userId="99f38b78-d58b-43dc-971c-441766c63fc4" providerId="ADAL" clId="{645A1AA1-1855-4064-9EB2-CD5361C30D88}" dt="2024-09-10T14:49:47.832" v="5205" actId="478"/>
          <ac:cxnSpMkLst>
            <pc:docMk/>
            <pc:sldMk cId="626070572" sldId="2145706661"/>
            <ac:cxnSpMk id="15" creationId="{F48B20E6-5703-373E-389F-8895D19D8F37}"/>
          </ac:cxnSpMkLst>
        </pc:cxnChg>
        <pc:cxnChg chg="mod">
          <ac:chgData name="WANONO, Nathan" userId="99f38b78-d58b-43dc-971c-441766c63fc4" providerId="ADAL" clId="{645A1AA1-1855-4064-9EB2-CD5361C30D88}" dt="2024-09-10T14:49:47.832" v="5205" actId="478"/>
          <ac:cxnSpMkLst>
            <pc:docMk/>
            <pc:sldMk cId="626070572" sldId="2145706661"/>
            <ac:cxnSpMk id="39" creationId="{CA346CAC-40F8-582B-9973-A5F93B083DFC}"/>
          </ac:cxnSpMkLst>
        </pc:cxnChg>
        <pc:cxnChg chg="mod">
          <ac:chgData name="WANONO, Nathan" userId="99f38b78-d58b-43dc-971c-441766c63fc4" providerId="ADAL" clId="{645A1AA1-1855-4064-9EB2-CD5361C30D88}" dt="2024-09-10T14:49:47.832" v="5205" actId="478"/>
          <ac:cxnSpMkLst>
            <pc:docMk/>
            <pc:sldMk cId="626070572" sldId="2145706661"/>
            <ac:cxnSpMk id="40" creationId="{4BD8DBC7-DC88-FDE2-B992-EB546FFA5370}"/>
          </ac:cxnSpMkLst>
        </pc:cxnChg>
      </pc:sldChg>
      <pc:sldChg chg="new del">
        <pc:chgData name="WANONO, Nathan" userId="99f38b78-d58b-43dc-971c-441766c63fc4" providerId="ADAL" clId="{645A1AA1-1855-4064-9EB2-CD5361C30D88}" dt="2024-09-11T13:48:39.664" v="5340" actId="47"/>
        <pc:sldMkLst>
          <pc:docMk/>
          <pc:sldMk cId="2143269258" sldId="2145706662"/>
        </pc:sldMkLst>
      </pc:sldChg>
      <pc:sldChg chg="addSp delSp modSp add mod ord chgLayout">
        <pc:chgData name="WANONO, Nathan" userId="99f38b78-d58b-43dc-971c-441766c63fc4" providerId="ADAL" clId="{645A1AA1-1855-4064-9EB2-CD5361C30D88}" dt="2024-09-12T15:52:19.727" v="10636" actId="14861"/>
        <pc:sldMkLst>
          <pc:docMk/>
          <pc:sldMk cId="454810740" sldId="2145706663"/>
        </pc:sldMkLst>
        <pc:spChg chg="mod ord">
          <ac:chgData name="WANONO, Nathan" userId="99f38b78-d58b-43dc-971c-441766c63fc4" providerId="ADAL" clId="{645A1AA1-1855-4064-9EB2-CD5361C30D88}" dt="2024-09-11T14:23:46.223" v="6892" actId="6264"/>
          <ac:spMkLst>
            <pc:docMk/>
            <pc:sldMk cId="454810740" sldId="2145706663"/>
            <ac:spMk id="3" creationId="{F1261247-D114-B15E-D6B0-FD5D1DC5DAEA}"/>
          </ac:spMkLst>
        </pc:spChg>
        <pc:spChg chg="del mod ord">
          <ac:chgData name="WANONO, Nathan" userId="99f38b78-d58b-43dc-971c-441766c63fc4" providerId="ADAL" clId="{645A1AA1-1855-4064-9EB2-CD5361C30D88}" dt="2024-09-11T14:24:00.777" v="6896" actId="478"/>
          <ac:spMkLst>
            <pc:docMk/>
            <pc:sldMk cId="454810740" sldId="2145706663"/>
            <ac:spMk id="5" creationId="{3AA7F2A3-B0C0-D68A-CA8D-C23BFCFC8367}"/>
          </ac:spMkLst>
        </pc:spChg>
        <pc:spChg chg="del">
          <ac:chgData name="WANONO, Nathan" userId="99f38b78-d58b-43dc-971c-441766c63fc4" providerId="ADAL" clId="{645A1AA1-1855-4064-9EB2-CD5361C30D88}" dt="2024-09-11T13:51:15.569" v="5436" actId="478"/>
          <ac:spMkLst>
            <pc:docMk/>
            <pc:sldMk cId="454810740" sldId="2145706663"/>
            <ac:spMk id="13" creationId="{799540FE-4786-8225-DCCB-F6C642832119}"/>
          </ac:spMkLst>
        </pc:spChg>
        <pc:spChg chg="del">
          <ac:chgData name="WANONO, Nathan" userId="99f38b78-d58b-43dc-971c-441766c63fc4" providerId="ADAL" clId="{645A1AA1-1855-4064-9EB2-CD5361C30D88}" dt="2024-09-11T13:51:15.569" v="5436" actId="478"/>
          <ac:spMkLst>
            <pc:docMk/>
            <pc:sldMk cId="454810740" sldId="2145706663"/>
            <ac:spMk id="14" creationId="{796035E6-D116-1507-EFC1-8E804122FB1B}"/>
          </ac:spMkLst>
        </pc:spChg>
        <pc:spChg chg="del">
          <ac:chgData name="WANONO, Nathan" userId="99f38b78-d58b-43dc-971c-441766c63fc4" providerId="ADAL" clId="{645A1AA1-1855-4064-9EB2-CD5361C30D88}" dt="2024-09-11T13:51:15.569" v="5436" actId="478"/>
          <ac:spMkLst>
            <pc:docMk/>
            <pc:sldMk cId="454810740" sldId="2145706663"/>
            <ac:spMk id="22" creationId="{6E3AB764-4E05-EBDB-14C9-54A5D1033EF6}"/>
          </ac:spMkLst>
        </pc:spChg>
        <pc:spChg chg="del">
          <ac:chgData name="WANONO, Nathan" userId="99f38b78-d58b-43dc-971c-441766c63fc4" providerId="ADAL" clId="{645A1AA1-1855-4064-9EB2-CD5361C30D88}" dt="2024-09-11T13:51:15.569" v="5436" actId="478"/>
          <ac:spMkLst>
            <pc:docMk/>
            <pc:sldMk cId="454810740" sldId="2145706663"/>
            <ac:spMk id="23" creationId="{BBBD8CF0-9505-6AD3-7DC3-6FD1E1064D7D}"/>
          </ac:spMkLst>
        </pc:spChg>
        <pc:spChg chg="add del mod">
          <ac:chgData name="WANONO, Nathan" userId="99f38b78-d58b-43dc-971c-441766c63fc4" providerId="ADAL" clId="{645A1AA1-1855-4064-9EB2-CD5361C30D88}" dt="2024-09-11T14:23:40.929" v="6891" actId="478"/>
          <ac:spMkLst>
            <pc:docMk/>
            <pc:sldMk cId="454810740" sldId="2145706663"/>
            <ac:spMk id="56" creationId="{0F9AC769-62CB-7F24-352D-7E0CE413AEC7}"/>
          </ac:spMkLst>
        </pc:spChg>
        <pc:spChg chg="add del mod">
          <ac:chgData name="WANONO, Nathan" userId="99f38b78-d58b-43dc-971c-441766c63fc4" providerId="ADAL" clId="{645A1AA1-1855-4064-9EB2-CD5361C30D88}" dt="2024-09-11T14:23:40.929" v="6891" actId="478"/>
          <ac:spMkLst>
            <pc:docMk/>
            <pc:sldMk cId="454810740" sldId="2145706663"/>
            <ac:spMk id="57" creationId="{AAB20294-66ED-FFFF-57A0-0B8509B57C6D}"/>
          </ac:spMkLst>
        </pc:spChg>
        <pc:spChg chg="add del mod">
          <ac:chgData name="WANONO, Nathan" userId="99f38b78-d58b-43dc-971c-441766c63fc4" providerId="ADAL" clId="{645A1AA1-1855-4064-9EB2-CD5361C30D88}" dt="2024-09-11T14:23:40.929" v="6891" actId="478"/>
          <ac:spMkLst>
            <pc:docMk/>
            <pc:sldMk cId="454810740" sldId="2145706663"/>
            <ac:spMk id="58" creationId="{708BA968-83CF-0241-709D-16C25DB5B8AD}"/>
          </ac:spMkLst>
        </pc:spChg>
        <pc:spChg chg="add del mod">
          <ac:chgData name="WANONO, Nathan" userId="99f38b78-d58b-43dc-971c-441766c63fc4" providerId="ADAL" clId="{645A1AA1-1855-4064-9EB2-CD5361C30D88}" dt="2024-09-11T14:10:18.290" v="5996" actId="6264"/>
          <ac:spMkLst>
            <pc:docMk/>
            <pc:sldMk cId="454810740" sldId="2145706663"/>
            <ac:spMk id="69" creationId="{3E080238-EED5-81DB-A96F-95B3C48D96F5}"/>
          </ac:spMkLst>
        </pc:spChg>
        <pc:spChg chg="add del mod">
          <ac:chgData name="WANONO, Nathan" userId="99f38b78-d58b-43dc-971c-441766c63fc4" providerId="ADAL" clId="{645A1AA1-1855-4064-9EB2-CD5361C30D88}" dt="2024-09-11T14:10:18.290" v="5996" actId="6264"/>
          <ac:spMkLst>
            <pc:docMk/>
            <pc:sldMk cId="454810740" sldId="2145706663"/>
            <ac:spMk id="70" creationId="{1DCAC3CC-DC5E-928E-A640-3F5FA058281E}"/>
          </ac:spMkLst>
        </pc:spChg>
        <pc:spChg chg="add del mod ord">
          <ac:chgData name="WANONO, Nathan" userId="99f38b78-d58b-43dc-971c-441766c63fc4" providerId="ADAL" clId="{645A1AA1-1855-4064-9EB2-CD5361C30D88}" dt="2024-09-11T14:10:18.290" v="5996" actId="6264"/>
          <ac:spMkLst>
            <pc:docMk/>
            <pc:sldMk cId="454810740" sldId="2145706663"/>
            <ac:spMk id="71" creationId="{6ECDC916-AEBE-8B00-BDEF-F6DBBED2B3B1}"/>
          </ac:spMkLst>
        </pc:spChg>
        <pc:spChg chg="add del mod">
          <ac:chgData name="WANONO, Nathan" userId="99f38b78-d58b-43dc-971c-441766c63fc4" providerId="ADAL" clId="{645A1AA1-1855-4064-9EB2-CD5361C30D88}" dt="2024-09-11T14:23:40.929" v="6891" actId="478"/>
          <ac:spMkLst>
            <pc:docMk/>
            <pc:sldMk cId="454810740" sldId="2145706663"/>
            <ac:spMk id="72" creationId="{80BF8ABF-6F8B-228E-38CF-CA09F9AC7546}"/>
          </ac:spMkLst>
        </pc:spChg>
        <pc:spChg chg="add del mod">
          <ac:chgData name="WANONO, Nathan" userId="99f38b78-d58b-43dc-971c-441766c63fc4" providerId="ADAL" clId="{645A1AA1-1855-4064-9EB2-CD5361C30D88}" dt="2024-09-11T14:23:40.929" v="6891" actId="478"/>
          <ac:spMkLst>
            <pc:docMk/>
            <pc:sldMk cId="454810740" sldId="2145706663"/>
            <ac:spMk id="76" creationId="{D164F4BB-8A26-96F7-E70B-AA39638B317D}"/>
          </ac:spMkLst>
        </pc:spChg>
        <pc:spChg chg="add del mod">
          <ac:chgData name="WANONO, Nathan" userId="99f38b78-d58b-43dc-971c-441766c63fc4" providerId="ADAL" clId="{645A1AA1-1855-4064-9EB2-CD5361C30D88}" dt="2024-09-11T14:23:40.929" v="6891" actId="478"/>
          <ac:spMkLst>
            <pc:docMk/>
            <pc:sldMk cId="454810740" sldId="2145706663"/>
            <ac:spMk id="78" creationId="{ABA5A530-4012-CBC6-E319-74DF80515D9E}"/>
          </ac:spMkLst>
        </pc:spChg>
        <pc:spChg chg="add del mod">
          <ac:chgData name="WANONO, Nathan" userId="99f38b78-d58b-43dc-971c-441766c63fc4" providerId="ADAL" clId="{645A1AA1-1855-4064-9EB2-CD5361C30D88}" dt="2024-09-11T14:23:40.929" v="6891" actId="478"/>
          <ac:spMkLst>
            <pc:docMk/>
            <pc:sldMk cId="454810740" sldId="2145706663"/>
            <ac:spMk id="80" creationId="{0E3D098D-ACE6-0371-5B41-DF2EB6A5790A}"/>
          </ac:spMkLst>
        </pc:spChg>
        <pc:spChg chg="add del mod">
          <ac:chgData name="WANONO, Nathan" userId="99f38b78-d58b-43dc-971c-441766c63fc4" providerId="ADAL" clId="{645A1AA1-1855-4064-9EB2-CD5361C30D88}" dt="2024-09-11T14:23:40.929" v="6891" actId="478"/>
          <ac:spMkLst>
            <pc:docMk/>
            <pc:sldMk cId="454810740" sldId="2145706663"/>
            <ac:spMk id="82" creationId="{AD070F0C-885F-EC2F-ABA9-BDFC0ECD024E}"/>
          </ac:spMkLst>
        </pc:spChg>
        <pc:spChg chg="add del mod">
          <ac:chgData name="WANONO, Nathan" userId="99f38b78-d58b-43dc-971c-441766c63fc4" providerId="ADAL" clId="{645A1AA1-1855-4064-9EB2-CD5361C30D88}" dt="2024-09-11T14:23:40.929" v="6891" actId="478"/>
          <ac:spMkLst>
            <pc:docMk/>
            <pc:sldMk cId="454810740" sldId="2145706663"/>
            <ac:spMk id="84" creationId="{1A2F47E9-37A6-8558-B87A-8FD004D4DAF4}"/>
          </ac:spMkLst>
        </pc:spChg>
        <pc:spChg chg="add del mod">
          <ac:chgData name="WANONO, Nathan" userId="99f38b78-d58b-43dc-971c-441766c63fc4" providerId="ADAL" clId="{645A1AA1-1855-4064-9EB2-CD5361C30D88}" dt="2024-09-11T14:23:40.929" v="6891" actId="478"/>
          <ac:spMkLst>
            <pc:docMk/>
            <pc:sldMk cId="454810740" sldId="2145706663"/>
            <ac:spMk id="86" creationId="{655CBECE-F77E-0499-5E5F-8BA992B2B942}"/>
          </ac:spMkLst>
        </pc:spChg>
        <pc:spChg chg="add del mod">
          <ac:chgData name="WANONO, Nathan" userId="99f38b78-d58b-43dc-971c-441766c63fc4" providerId="ADAL" clId="{645A1AA1-1855-4064-9EB2-CD5361C30D88}" dt="2024-09-11T14:23:40.929" v="6891" actId="478"/>
          <ac:spMkLst>
            <pc:docMk/>
            <pc:sldMk cId="454810740" sldId="2145706663"/>
            <ac:spMk id="89" creationId="{10A25536-1771-5C23-E1BE-D1C28083FC55}"/>
          </ac:spMkLst>
        </pc:spChg>
        <pc:spChg chg="add del mod">
          <ac:chgData name="WANONO, Nathan" userId="99f38b78-d58b-43dc-971c-441766c63fc4" providerId="ADAL" clId="{645A1AA1-1855-4064-9EB2-CD5361C30D88}" dt="2024-09-11T14:23:40.929" v="6891" actId="478"/>
          <ac:spMkLst>
            <pc:docMk/>
            <pc:sldMk cId="454810740" sldId="2145706663"/>
            <ac:spMk id="90" creationId="{F6DAC3C6-F352-E264-FFE0-B6FDFA78937A}"/>
          </ac:spMkLst>
        </pc:spChg>
        <pc:spChg chg="add del mod">
          <ac:chgData name="WANONO, Nathan" userId="99f38b78-d58b-43dc-971c-441766c63fc4" providerId="ADAL" clId="{645A1AA1-1855-4064-9EB2-CD5361C30D88}" dt="2024-09-11T14:23:40.929" v="6891" actId="478"/>
          <ac:spMkLst>
            <pc:docMk/>
            <pc:sldMk cId="454810740" sldId="2145706663"/>
            <ac:spMk id="95" creationId="{E4D10E05-A05D-4D93-77DE-F6C05E1B3DF9}"/>
          </ac:spMkLst>
        </pc:spChg>
        <pc:spChg chg="add del mod">
          <ac:chgData name="WANONO, Nathan" userId="99f38b78-d58b-43dc-971c-441766c63fc4" providerId="ADAL" clId="{645A1AA1-1855-4064-9EB2-CD5361C30D88}" dt="2024-09-11T14:23:40.929" v="6891" actId="478"/>
          <ac:spMkLst>
            <pc:docMk/>
            <pc:sldMk cId="454810740" sldId="2145706663"/>
            <ac:spMk id="96" creationId="{5CAFAC66-01E4-6DF0-7FAD-050980AD2A5F}"/>
          </ac:spMkLst>
        </pc:spChg>
        <pc:spChg chg="add del mod">
          <ac:chgData name="WANONO, Nathan" userId="99f38b78-d58b-43dc-971c-441766c63fc4" providerId="ADAL" clId="{645A1AA1-1855-4064-9EB2-CD5361C30D88}" dt="2024-09-11T14:23:46.223" v="6892" actId="6264"/>
          <ac:spMkLst>
            <pc:docMk/>
            <pc:sldMk cId="454810740" sldId="2145706663"/>
            <ac:spMk id="98" creationId="{A2E38A80-603B-10E6-EA83-BEB974279202}"/>
          </ac:spMkLst>
        </pc:spChg>
        <pc:spChg chg="add del mod">
          <ac:chgData name="WANONO, Nathan" userId="99f38b78-d58b-43dc-971c-441766c63fc4" providerId="ADAL" clId="{645A1AA1-1855-4064-9EB2-CD5361C30D88}" dt="2024-09-11T14:23:46.223" v="6892" actId="6264"/>
          <ac:spMkLst>
            <pc:docMk/>
            <pc:sldMk cId="454810740" sldId="2145706663"/>
            <ac:spMk id="99" creationId="{666B06E4-45EF-9351-39BD-1949C0412616}"/>
          </ac:spMkLst>
        </pc:spChg>
        <pc:spChg chg="add del mod ord">
          <ac:chgData name="WANONO, Nathan" userId="99f38b78-d58b-43dc-971c-441766c63fc4" providerId="ADAL" clId="{645A1AA1-1855-4064-9EB2-CD5361C30D88}" dt="2024-09-11T14:23:48.541" v="6893" actId="478"/>
          <ac:spMkLst>
            <pc:docMk/>
            <pc:sldMk cId="454810740" sldId="2145706663"/>
            <ac:spMk id="100" creationId="{10984868-B3C3-B626-E825-EA3A51683088}"/>
          </ac:spMkLst>
        </pc:spChg>
        <pc:spChg chg="add del mod">
          <ac:chgData name="WANONO, Nathan" userId="99f38b78-d58b-43dc-971c-441766c63fc4" providerId="ADAL" clId="{645A1AA1-1855-4064-9EB2-CD5361C30D88}" dt="2024-09-11T14:24:03.400" v="6898" actId="478"/>
          <ac:spMkLst>
            <pc:docMk/>
            <pc:sldMk cId="454810740" sldId="2145706663"/>
            <ac:spMk id="102" creationId="{54FC1FC4-5CAA-0128-0697-B45BB7BD3786}"/>
          </ac:spMkLst>
        </pc:spChg>
        <pc:spChg chg="add mod">
          <ac:chgData name="WANONO, Nathan" userId="99f38b78-d58b-43dc-971c-441766c63fc4" providerId="ADAL" clId="{645A1AA1-1855-4064-9EB2-CD5361C30D88}" dt="2024-09-11T14:29:32.175" v="7810" actId="20577"/>
          <ac:spMkLst>
            <pc:docMk/>
            <pc:sldMk cId="454810740" sldId="2145706663"/>
            <ac:spMk id="103" creationId="{1BC49AF2-85A3-7246-B2EC-46FDF8E9CC5D}"/>
          </ac:spMkLst>
        </pc:spChg>
        <pc:spChg chg="add mod">
          <ac:chgData name="WANONO, Nathan" userId="99f38b78-d58b-43dc-971c-441766c63fc4" providerId="ADAL" clId="{645A1AA1-1855-4064-9EB2-CD5361C30D88}" dt="2024-09-11T14:29:38.803" v="7811" actId="1076"/>
          <ac:spMkLst>
            <pc:docMk/>
            <pc:sldMk cId="454810740" sldId="2145706663"/>
            <ac:spMk id="106" creationId="{89E0C1A6-0DB2-CCFE-2E44-3632C2168AAF}"/>
          </ac:spMkLst>
        </pc:spChg>
        <pc:spChg chg="add mod">
          <ac:chgData name="WANONO, Nathan" userId="99f38b78-d58b-43dc-971c-441766c63fc4" providerId="ADAL" clId="{645A1AA1-1855-4064-9EB2-CD5361C30D88}" dt="2024-09-11T14:29:38.803" v="7811" actId="1076"/>
          <ac:spMkLst>
            <pc:docMk/>
            <pc:sldMk cId="454810740" sldId="2145706663"/>
            <ac:spMk id="107" creationId="{5EF92E88-072A-E5D8-6703-4A4355EB7804}"/>
          </ac:spMkLst>
        </pc:spChg>
        <pc:grpChg chg="del">
          <ac:chgData name="WANONO, Nathan" userId="99f38b78-d58b-43dc-971c-441766c63fc4" providerId="ADAL" clId="{645A1AA1-1855-4064-9EB2-CD5361C30D88}" dt="2024-09-11T13:51:15.569" v="5436" actId="478"/>
          <ac:grpSpMkLst>
            <pc:docMk/>
            <pc:sldMk cId="454810740" sldId="2145706663"/>
            <ac:grpSpMk id="10" creationId="{07026B04-7AEA-4A82-518A-8098C239276F}"/>
          </ac:grpSpMkLst>
        </pc:grpChg>
        <pc:picChg chg="del">
          <ac:chgData name="WANONO, Nathan" userId="99f38b78-d58b-43dc-971c-441766c63fc4" providerId="ADAL" clId="{645A1AA1-1855-4064-9EB2-CD5361C30D88}" dt="2024-09-11T13:51:15.569" v="5436" actId="478"/>
          <ac:picMkLst>
            <pc:docMk/>
            <pc:sldMk cId="454810740" sldId="2145706663"/>
            <ac:picMk id="4" creationId="{B91B06F2-6370-05E6-4E14-B368C721002B}"/>
          </ac:picMkLst>
        </pc:picChg>
        <pc:picChg chg="del">
          <ac:chgData name="WANONO, Nathan" userId="99f38b78-d58b-43dc-971c-441766c63fc4" providerId="ADAL" clId="{645A1AA1-1855-4064-9EB2-CD5361C30D88}" dt="2024-09-11T13:51:15.569" v="5436" actId="478"/>
          <ac:picMkLst>
            <pc:docMk/>
            <pc:sldMk cId="454810740" sldId="2145706663"/>
            <ac:picMk id="6" creationId="{A5846AC7-28C8-CC1F-1EC6-032546562EA0}"/>
          </ac:picMkLst>
        </pc:picChg>
        <pc:picChg chg="del">
          <ac:chgData name="WANONO, Nathan" userId="99f38b78-d58b-43dc-971c-441766c63fc4" providerId="ADAL" clId="{645A1AA1-1855-4064-9EB2-CD5361C30D88}" dt="2024-09-11T13:51:15.569" v="5436" actId="478"/>
          <ac:picMkLst>
            <pc:docMk/>
            <pc:sldMk cId="454810740" sldId="2145706663"/>
            <ac:picMk id="7" creationId="{BB21F99E-14E0-ED0D-B7A7-E5C32F28CF93}"/>
          </ac:picMkLst>
        </pc:picChg>
        <pc:picChg chg="add del mod">
          <ac:chgData name="WANONO, Nathan" userId="99f38b78-d58b-43dc-971c-441766c63fc4" providerId="ADAL" clId="{645A1AA1-1855-4064-9EB2-CD5361C30D88}" dt="2024-09-11T14:23:40.929" v="6891" actId="478"/>
          <ac:picMkLst>
            <pc:docMk/>
            <pc:sldMk cId="454810740" sldId="2145706663"/>
            <ac:picMk id="17" creationId="{C773D4D4-4BE4-5F35-EF3F-48204D7D3389}"/>
          </ac:picMkLst>
        </pc:picChg>
        <pc:picChg chg="del">
          <ac:chgData name="WANONO, Nathan" userId="99f38b78-d58b-43dc-971c-441766c63fc4" providerId="ADAL" clId="{645A1AA1-1855-4064-9EB2-CD5361C30D88}" dt="2024-09-11T13:51:15.569" v="5436" actId="478"/>
          <ac:picMkLst>
            <pc:docMk/>
            <pc:sldMk cId="454810740" sldId="2145706663"/>
            <ac:picMk id="19" creationId="{40CF47E8-9C65-B05E-BB03-A8C823925F5A}"/>
          </ac:picMkLst>
        </pc:picChg>
        <pc:picChg chg="add del mod">
          <ac:chgData name="WANONO, Nathan" userId="99f38b78-d58b-43dc-971c-441766c63fc4" providerId="ADAL" clId="{645A1AA1-1855-4064-9EB2-CD5361C30D88}" dt="2024-09-11T14:23:40.929" v="6891" actId="478"/>
          <ac:picMkLst>
            <pc:docMk/>
            <pc:sldMk cId="454810740" sldId="2145706663"/>
            <ac:picMk id="20" creationId="{97364EAC-9ED2-262D-50CF-9139D6E4F978}"/>
          </ac:picMkLst>
        </pc:picChg>
        <pc:picChg chg="add del mod">
          <ac:chgData name="WANONO, Nathan" userId="99f38b78-d58b-43dc-971c-441766c63fc4" providerId="ADAL" clId="{645A1AA1-1855-4064-9EB2-CD5361C30D88}" dt="2024-09-11T14:23:40.929" v="6891" actId="478"/>
          <ac:picMkLst>
            <pc:docMk/>
            <pc:sldMk cId="454810740" sldId="2145706663"/>
            <ac:picMk id="30" creationId="{104F8B4E-B5D5-164C-0D27-02D77DE91C61}"/>
          </ac:picMkLst>
        </pc:picChg>
        <pc:picChg chg="add del mod">
          <ac:chgData name="WANONO, Nathan" userId="99f38b78-d58b-43dc-971c-441766c63fc4" providerId="ADAL" clId="{645A1AA1-1855-4064-9EB2-CD5361C30D88}" dt="2024-09-11T14:17:56.464" v="6337" actId="478"/>
          <ac:picMkLst>
            <pc:docMk/>
            <pc:sldMk cId="454810740" sldId="2145706663"/>
            <ac:picMk id="91" creationId="{5C415754-C94A-FFDB-079F-88177C79F255}"/>
          </ac:picMkLst>
        </pc:picChg>
        <pc:picChg chg="add del mod">
          <ac:chgData name="WANONO, Nathan" userId="99f38b78-d58b-43dc-971c-441766c63fc4" providerId="ADAL" clId="{645A1AA1-1855-4064-9EB2-CD5361C30D88}" dt="2024-09-11T14:17:56.464" v="6337" actId="478"/>
          <ac:picMkLst>
            <pc:docMk/>
            <pc:sldMk cId="454810740" sldId="2145706663"/>
            <ac:picMk id="92" creationId="{88DFC42F-19E0-B4B3-602C-022DF5FBEADF}"/>
          </ac:picMkLst>
        </pc:picChg>
        <pc:picChg chg="add del mod">
          <ac:chgData name="WANONO, Nathan" userId="99f38b78-d58b-43dc-971c-441766c63fc4" providerId="ADAL" clId="{645A1AA1-1855-4064-9EB2-CD5361C30D88}" dt="2024-09-11T14:23:40.929" v="6891" actId="478"/>
          <ac:picMkLst>
            <pc:docMk/>
            <pc:sldMk cId="454810740" sldId="2145706663"/>
            <ac:picMk id="93" creationId="{121A9184-21CC-06F1-1F7B-979C9C3A2E5E}"/>
          </ac:picMkLst>
        </pc:picChg>
        <pc:picChg chg="add del mod">
          <ac:chgData name="WANONO, Nathan" userId="99f38b78-d58b-43dc-971c-441766c63fc4" providerId="ADAL" clId="{645A1AA1-1855-4064-9EB2-CD5361C30D88}" dt="2024-09-11T14:23:40.929" v="6891" actId="478"/>
          <ac:picMkLst>
            <pc:docMk/>
            <pc:sldMk cId="454810740" sldId="2145706663"/>
            <ac:picMk id="94" creationId="{A0B0B11C-F1F5-F3A7-9151-B01020E2E0B7}"/>
          </ac:picMkLst>
        </pc:picChg>
        <pc:picChg chg="add del mod">
          <ac:chgData name="WANONO, Nathan" userId="99f38b78-d58b-43dc-971c-441766c63fc4" providerId="ADAL" clId="{645A1AA1-1855-4064-9EB2-CD5361C30D88}" dt="2024-09-11T14:23:40.929" v="6891" actId="478"/>
          <ac:picMkLst>
            <pc:docMk/>
            <pc:sldMk cId="454810740" sldId="2145706663"/>
            <ac:picMk id="97" creationId="{2F6A14A1-196C-6E55-4061-92E80C44FC65}"/>
          </ac:picMkLst>
        </pc:picChg>
        <pc:picChg chg="add mod">
          <ac:chgData name="WANONO, Nathan" userId="99f38b78-d58b-43dc-971c-441766c63fc4" providerId="ADAL" clId="{645A1AA1-1855-4064-9EB2-CD5361C30D88}" dt="2024-09-12T15:52:19.727" v="10636" actId="14861"/>
          <ac:picMkLst>
            <pc:docMk/>
            <pc:sldMk cId="454810740" sldId="2145706663"/>
            <ac:picMk id="104" creationId="{43FD16EB-24E8-D545-005D-434C6069845E}"/>
          </ac:picMkLst>
        </pc:picChg>
        <pc:picChg chg="add mod">
          <ac:chgData name="WANONO, Nathan" userId="99f38b78-d58b-43dc-971c-441766c63fc4" providerId="ADAL" clId="{645A1AA1-1855-4064-9EB2-CD5361C30D88}" dt="2024-09-12T15:52:19.727" v="10636" actId="14861"/>
          <ac:picMkLst>
            <pc:docMk/>
            <pc:sldMk cId="454810740" sldId="2145706663"/>
            <ac:picMk id="105" creationId="{6B603ACE-0BEE-7C27-79FD-78510A711A95}"/>
          </ac:picMkLst>
        </pc:picChg>
        <pc:picChg chg="add mod">
          <ac:chgData name="WANONO, Nathan" userId="99f38b78-d58b-43dc-971c-441766c63fc4" providerId="ADAL" clId="{645A1AA1-1855-4064-9EB2-CD5361C30D88}" dt="2024-09-11T14:30:24.023" v="7815" actId="1076"/>
          <ac:picMkLst>
            <pc:docMk/>
            <pc:sldMk cId="454810740" sldId="2145706663"/>
            <ac:picMk id="116" creationId="{A512D9F8-AF2A-6CAF-C7A5-4B6BD600DC4E}"/>
          </ac:picMkLst>
        </pc:picChg>
        <pc:cxnChg chg="del">
          <ac:chgData name="WANONO, Nathan" userId="99f38b78-d58b-43dc-971c-441766c63fc4" providerId="ADAL" clId="{645A1AA1-1855-4064-9EB2-CD5361C30D88}" dt="2024-09-11T13:51:15.569" v="5436" actId="478"/>
          <ac:cxnSpMkLst>
            <pc:docMk/>
            <pc:sldMk cId="454810740" sldId="2145706663"/>
            <ac:cxnSpMk id="8" creationId="{40A3745E-3BE6-700E-A172-034EA6E98006}"/>
          </ac:cxnSpMkLst>
        </pc:cxnChg>
        <pc:cxnChg chg="del mod">
          <ac:chgData name="WANONO, Nathan" userId="99f38b78-d58b-43dc-971c-441766c63fc4" providerId="ADAL" clId="{645A1AA1-1855-4064-9EB2-CD5361C30D88}" dt="2024-09-11T13:51:15.569" v="5436" actId="478"/>
          <ac:cxnSpMkLst>
            <pc:docMk/>
            <pc:sldMk cId="454810740" sldId="2145706663"/>
            <ac:cxnSpMk id="9" creationId="{F8D9E6CE-85CE-294F-D347-A7FBE9483EDE}"/>
          </ac:cxnSpMkLst>
        </pc:cxnChg>
        <pc:cxnChg chg="del mod">
          <ac:chgData name="WANONO, Nathan" userId="99f38b78-d58b-43dc-971c-441766c63fc4" providerId="ADAL" clId="{645A1AA1-1855-4064-9EB2-CD5361C30D88}" dt="2024-09-11T13:51:15.569" v="5436" actId="478"/>
          <ac:cxnSpMkLst>
            <pc:docMk/>
            <pc:sldMk cId="454810740" sldId="2145706663"/>
            <ac:cxnSpMk id="11" creationId="{BFC98978-AC12-9098-7DA4-BB60655DECD5}"/>
          </ac:cxnSpMkLst>
        </pc:cxnChg>
        <pc:cxnChg chg="del mod">
          <ac:chgData name="WANONO, Nathan" userId="99f38b78-d58b-43dc-971c-441766c63fc4" providerId="ADAL" clId="{645A1AA1-1855-4064-9EB2-CD5361C30D88}" dt="2024-09-11T13:51:15.569" v="5436" actId="478"/>
          <ac:cxnSpMkLst>
            <pc:docMk/>
            <pc:sldMk cId="454810740" sldId="2145706663"/>
            <ac:cxnSpMk id="12" creationId="{04BD9815-2D8C-D1BC-74DF-1C0B88DB61BD}"/>
          </ac:cxnSpMkLst>
        </pc:cxnChg>
        <pc:cxnChg chg="add del mod">
          <ac:chgData name="WANONO, Nathan" userId="99f38b78-d58b-43dc-971c-441766c63fc4" providerId="ADAL" clId="{645A1AA1-1855-4064-9EB2-CD5361C30D88}" dt="2024-09-11T14:23:40.929" v="6891" actId="478"/>
          <ac:cxnSpMkLst>
            <pc:docMk/>
            <pc:sldMk cId="454810740" sldId="2145706663"/>
            <ac:cxnSpMk id="24" creationId="{09086437-0E2B-6D61-5E52-2983B04A98A5}"/>
          </ac:cxnSpMkLst>
        </pc:cxnChg>
        <pc:cxnChg chg="add del mod">
          <ac:chgData name="WANONO, Nathan" userId="99f38b78-d58b-43dc-971c-441766c63fc4" providerId="ADAL" clId="{645A1AA1-1855-4064-9EB2-CD5361C30D88}" dt="2024-09-11T14:23:40.929" v="6891" actId="478"/>
          <ac:cxnSpMkLst>
            <pc:docMk/>
            <pc:sldMk cId="454810740" sldId="2145706663"/>
            <ac:cxnSpMk id="25" creationId="{FAECB01B-C3AA-7D0C-D138-5A0022016B85}"/>
          </ac:cxnSpMkLst>
        </pc:cxnChg>
        <pc:cxnChg chg="add del mod">
          <ac:chgData name="WANONO, Nathan" userId="99f38b78-d58b-43dc-971c-441766c63fc4" providerId="ADAL" clId="{645A1AA1-1855-4064-9EB2-CD5361C30D88}" dt="2024-09-11T14:23:40.929" v="6891" actId="478"/>
          <ac:cxnSpMkLst>
            <pc:docMk/>
            <pc:sldMk cId="454810740" sldId="2145706663"/>
            <ac:cxnSpMk id="31" creationId="{5E596B62-B197-2A54-80A8-AB52B0AFE5D8}"/>
          </ac:cxnSpMkLst>
        </pc:cxnChg>
        <pc:cxnChg chg="add del mod">
          <ac:chgData name="WANONO, Nathan" userId="99f38b78-d58b-43dc-971c-441766c63fc4" providerId="ADAL" clId="{645A1AA1-1855-4064-9EB2-CD5361C30D88}" dt="2024-09-11T14:23:40.929" v="6891" actId="478"/>
          <ac:cxnSpMkLst>
            <pc:docMk/>
            <pc:sldMk cId="454810740" sldId="2145706663"/>
            <ac:cxnSpMk id="36" creationId="{63BCE5EB-F9EA-E22A-3F76-C95DB9DE7036}"/>
          </ac:cxnSpMkLst>
        </pc:cxnChg>
        <pc:cxnChg chg="add del mod">
          <ac:chgData name="WANONO, Nathan" userId="99f38b78-d58b-43dc-971c-441766c63fc4" providerId="ADAL" clId="{645A1AA1-1855-4064-9EB2-CD5361C30D88}" dt="2024-09-11T14:09:08.154" v="5985" actId="478"/>
          <ac:cxnSpMkLst>
            <pc:docMk/>
            <pc:sldMk cId="454810740" sldId="2145706663"/>
            <ac:cxnSpMk id="41" creationId="{5E013E18-FBF1-B05B-E561-2D0C5D71D538}"/>
          </ac:cxnSpMkLst>
        </pc:cxnChg>
        <pc:cxnChg chg="add del mod">
          <ac:chgData name="WANONO, Nathan" userId="99f38b78-d58b-43dc-971c-441766c63fc4" providerId="ADAL" clId="{645A1AA1-1855-4064-9EB2-CD5361C30D88}" dt="2024-09-11T14:09:08.185" v="5986" actId="478"/>
          <ac:cxnSpMkLst>
            <pc:docMk/>
            <pc:sldMk cId="454810740" sldId="2145706663"/>
            <ac:cxnSpMk id="46" creationId="{0542C7D4-12F7-F10A-60AD-D79C96F5CA34}"/>
          </ac:cxnSpMkLst>
        </pc:cxnChg>
        <pc:cxnChg chg="add del mod">
          <ac:chgData name="WANONO, Nathan" userId="99f38b78-d58b-43dc-971c-441766c63fc4" providerId="ADAL" clId="{645A1AA1-1855-4064-9EB2-CD5361C30D88}" dt="2024-09-11T14:09:08.214" v="5987" actId="478"/>
          <ac:cxnSpMkLst>
            <pc:docMk/>
            <pc:sldMk cId="454810740" sldId="2145706663"/>
            <ac:cxnSpMk id="52" creationId="{60D1B230-9B74-13AD-39CB-CFD88B4D50EE}"/>
          </ac:cxnSpMkLst>
        </pc:cxnChg>
        <pc:cxnChg chg="add del mod">
          <ac:chgData name="WANONO, Nathan" userId="99f38b78-d58b-43dc-971c-441766c63fc4" providerId="ADAL" clId="{645A1AA1-1855-4064-9EB2-CD5361C30D88}" dt="2024-09-11T14:23:40.929" v="6891" actId="478"/>
          <ac:cxnSpMkLst>
            <pc:docMk/>
            <pc:sldMk cId="454810740" sldId="2145706663"/>
            <ac:cxnSpMk id="73" creationId="{25D87FB7-E5F1-96FC-21DB-9F467F525705}"/>
          </ac:cxnSpMkLst>
        </pc:cxnChg>
        <pc:cxnChg chg="add del mod">
          <ac:chgData name="WANONO, Nathan" userId="99f38b78-d58b-43dc-971c-441766c63fc4" providerId="ADAL" clId="{645A1AA1-1855-4064-9EB2-CD5361C30D88}" dt="2024-09-11T14:23:40.929" v="6891" actId="478"/>
          <ac:cxnSpMkLst>
            <pc:docMk/>
            <pc:sldMk cId="454810740" sldId="2145706663"/>
            <ac:cxnSpMk id="77" creationId="{58E55401-A71B-B787-C362-8B4ED32AFF24}"/>
          </ac:cxnSpMkLst>
        </pc:cxnChg>
        <pc:cxnChg chg="add del mod">
          <ac:chgData name="WANONO, Nathan" userId="99f38b78-d58b-43dc-971c-441766c63fc4" providerId="ADAL" clId="{645A1AA1-1855-4064-9EB2-CD5361C30D88}" dt="2024-09-11T14:23:40.929" v="6891" actId="478"/>
          <ac:cxnSpMkLst>
            <pc:docMk/>
            <pc:sldMk cId="454810740" sldId="2145706663"/>
            <ac:cxnSpMk id="79" creationId="{5020F59C-967E-72EC-BFEA-CF0BD3902F9C}"/>
          </ac:cxnSpMkLst>
        </pc:cxnChg>
        <pc:cxnChg chg="add del mod">
          <ac:chgData name="WANONO, Nathan" userId="99f38b78-d58b-43dc-971c-441766c63fc4" providerId="ADAL" clId="{645A1AA1-1855-4064-9EB2-CD5361C30D88}" dt="2024-09-11T14:23:40.929" v="6891" actId="478"/>
          <ac:cxnSpMkLst>
            <pc:docMk/>
            <pc:sldMk cId="454810740" sldId="2145706663"/>
            <ac:cxnSpMk id="81" creationId="{A12A8D61-3E3B-95C0-44C7-7AAE5FEC9E66}"/>
          </ac:cxnSpMkLst>
        </pc:cxnChg>
        <pc:cxnChg chg="add del mod">
          <ac:chgData name="WANONO, Nathan" userId="99f38b78-d58b-43dc-971c-441766c63fc4" providerId="ADAL" clId="{645A1AA1-1855-4064-9EB2-CD5361C30D88}" dt="2024-09-11T14:23:40.929" v="6891" actId="478"/>
          <ac:cxnSpMkLst>
            <pc:docMk/>
            <pc:sldMk cId="454810740" sldId="2145706663"/>
            <ac:cxnSpMk id="83" creationId="{20F5EEBB-89C2-BD9E-AB8C-FBEA53FDE611}"/>
          </ac:cxnSpMkLst>
        </pc:cxnChg>
        <pc:cxnChg chg="add del mod">
          <ac:chgData name="WANONO, Nathan" userId="99f38b78-d58b-43dc-971c-441766c63fc4" providerId="ADAL" clId="{645A1AA1-1855-4064-9EB2-CD5361C30D88}" dt="2024-09-11T14:23:40.929" v="6891" actId="478"/>
          <ac:cxnSpMkLst>
            <pc:docMk/>
            <pc:sldMk cId="454810740" sldId="2145706663"/>
            <ac:cxnSpMk id="85" creationId="{F6944DB9-258A-C43E-7B0C-71E3E429BDF9}"/>
          </ac:cxnSpMkLst>
        </pc:cxnChg>
        <pc:cxnChg chg="add del mod">
          <ac:chgData name="WANONO, Nathan" userId="99f38b78-d58b-43dc-971c-441766c63fc4" providerId="ADAL" clId="{645A1AA1-1855-4064-9EB2-CD5361C30D88}" dt="2024-09-11T14:23:40.929" v="6891" actId="478"/>
          <ac:cxnSpMkLst>
            <pc:docMk/>
            <pc:sldMk cId="454810740" sldId="2145706663"/>
            <ac:cxnSpMk id="87" creationId="{5D4428B1-ACFB-7D75-A4C8-A80BF68BE623}"/>
          </ac:cxnSpMkLst>
        </pc:cxnChg>
        <pc:cxnChg chg="add del mod">
          <ac:chgData name="WANONO, Nathan" userId="99f38b78-d58b-43dc-971c-441766c63fc4" providerId="ADAL" clId="{645A1AA1-1855-4064-9EB2-CD5361C30D88}" dt="2024-09-11T14:23:40.929" v="6891" actId="478"/>
          <ac:cxnSpMkLst>
            <pc:docMk/>
            <pc:sldMk cId="454810740" sldId="2145706663"/>
            <ac:cxnSpMk id="88" creationId="{9FD0CA3C-DDBA-CD03-81AF-3782DD8E8E1A}"/>
          </ac:cxnSpMkLst>
        </pc:cxnChg>
        <pc:cxnChg chg="add mod">
          <ac:chgData name="WANONO, Nathan" userId="99f38b78-d58b-43dc-971c-441766c63fc4" providerId="ADAL" clId="{645A1AA1-1855-4064-9EB2-CD5361C30D88}" dt="2024-09-11T14:29:38.803" v="7811" actId="1076"/>
          <ac:cxnSpMkLst>
            <pc:docMk/>
            <pc:sldMk cId="454810740" sldId="2145706663"/>
            <ac:cxnSpMk id="108" creationId="{C0C580DC-F578-ADDF-1AD5-518D94205730}"/>
          </ac:cxnSpMkLst>
        </pc:cxnChg>
      </pc:sldChg>
      <pc:sldChg chg="modSp add mod ord">
        <pc:chgData name="WANONO, Nathan" userId="99f38b78-d58b-43dc-971c-441766c63fc4" providerId="ADAL" clId="{645A1AA1-1855-4064-9EB2-CD5361C30D88}" dt="2024-09-11T15:26:00.865" v="8620"/>
        <pc:sldMkLst>
          <pc:docMk/>
          <pc:sldMk cId="3900630560" sldId="2145706664"/>
        </pc:sldMkLst>
        <pc:spChg chg="mod">
          <ac:chgData name="WANONO, Nathan" userId="99f38b78-d58b-43dc-971c-441766c63fc4" providerId="ADAL" clId="{645A1AA1-1855-4064-9EB2-CD5361C30D88}" dt="2024-09-11T15:26:00.865" v="8620"/>
          <ac:spMkLst>
            <pc:docMk/>
            <pc:sldMk cId="3900630560" sldId="2145706664"/>
            <ac:spMk id="15" creationId="{8D532E29-48E6-4DAB-AA82-2A90F9990E15}"/>
          </ac:spMkLst>
        </pc:spChg>
      </pc:sldChg>
      <pc:sldChg chg="addSp delSp modSp add mod">
        <pc:chgData name="WANONO, Nathan" userId="99f38b78-d58b-43dc-971c-441766c63fc4" providerId="ADAL" clId="{645A1AA1-1855-4064-9EB2-CD5361C30D88}" dt="2024-09-13T07:59:09.797" v="11093" actId="20577"/>
        <pc:sldMkLst>
          <pc:docMk/>
          <pc:sldMk cId="1604945313" sldId="2145706665"/>
        </pc:sldMkLst>
        <pc:spChg chg="mod">
          <ac:chgData name="WANONO, Nathan" userId="99f38b78-d58b-43dc-971c-441766c63fc4" providerId="ADAL" clId="{645A1AA1-1855-4064-9EB2-CD5361C30D88}" dt="2024-09-13T07:59:09.797" v="11093" actId="20577"/>
          <ac:spMkLst>
            <pc:docMk/>
            <pc:sldMk cId="1604945313" sldId="2145706665"/>
            <ac:spMk id="3" creationId="{F1261247-D114-B15E-D6B0-FD5D1DC5DAEA}"/>
          </ac:spMkLst>
        </pc:spChg>
        <pc:spChg chg="mod">
          <ac:chgData name="WANONO, Nathan" userId="99f38b78-d58b-43dc-971c-441766c63fc4" providerId="ADAL" clId="{645A1AA1-1855-4064-9EB2-CD5361C30D88}" dt="2024-09-11T14:23:35.160" v="6890" actId="1076"/>
          <ac:spMkLst>
            <pc:docMk/>
            <pc:sldMk cId="1604945313" sldId="2145706665"/>
            <ac:spMk id="5" creationId="{3AA7F2A3-B0C0-D68A-CA8D-C23BFCFC8367}"/>
          </ac:spMkLst>
        </pc:spChg>
        <pc:spChg chg="del">
          <ac:chgData name="WANONO, Nathan" userId="99f38b78-d58b-43dc-971c-441766c63fc4" providerId="ADAL" clId="{645A1AA1-1855-4064-9EB2-CD5361C30D88}" dt="2024-09-11T16:23:01.735" v="9631" actId="478"/>
          <ac:spMkLst>
            <pc:docMk/>
            <pc:sldMk cId="1604945313" sldId="2145706665"/>
            <ac:spMk id="58" creationId="{708BA968-83CF-0241-709D-16C25DB5B8AD}"/>
          </ac:spMkLst>
        </pc:spChg>
        <pc:spChg chg="mod">
          <ac:chgData name="WANONO, Nathan" userId="99f38b78-d58b-43dc-971c-441766c63fc4" providerId="ADAL" clId="{645A1AA1-1855-4064-9EB2-CD5361C30D88}" dt="2024-09-11T14:35:11.778" v="7922" actId="207"/>
          <ac:spMkLst>
            <pc:docMk/>
            <pc:sldMk cId="1604945313" sldId="2145706665"/>
            <ac:spMk id="82" creationId="{AD070F0C-885F-EC2F-ABA9-BDFC0ECD024E}"/>
          </ac:spMkLst>
        </pc:spChg>
        <pc:spChg chg="del mod">
          <ac:chgData name="WANONO, Nathan" userId="99f38b78-d58b-43dc-971c-441766c63fc4" providerId="ADAL" clId="{645A1AA1-1855-4064-9EB2-CD5361C30D88}" dt="2024-09-11T14:34:15.305" v="7913" actId="478"/>
          <ac:spMkLst>
            <pc:docMk/>
            <pc:sldMk cId="1604945313" sldId="2145706665"/>
            <ac:spMk id="95" creationId="{E4D10E05-A05D-4D93-77DE-F6C05E1B3DF9}"/>
          </ac:spMkLst>
        </pc:spChg>
        <pc:spChg chg="del mod">
          <ac:chgData name="WANONO, Nathan" userId="99f38b78-d58b-43dc-971c-441766c63fc4" providerId="ADAL" clId="{645A1AA1-1855-4064-9EB2-CD5361C30D88}" dt="2024-09-11T14:34:13.959" v="7912" actId="478"/>
          <ac:spMkLst>
            <pc:docMk/>
            <pc:sldMk cId="1604945313" sldId="2145706665"/>
            <ac:spMk id="96" creationId="{5CAFAC66-01E4-6DF0-7FAD-050980AD2A5F}"/>
          </ac:spMkLst>
        </pc:spChg>
        <pc:picChg chg="add mod">
          <ac:chgData name="WANONO, Nathan" userId="99f38b78-d58b-43dc-971c-441766c63fc4" providerId="ADAL" clId="{645A1AA1-1855-4064-9EB2-CD5361C30D88}" dt="2024-09-11T14:22:37.152" v="6745" actId="1076"/>
          <ac:picMkLst>
            <pc:docMk/>
            <pc:sldMk cId="1604945313" sldId="2145706665"/>
            <ac:picMk id="2" creationId="{6DE0C822-FE35-57E9-2C4C-9F6D445ED878}"/>
          </ac:picMkLst>
        </pc:picChg>
        <pc:picChg chg="add del mod">
          <ac:chgData name="WANONO, Nathan" userId="99f38b78-d58b-43dc-971c-441766c63fc4" providerId="ADAL" clId="{645A1AA1-1855-4064-9EB2-CD5361C30D88}" dt="2024-09-11T14:34:32.797" v="7919" actId="478"/>
          <ac:picMkLst>
            <pc:docMk/>
            <pc:sldMk cId="1604945313" sldId="2145706665"/>
            <ac:picMk id="4" creationId="{2A554513-3448-D65C-9020-C51AEFB762AD}"/>
          </ac:picMkLst>
        </pc:picChg>
        <pc:picChg chg="mod">
          <ac:chgData name="WANONO, Nathan" userId="99f38b78-d58b-43dc-971c-441766c63fc4" providerId="ADAL" clId="{645A1AA1-1855-4064-9EB2-CD5361C30D88}" dt="2024-09-12T15:52:02.643" v="10635" actId="14861"/>
          <ac:picMkLst>
            <pc:docMk/>
            <pc:sldMk cId="1604945313" sldId="2145706665"/>
            <ac:picMk id="17" creationId="{C773D4D4-4BE4-5F35-EF3F-48204D7D3389}"/>
          </ac:picMkLst>
        </pc:picChg>
        <pc:picChg chg="mod">
          <ac:chgData name="WANONO, Nathan" userId="99f38b78-d58b-43dc-971c-441766c63fc4" providerId="ADAL" clId="{645A1AA1-1855-4064-9EB2-CD5361C30D88}" dt="2024-09-12T15:52:02.643" v="10635" actId="14861"/>
          <ac:picMkLst>
            <pc:docMk/>
            <pc:sldMk cId="1604945313" sldId="2145706665"/>
            <ac:picMk id="20" creationId="{97364EAC-9ED2-262D-50CF-9139D6E4F978}"/>
          </ac:picMkLst>
        </pc:picChg>
        <pc:picChg chg="del">
          <ac:chgData name="WANONO, Nathan" userId="99f38b78-d58b-43dc-971c-441766c63fc4" providerId="ADAL" clId="{645A1AA1-1855-4064-9EB2-CD5361C30D88}" dt="2024-09-11T16:23:01.735" v="9631" actId="478"/>
          <ac:picMkLst>
            <pc:docMk/>
            <pc:sldMk cId="1604945313" sldId="2145706665"/>
            <ac:picMk id="30" creationId="{104F8B4E-B5D5-164C-0D27-02D77DE91C61}"/>
          </ac:picMkLst>
        </pc:picChg>
        <pc:picChg chg="mod">
          <ac:chgData name="WANONO, Nathan" userId="99f38b78-d58b-43dc-971c-441766c63fc4" providerId="ADAL" clId="{645A1AA1-1855-4064-9EB2-CD5361C30D88}" dt="2024-09-11T14:34:17.179" v="7914" actId="1076"/>
          <ac:picMkLst>
            <pc:docMk/>
            <pc:sldMk cId="1604945313" sldId="2145706665"/>
            <ac:picMk id="93" creationId="{121A9184-21CC-06F1-1F7B-979C9C3A2E5E}"/>
          </ac:picMkLst>
        </pc:picChg>
        <pc:picChg chg="mod">
          <ac:chgData name="WANONO, Nathan" userId="99f38b78-d58b-43dc-971c-441766c63fc4" providerId="ADAL" clId="{645A1AA1-1855-4064-9EB2-CD5361C30D88}" dt="2024-09-11T14:34:20.702" v="7915" actId="1076"/>
          <ac:picMkLst>
            <pc:docMk/>
            <pc:sldMk cId="1604945313" sldId="2145706665"/>
            <ac:picMk id="94" creationId="{A0B0B11C-F1F5-F3A7-9151-B01020E2E0B7}"/>
          </ac:picMkLst>
        </pc:picChg>
        <pc:picChg chg="mod">
          <ac:chgData name="WANONO, Nathan" userId="99f38b78-d58b-43dc-971c-441766c63fc4" providerId="ADAL" clId="{645A1AA1-1855-4064-9EB2-CD5361C30D88}" dt="2024-09-11T14:22:39.286" v="6746" actId="1076"/>
          <ac:picMkLst>
            <pc:docMk/>
            <pc:sldMk cId="1604945313" sldId="2145706665"/>
            <ac:picMk id="97" creationId="{2F6A14A1-196C-6E55-4061-92E80C44FC65}"/>
          </ac:picMkLst>
        </pc:picChg>
        <pc:cxnChg chg="del mod">
          <ac:chgData name="WANONO, Nathan" userId="99f38b78-d58b-43dc-971c-441766c63fc4" providerId="ADAL" clId="{645A1AA1-1855-4064-9EB2-CD5361C30D88}" dt="2024-09-11T16:23:01.735" v="9631" actId="478"/>
          <ac:cxnSpMkLst>
            <pc:docMk/>
            <pc:sldMk cId="1604945313" sldId="2145706665"/>
            <ac:cxnSpMk id="31" creationId="{5E596B62-B197-2A54-80A8-AB52B0AFE5D8}"/>
          </ac:cxnSpMkLst>
        </pc:cxnChg>
        <pc:cxnChg chg="mod">
          <ac:chgData name="WANONO, Nathan" userId="99f38b78-d58b-43dc-971c-441766c63fc4" providerId="ADAL" clId="{645A1AA1-1855-4064-9EB2-CD5361C30D88}" dt="2024-09-11T14:34:49.838" v="7921" actId="108"/>
          <ac:cxnSpMkLst>
            <pc:docMk/>
            <pc:sldMk cId="1604945313" sldId="2145706665"/>
            <ac:cxnSpMk id="36" creationId="{63BCE5EB-F9EA-E22A-3F76-C95DB9DE7036}"/>
          </ac:cxnSpMkLst>
        </pc:cxnChg>
        <pc:cxnChg chg="mod">
          <ac:chgData name="WANONO, Nathan" userId="99f38b78-d58b-43dc-971c-441766c63fc4" providerId="ADAL" clId="{645A1AA1-1855-4064-9EB2-CD5361C30D88}" dt="2024-09-11T14:35:17.339" v="7923" actId="208"/>
          <ac:cxnSpMkLst>
            <pc:docMk/>
            <pc:sldMk cId="1604945313" sldId="2145706665"/>
            <ac:cxnSpMk id="81" creationId="{A12A8D61-3E3B-95C0-44C7-7AAE5FEC9E66}"/>
          </ac:cxnSpMkLst>
        </pc:cxnChg>
      </pc:sldChg>
      <pc:sldChg chg="addSp delSp modSp add mod ord">
        <pc:chgData name="WANONO, Nathan" userId="99f38b78-d58b-43dc-971c-441766c63fc4" providerId="ADAL" clId="{645A1AA1-1855-4064-9EB2-CD5361C30D88}" dt="2024-09-13T09:41:20.263" v="12313" actId="33524"/>
        <pc:sldMkLst>
          <pc:docMk/>
          <pc:sldMk cId="195666355" sldId="2145706666"/>
        </pc:sldMkLst>
        <pc:spChg chg="add del mod">
          <ac:chgData name="WANONO, Nathan" userId="99f38b78-d58b-43dc-971c-441766c63fc4" providerId="ADAL" clId="{645A1AA1-1855-4064-9EB2-CD5361C30D88}" dt="2024-09-11T14:33:32.637" v="7906" actId="478"/>
          <ac:spMkLst>
            <pc:docMk/>
            <pc:sldMk cId="195666355" sldId="2145706666"/>
            <ac:spMk id="3" creationId="{F1261247-D114-B15E-D6B0-FD5D1DC5DAEA}"/>
          </ac:spMkLst>
        </pc:spChg>
        <pc:spChg chg="add del mod">
          <ac:chgData name="WANONO, Nathan" userId="99f38b78-d58b-43dc-971c-441766c63fc4" providerId="ADAL" clId="{645A1AA1-1855-4064-9EB2-CD5361C30D88}" dt="2024-09-11T14:33:32.637" v="7906" actId="478"/>
          <ac:spMkLst>
            <pc:docMk/>
            <pc:sldMk cId="195666355" sldId="2145706666"/>
            <ac:spMk id="4" creationId="{37E0F8EF-19C4-3877-039E-037C88EFEBF0}"/>
          </ac:spMkLst>
        </pc:spChg>
        <pc:spChg chg="add mod">
          <ac:chgData name="WANONO, Nathan" userId="99f38b78-d58b-43dc-971c-441766c63fc4" providerId="ADAL" clId="{645A1AA1-1855-4064-9EB2-CD5361C30D88}" dt="2024-09-11T14:37:27.432" v="8074"/>
          <ac:spMkLst>
            <pc:docMk/>
            <pc:sldMk cId="195666355" sldId="2145706666"/>
            <ac:spMk id="12" creationId="{4CEA7716-9EE6-E9D1-3A2E-5D7ECFC5F24D}"/>
          </ac:spMkLst>
        </pc:spChg>
        <pc:spChg chg="add mod">
          <ac:chgData name="WANONO, Nathan" userId="99f38b78-d58b-43dc-971c-441766c63fc4" providerId="ADAL" clId="{645A1AA1-1855-4064-9EB2-CD5361C30D88}" dt="2024-09-11T14:37:27.432" v="8074"/>
          <ac:spMkLst>
            <pc:docMk/>
            <pc:sldMk cId="195666355" sldId="2145706666"/>
            <ac:spMk id="13" creationId="{6F9AC82D-14B8-B6DA-CE43-EA9F4CE1CC5B}"/>
          </ac:spMkLst>
        </pc:spChg>
        <pc:spChg chg="add mod">
          <ac:chgData name="WANONO, Nathan" userId="99f38b78-d58b-43dc-971c-441766c63fc4" providerId="ADAL" clId="{645A1AA1-1855-4064-9EB2-CD5361C30D88}" dt="2024-09-11T14:37:27.432" v="8074"/>
          <ac:spMkLst>
            <pc:docMk/>
            <pc:sldMk cId="195666355" sldId="2145706666"/>
            <ac:spMk id="14" creationId="{2C7DAEC1-2258-C5F9-AB03-0F1A0BD88D18}"/>
          </ac:spMkLst>
        </pc:spChg>
        <pc:spChg chg="add del mod">
          <ac:chgData name="WANONO, Nathan" userId="99f38b78-d58b-43dc-971c-441766c63fc4" providerId="ADAL" clId="{645A1AA1-1855-4064-9EB2-CD5361C30D88}" dt="2024-09-11T14:39:02.731" v="8104" actId="478"/>
          <ac:spMkLst>
            <pc:docMk/>
            <pc:sldMk cId="195666355" sldId="2145706666"/>
            <ac:spMk id="15" creationId="{35DD2835-41DF-0A78-7DF4-92CA0A01FA39}"/>
          </ac:spMkLst>
        </pc:spChg>
        <pc:spChg chg="add del mod">
          <ac:chgData name="WANONO, Nathan" userId="99f38b78-d58b-43dc-971c-441766c63fc4" providerId="ADAL" clId="{645A1AA1-1855-4064-9EB2-CD5361C30D88}" dt="2024-09-11T14:38:48.239" v="8096" actId="478"/>
          <ac:spMkLst>
            <pc:docMk/>
            <pc:sldMk cId="195666355" sldId="2145706666"/>
            <ac:spMk id="17" creationId="{40702812-B0D0-1C7C-7D0B-17CD03D6453F}"/>
          </ac:spMkLst>
        </pc:spChg>
        <pc:spChg chg="add del mod">
          <ac:chgData name="WANONO, Nathan" userId="99f38b78-d58b-43dc-971c-441766c63fc4" providerId="ADAL" clId="{645A1AA1-1855-4064-9EB2-CD5361C30D88}" dt="2024-09-11T14:38:47.092" v="8094" actId="478"/>
          <ac:spMkLst>
            <pc:docMk/>
            <pc:sldMk cId="195666355" sldId="2145706666"/>
            <ac:spMk id="19" creationId="{F357BB98-29D7-C7E8-732B-7C38865BC256}"/>
          </ac:spMkLst>
        </pc:spChg>
        <pc:spChg chg="add del mod">
          <ac:chgData name="WANONO, Nathan" userId="99f38b78-d58b-43dc-971c-441766c63fc4" providerId="ADAL" clId="{645A1AA1-1855-4064-9EB2-CD5361C30D88}" dt="2024-09-11T14:38:47.706" v="8095" actId="478"/>
          <ac:spMkLst>
            <pc:docMk/>
            <pc:sldMk cId="195666355" sldId="2145706666"/>
            <ac:spMk id="21" creationId="{6DEA33C1-34E1-16DD-C5C1-2F5C2CB3B678}"/>
          </ac:spMkLst>
        </pc:spChg>
        <pc:spChg chg="add del mod">
          <ac:chgData name="WANONO, Nathan" userId="99f38b78-d58b-43dc-971c-441766c63fc4" providerId="ADAL" clId="{645A1AA1-1855-4064-9EB2-CD5361C30D88}" dt="2024-09-11T14:38:40.833" v="8090" actId="478"/>
          <ac:spMkLst>
            <pc:docMk/>
            <pc:sldMk cId="195666355" sldId="2145706666"/>
            <ac:spMk id="23" creationId="{75D23D59-1696-8F0A-35E2-AC92671F0AC0}"/>
          </ac:spMkLst>
        </pc:spChg>
        <pc:spChg chg="add del mod">
          <ac:chgData name="WANONO, Nathan" userId="99f38b78-d58b-43dc-971c-441766c63fc4" providerId="ADAL" clId="{645A1AA1-1855-4064-9EB2-CD5361C30D88}" dt="2024-09-11T14:38:42.646" v="8091" actId="478"/>
          <ac:spMkLst>
            <pc:docMk/>
            <pc:sldMk cId="195666355" sldId="2145706666"/>
            <ac:spMk id="25" creationId="{FD1690D4-2ECD-9175-178E-EDE3169699E2}"/>
          </ac:spMkLst>
        </pc:spChg>
        <pc:spChg chg="add del mod">
          <ac:chgData name="WANONO, Nathan" userId="99f38b78-d58b-43dc-971c-441766c63fc4" providerId="ADAL" clId="{645A1AA1-1855-4064-9EB2-CD5361C30D88}" dt="2024-09-11T14:38:43.763" v="8092" actId="478"/>
          <ac:spMkLst>
            <pc:docMk/>
            <pc:sldMk cId="195666355" sldId="2145706666"/>
            <ac:spMk id="27" creationId="{9D425D8B-9A05-D6EF-D8CF-052F33B24E3D}"/>
          </ac:spMkLst>
        </pc:spChg>
        <pc:spChg chg="add del mod">
          <ac:chgData name="WANONO, Nathan" userId="99f38b78-d58b-43dc-971c-441766c63fc4" providerId="ADAL" clId="{645A1AA1-1855-4064-9EB2-CD5361C30D88}" dt="2024-09-11T14:38:50.536" v="8099" actId="478"/>
          <ac:spMkLst>
            <pc:docMk/>
            <pc:sldMk cId="195666355" sldId="2145706666"/>
            <ac:spMk id="30" creationId="{BD4DE03F-8B3D-6589-9620-66ACFFDAE71A}"/>
          </ac:spMkLst>
        </pc:spChg>
        <pc:spChg chg="add del mod">
          <ac:chgData name="WANONO, Nathan" userId="99f38b78-d58b-43dc-971c-441766c63fc4" providerId="ADAL" clId="{645A1AA1-1855-4064-9EB2-CD5361C30D88}" dt="2024-09-11T14:38:51.439" v="8100" actId="478"/>
          <ac:spMkLst>
            <pc:docMk/>
            <pc:sldMk cId="195666355" sldId="2145706666"/>
            <ac:spMk id="31" creationId="{40CBA898-243B-A909-E86B-90E37E05C5FF}"/>
          </ac:spMkLst>
        </pc:spChg>
        <pc:spChg chg="add del mod">
          <ac:chgData name="WANONO, Nathan" userId="99f38b78-d58b-43dc-971c-441766c63fc4" providerId="ADAL" clId="{645A1AA1-1855-4064-9EB2-CD5361C30D88}" dt="2024-09-13T09:41:20.263" v="12313" actId="33524"/>
          <ac:spMkLst>
            <pc:docMk/>
            <pc:sldMk cId="195666355" sldId="2145706666"/>
            <ac:spMk id="103" creationId="{1BC49AF2-85A3-7246-B2EC-46FDF8E9CC5D}"/>
          </ac:spMkLst>
        </pc:spChg>
        <pc:spChg chg="add del">
          <ac:chgData name="WANONO, Nathan" userId="99f38b78-d58b-43dc-971c-441766c63fc4" providerId="ADAL" clId="{645A1AA1-1855-4064-9EB2-CD5361C30D88}" dt="2024-09-11T14:33:35.814" v="7908" actId="478"/>
          <ac:spMkLst>
            <pc:docMk/>
            <pc:sldMk cId="195666355" sldId="2145706666"/>
            <ac:spMk id="106" creationId="{89E0C1A6-0DB2-CCFE-2E44-3632C2168AAF}"/>
          </ac:spMkLst>
        </pc:spChg>
        <pc:spChg chg="add del">
          <ac:chgData name="WANONO, Nathan" userId="99f38b78-d58b-43dc-971c-441766c63fc4" providerId="ADAL" clId="{645A1AA1-1855-4064-9EB2-CD5361C30D88}" dt="2024-09-11T14:33:35.814" v="7908" actId="478"/>
          <ac:spMkLst>
            <pc:docMk/>
            <pc:sldMk cId="195666355" sldId="2145706666"/>
            <ac:spMk id="107" creationId="{5EF92E88-072A-E5D8-6703-4A4355EB7804}"/>
          </ac:spMkLst>
        </pc:spChg>
        <pc:picChg chg="add mod">
          <ac:chgData name="WANONO, Nathan" userId="99f38b78-d58b-43dc-971c-441766c63fc4" providerId="ADAL" clId="{645A1AA1-1855-4064-9EB2-CD5361C30D88}" dt="2024-09-12T15:51:45.147" v="10634" actId="14861"/>
          <ac:picMkLst>
            <pc:docMk/>
            <pc:sldMk cId="195666355" sldId="2145706666"/>
            <ac:picMk id="5" creationId="{86DE189F-9985-5987-A97F-FD5776879A38}"/>
          </ac:picMkLst>
        </pc:picChg>
        <pc:picChg chg="add mod">
          <ac:chgData name="WANONO, Nathan" userId="99f38b78-d58b-43dc-971c-441766c63fc4" providerId="ADAL" clId="{645A1AA1-1855-4064-9EB2-CD5361C30D88}" dt="2024-09-12T15:51:45.147" v="10634" actId="14861"/>
          <ac:picMkLst>
            <pc:docMk/>
            <pc:sldMk cId="195666355" sldId="2145706666"/>
            <ac:picMk id="6" creationId="{CFE92497-7EB0-D9F5-7E0F-144D99604853}"/>
          </ac:picMkLst>
        </pc:picChg>
        <pc:picChg chg="add mod">
          <ac:chgData name="WANONO, Nathan" userId="99f38b78-d58b-43dc-971c-441766c63fc4" providerId="ADAL" clId="{645A1AA1-1855-4064-9EB2-CD5361C30D88}" dt="2024-09-11T14:37:27.432" v="8074"/>
          <ac:picMkLst>
            <pc:docMk/>
            <pc:sldMk cId="195666355" sldId="2145706666"/>
            <ac:picMk id="9" creationId="{8CEB61B9-DE58-C2D7-5C42-C45C7CC80B15}"/>
          </ac:picMkLst>
        </pc:picChg>
        <pc:picChg chg="add mod">
          <ac:chgData name="WANONO, Nathan" userId="99f38b78-d58b-43dc-971c-441766c63fc4" providerId="ADAL" clId="{645A1AA1-1855-4064-9EB2-CD5361C30D88}" dt="2024-09-11T14:37:27.432" v="8074"/>
          <ac:picMkLst>
            <pc:docMk/>
            <pc:sldMk cId="195666355" sldId="2145706666"/>
            <ac:picMk id="96" creationId="{08DC9E14-5FE4-4E3A-66E0-21CE9B5DC516}"/>
          </ac:picMkLst>
        </pc:picChg>
        <pc:picChg chg="add mod">
          <ac:chgData name="WANONO, Nathan" userId="99f38b78-d58b-43dc-971c-441766c63fc4" providerId="ADAL" clId="{645A1AA1-1855-4064-9EB2-CD5361C30D88}" dt="2024-09-11T14:37:27.432" v="8074"/>
          <ac:picMkLst>
            <pc:docMk/>
            <pc:sldMk cId="195666355" sldId="2145706666"/>
            <ac:picMk id="97" creationId="{92458840-6030-05EA-84D6-A87B106738A7}"/>
          </ac:picMkLst>
        </pc:picChg>
        <pc:picChg chg="add del mod">
          <ac:chgData name="WANONO, Nathan" userId="99f38b78-d58b-43dc-971c-441766c63fc4" providerId="ADAL" clId="{645A1AA1-1855-4064-9EB2-CD5361C30D88}" dt="2024-09-11T14:38:55.612" v="8102" actId="478"/>
          <ac:picMkLst>
            <pc:docMk/>
            <pc:sldMk cId="195666355" sldId="2145706666"/>
            <ac:picMk id="98" creationId="{71E9F6B2-42C5-6A63-6BC2-26F733ABCFB6}"/>
          </ac:picMkLst>
        </pc:picChg>
        <pc:picChg chg="add del mod">
          <ac:chgData name="WANONO, Nathan" userId="99f38b78-d58b-43dc-971c-441766c63fc4" providerId="ADAL" clId="{645A1AA1-1855-4064-9EB2-CD5361C30D88}" dt="2024-09-11T14:38:54.845" v="8101" actId="478"/>
          <ac:picMkLst>
            <pc:docMk/>
            <pc:sldMk cId="195666355" sldId="2145706666"/>
            <ac:picMk id="99" creationId="{EFE993F5-2ABD-4609-83C1-751118EE5CAB}"/>
          </ac:picMkLst>
        </pc:picChg>
        <pc:picChg chg="add del">
          <ac:chgData name="WANONO, Nathan" userId="99f38b78-d58b-43dc-971c-441766c63fc4" providerId="ADAL" clId="{645A1AA1-1855-4064-9EB2-CD5361C30D88}" dt="2024-09-11T14:33:35.814" v="7908" actId="478"/>
          <ac:picMkLst>
            <pc:docMk/>
            <pc:sldMk cId="195666355" sldId="2145706666"/>
            <ac:picMk id="104" creationId="{43FD16EB-24E8-D545-005D-434C6069845E}"/>
          </ac:picMkLst>
        </pc:picChg>
        <pc:picChg chg="add del">
          <ac:chgData name="WANONO, Nathan" userId="99f38b78-d58b-43dc-971c-441766c63fc4" providerId="ADAL" clId="{645A1AA1-1855-4064-9EB2-CD5361C30D88}" dt="2024-09-11T14:33:35.814" v="7908" actId="478"/>
          <ac:picMkLst>
            <pc:docMk/>
            <pc:sldMk cId="195666355" sldId="2145706666"/>
            <ac:picMk id="105" creationId="{6B603ACE-0BEE-7C27-79FD-78510A711A95}"/>
          </ac:picMkLst>
        </pc:picChg>
        <pc:picChg chg="add del">
          <ac:chgData name="WANONO, Nathan" userId="99f38b78-d58b-43dc-971c-441766c63fc4" providerId="ADAL" clId="{645A1AA1-1855-4064-9EB2-CD5361C30D88}" dt="2024-09-11T14:33:35.814" v="7908" actId="478"/>
          <ac:picMkLst>
            <pc:docMk/>
            <pc:sldMk cId="195666355" sldId="2145706666"/>
            <ac:picMk id="116" creationId="{A512D9F8-AF2A-6CAF-C7A5-4B6BD600DC4E}"/>
          </ac:picMkLst>
        </pc:picChg>
        <pc:picChg chg="add mod">
          <ac:chgData name="WANONO, Nathan" userId="99f38b78-d58b-43dc-971c-441766c63fc4" providerId="ADAL" clId="{645A1AA1-1855-4064-9EB2-CD5361C30D88}" dt="2024-09-11T14:40:22.030" v="8112"/>
          <ac:picMkLst>
            <pc:docMk/>
            <pc:sldMk cId="195666355" sldId="2145706666"/>
            <ac:picMk id="157" creationId="{D8A4277A-E237-042A-55B3-BEEE3F03239A}"/>
          </ac:picMkLst>
        </pc:picChg>
        <pc:picChg chg="add mod">
          <ac:chgData name="WANONO, Nathan" userId="99f38b78-d58b-43dc-971c-441766c63fc4" providerId="ADAL" clId="{645A1AA1-1855-4064-9EB2-CD5361C30D88}" dt="2024-09-11T14:40:39.759" v="8116" actId="1076"/>
          <ac:picMkLst>
            <pc:docMk/>
            <pc:sldMk cId="195666355" sldId="2145706666"/>
            <ac:picMk id="158" creationId="{36B0A5DB-9031-7BBF-9C22-E2FA322E64C1}"/>
          </ac:picMkLst>
        </pc:picChg>
        <pc:picChg chg="add mod">
          <ac:chgData name="WANONO, Nathan" userId="99f38b78-d58b-43dc-971c-441766c63fc4" providerId="ADAL" clId="{645A1AA1-1855-4064-9EB2-CD5361C30D88}" dt="2024-09-11T14:40:45.877" v="8117" actId="1076"/>
          <ac:picMkLst>
            <pc:docMk/>
            <pc:sldMk cId="195666355" sldId="2145706666"/>
            <ac:picMk id="159" creationId="{8FA0C1F6-3186-3E55-1591-3EB2326E49FA}"/>
          </ac:picMkLst>
        </pc:picChg>
        <pc:picChg chg="add mod">
          <ac:chgData name="WANONO, Nathan" userId="99f38b78-d58b-43dc-971c-441766c63fc4" providerId="ADAL" clId="{645A1AA1-1855-4064-9EB2-CD5361C30D88}" dt="2024-09-11T14:41:33.071" v="8123" actId="108"/>
          <ac:picMkLst>
            <pc:docMk/>
            <pc:sldMk cId="195666355" sldId="2145706666"/>
            <ac:picMk id="160" creationId="{62F80FB6-D7FC-7C9C-A0E0-3CF152D7E870}"/>
          </ac:picMkLst>
        </pc:picChg>
        <pc:picChg chg="add mod">
          <ac:chgData name="WANONO, Nathan" userId="99f38b78-d58b-43dc-971c-441766c63fc4" providerId="ADAL" clId="{645A1AA1-1855-4064-9EB2-CD5361C30D88}" dt="2024-09-11T14:41:30.308" v="8122" actId="108"/>
          <ac:picMkLst>
            <pc:docMk/>
            <pc:sldMk cId="195666355" sldId="2145706666"/>
            <ac:picMk id="161" creationId="{09EF18A5-6DAA-0DCE-D8DE-2962D8197DBD}"/>
          </ac:picMkLst>
        </pc:picChg>
        <pc:cxnChg chg="add mod">
          <ac:chgData name="WANONO, Nathan" userId="99f38b78-d58b-43dc-971c-441766c63fc4" providerId="ADAL" clId="{645A1AA1-1855-4064-9EB2-CD5361C30D88}" dt="2024-09-11T14:37:27.432" v="8074"/>
          <ac:cxnSpMkLst>
            <pc:docMk/>
            <pc:sldMk cId="195666355" sldId="2145706666"/>
            <ac:cxnSpMk id="7" creationId="{4AFA2EB3-AA0D-6A59-9785-B0B55250DFEA}"/>
          </ac:cxnSpMkLst>
        </pc:cxnChg>
        <pc:cxnChg chg="add mod">
          <ac:chgData name="WANONO, Nathan" userId="99f38b78-d58b-43dc-971c-441766c63fc4" providerId="ADAL" clId="{645A1AA1-1855-4064-9EB2-CD5361C30D88}" dt="2024-09-11T14:37:27.432" v="8074"/>
          <ac:cxnSpMkLst>
            <pc:docMk/>
            <pc:sldMk cId="195666355" sldId="2145706666"/>
            <ac:cxnSpMk id="8" creationId="{8AE1A9B7-8F9E-F627-84AC-6561DD650321}"/>
          </ac:cxnSpMkLst>
        </pc:cxnChg>
        <pc:cxnChg chg="add mod">
          <ac:chgData name="WANONO, Nathan" userId="99f38b78-d58b-43dc-971c-441766c63fc4" providerId="ADAL" clId="{645A1AA1-1855-4064-9EB2-CD5361C30D88}" dt="2024-09-11T14:37:27.432" v="8074"/>
          <ac:cxnSpMkLst>
            <pc:docMk/>
            <pc:sldMk cId="195666355" sldId="2145706666"/>
            <ac:cxnSpMk id="10" creationId="{F840259E-04C9-EF2F-487E-70DE37BBD5C3}"/>
          </ac:cxnSpMkLst>
        </pc:cxnChg>
        <pc:cxnChg chg="add mod">
          <ac:chgData name="WANONO, Nathan" userId="99f38b78-d58b-43dc-971c-441766c63fc4" providerId="ADAL" clId="{645A1AA1-1855-4064-9EB2-CD5361C30D88}" dt="2024-09-11T14:39:00.868" v="8103" actId="14100"/>
          <ac:cxnSpMkLst>
            <pc:docMk/>
            <pc:sldMk cId="195666355" sldId="2145706666"/>
            <ac:cxnSpMk id="11" creationId="{A4D8338E-5415-732A-9E1E-8DA217C89676}"/>
          </ac:cxnSpMkLst>
        </pc:cxnChg>
        <pc:cxnChg chg="add del mod">
          <ac:chgData name="WANONO, Nathan" userId="99f38b78-d58b-43dc-971c-441766c63fc4" providerId="ADAL" clId="{645A1AA1-1855-4064-9EB2-CD5361C30D88}" dt="2024-09-11T14:38:49.040" v="8097" actId="478"/>
          <ac:cxnSpMkLst>
            <pc:docMk/>
            <pc:sldMk cId="195666355" sldId="2145706666"/>
            <ac:cxnSpMk id="16" creationId="{769AB734-51DC-7339-FFE7-30B86B9FDABD}"/>
          </ac:cxnSpMkLst>
        </pc:cxnChg>
        <pc:cxnChg chg="add del mod">
          <ac:chgData name="WANONO, Nathan" userId="99f38b78-d58b-43dc-971c-441766c63fc4" providerId="ADAL" clId="{645A1AA1-1855-4064-9EB2-CD5361C30D88}" dt="2024-09-11T14:38:46.561" v="8093" actId="478"/>
          <ac:cxnSpMkLst>
            <pc:docMk/>
            <pc:sldMk cId="195666355" sldId="2145706666"/>
            <ac:cxnSpMk id="18" creationId="{CB080382-6BE3-2830-DEE0-5947FF72EA6B}"/>
          </ac:cxnSpMkLst>
        </pc:cxnChg>
        <pc:cxnChg chg="add mod">
          <ac:chgData name="WANONO, Nathan" userId="99f38b78-d58b-43dc-971c-441766c63fc4" providerId="ADAL" clId="{645A1AA1-1855-4064-9EB2-CD5361C30D88}" dt="2024-09-11T14:39:17.342" v="8106" actId="208"/>
          <ac:cxnSpMkLst>
            <pc:docMk/>
            <pc:sldMk cId="195666355" sldId="2145706666"/>
            <ac:cxnSpMk id="20" creationId="{2F270B01-456C-6178-57A9-A2CC5D57DB8A}"/>
          </ac:cxnSpMkLst>
        </pc:cxnChg>
        <pc:cxnChg chg="add mod">
          <ac:chgData name="WANONO, Nathan" userId="99f38b78-d58b-43dc-971c-441766c63fc4" providerId="ADAL" clId="{645A1AA1-1855-4064-9EB2-CD5361C30D88}" dt="2024-09-11T14:39:07.531" v="8105" actId="1076"/>
          <ac:cxnSpMkLst>
            <pc:docMk/>
            <pc:sldMk cId="195666355" sldId="2145706666"/>
            <ac:cxnSpMk id="22" creationId="{DD0C9368-D7E2-FAEB-5A92-30731685EADF}"/>
          </ac:cxnSpMkLst>
        </pc:cxnChg>
        <pc:cxnChg chg="add mod">
          <ac:chgData name="WANONO, Nathan" userId="99f38b78-d58b-43dc-971c-441766c63fc4" providerId="ADAL" clId="{645A1AA1-1855-4064-9EB2-CD5361C30D88}" dt="2024-09-11T14:39:07.531" v="8105" actId="1076"/>
          <ac:cxnSpMkLst>
            <pc:docMk/>
            <pc:sldMk cId="195666355" sldId="2145706666"/>
            <ac:cxnSpMk id="24" creationId="{C3A48F51-C7C5-27FC-516C-56CF68B4DDE7}"/>
          </ac:cxnSpMkLst>
        </pc:cxnChg>
        <pc:cxnChg chg="add mod">
          <ac:chgData name="WANONO, Nathan" userId="99f38b78-d58b-43dc-971c-441766c63fc4" providerId="ADAL" clId="{645A1AA1-1855-4064-9EB2-CD5361C30D88}" dt="2024-09-11T14:39:07.531" v="8105" actId="1076"/>
          <ac:cxnSpMkLst>
            <pc:docMk/>
            <pc:sldMk cId="195666355" sldId="2145706666"/>
            <ac:cxnSpMk id="26" creationId="{325A6BF8-FAB3-6DFC-026F-F2D4056E4FAC}"/>
          </ac:cxnSpMkLst>
        </pc:cxnChg>
        <pc:cxnChg chg="add mod">
          <ac:chgData name="WANONO, Nathan" userId="99f38b78-d58b-43dc-971c-441766c63fc4" providerId="ADAL" clId="{645A1AA1-1855-4064-9EB2-CD5361C30D88}" dt="2024-09-11T14:39:17.342" v="8106" actId="208"/>
          <ac:cxnSpMkLst>
            <pc:docMk/>
            <pc:sldMk cId="195666355" sldId="2145706666"/>
            <ac:cxnSpMk id="28" creationId="{ECA983A2-9181-5145-128B-29A68EF3AFBD}"/>
          </ac:cxnSpMkLst>
        </pc:cxnChg>
        <pc:cxnChg chg="add mod">
          <ac:chgData name="WANONO, Nathan" userId="99f38b78-d58b-43dc-971c-441766c63fc4" providerId="ADAL" clId="{645A1AA1-1855-4064-9EB2-CD5361C30D88}" dt="2024-09-11T14:39:17.342" v="8106" actId="208"/>
          <ac:cxnSpMkLst>
            <pc:docMk/>
            <pc:sldMk cId="195666355" sldId="2145706666"/>
            <ac:cxnSpMk id="29" creationId="{63F0C8FB-9F9E-61D0-46B5-8D09E309FD54}"/>
          </ac:cxnSpMkLst>
        </pc:cxnChg>
        <pc:cxnChg chg="add del">
          <ac:chgData name="WANONO, Nathan" userId="99f38b78-d58b-43dc-971c-441766c63fc4" providerId="ADAL" clId="{645A1AA1-1855-4064-9EB2-CD5361C30D88}" dt="2024-09-11T14:33:35.814" v="7908" actId="478"/>
          <ac:cxnSpMkLst>
            <pc:docMk/>
            <pc:sldMk cId="195666355" sldId="2145706666"/>
            <ac:cxnSpMk id="108" creationId="{C0C580DC-F578-ADDF-1AD5-518D94205730}"/>
          </ac:cxnSpMkLst>
        </pc:cxnChg>
        <pc:cxnChg chg="add mod">
          <ac:chgData name="WANONO, Nathan" userId="99f38b78-d58b-43dc-971c-441766c63fc4" providerId="ADAL" clId="{645A1AA1-1855-4064-9EB2-CD5361C30D88}" dt="2024-09-11T14:39:57.446" v="8110" actId="208"/>
          <ac:cxnSpMkLst>
            <pc:docMk/>
            <pc:sldMk cId="195666355" sldId="2145706666"/>
            <ac:cxnSpMk id="150" creationId="{16DA1FBD-4C67-24A2-2066-16287F80BAB6}"/>
          </ac:cxnSpMkLst>
        </pc:cxnChg>
        <pc:cxnChg chg="add mod">
          <ac:chgData name="WANONO, Nathan" userId="99f38b78-d58b-43dc-971c-441766c63fc4" providerId="ADAL" clId="{645A1AA1-1855-4064-9EB2-CD5361C30D88}" dt="2024-09-11T15:33:52.492" v="8805" actId="208"/>
          <ac:cxnSpMkLst>
            <pc:docMk/>
            <pc:sldMk cId="195666355" sldId="2145706666"/>
            <ac:cxnSpMk id="151" creationId="{AEB6A4C6-BA77-D54F-57A9-FDD12C384983}"/>
          </ac:cxnSpMkLst>
        </pc:cxnChg>
        <pc:cxnChg chg="add mod">
          <ac:chgData name="WANONO, Nathan" userId="99f38b78-d58b-43dc-971c-441766c63fc4" providerId="ADAL" clId="{645A1AA1-1855-4064-9EB2-CD5361C30D88}" dt="2024-09-11T14:39:46.912" v="8109" actId="1076"/>
          <ac:cxnSpMkLst>
            <pc:docMk/>
            <pc:sldMk cId="195666355" sldId="2145706666"/>
            <ac:cxnSpMk id="152" creationId="{77EC5CEA-27FD-6F90-DD8B-2C91797E5DA3}"/>
          </ac:cxnSpMkLst>
        </pc:cxnChg>
        <pc:cxnChg chg="add mod">
          <ac:chgData name="WANONO, Nathan" userId="99f38b78-d58b-43dc-971c-441766c63fc4" providerId="ADAL" clId="{645A1AA1-1855-4064-9EB2-CD5361C30D88}" dt="2024-09-11T14:39:57.446" v="8110" actId="208"/>
          <ac:cxnSpMkLst>
            <pc:docMk/>
            <pc:sldMk cId="195666355" sldId="2145706666"/>
            <ac:cxnSpMk id="153" creationId="{9B93F470-BBB3-7BEB-1869-EB12FD83C856}"/>
          </ac:cxnSpMkLst>
        </pc:cxnChg>
        <pc:cxnChg chg="add mod">
          <ac:chgData name="WANONO, Nathan" userId="99f38b78-d58b-43dc-971c-441766c63fc4" providerId="ADAL" clId="{645A1AA1-1855-4064-9EB2-CD5361C30D88}" dt="2024-09-11T14:39:57.446" v="8110" actId="208"/>
          <ac:cxnSpMkLst>
            <pc:docMk/>
            <pc:sldMk cId="195666355" sldId="2145706666"/>
            <ac:cxnSpMk id="154" creationId="{895CBEBE-9297-1133-5797-E438DC74275A}"/>
          </ac:cxnSpMkLst>
        </pc:cxnChg>
        <pc:cxnChg chg="add mod">
          <ac:chgData name="WANONO, Nathan" userId="99f38b78-d58b-43dc-971c-441766c63fc4" providerId="ADAL" clId="{645A1AA1-1855-4064-9EB2-CD5361C30D88}" dt="2024-09-11T15:33:52.492" v="8805" actId="208"/>
          <ac:cxnSpMkLst>
            <pc:docMk/>
            <pc:sldMk cId="195666355" sldId="2145706666"/>
            <ac:cxnSpMk id="155" creationId="{AD6D3ED6-4063-079F-F15A-A7EABF699424}"/>
          </ac:cxnSpMkLst>
        </pc:cxnChg>
        <pc:cxnChg chg="add mod">
          <ac:chgData name="WANONO, Nathan" userId="99f38b78-d58b-43dc-971c-441766c63fc4" providerId="ADAL" clId="{645A1AA1-1855-4064-9EB2-CD5361C30D88}" dt="2024-09-11T15:33:52.492" v="8805" actId="208"/>
          <ac:cxnSpMkLst>
            <pc:docMk/>
            <pc:sldMk cId="195666355" sldId="2145706666"/>
            <ac:cxnSpMk id="156" creationId="{771A74D1-27AC-37A3-3025-C7D6B4432FEB}"/>
          </ac:cxnSpMkLst>
        </pc:cxnChg>
      </pc:sldChg>
      <pc:sldChg chg="new del">
        <pc:chgData name="WANONO, Nathan" userId="99f38b78-d58b-43dc-971c-441766c63fc4" providerId="ADAL" clId="{645A1AA1-1855-4064-9EB2-CD5361C30D88}" dt="2024-09-11T14:27:26.950" v="7711" actId="680"/>
        <pc:sldMkLst>
          <pc:docMk/>
          <pc:sldMk cId="4167011816" sldId="2145706666"/>
        </pc:sldMkLst>
      </pc:sldChg>
      <pc:sldChg chg="addSp delSp modSp add mod modClrScheme chgLayout">
        <pc:chgData name="WANONO, Nathan" userId="99f38b78-d58b-43dc-971c-441766c63fc4" providerId="ADAL" clId="{645A1AA1-1855-4064-9EB2-CD5361C30D88}" dt="2024-09-13T15:30:40.480" v="18082" actId="14100"/>
        <pc:sldMkLst>
          <pc:docMk/>
          <pc:sldMk cId="3565313469" sldId="2145706667"/>
        </pc:sldMkLst>
        <pc:spChg chg="mod">
          <ac:chgData name="WANONO, Nathan" userId="99f38b78-d58b-43dc-971c-441766c63fc4" providerId="ADAL" clId="{645A1AA1-1855-4064-9EB2-CD5361C30D88}" dt="2024-09-13T15:28:52.481" v="18066" actId="368"/>
          <ac:spMkLst>
            <pc:docMk/>
            <pc:sldMk cId="3565313469" sldId="2145706667"/>
            <ac:spMk id="3" creationId="{A48A1871-E483-300E-9866-A955D49114F5}"/>
          </ac:spMkLst>
        </pc:spChg>
        <pc:spChg chg="del">
          <ac:chgData name="WANONO, Nathan" userId="99f38b78-d58b-43dc-971c-441766c63fc4" providerId="ADAL" clId="{645A1AA1-1855-4064-9EB2-CD5361C30D88}" dt="2024-09-11T14:50:19.958" v="8377" actId="478"/>
          <ac:spMkLst>
            <pc:docMk/>
            <pc:sldMk cId="3565313469" sldId="2145706667"/>
            <ac:spMk id="3" creationId="{F1261247-D114-B15E-D6B0-FD5D1DC5DAEA}"/>
          </ac:spMkLst>
        </pc:spChg>
        <pc:spChg chg="mod">
          <ac:chgData name="WANONO, Nathan" userId="99f38b78-d58b-43dc-971c-441766c63fc4" providerId="ADAL" clId="{645A1AA1-1855-4064-9EB2-CD5361C30D88}" dt="2024-09-13T15:28:52.481" v="18066" actId="368"/>
          <ac:spMkLst>
            <pc:docMk/>
            <pc:sldMk cId="3565313469" sldId="2145706667"/>
            <ac:spMk id="4" creationId="{8F88236B-0984-5248-AC0F-6B409F1A3F6E}"/>
          </ac:spMkLst>
        </pc:spChg>
        <pc:spChg chg="add del mod">
          <ac:chgData name="WANONO, Nathan" userId="99f38b78-d58b-43dc-971c-441766c63fc4" providerId="ADAL" clId="{645A1AA1-1855-4064-9EB2-CD5361C30D88}" dt="2024-09-11T14:50:21.643" v="8378" actId="478"/>
          <ac:spMkLst>
            <pc:docMk/>
            <pc:sldMk cId="3565313469" sldId="2145706667"/>
            <ac:spMk id="4" creationId="{BAB5052D-BE06-E68B-1CE2-6ACE2999348D}"/>
          </ac:spMkLst>
        </pc:spChg>
        <pc:spChg chg="add mod ord">
          <ac:chgData name="WANONO, Nathan" userId="99f38b78-d58b-43dc-971c-441766c63fc4" providerId="ADAL" clId="{645A1AA1-1855-4064-9EB2-CD5361C30D88}" dt="2024-09-13T15:30:40.480" v="18082" actId="14100"/>
          <ac:spMkLst>
            <pc:docMk/>
            <pc:sldMk cId="3565313469" sldId="2145706667"/>
            <ac:spMk id="5" creationId="{40181E61-0D5E-695D-655F-FFAEBD27B718}"/>
          </ac:spMkLst>
        </pc:spChg>
        <pc:spChg chg="mod">
          <ac:chgData name="WANONO, Nathan" userId="99f38b78-d58b-43dc-971c-441766c63fc4" providerId="ADAL" clId="{645A1AA1-1855-4064-9EB2-CD5361C30D88}" dt="2024-09-13T15:28:52.481" v="18066" actId="368"/>
          <ac:spMkLst>
            <pc:docMk/>
            <pc:sldMk cId="3565313469" sldId="2145706667"/>
            <ac:spMk id="6" creationId="{EF780A67-7E73-9F6E-9171-2C6F36699A29}"/>
          </ac:spMkLst>
        </pc:spChg>
        <pc:spChg chg="del">
          <ac:chgData name="WANONO, Nathan" userId="99f38b78-d58b-43dc-971c-441766c63fc4" providerId="ADAL" clId="{645A1AA1-1855-4064-9EB2-CD5361C30D88}" dt="2024-09-11T14:50:30.259" v="8380" actId="478"/>
          <ac:spMkLst>
            <pc:docMk/>
            <pc:sldMk cId="3565313469" sldId="2145706667"/>
            <ac:spMk id="103" creationId="{1BC49AF2-85A3-7246-B2EC-46FDF8E9CC5D}"/>
          </ac:spMkLst>
        </pc:spChg>
        <pc:spChg chg="del">
          <ac:chgData name="WANONO, Nathan" userId="99f38b78-d58b-43dc-971c-441766c63fc4" providerId="ADAL" clId="{645A1AA1-1855-4064-9EB2-CD5361C30D88}" dt="2024-09-11T14:50:32.924" v="8381" actId="478"/>
          <ac:spMkLst>
            <pc:docMk/>
            <pc:sldMk cId="3565313469" sldId="2145706667"/>
            <ac:spMk id="106" creationId="{89E0C1A6-0DB2-CCFE-2E44-3632C2168AAF}"/>
          </ac:spMkLst>
        </pc:spChg>
        <pc:spChg chg="del">
          <ac:chgData name="WANONO, Nathan" userId="99f38b78-d58b-43dc-971c-441766c63fc4" providerId="ADAL" clId="{645A1AA1-1855-4064-9EB2-CD5361C30D88}" dt="2024-09-11T14:50:32.924" v="8381" actId="478"/>
          <ac:spMkLst>
            <pc:docMk/>
            <pc:sldMk cId="3565313469" sldId="2145706667"/>
            <ac:spMk id="107" creationId="{5EF92E88-072A-E5D8-6703-4A4355EB7804}"/>
          </ac:spMkLst>
        </pc:spChg>
        <pc:grpChg chg="add mod">
          <ac:chgData name="WANONO, Nathan" userId="99f38b78-d58b-43dc-971c-441766c63fc4" providerId="ADAL" clId="{645A1AA1-1855-4064-9EB2-CD5361C30D88}" dt="2024-09-13T15:30:06.586" v="18078" actId="14861"/>
          <ac:grpSpMkLst>
            <pc:docMk/>
            <pc:sldMk cId="3565313469" sldId="2145706667"/>
            <ac:grpSpMk id="2" creationId="{6918DBD6-47F2-5D77-A9CB-61A31F5EFB4C}"/>
          </ac:grpSpMkLst>
        </pc:grpChg>
        <pc:picChg chg="del">
          <ac:chgData name="WANONO, Nathan" userId="99f38b78-d58b-43dc-971c-441766c63fc4" providerId="ADAL" clId="{645A1AA1-1855-4064-9EB2-CD5361C30D88}" dt="2024-09-11T14:50:32.924" v="8381" actId="478"/>
          <ac:picMkLst>
            <pc:docMk/>
            <pc:sldMk cId="3565313469" sldId="2145706667"/>
            <ac:picMk id="104" creationId="{43FD16EB-24E8-D545-005D-434C6069845E}"/>
          </ac:picMkLst>
        </pc:picChg>
        <pc:picChg chg="del">
          <ac:chgData name="WANONO, Nathan" userId="99f38b78-d58b-43dc-971c-441766c63fc4" providerId="ADAL" clId="{645A1AA1-1855-4064-9EB2-CD5361C30D88}" dt="2024-09-11T14:50:32.924" v="8381" actId="478"/>
          <ac:picMkLst>
            <pc:docMk/>
            <pc:sldMk cId="3565313469" sldId="2145706667"/>
            <ac:picMk id="105" creationId="{6B603ACE-0BEE-7C27-79FD-78510A711A95}"/>
          </ac:picMkLst>
        </pc:picChg>
        <pc:picChg chg="del">
          <ac:chgData name="WANONO, Nathan" userId="99f38b78-d58b-43dc-971c-441766c63fc4" providerId="ADAL" clId="{645A1AA1-1855-4064-9EB2-CD5361C30D88}" dt="2024-09-11T14:50:32.924" v="8381" actId="478"/>
          <ac:picMkLst>
            <pc:docMk/>
            <pc:sldMk cId="3565313469" sldId="2145706667"/>
            <ac:picMk id="116" creationId="{A512D9F8-AF2A-6CAF-C7A5-4B6BD600DC4E}"/>
          </ac:picMkLst>
        </pc:picChg>
        <pc:cxnChg chg="del">
          <ac:chgData name="WANONO, Nathan" userId="99f38b78-d58b-43dc-971c-441766c63fc4" providerId="ADAL" clId="{645A1AA1-1855-4064-9EB2-CD5361C30D88}" dt="2024-09-11T14:50:32.924" v="8381" actId="478"/>
          <ac:cxnSpMkLst>
            <pc:docMk/>
            <pc:sldMk cId="3565313469" sldId="2145706667"/>
            <ac:cxnSpMk id="108" creationId="{C0C580DC-F578-ADDF-1AD5-518D94205730}"/>
          </ac:cxnSpMkLst>
        </pc:cxnChg>
      </pc:sldChg>
      <pc:sldChg chg="modSp add mod">
        <pc:chgData name="WANONO, Nathan" userId="99f38b78-d58b-43dc-971c-441766c63fc4" providerId="ADAL" clId="{645A1AA1-1855-4064-9EB2-CD5361C30D88}" dt="2024-09-13T10:37:28.987" v="14770" actId="20577"/>
        <pc:sldMkLst>
          <pc:docMk/>
          <pc:sldMk cId="2609852184" sldId="2145706668"/>
        </pc:sldMkLst>
        <pc:spChg chg="mod">
          <ac:chgData name="WANONO, Nathan" userId="99f38b78-d58b-43dc-971c-441766c63fc4" providerId="ADAL" clId="{645A1AA1-1855-4064-9EB2-CD5361C30D88}" dt="2024-09-13T10:37:28.987" v="14770" actId="20577"/>
          <ac:spMkLst>
            <pc:docMk/>
            <pc:sldMk cId="2609852184" sldId="2145706668"/>
            <ac:spMk id="15" creationId="{8D532E29-48E6-4DAB-AA82-2A90F9990E15}"/>
          </ac:spMkLst>
        </pc:spChg>
      </pc:sldChg>
      <pc:sldChg chg="addSp delSp modSp add mod">
        <pc:chgData name="WANONO, Nathan" userId="99f38b78-d58b-43dc-971c-441766c63fc4" providerId="ADAL" clId="{645A1AA1-1855-4064-9EB2-CD5361C30D88}" dt="2024-09-13T15:32:14.489" v="18091" actId="403"/>
        <pc:sldMkLst>
          <pc:docMk/>
          <pc:sldMk cId="2364822077" sldId="2145706669"/>
        </pc:sldMkLst>
        <pc:spChg chg="add mod">
          <ac:chgData name="WANONO, Nathan" userId="99f38b78-d58b-43dc-971c-441766c63fc4" providerId="ADAL" clId="{645A1AA1-1855-4064-9EB2-CD5361C30D88}" dt="2024-09-12T15:56:26.656" v="10664" actId="1076"/>
          <ac:spMkLst>
            <pc:docMk/>
            <pc:sldMk cId="2364822077" sldId="2145706669"/>
            <ac:spMk id="2" creationId="{1DC90AC5-DC09-2867-6F4A-899611745D93}"/>
          </ac:spMkLst>
        </pc:spChg>
        <pc:spChg chg="add del mod">
          <ac:chgData name="WANONO, Nathan" userId="99f38b78-d58b-43dc-971c-441766c63fc4" providerId="ADAL" clId="{645A1AA1-1855-4064-9EB2-CD5361C30D88}" dt="2024-09-11T16:00:04.121" v="9360" actId="478"/>
          <ac:spMkLst>
            <pc:docMk/>
            <pc:sldMk cId="2364822077" sldId="2145706669"/>
            <ac:spMk id="2" creationId="{FA8F300C-AB5E-05A4-32E6-2A4E6ADB0DA5}"/>
          </ac:spMkLst>
        </pc:spChg>
        <pc:spChg chg="mod">
          <ac:chgData name="WANONO, Nathan" userId="99f38b78-d58b-43dc-971c-441766c63fc4" providerId="ADAL" clId="{645A1AA1-1855-4064-9EB2-CD5361C30D88}" dt="2024-09-11T15:26:48.706" v="8653" actId="20577"/>
          <ac:spMkLst>
            <pc:docMk/>
            <pc:sldMk cId="2364822077" sldId="2145706669"/>
            <ac:spMk id="3" creationId="{F1261247-D114-B15E-D6B0-FD5D1DC5DAEA}"/>
          </ac:spMkLst>
        </pc:spChg>
        <pc:spChg chg="add mod">
          <ac:chgData name="WANONO, Nathan" userId="99f38b78-d58b-43dc-971c-441766c63fc4" providerId="ADAL" clId="{645A1AA1-1855-4064-9EB2-CD5361C30D88}" dt="2024-09-12T15:57:02.061" v="10680" actId="122"/>
          <ac:spMkLst>
            <pc:docMk/>
            <pc:sldMk cId="2364822077" sldId="2145706669"/>
            <ac:spMk id="4" creationId="{00C6C713-D6CA-20D1-A5EB-9B82834FB47B}"/>
          </ac:spMkLst>
        </pc:spChg>
        <pc:spChg chg="add mod">
          <ac:chgData name="WANONO, Nathan" userId="99f38b78-d58b-43dc-971c-441766c63fc4" providerId="ADAL" clId="{645A1AA1-1855-4064-9EB2-CD5361C30D88}" dt="2024-09-12T15:56:59.173" v="10676" actId="207"/>
          <ac:spMkLst>
            <pc:docMk/>
            <pc:sldMk cId="2364822077" sldId="2145706669"/>
            <ac:spMk id="7" creationId="{4AEF589D-7CF3-346A-FD67-494B5F425CF4}"/>
          </ac:spMkLst>
        </pc:spChg>
        <pc:spChg chg="add del mod">
          <ac:chgData name="WANONO, Nathan" userId="99f38b78-d58b-43dc-971c-441766c63fc4" providerId="ADAL" clId="{645A1AA1-1855-4064-9EB2-CD5361C30D88}" dt="2024-09-11T16:17:40.630" v="9621" actId="478"/>
          <ac:spMkLst>
            <pc:docMk/>
            <pc:sldMk cId="2364822077" sldId="2145706669"/>
            <ac:spMk id="7" creationId="{BCDCFE48-13DD-F977-29F4-36092BC4DFE0}"/>
          </ac:spMkLst>
        </pc:spChg>
        <pc:spChg chg="add mod">
          <ac:chgData name="WANONO, Nathan" userId="99f38b78-d58b-43dc-971c-441766c63fc4" providerId="ADAL" clId="{645A1AA1-1855-4064-9EB2-CD5361C30D88}" dt="2024-09-12T15:57:22.421" v="10707" actId="207"/>
          <ac:spMkLst>
            <pc:docMk/>
            <pc:sldMk cId="2364822077" sldId="2145706669"/>
            <ac:spMk id="8" creationId="{C2A3C938-6233-C5F5-71E7-74040E2364AE}"/>
          </ac:spMkLst>
        </pc:spChg>
        <pc:spChg chg="add del mod">
          <ac:chgData name="WANONO, Nathan" userId="99f38b78-d58b-43dc-971c-441766c63fc4" providerId="ADAL" clId="{645A1AA1-1855-4064-9EB2-CD5361C30D88}" dt="2024-09-13T15:32:14.489" v="18091" actId="403"/>
          <ac:spMkLst>
            <pc:docMk/>
            <pc:sldMk cId="2364822077" sldId="2145706669"/>
            <ac:spMk id="103" creationId="{1BC49AF2-85A3-7246-B2EC-46FDF8E9CC5D}"/>
          </ac:spMkLst>
        </pc:spChg>
        <pc:spChg chg="del">
          <ac:chgData name="WANONO, Nathan" userId="99f38b78-d58b-43dc-971c-441766c63fc4" providerId="ADAL" clId="{645A1AA1-1855-4064-9EB2-CD5361C30D88}" dt="2024-09-11T15:26:56.014" v="8656" actId="478"/>
          <ac:spMkLst>
            <pc:docMk/>
            <pc:sldMk cId="2364822077" sldId="2145706669"/>
            <ac:spMk id="106" creationId="{89E0C1A6-0DB2-CCFE-2E44-3632C2168AAF}"/>
          </ac:spMkLst>
        </pc:spChg>
        <pc:spChg chg="del">
          <ac:chgData name="WANONO, Nathan" userId="99f38b78-d58b-43dc-971c-441766c63fc4" providerId="ADAL" clId="{645A1AA1-1855-4064-9EB2-CD5361C30D88}" dt="2024-09-11T15:26:56.014" v="8656" actId="478"/>
          <ac:spMkLst>
            <pc:docMk/>
            <pc:sldMk cId="2364822077" sldId="2145706669"/>
            <ac:spMk id="107" creationId="{5EF92E88-072A-E5D8-6703-4A4355EB7804}"/>
          </ac:spMkLst>
        </pc:spChg>
        <pc:picChg chg="add mod">
          <ac:chgData name="WANONO, Nathan" userId="99f38b78-d58b-43dc-971c-441766c63fc4" providerId="ADAL" clId="{645A1AA1-1855-4064-9EB2-CD5361C30D88}" dt="2024-09-12T15:55:44.758" v="10646" actId="14861"/>
          <ac:picMkLst>
            <pc:docMk/>
            <pc:sldMk cId="2364822077" sldId="2145706669"/>
            <ac:picMk id="5" creationId="{7364595C-77E6-B964-7182-18533A13247F}"/>
          </ac:picMkLst>
        </pc:picChg>
        <pc:picChg chg="add mod">
          <ac:chgData name="WANONO, Nathan" userId="99f38b78-d58b-43dc-971c-441766c63fc4" providerId="ADAL" clId="{645A1AA1-1855-4064-9EB2-CD5361C30D88}" dt="2024-09-12T15:55:44.758" v="10646" actId="14861"/>
          <ac:picMkLst>
            <pc:docMk/>
            <pc:sldMk cId="2364822077" sldId="2145706669"/>
            <ac:picMk id="6" creationId="{D715CB0D-EEAA-5BA0-5B54-B4634E37B68B}"/>
          </ac:picMkLst>
        </pc:picChg>
        <pc:picChg chg="add mod">
          <ac:chgData name="WANONO, Nathan" userId="99f38b78-d58b-43dc-971c-441766c63fc4" providerId="ADAL" clId="{645A1AA1-1855-4064-9EB2-CD5361C30D88}" dt="2024-09-12T15:55:44.758" v="10646" actId="14861"/>
          <ac:picMkLst>
            <pc:docMk/>
            <pc:sldMk cId="2364822077" sldId="2145706669"/>
            <ac:picMk id="9" creationId="{D54A6AB4-A1D8-6627-285B-A0C95909DFA1}"/>
          </ac:picMkLst>
        </pc:picChg>
        <pc:picChg chg="del">
          <ac:chgData name="WANONO, Nathan" userId="99f38b78-d58b-43dc-971c-441766c63fc4" providerId="ADAL" clId="{645A1AA1-1855-4064-9EB2-CD5361C30D88}" dt="2024-09-11T15:26:56.014" v="8656" actId="478"/>
          <ac:picMkLst>
            <pc:docMk/>
            <pc:sldMk cId="2364822077" sldId="2145706669"/>
            <ac:picMk id="104" creationId="{43FD16EB-24E8-D545-005D-434C6069845E}"/>
          </ac:picMkLst>
        </pc:picChg>
        <pc:picChg chg="del">
          <ac:chgData name="WANONO, Nathan" userId="99f38b78-d58b-43dc-971c-441766c63fc4" providerId="ADAL" clId="{645A1AA1-1855-4064-9EB2-CD5361C30D88}" dt="2024-09-11T15:26:56.014" v="8656" actId="478"/>
          <ac:picMkLst>
            <pc:docMk/>
            <pc:sldMk cId="2364822077" sldId="2145706669"/>
            <ac:picMk id="105" creationId="{6B603ACE-0BEE-7C27-79FD-78510A711A95}"/>
          </ac:picMkLst>
        </pc:picChg>
        <pc:picChg chg="del">
          <ac:chgData name="WANONO, Nathan" userId="99f38b78-d58b-43dc-971c-441766c63fc4" providerId="ADAL" clId="{645A1AA1-1855-4064-9EB2-CD5361C30D88}" dt="2024-09-11T15:26:56.014" v="8656" actId="478"/>
          <ac:picMkLst>
            <pc:docMk/>
            <pc:sldMk cId="2364822077" sldId="2145706669"/>
            <ac:picMk id="116" creationId="{A512D9F8-AF2A-6CAF-C7A5-4B6BD600DC4E}"/>
          </ac:picMkLst>
        </pc:picChg>
        <pc:cxnChg chg="del">
          <ac:chgData name="WANONO, Nathan" userId="99f38b78-d58b-43dc-971c-441766c63fc4" providerId="ADAL" clId="{645A1AA1-1855-4064-9EB2-CD5361C30D88}" dt="2024-09-11T15:26:56.014" v="8656" actId="478"/>
          <ac:cxnSpMkLst>
            <pc:docMk/>
            <pc:sldMk cId="2364822077" sldId="2145706669"/>
            <ac:cxnSpMk id="108" creationId="{C0C580DC-F578-ADDF-1AD5-518D94205730}"/>
          </ac:cxnSpMkLst>
        </pc:cxnChg>
      </pc:sldChg>
      <pc:sldChg chg="addSp delSp modSp add mod">
        <pc:chgData name="WANONO, Nathan" userId="99f38b78-d58b-43dc-971c-441766c63fc4" providerId="ADAL" clId="{645A1AA1-1855-4064-9EB2-CD5361C30D88}" dt="2024-09-18T10:49:48.180" v="25027" actId="6549"/>
        <pc:sldMkLst>
          <pc:docMk/>
          <pc:sldMk cId="4073875336" sldId="2145706670"/>
        </pc:sldMkLst>
        <pc:spChg chg="mod">
          <ac:chgData name="WANONO, Nathan" userId="99f38b78-d58b-43dc-971c-441766c63fc4" providerId="ADAL" clId="{645A1AA1-1855-4064-9EB2-CD5361C30D88}" dt="2024-09-12T15:45:30.526" v="10515" actId="1076"/>
          <ac:spMkLst>
            <pc:docMk/>
            <pc:sldMk cId="4073875336" sldId="2145706670"/>
            <ac:spMk id="3" creationId="{F1261247-D114-B15E-D6B0-FD5D1DC5DAEA}"/>
          </ac:spMkLst>
        </pc:spChg>
        <pc:spChg chg="del">
          <ac:chgData name="WANONO, Nathan" userId="99f38b78-d58b-43dc-971c-441766c63fc4" providerId="ADAL" clId="{645A1AA1-1855-4064-9EB2-CD5361C30D88}" dt="2024-09-12T11:57:23.234" v="9674" actId="478"/>
          <ac:spMkLst>
            <pc:docMk/>
            <pc:sldMk cId="4073875336" sldId="2145706670"/>
            <ac:spMk id="4" creationId="{00C6C713-D6CA-20D1-A5EB-9B82834FB47B}"/>
          </ac:spMkLst>
        </pc:spChg>
        <pc:spChg chg="add mod">
          <ac:chgData name="WANONO, Nathan" userId="99f38b78-d58b-43dc-971c-441766c63fc4" providerId="ADAL" clId="{645A1AA1-1855-4064-9EB2-CD5361C30D88}" dt="2024-09-13T13:53:57.467" v="17920" actId="207"/>
          <ac:spMkLst>
            <pc:docMk/>
            <pc:sldMk cId="4073875336" sldId="2145706670"/>
            <ac:spMk id="21" creationId="{0CC04755-86DD-9338-26ED-E298CEE25688}"/>
          </ac:spMkLst>
        </pc:spChg>
        <pc:spChg chg="add mod">
          <ac:chgData name="WANONO, Nathan" userId="99f38b78-d58b-43dc-971c-441766c63fc4" providerId="ADAL" clId="{645A1AA1-1855-4064-9EB2-CD5361C30D88}" dt="2024-09-13T13:53:57.467" v="17920" actId="207"/>
          <ac:spMkLst>
            <pc:docMk/>
            <pc:sldMk cId="4073875336" sldId="2145706670"/>
            <ac:spMk id="22" creationId="{E1C545D9-A34A-6F24-02F0-284F38D7C9F7}"/>
          </ac:spMkLst>
        </pc:spChg>
        <pc:spChg chg="add mod">
          <ac:chgData name="WANONO, Nathan" userId="99f38b78-d58b-43dc-971c-441766c63fc4" providerId="ADAL" clId="{645A1AA1-1855-4064-9EB2-CD5361C30D88}" dt="2024-09-13T13:53:57.467" v="17920" actId="207"/>
          <ac:spMkLst>
            <pc:docMk/>
            <pc:sldMk cId="4073875336" sldId="2145706670"/>
            <ac:spMk id="23" creationId="{FB666075-3464-DE96-B5BD-E620B1089E13}"/>
          </ac:spMkLst>
        </pc:spChg>
        <pc:spChg chg="mod">
          <ac:chgData name="WANONO, Nathan" userId="99f38b78-d58b-43dc-971c-441766c63fc4" providerId="ADAL" clId="{645A1AA1-1855-4064-9EB2-CD5361C30D88}" dt="2024-09-18T10:49:48.180" v="25027" actId="6549"/>
          <ac:spMkLst>
            <pc:docMk/>
            <pc:sldMk cId="4073875336" sldId="2145706670"/>
            <ac:spMk id="103" creationId="{1BC49AF2-85A3-7246-B2EC-46FDF8E9CC5D}"/>
          </ac:spMkLst>
        </pc:spChg>
        <pc:picChg chg="add mod">
          <ac:chgData name="WANONO, Nathan" userId="99f38b78-d58b-43dc-971c-441766c63fc4" providerId="ADAL" clId="{645A1AA1-1855-4064-9EB2-CD5361C30D88}" dt="2024-09-12T15:51:34.784" v="10633" actId="14861"/>
          <ac:picMkLst>
            <pc:docMk/>
            <pc:sldMk cId="4073875336" sldId="2145706670"/>
            <ac:picMk id="2" creationId="{35B94587-3978-3D0A-D6B9-E51E34FD3B49}"/>
          </ac:picMkLst>
        </pc:picChg>
        <pc:picChg chg="del">
          <ac:chgData name="WANONO, Nathan" userId="99f38b78-d58b-43dc-971c-441766c63fc4" providerId="ADAL" clId="{645A1AA1-1855-4064-9EB2-CD5361C30D88}" dt="2024-09-12T11:57:23.234" v="9674" actId="478"/>
          <ac:picMkLst>
            <pc:docMk/>
            <pc:sldMk cId="4073875336" sldId="2145706670"/>
            <ac:picMk id="5" creationId="{7364595C-77E6-B964-7182-18533A13247F}"/>
          </ac:picMkLst>
        </pc:picChg>
        <pc:picChg chg="del">
          <ac:chgData name="WANONO, Nathan" userId="99f38b78-d58b-43dc-971c-441766c63fc4" providerId="ADAL" clId="{645A1AA1-1855-4064-9EB2-CD5361C30D88}" dt="2024-09-12T11:57:23.234" v="9674" actId="478"/>
          <ac:picMkLst>
            <pc:docMk/>
            <pc:sldMk cId="4073875336" sldId="2145706670"/>
            <ac:picMk id="6" creationId="{D715CB0D-EEAA-5BA0-5B54-B4634E37B68B}"/>
          </ac:picMkLst>
        </pc:picChg>
        <pc:picChg chg="add mod">
          <ac:chgData name="WANONO, Nathan" userId="99f38b78-d58b-43dc-971c-441766c63fc4" providerId="ADAL" clId="{645A1AA1-1855-4064-9EB2-CD5361C30D88}" dt="2024-09-12T15:51:34.784" v="10633" actId="14861"/>
          <ac:picMkLst>
            <pc:docMk/>
            <pc:sldMk cId="4073875336" sldId="2145706670"/>
            <ac:picMk id="7" creationId="{3BF0A289-7848-B14A-D1E7-1A43905A20DE}"/>
          </ac:picMkLst>
        </pc:picChg>
        <pc:picChg chg="del">
          <ac:chgData name="WANONO, Nathan" userId="99f38b78-d58b-43dc-971c-441766c63fc4" providerId="ADAL" clId="{645A1AA1-1855-4064-9EB2-CD5361C30D88}" dt="2024-09-12T11:57:23.234" v="9674" actId="478"/>
          <ac:picMkLst>
            <pc:docMk/>
            <pc:sldMk cId="4073875336" sldId="2145706670"/>
            <ac:picMk id="9" creationId="{D54A6AB4-A1D8-6627-285B-A0C95909DFA1}"/>
          </ac:picMkLst>
        </pc:picChg>
        <pc:picChg chg="add mod">
          <ac:chgData name="WANONO, Nathan" userId="99f38b78-d58b-43dc-971c-441766c63fc4" providerId="ADAL" clId="{645A1AA1-1855-4064-9EB2-CD5361C30D88}" dt="2024-09-12T15:51:29.947" v="10632" actId="14861"/>
          <ac:picMkLst>
            <pc:docMk/>
            <pc:sldMk cId="4073875336" sldId="2145706670"/>
            <ac:picMk id="10" creationId="{57E073A0-2CE3-ADC2-B841-ACAC88E64F23}"/>
          </ac:picMkLst>
        </pc:picChg>
        <pc:cxnChg chg="add mod">
          <ac:chgData name="WANONO, Nathan" userId="99f38b78-d58b-43dc-971c-441766c63fc4" providerId="ADAL" clId="{645A1AA1-1855-4064-9EB2-CD5361C30D88}" dt="2024-09-13T13:53:43.870" v="17915" actId="108"/>
          <ac:cxnSpMkLst>
            <pc:docMk/>
            <pc:sldMk cId="4073875336" sldId="2145706670"/>
            <ac:cxnSpMk id="11" creationId="{DD588C2F-0F4F-D95F-011D-9EF6ABA974EF}"/>
          </ac:cxnSpMkLst>
        </pc:cxnChg>
        <pc:cxnChg chg="add mod">
          <ac:chgData name="WANONO, Nathan" userId="99f38b78-d58b-43dc-971c-441766c63fc4" providerId="ADAL" clId="{645A1AA1-1855-4064-9EB2-CD5361C30D88}" dt="2024-09-13T13:53:52.497" v="17919" actId="108"/>
          <ac:cxnSpMkLst>
            <pc:docMk/>
            <pc:sldMk cId="4073875336" sldId="2145706670"/>
            <ac:cxnSpMk id="15" creationId="{C0820795-FF00-577B-3929-0191F697EC14}"/>
          </ac:cxnSpMkLst>
        </pc:cxnChg>
        <pc:cxnChg chg="add mod">
          <ac:chgData name="WANONO, Nathan" userId="99f38b78-d58b-43dc-971c-441766c63fc4" providerId="ADAL" clId="{645A1AA1-1855-4064-9EB2-CD5361C30D88}" dt="2024-09-13T13:53:45.776" v="17916" actId="108"/>
          <ac:cxnSpMkLst>
            <pc:docMk/>
            <pc:sldMk cId="4073875336" sldId="2145706670"/>
            <ac:cxnSpMk id="18" creationId="{3CD411EF-D7AB-52DB-9BC2-46D5DAD93262}"/>
          </ac:cxnSpMkLst>
        </pc:cxnChg>
      </pc:sldChg>
      <pc:sldChg chg="modSp new del mod">
        <pc:chgData name="WANONO, Nathan" userId="99f38b78-d58b-43dc-971c-441766c63fc4" providerId="ADAL" clId="{645A1AA1-1855-4064-9EB2-CD5361C30D88}" dt="2024-09-13T09:52:00.393" v="12317" actId="47"/>
        <pc:sldMkLst>
          <pc:docMk/>
          <pc:sldMk cId="3453035368" sldId="2145706671"/>
        </pc:sldMkLst>
        <pc:spChg chg="mod">
          <ac:chgData name="WANONO, Nathan" userId="99f38b78-d58b-43dc-971c-441766c63fc4" providerId="ADAL" clId="{645A1AA1-1855-4064-9EB2-CD5361C30D88}" dt="2024-09-13T09:51:58.804" v="12316"/>
          <ac:spMkLst>
            <pc:docMk/>
            <pc:sldMk cId="3453035368" sldId="2145706671"/>
            <ac:spMk id="4" creationId="{109039AC-938E-AC53-A6FC-ECD41044340E}"/>
          </ac:spMkLst>
        </pc:spChg>
      </pc:sldChg>
      <pc:sldChg chg="add del">
        <pc:chgData name="WANONO, Nathan" userId="99f38b78-d58b-43dc-971c-441766c63fc4" providerId="ADAL" clId="{645A1AA1-1855-4064-9EB2-CD5361C30D88}" dt="2024-09-13T08:16:24.891" v="11205" actId="47"/>
        <pc:sldMkLst>
          <pc:docMk/>
          <pc:sldMk cId="1120811081" sldId="2145706672"/>
        </pc:sldMkLst>
      </pc:sldChg>
      <pc:sldChg chg="delSp modSp add del mod ord">
        <pc:chgData name="WANONO, Nathan" userId="99f38b78-d58b-43dc-971c-441766c63fc4" providerId="ADAL" clId="{645A1AA1-1855-4064-9EB2-CD5361C30D88}" dt="2024-09-13T08:15:27.084" v="11114" actId="47"/>
        <pc:sldMkLst>
          <pc:docMk/>
          <pc:sldMk cId="3269913987" sldId="2145706673"/>
        </pc:sldMkLst>
        <pc:spChg chg="mod">
          <ac:chgData name="WANONO, Nathan" userId="99f38b78-d58b-43dc-971c-441766c63fc4" providerId="ADAL" clId="{645A1AA1-1855-4064-9EB2-CD5361C30D88}" dt="2024-09-13T07:59:19.771" v="11109" actId="20577"/>
          <ac:spMkLst>
            <pc:docMk/>
            <pc:sldMk cId="3269913987" sldId="2145706673"/>
            <ac:spMk id="3" creationId="{F1261247-D114-B15E-D6B0-FD5D1DC5DAEA}"/>
          </ac:spMkLst>
        </pc:spChg>
        <pc:spChg chg="mod">
          <ac:chgData name="WANONO, Nathan" userId="99f38b78-d58b-43dc-971c-441766c63fc4" providerId="ADAL" clId="{645A1AA1-1855-4064-9EB2-CD5361C30D88}" dt="2024-09-13T08:15:19.148" v="11112" actId="14100"/>
          <ac:spMkLst>
            <pc:docMk/>
            <pc:sldMk cId="3269913987" sldId="2145706673"/>
            <ac:spMk id="5" creationId="{3AA7F2A3-B0C0-D68A-CA8D-C23BFCFC8367}"/>
          </ac:spMkLst>
        </pc:spChg>
        <pc:spChg chg="del">
          <ac:chgData name="WANONO, Nathan" userId="99f38b78-d58b-43dc-971c-441766c63fc4" providerId="ADAL" clId="{645A1AA1-1855-4064-9EB2-CD5361C30D88}" dt="2024-09-13T07:59:28.302" v="11110" actId="478"/>
          <ac:spMkLst>
            <pc:docMk/>
            <pc:sldMk cId="3269913987" sldId="2145706673"/>
            <ac:spMk id="56" creationId="{0F9AC769-62CB-7F24-352D-7E0CE413AEC7}"/>
          </ac:spMkLst>
        </pc:spChg>
        <pc:spChg chg="del">
          <ac:chgData name="WANONO, Nathan" userId="99f38b78-d58b-43dc-971c-441766c63fc4" providerId="ADAL" clId="{645A1AA1-1855-4064-9EB2-CD5361C30D88}" dt="2024-09-13T07:59:31.243" v="11111" actId="478"/>
          <ac:spMkLst>
            <pc:docMk/>
            <pc:sldMk cId="3269913987" sldId="2145706673"/>
            <ac:spMk id="57" creationId="{AAB20294-66ED-FFFF-57A0-0B8509B57C6D}"/>
          </ac:spMkLst>
        </pc:spChg>
        <pc:spChg chg="del">
          <ac:chgData name="WANONO, Nathan" userId="99f38b78-d58b-43dc-971c-441766c63fc4" providerId="ADAL" clId="{645A1AA1-1855-4064-9EB2-CD5361C30D88}" dt="2024-09-13T07:59:28.302" v="11110" actId="478"/>
          <ac:spMkLst>
            <pc:docMk/>
            <pc:sldMk cId="3269913987" sldId="2145706673"/>
            <ac:spMk id="72" creationId="{80BF8ABF-6F8B-228E-38CF-CA09F9AC7546}"/>
          </ac:spMkLst>
        </pc:spChg>
        <pc:spChg chg="del">
          <ac:chgData name="WANONO, Nathan" userId="99f38b78-d58b-43dc-971c-441766c63fc4" providerId="ADAL" clId="{645A1AA1-1855-4064-9EB2-CD5361C30D88}" dt="2024-09-13T07:59:28.302" v="11110" actId="478"/>
          <ac:spMkLst>
            <pc:docMk/>
            <pc:sldMk cId="3269913987" sldId="2145706673"/>
            <ac:spMk id="76" creationId="{D164F4BB-8A26-96F7-E70B-AA39638B317D}"/>
          </ac:spMkLst>
        </pc:spChg>
        <pc:spChg chg="del">
          <ac:chgData name="WANONO, Nathan" userId="99f38b78-d58b-43dc-971c-441766c63fc4" providerId="ADAL" clId="{645A1AA1-1855-4064-9EB2-CD5361C30D88}" dt="2024-09-13T07:59:28.302" v="11110" actId="478"/>
          <ac:spMkLst>
            <pc:docMk/>
            <pc:sldMk cId="3269913987" sldId="2145706673"/>
            <ac:spMk id="78" creationId="{ABA5A530-4012-CBC6-E319-74DF80515D9E}"/>
          </ac:spMkLst>
        </pc:spChg>
        <pc:spChg chg="del">
          <ac:chgData name="WANONO, Nathan" userId="99f38b78-d58b-43dc-971c-441766c63fc4" providerId="ADAL" clId="{645A1AA1-1855-4064-9EB2-CD5361C30D88}" dt="2024-09-13T07:59:28.302" v="11110" actId="478"/>
          <ac:spMkLst>
            <pc:docMk/>
            <pc:sldMk cId="3269913987" sldId="2145706673"/>
            <ac:spMk id="80" creationId="{0E3D098D-ACE6-0371-5B41-DF2EB6A5790A}"/>
          </ac:spMkLst>
        </pc:spChg>
        <pc:spChg chg="del">
          <ac:chgData name="WANONO, Nathan" userId="99f38b78-d58b-43dc-971c-441766c63fc4" providerId="ADAL" clId="{645A1AA1-1855-4064-9EB2-CD5361C30D88}" dt="2024-09-13T07:59:28.302" v="11110" actId="478"/>
          <ac:spMkLst>
            <pc:docMk/>
            <pc:sldMk cId="3269913987" sldId="2145706673"/>
            <ac:spMk id="82" creationId="{AD070F0C-885F-EC2F-ABA9-BDFC0ECD024E}"/>
          </ac:spMkLst>
        </pc:spChg>
        <pc:spChg chg="del">
          <ac:chgData name="WANONO, Nathan" userId="99f38b78-d58b-43dc-971c-441766c63fc4" providerId="ADAL" clId="{645A1AA1-1855-4064-9EB2-CD5361C30D88}" dt="2024-09-13T07:59:28.302" v="11110" actId="478"/>
          <ac:spMkLst>
            <pc:docMk/>
            <pc:sldMk cId="3269913987" sldId="2145706673"/>
            <ac:spMk id="84" creationId="{1A2F47E9-37A6-8558-B87A-8FD004D4DAF4}"/>
          </ac:spMkLst>
        </pc:spChg>
        <pc:spChg chg="del">
          <ac:chgData name="WANONO, Nathan" userId="99f38b78-d58b-43dc-971c-441766c63fc4" providerId="ADAL" clId="{645A1AA1-1855-4064-9EB2-CD5361C30D88}" dt="2024-09-13T07:59:28.302" v="11110" actId="478"/>
          <ac:spMkLst>
            <pc:docMk/>
            <pc:sldMk cId="3269913987" sldId="2145706673"/>
            <ac:spMk id="86" creationId="{655CBECE-F77E-0499-5E5F-8BA992B2B942}"/>
          </ac:spMkLst>
        </pc:spChg>
        <pc:spChg chg="del">
          <ac:chgData name="WANONO, Nathan" userId="99f38b78-d58b-43dc-971c-441766c63fc4" providerId="ADAL" clId="{645A1AA1-1855-4064-9EB2-CD5361C30D88}" dt="2024-09-13T07:59:28.302" v="11110" actId="478"/>
          <ac:spMkLst>
            <pc:docMk/>
            <pc:sldMk cId="3269913987" sldId="2145706673"/>
            <ac:spMk id="89" creationId="{10A25536-1771-5C23-E1BE-D1C28083FC55}"/>
          </ac:spMkLst>
        </pc:spChg>
        <pc:spChg chg="del">
          <ac:chgData name="WANONO, Nathan" userId="99f38b78-d58b-43dc-971c-441766c63fc4" providerId="ADAL" clId="{645A1AA1-1855-4064-9EB2-CD5361C30D88}" dt="2024-09-13T07:59:28.302" v="11110" actId="478"/>
          <ac:spMkLst>
            <pc:docMk/>
            <pc:sldMk cId="3269913987" sldId="2145706673"/>
            <ac:spMk id="90" creationId="{F6DAC3C6-F352-E264-FFE0-B6FDFA78937A}"/>
          </ac:spMkLst>
        </pc:spChg>
        <pc:picChg chg="del">
          <ac:chgData name="WANONO, Nathan" userId="99f38b78-d58b-43dc-971c-441766c63fc4" providerId="ADAL" clId="{645A1AA1-1855-4064-9EB2-CD5361C30D88}" dt="2024-09-13T07:59:28.302" v="11110" actId="478"/>
          <ac:picMkLst>
            <pc:docMk/>
            <pc:sldMk cId="3269913987" sldId="2145706673"/>
            <ac:picMk id="2" creationId="{6DE0C822-FE35-57E9-2C4C-9F6D445ED878}"/>
          </ac:picMkLst>
        </pc:picChg>
        <pc:picChg chg="del">
          <ac:chgData name="WANONO, Nathan" userId="99f38b78-d58b-43dc-971c-441766c63fc4" providerId="ADAL" clId="{645A1AA1-1855-4064-9EB2-CD5361C30D88}" dt="2024-09-13T07:59:31.243" v="11111" actId="478"/>
          <ac:picMkLst>
            <pc:docMk/>
            <pc:sldMk cId="3269913987" sldId="2145706673"/>
            <ac:picMk id="17" creationId="{C773D4D4-4BE4-5F35-EF3F-48204D7D3389}"/>
          </ac:picMkLst>
        </pc:picChg>
        <pc:picChg chg="del">
          <ac:chgData name="WANONO, Nathan" userId="99f38b78-d58b-43dc-971c-441766c63fc4" providerId="ADAL" clId="{645A1AA1-1855-4064-9EB2-CD5361C30D88}" dt="2024-09-13T07:59:28.302" v="11110" actId="478"/>
          <ac:picMkLst>
            <pc:docMk/>
            <pc:sldMk cId="3269913987" sldId="2145706673"/>
            <ac:picMk id="20" creationId="{97364EAC-9ED2-262D-50CF-9139D6E4F978}"/>
          </ac:picMkLst>
        </pc:picChg>
        <pc:picChg chg="del">
          <ac:chgData name="WANONO, Nathan" userId="99f38b78-d58b-43dc-971c-441766c63fc4" providerId="ADAL" clId="{645A1AA1-1855-4064-9EB2-CD5361C30D88}" dt="2024-09-13T07:59:28.302" v="11110" actId="478"/>
          <ac:picMkLst>
            <pc:docMk/>
            <pc:sldMk cId="3269913987" sldId="2145706673"/>
            <ac:picMk id="93" creationId="{121A9184-21CC-06F1-1F7B-979C9C3A2E5E}"/>
          </ac:picMkLst>
        </pc:picChg>
        <pc:picChg chg="del">
          <ac:chgData name="WANONO, Nathan" userId="99f38b78-d58b-43dc-971c-441766c63fc4" providerId="ADAL" clId="{645A1AA1-1855-4064-9EB2-CD5361C30D88}" dt="2024-09-13T07:59:28.302" v="11110" actId="478"/>
          <ac:picMkLst>
            <pc:docMk/>
            <pc:sldMk cId="3269913987" sldId="2145706673"/>
            <ac:picMk id="94" creationId="{A0B0B11C-F1F5-F3A7-9151-B01020E2E0B7}"/>
          </ac:picMkLst>
        </pc:picChg>
        <pc:picChg chg="del">
          <ac:chgData name="WANONO, Nathan" userId="99f38b78-d58b-43dc-971c-441766c63fc4" providerId="ADAL" clId="{645A1AA1-1855-4064-9EB2-CD5361C30D88}" dt="2024-09-13T07:59:31.243" v="11111" actId="478"/>
          <ac:picMkLst>
            <pc:docMk/>
            <pc:sldMk cId="3269913987" sldId="2145706673"/>
            <ac:picMk id="97" creationId="{2F6A14A1-196C-6E55-4061-92E80C44FC65}"/>
          </ac:picMkLst>
        </pc:picChg>
        <pc:cxnChg chg="del">
          <ac:chgData name="WANONO, Nathan" userId="99f38b78-d58b-43dc-971c-441766c63fc4" providerId="ADAL" clId="{645A1AA1-1855-4064-9EB2-CD5361C30D88}" dt="2024-09-13T07:59:28.302" v="11110" actId="478"/>
          <ac:cxnSpMkLst>
            <pc:docMk/>
            <pc:sldMk cId="3269913987" sldId="2145706673"/>
            <ac:cxnSpMk id="24" creationId="{09086437-0E2B-6D61-5E52-2983B04A98A5}"/>
          </ac:cxnSpMkLst>
        </pc:cxnChg>
        <pc:cxnChg chg="del mod">
          <ac:chgData name="WANONO, Nathan" userId="99f38b78-d58b-43dc-971c-441766c63fc4" providerId="ADAL" clId="{645A1AA1-1855-4064-9EB2-CD5361C30D88}" dt="2024-09-13T07:59:28.302" v="11110" actId="478"/>
          <ac:cxnSpMkLst>
            <pc:docMk/>
            <pc:sldMk cId="3269913987" sldId="2145706673"/>
            <ac:cxnSpMk id="25" creationId="{FAECB01B-C3AA-7D0C-D138-5A0022016B85}"/>
          </ac:cxnSpMkLst>
        </pc:cxnChg>
        <pc:cxnChg chg="del">
          <ac:chgData name="WANONO, Nathan" userId="99f38b78-d58b-43dc-971c-441766c63fc4" providerId="ADAL" clId="{645A1AA1-1855-4064-9EB2-CD5361C30D88}" dt="2024-09-13T07:59:28.302" v="11110" actId="478"/>
          <ac:cxnSpMkLst>
            <pc:docMk/>
            <pc:sldMk cId="3269913987" sldId="2145706673"/>
            <ac:cxnSpMk id="36" creationId="{63BCE5EB-F9EA-E22A-3F76-C95DB9DE7036}"/>
          </ac:cxnSpMkLst>
        </pc:cxnChg>
        <pc:cxnChg chg="del">
          <ac:chgData name="WANONO, Nathan" userId="99f38b78-d58b-43dc-971c-441766c63fc4" providerId="ADAL" clId="{645A1AA1-1855-4064-9EB2-CD5361C30D88}" dt="2024-09-13T07:59:28.302" v="11110" actId="478"/>
          <ac:cxnSpMkLst>
            <pc:docMk/>
            <pc:sldMk cId="3269913987" sldId="2145706673"/>
            <ac:cxnSpMk id="73" creationId="{25D87FB7-E5F1-96FC-21DB-9F467F525705}"/>
          </ac:cxnSpMkLst>
        </pc:cxnChg>
        <pc:cxnChg chg="del">
          <ac:chgData name="WANONO, Nathan" userId="99f38b78-d58b-43dc-971c-441766c63fc4" providerId="ADAL" clId="{645A1AA1-1855-4064-9EB2-CD5361C30D88}" dt="2024-09-13T07:59:28.302" v="11110" actId="478"/>
          <ac:cxnSpMkLst>
            <pc:docMk/>
            <pc:sldMk cId="3269913987" sldId="2145706673"/>
            <ac:cxnSpMk id="77" creationId="{58E55401-A71B-B787-C362-8B4ED32AFF24}"/>
          </ac:cxnSpMkLst>
        </pc:cxnChg>
        <pc:cxnChg chg="del">
          <ac:chgData name="WANONO, Nathan" userId="99f38b78-d58b-43dc-971c-441766c63fc4" providerId="ADAL" clId="{645A1AA1-1855-4064-9EB2-CD5361C30D88}" dt="2024-09-13T07:59:28.302" v="11110" actId="478"/>
          <ac:cxnSpMkLst>
            <pc:docMk/>
            <pc:sldMk cId="3269913987" sldId="2145706673"/>
            <ac:cxnSpMk id="79" creationId="{5020F59C-967E-72EC-BFEA-CF0BD3902F9C}"/>
          </ac:cxnSpMkLst>
        </pc:cxnChg>
        <pc:cxnChg chg="del">
          <ac:chgData name="WANONO, Nathan" userId="99f38b78-d58b-43dc-971c-441766c63fc4" providerId="ADAL" clId="{645A1AA1-1855-4064-9EB2-CD5361C30D88}" dt="2024-09-13T07:59:28.302" v="11110" actId="478"/>
          <ac:cxnSpMkLst>
            <pc:docMk/>
            <pc:sldMk cId="3269913987" sldId="2145706673"/>
            <ac:cxnSpMk id="81" creationId="{A12A8D61-3E3B-95C0-44C7-7AAE5FEC9E66}"/>
          </ac:cxnSpMkLst>
        </pc:cxnChg>
        <pc:cxnChg chg="del">
          <ac:chgData name="WANONO, Nathan" userId="99f38b78-d58b-43dc-971c-441766c63fc4" providerId="ADAL" clId="{645A1AA1-1855-4064-9EB2-CD5361C30D88}" dt="2024-09-13T07:59:28.302" v="11110" actId="478"/>
          <ac:cxnSpMkLst>
            <pc:docMk/>
            <pc:sldMk cId="3269913987" sldId="2145706673"/>
            <ac:cxnSpMk id="83" creationId="{20F5EEBB-89C2-BD9E-AB8C-FBEA53FDE611}"/>
          </ac:cxnSpMkLst>
        </pc:cxnChg>
        <pc:cxnChg chg="del">
          <ac:chgData name="WANONO, Nathan" userId="99f38b78-d58b-43dc-971c-441766c63fc4" providerId="ADAL" clId="{645A1AA1-1855-4064-9EB2-CD5361C30D88}" dt="2024-09-13T07:59:28.302" v="11110" actId="478"/>
          <ac:cxnSpMkLst>
            <pc:docMk/>
            <pc:sldMk cId="3269913987" sldId="2145706673"/>
            <ac:cxnSpMk id="85" creationId="{F6944DB9-258A-C43E-7B0C-71E3E429BDF9}"/>
          </ac:cxnSpMkLst>
        </pc:cxnChg>
        <pc:cxnChg chg="del">
          <ac:chgData name="WANONO, Nathan" userId="99f38b78-d58b-43dc-971c-441766c63fc4" providerId="ADAL" clId="{645A1AA1-1855-4064-9EB2-CD5361C30D88}" dt="2024-09-13T07:59:28.302" v="11110" actId="478"/>
          <ac:cxnSpMkLst>
            <pc:docMk/>
            <pc:sldMk cId="3269913987" sldId="2145706673"/>
            <ac:cxnSpMk id="87" creationId="{5D4428B1-ACFB-7D75-A4C8-A80BF68BE623}"/>
          </ac:cxnSpMkLst>
        </pc:cxnChg>
        <pc:cxnChg chg="del">
          <ac:chgData name="WANONO, Nathan" userId="99f38b78-d58b-43dc-971c-441766c63fc4" providerId="ADAL" clId="{645A1AA1-1855-4064-9EB2-CD5361C30D88}" dt="2024-09-13T07:59:28.302" v="11110" actId="478"/>
          <ac:cxnSpMkLst>
            <pc:docMk/>
            <pc:sldMk cId="3269913987" sldId="2145706673"/>
            <ac:cxnSpMk id="88" creationId="{9FD0CA3C-DDBA-CD03-81AF-3782DD8E8E1A}"/>
          </ac:cxnSpMkLst>
        </pc:cxnChg>
      </pc:sldChg>
      <pc:sldChg chg="addSp delSp modSp add mod">
        <pc:chgData name="WANONO, Nathan" userId="99f38b78-d58b-43dc-971c-441766c63fc4" providerId="ADAL" clId="{645A1AA1-1855-4064-9EB2-CD5361C30D88}" dt="2024-09-18T10:35:00.043" v="24823" actId="33524"/>
        <pc:sldMkLst>
          <pc:docMk/>
          <pc:sldMk cId="1484096009" sldId="2145706674"/>
        </pc:sldMkLst>
        <pc:spChg chg="del">
          <ac:chgData name="WANONO, Nathan" userId="99f38b78-d58b-43dc-971c-441766c63fc4" providerId="ADAL" clId="{645A1AA1-1855-4064-9EB2-CD5361C30D88}" dt="2024-09-13T08:15:36.409" v="11116" actId="478"/>
          <ac:spMkLst>
            <pc:docMk/>
            <pc:sldMk cId="1484096009" sldId="2145706674"/>
            <ac:spMk id="2" creationId="{1DC90AC5-DC09-2867-6F4A-899611745D93}"/>
          </ac:spMkLst>
        </pc:spChg>
        <pc:spChg chg="mod">
          <ac:chgData name="WANONO, Nathan" userId="99f38b78-d58b-43dc-971c-441766c63fc4" providerId="ADAL" clId="{645A1AA1-1855-4064-9EB2-CD5361C30D88}" dt="2024-09-18T10:35:00.043" v="24823" actId="33524"/>
          <ac:spMkLst>
            <pc:docMk/>
            <pc:sldMk cId="1484096009" sldId="2145706674"/>
            <ac:spMk id="3" creationId="{F1261247-D114-B15E-D6B0-FD5D1DC5DAEA}"/>
          </ac:spMkLst>
        </pc:spChg>
        <pc:spChg chg="del">
          <ac:chgData name="WANONO, Nathan" userId="99f38b78-d58b-43dc-971c-441766c63fc4" providerId="ADAL" clId="{645A1AA1-1855-4064-9EB2-CD5361C30D88}" dt="2024-09-13T08:15:36.409" v="11116" actId="478"/>
          <ac:spMkLst>
            <pc:docMk/>
            <pc:sldMk cId="1484096009" sldId="2145706674"/>
            <ac:spMk id="4" creationId="{00C6C713-D6CA-20D1-A5EB-9B82834FB47B}"/>
          </ac:spMkLst>
        </pc:spChg>
        <pc:spChg chg="add del mod">
          <ac:chgData name="WANONO, Nathan" userId="99f38b78-d58b-43dc-971c-441766c63fc4" providerId="ADAL" clId="{645A1AA1-1855-4064-9EB2-CD5361C30D88}" dt="2024-09-13T09:04:51.976" v="12131" actId="478"/>
          <ac:spMkLst>
            <pc:docMk/>
            <pc:sldMk cId="1484096009" sldId="2145706674"/>
            <ac:spMk id="5" creationId="{D7FC1D2B-217D-9BD4-A739-C7F61CC6F143}"/>
          </ac:spMkLst>
        </pc:spChg>
        <pc:spChg chg="add del mod">
          <ac:chgData name="WANONO, Nathan" userId="99f38b78-d58b-43dc-971c-441766c63fc4" providerId="ADAL" clId="{645A1AA1-1855-4064-9EB2-CD5361C30D88}" dt="2024-09-13T09:04:50.009" v="12129" actId="478"/>
          <ac:spMkLst>
            <pc:docMk/>
            <pc:sldMk cId="1484096009" sldId="2145706674"/>
            <ac:spMk id="6" creationId="{08D15696-5777-5C3E-B4B4-430A968E7F77}"/>
          </ac:spMkLst>
        </pc:spChg>
        <pc:spChg chg="del">
          <ac:chgData name="WANONO, Nathan" userId="99f38b78-d58b-43dc-971c-441766c63fc4" providerId="ADAL" clId="{645A1AA1-1855-4064-9EB2-CD5361C30D88}" dt="2024-09-13T08:15:36.409" v="11116" actId="478"/>
          <ac:spMkLst>
            <pc:docMk/>
            <pc:sldMk cId="1484096009" sldId="2145706674"/>
            <ac:spMk id="7" creationId="{4AEF589D-7CF3-346A-FD67-494B5F425CF4}"/>
          </ac:spMkLst>
        </pc:spChg>
        <pc:spChg chg="del">
          <ac:chgData name="WANONO, Nathan" userId="99f38b78-d58b-43dc-971c-441766c63fc4" providerId="ADAL" clId="{645A1AA1-1855-4064-9EB2-CD5361C30D88}" dt="2024-09-13T08:15:36.409" v="11116" actId="478"/>
          <ac:spMkLst>
            <pc:docMk/>
            <pc:sldMk cId="1484096009" sldId="2145706674"/>
            <ac:spMk id="8" creationId="{C2A3C938-6233-C5F5-71E7-74040E2364AE}"/>
          </ac:spMkLst>
        </pc:spChg>
        <pc:spChg chg="add del">
          <ac:chgData name="WANONO, Nathan" userId="99f38b78-d58b-43dc-971c-441766c63fc4" providerId="ADAL" clId="{645A1AA1-1855-4064-9EB2-CD5361C30D88}" dt="2024-09-13T09:02:25.765" v="12119" actId="478"/>
          <ac:spMkLst>
            <pc:docMk/>
            <pc:sldMk cId="1484096009" sldId="2145706674"/>
            <ac:spMk id="10" creationId="{E40C9B4F-CFEE-1564-95DF-6BBCEBFAFC38}"/>
          </ac:spMkLst>
        </pc:spChg>
        <pc:spChg chg="add mod">
          <ac:chgData name="WANONO, Nathan" userId="99f38b78-d58b-43dc-971c-441766c63fc4" providerId="ADAL" clId="{645A1AA1-1855-4064-9EB2-CD5361C30D88}" dt="2024-09-13T09:40:01.416" v="12312" actId="1035"/>
          <ac:spMkLst>
            <pc:docMk/>
            <pc:sldMk cId="1484096009" sldId="2145706674"/>
            <ac:spMk id="23" creationId="{6FFBF4C7-E6F3-7B61-46CD-CDBA5E456985}"/>
          </ac:spMkLst>
        </pc:spChg>
        <pc:spChg chg="mod">
          <ac:chgData name="WANONO, Nathan" userId="99f38b78-d58b-43dc-971c-441766c63fc4" providerId="ADAL" clId="{645A1AA1-1855-4064-9EB2-CD5361C30D88}" dt="2024-09-13T15:24:49.913" v="18058" actId="20577"/>
          <ac:spMkLst>
            <pc:docMk/>
            <pc:sldMk cId="1484096009" sldId="2145706674"/>
            <ac:spMk id="103" creationId="{1BC49AF2-85A3-7246-B2EC-46FDF8E9CC5D}"/>
          </ac:spMkLst>
        </pc:spChg>
        <pc:spChg chg="add mod">
          <ac:chgData name="WANONO, Nathan" userId="99f38b78-d58b-43dc-971c-441766c63fc4" providerId="ADAL" clId="{645A1AA1-1855-4064-9EB2-CD5361C30D88}" dt="2024-09-13T09:40:01.416" v="12312" actId="1035"/>
          <ac:spMkLst>
            <pc:docMk/>
            <pc:sldMk cId="1484096009" sldId="2145706674"/>
            <ac:spMk id="110" creationId="{6B2AADD4-516E-5027-1636-058B4BD65885}"/>
          </ac:spMkLst>
        </pc:spChg>
        <pc:spChg chg="add mod">
          <ac:chgData name="WANONO, Nathan" userId="99f38b78-d58b-43dc-971c-441766c63fc4" providerId="ADAL" clId="{645A1AA1-1855-4064-9EB2-CD5361C30D88}" dt="2024-09-13T09:40:01.416" v="12312" actId="1035"/>
          <ac:spMkLst>
            <pc:docMk/>
            <pc:sldMk cId="1484096009" sldId="2145706674"/>
            <ac:spMk id="123" creationId="{D580FB10-F05D-E943-C404-F000ECBCDA41}"/>
          </ac:spMkLst>
        </pc:spChg>
        <pc:spChg chg="add mod">
          <ac:chgData name="WANONO, Nathan" userId="99f38b78-d58b-43dc-971c-441766c63fc4" providerId="ADAL" clId="{645A1AA1-1855-4064-9EB2-CD5361C30D88}" dt="2024-09-13T09:40:01.416" v="12312" actId="1035"/>
          <ac:spMkLst>
            <pc:docMk/>
            <pc:sldMk cId="1484096009" sldId="2145706674"/>
            <ac:spMk id="124" creationId="{62D21AE1-20F9-E5CC-2FF4-CDE8B7A12A17}"/>
          </ac:spMkLst>
        </pc:spChg>
        <pc:spChg chg="add mod">
          <ac:chgData name="WANONO, Nathan" userId="99f38b78-d58b-43dc-971c-441766c63fc4" providerId="ADAL" clId="{645A1AA1-1855-4064-9EB2-CD5361C30D88}" dt="2024-09-13T09:40:01.416" v="12312" actId="1035"/>
          <ac:spMkLst>
            <pc:docMk/>
            <pc:sldMk cId="1484096009" sldId="2145706674"/>
            <ac:spMk id="130" creationId="{D99BD8FD-0051-5BEE-3F52-26E43433F227}"/>
          </ac:spMkLst>
        </pc:spChg>
        <pc:spChg chg="add mod">
          <ac:chgData name="WANONO, Nathan" userId="99f38b78-d58b-43dc-971c-441766c63fc4" providerId="ADAL" clId="{645A1AA1-1855-4064-9EB2-CD5361C30D88}" dt="2024-09-13T09:40:01.416" v="12312" actId="1035"/>
          <ac:spMkLst>
            <pc:docMk/>
            <pc:sldMk cId="1484096009" sldId="2145706674"/>
            <ac:spMk id="131" creationId="{01A1996A-072B-5947-8052-7C972139B693}"/>
          </ac:spMkLst>
        </pc:spChg>
        <pc:spChg chg="add mod">
          <ac:chgData name="WANONO, Nathan" userId="99f38b78-d58b-43dc-971c-441766c63fc4" providerId="ADAL" clId="{645A1AA1-1855-4064-9EB2-CD5361C30D88}" dt="2024-09-13T09:40:01.416" v="12312" actId="1035"/>
          <ac:spMkLst>
            <pc:docMk/>
            <pc:sldMk cId="1484096009" sldId="2145706674"/>
            <ac:spMk id="154" creationId="{C3BB9D02-13BD-A733-BCD0-0F761F97571F}"/>
          </ac:spMkLst>
        </pc:spChg>
        <pc:spChg chg="add mod">
          <ac:chgData name="WANONO, Nathan" userId="99f38b78-d58b-43dc-971c-441766c63fc4" providerId="ADAL" clId="{645A1AA1-1855-4064-9EB2-CD5361C30D88}" dt="2024-09-13T09:40:01.416" v="12312" actId="1035"/>
          <ac:spMkLst>
            <pc:docMk/>
            <pc:sldMk cId="1484096009" sldId="2145706674"/>
            <ac:spMk id="155" creationId="{393E41E1-E6CD-787F-6A23-D51177B2C34D}"/>
          </ac:spMkLst>
        </pc:spChg>
        <pc:spChg chg="add mod">
          <ac:chgData name="WANONO, Nathan" userId="99f38b78-d58b-43dc-971c-441766c63fc4" providerId="ADAL" clId="{645A1AA1-1855-4064-9EB2-CD5361C30D88}" dt="2024-09-13T09:40:01.416" v="12312" actId="1035"/>
          <ac:spMkLst>
            <pc:docMk/>
            <pc:sldMk cId="1484096009" sldId="2145706674"/>
            <ac:spMk id="156" creationId="{5BB7C1AD-AF7C-9251-2815-3A859B4DBF75}"/>
          </ac:spMkLst>
        </pc:spChg>
        <pc:picChg chg="add mod">
          <ac:chgData name="WANONO, Nathan" userId="99f38b78-d58b-43dc-971c-441766c63fc4" providerId="ADAL" clId="{645A1AA1-1855-4064-9EB2-CD5361C30D88}" dt="2024-09-13T09:40:01.416" v="12312" actId="1035"/>
          <ac:picMkLst>
            <pc:docMk/>
            <pc:sldMk cId="1484096009" sldId="2145706674"/>
            <ac:picMk id="2" creationId="{1C3231AF-C5CC-893A-AB7F-A2C1C2E12E9D}"/>
          </ac:picMkLst>
        </pc:picChg>
        <pc:picChg chg="add mod">
          <ac:chgData name="WANONO, Nathan" userId="99f38b78-d58b-43dc-971c-441766c63fc4" providerId="ADAL" clId="{645A1AA1-1855-4064-9EB2-CD5361C30D88}" dt="2024-09-13T09:40:01.416" v="12312" actId="1035"/>
          <ac:picMkLst>
            <pc:docMk/>
            <pc:sldMk cId="1484096009" sldId="2145706674"/>
            <ac:picMk id="4" creationId="{A0FB3433-33F4-FC58-D5C4-7F292483BF36}"/>
          </ac:picMkLst>
        </pc:picChg>
        <pc:picChg chg="del">
          <ac:chgData name="WANONO, Nathan" userId="99f38b78-d58b-43dc-971c-441766c63fc4" providerId="ADAL" clId="{645A1AA1-1855-4064-9EB2-CD5361C30D88}" dt="2024-09-13T08:15:36.409" v="11116" actId="478"/>
          <ac:picMkLst>
            <pc:docMk/>
            <pc:sldMk cId="1484096009" sldId="2145706674"/>
            <ac:picMk id="5" creationId="{7364595C-77E6-B964-7182-18533A13247F}"/>
          </ac:picMkLst>
        </pc:picChg>
        <pc:picChg chg="del">
          <ac:chgData name="WANONO, Nathan" userId="99f38b78-d58b-43dc-971c-441766c63fc4" providerId="ADAL" clId="{645A1AA1-1855-4064-9EB2-CD5361C30D88}" dt="2024-09-13T08:15:36.409" v="11116" actId="478"/>
          <ac:picMkLst>
            <pc:docMk/>
            <pc:sldMk cId="1484096009" sldId="2145706674"/>
            <ac:picMk id="6" creationId="{D715CB0D-EEAA-5BA0-5B54-B4634E37B68B}"/>
          </ac:picMkLst>
        </pc:picChg>
        <pc:picChg chg="add del mod">
          <ac:chgData name="WANONO, Nathan" userId="99f38b78-d58b-43dc-971c-441766c63fc4" providerId="ADAL" clId="{645A1AA1-1855-4064-9EB2-CD5361C30D88}" dt="2024-09-13T09:01:36.025" v="12110" actId="478"/>
          <ac:picMkLst>
            <pc:docMk/>
            <pc:sldMk cId="1484096009" sldId="2145706674"/>
            <ac:picMk id="8" creationId="{5C762917-A77F-F629-3D65-298B3354AEE6}"/>
          </ac:picMkLst>
        </pc:picChg>
        <pc:picChg chg="del">
          <ac:chgData name="WANONO, Nathan" userId="99f38b78-d58b-43dc-971c-441766c63fc4" providerId="ADAL" clId="{645A1AA1-1855-4064-9EB2-CD5361C30D88}" dt="2024-09-13T08:15:36.409" v="11116" actId="478"/>
          <ac:picMkLst>
            <pc:docMk/>
            <pc:sldMk cId="1484096009" sldId="2145706674"/>
            <ac:picMk id="9" creationId="{D54A6AB4-A1D8-6627-285B-A0C95909DFA1}"/>
          </ac:picMkLst>
        </pc:picChg>
        <pc:picChg chg="add mod">
          <ac:chgData name="WANONO, Nathan" userId="99f38b78-d58b-43dc-971c-441766c63fc4" providerId="ADAL" clId="{645A1AA1-1855-4064-9EB2-CD5361C30D88}" dt="2024-09-13T09:40:01.416" v="12312" actId="1035"/>
          <ac:picMkLst>
            <pc:docMk/>
            <pc:sldMk cId="1484096009" sldId="2145706674"/>
            <ac:picMk id="24" creationId="{01B1ADDE-6927-3DA6-8EED-86BB79872A2A}"/>
          </ac:picMkLst>
        </pc:picChg>
        <pc:picChg chg="add mod">
          <ac:chgData name="WANONO, Nathan" userId="99f38b78-d58b-43dc-971c-441766c63fc4" providerId="ADAL" clId="{645A1AA1-1855-4064-9EB2-CD5361C30D88}" dt="2024-09-13T09:40:01.416" v="12312" actId="1035"/>
          <ac:picMkLst>
            <pc:docMk/>
            <pc:sldMk cId="1484096009" sldId="2145706674"/>
            <ac:picMk id="25" creationId="{9A30C863-823B-F120-811F-DBFF797BB54E}"/>
          </ac:picMkLst>
        </pc:picChg>
        <pc:picChg chg="add mod">
          <ac:chgData name="WANONO, Nathan" userId="99f38b78-d58b-43dc-971c-441766c63fc4" providerId="ADAL" clId="{645A1AA1-1855-4064-9EB2-CD5361C30D88}" dt="2024-09-13T09:40:01.416" v="12312" actId="1035"/>
          <ac:picMkLst>
            <pc:docMk/>
            <pc:sldMk cId="1484096009" sldId="2145706674"/>
            <ac:picMk id="30" creationId="{9C8E6161-444A-3C3F-A36D-60F138B2B158}"/>
          </ac:picMkLst>
        </pc:picChg>
        <pc:picChg chg="add del mod">
          <ac:chgData name="WANONO, Nathan" userId="99f38b78-d58b-43dc-971c-441766c63fc4" providerId="ADAL" clId="{645A1AA1-1855-4064-9EB2-CD5361C30D88}" dt="2024-09-13T09:07:07.807" v="12162" actId="478"/>
          <ac:picMkLst>
            <pc:docMk/>
            <pc:sldMk cId="1484096009" sldId="2145706674"/>
            <ac:picMk id="31" creationId="{2AD45DA4-78D3-93D3-553F-79AB36C31A15}"/>
          </ac:picMkLst>
        </pc:picChg>
        <pc:picChg chg="add mod">
          <ac:chgData name="WANONO, Nathan" userId="99f38b78-d58b-43dc-971c-441766c63fc4" providerId="ADAL" clId="{645A1AA1-1855-4064-9EB2-CD5361C30D88}" dt="2024-09-13T13:52:16.628" v="17905" actId="108"/>
          <ac:picMkLst>
            <pc:docMk/>
            <pc:sldMk cId="1484096009" sldId="2145706674"/>
            <ac:picMk id="96" creationId="{1E8AF9B3-BAAE-03EA-4024-B8389EDC1F97}"/>
          </ac:picMkLst>
        </pc:picChg>
        <pc:picChg chg="add mod">
          <ac:chgData name="WANONO, Nathan" userId="99f38b78-d58b-43dc-971c-441766c63fc4" providerId="ADAL" clId="{645A1AA1-1855-4064-9EB2-CD5361C30D88}" dt="2024-09-13T09:06:55.652" v="12157" actId="571"/>
          <ac:picMkLst>
            <pc:docMk/>
            <pc:sldMk cId="1484096009" sldId="2145706674"/>
            <ac:picMk id="97" creationId="{6A5A0DD1-D306-80CF-95B4-20C14603E891}"/>
          </ac:picMkLst>
        </pc:picChg>
        <pc:picChg chg="add mod">
          <ac:chgData name="WANONO, Nathan" userId="99f38b78-d58b-43dc-971c-441766c63fc4" providerId="ADAL" clId="{645A1AA1-1855-4064-9EB2-CD5361C30D88}" dt="2024-09-13T09:06:53.987" v="12156"/>
          <ac:picMkLst>
            <pc:docMk/>
            <pc:sldMk cId="1484096009" sldId="2145706674"/>
            <ac:picMk id="98" creationId="{6D89C639-CF37-6F68-49BB-A38369545CF8}"/>
          </ac:picMkLst>
        </pc:picChg>
        <pc:picChg chg="add mod">
          <ac:chgData name="WANONO, Nathan" userId="99f38b78-d58b-43dc-971c-441766c63fc4" providerId="ADAL" clId="{645A1AA1-1855-4064-9EB2-CD5361C30D88}" dt="2024-09-13T09:40:01.416" v="12312" actId="1035"/>
          <ac:picMkLst>
            <pc:docMk/>
            <pc:sldMk cId="1484096009" sldId="2145706674"/>
            <ac:picMk id="99" creationId="{FF95ED6F-9048-6287-3637-87017826414B}"/>
          </ac:picMkLst>
        </pc:picChg>
        <pc:picChg chg="add mod">
          <ac:chgData name="WANONO, Nathan" userId="99f38b78-d58b-43dc-971c-441766c63fc4" providerId="ADAL" clId="{645A1AA1-1855-4064-9EB2-CD5361C30D88}" dt="2024-09-13T09:40:01.416" v="12312" actId="1035"/>
          <ac:picMkLst>
            <pc:docMk/>
            <pc:sldMk cId="1484096009" sldId="2145706674"/>
            <ac:picMk id="114" creationId="{AFD0D402-D3CD-0B1E-1AAC-FD36F285701D}"/>
          </ac:picMkLst>
        </pc:picChg>
        <pc:picChg chg="add del mod">
          <ac:chgData name="WANONO, Nathan" userId="99f38b78-d58b-43dc-971c-441766c63fc4" providerId="ADAL" clId="{645A1AA1-1855-4064-9EB2-CD5361C30D88}" dt="2024-09-13T09:15:31.218" v="12224" actId="478"/>
          <ac:picMkLst>
            <pc:docMk/>
            <pc:sldMk cId="1484096009" sldId="2145706674"/>
            <ac:picMk id="132" creationId="{47AACCE9-73F7-ED70-843C-497487B9CEC1}"/>
          </ac:picMkLst>
        </pc:picChg>
        <pc:picChg chg="add del mod">
          <ac:chgData name="WANONO, Nathan" userId="99f38b78-d58b-43dc-971c-441766c63fc4" providerId="ADAL" clId="{645A1AA1-1855-4064-9EB2-CD5361C30D88}" dt="2024-09-13T09:15:31.218" v="12224" actId="478"/>
          <ac:picMkLst>
            <pc:docMk/>
            <pc:sldMk cId="1484096009" sldId="2145706674"/>
            <ac:picMk id="133" creationId="{5C54A4DA-B0B6-8B24-C2FD-C294ACB204A8}"/>
          </ac:picMkLst>
        </pc:picChg>
        <pc:picChg chg="add del mod">
          <ac:chgData name="WANONO, Nathan" userId="99f38b78-d58b-43dc-971c-441766c63fc4" providerId="ADAL" clId="{645A1AA1-1855-4064-9EB2-CD5361C30D88}" dt="2024-09-13T09:15:58.142" v="12232" actId="478"/>
          <ac:picMkLst>
            <pc:docMk/>
            <pc:sldMk cId="1484096009" sldId="2145706674"/>
            <ac:picMk id="135" creationId="{DDA92524-6FE5-8FD6-9AAE-EE97AB577895}"/>
          </ac:picMkLst>
        </pc:picChg>
        <pc:picChg chg="add del mod">
          <ac:chgData name="WANONO, Nathan" userId="99f38b78-d58b-43dc-971c-441766c63fc4" providerId="ADAL" clId="{645A1AA1-1855-4064-9EB2-CD5361C30D88}" dt="2024-09-13T09:15:58.142" v="12232" actId="478"/>
          <ac:picMkLst>
            <pc:docMk/>
            <pc:sldMk cId="1484096009" sldId="2145706674"/>
            <ac:picMk id="136" creationId="{EF872EF5-AC28-4B25-74B3-4E62FB1DE27D}"/>
          </ac:picMkLst>
        </pc:picChg>
        <pc:picChg chg="add del mod">
          <ac:chgData name="WANONO, Nathan" userId="99f38b78-d58b-43dc-971c-441766c63fc4" providerId="ADAL" clId="{645A1AA1-1855-4064-9EB2-CD5361C30D88}" dt="2024-09-13T09:16:25.680" v="12239" actId="478"/>
          <ac:picMkLst>
            <pc:docMk/>
            <pc:sldMk cId="1484096009" sldId="2145706674"/>
            <ac:picMk id="137" creationId="{FCCF87CE-4E10-0CFD-FBEC-F7F08AC036F4}"/>
          </ac:picMkLst>
        </pc:picChg>
        <pc:picChg chg="add del mod">
          <ac:chgData name="WANONO, Nathan" userId="99f38b78-d58b-43dc-971c-441766c63fc4" providerId="ADAL" clId="{645A1AA1-1855-4064-9EB2-CD5361C30D88}" dt="2024-09-13T09:16:25.680" v="12239" actId="478"/>
          <ac:picMkLst>
            <pc:docMk/>
            <pc:sldMk cId="1484096009" sldId="2145706674"/>
            <ac:picMk id="138" creationId="{E2B54EF9-24D7-ED97-BD88-2F9AB99ACF7B}"/>
          </ac:picMkLst>
        </pc:picChg>
        <pc:picChg chg="add mod">
          <ac:chgData name="WANONO, Nathan" userId="99f38b78-d58b-43dc-971c-441766c63fc4" providerId="ADAL" clId="{645A1AA1-1855-4064-9EB2-CD5361C30D88}" dt="2024-09-13T13:52:13.954" v="17904" actId="108"/>
          <ac:picMkLst>
            <pc:docMk/>
            <pc:sldMk cId="1484096009" sldId="2145706674"/>
            <ac:picMk id="143" creationId="{CA1CB52C-79E7-A268-D40B-655D03C2AC3A}"/>
          </ac:picMkLst>
        </pc:picChg>
        <pc:picChg chg="add mod">
          <ac:chgData name="WANONO, Nathan" userId="99f38b78-d58b-43dc-971c-441766c63fc4" providerId="ADAL" clId="{645A1AA1-1855-4064-9EB2-CD5361C30D88}" dt="2024-09-13T09:40:01.416" v="12312" actId="1035"/>
          <ac:picMkLst>
            <pc:docMk/>
            <pc:sldMk cId="1484096009" sldId="2145706674"/>
            <ac:picMk id="144" creationId="{720832E6-B52A-B55C-1E22-89BAB1F8C347}"/>
          </ac:picMkLst>
        </pc:picChg>
        <pc:cxnChg chg="add del mod">
          <ac:chgData name="WANONO, Nathan" userId="99f38b78-d58b-43dc-971c-441766c63fc4" providerId="ADAL" clId="{645A1AA1-1855-4064-9EB2-CD5361C30D88}" dt="2024-09-13T09:01:46.071" v="12117" actId="478"/>
          <ac:cxnSpMkLst>
            <pc:docMk/>
            <pc:sldMk cId="1484096009" sldId="2145706674"/>
            <ac:cxnSpMk id="7" creationId="{70315FCB-667F-8524-D88F-D3ACC402F1C1}"/>
          </ac:cxnSpMkLst>
        </pc:cxnChg>
        <pc:cxnChg chg="add del mod">
          <ac:chgData name="WANONO, Nathan" userId="99f38b78-d58b-43dc-971c-441766c63fc4" providerId="ADAL" clId="{645A1AA1-1855-4064-9EB2-CD5361C30D88}" dt="2024-09-13T09:03:24.263" v="12126" actId="478"/>
          <ac:cxnSpMkLst>
            <pc:docMk/>
            <pc:sldMk cId="1484096009" sldId="2145706674"/>
            <ac:cxnSpMk id="12" creationId="{ACDC8A1C-2024-240E-E564-3AA086374B0F}"/>
          </ac:cxnSpMkLst>
        </pc:cxnChg>
        <pc:cxnChg chg="add mod">
          <ac:chgData name="WANONO, Nathan" userId="99f38b78-d58b-43dc-971c-441766c63fc4" providerId="ADAL" clId="{645A1AA1-1855-4064-9EB2-CD5361C30D88}" dt="2024-09-13T09:40:01.416" v="12312" actId="1035"/>
          <ac:cxnSpMkLst>
            <pc:docMk/>
            <pc:sldMk cId="1484096009" sldId="2145706674"/>
            <ac:cxnSpMk id="18" creationId="{57638888-413C-77FF-89BF-0E6EF4A622BA}"/>
          </ac:cxnSpMkLst>
        </pc:cxnChg>
        <pc:cxnChg chg="add del mod">
          <ac:chgData name="WANONO, Nathan" userId="99f38b78-d58b-43dc-971c-441766c63fc4" providerId="ADAL" clId="{645A1AA1-1855-4064-9EB2-CD5361C30D88}" dt="2024-09-13T09:07:40.699" v="12168" actId="478"/>
          <ac:cxnSpMkLst>
            <pc:docMk/>
            <pc:sldMk cId="1484096009" sldId="2145706674"/>
            <ac:cxnSpMk id="100" creationId="{CDABB7B5-B842-4A07-A4DC-D25E5D97FD79}"/>
          </ac:cxnSpMkLst>
        </pc:cxnChg>
        <pc:cxnChg chg="add mod">
          <ac:chgData name="WANONO, Nathan" userId="99f38b78-d58b-43dc-971c-441766c63fc4" providerId="ADAL" clId="{645A1AA1-1855-4064-9EB2-CD5361C30D88}" dt="2024-09-13T09:40:01.416" v="12312" actId="1035"/>
          <ac:cxnSpMkLst>
            <pc:docMk/>
            <pc:sldMk cId="1484096009" sldId="2145706674"/>
            <ac:cxnSpMk id="106" creationId="{48BDB570-2AE9-FAB0-A326-B1ABC7753EE3}"/>
          </ac:cxnSpMkLst>
        </pc:cxnChg>
        <pc:cxnChg chg="add mod">
          <ac:chgData name="WANONO, Nathan" userId="99f38b78-d58b-43dc-971c-441766c63fc4" providerId="ADAL" clId="{645A1AA1-1855-4064-9EB2-CD5361C30D88}" dt="2024-09-13T09:40:01.416" v="12312" actId="1035"/>
          <ac:cxnSpMkLst>
            <pc:docMk/>
            <pc:sldMk cId="1484096009" sldId="2145706674"/>
            <ac:cxnSpMk id="111" creationId="{E78F1211-D8E9-CCC1-F548-2295CFB931A3}"/>
          </ac:cxnSpMkLst>
        </pc:cxnChg>
        <pc:cxnChg chg="add mod">
          <ac:chgData name="WANONO, Nathan" userId="99f38b78-d58b-43dc-971c-441766c63fc4" providerId="ADAL" clId="{645A1AA1-1855-4064-9EB2-CD5361C30D88}" dt="2024-09-13T09:40:01.416" v="12312" actId="1035"/>
          <ac:cxnSpMkLst>
            <pc:docMk/>
            <pc:sldMk cId="1484096009" sldId="2145706674"/>
            <ac:cxnSpMk id="119" creationId="{FC0B8A34-E273-6D23-B11D-4B29D707D6FE}"/>
          </ac:cxnSpMkLst>
        </pc:cxnChg>
        <pc:cxnChg chg="add mod">
          <ac:chgData name="WANONO, Nathan" userId="99f38b78-d58b-43dc-971c-441766c63fc4" providerId="ADAL" clId="{645A1AA1-1855-4064-9EB2-CD5361C30D88}" dt="2024-09-13T09:40:01.416" v="12312" actId="1035"/>
          <ac:cxnSpMkLst>
            <pc:docMk/>
            <pc:sldMk cId="1484096009" sldId="2145706674"/>
            <ac:cxnSpMk id="125" creationId="{D34D5B83-AB44-F969-D024-990A4D9D4500}"/>
          </ac:cxnSpMkLst>
        </pc:cxnChg>
        <pc:cxnChg chg="add del mod">
          <ac:chgData name="WANONO, Nathan" userId="99f38b78-d58b-43dc-971c-441766c63fc4" providerId="ADAL" clId="{645A1AA1-1855-4064-9EB2-CD5361C30D88}" dt="2024-09-13T09:16:24.048" v="12238" actId="478"/>
          <ac:cxnSpMkLst>
            <pc:docMk/>
            <pc:sldMk cId="1484096009" sldId="2145706674"/>
            <ac:cxnSpMk id="139" creationId="{1B9C168B-FC42-5301-746F-E08D0727E0AB}"/>
          </ac:cxnSpMkLst>
        </pc:cxnChg>
        <pc:cxnChg chg="add mod">
          <ac:chgData name="WANONO, Nathan" userId="99f38b78-d58b-43dc-971c-441766c63fc4" providerId="ADAL" clId="{645A1AA1-1855-4064-9EB2-CD5361C30D88}" dt="2024-09-13T09:40:01.416" v="12312" actId="1035"/>
          <ac:cxnSpMkLst>
            <pc:docMk/>
            <pc:sldMk cId="1484096009" sldId="2145706674"/>
            <ac:cxnSpMk id="145" creationId="{839CEB47-3BAC-8EA7-32F8-090849FDFADA}"/>
          </ac:cxnSpMkLst>
        </pc:cxnChg>
        <pc:cxnChg chg="add mod">
          <ac:chgData name="WANONO, Nathan" userId="99f38b78-d58b-43dc-971c-441766c63fc4" providerId="ADAL" clId="{645A1AA1-1855-4064-9EB2-CD5361C30D88}" dt="2024-09-13T09:40:01.416" v="12312" actId="1035"/>
          <ac:cxnSpMkLst>
            <pc:docMk/>
            <pc:sldMk cId="1484096009" sldId="2145706674"/>
            <ac:cxnSpMk id="148" creationId="{0DF2766B-84D9-4A65-4545-1DCBA205D755}"/>
          </ac:cxnSpMkLst>
        </pc:cxnChg>
        <pc:cxnChg chg="add mod">
          <ac:chgData name="WANONO, Nathan" userId="99f38b78-d58b-43dc-971c-441766c63fc4" providerId="ADAL" clId="{645A1AA1-1855-4064-9EB2-CD5361C30D88}" dt="2024-09-13T09:40:01.416" v="12312" actId="1035"/>
          <ac:cxnSpMkLst>
            <pc:docMk/>
            <pc:sldMk cId="1484096009" sldId="2145706674"/>
            <ac:cxnSpMk id="151" creationId="{8731DF8C-99B0-6298-560D-83CC58B72C23}"/>
          </ac:cxnSpMkLst>
        </pc:cxnChg>
        <pc:cxnChg chg="add del mod">
          <ac:chgData name="WANONO, Nathan" userId="99f38b78-d58b-43dc-971c-441766c63fc4" providerId="ADAL" clId="{645A1AA1-1855-4064-9EB2-CD5361C30D88}" dt="2024-09-13T09:17:39.267" v="12261" actId="478"/>
          <ac:cxnSpMkLst>
            <pc:docMk/>
            <pc:sldMk cId="1484096009" sldId="2145706674"/>
            <ac:cxnSpMk id="157" creationId="{458E13CB-7A84-5F31-C673-4975DB9E98EA}"/>
          </ac:cxnSpMkLst>
        </pc:cxnChg>
        <pc:cxnChg chg="add mod">
          <ac:chgData name="WANONO, Nathan" userId="99f38b78-d58b-43dc-971c-441766c63fc4" providerId="ADAL" clId="{645A1AA1-1855-4064-9EB2-CD5361C30D88}" dt="2024-09-13T13:52:37.001" v="17908" actId="208"/>
          <ac:cxnSpMkLst>
            <pc:docMk/>
            <pc:sldMk cId="1484096009" sldId="2145706674"/>
            <ac:cxnSpMk id="159" creationId="{4BC6AF2F-7F8B-60D1-A490-C26605581B56}"/>
          </ac:cxnSpMkLst>
        </pc:cxnChg>
      </pc:sldChg>
      <pc:sldChg chg="addSp delSp modSp add mod">
        <pc:chgData name="WANONO, Nathan" userId="99f38b78-d58b-43dc-971c-441766c63fc4" providerId="ADAL" clId="{645A1AA1-1855-4064-9EB2-CD5361C30D88}" dt="2024-09-13T15:34:50.181" v="18115" actId="6549"/>
        <pc:sldMkLst>
          <pc:docMk/>
          <pc:sldMk cId="2231503993" sldId="2145706675"/>
        </pc:sldMkLst>
        <pc:spChg chg="mod">
          <ac:chgData name="WANONO, Nathan" userId="99f38b78-d58b-43dc-971c-441766c63fc4" providerId="ADAL" clId="{645A1AA1-1855-4064-9EB2-CD5361C30D88}" dt="2024-09-13T10:19:05.381" v="13293" actId="20577"/>
          <ac:spMkLst>
            <pc:docMk/>
            <pc:sldMk cId="2231503993" sldId="2145706675"/>
            <ac:spMk id="3" creationId="{F1261247-D114-B15E-D6B0-FD5D1DC5DAEA}"/>
          </ac:spMkLst>
        </pc:spChg>
        <pc:spChg chg="del">
          <ac:chgData name="WANONO, Nathan" userId="99f38b78-d58b-43dc-971c-441766c63fc4" providerId="ADAL" clId="{645A1AA1-1855-4064-9EB2-CD5361C30D88}" dt="2024-09-13T09:52:16.918" v="12324" actId="478"/>
          <ac:spMkLst>
            <pc:docMk/>
            <pc:sldMk cId="2231503993" sldId="2145706675"/>
            <ac:spMk id="21" creationId="{0CC04755-86DD-9338-26ED-E298CEE25688}"/>
          </ac:spMkLst>
        </pc:spChg>
        <pc:spChg chg="del">
          <ac:chgData name="WANONO, Nathan" userId="99f38b78-d58b-43dc-971c-441766c63fc4" providerId="ADAL" clId="{645A1AA1-1855-4064-9EB2-CD5361C30D88}" dt="2024-09-13T09:52:16.918" v="12324" actId="478"/>
          <ac:spMkLst>
            <pc:docMk/>
            <pc:sldMk cId="2231503993" sldId="2145706675"/>
            <ac:spMk id="22" creationId="{E1C545D9-A34A-6F24-02F0-284F38D7C9F7}"/>
          </ac:spMkLst>
        </pc:spChg>
        <pc:spChg chg="del">
          <ac:chgData name="WANONO, Nathan" userId="99f38b78-d58b-43dc-971c-441766c63fc4" providerId="ADAL" clId="{645A1AA1-1855-4064-9EB2-CD5361C30D88}" dt="2024-09-13T09:52:16.918" v="12324" actId="478"/>
          <ac:spMkLst>
            <pc:docMk/>
            <pc:sldMk cId="2231503993" sldId="2145706675"/>
            <ac:spMk id="23" creationId="{FB666075-3464-DE96-B5BD-E620B1089E13}"/>
          </ac:spMkLst>
        </pc:spChg>
        <pc:spChg chg="mod">
          <ac:chgData name="WANONO, Nathan" userId="99f38b78-d58b-43dc-971c-441766c63fc4" providerId="ADAL" clId="{645A1AA1-1855-4064-9EB2-CD5361C30D88}" dt="2024-09-13T09:52:13.640" v="12323" actId="20577"/>
          <ac:spMkLst>
            <pc:docMk/>
            <pc:sldMk cId="2231503993" sldId="2145706675"/>
            <ac:spMk id="103" creationId="{1BC49AF2-85A3-7246-B2EC-46FDF8E9CC5D}"/>
          </ac:spMkLst>
        </pc:spChg>
        <pc:spChg chg="add mod">
          <ac:chgData name="WANONO, Nathan" userId="99f38b78-d58b-43dc-971c-441766c63fc4" providerId="ADAL" clId="{645A1AA1-1855-4064-9EB2-CD5361C30D88}" dt="2024-09-13T10:09:00.237" v="12543" actId="1037"/>
          <ac:spMkLst>
            <pc:docMk/>
            <pc:sldMk cId="2231503993" sldId="2145706675"/>
            <ac:spMk id="109" creationId="{4F788A86-EE4C-1A3F-2F15-71EBEB111371}"/>
          </ac:spMkLst>
        </pc:spChg>
        <pc:spChg chg="add del mod">
          <ac:chgData name="WANONO, Nathan" userId="99f38b78-d58b-43dc-971c-441766c63fc4" providerId="ADAL" clId="{645A1AA1-1855-4064-9EB2-CD5361C30D88}" dt="2024-09-13T09:58:59.800" v="12478" actId="478"/>
          <ac:spMkLst>
            <pc:docMk/>
            <pc:sldMk cId="2231503993" sldId="2145706675"/>
            <ac:spMk id="110" creationId="{90668488-168B-A354-0E35-8B0591045180}"/>
          </ac:spMkLst>
        </pc:spChg>
        <pc:spChg chg="add mod">
          <ac:chgData name="WANONO, Nathan" userId="99f38b78-d58b-43dc-971c-441766c63fc4" providerId="ADAL" clId="{645A1AA1-1855-4064-9EB2-CD5361C30D88}" dt="2024-09-13T10:09:00.237" v="12543" actId="1037"/>
          <ac:spMkLst>
            <pc:docMk/>
            <pc:sldMk cId="2231503993" sldId="2145706675"/>
            <ac:spMk id="111" creationId="{3F49A0BA-8806-FF9C-EC68-9AFCC8A1AB7E}"/>
          </ac:spMkLst>
        </pc:spChg>
        <pc:spChg chg="add mod">
          <ac:chgData name="WANONO, Nathan" userId="99f38b78-d58b-43dc-971c-441766c63fc4" providerId="ADAL" clId="{645A1AA1-1855-4064-9EB2-CD5361C30D88}" dt="2024-09-13T10:09:00.237" v="12543" actId="1037"/>
          <ac:spMkLst>
            <pc:docMk/>
            <pc:sldMk cId="2231503993" sldId="2145706675"/>
            <ac:spMk id="112" creationId="{8CA56812-BF81-A155-53C8-3C7E1DAFD25F}"/>
          </ac:spMkLst>
        </pc:spChg>
        <pc:spChg chg="add mod">
          <ac:chgData name="WANONO, Nathan" userId="99f38b78-d58b-43dc-971c-441766c63fc4" providerId="ADAL" clId="{645A1AA1-1855-4064-9EB2-CD5361C30D88}" dt="2024-09-13T10:09:00.237" v="12543" actId="1037"/>
          <ac:spMkLst>
            <pc:docMk/>
            <pc:sldMk cId="2231503993" sldId="2145706675"/>
            <ac:spMk id="113" creationId="{9F8A6A9C-6501-1CEA-0331-7CFEEE393CC2}"/>
          </ac:spMkLst>
        </pc:spChg>
        <pc:spChg chg="add mod">
          <ac:chgData name="WANONO, Nathan" userId="99f38b78-d58b-43dc-971c-441766c63fc4" providerId="ADAL" clId="{645A1AA1-1855-4064-9EB2-CD5361C30D88}" dt="2024-09-13T10:09:00.237" v="12543" actId="1037"/>
          <ac:spMkLst>
            <pc:docMk/>
            <pc:sldMk cId="2231503993" sldId="2145706675"/>
            <ac:spMk id="114" creationId="{0D1ABF01-7DF2-BFA2-D783-9BFA6A396EF9}"/>
          </ac:spMkLst>
        </pc:spChg>
        <pc:spChg chg="add mod">
          <ac:chgData name="WANONO, Nathan" userId="99f38b78-d58b-43dc-971c-441766c63fc4" providerId="ADAL" clId="{645A1AA1-1855-4064-9EB2-CD5361C30D88}" dt="2024-09-13T15:34:50.181" v="18115" actId="6549"/>
          <ac:spMkLst>
            <pc:docMk/>
            <pc:sldMk cId="2231503993" sldId="2145706675"/>
            <ac:spMk id="115" creationId="{7B65198E-BBD9-5032-13C2-1AA4C80C1A5F}"/>
          </ac:spMkLst>
        </pc:spChg>
        <pc:picChg chg="del">
          <ac:chgData name="WANONO, Nathan" userId="99f38b78-d58b-43dc-971c-441766c63fc4" providerId="ADAL" clId="{645A1AA1-1855-4064-9EB2-CD5361C30D88}" dt="2024-09-13T09:52:16.918" v="12324" actId="478"/>
          <ac:picMkLst>
            <pc:docMk/>
            <pc:sldMk cId="2231503993" sldId="2145706675"/>
            <ac:picMk id="2" creationId="{35B94587-3978-3D0A-D6B9-E51E34FD3B49}"/>
          </ac:picMkLst>
        </pc:picChg>
        <pc:picChg chg="add mod">
          <ac:chgData name="WANONO, Nathan" userId="99f38b78-d58b-43dc-971c-441766c63fc4" providerId="ADAL" clId="{645A1AA1-1855-4064-9EB2-CD5361C30D88}" dt="2024-09-13T10:09:00.237" v="12543" actId="1037"/>
          <ac:picMkLst>
            <pc:docMk/>
            <pc:sldMk cId="2231503993" sldId="2145706675"/>
            <ac:picMk id="4" creationId="{95376EF3-7FF3-8485-0D1C-5055EE86BE08}"/>
          </ac:picMkLst>
        </pc:picChg>
        <pc:picChg chg="add mod">
          <ac:chgData name="WANONO, Nathan" userId="99f38b78-d58b-43dc-971c-441766c63fc4" providerId="ADAL" clId="{645A1AA1-1855-4064-9EB2-CD5361C30D88}" dt="2024-09-13T10:09:00.237" v="12543" actId="1037"/>
          <ac:picMkLst>
            <pc:docMk/>
            <pc:sldMk cId="2231503993" sldId="2145706675"/>
            <ac:picMk id="5" creationId="{3972360C-1783-9FC3-14EC-6ECC11209FE7}"/>
          </ac:picMkLst>
        </pc:picChg>
        <pc:picChg chg="add mod">
          <ac:chgData name="WANONO, Nathan" userId="99f38b78-d58b-43dc-971c-441766c63fc4" providerId="ADAL" clId="{645A1AA1-1855-4064-9EB2-CD5361C30D88}" dt="2024-09-13T10:09:00.237" v="12543" actId="1037"/>
          <ac:picMkLst>
            <pc:docMk/>
            <pc:sldMk cId="2231503993" sldId="2145706675"/>
            <ac:picMk id="6" creationId="{6E0615AD-3394-1420-30A3-9EC115C85F4B}"/>
          </ac:picMkLst>
        </pc:picChg>
        <pc:picChg chg="del">
          <ac:chgData name="WANONO, Nathan" userId="99f38b78-d58b-43dc-971c-441766c63fc4" providerId="ADAL" clId="{645A1AA1-1855-4064-9EB2-CD5361C30D88}" dt="2024-09-13T09:52:16.918" v="12324" actId="478"/>
          <ac:picMkLst>
            <pc:docMk/>
            <pc:sldMk cId="2231503993" sldId="2145706675"/>
            <ac:picMk id="7" creationId="{3BF0A289-7848-B14A-D1E7-1A43905A20DE}"/>
          </ac:picMkLst>
        </pc:picChg>
        <pc:picChg chg="add mod">
          <ac:chgData name="WANONO, Nathan" userId="99f38b78-d58b-43dc-971c-441766c63fc4" providerId="ADAL" clId="{645A1AA1-1855-4064-9EB2-CD5361C30D88}" dt="2024-09-13T10:09:00.237" v="12543" actId="1037"/>
          <ac:picMkLst>
            <pc:docMk/>
            <pc:sldMk cId="2231503993" sldId="2145706675"/>
            <ac:picMk id="8" creationId="{D0EA2A3A-ADFD-3364-AD70-E329E12EF038}"/>
          </ac:picMkLst>
        </pc:picChg>
        <pc:picChg chg="add mod">
          <ac:chgData name="WANONO, Nathan" userId="99f38b78-d58b-43dc-971c-441766c63fc4" providerId="ADAL" clId="{645A1AA1-1855-4064-9EB2-CD5361C30D88}" dt="2024-09-13T10:09:00.237" v="12543" actId="1037"/>
          <ac:picMkLst>
            <pc:docMk/>
            <pc:sldMk cId="2231503993" sldId="2145706675"/>
            <ac:picMk id="9" creationId="{10E9F739-000D-3F77-FCD9-5C782671FC91}"/>
          </ac:picMkLst>
        </pc:picChg>
        <pc:picChg chg="del">
          <ac:chgData name="WANONO, Nathan" userId="99f38b78-d58b-43dc-971c-441766c63fc4" providerId="ADAL" clId="{645A1AA1-1855-4064-9EB2-CD5361C30D88}" dt="2024-09-13T09:52:16.918" v="12324" actId="478"/>
          <ac:picMkLst>
            <pc:docMk/>
            <pc:sldMk cId="2231503993" sldId="2145706675"/>
            <ac:picMk id="10" creationId="{57E073A0-2CE3-ADC2-B841-ACAC88E64F23}"/>
          </ac:picMkLst>
        </pc:picChg>
        <pc:picChg chg="add mod">
          <ac:chgData name="WANONO, Nathan" userId="99f38b78-d58b-43dc-971c-441766c63fc4" providerId="ADAL" clId="{645A1AA1-1855-4064-9EB2-CD5361C30D88}" dt="2024-09-13T10:09:00.237" v="12543" actId="1037"/>
          <ac:picMkLst>
            <pc:docMk/>
            <pc:sldMk cId="2231503993" sldId="2145706675"/>
            <ac:picMk id="12" creationId="{F1941E5B-E4A0-848B-0A21-05D5EDBDD82D}"/>
          </ac:picMkLst>
        </pc:picChg>
        <pc:picChg chg="add mod">
          <ac:chgData name="WANONO, Nathan" userId="99f38b78-d58b-43dc-971c-441766c63fc4" providerId="ADAL" clId="{645A1AA1-1855-4064-9EB2-CD5361C30D88}" dt="2024-09-13T10:09:00.237" v="12543" actId="1037"/>
          <ac:picMkLst>
            <pc:docMk/>
            <pc:sldMk cId="2231503993" sldId="2145706675"/>
            <ac:picMk id="13" creationId="{8C4F05EA-A3E7-9EC3-DBB9-AFA449961B49}"/>
          </ac:picMkLst>
        </pc:picChg>
        <pc:picChg chg="add mod">
          <ac:chgData name="WANONO, Nathan" userId="99f38b78-d58b-43dc-971c-441766c63fc4" providerId="ADAL" clId="{645A1AA1-1855-4064-9EB2-CD5361C30D88}" dt="2024-09-13T10:09:00.237" v="12543" actId="1037"/>
          <ac:picMkLst>
            <pc:docMk/>
            <pc:sldMk cId="2231503993" sldId="2145706675"/>
            <ac:picMk id="101" creationId="{A620A819-CB9F-CEE5-0131-E43F7B45FC88}"/>
          </ac:picMkLst>
        </pc:picChg>
        <pc:picChg chg="add mod">
          <ac:chgData name="WANONO, Nathan" userId="99f38b78-d58b-43dc-971c-441766c63fc4" providerId="ADAL" clId="{645A1AA1-1855-4064-9EB2-CD5361C30D88}" dt="2024-09-13T10:09:00.237" v="12543" actId="1037"/>
          <ac:picMkLst>
            <pc:docMk/>
            <pc:sldMk cId="2231503993" sldId="2145706675"/>
            <ac:picMk id="102" creationId="{D4569BD3-4C5D-A508-96E5-1A392BCEDFAB}"/>
          </ac:picMkLst>
        </pc:picChg>
        <pc:picChg chg="add mod">
          <ac:chgData name="WANONO, Nathan" userId="99f38b78-d58b-43dc-971c-441766c63fc4" providerId="ADAL" clId="{645A1AA1-1855-4064-9EB2-CD5361C30D88}" dt="2024-09-13T10:09:00.237" v="12543" actId="1037"/>
          <ac:picMkLst>
            <pc:docMk/>
            <pc:sldMk cId="2231503993" sldId="2145706675"/>
            <ac:picMk id="104" creationId="{F2AB8389-5025-EB46-D652-17F0D35D6269}"/>
          </ac:picMkLst>
        </pc:picChg>
        <pc:picChg chg="add mod">
          <ac:chgData name="WANONO, Nathan" userId="99f38b78-d58b-43dc-971c-441766c63fc4" providerId="ADAL" clId="{645A1AA1-1855-4064-9EB2-CD5361C30D88}" dt="2024-09-13T10:09:00.237" v="12543" actId="1037"/>
          <ac:picMkLst>
            <pc:docMk/>
            <pc:sldMk cId="2231503993" sldId="2145706675"/>
            <ac:picMk id="105" creationId="{CC75D13B-CE5C-150E-4CBF-6A233B707C76}"/>
          </ac:picMkLst>
        </pc:picChg>
        <pc:picChg chg="add mod">
          <ac:chgData name="WANONO, Nathan" userId="99f38b78-d58b-43dc-971c-441766c63fc4" providerId="ADAL" clId="{645A1AA1-1855-4064-9EB2-CD5361C30D88}" dt="2024-09-13T10:09:00.237" v="12543" actId="1037"/>
          <ac:picMkLst>
            <pc:docMk/>
            <pc:sldMk cId="2231503993" sldId="2145706675"/>
            <ac:picMk id="106" creationId="{D4EEB1EC-3C31-763B-7697-DC1EE05AEA66}"/>
          </ac:picMkLst>
        </pc:picChg>
        <pc:picChg chg="add mod">
          <ac:chgData name="WANONO, Nathan" userId="99f38b78-d58b-43dc-971c-441766c63fc4" providerId="ADAL" clId="{645A1AA1-1855-4064-9EB2-CD5361C30D88}" dt="2024-09-13T10:09:00.237" v="12543" actId="1037"/>
          <ac:picMkLst>
            <pc:docMk/>
            <pc:sldMk cId="2231503993" sldId="2145706675"/>
            <ac:picMk id="107" creationId="{8A2CDE12-8922-51C2-A9B8-1698AE40D20F}"/>
          </ac:picMkLst>
        </pc:picChg>
        <pc:picChg chg="add mod">
          <ac:chgData name="WANONO, Nathan" userId="99f38b78-d58b-43dc-971c-441766c63fc4" providerId="ADAL" clId="{645A1AA1-1855-4064-9EB2-CD5361C30D88}" dt="2024-09-13T10:09:00.237" v="12543" actId="1037"/>
          <ac:picMkLst>
            <pc:docMk/>
            <pc:sldMk cId="2231503993" sldId="2145706675"/>
            <ac:picMk id="108" creationId="{D69414CC-6280-3D22-2443-56EBAC274DDE}"/>
          </ac:picMkLst>
        </pc:picChg>
        <pc:cxnChg chg="del">
          <ac:chgData name="WANONO, Nathan" userId="99f38b78-d58b-43dc-971c-441766c63fc4" providerId="ADAL" clId="{645A1AA1-1855-4064-9EB2-CD5361C30D88}" dt="2024-09-13T09:52:16.918" v="12324" actId="478"/>
          <ac:cxnSpMkLst>
            <pc:docMk/>
            <pc:sldMk cId="2231503993" sldId="2145706675"/>
            <ac:cxnSpMk id="11" creationId="{DD588C2F-0F4F-D95F-011D-9EF6ABA974EF}"/>
          </ac:cxnSpMkLst>
        </pc:cxnChg>
        <pc:cxnChg chg="add mod">
          <ac:chgData name="WANONO, Nathan" userId="99f38b78-d58b-43dc-971c-441766c63fc4" providerId="ADAL" clId="{645A1AA1-1855-4064-9EB2-CD5361C30D88}" dt="2024-09-13T13:53:29.208" v="17913" actId="108"/>
          <ac:cxnSpMkLst>
            <pc:docMk/>
            <pc:sldMk cId="2231503993" sldId="2145706675"/>
            <ac:cxnSpMk id="14" creationId="{EA5F0E3B-C305-288F-DA48-5045DF18ECB7}"/>
          </ac:cxnSpMkLst>
        </pc:cxnChg>
        <pc:cxnChg chg="del">
          <ac:chgData name="WANONO, Nathan" userId="99f38b78-d58b-43dc-971c-441766c63fc4" providerId="ADAL" clId="{645A1AA1-1855-4064-9EB2-CD5361C30D88}" dt="2024-09-13T09:52:16.918" v="12324" actId="478"/>
          <ac:cxnSpMkLst>
            <pc:docMk/>
            <pc:sldMk cId="2231503993" sldId="2145706675"/>
            <ac:cxnSpMk id="15" creationId="{C0820795-FF00-577B-3929-0191F697EC14}"/>
          </ac:cxnSpMkLst>
        </pc:cxnChg>
        <pc:cxnChg chg="del">
          <ac:chgData name="WANONO, Nathan" userId="99f38b78-d58b-43dc-971c-441766c63fc4" providerId="ADAL" clId="{645A1AA1-1855-4064-9EB2-CD5361C30D88}" dt="2024-09-13T09:52:16.918" v="12324" actId="478"/>
          <ac:cxnSpMkLst>
            <pc:docMk/>
            <pc:sldMk cId="2231503993" sldId="2145706675"/>
            <ac:cxnSpMk id="18" creationId="{3CD411EF-D7AB-52DB-9BC2-46D5DAD93262}"/>
          </ac:cxnSpMkLst>
        </pc:cxnChg>
        <pc:cxnChg chg="add mod">
          <ac:chgData name="WANONO, Nathan" userId="99f38b78-d58b-43dc-971c-441766c63fc4" providerId="ADAL" clId="{645A1AA1-1855-4064-9EB2-CD5361C30D88}" dt="2024-09-13T13:53:31.043" v="17914" actId="108"/>
          <ac:cxnSpMkLst>
            <pc:docMk/>
            <pc:sldMk cId="2231503993" sldId="2145706675"/>
            <ac:cxnSpMk id="19" creationId="{6F7399EC-985B-AB86-7D04-518684B683B3}"/>
          </ac:cxnSpMkLst>
        </pc:cxnChg>
        <pc:cxnChg chg="add mod">
          <ac:chgData name="WANONO, Nathan" userId="99f38b78-d58b-43dc-971c-441766c63fc4" providerId="ADAL" clId="{645A1AA1-1855-4064-9EB2-CD5361C30D88}" dt="2024-09-13T13:53:23.477" v="17912" actId="108"/>
          <ac:cxnSpMkLst>
            <pc:docMk/>
            <pc:sldMk cId="2231503993" sldId="2145706675"/>
            <ac:cxnSpMk id="25" creationId="{AFE72A28-A018-48F2-97E0-7BA603E0698D}"/>
          </ac:cxnSpMkLst>
        </pc:cxnChg>
        <pc:cxnChg chg="add mod">
          <ac:chgData name="WANONO, Nathan" userId="99f38b78-d58b-43dc-971c-441766c63fc4" providerId="ADAL" clId="{645A1AA1-1855-4064-9EB2-CD5361C30D88}" dt="2024-09-13T13:53:21.278" v="17911" actId="108"/>
          <ac:cxnSpMkLst>
            <pc:docMk/>
            <pc:sldMk cId="2231503993" sldId="2145706675"/>
            <ac:cxnSpMk id="28" creationId="{B3326C75-D50D-279E-E8AE-17840C1AE559}"/>
          </ac:cxnSpMkLst>
        </pc:cxnChg>
        <pc:cxnChg chg="add mod">
          <ac:chgData name="WANONO, Nathan" userId="99f38b78-d58b-43dc-971c-441766c63fc4" providerId="ADAL" clId="{645A1AA1-1855-4064-9EB2-CD5361C30D88}" dt="2024-09-13T13:53:15.193" v="17909" actId="108"/>
          <ac:cxnSpMkLst>
            <pc:docMk/>
            <pc:sldMk cId="2231503993" sldId="2145706675"/>
            <ac:cxnSpMk id="31" creationId="{B2AB350F-155C-F2F4-20EB-D7A5FA5F4F4D}"/>
          </ac:cxnSpMkLst>
        </pc:cxnChg>
        <pc:cxnChg chg="add mod">
          <ac:chgData name="WANONO, Nathan" userId="99f38b78-d58b-43dc-971c-441766c63fc4" providerId="ADAL" clId="{645A1AA1-1855-4064-9EB2-CD5361C30D88}" dt="2024-09-13T13:53:17.109" v="17910" actId="108"/>
          <ac:cxnSpMkLst>
            <pc:docMk/>
            <pc:sldMk cId="2231503993" sldId="2145706675"/>
            <ac:cxnSpMk id="98" creationId="{7985BFEF-26CB-A8D6-0CB1-24C03A4C120C}"/>
          </ac:cxnSpMkLst>
        </pc:cxnChg>
      </pc:sldChg>
      <pc:sldChg chg="addSp delSp modSp add mod">
        <pc:chgData name="WANONO, Nathan" userId="99f38b78-d58b-43dc-971c-441766c63fc4" providerId="ADAL" clId="{645A1AA1-1855-4064-9EB2-CD5361C30D88}" dt="2024-09-13T13:07:28.001" v="16754" actId="21"/>
        <pc:sldMkLst>
          <pc:docMk/>
          <pc:sldMk cId="916624348" sldId="2145706676"/>
        </pc:sldMkLst>
        <pc:spChg chg="add mod">
          <ac:chgData name="WANONO, Nathan" userId="99f38b78-d58b-43dc-971c-441766c63fc4" providerId="ADAL" clId="{645A1AA1-1855-4064-9EB2-CD5361C30D88}" dt="2024-09-13T12:32:04.287" v="15465" actId="108"/>
          <ac:spMkLst>
            <pc:docMk/>
            <pc:sldMk cId="916624348" sldId="2145706676"/>
            <ac:spMk id="2" creationId="{DD51D6D2-5457-0D3D-16AB-33CE6B7ED2E8}"/>
          </ac:spMkLst>
        </pc:spChg>
        <pc:spChg chg="mod">
          <ac:chgData name="WANONO, Nathan" userId="99f38b78-d58b-43dc-971c-441766c63fc4" providerId="ADAL" clId="{645A1AA1-1855-4064-9EB2-CD5361C30D88}" dt="2024-09-13T12:47:57.595" v="16188" actId="20577"/>
          <ac:spMkLst>
            <pc:docMk/>
            <pc:sldMk cId="916624348" sldId="2145706676"/>
            <ac:spMk id="3" creationId="{F1261247-D114-B15E-D6B0-FD5D1DC5DAEA}"/>
          </ac:spMkLst>
        </pc:spChg>
        <pc:spChg chg="mod">
          <ac:chgData name="WANONO, Nathan" userId="99f38b78-d58b-43dc-971c-441766c63fc4" providerId="ADAL" clId="{645A1AA1-1855-4064-9EB2-CD5361C30D88}" dt="2024-09-13T12:32:20.574" v="15467" actId="108"/>
          <ac:spMkLst>
            <pc:docMk/>
            <pc:sldMk cId="916624348" sldId="2145706676"/>
            <ac:spMk id="10" creationId="{F937939D-49B6-78E3-E112-64401E57F4A3}"/>
          </ac:spMkLst>
        </pc:spChg>
        <pc:spChg chg="mod">
          <ac:chgData name="WANONO, Nathan" userId="99f38b78-d58b-43dc-971c-441766c63fc4" providerId="ADAL" clId="{645A1AA1-1855-4064-9EB2-CD5361C30D88}" dt="2024-09-13T12:32:20.574" v="15467" actId="108"/>
          <ac:spMkLst>
            <pc:docMk/>
            <pc:sldMk cId="916624348" sldId="2145706676"/>
            <ac:spMk id="11" creationId="{0ABC6623-94D5-47DF-EA37-88D705C0DB85}"/>
          </ac:spMkLst>
        </pc:spChg>
        <pc:spChg chg="mod">
          <ac:chgData name="WANONO, Nathan" userId="99f38b78-d58b-43dc-971c-441766c63fc4" providerId="ADAL" clId="{645A1AA1-1855-4064-9EB2-CD5361C30D88}" dt="2024-09-13T12:32:20.574" v="15467" actId="108"/>
          <ac:spMkLst>
            <pc:docMk/>
            <pc:sldMk cId="916624348" sldId="2145706676"/>
            <ac:spMk id="15" creationId="{4B289152-1B67-188B-2767-1468F961EB92}"/>
          </ac:spMkLst>
        </pc:spChg>
        <pc:spChg chg="mod">
          <ac:chgData name="WANONO, Nathan" userId="99f38b78-d58b-43dc-971c-441766c63fc4" providerId="ADAL" clId="{645A1AA1-1855-4064-9EB2-CD5361C30D88}" dt="2024-09-13T12:32:20.574" v="15467" actId="108"/>
          <ac:spMkLst>
            <pc:docMk/>
            <pc:sldMk cId="916624348" sldId="2145706676"/>
            <ac:spMk id="16" creationId="{AF337312-02B5-50E7-952A-7F9A41E4B944}"/>
          </ac:spMkLst>
        </pc:spChg>
        <pc:spChg chg="mod">
          <ac:chgData name="WANONO, Nathan" userId="99f38b78-d58b-43dc-971c-441766c63fc4" providerId="ADAL" clId="{645A1AA1-1855-4064-9EB2-CD5361C30D88}" dt="2024-09-13T12:32:20.574" v="15467" actId="108"/>
          <ac:spMkLst>
            <pc:docMk/>
            <pc:sldMk cId="916624348" sldId="2145706676"/>
            <ac:spMk id="17" creationId="{977D9A77-D440-2B96-A3C6-A7587DBDEE37}"/>
          </ac:spMkLst>
        </pc:spChg>
        <pc:spChg chg="del">
          <ac:chgData name="WANONO, Nathan" userId="99f38b78-d58b-43dc-971c-441766c63fc4" providerId="ADAL" clId="{645A1AA1-1855-4064-9EB2-CD5361C30D88}" dt="2024-09-13T10:20:14.908" v="13367" actId="478"/>
          <ac:spMkLst>
            <pc:docMk/>
            <pc:sldMk cId="916624348" sldId="2145706676"/>
            <ac:spMk id="109" creationId="{4F788A86-EE4C-1A3F-2F15-71EBEB111371}"/>
          </ac:spMkLst>
        </pc:spChg>
        <pc:spChg chg="del">
          <ac:chgData name="WANONO, Nathan" userId="99f38b78-d58b-43dc-971c-441766c63fc4" providerId="ADAL" clId="{645A1AA1-1855-4064-9EB2-CD5361C30D88}" dt="2024-09-13T10:20:14.908" v="13367" actId="478"/>
          <ac:spMkLst>
            <pc:docMk/>
            <pc:sldMk cId="916624348" sldId="2145706676"/>
            <ac:spMk id="111" creationId="{3F49A0BA-8806-FF9C-EC68-9AFCC8A1AB7E}"/>
          </ac:spMkLst>
        </pc:spChg>
        <pc:spChg chg="del">
          <ac:chgData name="WANONO, Nathan" userId="99f38b78-d58b-43dc-971c-441766c63fc4" providerId="ADAL" clId="{645A1AA1-1855-4064-9EB2-CD5361C30D88}" dt="2024-09-13T10:20:14.908" v="13367" actId="478"/>
          <ac:spMkLst>
            <pc:docMk/>
            <pc:sldMk cId="916624348" sldId="2145706676"/>
            <ac:spMk id="112" creationId="{8CA56812-BF81-A155-53C8-3C7E1DAFD25F}"/>
          </ac:spMkLst>
        </pc:spChg>
        <pc:spChg chg="del">
          <ac:chgData name="WANONO, Nathan" userId="99f38b78-d58b-43dc-971c-441766c63fc4" providerId="ADAL" clId="{645A1AA1-1855-4064-9EB2-CD5361C30D88}" dt="2024-09-13T10:20:14.908" v="13367" actId="478"/>
          <ac:spMkLst>
            <pc:docMk/>
            <pc:sldMk cId="916624348" sldId="2145706676"/>
            <ac:spMk id="113" creationId="{9F8A6A9C-6501-1CEA-0331-7CFEEE393CC2}"/>
          </ac:spMkLst>
        </pc:spChg>
        <pc:spChg chg="del">
          <ac:chgData name="WANONO, Nathan" userId="99f38b78-d58b-43dc-971c-441766c63fc4" providerId="ADAL" clId="{645A1AA1-1855-4064-9EB2-CD5361C30D88}" dt="2024-09-13T10:20:14.908" v="13367" actId="478"/>
          <ac:spMkLst>
            <pc:docMk/>
            <pc:sldMk cId="916624348" sldId="2145706676"/>
            <ac:spMk id="114" creationId="{0D1ABF01-7DF2-BFA2-D783-9BFA6A396EF9}"/>
          </ac:spMkLst>
        </pc:spChg>
        <pc:spChg chg="del mod">
          <ac:chgData name="WANONO, Nathan" userId="99f38b78-d58b-43dc-971c-441766c63fc4" providerId="ADAL" clId="{645A1AA1-1855-4064-9EB2-CD5361C30D88}" dt="2024-09-13T10:20:40.705" v="13388" actId="478"/>
          <ac:spMkLst>
            <pc:docMk/>
            <pc:sldMk cId="916624348" sldId="2145706676"/>
            <ac:spMk id="115" creationId="{7B65198E-BBD9-5032-13C2-1AA4C80C1A5F}"/>
          </ac:spMkLst>
        </pc:spChg>
        <pc:grpChg chg="add del mod">
          <ac:chgData name="WANONO, Nathan" userId="99f38b78-d58b-43dc-971c-441766c63fc4" providerId="ADAL" clId="{645A1AA1-1855-4064-9EB2-CD5361C30D88}" dt="2024-09-13T13:07:28.001" v="16754" actId="21"/>
          <ac:grpSpMkLst>
            <pc:docMk/>
            <pc:sldMk cId="916624348" sldId="2145706676"/>
            <ac:grpSpMk id="7" creationId="{12315063-9D19-4926-D161-7D9C43A3F378}"/>
          </ac:grpSpMkLst>
        </pc:grpChg>
        <pc:picChg chg="del">
          <ac:chgData name="WANONO, Nathan" userId="99f38b78-d58b-43dc-971c-441766c63fc4" providerId="ADAL" clId="{645A1AA1-1855-4064-9EB2-CD5361C30D88}" dt="2024-09-13T10:20:14.908" v="13367" actId="478"/>
          <ac:picMkLst>
            <pc:docMk/>
            <pc:sldMk cId="916624348" sldId="2145706676"/>
            <ac:picMk id="4" creationId="{95376EF3-7FF3-8485-0D1C-5055EE86BE08}"/>
          </ac:picMkLst>
        </pc:picChg>
        <pc:picChg chg="del">
          <ac:chgData name="WANONO, Nathan" userId="99f38b78-d58b-43dc-971c-441766c63fc4" providerId="ADAL" clId="{645A1AA1-1855-4064-9EB2-CD5361C30D88}" dt="2024-09-13T10:20:14.908" v="13367" actId="478"/>
          <ac:picMkLst>
            <pc:docMk/>
            <pc:sldMk cId="916624348" sldId="2145706676"/>
            <ac:picMk id="5" creationId="{3972360C-1783-9FC3-14EC-6ECC11209FE7}"/>
          </ac:picMkLst>
        </pc:picChg>
        <pc:picChg chg="del">
          <ac:chgData name="WANONO, Nathan" userId="99f38b78-d58b-43dc-971c-441766c63fc4" providerId="ADAL" clId="{645A1AA1-1855-4064-9EB2-CD5361C30D88}" dt="2024-09-13T10:20:14.908" v="13367" actId="478"/>
          <ac:picMkLst>
            <pc:docMk/>
            <pc:sldMk cId="916624348" sldId="2145706676"/>
            <ac:picMk id="6" creationId="{6E0615AD-3394-1420-30A3-9EC115C85F4B}"/>
          </ac:picMkLst>
        </pc:picChg>
        <pc:picChg chg="del">
          <ac:chgData name="WANONO, Nathan" userId="99f38b78-d58b-43dc-971c-441766c63fc4" providerId="ADAL" clId="{645A1AA1-1855-4064-9EB2-CD5361C30D88}" dt="2024-09-13T10:20:14.908" v="13367" actId="478"/>
          <ac:picMkLst>
            <pc:docMk/>
            <pc:sldMk cId="916624348" sldId="2145706676"/>
            <ac:picMk id="8" creationId="{D0EA2A3A-ADFD-3364-AD70-E329E12EF038}"/>
          </ac:picMkLst>
        </pc:picChg>
        <pc:picChg chg="del">
          <ac:chgData name="WANONO, Nathan" userId="99f38b78-d58b-43dc-971c-441766c63fc4" providerId="ADAL" clId="{645A1AA1-1855-4064-9EB2-CD5361C30D88}" dt="2024-09-13T10:20:14.908" v="13367" actId="478"/>
          <ac:picMkLst>
            <pc:docMk/>
            <pc:sldMk cId="916624348" sldId="2145706676"/>
            <ac:picMk id="9" creationId="{10E9F739-000D-3F77-FCD9-5C782671FC91}"/>
          </ac:picMkLst>
        </pc:picChg>
        <pc:picChg chg="del">
          <ac:chgData name="WANONO, Nathan" userId="99f38b78-d58b-43dc-971c-441766c63fc4" providerId="ADAL" clId="{645A1AA1-1855-4064-9EB2-CD5361C30D88}" dt="2024-09-13T10:20:14.908" v="13367" actId="478"/>
          <ac:picMkLst>
            <pc:docMk/>
            <pc:sldMk cId="916624348" sldId="2145706676"/>
            <ac:picMk id="12" creationId="{F1941E5B-E4A0-848B-0A21-05D5EDBDD82D}"/>
          </ac:picMkLst>
        </pc:picChg>
        <pc:picChg chg="del">
          <ac:chgData name="WANONO, Nathan" userId="99f38b78-d58b-43dc-971c-441766c63fc4" providerId="ADAL" clId="{645A1AA1-1855-4064-9EB2-CD5361C30D88}" dt="2024-09-13T10:20:14.908" v="13367" actId="478"/>
          <ac:picMkLst>
            <pc:docMk/>
            <pc:sldMk cId="916624348" sldId="2145706676"/>
            <ac:picMk id="13" creationId="{8C4F05EA-A3E7-9EC3-DBB9-AFA449961B49}"/>
          </ac:picMkLst>
        </pc:picChg>
        <pc:picChg chg="del">
          <ac:chgData name="WANONO, Nathan" userId="99f38b78-d58b-43dc-971c-441766c63fc4" providerId="ADAL" clId="{645A1AA1-1855-4064-9EB2-CD5361C30D88}" dt="2024-09-13T10:20:14.908" v="13367" actId="478"/>
          <ac:picMkLst>
            <pc:docMk/>
            <pc:sldMk cId="916624348" sldId="2145706676"/>
            <ac:picMk id="101" creationId="{A620A819-CB9F-CEE5-0131-E43F7B45FC88}"/>
          </ac:picMkLst>
        </pc:picChg>
        <pc:picChg chg="del">
          <ac:chgData name="WANONO, Nathan" userId="99f38b78-d58b-43dc-971c-441766c63fc4" providerId="ADAL" clId="{645A1AA1-1855-4064-9EB2-CD5361C30D88}" dt="2024-09-13T10:20:14.908" v="13367" actId="478"/>
          <ac:picMkLst>
            <pc:docMk/>
            <pc:sldMk cId="916624348" sldId="2145706676"/>
            <ac:picMk id="102" creationId="{D4569BD3-4C5D-A508-96E5-1A392BCEDFAB}"/>
          </ac:picMkLst>
        </pc:picChg>
        <pc:picChg chg="del">
          <ac:chgData name="WANONO, Nathan" userId="99f38b78-d58b-43dc-971c-441766c63fc4" providerId="ADAL" clId="{645A1AA1-1855-4064-9EB2-CD5361C30D88}" dt="2024-09-13T10:20:14.908" v="13367" actId="478"/>
          <ac:picMkLst>
            <pc:docMk/>
            <pc:sldMk cId="916624348" sldId="2145706676"/>
            <ac:picMk id="104" creationId="{F2AB8389-5025-EB46-D652-17F0D35D6269}"/>
          </ac:picMkLst>
        </pc:picChg>
        <pc:picChg chg="del">
          <ac:chgData name="WANONO, Nathan" userId="99f38b78-d58b-43dc-971c-441766c63fc4" providerId="ADAL" clId="{645A1AA1-1855-4064-9EB2-CD5361C30D88}" dt="2024-09-13T10:20:14.908" v="13367" actId="478"/>
          <ac:picMkLst>
            <pc:docMk/>
            <pc:sldMk cId="916624348" sldId="2145706676"/>
            <ac:picMk id="105" creationId="{CC75D13B-CE5C-150E-4CBF-6A233B707C76}"/>
          </ac:picMkLst>
        </pc:picChg>
        <pc:picChg chg="del">
          <ac:chgData name="WANONO, Nathan" userId="99f38b78-d58b-43dc-971c-441766c63fc4" providerId="ADAL" clId="{645A1AA1-1855-4064-9EB2-CD5361C30D88}" dt="2024-09-13T10:20:14.908" v="13367" actId="478"/>
          <ac:picMkLst>
            <pc:docMk/>
            <pc:sldMk cId="916624348" sldId="2145706676"/>
            <ac:picMk id="106" creationId="{D4EEB1EC-3C31-763B-7697-DC1EE05AEA66}"/>
          </ac:picMkLst>
        </pc:picChg>
        <pc:picChg chg="del">
          <ac:chgData name="WANONO, Nathan" userId="99f38b78-d58b-43dc-971c-441766c63fc4" providerId="ADAL" clId="{645A1AA1-1855-4064-9EB2-CD5361C30D88}" dt="2024-09-13T10:20:14.908" v="13367" actId="478"/>
          <ac:picMkLst>
            <pc:docMk/>
            <pc:sldMk cId="916624348" sldId="2145706676"/>
            <ac:picMk id="107" creationId="{8A2CDE12-8922-51C2-A9B8-1698AE40D20F}"/>
          </ac:picMkLst>
        </pc:picChg>
        <pc:picChg chg="del">
          <ac:chgData name="WANONO, Nathan" userId="99f38b78-d58b-43dc-971c-441766c63fc4" providerId="ADAL" clId="{645A1AA1-1855-4064-9EB2-CD5361C30D88}" dt="2024-09-13T10:20:14.908" v="13367" actId="478"/>
          <ac:picMkLst>
            <pc:docMk/>
            <pc:sldMk cId="916624348" sldId="2145706676"/>
            <ac:picMk id="108" creationId="{D69414CC-6280-3D22-2443-56EBAC274DDE}"/>
          </ac:picMkLst>
        </pc:picChg>
        <pc:cxnChg chg="del mod">
          <ac:chgData name="WANONO, Nathan" userId="99f38b78-d58b-43dc-971c-441766c63fc4" providerId="ADAL" clId="{645A1AA1-1855-4064-9EB2-CD5361C30D88}" dt="2024-09-13T10:20:14.908" v="13367" actId="478"/>
          <ac:cxnSpMkLst>
            <pc:docMk/>
            <pc:sldMk cId="916624348" sldId="2145706676"/>
            <ac:cxnSpMk id="14" creationId="{EA5F0E3B-C305-288F-DA48-5045DF18ECB7}"/>
          </ac:cxnSpMkLst>
        </pc:cxnChg>
        <pc:cxnChg chg="del mod">
          <ac:chgData name="WANONO, Nathan" userId="99f38b78-d58b-43dc-971c-441766c63fc4" providerId="ADAL" clId="{645A1AA1-1855-4064-9EB2-CD5361C30D88}" dt="2024-09-13T10:20:14.908" v="13367" actId="478"/>
          <ac:cxnSpMkLst>
            <pc:docMk/>
            <pc:sldMk cId="916624348" sldId="2145706676"/>
            <ac:cxnSpMk id="19" creationId="{6F7399EC-985B-AB86-7D04-518684B683B3}"/>
          </ac:cxnSpMkLst>
        </pc:cxnChg>
        <pc:cxnChg chg="del mod">
          <ac:chgData name="WANONO, Nathan" userId="99f38b78-d58b-43dc-971c-441766c63fc4" providerId="ADAL" clId="{645A1AA1-1855-4064-9EB2-CD5361C30D88}" dt="2024-09-13T10:20:14.908" v="13367" actId="478"/>
          <ac:cxnSpMkLst>
            <pc:docMk/>
            <pc:sldMk cId="916624348" sldId="2145706676"/>
            <ac:cxnSpMk id="25" creationId="{AFE72A28-A018-48F2-97E0-7BA603E0698D}"/>
          </ac:cxnSpMkLst>
        </pc:cxnChg>
        <pc:cxnChg chg="del mod">
          <ac:chgData name="WANONO, Nathan" userId="99f38b78-d58b-43dc-971c-441766c63fc4" providerId="ADAL" clId="{645A1AA1-1855-4064-9EB2-CD5361C30D88}" dt="2024-09-13T10:20:14.908" v="13367" actId="478"/>
          <ac:cxnSpMkLst>
            <pc:docMk/>
            <pc:sldMk cId="916624348" sldId="2145706676"/>
            <ac:cxnSpMk id="28" creationId="{B3326C75-D50D-279E-E8AE-17840C1AE559}"/>
          </ac:cxnSpMkLst>
        </pc:cxnChg>
        <pc:cxnChg chg="del mod">
          <ac:chgData name="WANONO, Nathan" userId="99f38b78-d58b-43dc-971c-441766c63fc4" providerId="ADAL" clId="{645A1AA1-1855-4064-9EB2-CD5361C30D88}" dt="2024-09-13T10:20:14.908" v="13367" actId="478"/>
          <ac:cxnSpMkLst>
            <pc:docMk/>
            <pc:sldMk cId="916624348" sldId="2145706676"/>
            <ac:cxnSpMk id="31" creationId="{B2AB350F-155C-F2F4-20EB-D7A5FA5F4F4D}"/>
          </ac:cxnSpMkLst>
        </pc:cxnChg>
        <pc:cxnChg chg="del mod">
          <ac:chgData name="WANONO, Nathan" userId="99f38b78-d58b-43dc-971c-441766c63fc4" providerId="ADAL" clId="{645A1AA1-1855-4064-9EB2-CD5361C30D88}" dt="2024-09-13T10:20:14.908" v="13367" actId="478"/>
          <ac:cxnSpMkLst>
            <pc:docMk/>
            <pc:sldMk cId="916624348" sldId="2145706676"/>
            <ac:cxnSpMk id="98" creationId="{7985BFEF-26CB-A8D6-0CB1-24C03A4C120C}"/>
          </ac:cxnSpMkLst>
        </pc:cxnChg>
      </pc:sldChg>
      <pc:sldChg chg="addSp delSp modSp add mod">
        <pc:chgData name="WANONO, Nathan" userId="99f38b78-d58b-43dc-971c-441766c63fc4" providerId="ADAL" clId="{645A1AA1-1855-4064-9EB2-CD5361C30D88}" dt="2024-09-13T15:34:06.836" v="18111" actId="207"/>
        <pc:sldMkLst>
          <pc:docMk/>
          <pc:sldMk cId="1660821456" sldId="2145706677"/>
        </pc:sldMkLst>
        <pc:spChg chg="mod">
          <ac:chgData name="WANONO, Nathan" userId="99f38b78-d58b-43dc-971c-441766c63fc4" providerId="ADAL" clId="{645A1AA1-1855-4064-9EB2-CD5361C30D88}" dt="2024-09-13T10:22:34.802" v="13625" actId="20577"/>
          <ac:spMkLst>
            <pc:docMk/>
            <pc:sldMk cId="1660821456" sldId="2145706677"/>
            <ac:spMk id="3" creationId="{F1261247-D114-B15E-D6B0-FD5D1DC5DAEA}"/>
          </ac:spMkLst>
        </pc:spChg>
        <pc:spChg chg="mod">
          <ac:chgData name="WANONO, Nathan" userId="99f38b78-d58b-43dc-971c-441766c63fc4" providerId="ADAL" clId="{645A1AA1-1855-4064-9EB2-CD5361C30D88}" dt="2024-09-13T13:07:30.185" v="16755"/>
          <ac:spMkLst>
            <pc:docMk/>
            <pc:sldMk cId="1660821456" sldId="2145706677"/>
            <ac:spMk id="5" creationId="{F937939D-49B6-78E3-E112-64401E57F4A3}"/>
          </ac:spMkLst>
        </pc:spChg>
        <pc:spChg chg="mod">
          <ac:chgData name="WANONO, Nathan" userId="99f38b78-d58b-43dc-971c-441766c63fc4" providerId="ADAL" clId="{645A1AA1-1855-4064-9EB2-CD5361C30D88}" dt="2024-09-13T13:07:30.185" v="16755"/>
          <ac:spMkLst>
            <pc:docMk/>
            <pc:sldMk cId="1660821456" sldId="2145706677"/>
            <ac:spMk id="6" creationId="{0ABC6623-94D5-47DF-EA37-88D705C0DB85}"/>
          </ac:spMkLst>
        </pc:spChg>
        <pc:spChg chg="mod">
          <ac:chgData name="WANONO, Nathan" userId="99f38b78-d58b-43dc-971c-441766c63fc4" providerId="ADAL" clId="{645A1AA1-1855-4064-9EB2-CD5361C30D88}" dt="2024-09-13T13:07:30.185" v="16755"/>
          <ac:spMkLst>
            <pc:docMk/>
            <pc:sldMk cId="1660821456" sldId="2145706677"/>
            <ac:spMk id="8" creationId="{4B289152-1B67-188B-2767-1468F961EB92}"/>
          </ac:spMkLst>
        </pc:spChg>
        <pc:spChg chg="mod">
          <ac:chgData name="WANONO, Nathan" userId="99f38b78-d58b-43dc-971c-441766c63fc4" providerId="ADAL" clId="{645A1AA1-1855-4064-9EB2-CD5361C30D88}" dt="2024-09-13T13:07:30.185" v="16755"/>
          <ac:spMkLst>
            <pc:docMk/>
            <pc:sldMk cId="1660821456" sldId="2145706677"/>
            <ac:spMk id="16" creationId="{AF337312-02B5-50E7-952A-7F9A41E4B944}"/>
          </ac:spMkLst>
        </pc:spChg>
        <pc:spChg chg="mod">
          <ac:chgData name="WANONO, Nathan" userId="99f38b78-d58b-43dc-971c-441766c63fc4" providerId="ADAL" clId="{645A1AA1-1855-4064-9EB2-CD5361C30D88}" dt="2024-09-13T13:07:30.185" v="16755"/>
          <ac:spMkLst>
            <pc:docMk/>
            <pc:sldMk cId="1660821456" sldId="2145706677"/>
            <ac:spMk id="17" creationId="{977D9A77-D440-2B96-A3C6-A7587DBDEE37}"/>
          </ac:spMkLst>
        </pc:spChg>
        <pc:spChg chg="del">
          <ac:chgData name="WANONO, Nathan" userId="99f38b78-d58b-43dc-971c-441766c63fc4" providerId="ADAL" clId="{645A1AA1-1855-4064-9EB2-CD5361C30D88}" dt="2024-09-13T10:24:13.095" v="13626" actId="478"/>
          <ac:spMkLst>
            <pc:docMk/>
            <pc:sldMk cId="1660821456" sldId="2145706677"/>
            <ac:spMk id="21" creationId="{0CC04755-86DD-9338-26ED-E298CEE25688}"/>
          </ac:spMkLst>
        </pc:spChg>
        <pc:spChg chg="del">
          <ac:chgData name="WANONO, Nathan" userId="99f38b78-d58b-43dc-971c-441766c63fc4" providerId="ADAL" clId="{645A1AA1-1855-4064-9EB2-CD5361C30D88}" dt="2024-09-13T10:24:13.095" v="13626" actId="478"/>
          <ac:spMkLst>
            <pc:docMk/>
            <pc:sldMk cId="1660821456" sldId="2145706677"/>
            <ac:spMk id="22" creationId="{E1C545D9-A34A-6F24-02F0-284F38D7C9F7}"/>
          </ac:spMkLst>
        </pc:spChg>
        <pc:spChg chg="del">
          <ac:chgData name="WANONO, Nathan" userId="99f38b78-d58b-43dc-971c-441766c63fc4" providerId="ADAL" clId="{645A1AA1-1855-4064-9EB2-CD5361C30D88}" dt="2024-09-13T10:24:13.095" v="13626" actId="478"/>
          <ac:spMkLst>
            <pc:docMk/>
            <pc:sldMk cId="1660821456" sldId="2145706677"/>
            <ac:spMk id="23" creationId="{FB666075-3464-DE96-B5BD-E620B1089E13}"/>
          </ac:spMkLst>
        </pc:spChg>
        <pc:spChg chg="mod">
          <ac:chgData name="WANONO, Nathan" userId="99f38b78-d58b-43dc-971c-441766c63fc4" providerId="ADAL" clId="{645A1AA1-1855-4064-9EB2-CD5361C30D88}" dt="2024-09-13T15:34:06.836" v="18111" actId="207"/>
          <ac:spMkLst>
            <pc:docMk/>
            <pc:sldMk cId="1660821456" sldId="2145706677"/>
            <ac:spMk id="103" creationId="{1BC49AF2-85A3-7246-B2EC-46FDF8E9CC5D}"/>
          </ac:spMkLst>
        </pc:spChg>
        <pc:grpChg chg="add mod">
          <ac:chgData name="WANONO, Nathan" userId="99f38b78-d58b-43dc-971c-441766c63fc4" providerId="ADAL" clId="{645A1AA1-1855-4064-9EB2-CD5361C30D88}" dt="2024-09-13T13:07:30.185" v="16755"/>
          <ac:grpSpMkLst>
            <pc:docMk/>
            <pc:sldMk cId="1660821456" sldId="2145706677"/>
            <ac:grpSpMk id="4" creationId="{12315063-9D19-4926-D161-7D9C43A3F378}"/>
          </ac:grpSpMkLst>
        </pc:grpChg>
        <pc:picChg chg="del">
          <ac:chgData name="WANONO, Nathan" userId="99f38b78-d58b-43dc-971c-441766c63fc4" providerId="ADAL" clId="{645A1AA1-1855-4064-9EB2-CD5361C30D88}" dt="2024-09-13T10:24:13.095" v="13626" actId="478"/>
          <ac:picMkLst>
            <pc:docMk/>
            <pc:sldMk cId="1660821456" sldId="2145706677"/>
            <ac:picMk id="2" creationId="{35B94587-3978-3D0A-D6B9-E51E34FD3B49}"/>
          </ac:picMkLst>
        </pc:picChg>
        <pc:picChg chg="del">
          <ac:chgData name="WANONO, Nathan" userId="99f38b78-d58b-43dc-971c-441766c63fc4" providerId="ADAL" clId="{645A1AA1-1855-4064-9EB2-CD5361C30D88}" dt="2024-09-13T10:24:13.095" v="13626" actId="478"/>
          <ac:picMkLst>
            <pc:docMk/>
            <pc:sldMk cId="1660821456" sldId="2145706677"/>
            <ac:picMk id="7" creationId="{3BF0A289-7848-B14A-D1E7-1A43905A20DE}"/>
          </ac:picMkLst>
        </pc:picChg>
        <pc:picChg chg="del">
          <ac:chgData name="WANONO, Nathan" userId="99f38b78-d58b-43dc-971c-441766c63fc4" providerId="ADAL" clId="{645A1AA1-1855-4064-9EB2-CD5361C30D88}" dt="2024-09-13T10:24:13.095" v="13626" actId="478"/>
          <ac:picMkLst>
            <pc:docMk/>
            <pc:sldMk cId="1660821456" sldId="2145706677"/>
            <ac:picMk id="10" creationId="{57E073A0-2CE3-ADC2-B841-ACAC88E64F23}"/>
          </ac:picMkLst>
        </pc:picChg>
        <pc:cxnChg chg="del">
          <ac:chgData name="WANONO, Nathan" userId="99f38b78-d58b-43dc-971c-441766c63fc4" providerId="ADAL" clId="{645A1AA1-1855-4064-9EB2-CD5361C30D88}" dt="2024-09-13T10:24:13.095" v="13626" actId="478"/>
          <ac:cxnSpMkLst>
            <pc:docMk/>
            <pc:sldMk cId="1660821456" sldId="2145706677"/>
            <ac:cxnSpMk id="11" creationId="{DD588C2F-0F4F-D95F-011D-9EF6ABA974EF}"/>
          </ac:cxnSpMkLst>
        </pc:cxnChg>
        <pc:cxnChg chg="del">
          <ac:chgData name="WANONO, Nathan" userId="99f38b78-d58b-43dc-971c-441766c63fc4" providerId="ADAL" clId="{645A1AA1-1855-4064-9EB2-CD5361C30D88}" dt="2024-09-13T10:24:13.095" v="13626" actId="478"/>
          <ac:cxnSpMkLst>
            <pc:docMk/>
            <pc:sldMk cId="1660821456" sldId="2145706677"/>
            <ac:cxnSpMk id="15" creationId="{C0820795-FF00-577B-3929-0191F697EC14}"/>
          </ac:cxnSpMkLst>
        </pc:cxnChg>
        <pc:cxnChg chg="del">
          <ac:chgData name="WANONO, Nathan" userId="99f38b78-d58b-43dc-971c-441766c63fc4" providerId="ADAL" clId="{645A1AA1-1855-4064-9EB2-CD5361C30D88}" dt="2024-09-13T10:24:13.095" v="13626" actId="478"/>
          <ac:cxnSpMkLst>
            <pc:docMk/>
            <pc:sldMk cId="1660821456" sldId="2145706677"/>
            <ac:cxnSpMk id="18" creationId="{3CD411EF-D7AB-52DB-9BC2-46D5DAD93262}"/>
          </ac:cxnSpMkLst>
        </pc:cxnChg>
      </pc:sldChg>
      <pc:sldChg chg="modSp add mod ord">
        <pc:chgData name="WANONO, Nathan" userId="99f38b78-d58b-43dc-971c-441766c63fc4" providerId="ADAL" clId="{645A1AA1-1855-4064-9EB2-CD5361C30D88}" dt="2024-09-13T10:36:49.276" v="14738" actId="20577"/>
        <pc:sldMkLst>
          <pc:docMk/>
          <pc:sldMk cId="3926060532" sldId="2145706678"/>
        </pc:sldMkLst>
        <pc:spChg chg="mod">
          <ac:chgData name="WANONO, Nathan" userId="99f38b78-d58b-43dc-971c-441766c63fc4" providerId="ADAL" clId="{645A1AA1-1855-4064-9EB2-CD5361C30D88}" dt="2024-09-13T10:36:49.276" v="14738" actId="20577"/>
          <ac:spMkLst>
            <pc:docMk/>
            <pc:sldMk cId="3926060532" sldId="2145706678"/>
            <ac:spMk id="15" creationId="{8D532E29-48E6-4DAB-AA82-2A90F9990E15}"/>
          </ac:spMkLst>
        </pc:spChg>
      </pc:sldChg>
      <pc:sldChg chg="delSp modSp add mod">
        <pc:chgData name="WANONO, Nathan" userId="99f38b78-d58b-43dc-971c-441766c63fc4" providerId="ADAL" clId="{645A1AA1-1855-4064-9EB2-CD5361C30D88}" dt="2024-09-13T15:38:40.979" v="18119" actId="6549"/>
        <pc:sldMkLst>
          <pc:docMk/>
          <pc:sldMk cId="1092881911" sldId="2145706679"/>
        </pc:sldMkLst>
        <pc:spChg chg="mod">
          <ac:chgData name="WANONO, Nathan" userId="99f38b78-d58b-43dc-971c-441766c63fc4" providerId="ADAL" clId="{645A1AA1-1855-4064-9EB2-CD5361C30D88}" dt="2024-09-13T15:38:40.979" v="18119" actId="6549"/>
          <ac:spMkLst>
            <pc:docMk/>
            <pc:sldMk cId="1092881911" sldId="2145706679"/>
            <ac:spMk id="2" creationId="{DD51D6D2-5457-0D3D-16AB-33CE6B7ED2E8}"/>
          </ac:spMkLst>
        </pc:spChg>
        <pc:spChg chg="mod">
          <ac:chgData name="WANONO, Nathan" userId="99f38b78-d58b-43dc-971c-441766c63fc4" providerId="ADAL" clId="{645A1AA1-1855-4064-9EB2-CD5361C30D88}" dt="2024-09-13T12:33:48.132" v="15580" actId="207"/>
          <ac:spMkLst>
            <pc:docMk/>
            <pc:sldMk cId="1092881911" sldId="2145706679"/>
            <ac:spMk id="3" creationId="{F1261247-D114-B15E-D6B0-FD5D1DC5DAEA}"/>
          </ac:spMkLst>
        </pc:spChg>
        <pc:grpChg chg="del">
          <ac:chgData name="WANONO, Nathan" userId="99f38b78-d58b-43dc-971c-441766c63fc4" providerId="ADAL" clId="{645A1AA1-1855-4064-9EB2-CD5361C30D88}" dt="2024-09-13T12:32:44.420" v="15478" actId="478"/>
          <ac:grpSpMkLst>
            <pc:docMk/>
            <pc:sldMk cId="1092881911" sldId="2145706679"/>
            <ac:grpSpMk id="7" creationId="{12315063-9D19-4926-D161-7D9C43A3F378}"/>
          </ac:grpSpMkLst>
        </pc:grpChg>
      </pc:sldChg>
      <pc:sldChg chg="modSp add mod ord">
        <pc:chgData name="WANONO, Nathan" userId="99f38b78-d58b-43dc-971c-441766c63fc4" providerId="ADAL" clId="{645A1AA1-1855-4064-9EB2-CD5361C30D88}" dt="2024-09-13T12:48:14.164" v="16192"/>
        <pc:sldMkLst>
          <pc:docMk/>
          <pc:sldMk cId="222319821" sldId="2145706680"/>
        </pc:sldMkLst>
        <pc:spChg chg="mod">
          <ac:chgData name="WANONO, Nathan" userId="99f38b78-d58b-43dc-971c-441766c63fc4" providerId="ADAL" clId="{645A1AA1-1855-4064-9EB2-CD5361C30D88}" dt="2024-09-13T12:48:14.164" v="16192"/>
          <ac:spMkLst>
            <pc:docMk/>
            <pc:sldMk cId="222319821" sldId="2145706680"/>
            <ac:spMk id="15" creationId="{8D532E29-48E6-4DAB-AA82-2A90F9990E15}"/>
          </ac:spMkLst>
        </pc:spChg>
      </pc:sldChg>
      <pc:sldChg chg="add del">
        <pc:chgData name="WANONO, Nathan" userId="99f38b78-d58b-43dc-971c-441766c63fc4" providerId="ADAL" clId="{645A1AA1-1855-4064-9EB2-CD5361C30D88}" dt="2024-09-13T12:32:40.507" v="15477" actId="47"/>
        <pc:sldMkLst>
          <pc:docMk/>
          <pc:sldMk cId="466602467" sldId="2145706680"/>
        </pc:sldMkLst>
      </pc:sldChg>
      <pc:sldChg chg="addSp delSp modSp add mod">
        <pc:chgData name="WANONO, Nathan" userId="99f38b78-d58b-43dc-971c-441766c63fc4" providerId="ADAL" clId="{645A1AA1-1855-4064-9EB2-CD5361C30D88}" dt="2024-09-13T15:36:49.940" v="18117" actId="6549"/>
        <pc:sldMkLst>
          <pc:docMk/>
          <pc:sldMk cId="2884599371" sldId="2145706681"/>
        </pc:sldMkLst>
        <pc:spChg chg="add mod">
          <ac:chgData name="WANONO, Nathan" userId="99f38b78-d58b-43dc-971c-441766c63fc4" providerId="ADAL" clId="{645A1AA1-1855-4064-9EB2-CD5361C30D88}" dt="2024-09-13T13:26:11.790" v="17390" actId="1076"/>
          <ac:spMkLst>
            <pc:docMk/>
            <pc:sldMk cId="2884599371" sldId="2145706681"/>
            <ac:spMk id="2" creationId="{D5578DF8-C29E-4987-60D8-5E2530594820}"/>
          </ac:spMkLst>
        </pc:spChg>
        <pc:spChg chg="mod">
          <ac:chgData name="WANONO, Nathan" userId="99f38b78-d58b-43dc-971c-441766c63fc4" providerId="ADAL" clId="{645A1AA1-1855-4064-9EB2-CD5361C30D88}" dt="2024-09-13T13:18:31.923" v="16968" actId="20577"/>
          <ac:spMkLst>
            <pc:docMk/>
            <pc:sldMk cId="2884599371" sldId="2145706681"/>
            <ac:spMk id="3" creationId="{F1261247-D114-B15E-D6B0-FD5D1DC5DAEA}"/>
          </ac:spMkLst>
        </pc:spChg>
        <pc:spChg chg="mod">
          <ac:chgData name="WANONO, Nathan" userId="99f38b78-d58b-43dc-971c-441766c63fc4" providerId="ADAL" clId="{645A1AA1-1855-4064-9EB2-CD5361C30D88}" dt="2024-09-13T15:36:49.940" v="18117" actId="6549"/>
          <ac:spMkLst>
            <pc:docMk/>
            <pc:sldMk cId="2884599371" sldId="2145706681"/>
            <ac:spMk id="103" creationId="{1BC49AF2-85A3-7246-B2EC-46FDF8E9CC5D}"/>
          </ac:spMkLst>
        </pc:spChg>
        <pc:grpChg chg="del">
          <ac:chgData name="WANONO, Nathan" userId="99f38b78-d58b-43dc-971c-441766c63fc4" providerId="ADAL" clId="{645A1AA1-1855-4064-9EB2-CD5361C30D88}" dt="2024-09-13T13:16:41.729" v="16770" actId="478"/>
          <ac:grpSpMkLst>
            <pc:docMk/>
            <pc:sldMk cId="2884599371" sldId="2145706681"/>
            <ac:grpSpMk id="4" creationId="{12315063-9D19-4926-D161-7D9C43A3F378}"/>
          </ac:grpSpMkLst>
        </pc:grpChg>
      </pc:sldChg>
      <pc:sldChg chg="modSp add mod ord">
        <pc:chgData name="WANONO, Nathan" userId="99f38b78-d58b-43dc-971c-441766c63fc4" providerId="ADAL" clId="{645A1AA1-1855-4064-9EB2-CD5361C30D88}" dt="2024-09-13T13:30:08.397" v="17903" actId="20577"/>
        <pc:sldMkLst>
          <pc:docMk/>
          <pc:sldMk cId="1526429438" sldId="2145706682"/>
        </pc:sldMkLst>
        <pc:spChg chg="mod">
          <ac:chgData name="WANONO, Nathan" userId="99f38b78-d58b-43dc-971c-441766c63fc4" providerId="ADAL" clId="{645A1AA1-1855-4064-9EB2-CD5361C30D88}" dt="2024-09-13T13:30:08.397" v="17903" actId="20577"/>
          <ac:spMkLst>
            <pc:docMk/>
            <pc:sldMk cId="1526429438" sldId="2145706682"/>
            <ac:spMk id="15" creationId="{8D532E29-48E6-4DAB-AA82-2A90F9990E15}"/>
          </ac:spMkLst>
        </pc:spChg>
      </pc:sldChg>
      <pc:sldChg chg="modSp mod">
        <pc:chgData name="WANONO, Nathan" userId="99f38b78-d58b-43dc-971c-441766c63fc4" providerId="ADAL" clId="{645A1AA1-1855-4064-9EB2-CD5361C30D88}" dt="2024-09-17T11:11:41.991" v="18419" actId="113"/>
        <pc:sldMkLst>
          <pc:docMk/>
          <pc:sldMk cId="400549614" sldId="2145706683"/>
        </pc:sldMkLst>
        <pc:spChg chg="mod">
          <ac:chgData name="WANONO, Nathan" userId="99f38b78-d58b-43dc-971c-441766c63fc4" providerId="ADAL" clId="{645A1AA1-1855-4064-9EB2-CD5361C30D88}" dt="2024-09-17T11:06:24.840" v="18416" actId="1036"/>
          <ac:spMkLst>
            <pc:docMk/>
            <pc:sldMk cId="400549614" sldId="2145706683"/>
            <ac:spMk id="15" creationId="{B7838713-E15B-B6FA-8A29-B7A6AE78D8FB}"/>
          </ac:spMkLst>
        </pc:spChg>
        <pc:spChg chg="mod">
          <ac:chgData name="WANONO, Nathan" userId="99f38b78-d58b-43dc-971c-441766c63fc4" providerId="ADAL" clId="{645A1AA1-1855-4064-9EB2-CD5361C30D88}" dt="2024-09-17T11:06:24.840" v="18416" actId="1036"/>
          <ac:spMkLst>
            <pc:docMk/>
            <pc:sldMk cId="400549614" sldId="2145706683"/>
            <ac:spMk id="16" creationId="{05831492-44CB-0919-D6C1-84387E7012CC}"/>
          </ac:spMkLst>
        </pc:spChg>
        <pc:spChg chg="mod">
          <ac:chgData name="WANONO, Nathan" userId="99f38b78-d58b-43dc-971c-441766c63fc4" providerId="ADAL" clId="{645A1AA1-1855-4064-9EB2-CD5361C30D88}" dt="2024-09-17T11:11:41.991" v="18419" actId="113"/>
          <ac:spMkLst>
            <pc:docMk/>
            <pc:sldMk cId="400549614" sldId="2145706683"/>
            <ac:spMk id="17" creationId="{D02C9E30-BE4F-EF63-7F95-E797B208D6B8}"/>
          </ac:spMkLst>
        </pc:spChg>
        <pc:spChg chg="mod">
          <ac:chgData name="WANONO, Nathan" userId="99f38b78-d58b-43dc-971c-441766c63fc4" providerId="ADAL" clId="{645A1AA1-1855-4064-9EB2-CD5361C30D88}" dt="2024-09-17T10:59:39.535" v="18131" actId="1076"/>
          <ac:spMkLst>
            <pc:docMk/>
            <pc:sldMk cId="400549614" sldId="2145706683"/>
            <ac:spMk id="103" creationId="{1BC49AF2-85A3-7246-B2EC-46FDF8E9CC5D}"/>
          </ac:spMkLst>
        </pc:spChg>
        <pc:spChg chg="mod">
          <ac:chgData name="WANONO, Nathan" userId="99f38b78-d58b-43dc-971c-441766c63fc4" providerId="ADAL" clId="{645A1AA1-1855-4064-9EB2-CD5361C30D88}" dt="2024-09-17T11:06:17.954" v="18397" actId="1035"/>
          <ac:spMkLst>
            <pc:docMk/>
            <pc:sldMk cId="400549614" sldId="2145706683"/>
            <ac:spMk id="109" creationId="{4F788A86-EE4C-1A3F-2F15-71EBEB111371}"/>
          </ac:spMkLst>
        </pc:spChg>
        <pc:spChg chg="mod">
          <ac:chgData name="WANONO, Nathan" userId="99f38b78-d58b-43dc-971c-441766c63fc4" providerId="ADAL" clId="{645A1AA1-1855-4064-9EB2-CD5361C30D88}" dt="2024-09-17T11:06:17.954" v="18397" actId="1035"/>
          <ac:spMkLst>
            <pc:docMk/>
            <pc:sldMk cId="400549614" sldId="2145706683"/>
            <ac:spMk id="111" creationId="{3F49A0BA-8806-FF9C-EC68-9AFCC8A1AB7E}"/>
          </ac:spMkLst>
        </pc:spChg>
        <pc:spChg chg="mod">
          <ac:chgData name="WANONO, Nathan" userId="99f38b78-d58b-43dc-971c-441766c63fc4" providerId="ADAL" clId="{645A1AA1-1855-4064-9EB2-CD5361C30D88}" dt="2024-09-17T11:06:17.954" v="18397" actId="1035"/>
          <ac:spMkLst>
            <pc:docMk/>
            <pc:sldMk cId="400549614" sldId="2145706683"/>
            <ac:spMk id="112" creationId="{8CA56812-BF81-A155-53C8-3C7E1DAFD25F}"/>
          </ac:spMkLst>
        </pc:spChg>
        <pc:spChg chg="mod">
          <ac:chgData name="WANONO, Nathan" userId="99f38b78-d58b-43dc-971c-441766c63fc4" providerId="ADAL" clId="{645A1AA1-1855-4064-9EB2-CD5361C30D88}" dt="2024-09-17T11:06:17.954" v="18397" actId="1035"/>
          <ac:spMkLst>
            <pc:docMk/>
            <pc:sldMk cId="400549614" sldId="2145706683"/>
            <ac:spMk id="113" creationId="{9F8A6A9C-6501-1CEA-0331-7CFEEE393CC2}"/>
          </ac:spMkLst>
        </pc:spChg>
        <pc:spChg chg="mod">
          <ac:chgData name="WANONO, Nathan" userId="99f38b78-d58b-43dc-971c-441766c63fc4" providerId="ADAL" clId="{645A1AA1-1855-4064-9EB2-CD5361C30D88}" dt="2024-09-17T11:06:17.954" v="18397" actId="1035"/>
          <ac:spMkLst>
            <pc:docMk/>
            <pc:sldMk cId="400549614" sldId="2145706683"/>
            <ac:spMk id="114" creationId="{0D1ABF01-7DF2-BFA2-D783-9BFA6A396EF9}"/>
          </ac:spMkLst>
        </pc:spChg>
        <pc:picChg chg="mod">
          <ac:chgData name="WANONO, Nathan" userId="99f38b78-d58b-43dc-971c-441766c63fc4" providerId="ADAL" clId="{645A1AA1-1855-4064-9EB2-CD5361C30D88}" dt="2024-09-17T11:06:24.840" v="18416" actId="1036"/>
          <ac:picMkLst>
            <pc:docMk/>
            <pc:sldMk cId="400549614" sldId="2145706683"/>
            <ac:picMk id="2" creationId="{FAB2F430-7340-DAF7-1FDF-2A4798D0DEF3}"/>
          </ac:picMkLst>
        </pc:picChg>
        <pc:picChg chg="mod">
          <ac:chgData name="WANONO, Nathan" userId="99f38b78-d58b-43dc-971c-441766c63fc4" providerId="ADAL" clId="{645A1AA1-1855-4064-9EB2-CD5361C30D88}" dt="2024-09-17T11:06:17.954" v="18397" actId="1035"/>
          <ac:picMkLst>
            <pc:docMk/>
            <pc:sldMk cId="400549614" sldId="2145706683"/>
            <ac:picMk id="4" creationId="{95376EF3-7FF3-8485-0D1C-5055EE86BE08}"/>
          </ac:picMkLst>
        </pc:picChg>
        <pc:picChg chg="mod">
          <ac:chgData name="WANONO, Nathan" userId="99f38b78-d58b-43dc-971c-441766c63fc4" providerId="ADAL" clId="{645A1AA1-1855-4064-9EB2-CD5361C30D88}" dt="2024-09-17T11:06:17.954" v="18397" actId="1035"/>
          <ac:picMkLst>
            <pc:docMk/>
            <pc:sldMk cId="400549614" sldId="2145706683"/>
            <ac:picMk id="5" creationId="{3972360C-1783-9FC3-14EC-6ECC11209FE7}"/>
          </ac:picMkLst>
        </pc:picChg>
        <pc:picChg chg="mod">
          <ac:chgData name="WANONO, Nathan" userId="99f38b78-d58b-43dc-971c-441766c63fc4" providerId="ADAL" clId="{645A1AA1-1855-4064-9EB2-CD5361C30D88}" dt="2024-09-17T11:06:17.954" v="18397" actId="1035"/>
          <ac:picMkLst>
            <pc:docMk/>
            <pc:sldMk cId="400549614" sldId="2145706683"/>
            <ac:picMk id="6" creationId="{6E0615AD-3394-1420-30A3-9EC115C85F4B}"/>
          </ac:picMkLst>
        </pc:picChg>
        <pc:picChg chg="mod">
          <ac:chgData name="WANONO, Nathan" userId="99f38b78-d58b-43dc-971c-441766c63fc4" providerId="ADAL" clId="{645A1AA1-1855-4064-9EB2-CD5361C30D88}" dt="2024-09-17T11:06:24.840" v="18416" actId="1036"/>
          <ac:picMkLst>
            <pc:docMk/>
            <pc:sldMk cId="400549614" sldId="2145706683"/>
            <ac:picMk id="7" creationId="{A8B0156D-312A-7442-3562-D5F0FAFEC930}"/>
          </ac:picMkLst>
        </pc:picChg>
        <pc:picChg chg="mod">
          <ac:chgData name="WANONO, Nathan" userId="99f38b78-d58b-43dc-971c-441766c63fc4" providerId="ADAL" clId="{645A1AA1-1855-4064-9EB2-CD5361C30D88}" dt="2024-09-17T11:06:17.954" v="18397" actId="1035"/>
          <ac:picMkLst>
            <pc:docMk/>
            <pc:sldMk cId="400549614" sldId="2145706683"/>
            <ac:picMk id="8" creationId="{D0EA2A3A-ADFD-3364-AD70-E329E12EF038}"/>
          </ac:picMkLst>
        </pc:picChg>
        <pc:picChg chg="mod">
          <ac:chgData name="WANONO, Nathan" userId="99f38b78-d58b-43dc-971c-441766c63fc4" providerId="ADAL" clId="{645A1AA1-1855-4064-9EB2-CD5361C30D88}" dt="2024-09-17T11:06:17.954" v="18397" actId="1035"/>
          <ac:picMkLst>
            <pc:docMk/>
            <pc:sldMk cId="400549614" sldId="2145706683"/>
            <ac:picMk id="9" creationId="{10E9F739-000D-3F77-FCD9-5C782671FC91}"/>
          </ac:picMkLst>
        </pc:picChg>
        <pc:picChg chg="mod">
          <ac:chgData name="WANONO, Nathan" userId="99f38b78-d58b-43dc-971c-441766c63fc4" providerId="ADAL" clId="{645A1AA1-1855-4064-9EB2-CD5361C30D88}" dt="2024-09-17T11:06:17.954" v="18397" actId="1035"/>
          <ac:picMkLst>
            <pc:docMk/>
            <pc:sldMk cId="400549614" sldId="2145706683"/>
            <ac:picMk id="12" creationId="{F1941E5B-E4A0-848B-0A21-05D5EDBDD82D}"/>
          </ac:picMkLst>
        </pc:picChg>
        <pc:picChg chg="mod">
          <ac:chgData name="WANONO, Nathan" userId="99f38b78-d58b-43dc-971c-441766c63fc4" providerId="ADAL" clId="{645A1AA1-1855-4064-9EB2-CD5361C30D88}" dt="2024-09-17T11:06:17.954" v="18397" actId="1035"/>
          <ac:picMkLst>
            <pc:docMk/>
            <pc:sldMk cId="400549614" sldId="2145706683"/>
            <ac:picMk id="13" creationId="{8C4F05EA-A3E7-9EC3-DBB9-AFA449961B49}"/>
          </ac:picMkLst>
        </pc:picChg>
        <pc:picChg chg="mod">
          <ac:chgData name="WANONO, Nathan" userId="99f38b78-d58b-43dc-971c-441766c63fc4" providerId="ADAL" clId="{645A1AA1-1855-4064-9EB2-CD5361C30D88}" dt="2024-09-17T11:06:17.954" v="18397" actId="1035"/>
          <ac:picMkLst>
            <pc:docMk/>
            <pc:sldMk cId="400549614" sldId="2145706683"/>
            <ac:picMk id="101" creationId="{A620A819-CB9F-CEE5-0131-E43F7B45FC88}"/>
          </ac:picMkLst>
        </pc:picChg>
        <pc:picChg chg="mod">
          <ac:chgData name="WANONO, Nathan" userId="99f38b78-d58b-43dc-971c-441766c63fc4" providerId="ADAL" clId="{645A1AA1-1855-4064-9EB2-CD5361C30D88}" dt="2024-09-17T11:06:17.954" v="18397" actId="1035"/>
          <ac:picMkLst>
            <pc:docMk/>
            <pc:sldMk cId="400549614" sldId="2145706683"/>
            <ac:picMk id="102" creationId="{D4569BD3-4C5D-A508-96E5-1A392BCEDFAB}"/>
          </ac:picMkLst>
        </pc:picChg>
        <pc:picChg chg="mod">
          <ac:chgData name="WANONO, Nathan" userId="99f38b78-d58b-43dc-971c-441766c63fc4" providerId="ADAL" clId="{645A1AA1-1855-4064-9EB2-CD5361C30D88}" dt="2024-09-17T11:06:17.954" v="18397" actId="1035"/>
          <ac:picMkLst>
            <pc:docMk/>
            <pc:sldMk cId="400549614" sldId="2145706683"/>
            <ac:picMk id="104" creationId="{F2AB8389-5025-EB46-D652-17F0D35D6269}"/>
          </ac:picMkLst>
        </pc:picChg>
        <pc:picChg chg="mod">
          <ac:chgData name="WANONO, Nathan" userId="99f38b78-d58b-43dc-971c-441766c63fc4" providerId="ADAL" clId="{645A1AA1-1855-4064-9EB2-CD5361C30D88}" dt="2024-09-17T11:06:17.954" v="18397" actId="1035"/>
          <ac:picMkLst>
            <pc:docMk/>
            <pc:sldMk cId="400549614" sldId="2145706683"/>
            <ac:picMk id="105" creationId="{CC75D13B-CE5C-150E-4CBF-6A233B707C76}"/>
          </ac:picMkLst>
        </pc:picChg>
        <pc:picChg chg="mod">
          <ac:chgData name="WANONO, Nathan" userId="99f38b78-d58b-43dc-971c-441766c63fc4" providerId="ADAL" clId="{645A1AA1-1855-4064-9EB2-CD5361C30D88}" dt="2024-09-17T11:06:17.954" v="18397" actId="1035"/>
          <ac:picMkLst>
            <pc:docMk/>
            <pc:sldMk cId="400549614" sldId="2145706683"/>
            <ac:picMk id="106" creationId="{D4EEB1EC-3C31-763B-7697-DC1EE05AEA66}"/>
          </ac:picMkLst>
        </pc:picChg>
        <pc:picChg chg="mod">
          <ac:chgData name="WANONO, Nathan" userId="99f38b78-d58b-43dc-971c-441766c63fc4" providerId="ADAL" clId="{645A1AA1-1855-4064-9EB2-CD5361C30D88}" dt="2024-09-17T11:06:17.954" v="18397" actId="1035"/>
          <ac:picMkLst>
            <pc:docMk/>
            <pc:sldMk cId="400549614" sldId="2145706683"/>
            <ac:picMk id="107" creationId="{8A2CDE12-8922-51C2-A9B8-1698AE40D20F}"/>
          </ac:picMkLst>
        </pc:picChg>
        <pc:picChg chg="mod">
          <ac:chgData name="WANONO, Nathan" userId="99f38b78-d58b-43dc-971c-441766c63fc4" providerId="ADAL" clId="{645A1AA1-1855-4064-9EB2-CD5361C30D88}" dt="2024-09-17T11:06:17.954" v="18397" actId="1035"/>
          <ac:picMkLst>
            <pc:docMk/>
            <pc:sldMk cId="400549614" sldId="2145706683"/>
            <ac:picMk id="108" creationId="{D69414CC-6280-3D22-2443-56EBAC274DDE}"/>
          </ac:picMkLst>
        </pc:picChg>
        <pc:cxnChg chg="mod">
          <ac:chgData name="WANONO, Nathan" userId="99f38b78-d58b-43dc-971c-441766c63fc4" providerId="ADAL" clId="{645A1AA1-1855-4064-9EB2-CD5361C30D88}" dt="2024-09-17T11:06:24.840" v="18416" actId="1036"/>
          <ac:cxnSpMkLst>
            <pc:docMk/>
            <pc:sldMk cId="400549614" sldId="2145706683"/>
            <ac:cxnSpMk id="10" creationId="{94099ECB-5151-90EC-52AC-8D95C5FAABB4}"/>
          </ac:cxnSpMkLst>
        </pc:cxnChg>
        <pc:cxnChg chg="mod">
          <ac:chgData name="WANONO, Nathan" userId="99f38b78-d58b-43dc-971c-441766c63fc4" providerId="ADAL" clId="{645A1AA1-1855-4064-9EB2-CD5361C30D88}" dt="2024-09-17T11:06:17.954" v="18397" actId="1035"/>
          <ac:cxnSpMkLst>
            <pc:docMk/>
            <pc:sldMk cId="400549614" sldId="2145706683"/>
            <ac:cxnSpMk id="14" creationId="{EA5F0E3B-C305-288F-DA48-5045DF18ECB7}"/>
          </ac:cxnSpMkLst>
        </pc:cxnChg>
        <pc:cxnChg chg="mod">
          <ac:chgData name="WANONO, Nathan" userId="99f38b78-d58b-43dc-971c-441766c63fc4" providerId="ADAL" clId="{645A1AA1-1855-4064-9EB2-CD5361C30D88}" dt="2024-09-17T11:06:17.954" v="18397" actId="1035"/>
          <ac:cxnSpMkLst>
            <pc:docMk/>
            <pc:sldMk cId="400549614" sldId="2145706683"/>
            <ac:cxnSpMk id="19" creationId="{6F7399EC-985B-AB86-7D04-518684B683B3}"/>
          </ac:cxnSpMkLst>
        </pc:cxnChg>
        <pc:cxnChg chg="mod">
          <ac:chgData name="WANONO, Nathan" userId="99f38b78-d58b-43dc-971c-441766c63fc4" providerId="ADAL" clId="{645A1AA1-1855-4064-9EB2-CD5361C30D88}" dt="2024-09-17T11:06:17.954" v="18397" actId="1035"/>
          <ac:cxnSpMkLst>
            <pc:docMk/>
            <pc:sldMk cId="400549614" sldId="2145706683"/>
            <ac:cxnSpMk id="25" creationId="{AFE72A28-A018-48F2-97E0-7BA603E0698D}"/>
          </ac:cxnSpMkLst>
        </pc:cxnChg>
        <pc:cxnChg chg="mod">
          <ac:chgData name="WANONO, Nathan" userId="99f38b78-d58b-43dc-971c-441766c63fc4" providerId="ADAL" clId="{645A1AA1-1855-4064-9EB2-CD5361C30D88}" dt="2024-09-17T11:06:17.954" v="18397" actId="1035"/>
          <ac:cxnSpMkLst>
            <pc:docMk/>
            <pc:sldMk cId="400549614" sldId="2145706683"/>
            <ac:cxnSpMk id="28" creationId="{B3326C75-D50D-279E-E8AE-17840C1AE559}"/>
          </ac:cxnSpMkLst>
        </pc:cxnChg>
        <pc:cxnChg chg="mod">
          <ac:chgData name="WANONO, Nathan" userId="99f38b78-d58b-43dc-971c-441766c63fc4" providerId="ADAL" clId="{645A1AA1-1855-4064-9EB2-CD5361C30D88}" dt="2024-09-17T11:06:17.954" v="18397" actId="1035"/>
          <ac:cxnSpMkLst>
            <pc:docMk/>
            <pc:sldMk cId="400549614" sldId="2145706683"/>
            <ac:cxnSpMk id="31" creationId="{B2AB350F-155C-F2F4-20EB-D7A5FA5F4F4D}"/>
          </ac:cxnSpMkLst>
        </pc:cxnChg>
        <pc:cxnChg chg="mod">
          <ac:chgData name="WANONO, Nathan" userId="99f38b78-d58b-43dc-971c-441766c63fc4" providerId="ADAL" clId="{645A1AA1-1855-4064-9EB2-CD5361C30D88}" dt="2024-09-17T11:06:17.954" v="18397" actId="1035"/>
          <ac:cxnSpMkLst>
            <pc:docMk/>
            <pc:sldMk cId="400549614" sldId="2145706683"/>
            <ac:cxnSpMk id="98" creationId="{7985BFEF-26CB-A8D6-0CB1-24C03A4C120C}"/>
          </ac:cxnSpMkLst>
        </pc:cxnChg>
      </pc:sldChg>
      <pc:sldChg chg="del">
        <pc:chgData name="WANONO, Nathan" userId="99f38b78-d58b-43dc-971c-441766c63fc4" providerId="ADAL" clId="{645A1AA1-1855-4064-9EB2-CD5361C30D88}" dt="2024-09-17T11:16:32.929" v="18875" actId="47"/>
        <pc:sldMkLst>
          <pc:docMk/>
          <pc:sldMk cId="515587771" sldId="2145706684"/>
        </pc:sldMkLst>
      </pc:sldChg>
      <pc:sldChg chg="addSp delSp modSp mod">
        <pc:chgData name="WANONO, Nathan" userId="99f38b78-d58b-43dc-971c-441766c63fc4" providerId="ADAL" clId="{645A1AA1-1855-4064-9EB2-CD5361C30D88}" dt="2024-09-19T07:52:59.875" v="25055"/>
        <pc:sldMkLst>
          <pc:docMk/>
          <pc:sldMk cId="341559420" sldId="2145706685"/>
        </pc:sldMkLst>
        <pc:spChg chg="mod">
          <ac:chgData name="WANONO, Nathan" userId="99f38b78-d58b-43dc-971c-441766c63fc4" providerId="ADAL" clId="{645A1AA1-1855-4064-9EB2-CD5361C30D88}" dt="2024-09-19T07:52:59.875" v="25055"/>
          <ac:spMkLst>
            <pc:docMk/>
            <pc:sldMk cId="341559420" sldId="2145706685"/>
            <ac:spMk id="16" creationId="{A98B870C-1FD6-CA2F-FC29-BDB5CB287247}"/>
          </ac:spMkLst>
        </pc:spChg>
        <pc:spChg chg="mod">
          <ac:chgData name="WANONO, Nathan" userId="99f38b78-d58b-43dc-971c-441766c63fc4" providerId="ADAL" clId="{645A1AA1-1855-4064-9EB2-CD5361C30D88}" dt="2024-09-17T11:23:31.671" v="19145" actId="164"/>
          <ac:spMkLst>
            <pc:docMk/>
            <pc:sldMk cId="341559420" sldId="2145706685"/>
            <ac:spMk id="18" creationId="{78B83456-0A1A-F6FD-7371-7AC49EDBEB6D}"/>
          </ac:spMkLst>
        </pc:spChg>
        <pc:spChg chg="mod">
          <ac:chgData name="WANONO, Nathan" userId="99f38b78-d58b-43dc-971c-441766c63fc4" providerId="ADAL" clId="{645A1AA1-1855-4064-9EB2-CD5361C30D88}" dt="2024-09-19T07:52:32.336" v="25051" actId="14861"/>
          <ac:spMkLst>
            <pc:docMk/>
            <pc:sldMk cId="341559420" sldId="2145706685"/>
            <ac:spMk id="19" creationId="{254969D3-88DA-67E4-E222-CE083C4C2BAA}"/>
          </ac:spMkLst>
        </pc:spChg>
        <pc:spChg chg="mod">
          <ac:chgData name="WANONO, Nathan" userId="99f38b78-d58b-43dc-971c-441766c63fc4" providerId="ADAL" clId="{645A1AA1-1855-4064-9EB2-CD5361C30D88}" dt="2024-09-17T11:22:13.163" v="19134" actId="207"/>
          <ac:spMkLst>
            <pc:docMk/>
            <pc:sldMk cId="341559420" sldId="2145706685"/>
            <ac:spMk id="20" creationId="{FA6E0866-DD77-ED45-F47F-148A6E90E91D}"/>
          </ac:spMkLst>
        </pc:spChg>
        <pc:spChg chg="mod">
          <ac:chgData name="WANONO, Nathan" userId="99f38b78-d58b-43dc-971c-441766c63fc4" providerId="ADAL" clId="{645A1AA1-1855-4064-9EB2-CD5361C30D88}" dt="2024-09-17T11:23:48.337" v="19148" actId="164"/>
          <ac:spMkLst>
            <pc:docMk/>
            <pc:sldMk cId="341559420" sldId="2145706685"/>
            <ac:spMk id="21" creationId="{EAD6EC37-1085-736B-0099-AC3B2D6E29CC}"/>
          </ac:spMkLst>
        </pc:spChg>
        <pc:spChg chg="mod">
          <ac:chgData name="WANONO, Nathan" userId="99f38b78-d58b-43dc-971c-441766c63fc4" providerId="ADAL" clId="{645A1AA1-1855-4064-9EB2-CD5361C30D88}" dt="2024-09-19T07:52:32.336" v="25051" actId="14861"/>
          <ac:spMkLst>
            <pc:docMk/>
            <pc:sldMk cId="341559420" sldId="2145706685"/>
            <ac:spMk id="22" creationId="{E1159C0B-FB31-4353-564A-9EF43FF36B97}"/>
          </ac:spMkLst>
        </pc:spChg>
        <pc:spChg chg="mod ord">
          <ac:chgData name="WANONO, Nathan" userId="99f38b78-d58b-43dc-971c-441766c63fc4" providerId="ADAL" clId="{645A1AA1-1855-4064-9EB2-CD5361C30D88}" dt="2024-09-19T07:52:32.336" v="25051" actId="14861"/>
          <ac:spMkLst>
            <pc:docMk/>
            <pc:sldMk cId="341559420" sldId="2145706685"/>
            <ac:spMk id="24" creationId="{CC040928-0186-65F8-0EB0-DC9617CFADC7}"/>
          </ac:spMkLst>
        </pc:spChg>
        <pc:spChg chg="mod">
          <ac:chgData name="WANONO, Nathan" userId="99f38b78-d58b-43dc-971c-441766c63fc4" providerId="ADAL" clId="{645A1AA1-1855-4064-9EB2-CD5361C30D88}" dt="2024-09-19T07:52:32.336" v="25051" actId="14861"/>
          <ac:spMkLst>
            <pc:docMk/>
            <pc:sldMk cId="341559420" sldId="2145706685"/>
            <ac:spMk id="33" creationId="{7E8CE0CC-2A06-CEA6-8B7E-2A7AE6CAD731}"/>
          </ac:spMkLst>
        </pc:spChg>
        <pc:spChg chg="mod">
          <ac:chgData name="WANONO, Nathan" userId="99f38b78-d58b-43dc-971c-441766c63fc4" providerId="ADAL" clId="{645A1AA1-1855-4064-9EB2-CD5361C30D88}" dt="2024-09-19T07:52:32.336" v="25051" actId="14861"/>
          <ac:spMkLst>
            <pc:docMk/>
            <pc:sldMk cId="341559420" sldId="2145706685"/>
            <ac:spMk id="37" creationId="{43D9D71A-AF1D-8484-F68A-3DCD42374113}"/>
          </ac:spMkLst>
        </pc:spChg>
        <pc:spChg chg="mod">
          <ac:chgData name="WANONO, Nathan" userId="99f38b78-d58b-43dc-971c-441766c63fc4" providerId="ADAL" clId="{645A1AA1-1855-4064-9EB2-CD5361C30D88}" dt="2024-09-19T07:52:32.336" v="25051" actId="14861"/>
          <ac:spMkLst>
            <pc:docMk/>
            <pc:sldMk cId="341559420" sldId="2145706685"/>
            <ac:spMk id="42" creationId="{4A556071-3B06-3262-6531-4AD0276E5642}"/>
          </ac:spMkLst>
        </pc:spChg>
        <pc:spChg chg="add mod">
          <ac:chgData name="WANONO, Nathan" userId="99f38b78-d58b-43dc-971c-441766c63fc4" providerId="ADAL" clId="{645A1AA1-1855-4064-9EB2-CD5361C30D88}" dt="2024-09-19T07:52:51.490" v="25053"/>
          <ac:spMkLst>
            <pc:docMk/>
            <pc:sldMk cId="341559420" sldId="2145706685"/>
            <ac:spMk id="45" creationId="{7E657518-5F35-9D5A-97EA-6BF95AB7B17D}"/>
          </ac:spMkLst>
        </pc:spChg>
        <pc:spChg chg="add mod">
          <ac:chgData name="WANONO, Nathan" userId="99f38b78-d58b-43dc-971c-441766c63fc4" providerId="ADAL" clId="{645A1AA1-1855-4064-9EB2-CD5361C30D88}" dt="2024-09-19T07:52:51.490" v="25053"/>
          <ac:spMkLst>
            <pc:docMk/>
            <pc:sldMk cId="341559420" sldId="2145706685"/>
            <ac:spMk id="46" creationId="{A68C3604-7F57-D0B5-86FA-6160A7D401E1}"/>
          </ac:spMkLst>
        </pc:spChg>
        <pc:spChg chg="add mod">
          <ac:chgData name="WANONO, Nathan" userId="99f38b78-d58b-43dc-971c-441766c63fc4" providerId="ADAL" clId="{645A1AA1-1855-4064-9EB2-CD5361C30D88}" dt="2024-09-19T07:52:51.490" v="25053"/>
          <ac:spMkLst>
            <pc:docMk/>
            <pc:sldMk cId="341559420" sldId="2145706685"/>
            <ac:spMk id="47" creationId="{B7026A14-4F7D-7056-EF7B-2258D56A188C}"/>
          </ac:spMkLst>
        </pc:spChg>
        <pc:spChg chg="add mod">
          <ac:chgData name="WANONO, Nathan" userId="99f38b78-d58b-43dc-971c-441766c63fc4" providerId="ADAL" clId="{645A1AA1-1855-4064-9EB2-CD5361C30D88}" dt="2024-09-19T07:52:51.490" v="25053"/>
          <ac:spMkLst>
            <pc:docMk/>
            <pc:sldMk cId="341559420" sldId="2145706685"/>
            <ac:spMk id="48" creationId="{CC490989-664C-2BC3-917B-CBA60940D340}"/>
          </ac:spMkLst>
        </pc:spChg>
        <pc:spChg chg="add mod">
          <ac:chgData name="WANONO, Nathan" userId="99f38b78-d58b-43dc-971c-441766c63fc4" providerId="ADAL" clId="{645A1AA1-1855-4064-9EB2-CD5361C30D88}" dt="2024-09-19T07:52:51.490" v="25053"/>
          <ac:spMkLst>
            <pc:docMk/>
            <pc:sldMk cId="341559420" sldId="2145706685"/>
            <ac:spMk id="49" creationId="{BF11A815-5ACD-3D12-91D8-B917FEE6B622}"/>
          </ac:spMkLst>
        </pc:spChg>
        <pc:spChg chg="add mod">
          <ac:chgData name="WANONO, Nathan" userId="99f38b78-d58b-43dc-971c-441766c63fc4" providerId="ADAL" clId="{645A1AA1-1855-4064-9EB2-CD5361C30D88}" dt="2024-09-19T07:52:51.490" v="25053"/>
          <ac:spMkLst>
            <pc:docMk/>
            <pc:sldMk cId="341559420" sldId="2145706685"/>
            <ac:spMk id="50" creationId="{50B717E4-4B4D-0430-0185-8697F51436A2}"/>
          </ac:spMkLst>
        </pc:spChg>
        <pc:grpChg chg="add mod">
          <ac:chgData name="WANONO, Nathan" userId="99f38b78-d58b-43dc-971c-441766c63fc4" providerId="ADAL" clId="{645A1AA1-1855-4064-9EB2-CD5361C30D88}" dt="2024-09-17T11:44:22.873" v="19789" actId="1076"/>
          <ac:grpSpMkLst>
            <pc:docMk/>
            <pc:sldMk cId="341559420" sldId="2145706685"/>
            <ac:grpSpMk id="2" creationId="{76907C39-EE7F-5EA7-F22C-59FAD2CD1045}"/>
          </ac:grpSpMkLst>
        </pc:grpChg>
        <pc:grpChg chg="add mod">
          <ac:chgData name="WANONO, Nathan" userId="99f38b78-d58b-43dc-971c-441766c63fc4" providerId="ADAL" clId="{645A1AA1-1855-4064-9EB2-CD5361C30D88}" dt="2024-09-17T11:44:22.873" v="19789" actId="1076"/>
          <ac:grpSpMkLst>
            <pc:docMk/>
            <pc:sldMk cId="341559420" sldId="2145706685"/>
            <ac:grpSpMk id="3" creationId="{C25FA647-D372-B64B-C2C0-94969A1D0864}"/>
          </ac:grpSpMkLst>
        </pc:grpChg>
        <pc:grpChg chg="add mod">
          <ac:chgData name="WANONO, Nathan" userId="99f38b78-d58b-43dc-971c-441766c63fc4" providerId="ADAL" clId="{645A1AA1-1855-4064-9EB2-CD5361C30D88}" dt="2024-09-17T11:44:22.873" v="19789" actId="1076"/>
          <ac:grpSpMkLst>
            <pc:docMk/>
            <pc:sldMk cId="341559420" sldId="2145706685"/>
            <ac:grpSpMk id="8" creationId="{F315E59E-D72D-5966-5E83-954B595C7E7B}"/>
          </ac:grpSpMkLst>
        </pc:grpChg>
        <pc:picChg chg="mod">
          <ac:chgData name="WANONO, Nathan" userId="99f38b78-d58b-43dc-971c-441766c63fc4" providerId="ADAL" clId="{645A1AA1-1855-4064-9EB2-CD5361C30D88}" dt="2024-09-17T11:23:16.611" v="19144" actId="164"/>
          <ac:picMkLst>
            <pc:docMk/>
            <pc:sldMk cId="341559420" sldId="2145706685"/>
            <ac:picMk id="5" creationId="{2263D18C-5EFE-0A69-8C50-268F22463CCF}"/>
          </ac:picMkLst>
        </pc:picChg>
        <pc:picChg chg="mod">
          <ac:chgData name="WANONO, Nathan" userId="99f38b78-d58b-43dc-971c-441766c63fc4" providerId="ADAL" clId="{645A1AA1-1855-4064-9EB2-CD5361C30D88}" dt="2024-09-17T11:23:31.671" v="19145" actId="164"/>
          <ac:picMkLst>
            <pc:docMk/>
            <pc:sldMk cId="341559420" sldId="2145706685"/>
            <ac:picMk id="6" creationId="{FC9CB2B6-B281-C334-41F9-4C2C9372D116}"/>
          </ac:picMkLst>
        </pc:picChg>
        <pc:picChg chg="mod">
          <ac:chgData name="WANONO, Nathan" userId="99f38b78-d58b-43dc-971c-441766c63fc4" providerId="ADAL" clId="{645A1AA1-1855-4064-9EB2-CD5361C30D88}" dt="2024-09-17T11:23:48.337" v="19148" actId="164"/>
          <ac:picMkLst>
            <pc:docMk/>
            <pc:sldMk cId="341559420" sldId="2145706685"/>
            <ac:picMk id="7" creationId="{BEB75B9E-3CE3-0A46-358C-E2CA412244C4}"/>
          </ac:picMkLst>
        </pc:picChg>
        <pc:cxnChg chg="mod">
          <ac:chgData name="WANONO, Nathan" userId="99f38b78-d58b-43dc-971c-441766c63fc4" providerId="ADAL" clId="{645A1AA1-1855-4064-9EB2-CD5361C30D88}" dt="2024-09-17T11:44:22.873" v="19789" actId="1076"/>
          <ac:cxnSpMkLst>
            <pc:docMk/>
            <pc:sldMk cId="341559420" sldId="2145706685"/>
            <ac:cxnSpMk id="10" creationId="{A0D4467A-4BB4-5FF8-AE66-AD9D35EA1E34}"/>
          </ac:cxnSpMkLst>
        </pc:cxnChg>
        <pc:cxnChg chg="mod">
          <ac:chgData name="WANONO, Nathan" userId="99f38b78-d58b-43dc-971c-441766c63fc4" providerId="ADAL" clId="{645A1AA1-1855-4064-9EB2-CD5361C30D88}" dt="2024-09-17T11:44:22.873" v="19789" actId="1076"/>
          <ac:cxnSpMkLst>
            <pc:docMk/>
            <pc:sldMk cId="341559420" sldId="2145706685"/>
            <ac:cxnSpMk id="26" creationId="{32A4766D-1ABB-41AF-FDFD-A4E6CD25573D}"/>
          </ac:cxnSpMkLst>
        </pc:cxnChg>
        <pc:cxnChg chg="del mod">
          <ac:chgData name="WANONO, Nathan" userId="99f38b78-d58b-43dc-971c-441766c63fc4" providerId="ADAL" clId="{645A1AA1-1855-4064-9EB2-CD5361C30D88}" dt="2024-09-17T11:32:28.133" v="19358" actId="478"/>
          <ac:cxnSpMkLst>
            <pc:docMk/>
            <pc:sldMk cId="341559420" sldId="2145706685"/>
            <ac:cxnSpMk id="27" creationId="{CE058F9C-ECAE-18C1-1157-FBC903C72E1F}"/>
          </ac:cxnSpMkLst>
        </pc:cxnChg>
        <pc:cxnChg chg="mod">
          <ac:chgData name="WANONO, Nathan" userId="99f38b78-d58b-43dc-971c-441766c63fc4" providerId="ADAL" clId="{645A1AA1-1855-4064-9EB2-CD5361C30D88}" dt="2024-09-17T11:44:22.873" v="19789" actId="1076"/>
          <ac:cxnSpMkLst>
            <pc:docMk/>
            <pc:sldMk cId="341559420" sldId="2145706685"/>
            <ac:cxnSpMk id="34" creationId="{0D6C4FEF-E3D2-C3BD-9AF4-3E4C95D5F737}"/>
          </ac:cxnSpMkLst>
        </pc:cxnChg>
        <pc:cxnChg chg="del mod">
          <ac:chgData name="WANONO, Nathan" userId="99f38b78-d58b-43dc-971c-441766c63fc4" providerId="ADAL" clId="{645A1AA1-1855-4064-9EB2-CD5361C30D88}" dt="2024-09-17T11:32:02.185" v="19353" actId="478"/>
          <ac:cxnSpMkLst>
            <pc:docMk/>
            <pc:sldMk cId="341559420" sldId="2145706685"/>
            <ac:cxnSpMk id="38" creationId="{D6540C44-EB1B-6D18-1301-A83B83A5598A}"/>
          </ac:cxnSpMkLst>
        </pc:cxnChg>
        <pc:cxnChg chg="add mod">
          <ac:chgData name="WANONO, Nathan" userId="99f38b78-d58b-43dc-971c-441766c63fc4" providerId="ADAL" clId="{645A1AA1-1855-4064-9EB2-CD5361C30D88}" dt="2024-09-17T11:44:22.873" v="19789" actId="1076"/>
          <ac:cxnSpMkLst>
            <pc:docMk/>
            <pc:sldMk cId="341559420" sldId="2145706685"/>
            <ac:cxnSpMk id="40" creationId="{4210F38E-D359-F7B1-3FE3-348889A4303D}"/>
          </ac:cxnSpMkLst>
        </pc:cxnChg>
        <pc:cxnChg chg="add mod">
          <ac:chgData name="WANONO, Nathan" userId="99f38b78-d58b-43dc-971c-441766c63fc4" providerId="ADAL" clId="{645A1AA1-1855-4064-9EB2-CD5361C30D88}" dt="2024-09-17T11:32:52.713" v="19366" actId="571"/>
          <ac:cxnSpMkLst>
            <pc:docMk/>
            <pc:sldMk cId="341559420" sldId="2145706685"/>
            <ac:cxnSpMk id="44" creationId="{DF49864F-49D1-8C91-3D35-FC4506DADC03}"/>
          </ac:cxnSpMkLst>
        </pc:cxnChg>
      </pc:sldChg>
      <pc:sldChg chg="modSp add mod">
        <pc:chgData name="WANONO, Nathan" userId="99f38b78-d58b-43dc-971c-441766c63fc4" providerId="ADAL" clId="{645A1AA1-1855-4064-9EB2-CD5361C30D88}" dt="2024-09-17T11:16:16.356" v="18874"/>
        <pc:sldMkLst>
          <pc:docMk/>
          <pc:sldMk cId="3016803300" sldId="2145706686"/>
        </pc:sldMkLst>
        <pc:spChg chg="mod">
          <ac:chgData name="WANONO, Nathan" userId="99f38b78-d58b-43dc-971c-441766c63fc4" providerId="ADAL" clId="{645A1AA1-1855-4064-9EB2-CD5361C30D88}" dt="2024-09-17T11:16:16.356" v="18874"/>
          <ac:spMkLst>
            <pc:docMk/>
            <pc:sldMk cId="3016803300" sldId="2145706686"/>
            <ac:spMk id="17" creationId="{D02C9E30-BE4F-EF63-7F95-E797B208D6B8}"/>
          </ac:spMkLst>
        </pc:spChg>
      </pc:sldChg>
      <pc:sldChg chg="modSp add mod ord">
        <pc:chgData name="WANONO, Nathan" userId="99f38b78-d58b-43dc-971c-441766c63fc4" providerId="ADAL" clId="{645A1AA1-1855-4064-9EB2-CD5361C30D88}" dt="2024-09-17T11:48:05.731" v="19863"/>
        <pc:sldMkLst>
          <pc:docMk/>
          <pc:sldMk cId="3740134688" sldId="2145706687"/>
        </pc:sldMkLst>
        <pc:spChg chg="mod">
          <ac:chgData name="WANONO, Nathan" userId="99f38b78-d58b-43dc-971c-441766c63fc4" providerId="ADAL" clId="{645A1AA1-1855-4064-9EB2-CD5361C30D88}" dt="2024-09-17T11:45:40.947" v="19817" actId="207"/>
          <ac:spMkLst>
            <pc:docMk/>
            <pc:sldMk cId="3740134688" sldId="2145706687"/>
            <ac:spMk id="15" creationId="{8D532E29-48E6-4DAB-AA82-2A90F9990E15}"/>
          </ac:spMkLst>
        </pc:spChg>
      </pc:sldChg>
      <pc:sldChg chg="add del">
        <pc:chgData name="WANONO, Nathan" userId="99f38b78-d58b-43dc-971c-441766c63fc4" providerId="ADAL" clId="{645A1AA1-1855-4064-9EB2-CD5361C30D88}" dt="2024-09-17T11:56:34.327" v="19882"/>
        <pc:sldMkLst>
          <pc:docMk/>
          <pc:sldMk cId="1678922727" sldId="2145706688"/>
        </pc:sldMkLst>
      </pc:sldChg>
      <pc:sldChg chg="modSp add mod">
        <pc:chgData name="WANONO, Nathan" userId="99f38b78-d58b-43dc-971c-441766c63fc4" providerId="ADAL" clId="{645A1AA1-1855-4064-9EB2-CD5361C30D88}" dt="2024-09-17T21:47:56.239" v="20019" actId="14100"/>
        <pc:sldMkLst>
          <pc:docMk/>
          <pc:sldMk cId="2515646695" sldId="2145706688"/>
        </pc:sldMkLst>
        <pc:spChg chg="mod">
          <ac:chgData name="WANONO, Nathan" userId="99f38b78-d58b-43dc-971c-441766c63fc4" providerId="ADAL" clId="{645A1AA1-1855-4064-9EB2-CD5361C30D88}" dt="2024-09-17T21:47:46.493" v="20017" actId="207"/>
          <ac:spMkLst>
            <pc:docMk/>
            <pc:sldMk cId="2515646695" sldId="2145706688"/>
            <ac:spMk id="3" creationId="{A48A1871-E483-300E-9866-A955D49114F5}"/>
          </ac:spMkLst>
        </pc:spChg>
        <pc:spChg chg="mod">
          <ac:chgData name="WANONO, Nathan" userId="99f38b78-d58b-43dc-971c-441766c63fc4" providerId="ADAL" clId="{645A1AA1-1855-4064-9EB2-CD5361C30D88}" dt="2024-09-17T21:47:46.493" v="20017" actId="207"/>
          <ac:spMkLst>
            <pc:docMk/>
            <pc:sldMk cId="2515646695" sldId="2145706688"/>
            <ac:spMk id="4" creationId="{8F88236B-0984-5248-AC0F-6B409F1A3F6E}"/>
          </ac:spMkLst>
        </pc:spChg>
        <pc:spChg chg="mod">
          <ac:chgData name="WANONO, Nathan" userId="99f38b78-d58b-43dc-971c-441766c63fc4" providerId="ADAL" clId="{645A1AA1-1855-4064-9EB2-CD5361C30D88}" dt="2024-09-17T21:47:56.239" v="20019" actId="14100"/>
          <ac:spMkLst>
            <pc:docMk/>
            <pc:sldMk cId="2515646695" sldId="2145706688"/>
            <ac:spMk id="5" creationId="{40181E61-0D5E-695D-655F-FFAEBD27B718}"/>
          </ac:spMkLst>
        </pc:spChg>
        <pc:spChg chg="mod">
          <ac:chgData name="WANONO, Nathan" userId="99f38b78-d58b-43dc-971c-441766c63fc4" providerId="ADAL" clId="{645A1AA1-1855-4064-9EB2-CD5361C30D88}" dt="2024-09-17T21:47:46.493" v="20017" actId="207"/>
          <ac:spMkLst>
            <pc:docMk/>
            <pc:sldMk cId="2515646695" sldId="2145706688"/>
            <ac:spMk id="6" creationId="{EF780A67-7E73-9F6E-9171-2C6F36699A29}"/>
          </ac:spMkLst>
        </pc:spChg>
        <pc:grpChg chg="mod">
          <ac:chgData name="WANONO, Nathan" userId="99f38b78-d58b-43dc-971c-441766c63fc4" providerId="ADAL" clId="{645A1AA1-1855-4064-9EB2-CD5361C30D88}" dt="2024-09-17T21:47:46.493" v="20017" actId="207"/>
          <ac:grpSpMkLst>
            <pc:docMk/>
            <pc:sldMk cId="2515646695" sldId="2145706688"/>
            <ac:grpSpMk id="2" creationId="{6918DBD6-47F2-5D77-A9CB-61A31F5EFB4C}"/>
          </ac:grpSpMkLst>
        </pc:grpChg>
      </pc:sldChg>
      <pc:sldChg chg="addSp delSp modSp add mod">
        <pc:chgData name="WANONO, Nathan" userId="99f38b78-d58b-43dc-971c-441766c63fc4" providerId="ADAL" clId="{645A1AA1-1855-4064-9EB2-CD5361C30D88}" dt="2024-09-18T07:38:18.200" v="21446" actId="1036"/>
        <pc:sldMkLst>
          <pc:docMk/>
          <pc:sldMk cId="3688094867" sldId="2145706689"/>
        </pc:sldMkLst>
        <pc:spChg chg="mod">
          <ac:chgData name="WANONO, Nathan" userId="99f38b78-d58b-43dc-971c-441766c63fc4" providerId="ADAL" clId="{645A1AA1-1855-4064-9EB2-CD5361C30D88}" dt="2024-09-18T07:26:30.092" v="20114" actId="20577"/>
          <ac:spMkLst>
            <pc:docMk/>
            <pc:sldMk cId="3688094867" sldId="2145706689"/>
            <ac:spMk id="3" creationId="{F1261247-D114-B15E-D6B0-FD5D1DC5DAEA}"/>
          </ac:spMkLst>
        </pc:spChg>
        <pc:spChg chg="add mod">
          <ac:chgData name="WANONO, Nathan" userId="99f38b78-d58b-43dc-971c-441766c63fc4" providerId="ADAL" clId="{645A1AA1-1855-4064-9EB2-CD5361C30D88}" dt="2024-09-18T07:38:18.200" v="21446" actId="1036"/>
          <ac:spMkLst>
            <pc:docMk/>
            <pc:sldMk cId="3688094867" sldId="2145706689"/>
            <ac:spMk id="8" creationId="{A285641D-EE22-137F-A043-B6E3BEAE94D1}"/>
          </ac:spMkLst>
        </pc:spChg>
        <pc:spChg chg="add mod">
          <ac:chgData name="WANONO, Nathan" userId="99f38b78-d58b-43dc-971c-441766c63fc4" providerId="ADAL" clId="{645A1AA1-1855-4064-9EB2-CD5361C30D88}" dt="2024-09-18T07:38:18.200" v="21446" actId="1036"/>
          <ac:spMkLst>
            <pc:docMk/>
            <pc:sldMk cId="3688094867" sldId="2145706689"/>
            <ac:spMk id="9" creationId="{C69B28C7-1B4C-37BB-042D-5D6DF69A93ED}"/>
          </ac:spMkLst>
        </pc:spChg>
        <pc:spChg chg="del">
          <ac:chgData name="WANONO, Nathan" userId="99f38b78-d58b-43dc-971c-441766c63fc4" providerId="ADAL" clId="{645A1AA1-1855-4064-9EB2-CD5361C30D88}" dt="2024-09-18T07:26:37.140" v="20116" actId="478"/>
          <ac:spMkLst>
            <pc:docMk/>
            <pc:sldMk cId="3688094867" sldId="2145706689"/>
            <ac:spMk id="21" creationId="{0CC04755-86DD-9338-26ED-E298CEE25688}"/>
          </ac:spMkLst>
        </pc:spChg>
        <pc:spChg chg="del">
          <ac:chgData name="WANONO, Nathan" userId="99f38b78-d58b-43dc-971c-441766c63fc4" providerId="ADAL" clId="{645A1AA1-1855-4064-9EB2-CD5361C30D88}" dt="2024-09-18T07:26:37.140" v="20116" actId="478"/>
          <ac:spMkLst>
            <pc:docMk/>
            <pc:sldMk cId="3688094867" sldId="2145706689"/>
            <ac:spMk id="22" creationId="{E1C545D9-A34A-6F24-02F0-284F38D7C9F7}"/>
          </ac:spMkLst>
        </pc:spChg>
        <pc:spChg chg="del">
          <ac:chgData name="WANONO, Nathan" userId="99f38b78-d58b-43dc-971c-441766c63fc4" providerId="ADAL" clId="{645A1AA1-1855-4064-9EB2-CD5361C30D88}" dt="2024-09-18T07:26:37.140" v="20116" actId="478"/>
          <ac:spMkLst>
            <pc:docMk/>
            <pc:sldMk cId="3688094867" sldId="2145706689"/>
            <ac:spMk id="23" creationId="{FB666075-3464-DE96-B5BD-E620B1089E13}"/>
          </ac:spMkLst>
        </pc:spChg>
        <pc:spChg chg="mod">
          <ac:chgData name="WANONO, Nathan" userId="99f38b78-d58b-43dc-971c-441766c63fc4" providerId="ADAL" clId="{645A1AA1-1855-4064-9EB2-CD5361C30D88}" dt="2024-09-18T07:38:10.960" v="21411" actId="20577"/>
          <ac:spMkLst>
            <pc:docMk/>
            <pc:sldMk cId="3688094867" sldId="2145706689"/>
            <ac:spMk id="103" creationId="{1BC49AF2-85A3-7246-B2EC-46FDF8E9CC5D}"/>
          </ac:spMkLst>
        </pc:spChg>
        <pc:picChg chg="del">
          <ac:chgData name="WANONO, Nathan" userId="99f38b78-d58b-43dc-971c-441766c63fc4" providerId="ADAL" clId="{645A1AA1-1855-4064-9EB2-CD5361C30D88}" dt="2024-09-18T07:26:37.140" v="20116" actId="478"/>
          <ac:picMkLst>
            <pc:docMk/>
            <pc:sldMk cId="3688094867" sldId="2145706689"/>
            <ac:picMk id="2" creationId="{35B94587-3978-3D0A-D6B9-E51E34FD3B49}"/>
          </ac:picMkLst>
        </pc:picChg>
        <pc:picChg chg="add mod">
          <ac:chgData name="WANONO, Nathan" userId="99f38b78-d58b-43dc-971c-441766c63fc4" providerId="ADAL" clId="{645A1AA1-1855-4064-9EB2-CD5361C30D88}" dt="2024-09-18T07:38:18.200" v="21446" actId="1036"/>
          <ac:picMkLst>
            <pc:docMk/>
            <pc:sldMk cId="3688094867" sldId="2145706689"/>
            <ac:picMk id="4" creationId="{5F4A7732-FE6F-FC60-060D-9B82E6FE66B0}"/>
          </ac:picMkLst>
        </pc:picChg>
        <pc:picChg chg="add mod">
          <ac:chgData name="WANONO, Nathan" userId="99f38b78-d58b-43dc-971c-441766c63fc4" providerId="ADAL" clId="{645A1AA1-1855-4064-9EB2-CD5361C30D88}" dt="2024-09-18T07:38:18.200" v="21446" actId="1036"/>
          <ac:picMkLst>
            <pc:docMk/>
            <pc:sldMk cId="3688094867" sldId="2145706689"/>
            <ac:picMk id="5" creationId="{8B920EA2-85EA-1D29-8C29-0FE5B93FBD45}"/>
          </ac:picMkLst>
        </pc:picChg>
        <pc:picChg chg="del">
          <ac:chgData name="WANONO, Nathan" userId="99f38b78-d58b-43dc-971c-441766c63fc4" providerId="ADAL" clId="{645A1AA1-1855-4064-9EB2-CD5361C30D88}" dt="2024-09-18T07:26:37.140" v="20116" actId="478"/>
          <ac:picMkLst>
            <pc:docMk/>
            <pc:sldMk cId="3688094867" sldId="2145706689"/>
            <ac:picMk id="7" creationId="{3BF0A289-7848-B14A-D1E7-1A43905A20DE}"/>
          </ac:picMkLst>
        </pc:picChg>
        <pc:picChg chg="del">
          <ac:chgData name="WANONO, Nathan" userId="99f38b78-d58b-43dc-971c-441766c63fc4" providerId="ADAL" clId="{645A1AA1-1855-4064-9EB2-CD5361C30D88}" dt="2024-09-18T07:26:37.140" v="20116" actId="478"/>
          <ac:picMkLst>
            <pc:docMk/>
            <pc:sldMk cId="3688094867" sldId="2145706689"/>
            <ac:picMk id="10" creationId="{57E073A0-2CE3-ADC2-B841-ACAC88E64F23}"/>
          </ac:picMkLst>
        </pc:picChg>
        <pc:cxnChg chg="add mod">
          <ac:chgData name="WANONO, Nathan" userId="99f38b78-d58b-43dc-971c-441766c63fc4" providerId="ADAL" clId="{645A1AA1-1855-4064-9EB2-CD5361C30D88}" dt="2024-09-18T07:38:18.200" v="21446" actId="1036"/>
          <ac:cxnSpMkLst>
            <pc:docMk/>
            <pc:sldMk cId="3688094867" sldId="2145706689"/>
            <ac:cxnSpMk id="6" creationId="{2097EB42-315E-025F-7689-C9BCD320DA54}"/>
          </ac:cxnSpMkLst>
        </pc:cxnChg>
        <pc:cxnChg chg="del">
          <ac:chgData name="WANONO, Nathan" userId="99f38b78-d58b-43dc-971c-441766c63fc4" providerId="ADAL" clId="{645A1AA1-1855-4064-9EB2-CD5361C30D88}" dt="2024-09-18T07:26:37.140" v="20116" actId="478"/>
          <ac:cxnSpMkLst>
            <pc:docMk/>
            <pc:sldMk cId="3688094867" sldId="2145706689"/>
            <ac:cxnSpMk id="11" creationId="{DD588C2F-0F4F-D95F-011D-9EF6ABA974EF}"/>
          </ac:cxnSpMkLst>
        </pc:cxnChg>
        <pc:cxnChg chg="del">
          <ac:chgData name="WANONO, Nathan" userId="99f38b78-d58b-43dc-971c-441766c63fc4" providerId="ADAL" clId="{645A1AA1-1855-4064-9EB2-CD5361C30D88}" dt="2024-09-18T07:26:37.140" v="20116" actId="478"/>
          <ac:cxnSpMkLst>
            <pc:docMk/>
            <pc:sldMk cId="3688094867" sldId="2145706689"/>
            <ac:cxnSpMk id="15" creationId="{C0820795-FF00-577B-3929-0191F697EC14}"/>
          </ac:cxnSpMkLst>
        </pc:cxnChg>
        <pc:cxnChg chg="del">
          <ac:chgData name="WANONO, Nathan" userId="99f38b78-d58b-43dc-971c-441766c63fc4" providerId="ADAL" clId="{645A1AA1-1855-4064-9EB2-CD5361C30D88}" dt="2024-09-18T07:26:37.140" v="20116" actId="478"/>
          <ac:cxnSpMkLst>
            <pc:docMk/>
            <pc:sldMk cId="3688094867" sldId="2145706689"/>
            <ac:cxnSpMk id="18" creationId="{3CD411EF-D7AB-52DB-9BC2-46D5DAD93262}"/>
          </ac:cxnSpMkLst>
        </pc:cxnChg>
      </pc:sldChg>
      <pc:sldChg chg="addSp modSp add mod ord">
        <pc:chgData name="WANONO, Nathan" userId="99f38b78-d58b-43dc-971c-441766c63fc4" providerId="ADAL" clId="{645A1AA1-1855-4064-9EB2-CD5361C30D88}" dt="2024-09-18T10:55:45.491" v="25036" actId="20577"/>
        <pc:sldMkLst>
          <pc:docMk/>
          <pc:sldMk cId="3935596701" sldId="2145706690"/>
        </pc:sldMkLst>
        <pc:spChg chg="mod">
          <ac:chgData name="WANONO, Nathan" userId="99f38b78-d58b-43dc-971c-441766c63fc4" providerId="ADAL" clId="{645A1AA1-1855-4064-9EB2-CD5361C30D88}" dt="2024-09-18T10:55:45.491" v="25036" actId="20577"/>
          <ac:spMkLst>
            <pc:docMk/>
            <pc:sldMk cId="3935596701" sldId="2145706690"/>
            <ac:spMk id="3" creationId="{F1261247-D114-B15E-D6B0-FD5D1DC5DAEA}"/>
          </ac:spMkLst>
        </pc:spChg>
        <pc:spChg chg="mod">
          <ac:chgData name="WANONO, Nathan" userId="99f38b78-d58b-43dc-971c-441766c63fc4" providerId="ADAL" clId="{645A1AA1-1855-4064-9EB2-CD5361C30D88}" dt="2024-09-18T10:55:32.363" v="25031" actId="33524"/>
          <ac:spMkLst>
            <pc:docMk/>
            <pc:sldMk cId="3935596701" sldId="2145706690"/>
            <ac:spMk id="5" creationId="{3AA7F2A3-B0C0-D68A-CA8D-C23BFCFC8367}"/>
          </ac:spMkLst>
        </pc:spChg>
        <pc:spChg chg="add mod">
          <ac:chgData name="WANONO, Nathan" userId="99f38b78-d58b-43dc-971c-441766c63fc4" providerId="ADAL" clId="{645A1AA1-1855-4064-9EB2-CD5361C30D88}" dt="2024-09-18T07:40:40.607" v="21571" actId="2085"/>
          <ac:spMkLst>
            <pc:docMk/>
            <pc:sldMk cId="3935596701" sldId="2145706690"/>
            <ac:spMk id="6" creationId="{C3C84814-E403-9646-E69A-9800B34A5127}"/>
          </ac:spMkLst>
        </pc:spChg>
        <pc:spChg chg="mod">
          <ac:chgData name="WANONO, Nathan" userId="99f38b78-d58b-43dc-971c-441766c63fc4" providerId="ADAL" clId="{645A1AA1-1855-4064-9EB2-CD5361C30D88}" dt="2024-09-18T07:39:08.715" v="21493" actId="1035"/>
          <ac:spMkLst>
            <pc:docMk/>
            <pc:sldMk cId="3935596701" sldId="2145706690"/>
            <ac:spMk id="76" creationId="{D164F4BB-8A26-96F7-E70B-AA39638B317D}"/>
          </ac:spMkLst>
        </pc:spChg>
        <pc:spChg chg="mod">
          <ac:chgData name="WANONO, Nathan" userId="99f38b78-d58b-43dc-971c-441766c63fc4" providerId="ADAL" clId="{645A1AA1-1855-4064-9EB2-CD5361C30D88}" dt="2024-09-18T07:39:08.715" v="21493" actId="1035"/>
          <ac:spMkLst>
            <pc:docMk/>
            <pc:sldMk cId="3935596701" sldId="2145706690"/>
            <ac:spMk id="78" creationId="{ABA5A530-4012-CBC6-E319-74DF80515D9E}"/>
          </ac:spMkLst>
        </pc:spChg>
        <pc:spChg chg="mod">
          <ac:chgData name="WANONO, Nathan" userId="99f38b78-d58b-43dc-971c-441766c63fc4" providerId="ADAL" clId="{645A1AA1-1855-4064-9EB2-CD5361C30D88}" dt="2024-09-18T07:40:10.843" v="21546" actId="1036"/>
          <ac:spMkLst>
            <pc:docMk/>
            <pc:sldMk cId="3935596701" sldId="2145706690"/>
            <ac:spMk id="80" creationId="{0E3D098D-ACE6-0371-5B41-DF2EB6A5790A}"/>
          </ac:spMkLst>
        </pc:spChg>
        <pc:spChg chg="mod">
          <ac:chgData name="WANONO, Nathan" userId="99f38b78-d58b-43dc-971c-441766c63fc4" providerId="ADAL" clId="{645A1AA1-1855-4064-9EB2-CD5361C30D88}" dt="2024-09-18T07:41:08.802" v="21574" actId="1076"/>
          <ac:spMkLst>
            <pc:docMk/>
            <pc:sldMk cId="3935596701" sldId="2145706690"/>
            <ac:spMk id="82" creationId="{AD070F0C-885F-EC2F-ABA9-BDFC0ECD024E}"/>
          </ac:spMkLst>
        </pc:spChg>
        <pc:picChg chg="add mod">
          <ac:chgData name="WANONO, Nathan" userId="99f38b78-d58b-43dc-971c-441766c63fc4" providerId="ADAL" clId="{645A1AA1-1855-4064-9EB2-CD5361C30D88}" dt="2024-09-18T07:42:09.632" v="21578" actId="208"/>
          <ac:picMkLst>
            <pc:docMk/>
            <pc:sldMk cId="3935596701" sldId="2145706690"/>
            <ac:picMk id="7" creationId="{120B3736-D72F-F88D-5C6A-9FDCC4B9CD3B}"/>
          </ac:picMkLst>
        </pc:picChg>
        <pc:picChg chg="add mod">
          <ac:chgData name="WANONO, Nathan" userId="99f38b78-d58b-43dc-971c-441766c63fc4" providerId="ADAL" clId="{645A1AA1-1855-4064-9EB2-CD5361C30D88}" dt="2024-09-18T07:42:26.690" v="21582" actId="208"/>
          <ac:picMkLst>
            <pc:docMk/>
            <pc:sldMk cId="3935596701" sldId="2145706690"/>
            <ac:picMk id="8" creationId="{48542369-1DA9-64EA-9BFF-145BF60A9E7C}"/>
          </ac:picMkLst>
        </pc:picChg>
        <pc:picChg chg="add mod">
          <ac:chgData name="WANONO, Nathan" userId="99f38b78-d58b-43dc-971c-441766c63fc4" providerId="ADAL" clId="{645A1AA1-1855-4064-9EB2-CD5361C30D88}" dt="2024-09-18T07:43:03.364" v="21590" actId="1076"/>
          <ac:picMkLst>
            <pc:docMk/>
            <pc:sldMk cId="3935596701" sldId="2145706690"/>
            <ac:picMk id="9" creationId="{2EF62BDC-4B6A-CDD3-65D6-256FE09C56F0}"/>
          </ac:picMkLst>
        </pc:picChg>
        <pc:picChg chg="add mod">
          <ac:chgData name="WANONO, Nathan" userId="99f38b78-d58b-43dc-971c-441766c63fc4" providerId="ADAL" clId="{645A1AA1-1855-4064-9EB2-CD5361C30D88}" dt="2024-09-18T07:42:52.036" v="21588" actId="1076"/>
          <ac:picMkLst>
            <pc:docMk/>
            <pc:sldMk cId="3935596701" sldId="2145706690"/>
            <ac:picMk id="10" creationId="{E4F67FE6-8EA2-6094-7D0B-413D19770A19}"/>
          </ac:picMkLst>
        </pc:picChg>
        <pc:cxnChg chg="add mod">
          <ac:chgData name="WANONO, Nathan" userId="99f38b78-d58b-43dc-971c-441766c63fc4" providerId="ADAL" clId="{645A1AA1-1855-4064-9EB2-CD5361C30D88}" dt="2024-09-18T07:40:31.002" v="21568" actId="208"/>
          <ac:cxnSpMkLst>
            <pc:docMk/>
            <pc:sldMk cId="3935596701" sldId="2145706690"/>
            <ac:cxnSpMk id="4" creationId="{CD51F1AA-B002-A002-1518-9B57128E0E06}"/>
          </ac:cxnSpMkLst>
        </pc:cxnChg>
        <pc:cxnChg chg="mod">
          <ac:chgData name="WANONO, Nathan" userId="99f38b78-d58b-43dc-971c-441766c63fc4" providerId="ADAL" clId="{645A1AA1-1855-4064-9EB2-CD5361C30D88}" dt="2024-09-18T07:39:08.715" v="21493" actId="1035"/>
          <ac:cxnSpMkLst>
            <pc:docMk/>
            <pc:sldMk cId="3935596701" sldId="2145706690"/>
            <ac:cxnSpMk id="73" creationId="{25D87FB7-E5F1-96FC-21DB-9F467F525705}"/>
          </ac:cxnSpMkLst>
        </pc:cxnChg>
        <pc:cxnChg chg="mod">
          <ac:chgData name="WANONO, Nathan" userId="99f38b78-d58b-43dc-971c-441766c63fc4" providerId="ADAL" clId="{645A1AA1-1855-4064-9EB2-CD5361C30D88}" dt="2024-09-18T07:39:08.715" v="21493" actId="1035"/>
          <ac:cxnSpMkLst>
            <pc:docMk/>
            <pc:sldMk cId="3935596701" sldId="2145706690"/>
            <ac:cxnSpMk id="77" creationId="{58E55401-A71B-B787-C362-8B4ED32AFF24}"/>
          </ac:cxnSpMkLst>
        </pc:cxnChg>
        <pc:cxnChg chg="mod">
          <ac:chgData name="WANONO, Nathan" userId="99f38b78-d58b-43dc-971c-441766c63fc4" providerId="ADAL" clId="{645A1AA1-1855-4064-9EB2-CD5361C30D88}" dt="2024-09-18T07:40:10.843" v="21546" actId="1036"/>
          <ac:cxnSpMkLst>
            <pc:docMk/>
            <pc:sldMk cId="3935596701" sldId="2145706690"/>
            <ac:cxnSpMk id="79" creationId="{5020F59C-967E-72EC-BFEA-CF0BD3902F9C}"/>
          </ac:cxnSpMkLst>
        </pc:cxnChg>
        <pc:cxnChg chg="mod">
          <ac:chgData name="WANONO, Nathan" userId="99f38b78-d58b-43dc-971c-441766c63fc4" providerId="ADAL" clId="{645A1AA1-1855-4064-9EB2-CD5361C30D88}" dt="2024-09-18T07:40:49.059" v="21572" actId="108"/>
          <ac:cxnSpMkLst>
            <pc:docMk/>
            <pc:sldMk cId="3935596701" sldId="2145706690"/>
            <ac:cxnSpMk id="81" creationId="{A12A8D61-3E3B-95C0-44C7-7AAE5FEC9E66}"/>
          </ac:cxnSpMkLst>
        </pc:cxnChg>
      </pc:sldChg>
      <pc:sldChg chg="addSp delSp modSp add mod">
        <pc:chgData name="WANONO, Nathan" userId="99f38b78-d58b-43dc-971c-441766c63fc4" providerId="ADAL" clId="{645A1AA1-1855-4064-9EB2-CD5361C30D88}" dt="2024-09-18T08:29:48.016" v="24594" actId="1076"/>
        <pc:sldMkLst>
          <pc:docMk/>
          <pc:sldMk cId="1528385757" sldId="2145706691"/>
        </pc:sldMkLst>
        <pc:spChg chg="add mod">
          <ac:chgData name="WANONO, Nathan" userId="99f38b78-d58b-43dc-971c-441766c63fc4" providerId="ADAL" clId="{645A1AA1-1855-4064-9EB2-CD5361C30D88}" dt="2024-09-18T08:29:36.011" v="24590" actId="113"/>
          <ac:spMkLst>
            <pc:docMk/>
            <pc:sldMk cId="1528385757" sldId="2145706691"/>
            <ac:spMk id="2" creationId="{79A8C47B-FA22-5F7F-686A-48D49AB6BEE7}"/>
          </ac:spMkLst>
        </pc:spChg>
        <pc:spChg chg="mod">
          <ac:chgData name="WANONO, Nathan" userId="99f38b78-d58b-43dc-971c-441766c63fc4" providerId="ADAL" clId="{645A1AA1-1855-4064-9EB2-CD5361C30D88}" dt="2024-09-18T07:59:53.385" v="22174" actId="20577"/>
          <ac:spMkLst>
            <pc:docMk/>
            <pc:sldMk cId="1528385757" sldId="2145706691"/>
            <ac:spMk id="3" creationId="{F1261247-D114-B15E-D6B0-FD5D1DC5DAEA}"/>
          </ac:spMkLst>
        </pc:spChg>
        <pc:spChg chg="del">
          <ac:chgData name="WANONO, Nathan" userId="99f38b78-d58b-43dc-971c-441766c63fc4" providerId="ADAL" clId="{645A1AA1-1855-4064-9EB2-CD5361C30D88}" dt="2024-09-18T07:59:59.545" v="22177" actId="478"/>
          <ac:spMkLst>
            <pc:docMk/>
            <pc:sldMk cId="1528385757" sldId="2145706691"/>
            <ac:spMk id="8" creationId="{A285641D-EE22-137F-A043-B6E3BEAE94D1}"/>
          </ac:spMkLst>
        </pc:spChg>
        <pc:spChg chg="del">
          <ac:chgData name="WANONO, Nathan" userId="99f38b78-d58b-43dc-971c-441766c63fc4" providerId="ADAL" clId="{645A1AA1-1855-4064-9EB2-CD5361C30D88}" dt="2024-09-18T07:59:59.545" v="22177" actId="478"/>
          <ac:spMkLst>
            <pc:docMk/>
            <pc:sldMk cId="1528385757" sldId="2145706691"/>
            <ac:spMk id="9" creationId="{C69B28C7-1B4C-37BB-042D-5D6DF69A93ED}"/>
          </ac:spMkLst>
        </pc:spChg>
        <pc:spChg chg="mod">
          <ac:chgData name="WANONO, Nathan" userId="99f38b78-d58b-43dc-971c-441766c63fc4" providerId="ADAL" clId="{645A1AA1-1855-4064-9EB2-CD5361C30D88}" dt="2024-09-18T08:29:39.771" v="24591"/>
          <ac:spMkLst>
            <pc:docMk/>
            <pc:sldMk cId="1528385757" sldId="2145706691"/>
            <ac:spMk id="10" creationId="{E9A25924-70AD-A812-666A-5802AA476D4D}"/>
          </ac:spMkLst>
        </pc:spChg>
        <pc:spChg chg="mod">
          <ac:chgData name="WANONO, Nathan" userId="99f38b78-d58b-43dc-971c-441766c63fc4" providerId="ADAL" clId="{645A1AA1-1855-4064-9EB2-CD5361C30D88}" dt="2024-09-18T08:29:39.771" v="24591"/>
          <ac:spMkLst>
            <pc:docMk/>
            <pc:sldMk cId="1528385757" sldId="2145706691"/>
            <ac:spMk id="11" creationId="{A0C27924-553F-9926-6FD4-5589B3ADBA93}"/>
          </ac:spMkLst>
        </pc:spChg>
        <pc:spChg chg="mod">
          <ac:chgData name="WANONO, Nathan" userId="99f38b78-d58b-43dc-971c-441766c63fc4" providerId="ADAL" clId="{645A1AA1-1855-4064-9EB2-CD5361C30D88}" dt="2024-09-18T08:29:39.771" v="24591"/>
          <ac:spMkLst>
            <pc:docMk/>
            <pc:sldMk cId="1528385757" sldId="2145706691"/>
            <ac:spMk id="12" creationId="{AB5D202B-BDC5-5513-E584-B03090F73C30}"/>
          </ac:spMkLst>
        </pc:spChg>
        <pc:spChg chg="mod">
          <ac:chgData name="WANONO, Nathan" userId="99f38b78-d58b-43dc-971c-441766c63fc4" providerId="ADAL" clId="{645A1AA1-1855-4064-9EB2-CD5361C30D88}" dt="2024-09-18T08:29:26.258" v="24587" actId="14100"/>
          <ac:spMkLst>
            <pc:docMk/>
            <pc:sldMk cId="1528385757" sldId="2145706691"/>
            <ac:spMk id="103" creationId="{1BC49AF2-85A3-7246-B2EC-46FDF8E9CC5D}"/>
          </ac:spMkLst>
        </pc:spChg>
        <pc:grpChg chg="add mod">
          <ac:chgData name="WANONO, Nathan" userId="99f38b78-d58b-43dc-971c-441766c63fc4" providerId="ADAL" clId="{645A1AA1-1855-4064-9EB2-CD5361C30D88}" dt="2024-09-18T08:29:48.016" v="24594" actId="1076"/>
          <ac:grpSpMkLst>
            <pc:docMk/>
            <pc:sldMk cId="1528385757" sldId="2145706691"/>
            <ac:grpSpMk id="7" creationId="{5FD9CA46-7506-E568-4C03-3E02805C8665}"/>
          </ac:grpSpMkLst>
        </pc:grpChg>
        <pc:picChg chg="del">
          <ac:chgData name="WANONO, Nathan" userId="99f38b78-d58b-43dc-971c-441766c63fc4" providerId="ADAL" clId="{645A1AA1-1855-4064-9EB2-CD5361C30D88}" dt="2024-09-18T07:59:59.545" v="22177" actId="478"/>
          <ac:picMkLst>
            <pc:docMk/>
            <pc:sldMk cId="1528385757" sldId="2145706691"/>
            <ac:picMk id="4" creationId="{5F4A7732-FE6F-FC60-060D-9B82E6FE66B0}"/>
          </ac:picMkLst>
        </pc:picChg>
        <pc:picChg chg="del">
          <ac:chgData name="WANONO, Nathan" userId="99f38b78-d58b-43dc-971c-441766c63fc4" providerId="ADAL" clId="{645A1AA1-1855-4064-9EB2-CD5361C30D88}" dt="2024-09-18T07:59:59.545" v="22177" actId="478"/>
          <ac:picMkLst>
            <pc:docMk/>
            <pc:sldMk cId="1528385757" sldId="2145706691"/>
            <ac:picMk id="5" creationId="{8B920EA2-85EA-1D29-8C29-0FE5B93FBD45}"/>
          </ac:picMkLst>
        </pc:picChg>
        <pc:cxnChg chg="del mod">
          <ac:chgData name="WANONO, Nathan" userId="99f38b78-d58b-43dc-971c-441766c63fc4" providerId="ADAL" clId="{645A1AA1-1855-4064-9EB2-CD5361C30D88}" dt="2024-09-18T07:59:59.545" v="22177" actId="478"/>
          <ac:cxnSpMkLst>
            <pc:docMk/>
            <pc:sldMk cId="1528385757" sldId="2145706691"/>
            <ac:cxnSpMk id="6" creationId="{2097EB42-315E-025F-7689-C9BCD320DA54}"/>
          </ac:cxnSpMkLst>
        </pc:cxnChg>
      </pc:sldChg>
      <pc:sldChg chg="add del">
        <pc:chgData name="WANONO, Nathan" userId="99f38b78-d58b-43dc-971c-441766c63fc4" providerId="ADAL" clId="{645A1AA1-1855-4064-9EB2-CD5361C30D88}" dt="2024-09-18T08:29:56.672" v="24595" actId="47"/>
        <pc:sldMkLst>
          <pc:docMk/>
          <pc:sldMk cId="1230650114" sldId="2145706692"/>
        </pc:sldMkLst>
      </pc:sldChg>
      <pc:sldChg chg="addSp delSp modSp add mod">
        <pc:chgData name="WANONO, Nathan" userId="99f38b78-d58b-43dc-971c-441766c63fc4" providerId="ADAL" clId="{645A1AA1-1855-4064-9EB2-CD5361C30D88}" dt="2024-09-18T10:45:34.296" v="24843" actId="1035"/>
        <pc:sldMkLst>
          <pc:docMk/>
          <pc:sldMk cId="3781113531" sldId="2145706693"/>
        </pc:sldMkLst>
        <pc:spChg chg="mod">
          <ac:chgData name="WANONO, Nathan" userId="99f38b78-d58b-43dc-971c-441766c63fc4" providerId="ADAL" clId="{645A1AA1-1855-4064-9EB2-CD5361C30D88}" dt="2024-09-18T08:00:10.093" v="22188" actId="6549"/>
          <ac:spMkLst>
            <pc:docMk/>
            <pc:sldMk cId="3781113531" sldId="2145706693"/>
            <ac:spMk id="3" creationId="{F1261247-D114-B15E-D6B0-FD5D1DC5DAEA}"/>
          </ac:spMkLst>
        </pc:spChg>
        <pc:spChg chg="mod">
          <ac:chgData name="WANONO, Nathan" userId="99f38b78-d58b-43dc-971c-441766c63fc4" providerId="ADAL" clId="{645A1AA1-1855-4064-9EB2-CD5361C30D88}" dt="2024-09-18T08:23:18.059" v="23799" actId="14100"/>
          <ac:spMkLst>
            <pc:docMk/>
            <pc:sldMk cId="3781113531" sldId="2145706693"/>
            <ac:spMk id="5" creationId="{3AA7F2A3-B0C0-D68A-CA8D-C23BFCFC8367}"/>
          </ac:spMkLst>
        </pc:spChg>
        <pc:spChg chg="del">
          <ac:chgData name="WANONO, Nathan" userId="99f38b78-d58b-43dc-971c-441766c63fc4" providerId="ADAL" clId="{645A1AA1-1855-4064-9EB2-CD5361C30D88}" dt="2024-09-18T08:15:58.587" v="23061" actId="478"/>
          <ac:spMkLst>
            <pc:docMk/>
            <pc:sldMk cId="3781113531" sldId="2145706693"/>
            <ac:spMk id="13" creationId="{799540FE-4786-8225-DCCB-F6C642832119}"/>
          </ac:spMkLst>
        </pc:spChg>
        <pc:spChg chg="del">
          <ac:chgData name="WANONO, Nathan" userId="99f38b78-d58b-43dc-971c-441766c63fc4" providerId="ADAL" clId="{645A1AA1-1855-4064-9EB2-CD5361C30D88}" dt="2024-09-18T08:15:56.456" v="23060" actId="478"/>
          <ac:spMkLst>
            <pc:docMk/>
            <pc:sldMk cId="3781113531" sldId="2145706693"/>
            <ac:spMk id="14" creationId="{796035E6-D116-1507-EFC1-8E804122FB1B}"/>
          </ac:spMkLst>
        </pc:spChg>
        <pc:spChg chg="del mod">
          <ac:chgData name="WANONO, Nathan" userId="99f38b78-d58b-43dc-971c-441766c63fc4" providerId="ADAL" clId="{645A1AA1-1855-4064-9EB2-CD5361C30D88}" dt="2024-09-18T08:17:43.565" v="23091" actId="478"/>
          <ac:spMkLst>
            <pc:docMk/>
            <pc:sldMk cId="3781113531" sldId="2145706693"/>
            <ac:spMk id="22" creationId="{6E3AB764-4E05-EBDB-14C9-54A5D1033EF6}"/>
          </ac:spMkLst>
        </pc:spChg>
        <pc:spChg chg="del mod">
          <ac:chgData name="WANONO, Nathan" userId="99f38b78-d58b-43dc-971c-441766c63fc4" providerId="ADAL" clId="{645A1AA1-1855-4064-9EB2-CD5361C30D88}" dt="2024-09-18T08:17:44.783" v="23092" actId="478"/>
          <ac:spMkLst>
            <pc:docMk/>
            <pc:sldMk cId="3781113531" sldId="2145706693"/>
            <ac:spMk id="23" creationId="{BBBD8CF0-9505-6AD3-7DC3-6FD1E1064D7D}"/>
          </ac:spMkLst>
        </pc:spChg>
        <pc:spChg chg="add mod">
          <ac:chgData name="WANONO, Nathan" userId="99f38b78-d58b-43dc-971c-441766c63fc4" providerId="ADAL" clId="{645A1AA1-1855-4064-9EB2-CD5361C30D88}" dt="2024-09-18T08:23:22.630" v="23800" actId="1076"/>
          <ac:spMkLst>
            <pc:docMk/>
            <pc:sldMk cId="3781113531" sldId="2145706693"/>
            <ac:spMk id="43" creationId="{8174EA8E-DB3E-CA34-A6F4-0BBB5D85CCF6}"/>
          </ac:spMkLst>
        </pc:spChg>
        <pc:spChg chg="add mod">
          <ac:chgData name="WANONO, Nathan" userId="99f38b78-d58b-43dc-971c-441766c63fc4" providerId="ADAL" clId="{645A1AA1-1855-4064-9EB2-CD5361C30D88}" dt="2024-09-18T08:23:22.630" v="23800" actId="1076"/>
          <ac:spMkLst>
            <pc:docMk/>
            <pc:sldMk cId="3781113531" sldId="2145706693"/>
            <ac:spMk id="52" creationId="{27C9E858-9C95-0BB4-F978-89A980B0B001}"/>
          </ac:spMkLst>
        </pc:spChg>
        <pc:spChg chg="add del mod">
          <ac:chgData name="WANONO, Nathan" userId="99f38b78-d58b-43dc-971c-441766c63fc4" providerId="ADAL" clId="{645A1AA1-1855-4064-9EB2-CD5361C30D88}" dt="2024-09-18T08:08:43.004" v="22877" actId="478"/>
          <ac:spMkLst>
            <pc:docMk/>
            <pc:sldMk cId="3781113531" sldId="2145706693"/>
            <ac:spMk id="56" creationId="{0B34BDE5-455D-1540-7C1E-0480E2513F71}"/>
          </ac:spMkLst>
        </pc:spChg>
        <pc:spChg chg="add del mod">
          <ac:chgData name="WANONO, Nathan" userId="99f38b78-d58b-43dc-971c-441766c63fc4" providerId="ADAL" clId="{645A1AA1-1855-4064-9EB2-CD5361C30D88}" dt="2024-09-18T08:17:49.086" v="23094" actId="478"/>
          <ac:spMkLst>
            <pc:docMk/>
            <pc:sldMk cId="3781113531" sldId="2145706693"/>
            <ac:spMk id="59" creationId="{B1985D86-03F8-7FDB-202C-BB14AC14A0AF}"/>
          </ac:spMkLst>
        </pc:spChg>
        <pc:spChg chg="add mod">
          <ac:chgData name="WANONO, Nathan" userId="99f38b78-d58b-43dc-971c-441766c63fc4" providerId="ADAL" clId="{645A1AA1-1855-4064-9EB2-CD5361C30D88}" dt="2024-09-18T08:23:22.630" v="23800" actId="1076"/>
          <ac:spMkLst>
            <pc:docMk/>
            <pc:sldMk cId="3781113531" sldId="2145706693"/>
            <ac:spMk id="69" creationId="{5BE157C8-7E63-5F9F-B309-D827D0064603}"/>
          </ac:spMkLst>
        </pc:spChg>
        <pc:spChg chg="add mod">
          <ac:chgData name="WANONO, Nathan" userId="99f38b78-d58b-43dc-971c-441766c63fc4" providerId="ADAL" clId="{645A1AA1-1855-4064-9EB2-CD5361C30D88}" dt="2024-09-18T08:23:22.630" v="23800" actId="1076"/>
          <ac:spMkLst>
            <pc:docMk/>
            <pc:sldMk cId="3781113531" sldId="2145706693"/>
            <ac:spMk id="105" creationId="{3586475C-10EC-0F23-688E-1CD79FF8B189}"/>
          </ac:spMkLst>
        </pc:spChg>
        <pc:spChg chg="add mod">
          <ac:chgData name="WANONO, Nathan" userId="99f38b78-d58b-43dc-971c-441766c63fc4" providerId="ADAL" clId="{645A1AA1-1855-4064-9EB2-CD5361C30D88}" dt="2024-09-18T08:23:22.630" v="23800" actId="1076"/>
          <ac:spMkLst>
            <pc:docMk/>
            <pc:sldMk cId="3781113531" sldId="2145706693"/>
            <ac:spMk id="108" creationId="{D8263D4F-0BE7-0A4E-4DEF-943445A22691}"/>
          </ac:spMkLst>
        </pc:spChg>
        <pc:spChg chg="add mod">
          <ac:chgData name="WANONO, Nathan" userId="99f38b78-d58b-43dc-971c-441766c63fc4" providerId="ADAL" clId="{645A1AA1-1855-4064-9EB2-CD5361C30D88}" dt="2024-09-18T08:23:22.630" v="23800" actId="1076"/>
          <ac:spMkLst>
            <pc:docMk/>
            <pc:sldMk cId="3781113531" sldId="2145706693"/>
            <ac:spMk id="113" creationId="{11D2D22B-C069-7143-2ABF-6B66A5F8834A}"/>
          </ac:spMkLst>
        </pc:spChg>
        <pc:grpChg chg="del">
          <ac:chgData name="WANONO, Nathan" userId="99f38b78-d58b-43dc-971c-441766c63fc4" providerId="ADAL" clId="{645A1AA1-1855-4064-9EB2-CD5361C30D88}" dt="2024-09-18T08:15:56.456" v="23060" actId="478"/>
          <ac:grpSpMkLst>
            <pc:docMk/>
            <pc:sldMk cId="3781113531" sldId="2145706693"/>
            <ac:grpSpMk id="10" creationId="{07026B04-7AEA-4A82-518A-8098C239276F}"/>
          </ac:grpSpMkLst>
        </pc:grpChg>
        <pc:picChg chg="add del mod">
          <ac:chgData name="WANONO, Nathan" userId="99f38b78-d58b-43dc-971c-441766c63fc4" providerId="ADAL" clId="{645A1AA1-1855-4064-9EB2-CD5361C30D88}" dt="2024-09-18T08:08:16.660" v="22852" actId="478"/>
          <ac:picMkLst>
            <pc:docMk/>
            <pc:sldMk cId="3781113531" sldId="2145706693"/>
            <ac:picMk id="2" creationId="{DE9B08AC-CAEA-3000-81A6-4C649DC56CD6}"/>
          </ac:picMkLst>
        </pc:picChg>
        <pc:picChg chg="mod">
          <ac:chgData name="WANONO, Nathan" userId="99f38b78-d58b-43dc-971c-441766c63fc4" providerId="ADAL" clId="{645A1AA1-1855-4064-9EB2-CD5361C30D88}" dt="2024-09-18T10:45:34.296" v="24843" actId="1035"/>
          <ac:picMkLst>
            <pc:docMk/>
            <pc:sldMk cId="3781113531" sldId="2145706693"/>
            <ac:picMk id="4" creationId="{B91B06F2-6370-05E6-4E14-B368C721002B}"/>
          </ac:picMkLst>
        </pc:picChg>
        <pc:picChg chg="add del mod">
          <ac:chgData name="WANONO, Nathan" userId="99f38b78-d58b-43dc-971c-441766c63fc4" providerId="ADAL" clId="{645A1AA1-1855-4064-9EB2-CD5361C30D88}" dt="2024-09-18T08:23:22.630" v="23800" actId="1076"/>
          <ac:picMkLst>
            <pc:docMk/>
            <pc:sldMk cId="3781113531" sldId="2145706693"/>
            <ac:picMk id="6" creationId="{A5846AC7-28C8-CC1F-1EC6-032546562EA0}"/>
          </ac:picMkLst>
        </pc:picChg>
        <pc:picChg chg="del">
          <ac:chgData name="WANONO, Nathan" userId="99f38b78-d58b-43dc-971c-441766c63fc4" providerId="ADAL" clId="{645A1AA1-1855-4064-9EB2-CD5361C30D88}" dt="2024-09-18T08:15:56.456" v="23060" actId="478"/>
          <ac:picMkLst>
            <pc:docMk/>
            <pc:sldMk cId="3781113531" sldId="2145706693"/>
            <ac:picMk id="7" creationId="{BB21F99E-14E0-ED0D-B7A7-E5C32F28CF93}"/>
          </ac:picMkLst>
        </pc:picChg>
        <pc:picChg chg="mod">
          <ac:chgData name="WANONO, Nathan" userId="99f38b78-d58b-43dc-971c-441766c63fc4" providerId="ADAL" clId="{645A1AA1-1855-4064-9EB2-CD5361C30D88}" dt="2024-09-18T08:23:22.630" v="23800" actId="1076"/>
          <ac:picMkLst>
            <pc:docMk/>
            <pc:sldMk cId="3781113531" sldId="2145706693"/>
            <ac:picMk id="19" creationId="{40CF47E8-9C65-B05E-BB03-A8C823925F5A}"/>
          </ac:picMkLst>
        </pc:picChg>
        <pc:picChg chg="add mod">
          <ac:chgData name="WANONO, Nathan" userId="99f38b78-d58b-43dc-971c-441766c63fc4" providerId="ADAL" clId="{645A1AA1-1855-4064-9EB2-CD5361C30D88}" dt="2024-09-18T08:23:22.630" v="23800" actId="1076"/>
          <ac:picMkLst>
            <pc:docMk/>
            <pc:sldMk cId="3781113531" sldId="2145706693"/>
            <ac:picMk id="21" creationId="{7BE786BC-51F0-DEC2-A893-38F9DD3DA535}"/>
          </ac:picMkLst>
        </pc:picChg>
        <pc:picChg chg="add mod">
          <ac:chgData name="WANONO, Nathan" userId="99f38b78-d58b-43dc-971c-441766c63fc4" providerId="ADAL" clId="{645A1AA1-1855-4064-9EB2-CD5361C30D88}" dt="2024-09-18T08:23:22.630" v="23800" actId="1076"/>
          <ac:picMkLst>
            <pc:docMk/>
            <pc:sldMk cId="3781113531" sldId="2145706693"/>
            <ac:picMk id="25" creationId="{0A30C9D6-4160-042A-1B3A-02741926750C}"/>
          </ac:picMkLst>
        </pc:picChg>
        <pc:picChg chg="add del mod">
          <ac:chgData name="WANONO, Nathan" userId="99f38b78-d58b-43dc-971c-441766c63fc4" providerId="ADAL" clId="{645A1AA1-1855-4064-9EB2-CD5361C30D88}" dt="2024-09-18T08:06:17.367" v="22810" actId="478"/>
          <ac:picMkLst>
            <pc:docMk/>
            <pc:sldMk cId="3781113531" sldId="2145706693"/>
            <ac:picMk id="36" creationId="{4A48B8B7-35FB-B49A-0687-FB4BC021BF5A}"/>
          </ac:picMkLst>
        </pc:picChg>
        <pc:picChg chg="add mod">
          <ac:chgData name="WANONO, Nathan" userId="99f38b78-d58b-43dc-971c-441766c63fc4" providerId="ADAL" clId="{645A1AA1-1855-4064-9EB2-CD5361C30D88}" dt="2024-09-18T08:23:22.630" v="23800" actId="1076"/>
          <ac:picMkLst>
            <pc:docMk/>
            <pc:sldMk cId="3781113531" sldId="2145706693"/>
            <ac:picMk id="38" creationId="{EAA6FEF0-8B08-9C90-F30E-B0984A69817E}"/>
          </ac:picMkLst>
        </pc:picChg>
        <pc:picChg chg="add mod">
          <ac:chgData name="WANONO, Nathan" userId="99f38b78-d58b-43dc-971c-441766c63fc4" providerId="ADAL" clId="{645A1AA1-1855-4064-9EB2-CD5361C30D88}" dt="2024-09-18T08:23:22.630" v="23800" actId="1076"/>
          <ac:picMkLst>
            <pc:docMk/>
            <pc:sldMk cId="3781113531" sldId="2145706693"/>
            <ac:picMk id="44" creationId="{72070530-F073-0648-09CB-048389E5045B}"/>
          </ac:picMkLst>
        </pc:picChg>
        <pc:picChg chg="add del mod">
          <ac:chgData name="WANONO, Nathan" userId="99f38b78-d58b-43dc-971c-441766c63fc4" providerId="ADAL" clId="{645A1AA1-1855-4064-9EB2-CD5361C30D88}" dt="2024-09-18T08:09:10.078" v="22883" actId="478"/>
          <ac:picMkLst>
            <pc:docMk/>
            <pc:sldMk cId="3781113531" sldId="2145706693"/>
            <ac:picMk id="53" creationId="{A5C1EFD6-ACA6-2E3C-AEFC-C4EE84B38AF2}"/>
          </ac:picMkLst>
        </pc:picChg>
        <pc:picChg chg="add del mod">
          <ac:chgData name="WANONO, Nathan" userId="99f38b78-d58b-43dc-971c-441766c63fc4" providerId="ADAL" clId="{645A1AA1-1855-4064-9EB2-CD5361C30D88}" dt="2024-09-18T08:09:08.344" v="22882" actId="478"/>
          <ac:picMkLst>
            <pc:docMk/>
            <pc:sldMk cId="3781113531" sldId="2145706693"/>
            <ac:picMk id="54" creationId="{EF07654D-6731-2E27-BB23-BED33D27D5F6}"/>
          </ac:picMkLst>
        </pc:picChg>
        <pc:picChg chg="add mod">
          <ac:chgData name="WANONO, Nathan" userId="99f38b78-d58b-43dc-971c-441766c63fc4" providerId="ADAL" clId="{645A1AA1-1855-4064-9EB2-CD5361C30D88}" dt="2024-09-18T08:23:22.630" v="23800" actId="1076"/>
          <ac:picMkLst>
            <pc:docMk/>
            <pc:sldMk cId="3781113531" sldId="2145706693"/>
            <ac:picMk id="58" creationId="{664C8A6E-B188-8A3F-A3ED-3491AFDA8C6F}"/>
          </ac:picMkLst>
        </pc:picChg>
        <pc:picChg chg="add del mod">
          <ac:chgData name="WANONO, Nathan" userId="99f38b78-d58b-43dc-971c-441766c63fc4" providerId="ADAL" clId="{645A1AA1-1855-4064-9EB2-CD5361C30D88}" dt="2024-09-18T08:13:16.350" v="22957" actId="478"/>
          <ac:picMkLst>
            <pc:docMk/>
            <pc:sldMk cId="3781113531" sldId="2145706693"/>
            <ac:picMk id="70" creationId="{747AC8EF-AA79-7276-6B1F-D1768EE9BD60}"/>
          </ac:picMkLst>
        </pc:picChg>
        <pc:picChg chg="add mod">
          <ac:chgData name="WANONO, Nathan" userId="99f38b78-d58b-43dc-971c-441766c63fc4" providerId="ADAL" clId="{645A1AA1-1855-4064-9EB2-CD5361C30D88}" dt="2024-09-18T08:13:07.120" v="22952"/>
          <ac:picMkLst>
            <pc:docMk/>
            <pc:sldMk cId="3781113531" sldId="2145706693"/>
            <ac:picMk id="77" creationId="{9249709B-E357-C93F-CB38-A1567291EBEA}"/>
          </ac:picMkLst>
        </pc:picChg>
        <pc:picChg chg="add mod">
          <ac:chgData name="WANONO, Nathan" userId="99f38b78-d58b-43dc-971c-441766c63fc4" providerId="ADAL" clId="{645A1AA1-1855-4064-9EB2-CD5361C30D88}" dt="2024-09-18T08:23:22.630" v="23800" actId="1076"/>
          <ac:picMkLst>
            <pc:docMk/>
            <pc:sldMk cId="3781113531" sldId="2145706693"/>
            <ac:picMk id="78" creationId="{25EFE6B6-91B7-D9DD-11D6-85B44A2E4AD4}"/>
          </ac:picMkLst>
        </pc:picChg>
        <pc:picChg chg="add mod">
          <ac:chgData name="WANONO, Nathan" userId="99f38b78-d58b-43dc-971c-441766c63fc4" providerId="ADAL" clId="{645A1AA1-1855-4064-9EB2-CD5361C30D88}" dt="2024-09-18T08:23:22.630" v="23800" actId="1076"/>
          <ac:picMkLst>
            <pc:docMk/>
            <pc:sldMk cId="3781113531" sldId="2145706693"/>
            <ac:picMk id="79" creationId="{FB64F32B-9420-94E2-AFB4-19DD072CEA4A}"/>
          </ac:picMkLst>
        </pc:picChg>
        <pc:picChg chg="add mod">
          <ac:chgData name="WANONO, Nathan" userId="99f38b78-d58b-43dc-971c-441766c63fc4" providerId="ADAL" clId="{645A1AA1-1855-4064-9EB2-CD5361C30D88}" dt="2024-09-18T08:23:22.630" v="23800" actId="1076"/>
          <ac:picMkLst>
            <pc:docMk/>
            <pc:sldMk cId="3781113531" sldId="2145706693"/>
            <ac:picMk id="86" creationId="{B652109C-11D7-0B8E-EFE5-6EC3626A0F37}"/>
          </ac:picMkLst>
        </pc:picChg>
        <pc:picChg chg="add mod">
          <ac:chgData name="WANONO, Nathan" userId="99f38b78-d58b-43dc-971c-441766c63fc4" providerId="ADAL" clId="{645A1AA1-1855-4064-9EB2-CD5361C30D88}" dt="2024-09-18T08:23:22.630" v="23800" actId="1076"/>
          <ac:picMkLst>
            <pc:docMk/>
            <pc:sldMk cId="3781113531" sldId="2145706693"/>
            <ac:picMk id="95" creationId="{1B4E3150-7DC6-3E3B-1A57-7ED77575AD8A}"/>
          </ac:picMkLst>
        </pc:picChg>
        <pc:picChg chg="add mod">
          <ac:chgData name="WANONO, Nathan" userId="99f38b78-d58b-43dc-971c-441766c63fc4" providerId="ADAL" clId="{645A1AA1-1855-4064-9EB2-CD5361C30D88}" dt="2024-09-18T08:23:22.630" v="23800" actId="1076"/>
          <ac:picMkLst>
            <pc:docMk/>
            <pc:sldMk cId="3781113531" sldId="2145706693"/>
            <ac:picMk id="106" creationId="{2DECB12F-0EDF-94FD-35D3-69B06A6AD6C0}"/>
          </ac:picMkLst>
        </pc:picChg>
        <pc:cxnChg chg="del">
          <ac:chgData name="WANONO, Nathan" userId="99f38b78-d58b-43dc-971c-441766c63fc4" providerId="ADAL" clId="{645A1AA1-1855-4064-9EB2-CD5361C30D88}" dt="2024-09-18T08:15:56.456" v="23060" actId="478"/>
          <ac:cxnSpMkLst>
            <pc:docMk/>
            <pc:sldMk cId="3781113531" sldId="2145706693"/>
            <ac:cxnSpMk id="8" creationId="{40A3745E-3BE6-700E-A172-034EA6E98006}"/>
          </ac:cxnSpMkLst>
        </pc:cxnChg>
        <pc:cxnChg chg="del mod">
          <ac:chgData name="WANONO, Nathan" userId="99f38b78-d58b-43dc-971c-441766c63fc4" providerId="ADAL" clId="{645A1AA1-1855-4064-9EB2-CD5361C30D88}" dt="2024-09-18T08:15:56.456" v="23060" actId="478"/>
          <ac:cxnSpMkLst>
            <pc:docMk/>
            <pc:sldMk cId="3781113531" sldId="2145706693"/>
            <ac:cxnSpMk id="9" creationId="{F8D9E6CE-85CE-294F-D347-A7FBE9483EDE}"/>
          </ac:cxnSpMkLst>
        </pc:cxnChg>
        <pc:cxnChg chg="del mod">
          <ac:chgData name="WANONO, Nathan" userId="99f38b78-d58b-43dc-971c-441766c63fc4" providerId="ADAL" clId="{645A1AA1-1855-4064-9EB2-CD5361C30D88}" dt="2024-09-18T08:15:54.853" v="23059" actId="478"/>
          <ac:cxnSpMkLst>
            <pc:docMk/>
            <pc:sldMk cId="3781113531" sldId="2145706693"/>
            <ac:cxnSpMk id="11" creationId="{BFC98978-AC12-9098-7DA4-BB60655DECD5}"/>
          </ac:cxnSpMkLst>
        </pc:cxnChg>
        <pc:cxnChg chg="mod">
          <ac:chgData name="WANONO, Nathan" userId="99f38b78-d58b-43dc-971c-441766c63fc4" providerId="ADAL" clId="{645A1AA1-1855-4064-9EB2-CD5361C30D88}" dt="2024-09-18T08:23:22.630" v="23800" actId="1076"/>
          <ac:cxnSpMkLst>
            <pc:docMk/>
            <pc:sldMk cId="3781113531" sldId="2145706693"/>
            <ac:cxnSpMk id="12" creationId="{04BD9815-2D8C-D1BC-74DF-1C0B88DB61BD}"/>
          </ac:cxnSpMkLst>
        </pc:cxnChg>
        <pc:cxnChg chg="add del mod">
          <ac:chgData name="WANONO, Nathan" userId="99f38b78-d58b-43dc-971c-441766c63fc4" providerId="ADAL" clId="{645A1AA1-1855-4064-9EB2-CD5361C30D88}" dt="2024-09-18T08:08:42.031" v="22876" actId="478"/>
          <ac:cxnSpMkLst>
            <pc:docMk/>
            <pc:sldMk cId="3781113531" sldId="2145706693"/>
            <ac:cxnSpMk id="17" creationId="{636ABD3E-6095-1218-BF30-D38015546878}"/>
          </ac:cxnSpMkLst>
        </pc:cxnChg>
        <pc:cxnChg chg="add del mod">
          <ac:chgData name="WANONO, Nathan" userId="99f38b78-d58b-43dc-971c-441766c63fc4" providerId="ADAL" clId="{645A1AA1-1855-4064-9EB2-CD5361C30D88}" dt="2024-09-18T08:23:22.630" v="23800" actId="1076"/>
          <ac:cxnSpMkLst>
            <pc:docMk/>
            <pc:sldMk cId="3781113531" sldId="2145706693"/>
            <ac:cxnSpMk id="26" creationId="{BD54BA87-CBBA-804C-C1FB-5D36708DD20C}"/>
          </ac:cxnSpMkLst>
        </pc:cxnChg>
        <pc:cxnChg chg="add del mod">
          <ac:chgData name="WANONO, Nathan" userId="99f38b78-d58b-43dc-971c-441766c63fc4" providerId="ADAL" clId="{645A1AA1-1855-4064-9EB2-CD5361C30D88}" dt="2024-09-18T08:23:22.630" v="23800" actId="1076"/>
          <ac:cxnSpMkLst>
            <pc:docMk/>
            <pc:sldMk cId="3781113531" sldId="2145706693"/>
            <ac:cxnSpMk id="45" creationId="{0E7D1D0F-5465-3C03-A85B-94560E269B11}"/>
          </ac:cxnSpMkLst>
        </pc:cxnChg>
        <pc:cxnChg chg="add mod">
          <ac:chgData name="WANONO, Nathan" userId="99f38b78-d58b-43dc-971c-441766c63fc4" providerId="ADAL" clId="{645A1AA1-1855-4064-9EB2-CD5361C30D88}" dt="2024-09-18T08:23:22.630" v="23800" actId="1076"/>
          <ac:cxnSpMkLst>
            <pc:docMk/>
            <pc:sldMk cId="3781113531" sldId="2145706693"/>
            <ac:cxnSpMk id="49" creationId="{F3C85660-875D-D4EF-2CC1-0D2637BC91EF}"/>
          </ac:cxnSpMkLst>
        </pc:cxnChg>
        <pc:cxnChg chg="add del mod">
          <ac:chgData name="WANONO, Nathan" userId="99f38b78-d58b-43dc-971c-441766c63fc4" providerId="ADAL" clId="{645A1AA1-1855-4064-9EB2-CD5361C30D88}" dt="2024-09-18T08:09:28.361" v="22893" actId="478"/>
          <ac:cxnSpMkLst>
            <pc:docMk/>
            <pc:sldMk cId="3781113531" sldId="2145706693"/>
            <ac:cxnSpMk id="57" creationId="{71B5C42E-D23C-5CE8-89AD-AECC1EE6FB05}"/>
          </ac:cxnSpMkLst>
        </pc:cxnChg>
        <pc:cxnChg chg="add del mod">
          <ac:chgData name="WANONO, Nathan" userId="99f38b78-d58b-43dc-971c-441766c63fc4" providerId="ADAL" clId="{645A1AA1-1855-4064-9EB2-CD5361C30D88}" dt="2024-09-18T08:14:24.999" v="22976" actId="478"/>
          <ac:cxnSpMkLst>
            <pc:docMk/>
            <pc:sldMk cId="3781113531" sldId="2145706693"/>
            <ac:cxnSpMk id="66" creationId="{E7D316F6-174F-7C8A-8FAC-C6D4DC3ADB36}"/>
          </ac:cxnSpMkLst>
        </pc:cxnChg>
        <pc:cxnChg chg="add del mod">
          <ac:chgData name="WANONO, Nathan" userId="99f38b78-d58b-43dc-971c-441766c63fc4" providerId="ADAL" clId="{645A1AA1-1855-4064-9EB2-CD5361C30D88}" dt="2024-09-18T08:14:25.749" v="22977" actId="478"/>
          <ac:cxnSpMkLst>
            <pc:docMk/>
            <pc:sldMk cId="3781113531" sldId="2145706693"/>
            <ac:cxnSpMk id="83" creationId="{AE7A7749-2480-9B59-714C-A4A0F50AA813}"/>
          </ac:cxnSpMkLst>
        </pc:cxnChg>
        <pc:cxnChg chg="add mod">
          <ac:chgData name="WANONO, Nathan" userId="99f38b78-d58b-43dc-971c-441766c63fc4" providerId="ADAL" clId="{645A1AA1-1855-4064-9EB2-CD5361C30D88}" dt="2024-09-18T08:23:22.630" v="23800" actId="1076"/>
          <ac:cxnSpMkLst>
            <pc:docMk/>
            <pc:sldMk cId="3781113531" sldId="2145706693"/>
            <ac:cxnSpMk id="88" creationId="{5C9C6782-9BAF-25E4-9CDD-3694C4071B8A}"/>
          </ac:cxnSpMkLst>
        </pc:cxnChg>
        <pc:cxnChg chg="add mod">
          <ac:chgData name="WANONO, Nathan" userId="99f38b78-d58b-43dc-971c-441766c63fc4" providerId="ADAL" clId="{645A1AA1-1855-4064-9EB2-CD5361C30D88}" dt="2024-09-18T08:23:22.630" v="23800" actId="1076"/>
          <ac:cxnSpMkLst>
            <pc:docMk/>
            <pc:sldMk cId="3781113531" sldId="2145706693"/>
            <ac:cxnSpMk id="92" creationId="{882AB534-781D-4D14-648C-721BA054BA83}"/>
          </ac:cxnSpMkLst>
        </pc:cxnChg>
        <pc:cxnChg chg="add mod">
          <ac:chgData name="WANONO, Nathan" userId="99f38b78-d58b-43dc-971c-441766c63fc4" providerId="ADAL" clId="{645A1AA1-1855-4064-9EB2-CD5361C30D88}" dt="2024-09-18T08:23:22.630" v="23800" actId="1076"/>
          <ac:cxnSpMkLst>
            <pc:docMk/>
            <pc:sldMk cId="3781113531" sldId="2145706693"/>
            <ac:cxnSpMk id="96" creationId="{FFD1144C-951C-7AB8-2471-777C3C906F06}"/>
          </ac:cxnSpMkLst>
        </pc:cxnChg>
        <pc:cxnChg chg="add mod">
          <ac:chgData name="WANONO, Nathan" userId="99f38b78-d58b-43dc-971c-441766c63fc4" providerId="ADAL" clId="{645A1AA1-1855-4064-9EB2-CD5361C30D88}" dt="2024-09-18T08:23:22.630" v="23800" actId="1076"/>
          <ac:cxnSpMkLst>
            <pc:docMk/>
            <pc:sldMk cId="3781113531" sldId="2145706693"/>
            <ac:cxnSpMk id="99" creationId="{D8566648-E287-18AC-5730-026188AA32B8}"/>
          </ac:cxnSpMkLst>
        </pc:cxnChg>
        <pc:cxnChg chg="add mod">
          <ac:chgData name="WANONO, Nathan" userId="99f38b78-d58b-43dc-971c-441766c63fc4" providerId="ADAL" clId="{645A1AA1-1855-4064-9EB2-CD5361C30D88}" dt="2024-09-18T08:23:22.630" v="23800" actId="1076"/>
          <ac:cxnSpMkLst>
            <pc:docMk/>
            <pc:sldMk cId="3781113531" sldId="2145706693"/>
            <ac:cxnSpMk id="101" creationId="{3CCA49CF-7A82-AB49-8D3A-B5DA034D122B}"/>
          </ac:cxnSpMkLst>
        </pc:cxnChg>
        <pc:cxnChg chg="add mod">
          <ac:chgData name="WANONO, Nathan" userId="99f38b78-d58b-43dc-971c-441766c63fc4" providerId="ADAL" clId="{645A1AA1-1855-4064-9EB2-CD5361C30D88}" dt="2024-09-18T08:23:22.630" v="23800" actId="1076"/>
          <ac:cxnSpMkLst>
            <pc:docMk/>
            <pc:sldMk cId="3781113531" sldId="2145706693"/>
            <ac:cxnSpMk id="110" creationId="{D369C45C-A8A1-85B9-52F5-68E7FE3231D0}"/>
          </ac:cxnSpMkLst>
        </pc:cxnChg>
      </pc:sldChg>
    </pc:docChg>
  </pc:docChgLst>
  <pc:docChgLst>
    <pc:chgData name="VRIGNAUD, Florian" userId="9fa6101e-7002-446d-aab5-613b8b7c7b3c" providerId="ADAL" clId="{7C40735B-17DE-40AD-8FA6-14705A7DD389}"/>
    <pc:docChg chg="undo redo custSel addSld modSld sldOrd">
      <pc:chgData name="VRIGNAUD, Florian" userId="9fa6101e-7002-446d-aab5-613b8b7c7b3c" providerId="ADAL" clId="{7C40735B-17DE-40AD-8FA6-14705A7DD389}" dt="2024-09-16T15:26:20.607" v="1833" actId="20577"/>
      <pc:docMkLst>
        <pc:docMk/>
      </pc:docMkLst>
      <pc:sldChg chg="modSp mod">
        <pc:chgData name="VRIGNAUD, Florian" userId="9fa6101e-7002-446d-aab5-613b8b7c7b3c" providerId="ADAL" clId="{7C40735B-17DE-40AD-8FA6-14705A7DD389}" dt="2024-09-13T07:36:44.017" v="9" actId="20577"/>
        <pc:sldMkLst>
          <pc:docMk/>
          <pc:sldMk cId="1502916076" sldId="2145706658"/>
        </pc:sldMkLst>
        <pc:spChg chg="mod">
          <ac:chgData name="VRIGNAUD, Florian" userId="9fa6101e-7002-446d-aab5-613b8b7c7b3c" providerId="ADAL" clId="{7C40735B-17DE-40AD-8FA6-14705A7DD389}" dt="2024-09-13T07:36:44.017" v="9" actId="20577"/>
          <ac:spMkLst>
            <pc:docMk/>
            <pc:sldMk cId="1502916076" sldId="2145706658"/>
            <ac:spMk id="5" creationId="{3AA7F2A3-B0C0-D68A-CA8D-C23BFCFC8367}"/>
          </ac:spMkLst>
        </pc:spChg>
      </pc:sldChg>
      <pc:sldChg chg="modSp mod">
        <pc:chgData name="VRIGNAUD, Florian" userId="9fa6101e-7002-446d-aab5-613b8b7c7b3c" providerId="ADAL" clId="{7C40735B-17DE-40AD-8FA6-14705A7DD389}" dt="2024-09-16T14:30:49.457" v="22" actId="20577"/>
        <pc:sldMkLst>
          <pc:docMk/>
          <pc:sldMk cId="4073875336" sldId="2145706670"/>
        </pc:sldMkLst>
        <pc:spChg chg="mod">
          <ac:chgData name="VRIGNAUD, Florian" userId="9fa6101e-7002-446d-aab5-613b8b7c7b3c" providerId="ADAL" clId="{7C40735B-17DE-40AD-8FA6-14705A7DD389}" dt="2024-09-16T14:30:46.593" v="20" actId="20577"/>
          <ac:spMkLst>
            <pc:docMk/>
            <pc:sldMk cId="4073875336" sldId="2145706670"/>
            <ac:spMk id="21" creationId="{0CC04755-86DD-9338-26ED-E298CEE25688}"/>
          </ac:spMkLst>
        </pc:spChg>
        <pc:spChg chg="mod">
          <ac:chgData name="VRIGNAUD, Florian" userId="9fa6101e-7002-446d-aab5-613b8b7c7b3c" providerId="ADAL" clId="{7C40735B-17DE-40AD-8FA6-14705A7DD389}" dt="2024-09-16T14:30:49.457" v="22" actId="20577"/>
          <ac:spMkLst>
            <pc:docMk/>
            <pc:sldMk cId="4073875336" sldId="2145706670"/>
            <ac:spMk id="23" creationId="{FB666075-3464-DE96-B5BD-E620B1089E13}"/>
          </ac:spMkLst>
        </pc:spChg>
      </pc:sldChg>
      <pc:sldChg chg="modSp mod">
        <pc:chgData name="VRIGNAUD, Florian" userId="9fa6101e-7002-446d-aab5-613b8b7c7b3c" providerId="ADAL" clId="{7C40735B-17DE-40AD-8FA6-14705A7DD389}" dt="2024-09-16T15:26:20.607" v="1833" actId="20577"/>
        <pc:sldMkLst>
          <pc:docMk/>
          <pc:sldMk cId="1092881911" sldId="2145706679"/>
        </pc:sldMkLst>
        <pc:spChg chg="mod">
          <ac:chgData name="VRIGNAUD, Florian" userId="9fa6101e-7002-446d-aab5-613b8b7c7b3c" providerId="ADAL" clId="{7C40735B-17DE-40AD-8FA6-14705A7DD389}" dt="2024-09-16T15:26:20.607" v="1833" actId="20577"/>
          <ac:spMkLst>
            <pc:docMk/>
            <pc:sldMk cId="1092881911" sldId="2145706679"/>
            <ac:spMk id="2" creationId="{DD51D6D2-5457-0D3D-16AB-33CE6B7ED2E8}"/>
          </ac:spMkLst>
        </pc:spChg>
      </pc:sldChg>
      <pc:sldChg chg="addSp delSp modSp add mod">
        <pc:chgData name="VRIGNAUD, Florian" userId="9fa6101e-7002-446d-aab5-613b8b7c7b3c" providerId="ADAL" clId="{7C40735B-17DE-40AD-8FA6-14705A7DD389}" dt="2024-09-16T15:16:05.660" v="1652" actId="20577"/>
        <pc:sldMkLst>
          <pc:docMk/>
          <pc:sldMk cId="400549614" sldId="2145706683"/>
        </pc:sldMkLst>
        <pc:spChg chg="mod">
          <ac:chgData name="VRIGNAUD, Florian" userId="9fa6101e-7002-446d-aab5-613b8b7c7b3c" providerId="ADAL" clId="{7C40735B-17DE-40AD-8FA6-14705A7DD389}" dt="2024-09-16T14:40:13.792" v="51" actId="5793"/>
          <ac:spMkLst>
            <pc:docMk/>
            <pc:sldMk cId="400549614" sldId="2145706683"/>
            <ac:spMk id="3" creationId="{F1261247-D114-B15E-D6B0-FD5D1DC5DAEA}"/>
          </ac:spMkLst>
        </pc:spChg>
        <pc:spChg chg="add mod">
          <ac:chgData name="VRIGNAUD, Florian" userId="9fa6101e-7002-446d-aab5-613b8b7c7b3c" providerId="ADAL" clId="{7C40735B-17DE-40AD-8FA6-14705A7DD389}" dt="2024-09-16T14:50:55.056" v="557" actId="1076"/>
          <ac:spMkLst>
            <pc:docMk/>
            <pc:sldMk cId="400549614" sldId="2145706683"/>
            <ac:spMk id="15" creationId="{B7838713-E15B-B6FA-8A29-B7A6AE78D8FB}"/>
          </ac:spMkLst>
        </pc:spChg>
        <pc:spChg chg="add mod">
          <ac:chgData name="VRIGNAUD, Florian" userId="9fa6101e-7002-446d-aab5-613b8b7c7b3c" providerId="ADAL" clId="{7C40735B-17DE-40AD-8FA6-14705A7DD389}" dt="2024-09-16T14:50:55.056" v="557" actId="1076"/>
          <ac:spMkLst>
            <pc:docMk/>
            <pc:sldMk cId="400549614" sldId="2145706683"/>
            <ac:spMk id="16" creationId="{05831492-44CB-0919-D6C1-84387E7012CC}"/>
          </ac:spMkLst>
        </pc:spChg>
        <pc:spChg chg="add mod">
          <ac:chgData name="VRIGNAUD, Florian" userId="9fa6101e-7002-446d-aab5-613b8b7c7b3c" providerId="ADAL" clId="{7C40735B-17DE-40AD-8FA6-14705A7DD389}" dt="2024-09-16T15:16:05.660" v="1652" actId="20577"/>
          <ac:spMkLst>
            <pc:docMk/>
            <pc:sldMk cId="400549614" sldId="2145706683"/>
            <ac:spMk id="17" creationId="{D02C9E30-BE4F-EF63-7F95-E797B208D6B8}"/>
          </ac:spMkLst>
        </pc:spChg>
        <pc:spChg chg="mod">
          <ac:chgData name="VRIGNAUD, Florian" userId="9fa6101e-7002-446d-aab5-613b8b7c7b3c" providerId="ADAL" clId="{7C40735B-17DE-40AD-8FA6-14705A7DD389}" dt="2024-09-16T14:40:54.094" v="61" actId="1076"/>
          <ac:spMkLst>
            <pc:docMk/>
            <pc:sldMk cId="400549614" sldId="2145706683"/>
            <ac:spMk id="109" creationId="{4F788A86-EE4C-1A3F-2F15-71EBEB111371}"/>
          </ac:spMkLst>
        </pc:spChg>
        <pc:spChg chg="mod">
          <ac:chgData name="VRIGNAUD, Florian" userId="9fa6101e-7002-446d-aab5-613b8b7c7b3c" providerId="ADAL" clId="{7C40735B-17DE-40AD-8FA6-14705A7DD389}" dt="2024-09-16T14:40:54.094" v="61" actId="1076"/>
          <ac:spMkLst>
            <pc:docMk/>
            <pc:sldMk cId="400549614" sldId="2145706683"/>
            <ac:spMk id="111" creationId="{3F49A0BA-8806-FF9C-EC68-9AFCC8A1AB7E}"/>
          </ac:spMkLst>
        </pc:spChg>
        <pc:spChg chg="mod">
          <ac:chgData name="VRIGNAUD, Florian" userId="9fa6101e-7002-446d-aab5-613b8b7c7b3c" providerId="ADAL" clId="{7C40735B-17DE-40AD-8FA6-14705A7DD389}" dt="2024-09-16T14:40:54.094" v="61" actId="1076"/>
          <ac:spMkLst>
            <pc:docMk/>
            <pc:sldMk cId="400549614" sldId="2145706683"/>
            <ac:spMk id="112" creationId="{8CA56812-BF81-A155-53C8-3C7E1DAFD25F}"/>
          </ac:spMkLst>
        </pc:spChg>
        <pc:spChg chg="mod">
          <ac:chgData name="VRIGNAUD, Florian" userId="9fa6101e-7002-446d-aab5-613b8b7c7b3c" providerId="ADAL" clId="{7C40735B-17DE-40AD-8FA6-14705A7DD389}" dt="2024-09-16T14:40:54.094" v="61" actId="1076"/>
          <ac:spMkLst>
            <pc:docMk/>
            <pc:sldMk cId="400549614" sldId="2145706683"/>
            <ac:spMk id="113" creationId="{9F8A6A9C-6501-1CEA-0331-7CFEEE393CC2}"/>
          </ac:spMkLst>
        </pc:spChg>
        <pc:spChg chg="mod">
          <ac:chgData name="VRIGNAUD, Florian" userId="9fa6101e-7002-446d-aab5-613b8b7c7b3c" providerId="ADAL" clId="{7C40735B-17DE-40AD-8FA6-14705A7DD389}" dt="2024-09-16T14:40:54.094" v="61" actId="1076"/>
          <ac:spMkLst>
            <pc:docMk/>
            <pc:sldMk cId="400549614" sldId="2145706683"/>
            <ac:spMk id="114" creationId="{0D1ABF01-7DF2-BFA2-D783-9BFA6A396EF9}"/>
          </ac:spMkLst>
        </pc:spChg>
        <pc:spChg chg="del mod">
          <ac:chgData name="VRIGNAUD, Florian" userId="9fa6101e-7002-446d-aab5-613b8b7c7b3c" providerId="ADAL" clId="{7C40735B-17DE-40AD-8FA6-14705A7DD389}" dt="2024-09-16T14:52:15.397" v="588" actId="478"/>
          <ac:spMkLst>
            <pc:docMk/>
            <pc:sldMk cId="400549614" sldId="2145706683"/>
            <ac:spMk id="115" creationId="{7B65198E-BBD9-5032-13C2-1AA4C80C1A5F}"/>
          </ac:spMkLst>
        </pc:spChg>
        <pc:picChg chg="add mod">
          <ac:chgData name="VRIGNAUD, Florian" userId="9fa6101e-7002-446d-aab5-613b8b7c7b3c" providerId="ADAL" clId="{7C40735B-17DE-40AD-8FA6-14705A7DD389}" dt="2024-09-16T14:40:38.495" v="55" actId="1076"/>
          <ac:picMkLst>
            <pc:docMk/>
            <pc:sldMk cId="400549614" sldId="2145706683"/>
            <ac:picMk id="2" creationId="{FAB2F430-7340-DAF7-1FDF-2A4798D0DEF3}"/>
          </ac:picMkLst>
        </pc:picChg>
        <pc:picChg chg="mod">
          <ac:chgData name="VRIGNAUD, Florian" userId="9fa6101e-7002-446d-aab5-613b8b7c7b3c" providerId="ADAL" clId="{7C40735B-17DE-40AD-8FA6-14705A7DD389}" dt="2024-09-16T14:40:54.094" v="61" actId="1076"/>
          <ac:picMkLst>
            <pc:docMk/>
            <pc:sldMk cId="400549614" sldId="2145706683"/>
            <ac:picMk id="4" creationId="{95376EF3-7FF3-8485-0D1C-5055EE86BE08}"/>
          </ac:picMkLst>
        </pc:picChg>
        <pc:picChg chg="mod">
          <ac:chgData name="VRIGNAUD, Florian" userId="9fa6101e-7002-446d-aab5-613b8b7c7b3c" providerId="ADAL" clId="{7C40735B-17DE-40AD-8FA6-14705A7DD389}" dt="2024-09-16T14:40:54.094" v="61" actId="1076"/>
          <ac:picMkLst>
            <pc:docMk/>
            <pc:sldMk cId="400549614" sldId="2145706683"/>
            <ac:picMk id="5" creationId="{3972360C-1783-9FC3-14EC-6ECC11209FE7}"/>
          </ac:picMkLst>
        </pc:picChg>
        <pc:picChg chg="mod">
          <ac:chgData name="VRIGNAUD, Florian" userId="9fa6101e-7002-446d-aab5-613b8b7c7b3c" providerId="ADAL" clId="{7C40735B-17DE-40AD-8FA6-14705A7DD389}" dt="2024-09-16T14:40:54.094" v="61" actId="1076"/>
          <ac:picMkLst>
            <pc:docMk/>
            <pc:sldMk cId="400549614" sldId="2145706683"/>
            <ac:picMk id="6" creationId="{6E0615AD-3394-1420-30A3-9EC115C85F4B}"/>
          </ac:picMkLst>
        </pc:picChg>
        <pc:picChg chg="add mod">
          <ac:chgData name="VRIGNAUD, Florian" userId="9fa6101e-7002-446d-aab5-613b8b7c7b3c" providerId="ADAL" clId="{7C40735B-17DE-40AD-8FA6-14705A7DD389}" dt="2024-09-16T14:40:38.495" v="55" actId="1076"/>
          <ac:picMkLst>
            <pc:docMk/>
            <pc:sldMk cId="400549614" sldId="2145706683"/>
            <ac:picMk id="7" creationId="{A8B0156D-312A-7442-3562-D5F0FAFEC930}"/>
          </ac:picMkLst>
        </pc:picChg>
        <pc:picChg chg="mod">
          <ac:chgData name="VRIGNAUD, Florian" userId="9fa6101e-7002-446d-aab5-613b8b7c7b3c" providerId="ADAL" clId="{7C40735B-17DE-40AD-8FA6-14705A7DD389}" dt="2024-09-16T14:40:54.094" v="61" actId="1076"/>
          <ac:picMkLst>
            <pc:docMk/>
            <pc:sldMk cId="400549614" sldId="2145706683"/>
            <ac:picMk id="8" creationId="{D0EA2A3A-ADFD-3364-AD70-E329E12EF038}"/>
          </ac:picMkLst>
        </pc:picChg>
        <pc:picChg chg="mod">
          <ac:chgData name="VRIGNAUD, Florian" userId="9fa6101e-7002-446d-aab5-613b8b7c7b3c" providerId="ADAL" clId="{7C40735B-17DE-40AD-8FA6-14705A7DD389}" dt="2024-09-16T14:40:54.094" v="61" actId="1076"/>
          <ac:picMkLst>
            <pc:docMk/>
            <pc:sldMk cId="400549614" sldId="2145706683"/>
            <ac:picMk id="9" creationId="{10E9F739-000D-3F77-FCD9-5C782671FC91}"/>
          </ac:picMkLst>
        </pc:picChg>
        <pc:picChg chg="mod">
          <ac:chgData name="VRIGNAUD, Florian" userId="9fa6101e-7002-446d-aab5-613b8b7c7b3c" providerId="ADAL" clId="{7C40735B-17DE-40AD-8FA6-14705A7DD389}" dt="2024-09-16T14:40:54.094" v="61" actId="1076"/>
          <ac:picMkLst>
            <pc:docMk/>
            <pc:sldMk cId="400549614" sldId="2145706683"/>
            <ac:picMk id="12" creationId="{F1941E5B-E4A0-848B-0A21-05D5EDBDD82D}"/>
          </ac:picMkLst>
        </pc:picChg>
        <pc:picChg chg="mod">
          <ac:chgData name="VRIGNAUD, Florian" userId="9fa6101e-7002-446d-aab5-613b8b7c7b3c" providerId="ADAL" clId="{7C40735B-17DE-40AD-8FA6-14705A7DD389}" dt="2024-09-16T14:40:54.094" v="61" actId="1076"/>
          <ac:picMkLst>
            <pc:docMk/>
            <pc:sldMk cId="400549614" sldId="2145706683"/>
            <ac:picMk id="13" creationId="{8C4F05EA-A3E7-9EC3-DBB9-AFA449961B49}"/>
          </ac:picMkLst>
        </pc:picChg>
        <pc:picChg chg="mod">
          <ac:chgData name="VRIGNAUD, Florian" userId="9fa6101e-7002-446d-aab5-613b8b7c7b3c" providerId="ADAL" clId="{7C40735B-17DE-40AD-8FA6-14705A7DD389}" dt="2024-09-16T14:40:54.094" v="61" actId="1076"/>
          <ac:picMkLst>
            <pc:docMk/>
            <pc:sldMk cId="400549614" sldId="2145706683"/>
            <ac:picMk id="101" creationId="{A620A819-CB9F-CEE5-0131-E43F7B45FC88}"/>
          </ac:picMkLst>
        </pc:picChg>
        <pc:picChg chg="mod">
          <ac:chgData name="VRIGNAUD, Florian" userId="9fa6101e-7002-446d-aab5-613b8b7c7b3c" providerId="ADAL" clId="{7C40735B-17DE-40AD-8FA6-14705A7DD389}" dt="2024-09-16T14:40:54.094" v="61" actId="1076"/>
          <ac:picMkLst>
            <pc:docMk/>
            <pc:sldMk cId="400549614" sldId="2145706683"/>
            <ac:picMk id="102" creationId="{D4569BD3-4C5D-A508-96E5-1A392BCEDFAB}"/>
          </ac:picMkLst>
        </pc:picChg>
        <pc:picChg chg="mod">
          <ac:chgData name="VRIGNAUD, Florian" userId="9fa6101e-7002-446d-aab5-613b8b7c7b3c" providerId="ADAL" clId="{7C40735B-17DE-40AD-8FA6-14705A7DD389}" dt="2024-09-16T14:40:54.094" v="61" actId="1076"/>
          <ac:picMkLst>
            <pc:docMk/>
            <pc:sldMk cId="400549614" sldId="2145706683"/>
            <ac:picMk id="104" creationId="{F2AB8389-5025-EB46-D652-17F0D35D6269}"/>
          </ac:picMkLst>
        </pc:picChg>
        <pc:picChg chg="mod">
          <ac:chgData name="VRIGNAUD, Florian" userId="9fa6101e-7002-446d-aab5-613b8b7c7b3c" providerId="ADAL" clId="{7C40735B-17DE-40AD-8FA6-14705A7DD389}" dt="2024-09-16T14:40:54.094" v="61" actId="1076"/>
          <ac:picMkLst>
            <pc:docMk/>
            <pc:sldMk cId="400549614" sldId="2145706683"/>
            <ac:picMk id="105" creationId="{CC75D13B-CE5C-150E-4CBF-6A233B707C76}"/>
          </ac:picMkLst>
        </pc:picChg>
        <pc:picChg chg="mod">
          <ac:chgData name="VRIGNAUD, Florian" userId="9fa6101e-7002-446d-aab5-613b8b7c7b3c" providerId="ADAL" clId="{7C40735B-17DE-40AD-8FA6-14705A7DD389}" dt="2024-09-16T14:40:54.094" v="61" actId="1076"/>
          <ac:picMkLst>
            <pc:docMk/>
            <pc:sldMk cId="400549614" sldId="2145706683"/>
            <ac:picMk id="106" creationId="{D4EEB1EC-3C31-763B-7697-DC1EE05AEA66}"/>
          </ac:picMkLst>
        </pc:picChg>
        <pc:picChg chg="mod">
          <ac:chgData name="VRIGNAUD, Florian" userId="9fa6101e-7002-446d-aab5-613b8b7c7b3c" providerId="ADAL" clId="{7C40735B-17DE-40AD-8FA6-14705A7DD389}" dt="2024-09-16T14:40:54.094" v="61" actId="1076"/>
          <ac:picMkLst>
            <pc:docMk/>
            <pc:sldMk cId="400549614" sldId="2145706683"/>
            <ac:picMk id="107" creationId="{8A2CDE12-8922-51C2-A9B8-1698AE40D20F}"/>
          </ac:picMkLst>
        </pc:picChg>
        <pc:picChg chg="mod">
          <ac:chgData name="VRIGNAUD, Florian" userId="9fa6101e-7002-446d-aab5-613b8b7c7b3c" providerId="ADAL" clId="{7C40735B-17DE-40AD-8FA6-14705A7DD389}" dt="2024-09-16T14:40:54.094" v="61" actId="1076"/>
          <ac:picMkLst>
            <pc:docMk/>
            <pc:sldMk cId="400549614" sldId="2145706683"/>
            <ac:picMk id="108" creationId="{D69414CC-6280-3D22-2443-56EBAC274DDE}"/>
          </ac:picMkLst>
        </pc:picChg>
        <pc:cxnChg chg="add mod">
          <ac:chgData name="VRIGNAUD, Florian" userId="9fa6101e-7002-446d-aab5-613b8b7c7b3c" providerId="ADAL" clId="{7C40735B-17DE-40AD-8FA6-14705A7DD389}" dt="2024-09-16T14:40:42.100" v="57" actId="1076"/>
          <ac:cxnSpMkLst>
            <pc:docMk/>
            <pc:sldMk cId="400549614" sldId="2145706683"/>
            <ac:cxnSpMk id="10" creationId="{94099ECB-5151-90EC-52AC-8D95C5FAABB4}"/>
          </ac:cxnSpMkLst>
        </pc:cxnChg>
        <pc:cxnChg chg="mod">
          <ac:chgData name="VRIGNAUD, Florian" userId="9fa6101e-7002-446d-aab5-613b8b7c7b3c" providerId="ADAL" clId="{7C40735B-17DE-40AD-8FA6-14705A7DD389}" dt="2024-09-16T14:40:54.094" v="61" actId="1076"/>
          <ac:cxnSpMkLst>
            <pc:docMk/>
            <pc:sldMk cId="400549614" sldId="2145706683"/>
            <ac:cxnSpMk id="14" creationId="{EA5F0E3B-C305-288F-DA48-5045DF18ECB7}"/>
          </ac:cxnSpMkLst>
        </pc:cxnChg>
        <pc:cxnChg chg="mod">
          <ac:chgData name="VRIGNAUD, Florian" userId="9fa6101e-7002-446d-aab5-613b8b7c7b3c" providerId="ADAL" clId="{7C40735B-17DE-40AD-8FA6-14705A7DD389}" dt="2024-09-16T14:40:54.094" v="61" actId="1076"/>
          <ac:cxnSpMkLst>
            <pc:docMk/>
            <pc:sldMk cId="400549614" sldId="2145706683"/>
            <ac:cxnSpMk id="19" creationId="{6F7399EC-985B-AB86-7D04-518684B683B3}"/>
          </ac:cxnSpMkLst>
        </pc:cxnChg>
        <pc:cxnChg chg="mod">
          <ac:chgData name="VRIGNAUD, Florian" userId="9fa6101e-7002-446d-aab5-613b8b7c7b3c" providerId="ADAL" clId="{7C40735B-17DE-40AD-8FA6-14705A7DD389}" dt="2024-09-16T14:40:54.094" v="61" actId="1076"/>
          <ac:cxnSpMkLst>
            <pc:docMk/>
            <pc:sldMk cId="400549614" sldId="2145706683"/>
            <ac:cxnSpMk id="25" creationId="{AFE72A28-A018-48F2-97E0-7BA603E0698D}"/>
          </ac:cxnSpMkLst>
        </pc:cxnChg>
        <pc:cxnChg chg="mod">
          <ac:chgData name="VRIGNAUD, Florian" userId="9fa6101e-7002-446d-aab5-613b8b7c7b3c" providerId="ADAL" clId="{7C40735B-17DE-40AD-8FA6-14705A7DD389}" dt="2024-09-16T14:40:54.094" v="61" actId="1076"/>
          <ac:cxnSpMkLst>
            <pc:docMk/>
            <pc:sldMk cId="400549614" sldId="2145706683"/>
            <ac:cxnSpMk id="28" creationId="{B3326C75-D50D-279E-E8AE-17840C1AE559}"/>
          </ac:cxnSpMkLst>
        </pc:cxnChg>
        <pc:cxnChg chg="mod">
          <ac:chgData name="VRIGNAUD, Florian" userId="9fa6101e-7002-446d-aab5-613b8b7c7b3c" providerId="ADAL" clId="{7C40735B-17DE-40AD-8FA6-14705A7DD389}" dt="2024-09-16T14:40:54.094" v="61" actId="1076"/>
          <ac:cxnSpMkLst>
            <pc:docMk/>
            <pc:sldMk cId="400549614" sldId="2145706683"/>
            <ac:cxnSpMk id="31" creationId="{B2AB350F-155C-F2F4-20EB-D7A5FA5F4F4D}"/>
          </ac:cxnSpMkLst>
        </pc:cxnChg>
        <pc:cxnChg chg="mod">
          <ac:chgData name="VRIGNAUD, Florian" userId="9fa6101e-7002-446d-aab5-613b8b7c7b3c" providerId="ADAL" clId="{7C40735B-17DE-40AD-8FA6-14705A7DD389}" dt="2024-09-16T14:40:54.094" v="61" actId="1076"/>
          <ac:cxnSpMkLst>
            <pc:docMk/>
            <pc:sldMk cId="400549614" sldId="2145706683"/>
            <ac:cxnSpMk id="98" creationId="{7985BFEF-26CB-A8D6-0CB1-24C03A4C120C}"/>
          </ac:cxnSpMkLst>
        </pc:cxnChg>
      </pc:sldChg>
      <pc:sldChg chg="addSp modSp add mod">
        <pc:chgData name="VRIGNAUD, Florian" userId="9fa6101e-7002-446d-aab5-613b8b7c7b3c" providerId="ADAL" clId="{7C40735B-17DE-40AD-8FA6-14705A7DD389}" dt="2024-09-16T15:16:21.944" v="1682" actId="1036"/>
        <pc:sldMkLst>
          <pc:docMk/>
          <pc:sldMk cId="515587771" sldId="2145706684"/>
        </pc:sldMkLst>
        <pc:spChg chg="add mod">
          <ac:chgData name="VRIGNAUD, Florian" userId="9fa6101e-7002-446d-aab5-613b8b7c7b3c" providerId="ADAL" clId="{7C40735B-17DE-40AD-8FA6-14705A7DD389}" dt="2024-09-16T14:53:18.669" v="598" actId="1036"/>
          <ac:spMkLst>
            <pc:docMk/>
            <pc:sldMk cId="515587771" sldId="2145706684"/>
            <ac:spMk id="11" creationId="{9BCDF1DB-D373-50A2-3A88-A3BE67A0E1B2}"/>
          </ac:spMkLst>
        </pc:spChg>
        <pc:spChg chg="add mod">
          <ac:chgData name="VRIGNAUD, Florian" userId="9fa6101e-7002-446d-aab5-613b8b7c7b3c" providerId="ADAL" clId="{7C40735B-17DE-40AD-8FA6-14705A7DD389}" dt="2024-09-16T14:53:18.669" v="598" actId="1036"/>
          <ac:spMkLst>
            <pc:docMk/>
            <pc:sldMk cId="515587771" sldId="2145706684"/>
            <ac:spMk id="15" creationId="{1D913A65-42BD-8374-6F5C-8E805EA3E8CE}"/>
          </ac:spMkLst>
        </pc:spChg>
        <pc:spChg chg="mod">
          <ac:chgData name="VRIGNAUD, Florian" userId="9fa6101e-7002-446d-aab5-613b8b7c7b3c" providerId="ADAL" clId="{7C40735B-17DE-40AD-8FA6-14705A7DD389}" dt="2024-09-16T15:16:21.944" v="1682" actId="1036"/>
          <ac:spMkLst>
            <pc:docMk/>
            <pc:sldMk cId="515587771" sldId="2145706684"/>
            <ac:spMk id="115" creationId="{7B65198E-BBD9-5032-13C2-1AA4C80C1A5F}"/>
          </ac:spMkLst>
        </pc:spChg>
      </pc:sldChg>
      <pc:sldChg chg="addSp delSp modSp new mod ord">
        <pc:chgData name="VRIGNAUD, Florian" userId="9fa6101e-7002-446d-aab5-613b8b7c7b3c" providerId="ADAL" clId="{7C40735B-17DE-40AD-8FA6-14705A7DD389}" dt="2024-09-16T15:20:25.489" v="1831" actId="20577"/>
        <pc:sldMkLst>
          <pc:docMk/>
          <pc:sldMk cId="341559420" sldId="2145706685"/>
        </pc:sldMkLst>
        <pc:spChg chg="del">
          <ac:chgData name="VRIGNAUD, Florian" userId="9fa6101e-7002-446d-aab5-613b8b7c7b3c" providerId="ADAL" clId="{7C40735B-17DE-40AD-8FA6-14705A7DD389}" dt="2024-09-16T15:09:23.062" v="1515" actId="478"/>
          <ac:spMkLst>
            <pc:docMk/>
            <pc:sldMk cId="341559420" sldId="2145706685"/>
            <ac:spMk id="2" creationId="{77F5D18E-8048-E54C-3A8F-366B9E7212E8}"/>
          </ac:spMkLst>
        </pc:spChg>
        <pc:spChg chg="del">
          <ac:chgData name="VRIGNAUD, Florian" userId="9fa6101e-7002-446d-aab5-613b8b7c7b3c" providerId="ADAL" clId="{7C40735B-17DE-40AD-8FA6-14705A7DD389}" dt="2024-09-16T14:57:59.677" v="601" actId="478"/>
          <ac:spMkLst>
            <pc:docMk/>
            <pc:sldMk cId="341559420" sldId="2145706685"/>
            <ac:spMk id="3" creationId="{961F8C09-99F9-5E41-3A18-74CBAB021AD8}"/>
          </ac:spMkLst>
        </pc:spChg>
        <pc:spChg chg="mod">
          <ac:chgData name="VRIGNAUD, Florian" userId="9fa6101e-7002-446d-aab5-613b8b7c7b3c" providerId="ADAL" clId="{7C40735B-17DE-40AD-8FA6-14705A7DD389}" dt="2024-09-16T14:59:21.654" v="641" actId="20577"/>
          <ac:spMkLst>
            <pc:docMk/>
            <pc:sldMk cId="341559420" sldId="2145706685"/>
            <ac:spMk id="4" creationId="{2342D69C-1462-0695-59C4-FBB5FC1FE634}"/>
          </ac:spMkLst>
        </pc:spChg>
        <pc:spChg chg="add del mod">
          <ac:chgData name="VRIGNAUD, Florian" userId="9fa6101e-7002-446d-aab5-613b8b7c7b3c" providerId="ADAL" clId="{7C40735B-17DE-40AD-8FA6-14705A7DD389}" dt="2024-09-16T14:58:37.773" v="607" actId="478"/>
          <ac:spMkLst>
            <pc:docMk/>
            <pc:sldMk cId="341559420" sldId="2145706685"/>
            <ac:spMk id="11" creationId="{4357E037-B7F5-67FA-D73E-3C467AA912CC}"/>
          </ac:spMkLst>
        </pc:spChg>
        <pc:spChg chg="add del mod">
          <ac:chgData name="VRIGNAUD, Florian" userId="9fa6101e-7002-446d-aab5-613b8b7c7b3c" providerId="ADAL" clId="{7C40735B-17DE-40AD-8FA6-14705A7DD389}" dt="2024-09-16T14:58:49.233" v="614" actId="478"/>
          <ac:spMkLst>
            <pc:docMk/>
            <pc:sldMk cId="341559420" sldId="2145706685"/>
            <ac:spMk id="12" creationId="{5C12DF59-E858-6CFB-CA3C-B612608BA62C}"/>
          </ac:spMkLst>
        </pc:spChg>
        <pc:spChg chg="add del mod">
          <ac:chgData name="VRIGNAUD, Florian" userId="9fa6101e-7002-446d-aab5-613b8b7c7b3c" providerId="ADAL" clId="{7C40735B-17DE-40AD-8FA6-14705A7DD389}" dt="2024-09-16T14:58:47.649" v="613" actId="478"/>
          <ac:spMkLst>
            <pc:docMk/>
            <pc:sldMk cId="341559420" sldId="2145706685"/>
            <ac:spMk id="13" creationId="{B8D17A71-DAB5-B9E3-717C-B6846FD164C7}"/>
          </ac:spMkLst>
        </pc:spChg>
        <pc:spChg chg="add mod">
          <ac:chgData name="VRIGNAUD, Florian" userId="9fa6101e-7002-446d-aab5-613b8b7c7b3c" providerId="ADAL" clId="{7C40735B-17DE-40AD-8FA6-14705A7DD389}" dt="2024-09-16T14:58:52.752" v="616"/>
          <ac:spMkLst>
            <pc:docMk/>
            <pc:sldMk cId="341559420" sldId="2145706685"/>
            <ac:spMk id="15" creationId="{0DB104B1-DC22-63ED-52C4-DED9FBC2524B}"/>
          </ac:spMkLst>
        </pc:spChg>
        <pc:spChg chg="add mod">
          <ac:chgData name="VRIGNAUD, Florian" userId="9fa6101e-7002-446d-aab5-613b8b7c7b3c" providerId="ADAL" clId="{7C40735B-17DE-40AD-8FA6-14705A7DD389}" dt="2024-09-16T14:59:59.982" v="670" actId="1076"/>
          <ac:spMkLst>
            <pc:docMk/>
            <pc:sldMk cId="341559420" sldId="2145706685"/>
            <ac:spMk id="16" creationId="{A98B870C-1FD6-CA2F-FC29-BDB5CB287247}"/>
          </ac:spMkLst>
        </pc:spChg>
        <pc:spChg chg="add mod">
          <ac:chgData name="VRIGNAUD, Florian" userId="9fa6101e-7002-446d-aab5-613b8b7c7b3c" providerId="ADAL" clId="{7C40735B-17DE-40AD-8FA6-14705A7DD389}" dt="2024-09-16T15:06:42.685" v="1349" actId="1076"/>
          <ac:spMkLst>
            <pc:docMk/>
            <pc:sldMk cId="341559420" sldId="2145706685"/>
            <ac:spMk id="18" creationId="{78B83456-0A1A-F6FD-7371-7AC49EDBEB6D}"/>
          </ac:spMkLst>
        </pc:spChg>
        <pc:spChg chg="add mod">
          <ac:chgData name="VRIGNAUD, Florian" userId="9fa6101e-7002-446d-aab5-613b8b7c7b3c" providerId="ADAL" clId="{7C40735B-17DE-40AD-8FA6-14705A7DD389}" dt="2024-09-16T15:05:32.492" v="1253" actId="1076"/>
          <ac:spMkLst>
            <pc:docMk/>
            <pc:sldMk cId="341559420" sldId="2145706685"/>
            <ac:spMk id="19" creationId="{254969D3-88DA-67E4-E222-CE083C4C2BAA}"/>
          </ac:spMkLst>
        </pc:spChg>
        <pc:spChg chg="add mod">
          <ac:chgData name="VRIGNAUD, Florian" userId="9fa6101e-7002-446d-aab5-613b8b7c7b3c" providerId="ADAL" clId="{7C40735B-17DE-40AD-8FA6-14705A7DD389}" dt="2024-09-16T15:20:25.489" v="1831" actId="20577"/>
          <ac:spMkLst>
            <pc:docMk/>
            <pc:sldMk cId="341559420" sldId="2145706685"/>
            <ac:spMk id="20" creationId="{FA6E0866-DD77-ED45-F47F-148A6E90E91D}"/>
          </ac:spMkLst>
        </pc:spChg>
        <pc:spChg chg="add mod">
          <ac:chgData name="VRIGNAUD, Florian" userId="9fa6101e-7002-446d-aab5-613b8b7c7b3c" providerId="ADAL" clId="{7C40735B-17DE-40AD-8FA6-14705A7DD389}" dt="2024-09-16T15:01:15.799" v="824" actId="1076"/>
          <ac:spMkLst>
            <pc:docMk/>
            <pc:sldMk cId="341559420" sldId="2145706685"/>
            <ac:spMk id="21" creationId="{EAD6EC37-1085-736B-0099-AC3B2D6E29CC}"/>
          </ac:spMkLst>
        </pc:spChg>
        <pc:spChg chg="add mod">
          <ac:chgData name="VRIGNAUD, Florian" userId="9fa6101e-7002-446d-aab5-613b8b7c7b3c" providerId="ADAL" clId="{7C40735B-17DE-40AD-8FA6-14705A7DD389}" dt="2024-09-16T15:08:31.448" v="1514" actId="1035"/>
          <ac:spMkLst>
            <pc:docMk/>
            <pc:sldMk cId="341559420" sldId="2145706685"/>
            <ac:spMk id="22" creationId="{E1159C0B-FB31-4353-564A-9EF43FF36B97}"/>
          </ac:spMkLst>
        </pc:spChg>
        <pc:spChg chg="add mod">
          <ac:chgData name="VRIGNAUD, Florian" userId="9fa6101e-7002-446d-aab5-613b8b7c7b3c" providerId="ADAL" clId="{7C40735B-17DE-40AD-8FA6-14705A7DD389}" dt="2024-09-16T15:05:54.629" v="1259" actId="1076"/>
          <ac:spMkLst>
            <pc:docMk/>
            <pc:sldMk cId="341559420" sldId="2145706685"/>
            <ac:spMk id="24" creationId="{CC040928-0186-65F8-0EB0-DC9617CFADC7}"/>
          </ac:spMkLst>
        </pc:spChg>
        <pc:spChg chg="add mod">
          <ac:chgData name="VRIGNAUD, Florian" userId="9fa6101e-7002-446d-aab5-613b8b7c7b3c" providerId="ADAL" clId="{7C40735B-17DE-40AD-8FA6-14705A7DD389}" dt="2024-09-16T15:19:45.633" v="1735" actId="20577"/>
          <ac:spMkLst>
            <pc:docMk/>
            <pc:sldMk cId="341559420" sldId="2145706685"/>
            <ac:spMk id="33" creationId="{7E8CE0CC-2A06-CEA6-8B7E-2A7AE6CAD731}"/>
          </ac:spMkLst>
        </pc:spChg>
        <pc:spChg chg="add mod">
          <ac:chgData name="VRIGNAUD, Florian" userId="9fa6101e-7002-446d-aab5-613b8b7c7b3c" providerId="ADAL" clId="{7C40735B-17DE-40AD-8FA6-14705A7DD389}" dt="2024-09-16T15:07:37.720" v="1460" actId="1076"/>
          <ac:spMkLst>
            <pc:docMk/>
            <pc:sldMk cId="341559420" sldId="2145706685"/>
            <ac:spMk id="37" creationId="{43D9D71A-AF1D-8484-F68A-3DCD42374113}"/>
          </ac:spMkLst>
        </pc:spChg>
        <pc:spChg chg="add mod">
          <ac:chgData name="VRIGNAUD, Florian" userId="9fa6101e-7002-446d-aab5-613b8b7c7b3c" providerId="ADAL" clId="{7C40735B-17DE-40AD-8FA6-14705A7DD389}" dt="2024-09-16T15:07:54.173" v="1480" actId="1076"/>
          <ac:spMkLst>
            <pc:docMk/>
            <pc:sldMk cId="341559420" sldId="2145706685"/>
            <ac:spMk id="42" creationId="{4A556071-3B06-3262-6531-4AD0276E5642}"/>
          </ac:spMkLst>
        </pc:spChg>
        <pc:picChg chg="add mod">
          <ac:chgData name="VRIGNAUD, Florian" userId="9fa6101e-7002-446d-aab5-613b8b7c7b3c" providerId="ADAL" clId="{7C40735B-17DE-40AD-8FA6-14705A7DD389}" dt="2024-09-16T14:59:59.982" v="670" actId="1076"/>
          <ac:picMkLst>
            <pc:docMk/>
            <pc:sldMk cId="341559420" sldId="2145706685"/>
            <ac:picMk id="5" creationId="{2263D18C-5EFE-0A69-8C50-268F22463CCF}"/>
          </ac:picMkLst>
        </pc:picChg>
        <pc:picChg chg="add mod">
          <ac:chgData name="VRIGNAUD, Florian" userId="9fa6101e-7002-446d-aab5-613b8b7c7b3c" providerId="ADAL" clId="{7C40735B-17DE-40AD-8FA6-14705A7DD389}" dt="2024-09-16T14:59:59.982" v="670" actId="1076"/>
          <ac:picMkLst>
            <pc:docMk/>
            <pc:sldMk cId="341559420" sldId="2145706685"/>
            <ac:picMk id="6" creationId="{FC9CB2B6-B281-C334-41F9-4C2C9372D116}"/>
          </ac:picMkLst>
        </pc:picChg>
        <pc:picChg chg="add mod">
          <ac:chgData name="VRIGNAUD, Florian" userId="9fa6101e-7002-446d-aab5-613b8b7c7b3c" providerId="ADAL" clId="{7C40735B-17DE-40AD-8FA6-14705A7DD389}" dt="2024-09-16T15:01:17.678" v="825" actId="1076"/>
          <ac:picMkLst>
            <pc:docMk/>
            <pc:sldMk cId="341559420" sldId="2145706685"/>
            <ac:picMk id="7" creationId="{BEB75B9E-3CE3-0A46-358C-E2CA412244C4}"/>
          </ac:picMkLst>
        </pc:picChg>
        <pc:cxnChg chg="add del mod">
          <ac:chgData name="VRIGNAUD, Florian" userId="9fa6101e-7002-446d-aab5-613b8b7c7b3c" providerId="ADAL" clId="{7C40735B-17DE-40AD-8FA6-14705A7DD389}" dt="2024-09-16T15:04:45.854" v="1234" actId="478"/>
          <ac:cxnSpMkLst>
            <pc:docMk/>
            <pc:sldMk cId="341559420" sldId="2145706685"/>
            <ac:cxnSpMk id="8" creationId="{1416C89D-B191-EE9F-D44D-2711815CE681}"/>
          </ac:cxnSpMkLst>
        </pc:cxnChg>
        <pc:cxnChg chg="add del mod">
          <ac:chgData name="VRIGNAUD, Florian" userId="9fa6101e-7002-446d-aab5-613b8b7c7b3c" providerId="ADAL" clId="{7C40735B-17DE-40AD-8FA6-14705A7DD389}" dt="2024-09-16T15:04:50.149" v="1236" actId="478"/>
          <ac:cxnSpMkLst>
            <pc:docMk/>
            <pc:sldMk cId="341559420" sldId="2145706685"/>
            <ac:cxnSpMk id="9" creationId="{B7665A11-6412-38A0-9604-711EF7D48481}"/>
          </ac:cxnSpMkLst>
        </pc:cxnChg>
        <pc:cxnChg chg="add mod">
          <ac:chgData name="VRIGNAUD, Florian" userId="9fa6101e-7002-446d-aab5-613b8b7c7b3c" providerId="ADAL" clId="{7C40735B-17DE-40AD-8FA6-14705A7DD389}" dt="2024-09-16T15:19:46.004" v="1737" actId="1076"/>
          <ac:cxnSpMkLst>
            <pc:docMk/>
            <pc:sldMk cId="341559420" sldId="2145706685"/>
            <ac:cxnSpMk id="10" creationId="{A0D4467A-4BB4-5FF8-AE66-AD9D35EA1E34}"/>
          </ac:cxnSpMkLst>
        </pc:cxnChg>
        <pc:cxnChg chg="add mod">
          <ac:chgData name="VRIGNAUD, Florian" userId="9fa6101e-7002-446d-aab5-613b8b7c7b3c" providerId="ADAL" clId="{7C40735B-17DE-40AD-8FA6-14705A7DD389}" dt="2024-09-16T15:04:36.895" v="1232" actId="108"/>
          <ac:cxnSpMkLst>
            <pc:docMk/>
            <pc:sldMk cId="341559420" sldId="2145706685"/>
            <ac:cxnSpMk id="26" creationId="{32A4766D-1ABB-41AF-FDFD-A4E6CD25573D}"/>
          </ac:cxnSpMkLst>
        </pc:cxnChg>
        <pc:cxnChg chg="add mod">
          <ac:chgData name="VRIGNAUD, Florian" userId="9fa6101e-7002-446d-aab5-613b8b7c7b3c" providerId="ADAL" clId="{7C40735B-17DE-40AD-8FA6-14705A7DD389}" dt="2024-09-16T15:05:06.757" v="1241" actId="14100"/>
          <ac:cxnSpMkLst>
            <pc:docMk/>
            <pc:sldMk cId="341559420" sldId="2145706685"/>
            <ac:cxnSpMk id="27" creationId="{CE058F9C-ECAE-18C1-1157-FBC903C72E1F}"/>
          </ac:cxnSpMkLst>
        </pc:cxnChg>
        <pc:cxnChg chg="add mod">
          <ac:chgData name="VRIGNAUD, Florian" userId="9fa6101e-7002-446d-aab5-613b8b7c7b3c" providerId="ADAL" clId="{7C40735B-17DE-40AD-8FA6-14705A7DD389}" dt="2024-09-16T15:06:49.476" v="1351" actId="14100"/>
          <ac:cxnSpMkLst>
            <pc:docMk/>
            <pc:sldMk cId="341559420" sldId="2145706685"/>
            <ac:cxnSpMk id="34" creationId="{0D6C4FEF-E3D2-C3BD-9AF4-3E4C95D5F737}"/>
          </ac:cxnSpMkLst>
        </pc:cxnChg>
        <pc:cxnChg chg="add mod">
          <ac:chgData name="VRIGNAUD, Florian" userId="9fa6101e-7002-446d-aab5-613b8b7c7b3c" providerId="ADAL" clId="{7C40735B-17DE-40AD-8FA6-14705A7DD389}" dt="2024-09-16T15:19:46.434" v="1738" actId="1076"/>
          <ac:cxnSpMkLst>
            <pc:docMk/>
            <pc:sldMk cId="341559420" sldId="2145706685"/>
            <ac:cxnSpMk id="38" creationId="{D6540C44-EB1B-6D18-1301-A83B83A5598A}"/>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19/09/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19/09/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a:t>Insert comments</a:t>
            </a:r>
            <a:endParaRPr lang="pt-BR"/>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40</a:t>
            </a:fld>
            <a:endParaRPr lang="pt-BR"/>
          </a:p>
        </p:txBody>
      </p:sp>
    </p:spTree>
    <p:extLst>
      <p:ext uri="{BB962C8B-B14F-4D97-AF65-F5344CB8AC3E}">
        <p14:creationId xmlns:p14="http://schemas.microsoft.com/office/powerpoint/2010/main" val="25870467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hyperlink" Target="http://www.facebook.com/capgemini" TargetMode="Externa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fr-FR"/>
              <a:t>Modifiez le style du titre</a:t>
            </a:r>
            <a:endParaRPr lang="en-US"/>
          </a:p>
        </p:txBody>
      </p:sp>
    </p:spTree>
    <p:extLst>
      <p:ext uri="{BB962C8B-B14F-4D97-AF65-F5344CB8AC3E}">
        <p14:creationId xmlns:p14="http://schemas.microsoft.com/office/powerpoint/2010/main" val="305506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fr-FR"/>
              <a:t>Modifiez le style du titre</a:t>
            </a:r>
            <a:endParaRPr lang="en-US"/>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a:t>Click to edit Agenda</a:t>
            </a:r>
            <a:endParaRPr lang="en-GB"/>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84793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Image 3">
            <a:extLst>
              <a:ext uri="{FF2B5EF4-FFF2-40B4-BE49-F238E27FC236}">
                <a16:creationId xmlns:a16="http://schemas.microsoft.com/office/drawing/2014/main" id="{635BD2C3-1CF1-2C4D-754E-091C3266BE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7025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699055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fr-FR"/>
              <a:t>Modifiez le style du titre</a:t>
            </a:r>
            <a:endParaRPr lang="de-DE"/>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Tree>
    <p:extLst>
      <p:ext uri="{BB962C8B-B14F-4D97-AF65-F5344CB8AC3E}">
        <p14:creationId xmlns:p14="http://schemas.microsoft.com/office/powerpoint/2010/main" val="3358079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375924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8217014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735666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87651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fr-FR"/>
              <a:t>Modifiez le style du titre</a:t>
            </a:r>
            <a:endParaRPr lang="en-US"/>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fr-FR"/>
              <a:t>Modifiez le style du titre</a:t>
            </a:r>
            <a:endParaRPr lang="en-US"/>
          </a:p>
        </p:txBody>
      </p:sp>
    </p:spTree>
    <p:extLst>
      <p:ext uri="{BB962C8B-B14F-4D97-AF65-F5344CB8AC3E}">
        <p14:creationId xmlns:p14="http://schemas.microsoft.com/office/powerpoint/2010/main" val="239972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703174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291407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697981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6989898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fr-FR"/>
              <a:t>Modifiez le style du titre</a:t>
            </a:r>
            <a:endParaRPr 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2970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180717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862894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200" r:id="rId17"/>
    <p:sldLayoutId id="2147484194" r:id="rId18"/>
    <p:sldLayoutId id="2147484159"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95" r:id="rId34"/>
    <p:sldLayoutId id="2147484144" r:id="rId35"/>
    <p:sldLayoutId id="2147484197" r:id="rId36"/>
    <p:sldLayoutId id="2147484139" r:id="rId37"/>
    <p:sldLayoutId id="2147484140" r:id="rId38"/>
    <p:sldLayoutId id="2147484141" r:id="rId39"/>
    <p:sldLayoutId id="2147484142" r:id="rId40"/>
    <p:sldLayoutId id="2147484143" r:id="rId41"/>
    <p:sldLayoutId id="2147484145" r:id="rId42"/>
    <p:sldLayoutId id="2147484156" r:id="rId43"/>
    <p:sldLayoutId id="2147484201" r:id="rId44"/>
    <p:sldLayoutId id="2147484160"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36.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27.sv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9.svg"/><Relationship Id="rId7" Type="http://schemas.openxmlformats.org/officeDocument/2006/relationships/image" Target="../media/image25.svg"/><Relationship Id="rId2" Type="http://schemas.openxmlformats.org/officeDocument/2006/relationships/image" Target="../media/image28.png"/><Relationship Id="rId1" Type="http://schemas.openxmlformats.org/officeDocument/2006/relationships/slideLayout" Target="../slideLayouts/slideLayout36.xml"/><Relationship Id="rId6" Type="http://schemas.openxmlformats.org/officeDocument/2006/relationships/image" Target="../media/image24.png"/><Relationship Id="rId11" Type="http://schemas.openxmlformats.org/officeDocument/2006/relationships/image" Target="../media/image31.svg"/><Relationship Id="rId5" Type="http://schemas.openxmlformats.org/officeDocument/2006/relationships/image" Target="../media/image23.svg"/><Relationship Id="rId10" Type="http://schemas.openxmlformats.org/officeDocument/2006/relationships/image" Target="../media/image30.png"/><Relationship Id="rId4" Type="http://schemas.openxmlformats.org/officeDocument/2006/relationships/image" Target="../media/image22.png"/><Relationship Id="rId9" Type="http://schemas.openxmlformats.org/officeDocument/2006/relationships/image" Target="../media/image27.svg"/></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9.svg"/><Relationship Id="rId7" Type="http://schemas.openxmlformats.org/officeDocument/2006/relationships/image" Target="../media/image31.svg"/><Relationship Id="rId2" Type="http://schemas.openxmlformats.org/officeDocument/2006/relationships/image" Target="../media/image28.png"/><Relationship Id="rId1" Type="http://schemas.openxmlformats.org/officeDocument/2006/relationships/slideLayout" Target="../slideLayouts/slideLayout36.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3.svg"/><Relationship Id="rId10" Type="http://schemas.openxmlformats.org/officeDocument/2006/relationships/image" Target="../media/image34.png"/><Relationship Id="rId4" Type="http://schemas.openxmlformats.org/officeDocument/2006/relationships/image" Target="../media/image22.png"/><Relationship Id="rId9" Type="http://schemas.openxmlformats.org/officeDocument/2006/relationships/image" Target="../media/image33.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45.svg"/><Relationship Id="rId3" Type="http://schemas.openxmlformats.org/officeDocument/2006/relationships/image" Target="../media/image37.svg"/><Relationship Id="rId7" Type="http://schemas.openxmlformats.org/officeDocument/2006/relationships/image" Target="../media/image29.svg"/><Relationship Id="rId12" Type="http://schemas.openxmlformats.org/officeDocument/2006/relationships/image" Target="../media/image44.pn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28.png"/><Relationship Id="rId11" Type="http://schemas.openxmlformats.org/officeDocument/2006/relationships/image" Target="../media/image43.svg"/><Relationship Id="rId5" Type="http://schemas.openxmlformats.org/officeDocument/2006/relationships/image" Target="../media/image39.svg"/><Relationship Id="rId10" Type="http://schemas.openxmlformats.org/officeDocument/2006/relationships/image" Target="../media/image42.png"/><Relationship Id="rId4" Type="http://schemas.openxmlformats.org/officeDocument/2006/relationships/image" Target="../media/image38.png"/><Relationship Id="rId9" Type="http://schemas.openxmlformats.org/officeDocument/2006/relationships/image" Target="../media/image31.svg"/></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7.svg"/><Relationship Id="rId7" Type="http://schemas.openxmlformats.org/officeDocument/2006/relationships/image" Target="../media/image29.sv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28.png"/><Relationship Id="rId5" Type="http://schemas.openxmlformats.org/officeDocument/2006/relationships/image" Target="../media/image39.svg"/><Relationship Id="rId4" Type="http://schemas.openxmlformats.org/officeDocument/2006/relationships/image" Target="../media/image38.png"/><Relationship Id="rId9" Type="http://schemas.openxmlformats.org/officeDocument/2006/relationships/image" Target="../media/image31.svg"/></Relationships>
</file>

<file path=ppt/slides/_rels/slide1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9.svg"/><Relationship Id="rId3" Type="http://schemas.openxmlformats.org/officeDocument/2006/relationships/image" Target="../media/image37.svg"/><Relationship Id="rId7" Type="http://schemas.openxmlformats.org/officeDocument/2006/relationships/image" Target="../media/image47.svg"/><Relationship Id="rId12" Type="http://schemas.openxmlformats.org/officeDocument/2006/relationships/image" Target="../media/image48.pn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46.png"/><Relationship Id="rId11" Type="http://schemas.openxmlformats.org/officeDocument/2006/relationships/image" Target="../media/image31.svg"/><Relationship Id="rId5" Type="http://schemas.openxmlformats.org/officeDocument/2006/relationships/image" Target="../media/image39.svg"/><Relationship Id="rId10" Type="http://schemas.openxmlformats.org/officeDocument/2006/relationships/image" Target="../media/image30.png"/><Relationship Id="rId4" Type="http://schemas.openxmlformats.org/officeDocument/2006/relationships/image" Target="../media/image38.png"/><Relationship Id="rId9" Type="http://schemas.openxmlformats.org/officeDocument/2006/relationships/image" Target="../media/image29.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53.svg"/><Relationship Id="rId2" Type="http://schemas.openxmlformats.org/officeDocument/2006/relationships/image" Target="../media/image28.png"/><Relationship Id="rId1" Type="http://schemas.openxmlformats.org/officeDocument/2006/relationships/slideLayout" Target="../slideLayouts/slideLayout36.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55.sv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54.png"/><Relationship Id="rId5" Type="http://schemas.openxmlformats.org/officeDocument/2006/relationships/image" Target="../media/image39.sv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65.svg"/><Relationship Id="rId3" Type="http://schemas.openxmlformats.org/officeDocument/2006/relationships/image" Target="../media/image57.svg"/><Relationship Id="rId7" Type="http://schemas.openxmlformats.org/officeDocument/2006/relationships/image" Target="../media/image61.svg"/><Relationship Id="rId12" Type="http://schemas.openxmlformats.org/officeDocument/2006/relationships/image" Target="../media/image64.png"/><Relationship Id="rId2" Type="http://schemas.openxmlformats.org/officeDocument/2006/relationships/image" Target="../media/image56.png"/><Relationship Id="rId1" Type="http://schemas.openxmlformats.org/officeDocument/2006/relationships/slideLayout" Target="../slideLayouts/slideLayout36.xml"/><Relationship Id="rId6" Type="http://schemas.openxmlformats.org/officeDocument/2006/relationships/image" Target="../media/image60.png"/><Relationship Id="rId11" Type="http://schemas.openxmlformats.org/officeDocument/2006/relationships/image" Target="../media/image63.svg"/><Relationship Id="rId5" Type="http://schemas.openxmlformats.org/officeDocument/2006/relationships/image" Target="../media/image59.svg"/><Relationship Id="rId15" Type="http://schemas.openxmlformats.org/officeDocument/2006/relationships/image" Target="../media/image51.svg"/><Relationship Id="rId10" Type="http://schemas.openxmlformats.org/officeDocument/2006/relationships/image" Target="../media/image62.png"/><Relationship Id="rId4" Type="http://schemas.openxmlformats.org/officeDocument/2006/relationships/image" Target="../media/image58.png"/><Relationship Id="rId9" Type="http://schemas.openxmlformats.org/officeDocument/2006/relationships/image" Target="../media/image29.svg"/><Relationship Id="rId14" Type="http://schemas.openxmlformats.org/officeDocument/2006/relationships/image" Target="../media/image50.png"/></Relationships>
</file>

<file path=ppt/slides/_rels/slide2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65.svg"/><Relationship Id="rId18" Type="http://schemas.openxmlformats.org/officeDocument/2006/relationships/image" Target="../media/image38.png"/><Relationship Id="rId3" Type="http://schemas.openxmlformats.org/officeDocument/2006/relationships/image" Target="../media/image57.svg"/><Relationship Id="rId7" Type="http://schemas.openxmlformats.org/officeDocument/2006/relationships/image" Target="../media/image61.svg"/><Relationship Id="rId12" Type="http://schemas.openxmlformats.org/officeDocument/2006/relationships/image" Target="../media/image64.png"/><Relationship Id="rId17" Type="http://schemas.openxmlformats.org/officeDocument/2006/relationships/image" Target="../media/image37.svg"/><Relationship Id="rId2" Type="http://schemas.openxmlformats.org/officeDocument/2006/relationships/image" Target="../media/image56.png"/><Relationship Id="rId16"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60.png"/><Relationship Id="rId11" Type="http://schemas.openxmlformats.org/officeDocument/2006/relationships/image" Target="../media/image63.svg"/><Relationship Id="rId5" Type="http://schemas.openxmlformats.org/officeDocument/2006/relationships/image" Target="../media/image59.svg"/><Relationship Id="rId15" Type="http://schemas.openxmlformats.org/officeDocument/2006/relationships/image" Target="../media/image51.svg"/><Relationship Id="rId10" Type="http://schemas.openxmlformats.org/officeDocument/2006/relationships/image" Target="../media/image62.png"/><Relationship Id="rId19" Type="http://schemas.openxmlformats.org/officeDocument/2006/relationships/image" Target="../media/image39.svg"/><Relationship Id="rId4" Type="http://schemas.openxmlformats.org/officeDocument/2006/relationships/image" Target="../media/image58.png"/><Relationship Id="rId9" Type="http://schemas.openxmlformats.org/officeDocument/2006/relationships/image" Target="../media/image29.svg"/><Relationship Id="rId14" Type="http://schemas.openxmlformats.org/officeDocument/2006/relationships/image" Target="../media/image50.png"/></Relationships>
</file>

<file path=ppt/slides/_rels/slide2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65.svg"/><Relationship Id="rId18" Type="http://schemas.openxmlformats.org/officeDocument/2006/relationships/image" Target="../media/image38.png"/><Relationship Id="rId3" Type="http://schemas.openxmlformats.org/officeDocument/2006/relationships/image" Target="../media/image57.svg"/><Relationship Id="rId7" Type="http://schemas.openxmlformats.org/officeDocument/2006/relationships/image" Target="../media/image61.svg"/><Relationship Id="rId12" Type="http://schemas.openxmlformats.org/officeDocument/2006/relationships/image" Target="../media/image64.png"/><Relationship Id="rId17" Type="http://schemas.openxmlformats.org/officeDocument/2006/relationships/image" Target="../media/image37.svg"/><Relationship Id="rId2" Type="http://schemas.openxmlformats.org/officeDocument/2006/relationships/image" Target="../media/image56.png"/><Relationship Id="rId16"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60.png"/><Relationship Id="rId11" Type="http://schemas.openxmlformats.org/officeDocument/2006/relationships/image" Target="../media/image63.svg"/><Relationship Id="rId5" Type="http://schemas.openxmlformats.org/officeDocument/2006/relationships/image" Target="../media/image59.svg"/><Relationship Id="rId15" Type="http://schemas.openxmlformats.org/officeDocument/2006/relationships/image" Target="../media/image51.svg"/><Relationship Id="rId10" Type="http://schemas.openxmlformats.org/officeDocument/2006/relationships/image" Target="../media/image62.png"/><Relationship Id="rId19" Type="http://schemas.openxmlformats.org/officeDocument/2006/relationships/image" Target="../media/image39.svg"/><Relationship Id="rId4" Type="http://schemas.openxmlformats.org/officeDocument/2006/relationships/image" Target="../media/image58.png"/><Relationship Id="rId9" Type="http://schemas.openxmlformats.org/officeDocument/2006/relationships/image" Target="../media/image29.svg"/><Relationship Id="rId14" Type="http://schemas.openxmlformats.org/officeDocument/2006/relationships/image" Target="../media/image5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55.sv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54.png"/><Relationship Id="rId5" Type="http://schemas.openxmlformats.org/officeDocument/2006/relationships/image" Target="../media/image39.svg"/><Relationship Id="rId4" Type="http://schemas.openxmlformats.org/officeDocument/2006/relationships/image" Target="../media/image3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36.xml"/><Relationship Id="rId5" Type="http://schemas.openxmlformats.org/officeDocument/2006/relationships/image" Target="../media/image39.svg"/><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69.svg"/><Relationship Id="rId3" Type="http://schemas.openxmlformats.org/officeDocument/2006/relationships/image" Target="../media/image37.svg"/><Relationship Id="rId7" Type="http://schemas.openxmlformats.org/officeDocument/2006/relationships/image" Target="../media/image29.svg"/><Relationship Id="rId12" Type="http://schemas.openxmlformats.org/officeDocument/2006/relationships/image" Target="../media/image68.png"/><Relationship Id="rId2" Type="http://schemas.openxmlformats.org/officeDocument/2006/relationships/image" Target="../media/image36.png"/><Relationship Id="rId1" Type="http://schemas.openxmlformats.org/officeDocument/2006/relationships/slideLayout" Target="../slideLayouts/slideLayout36.xml"/><Relationship Id="rId6" Type="http://schemas.openxmlformats.org/officeDocument/2006/relationships/image" Target="../media/image28.png"/><Relationship Id="rId11" Type="http://schemas.openxmlformats.org/officeDocument/2006/relationships/image" Target="../media/image67.svg"/><Relationship Id="rId5" Type="http://schemas.openxmlformats.org/officeDocument/2006/relationships/image" Target="../media/image39.svg"/><Relationship Id="rId10" Type="http://schemas.openxmlformats.org/officeDocument/2006/relationships/image" Target="../media/image66.png"/><Relationship Id="rId4" Type="http://schemas.openxmlformats.org/officeDocument/2006/relationships/image" Target="../media/image38.png"/><Relationship Id="rId9" Type="http://schemas.openxmlformats.org/officeDocument/2006/relationships/image" Target="../media/image31.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0.xml.rels><?xml version="1.0" encoding="UTF-8" standalone="yes"?>
<Relationships xmlns="http://schemas.openxmlformats.org/package/2006/relationships"><Relationship Id="rId3" Type="http://schemas.openxmlformats.org/officeDocument/2006/relationships/hyperlink" Target="https://dam.gettyimages.com/capgemini/photo-library" TargetMode="External"/><Relationship Id="rId7" Type="http://schemas.openxmlformats.org/officeDocument/2006/relationships/image" Target="../media/image73.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4.png"/><Relationship Id="rId1" Type="http://schemas.openxmlformats.org/officeDocument/2006/relationships/slideLayout" Target="../slideLayouts/slideLayout27.xml"/><Relationship Id="rId4" Type="http://schemas.openxmlformats.org/officeDocument/2006/relationships/image" Target="../media/image75.png"/></Relationships>
</file>

<file path=ppt/slides/_rels/slide4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5.xml"/><Relationship Id="rId4" Type="http://schemas.openxmlformats.org/officeDocument/2006/relationships/image" Target="../media/image7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22.xml"/><Relationship Id="rId5" Type="http://schemas.openxmlformats.org/officeDocument/2006/relationships/image" Target="../media/image82.svg"/><Relationship Id="rId4" Type="http://schemas.openxmlformats.org/officeDocument/2006/relationships/image" Target="../media/image8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6.xml"/><Relationship Id="rId5" Type="http://schemas.openxmlformats.org/officeDocument/2006/relationships/image" Target="../media/image19.sv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17AA630-C3BE-9264-E679-C00614D68506}"/>
              </a:ext>
            </a:extLst>
          </p:cNvPr>
          <p:cNvSpPr>
            <a:spLocks noGrp="1"/>
          </p:cNvSpPr>
          <p:nvPr>
            <p:ph type="ctrTitle"/>
          </p:nvPr>
        </p:nvSpPr>
        <p:spPr/>
        <p:txBody>
          <a:bodyPr/>
          <a:lstStyle/>
          <a:p>
            <a:r>
              <a:rPr lang="en-US" err="1"/>
              <a:t>Sécurité</a:t>
            </a:r>
            <a:r>
              <a:rPr lang="en-US"/>
              <a:t> et </a:t>
            </a:r>
            <a:r>
              <a:rPr lang="en-US" err="1"/>
              <a:t>certificats</a:t>
            </a:r>
            <a:endParaRPr lang="en-US"/>
          </a:p>
        </p:txBody>
      </p:sp>
      <p:sp>
        <p:nvSpPr>
          <p:cNvPr id="4" name="Sous-titre 3">
            <a:extLst>
              <a:ext uri="{FF2B5EF4-FFF2-40B4-BE49-F238E27FC236}">
                <a16:creationId xmlns:a16="http://schemas.microsoft.com/office/drawing/2014/main" id="{0A177A1A-8C70-65AE-8F14-7B6C7758F421}"/>
              </a:ext>
            </a:extLst>
          </p:cNvPr>
          <p:cNvSpPr>
            <a:spLocks noGrp="1"/>
          </p:cNvSpPr>
          <p:nvPr>
            <p:ph type="subTitle" idx="1"/>
          </p:nvPr>
        </p:nvSpPr>
        <p:spPr/>
        <p:txBody>
          <a:bodyPr/>
          <a:lstStyle/>
          <a:p>
            <a:r>
              <a:rPr lang="en-US"/>
              <a:t>Friday Booster 2024</a:t>
            </a:r>
          </a:p>
        </p:txBody>
      </p:sp>
      <p:sp>
        <p:nvSpPr>
          <p:cNvPr id="6" name="ZoneTexte 5">
            <a:extLst>
              <a:ext uri="{FF2B5EF4-FFF2-40B4-BE49-F238E27FC236}">
                <a16:creationId xmlns:a16="http://schemas.microsoft.com/office/drawing/2014/main" id="{2E07E6CF-482B-DD4F-0B5F-49975345C721}"/>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a:solidFill>
                  <a:schemeClr val="bg2">
                    <a:lumMod val="75000"/>
                  </a:schemeClr>
                </a:solidFill>
              </a:rPr>
              <a:t>Company confidential</a:t>
            </a:r>
          </a:p>
        </p:txBody>
      </p:sp>
      <p:pic>
        <p:nvPicPr>
          <p:cNvPr id="11" name="Espace réservé pour une image  10">
            <a:extLst>
              <a:ext uri="{FF2B5EF4-FFF2-40B4-BE49-F238E27FC236}">
                <a16:creationId xmlns:a16="http://schemas.microsoft.com/office/drawing/2014/main" id="{F8926922-D33B-071B-599A-F36CB8AED4D3}"/>
              </a:ext>
            </a:extLst>
          </p:cNvPr>
          <p:cNvPicPr>
            <a:picLocks noGrp="1" noChangeAspect="1"/>
          </p:cNvPicPr>
          <p:nvPr>
            <p:ph type="pic" sz="quarter" idx="10"/>
          </p:nvPr>
        </p:nvPicPr>
        <p:blipFill rotWithShape="1">
          <a:blip r:embed="rId2"/>
          <a:srcRect l="305" t="28720" r="-305" b="44324"/>
          <a:stretch/>
        </p:blipFill>
        <p:spPr>
          <a:xfrm>
            <a:off x="2855639" y="1"/>
            <a:ext cx="9364935" cy="2931886"/>
          </a:xfrm>
          <a:prstGeom prst="rect">
            <a:avLst/>
          </a:prstGeom>
        </p:spPr>
      </p:pic>
      <p:pic>
        <p:nvPicPr>
          <p:cNvPr id="7" name="Picture 6">
            <a:extLst>
              <a:ext uri="{FF2B5EF4-FFF2-40B4-BE49-F238E27FC236}">
                <a16:creationId xmlns:a16="http://schemas.microsoft.com/office/drawing/2014/main" id="{9AB398E5-0640-DCAA-A791-2D7104B71006}"/>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77008" y="764704"/>
            <a:ext cx="11475731" cy="4464496"/>
          </a:xfrm>
          <a:prstGeom prst="rect">
            <a:avLst/>
          </a:prstGeom>
        </p:spPr>
      </p:pic>
    </p:spTree>
    <p:extLst>
      <p:ext uri="{BB962C8B-B14F-4D97-AF65-F5344CB8AC3E}">
        <p14:creationId xmlns:p14="http://schemas.microsoft.com/office/powerpoint/2010/main" val="4043674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1766213"/>
            <a:ext cx="11356975" cy="3323987"/>
          </a:xfrm>
        </p:spPr>
        <p:txBody>
          <a:bodyPr/>
          <a:lstStyle/>
          <a:p>
            <a:r>
              <a:rPr lang="fr-FR"/>
              <a:t>La cryptographie (a)symétrique</a:t>
            </a:r>
          </a:p>
          <a:p>
            <a:endParaRPr lang="fr-FR"/>
          </a:p>
        </p:txBody>
      </p:sp>
    </p:spTree>
    <p:extLst>
      <p:ext uri="{BB962C8B-B14F-4D97-AF65-F5344CB8AC3E}">
        <p14:creationId xmlns:p14="http://schemas.microsoft.com/office/powerpoint/2010/main" val="1365634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484784"/>
            <a:ext cx="11369042" cy="4536504"/>
          </a:xfrm>
        </p:spPr>
        <p:txBody>
          <a:bodyPr/>
          <a:lstStyle/>
          <a:p>
            <a:pPr marL="285750" indent="-285750">
              <a:buFont typeface="Arial" panose="020B0604020202020204" pitchFamily="34" charset="0"/>
              <a:buChar char="•"/>
            </a:pPr>
            <a:r>
              <a:rPr lang="fr-FR" sz="1600" b="1"/>
              <a:t>Un même secret permet de chiffer et déchiffrer des informations</a:t>
            </a:r>
          </a:p>
          <a:p>
            <a:pPr marL="285750" indent="-285750">
              <a:buFont typeface="Arial" panose="020B0604020202020204" pitchFamily="34" charset="0"/>
              <a:buChar char="•"/>
            </a:pPr>
            <a:r>
              <a:rPr lang="fr-FR" sz="1600" b="1"/>
              <a:t>Le plus vieux système de chiffrement connu (-2000 av JC)</a:t>
            </a:r>
          </a:p>
          <a:p>
            <a:pPr marL="285750"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Avantages : </a:t>
            </a:r>
          </a:p>
          <a:p>
            <a:pPr marL="466725" lvl="1" indent="-285750">
              <a:buFont typeface="Arial" panose="020B0604020202020204" pitchFamily="34" charset="0"/>
              <a:buChar char="•"/>
            </a:pPr>
            <a:r>
              <a:rPr lang="fr-FR"/>
              <a:t>Très peu couteux en ressources = performant !</a:t>
            </a:r>
          </a:p>
          <a:p>
            <a:pPr marL="466725" lvl="1" indent="-285750">
              <a:buFont typeface="Arial" panose="020B0604020202020204" pitchFamily="34" charset="0"/>
              <a:buChar char="•"/>
            </a:pPr>
            <a:r>
              <a:rPr lang="fr-FR"/>
              <a:t>Gestion matérielle des algorithmes dans les puces modernes = performant !</a:t>
            </a:r>
          </a:p>
          <a:p>
            <a:pPr marL="466725" lvl="1" indent="-285750">
              <a:buFont typeface="Arial" panose="020B0604020202020204" pitchFamily="34" charset="0"/>
              <a:buChar char="•"/>
            </a:pPr>
            <a:r>
              <a:rPr lang="fr-FR"/>
              <a:t>Performant + Performant  = SUPERFORMANT !</a:t>
            </a:r>
          </a:p>
          <a:p>
            <a:pPr marL="466725" lvl="1"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Désavantages : </a:t>
            </a:r>
          </a:p>
          <a:p>
            <a:pPr marL="466725" lvl="1" indent="-285750">
              <a:buFont typeface="Arial" panose="020B0604020202020204" pitchFamily="34" charset="0"/>
              <a:buChar char="•"/>
            </a:pPr>
            <a:r>
              <a:rPr lang="fr-FR"/>
              <a:t>Nécessite qu’un même secret soit connu/partagé à l’avance</a:t>
            </a:r>
          </a:p>
          <a:p>
            <a:pPr marL="285750" indent="-285750">
              <a:buFont typeface="Arial" panose="020B0604020202020204" pitchFamily="34" charset="0"/>
              <a:buChar char="•"/>
            </a:pPr>
            <a:endParaRPr lang="fr-FR"/>
          </a:p>
          <a:p>
            <a:pPr marL="285750" indent="-285750">
              <a:buFont typeface="Arial" panose="020B0604020202020204" pitchFamily="34" charset="0"/>
              <a:buChar char="•"/>
            </a:pPr>
            <a:r>
              <a:rPr lang="fr-FR" sz="1600" b="1"/>
              <a:t>Algorithmes : </a:t>
            </a:r>
          </a:p>
          <a:p>
            <a:pPr marL="466725" lvl="1" indent="-285750">
              <a:buFont typeface="Arial" panose="020B0604020202020204" pitchFamily="34" charset="0"/>
              <a:buChar char="•"/>
            </a:pPr>
            <a:r>
              <a:rPr lang="fr-FR"/>
              <a:t>AES</a:t>
            </a:r>
          </a:p>
          <a:p>
            <a:pPr marL="466725" lvl="1" indent="-285750">
              <a:buFont typeface="Arial" panose="020B0604020202020204" pitchFamily="34" charset="0"/>
              <a:buChar char="•"/>
            </a:pPr>
            <a:r>
              <a:rPr lang="fr-FR" err="1"/>
              <a:t>Blowfish</a:t>
            </a:r>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cryptographie symétrique</a:t>
            </a:r>
          </a:p>
        </p:txBody>
      </p:sp>
      <p:grpSp>
        <p:nvGrpSpPr>
          <p:cNvPr id="66" name="Groupe 65">
            <a:extLst>
              <a:ext uri="{FF2B5EF4-FFF2-40B4-BE49-F238E27FC236}">
                <a16:creationId xmlns:a16="http://schemas.microsoft.com/office/drawing/2014/main" id="{8E848204-2B1B-B133-B639-4FC47CFCF2B3}"/>
              </a:ext>
            </a:extLst>
          </p:cNvPr>
          <p:cNvGrpSpPr/>
          <p:nvPr/>
        </p:nvGrpSpPr>
        <p:grpSpPr>
          <a:xfrm>
            <a:off x="6816080" y="4149080"/>
            <a:ext cx="4358811" cy="1538365"/>
            <a:chOff x="2730119" y="2069681"/>
            <a:chExt cx="4358811" cy="1538365"/>
          </a:xfrm>
        </p:grpSpPr>
        <p:pic>
          <p:nvPicPr>
            <p:cNvPr id="6" name="Graphique 5" descr="Clé avec un remplissage uni">
              <a:extLst>
                <a:ext uri="{FF2B5EF4-FFF2-40B4-BE49-F238E27FC236}">
                  <a16:creationId xmlns:a16="http://schemas.microsoft.com/office/drawing/2014/main" id="{3D7591F0-177A-3AD8-23CA-743BA0F75A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2132" y="2069681"/>
              <a:ext cx="655004" cy="667225"/>
            </a:xfrm>
            <a:prstGeom prst="rect">
              <a:avLst/>
            </a:prstGeom>
            <a:effectLst>
              <a:outerShdw blurRad="50800" dist="38100" dir="2700000" algn="tl" rotWithShape="0">
                <a:prstClr val="black">
                  <a:alpha val="40000"/>
                </a:prstClr>
              </a:outerShdw>
            </a:effectLst>
          </p:spPr>
        </p:pic>
        <p:pic>
          <p:nvPicPr>
            <p:cNvPr id="8" name="Graphique 7" descr="Papier contour">
              <a:extLst>
                <a:ext uri="{FF2B5EF4-FFF2-40B4-BE49-F238E27FC236}">
                  <a16:creationId xmlns:a16="http://schemas.microsoft.com/office/drawing/2014/main" id="{4F541998-B832-7F24-11E1-621D7EDB78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30119" y="2953042"/>
              <a:ext cx="655004" cy="655004"/>
            </a:xfrm>
            <a:prstGeom prst="rect">
              <a:avLst/>
            </a:prstGeom>
            <a:effectLst>
              <a:outerShdw blurRad="50800" dist="38100" dir="2700000" algn="tl" rotWithShape="0">
                <a:prstClr val="black">
                  <a:alpha val="40000"/>
                </a:prstClr>
              </a:outerShdw>
            </a:effectLst>
          </p:spPr>
        </p:pic>
        <p:pic>
          <p:nvPicPr>
            <p:cNvPr id="11" name="Graphique 10" descr="Papier contour">
              <a:extLst>
                <a:ext uri="{FF2B5EF4-FFF2-40B4-BE49-F238E27FC236}">
                  <a16:creationId xmlns:a16="http://schemas.microsoft.com/office/drawing/2014/main" id="{F6B68292-78BE-9E05-91EF-436461712F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3264" y="2953042"/>
              <a:ext cx="655004" cy="655004"/>
            </a:xfrm>
            <a:prstGeom prst="rect">
              <a:avLst/>
            </a:prstGeom>
            <a:effectLst>
              <a:outerShdw blurRad="50800" dist="38100" dir="2700000" algn="tl" rotWithShape="0">
                <a:prstClr val="black">
                  <a:alpha val="40000"/>
                </a:prstClr>
              </a:outerShdw>
            </a:effectLst>
          </p:spPr>
        </p:pic>
        <p:cxnSp>
          <p:nvCxnSpPr>
            <p:cNvPr id="12" name="Connecteur droit avec flèche 11">
              <a:extLst>
                <a:ext uri="{FF2B5EF4-FFF2-40B4-BE49-F238E27FC236}">
                  <a16:creationId xmlns:a16="http://schemas.microsoft.com/office/drawing/2014/main" id="{50330491-2028-CE47-1238-6A4D4FD9B56D}"/>
                </a:ext>
              </a:extLst>
            </p:cNvPr>
            <p:cNvCxnSpPr>
              <a:cxnSpLocks/>
            </p:cNvCxnSpPr>
            <p:nvPr/>
          </p:nvCxnSpPr>
          <p:spPr>
            <a:xfrm flipV="1">
              <a:off x="3385123" y="3280544"/>
              <a:ext cx="1228288" cy="444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F48B20E6-5703-373E-389F-8895D19D8F37}"/>
                </a:ext>
              </a:extLst>
            </p:cNvPr>
            <p:cNvCxnSpPr>
              <a:cxnSpLocks/>
              <a:stCxn id="29" idx="3"/>
            </p:cNvCxnSpPr>
            <p:nvPr/>
          </p:nvCxnSpPr>
          <p:spPr>
            <a:xfrm>
              <a:off x="5186695" y="3280544"/>
              <a:ext cx="1146569"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35" name="Groupe 34">
              <a:extLst>
                <a:ext uri="{FF2B5EF4-FFF2-40B4-BE49-F238E27FC236}">
                  <a16:creationId xmlns:a16="http://schemas.microsoft.com/office/drawing/2014/main" id="{6F63444C-BE7F-6210-3E63-E837DFEEE24C}"/>
                </a:ext>
              </a:extLst>
            </p:cNvPr>
            <p:cNvGrpSpPr/>
            <p:nvPr/>
          </p:nvGrpSpPr>
          <p:grpSpPr>
            <a:xfrm>
              <a:off x="4531691" y="2953042"/>
              <a:ext cx="655004" cy="655004"/>
              <a:chOff x="4531691" y="2953042"/>
              <a:chExt cx="655004" cy="655004"/>
            </a:xfrm>
          </p:grpSpPr>
          <p:pic>
            <p:nvPicPr>
              <p:cNvPr id="29" name="Graphique 28" descr="Papier contour">
                <a:extLst>
                  <a:ext uri="{FF2B5EF4-FFF2-40B4-BE49-F238E27FC236}">
                    <a16:creationId xmlns:a16="http://schemas.microsoft.com/office/drawing/2014/main" id="{6A5EAE04-C573-6834-1DF8-20B0A5E2229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31691" y="2953042"/>
                <a:ext cx="655004" cy="655004"/>
              </a:xfrm>
              <a:prstGeom prst="rect">
                <a:avLst/>
              </a:prstGeom>
              <a:effectLst>
                <a:outerShdw blurRad="50800" dist="38100" dir="2700000" algn="tl" rotWithShape="0">
                  <a:prstClr val="black">
                    <a:alpha val="40000"/>
                  </a:prstClr>
                </a:outerShdw>
              </a:effectLst>
            </p:spPr>
          </p:pic>
          <p:pic>
            <p:nvPicPr>
              <p:cNvPr id="34" name="Graphique 33" descr="Clé avec un remplissage uni">
                <a:extLst>
                  <a:ext uri="{FF2B5EF4-FFF2-40B4-BE49-F238E27FC236}">
                    <a16:creationId xmlns:a16="http://schemas.microsoft.com/office/drawing/2014/main" id="{76A2509E-DB02-CCA8-DDF9-CAD57C99B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16978" y="3176935"/>
                <a:ext cx="284429" cy="289736"/>
              </a:xfrm>
              <a:prstGeom prst="rect">
                <a:avLst/>
              </a:prstGeom>
              <a:effectLst>
                <a:outerShdw blurRad="50800" dist="38100" dir="2700000" algn="tl" rotWithShape="0">
                  <a:prstClr val="black">
                    <a:alpha val="40000"/>
                  </a:prstClr>
                </a:outerShdw>
              </a:effectLst>
            </p:spPr>
          </p:pic>
        </p:grpSp>
        <p:cxnSp>
          <p:nvCxnSpPr>
            <p:cNvPr id="39" name="Connecteur : en angle 38">
              <a:extLst>
                <a:ext uri="{FF2B5EF4-FFF2-40B4-BE49-F238E27FC236}">
                  <a16:creationId xmlns:a16="http://schemas.microsoft.com/office/drawing/2014/main" id="{CA346CAC-40F8-582B-9973-A5F93B083DFC}"/>
                </a:ext>
              </a:extLst>
            </p:cNvPr>
            <p:cNvCxnSpPr>
              <a:cxnSpLocks/>
              <a:stCxn id="6" idx="1"/>
            </p:cNvCxnSpPr>
            <p:nvPr/>
          </p:nvCxnSpPr>
          <p:spPr>
            <a:xfrm rot="10800000" flipV="1">
              <a:off x="3927758" y="2403294"/>
              <a:ext cx="624375" cy="710388"/>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Connecteur : en angle 39">
              <a:extLst>
                <a:ext uri="{FF2B5EF4-FFF2-40B4-BE49-F238E27FC236}">
                  <a16:creationId xmlns:a16="http://schemas.microsoft.com/office/drawing/2014/main" id="{4BD8DBC7-DC88-FDE2-B992-EB546FFA5370}"/>
                </a:ext>
              </a:extLst>
            </p:cNvPr>
            <p:cNvCxnSpPr>
              <a:cxnSpLocks/>
              <a:stCxn id="6" idx="3"/>
            </p:cNvCxnSpPr>
            <p:nvPr/>
          </p:nvCxnSpPr>
          <p:spPr>
            <a:xfrm>
              <a:off x="5207136" y="2403294"/>
              <a:ext cx="583492" cy="710389"/>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3" name="ZoneTexte 62">
              <a:extLst>
                <a:ext uri="{FF2B5EF4-FFF2-40B4-BE49-F238E27FC236}">
                  <a16:creationId xmlns:a16="http://schemas.microsoft.com/office/drawing/2014/main" id="{B52F42E7-559F-A8E2-F991-A3470357461F}"/>
                </a:ext>
              </a:extLst>
            </p:cNvPr>
            <p:cNvSpPr txBox="1"/>
            <p:nvPr/>
          </p:nvSpPr>
          <p:spPr>
            <a:xfrm>
              <a:off x="2744772" y="259731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sp>
          <p:nvSpPr>
            <p:cNvPr id="64" name="ZoneTexte 63">
              <a:extLst>
                <a:ext uri="{FF2B5EF4-FFF2-40B4-BE49-F238E27FC236}">
                  <a16:creationId xmlns:a16="http://schemas.microsoft.com/office/drawing/2014/main" id="{6104ABF9-A3E0-34BB-4934-B93483E498F1}"/>
                </a:ext>
              </a:extLst>
            </p:cNvPr>
            <p:cNvSpPr txBox="1"/>
            <p:nvPr/>
          </p:nvSpPr>
          <p:spPr>
            <a:xfrm>
              <a:off x="5759979" y="2625541"/>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Déchiffrement</a:t>
              </a:r>
            </a:p>
          </p:txBody>
        </p:sp>
      </p:grpSp>
    </p:spTree>
    <p:extLst>
      <p:ext uri="{BB962C8B-B14F-4D97-AF65-F5344CB8AC3E}">
        <p14:creationId xmlns:p14="http://schemas.microsoft.com/office/powerpoint/2010/main" val="1502916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484784"/>
            <a:ext cx="11369042" cy="4536504"/>
          </a:xfrm>
        </p:spPr>
        <p:txBody>
          <a:bodyPr/>
          <a:lstStyle/>
          <a:p>
            <a:pPr marL="285750" indent="-285750">
              <a:buFont typeface="Arial" panose="020B0604020202020204" pitchFamily="34" charset="0"/>
              <a:buChar char="•"/>
            </a:pPr>
            <a:r>
              <a:rPr lang="fr-FR" sz="1600" b="1"/>
              <a:t>Mécanisme de clé privée / clé publique : la clé publique est dérivée de la clé privée</a:t>
            </a:r>
          </a:p>
          <a:p>
            <a:pPr marL="285750" indent="-285750">
              <a:buFont typeface="Arial" panose="020B0604020202020204" pitchFamily="34" charset="0"/>
              <a:buChar char="•"/>
            </a:pPr>
            <a:r>
              <a:rPr lang="fr-FR" sz="1600" b="1"/>
              <a:t>On chiffre avec la clé publique, on déchiffre avec la clé privée</a:t>
            </a:r>
          </a:p>
          <a:p>
            <a:pPr marL="285750"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Avantages : </a:t>
            </a:r>
          </a:p>
          <a:p>
            <a:pPr marL="466725" lvl="1" indent="-285750">
              <a:buFont typeface="Arial" panose="020B0604020202020204" pitchFamily="34" charset="0"/>
              <a:buChar char="•"/>
            </a:pPr>
            <a:r>
              <a:rPr lang="fr-FR"/>
              <a:t>Permet de partager une même clé avec plusieurs entités</a:t>
            </a:r>
          </a:p>
          <a:p>
            <a:pPr marL="466725" lvl="1" indent="-285750">
              <a:buFont typeface="Arial" panose="020B0604020202020204" pitchFamily="34" charset="0"/>
              <a:buChar char="•"/>
            </a:pPr>
            <a:r>
              <a:rPr lang="fr-FR"/>
              <a:t>Très dur à casser</a:t>
            </a:r>
          </a:p>
          <a:p>
            <a:pPr marL="466725" lvl="1"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Désavantages : </a:t>
            </a:r>
          </a:p>
          <a:p>
            <a:pPr marL="466725" lvl="1" indent="-285750">
              <a:buFont typeface="Arial" panose="020B0604020202020204" pitchFamily="34" charset="0"/>
              <a:buChar char="•"/>
            </a:pPr>
            <a:r>
              <a:rPr lang="fr-FR"/>
              <a:t>Beaucoup (BEAUCOUP) plus couteux que la cryptographie symétrique</a:t>
            </a:r>
          </a:p>
          <a:p>
            <a:pPr marL="285750" indent="-285750">
              <a:buFont typeface="Arial" panose="020B0604020202020204" pitchFamily="34" charset="0"/>
              <a:buChar char="•"/>
            </a:pPr>
            <a:endParaRPr lang="fr-FR"/>
          </a:p>
          <a:p>
            <a:pPr marL="285750" indent="-285750">
              <a:buFont typeface="Arial" panose="020B0604020202020204" pitchFamily="34" charset="0"/>
              <a:buChar char="•"/>
            </a:pPr>
            <a:r>
              <a:rPr lang="fr-FR" sz="1600" b="1"/>
              <a:t>Algorithmes : </a:t>
            </a:r>
          </a:p>
          <a:p>
            <a:pPr marL="466725" lvl="1" indent="-285750">
              <a:buFont typeface="Arial" panose="020B0604020202020204" pitchFamily="34" charset="0"/>
              <a:buChar char="•"/>
            </a:pPr>
            <a:r>
              <a:rPr lang="fr-FR"/>
              <a:t>RSA</a:t>
            </a:r>
          </a:p>
          <a:p>
            <a:pPr marL="466725" lvl="1" indent="-285750">
              <a:buFont typeface="Arial" panose="020B0604020202020204" pitchFamily="34" charset="0"/>
              <a:buChar char="•"/>
            </a:pPr>
            <a:r>
              <a:rPr lang="fr-FR" err="1"/>
              <a:t>EllipticCurve</a:t>
            </a:r>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cryptographie asymétrique</a:t>
            </a:r>
          </a:p>
        </p:txBody>
      </p:sp>
      <p:pic>
        <p:nvPicPr>
          <p:cNvPr id="4" name="Graphique 3" descr="Clé avec un remplissage uni">
            <a:extLst>
              <a:ext uri="{FF2B5EF4-FFF2-40B4-BE49-F238E27FC236}">
                <a16:creationId xmlns:a16="http://schemas.microsoft.com/office/drawing/2014/main" id="{B91B06F2-6370-05E6-4E14-B368C7210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78721" y="4133836"/>
            <a:ext cx="655004" cy="667225"/>
          </a:xfrm>
          <a:prstGeom prst="rect">
            <a:avLst/>
          </a:prstGeom>
          <a:effectLst>
            <a:outerShdw blurRad="50800" dist="38100" dir="2700000" algn="tl" rotWithShape="0">
              <a:prstClr val="black">
                <a:alpha val="40000"/>
              </a:prstClr>
            </a:outerShdw>
          </a:effectLst>
        </p:spPr>
      </p:pic>
      <p:pic>
        <p:nvPicPr>
          <p:cNvPr id="6" name="Graphique 5" descr="Papier contour">
            <a:extLst>
              <a:ext uri="{FF2B5EF4-FFF2-40B4-BE49-F238E27FC236}">
                <a16:creationId xmlns:a16="http://schemas.microsoft.com/office/drawing/2014/main" id="{A5846AC7-28C8-CC1F-1EC6-032546562E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64573" y="5248465"/>
            <a:ext cx="655004" cy="655004"/>
          </a:xfrm>
          <a:prstGeom prst="rect">
            <a:avLst/>
          </a:prstGeom>
          <a:effectLst>
            <a:outerShdw blurRad="50800" dist="38100" dir="2700000" algn="tl" rotWithShape="0">
              <a:prstClr val="black">
                <a:alpha val="40000"/>
              </a:prstClr>
            </a:outerShdw>
          </a:effectLst>
        </p:spPr>
      </p:pic>
      <p:pic>
        <p:nvPicPr>
          <p:cNvPr id="7" name="Graphique 6" descr="Papier contour">
            <a:extLst>
              <a:ext uri="{FF2B5EF4-FFF2-40B4-BE49-F238E27FC236}">
                <a16:creationId xmlns:a16="http://schemas.microsoft.com/office/drawing/2014/main" id="{BB21F99E-14E0-ED0D-B7A7-E5C32F28CF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7718" y="5248465"/>
            <a:ext cx="655004" cy="655004"/>
          </a:xfrm>
          <a:prstGeom prst="rect">
            <a:avLst/>
          </a:prstGeom>
          <a:effectLst>
            <a:outerShdw blurRad="50800" dist="38100" dir="2700000" algn="tl" rotWithShape="0">
              <a:prstClr val="black">
                <a:alpha val="40000"/>
              </a:prstClr>
            </a:outerShdw>
          </a:effectLst>
        </p:spPr>
      </p:pic>
      <p:cxnSp>
        <p:nvCxnSpPr>
          <p:cNvPr id="8" name="Connecteur droit avec flèche 7">
            <a:extLst>
              <a:ext uri="{FF2B5EF4-FFF2-40B4-BE49-F238E27FC236}">
                <a16:creationId xmlns:a16="http://schemas.microsoft.com/office/drawing/2014/main" id="{40A3745E-3BE6-700E-A172-034EA6E98006}"/>
              </a:ext>
            </a:extLst>
          </p:cNvPr>
          <p:cNvCxnSpPr>
            <a:cxnSpLocks/>
          </p:cNvCxnSpPr>
          <p:nvPr/>
        </p:nvCxnSpPr>
        <p:spPr>
          <a:xfrm flipV="1">
            <a:off x="7719577" y="5575967"/>
            <a:ext cx="1228288" cy="444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Connecteur droit avec flèche 8">
            <a:extLst>
              <a:ext uri="{FF2B5EF4-FFF2-40B4-BE49-F238E27FC236}">
                <a16:creationId xmlns:a16="http://schemas.microsoft.com/office/drawing/2014/main" id="{F8D9E6CE-85CE-294F-D347-A7FBE9483EDE}"/>
              </a:ext>
            </a:extLst>
          </p:cNvPr>
          <p:cNvCxnSpPr>
            <a:cxnSpLocks/>
            <a:stCxn id="15" idx="3"/>
          </p:cNvCxnSpPr>
          <p:nvPr/>
        </p:nvCxnSpPr>
        <p:spPr>
          <a:xfrm>
            <a:off x="9521149" y="5575967"/>
            <a:ext cx="1146569"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0" name="Groupe 9">
            <a:extLst>
              <a:ext uri="{FF2B5EF4-FFF2-40B4-BE49-F238E27FC236}">
                <a16:creationId xmlns:a16="http://schemas.microsoft.com/office/drawing/2014/main" id="{07026B04-7AEA-4A82-518A-8098C239276F}"/>
              </a:ext>
            </a:extLst>
          </p:cNvPr>
          <p:cNvGrpSpPr/>
          <p:nvPr/>
        </p:nvGrpSpPr>
        <p:grpSpPr>
          <a:xfrm>
            <a:off x="8866145" y="5248465"/>
            <a:ext cx="655004" cy="655004"/>
            <a:chOff x="4531691" y="2953042"/>
            <a:chExt cx="655004" cy="655004"/>
          </a:xfrm>
        </p:grpSpPr>
        <p:pic>
          <p:nvPicPr>
            <p:cNvPr id="15" name="Graphique 14" descr="Papier contour">
              <a:extLst>
                <a:ext uri="{FF2B5EF4-FFF2-40B4-BE49-F238E27FC236}">
                  <a16:creationId xmlns:a16="http://schemas.microsoft.com/office/drawing/2014/main" id="{E8FEE59F-DA55-37A0-0285-926D00F050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31691" y="2953042"/>
              <a:ext cx="655004" cy="655004"/>
            </a:xfrm>
            <a:prstGeom prst="rect">
              <a:avLst/>
            </a:prstGeom>
            <a:effectLst>
              <a:outerShdw blurRad="50800" dist="38100" dir="2700000" algn="tl" rotWithShape="0">
                <a:prstClr val="black">
                  <a:alpha val="40000"/>
                </a:prstClr>
              </a:outerShdw>
            </a:effectLst>
          </p:spPr>
        </p:pic>
        <p:pic>
          <p:nvPicPr>
            <p:cNvPr id="16" name="Graphique 15" descr="Clé avec un remplissage uni">
              <a:extLst>
                <a:ext uri="{FF2B5EF4-FFF2-40B4-BE49-F238E27FC236}">
                  <a16:creationId xmlns:a16="http://schemas.microsoft.com/office/drawing/2014/main" id="{8CD15D67-E66A-3872-EDF5-C7A6664EA3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16978" y="3176935"/>
              <a:ext cx="284429" cy="289736"/>
            </a:xfrm>
            <a:prstGeom prst="rect">
              <a:avLst/>
            </a:prstGeom>
            <a:effectLst>
              <a:outerShdw blurRad="50800" dist="38100" dir="2700000" algn="tl" rotWithShape="0">
                <a:prstClr val="black">
                  <a:alpha val="40000"/>
                </a:prstClr>
              </a:outerShdw>
            </a:effectLst>
          </p:spPr>
        </p:pic>
      </p:grpSp>
      <p:cxnSp>
        <p:nvCxnSpPr>
          <p:cNvPr id="11" name="Connecteur : en angle 10">
            <a:extLst>
              <a:ext uri="{FF2B5EF4-FFF2-40B4-BE49-F238E27FC236}">
                <a16:creationId xmlns:a16="http://schemas.microsoft.com/office/drawing/2014/main" id="{BFC98978-AC12-9098-7DA4-BB60655DECD5}"/>
              </a:ext>
            </a:extLst>
          </p:cNvPr>
          <p:cNvCxnSpPr>
            <a:cxnSpLocks/>
            <a:stCxn id="4" idx="1"/>
          </p:cNvCxnSpPr>
          <p:nvPr/>
        </p:nvCxnSpPr>
        <p:spPr>
          <a:xfrm rot="10800000" flipV="1">
            <a:off x="8262215" y="4467449"/>
            <a:ext cx="216507" cy="94165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 name="Connecteur : en angle 11">
            <a:extLst>
              <a:ext uri="{FF2B5EF4-FFF2-40B4-BE49-F238E27FC236}">
                <a16:creationId xmlns:a16="http://schemas.microsoft.com/office/drawing/2014/main" id="{04BD9815-2D8C-D1BC-74DF-1C0B88DB61BD}"/>
              </a:ext>
            </a:extLst>
          </p:cNvPr>
          <p:cNvCxnSpPr>
            <a:cxnSpLocks/>
            <a:stCxn id="19" idx="3"/>
          </p:cNvCxnSpPr>
          <p:nvPr/>
        </p:nvCxnSpPr>
        <p:spPr>
          <a:xfrm>
            <a:off x="9908573" y="4468679"/>
            <a:ext cx="216509" cy="940427"/>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799540FE-4786-8225-DCCB-F6C642832119}"/>
              </a:ext>
            </a:extLst>
          </p:cNvPr>
          <p:cNvSpPr txBox="1"/>
          <p:nvPr/>
        </p:nvSpPr>
        <p:spPr>
          <a:xfrm>
            <a:off x="7669245" y="561722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sp>
        <p:nvSpPr>
          <p:cNvPr id="14" name="ZoneTexte 13">
            <a:extLst>
              <a:ext uri="{FF2B5EF4-FFF2-40B4-BE49-F238E27FC236}">
                <a16:creationId xmlns:a16="http://schemas.microsoft.com/office/drawing/2014/main" id="{796035E6-D116-1507-EFC1-8E804122FB1B}"/>
              </a:ext>
            </a:extLst>
          </p:cNvPr>
          <p:cNvSpPr txBox="1"/>
          <p:nvPr/>
        </p:nvSpPr>
        <p:spPr>
          <a:xfrm>
            <a:off x="9483548" y="561722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Déchiffrement</a:t>
            </a:r>
          </a:p>
        </p:txBody>
      </p:sp>
      <p:pic>
        <p:nvPicPr>
          <p:cNvPr id="19" name="Graphique 18" descr="Clé avec un remplissage uni">
            <a:extLst>
              <a:ext uri="{FF2B5EF4-FFF2-40B4-BE49-F238E27FC236}">
                <a16:creationId xmlns:a16="http://schemas.microsoft.com/office/drawing/2014/main" id="{40CF47E8-9C65-B05E-BB03-A8C823925F5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53569" y="4135066"/>
            <a:ext cx="655004" cy="667225"/>
          </a:xfrm>
          <a:prstGeom prst="rect">
            <a:avLst/>
          </a:prstGeom>
          <a:effectLst>
            <a:outerShdw blurRad="50800" dist="38100" dir="2700000" algn="tl" rotWithShape="0">
              <a:prstClr val="black">
                <a:alpha val="40000"/>
              </a:prstClr>
            </a:outerShdw>
          </a:effectLst>
        </p:spPr>
      </p:pic>
      <p:sp>
        <p:nvSpPr>
          <p:cNvPr id="22" name="ZoneTexte 21">
            <a:extLst>
              <a:ext uri="{FF2B5EF4-FFF2-40B4-BE49-F238E27FC236}">
                <a16:creationId xmlns:a16="http://schemas.microsoft.com/office/drawing/2014/main" id="{6E3AB764-4E05-EBDB-14C9-54A5D1033EF6}"/>
              </a:ext>
            </a:extLst>
          </p:cNvPr>
          <p:cNvSpPr txBox="1"/>
          <p:nvPr/>
        </p:nvSpPr>
        <p:spPr>
          <a:xfrm>
            <a:off x="9133725" y="3760419"/>
            <a:ext cx="809907"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lé</a:t>
            </a:r>
            <a:br>
              <a:rPr lang="fr-FR" sz="1400" b="1">
                <a:solidFill>
                  <a:srgbClr val="FF304D"/>
                </a:solidFill>
                <a:effectLst>
                  <a:outerShdw blurRad="38100" dist="38100" dir="2700000" algn="tl">
                    <a:srgbClr val="000000">
                      <a:alpha val="43137"/>
                    </a:srgbClr>
                  </a:outerShdw>
                </a:effectLst>
              </a:rPr>
            </a:br>
            <a:r>
              <a:rPr lang="fr-FR" sz="1400" b="1">
                <a:solidFill>
                  <a:srgbClr val="FF304D"/>
                </a:solidFill>
                <a:effectLst>
                  <a:outerShdw blurRad="38100" dist="38100" dir="2700000" algn="tl">
                    <a:srgbClr val="000000">
                      <a:alpha val="43137"/>
                    </a:srgbClr>
                  </a:outerShdw>
                </a:effectLst>
              </a:rPr>
              <a:t>Privée</a:t>
            </a:r>
          </a:p>
        </p:txBody>
      </p:sp>
      <p:sp>
        <p:nvSpPr>
          <p:cNvPr id="23" name="ZoneTexte 22">
            <a:extLst>
              <a:ext uri="{FF2B5EF4-FFF2-40B4-BE49-F238E27FC236}">
                <a16:creationId xmlns:a16="http://schemas.microsoft.com/office/drawing/2014/main" id="{BBBD8CF0-9505-6AD3-7DC3-6FD1E1064D7D}"/>
              </a:ext>
            </a:extLst>
          </p:cNvPr>
          <p:cNvSpPr txBox="1"/>
          <p:nvPr/>
        </p:nvSpPr>
        <p:spPr>
          <a:xfrm>
            <a:off x="8268682" y="3766549"/>
            <a:ext cx="1002140" cy="525401"/>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é</a:t>
            </a:r>
          </a:p>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Publique</a:t>
            </a:r>
          </a:p>
        </p:txBody>
      </p:sp>
    </p:spTree>
    <p:extLst>
      <p:ext uri="{BB962C8B-B14F-4D97-AF65-F5344CB8AC3E}">
        <p14:creationId xmlns:p14="http://schemas.microsoft.com/office/powerpoint/2010/main" val="626070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170121"/>
            <a:ext cx="11369042" cy="2702170"/>
          </a:xfrm>
        </p:spPr>
        <p:txBody>
          <a:bodyPr/>
          <a:lstStyle/>
          <a:p>
            <a:pPr marL="285750" indent="-285750">
              <a:buFont typeface="Arial" panose="020B0604020202020204" pitchFamily="34" charset="0"/>
              <a:buChar char="•"/>
            </a:pPr>
            <a:r>
              <a:rPr lang="fr-FR" sz="1600" b="1"/>
              <a:t>La signature d’objet combine deux mécanismes cryptographiques : </a:t>
            </a:r>
            <a:r>
              <a:rPr lang="fr-FR" b="1"/>
              <a:t>Le </a:t>
            </a:r>
            <a:r>
              <a:rPr lang="fr-FR" b="1">
                <a:solidFill>
                  <a:srgbClr val="FFC000"/>
                </a:solidFill>
              </a:rPr>
              <a:t>chiffrement asymétrique </a:t>
            </a:r>
            <a:r>
              <a:rPr lang="fr-FR" b="1"/>
              <a:t>et  le </a:t>
            </a:r>
            <a:r>
              <a:rPr lang="fr-FR" b="1" err="1">
                <a:solidFill>
                  <a:srgbClr val="FFC000"/>
                </a:solidFill>
              </a:rPr>
              <a:t>hashage</a:t>
            </a:r>
            <a:endParaRPr lang="fr-FR" b="1">
              <a:solidFill>
                <a:srgbClr val="FFC000"/>
              </a:solidFill>
            </a:endParaRPr>
          </a:p>
          <a:p>
            <a:pPr marL="285750" indent="-285750">
              <a:buFont typeface="Arial" panose="020B0604020202020204" pitchFamily="34" charset="0"/>
              <a:buChar char="•"/>
            </a:pPr>
            <a:r>
              <a:rPr lang="fr-FR" b="1"/>
              <a:t>Une spécificité : la clé privée chiffre et la clé publique déchiffre !</a:t>
            </a:r>
          </a:p>
          <a:p>
            <a:pPr marL="466725" lvl="1" indent="-285750">
              <a:buFont typeface="Arial" panose="020B0604020202020204" pitchFamily="34" charset="0"/>
              <a:buChar char="•"/>
            </a:pPr>
            <a:r>
              <a:rPr lang="fr-FR"/>
              <a:t>On ne cherche pas à assurer la confidentialité (n’importe qui peut vérifier la signature)</a:t>
            </a:r>
          </a:p>
          <a:p>
            <a:pPr marL="466725" lvl="1" indent="-285750">
              <a:buFont typeface="Arial" panose="020B0604020202020204" pitchFamily="34" charset="0"/>
              <a:buChar char="•"/>
            </a:pPr>
            <a:r>
              <a:rPr lang="fr-FR"/>
              <a:t>On chercher à assurer l’identité de la personne qui envoi la donnée et son intégrité</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r>
              <a:rPr lang="fr-FR" b="1"/>
              <a:t>A l’envoi, on hash l’objet initial, et on chiffre le résultat avec la clé privée</a:t>
            </a:r>
          </a:p>
          <a:p>
            <a:pPr marL="285750" indent="-285750">
              <a:buFont typeface="Arial" panose="020B0604020202020204" pitchFamily="34" charset="0"/>
              <a:buChar char="•"/>
            </a:pPr>
            <a:r>
              <a:rPr lang="fr-FR" b="1"/>
              <a:t>A la réception, on hash l’objet reçu, on déchiffre le hash envoyé avec la clé publique, et on compare les deux. Si équivalents, alors :</a:t>
            </a:r>
          </a:p>
          <a:p>
            <a:pPr marL="466725" lvl="1" indent="-285750">
              <a:buFont typeface="Arial" panose="020B0604020202020204" pitchFamily="34" charset="0"/>
              <a:buChar char="•"/>
            </a:pPr>
            <a:r>
              <a:rPr lang="fr-FR"/>
              <a:t>Le document n’a pas changé entre temps = </a:t>
            </a:r>
            <a:r>
              <a:rPr lang="fr-FR" b="1">
                <a:solidFill>
                  <a:srgbClr val="FFC000"/>
                </a:solidFill>
              </a:rPr>
              <a:t>intégrité</a:t>
            </a:r>
            <a:r>
              <a:rPr lang="fr-FR"/>
              <a:t> </a:t>
            </a:r>
          </a:p>
          <a:p>
            <a:pPr marL="466725" lvl="1" indent="-285750">
              <a:buFont typeface="Arial" panose="020B0604020202020204" pitchFamily="34" charset="0"/>
              <a:buChar char="•"/>
            </a:pPr>
            <a:r>
              <a:rPr lang="fr-FR"/>
              <a:t>C’est bien la personne qui possède la clé privée qui l’a envoyé = </a:t>
            </a:r>
            <a:r>
              <a:rPr lang="fr-FR" b="1">
                <a:solidFill>
                  <a:srgbClr val="FFC000"/>
                </a:solidFill>
              </a:rPr>
              <a:t>identité</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signature</a:t>
            </a:r>
          </a:p>
        </p:txBody>
      </p:sp>
      <p:pic>
        <p:nvPicPr>
          <p:cNvPr id="4" name="Graphique 3" descr="Clé avec un remplissage uni">
            <a:extLst>
              <a:ext uri="{FF2B5EF4-FFF2-40B4-BE49-F238E27FC236}">
                <a16:creationId xmlns:a16="http://schemas.microsoft.com/office/drawing/2014/main" id="{B91B06F2-6370-05E6-4E14-B368C7210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19481" y="4532683"/>
            <a:ext cx="470030" cy="478800"/>
          </a:xfrm>
          <a:prstGeom prst="rect">
            <a:avLst/>
          </a:prstGeom>
          <a:effectLst>
            <a:outerShdw blurRad="50800" dist="38100" dir="2700000" algn="tl" rotWithShape="0">
              <a:prstClr val="black">
                <a:alpha val="40000"/>
              </a:prstClr>
            </a:outerShdw>
          </a:effectLst>
        </p:spPr>
      </p:pic>
      <p:pic>
        <p:nvPicPr>
          <p:cNvPr id="6" name="Graphique 5" descr="Papier contour">
            <a:extLst>
              <a:ext uri="{FF2B5EF4-FFF2-40B4-BE49-F238E27FC236}">
                <a16:creationId xmlns:a16="http://schemas.microsoft.com/office/drawing/2014/main" id="{A5846AC7-28C8-CC1F-1EC6-032546562E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27606" y="5360377"/>
            <a:ext cx="655004" cy="655004"/>
          </a:xfrm>
          <a:prstGeom prst="rect">
            <a:avLst/>
          </a:prstGeom>
          <a:effectLst>
            <a:outerShdw blurRad="50800" dist="38100" dir="2700000" algn="tl" rotWithShape="0">
              <a:prstClr val="black">
                <a:alpha val="40000"/>
              </a:prstClr>
            </a:outerShdw>
          </a:effectLst>
        </p:spPr>
      </p:pic>
      <p:cxnSp>
        <p:nvCxnSpPr>
          <p:cNvPr id="12" name="Connecteur : en angle 11">
            <a:extLst>
              <a:ext uri="{FF2B5EF4-FFF2-40B4-BE49-F238E27FC236}">
                <a16:creationId xmlns:a16="http://schemas.microsoft.com/office/drawing/2014/main" id="{04BD9815-2D8C-D1BC-74DF-1C0B88DB61BD}"/>
              </a:ext>
            </a:extLst>
          </p:cNvPr>
          <p:cNvCxnSpPr>
            <a:cxnSpLocks/>
            <a:stCxn id="25" idx="0"/>
            <a:endCxn id="38" idx="1"/>
          </p:cNvCxnSpPr>
          <p:nvPr/>
        </p:nvCxnSpPr>
        <p:spPr>
          <a:xfrm rot="5400000" flipH="1" flipV="1">
            <a:off x="1883591" y="4794862"/>
            <a:ext cx="811844" cy="31918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9" name="Graphique 18" descr="Clé avec un remplissage uni">
            <a:extLst>
              <a:ext uri="{FF2B5EF4-FFF2-40B4-BE49-F238E27FC236}">
                <a16:creationId xmlns:a16="http://schemas.microsoft.com/office/drawing/2014/main" id="{40CF47E8-9C65-B05E-BB03-A8C823925F5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49131" y="4518322"/>
            <a:ext cx="469496" cy="478256"/>
          </a:xfrm>
          <a:prstGeom prst="rect">
            <a:avLst/>
          </a:prstGeom>
          <a:effectLst>
            <a:outerShdw blurRad="50800" dist="38100" dir="2700000" algn="tl" rotWithShape="0">
              <a:prstClr val="black">
                <a:alpha val="40000"/>
              </a:prstClr>
            </a:outerShdw>
          </a:effectLst>
        </p:spPr>
      </p:pic>
      <p:pic>
        <p:nvPicPr>
          <p:cNvPr id="21" name="Graphique 20" descr="Papier contour">
            <a:extLst>
              <a:ext uri="{FF2B5EF4-FFF2-40B4-BE49-F238E27FC236}">
                <a16:creationId xmlns:a16="http://schemas.microsoft.com/office/drawing/2014/main" id="{7BE786BC-51F0-DEC2-A893-38F9DD3DA5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66095" y="5564910"/>
            <a:ext cx="525368" cy="525368"/>
          </a:xfrm>
          <a:prstGeom prst="rect">
            <a:avLst/>
          </a:prstGeom>
          <a:effectLst>
            <a:outerShdw blurRad="50800" dist="38100" dir="2700000" algn="tl" rotWithShape="0">
              <a:prstClr val="black">
                <a:alpha val="40000"/>
              </a:prstClr>
            </a:outerShdw>
          </a:effectLst>
        </p:spPr>
      </p:pic>
      <p:pic>
        <p:nvPicPr>
          <p:cNvPr id="25" name="Graphique 24" descr="Papier contour">
            <a:extLst>
              <a:ext uri="{FF2B5EF4-FFF2-40B4-BE49-F238E27FC236}">
                <a16:creationId xmlns:a16="http://schemas.microsoft.com/office/drawing/2014/main" id="{0A30C9D6-4160-042A-1B3A-0274192675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02418" y="5360377"/>
            <a:ext cx="655004" cy="655004"/>
          </a:xfrm>
          <a:prstGeom prst="rect">
            <a:avLst/>
          </a:prstGeom>
          <a:effectLst>
            <a:outerShdw blurRad="50800" dist="38100" dir="2700000" algn="tl" rotWithShape="0">
              <a:prstClr val="black">
                <a:alpha val="40000"/>
              </a:prstClr>
            </a:outerShdw>
          </a:effectLst>
        </p:spPr>
      </p:pic>
      <p:cxnSp>
        <p:nvCxnSpPr>
          <p:cNvPr id="26" name="Connecteur droit avec flèche 25">
            <a:extLst>
              <a:ext uri="{FF2B5EF4-FFF2-40B4-BE49-F238E27FC236}">
                <a16:creationId xmlns:a16="http://schemas.microsoft.com/office/drawing/2014/main" id="{BD54BA87-CBBA-804C-C1FB-5D36708DD20C}"/>
              </a:ext>
            </a:extLst>
          </p:cNvPr>
          <p:cNvCxnSpPr>
            <a:cxnSpLocks/>
            <a:stCxn id="25" idx="3"/>
            <a:endCxn id="6" idx="1"/>
          </p:cNvCxnSpPr>
          <p:nvPr/>
        </p:nvCxnSpPr>
        <p:spPr>
          <a:xfrm>
            <a:off x="2457422" y="5687879"/>
            <a:ext cx="1770184"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8" name="Graphique 37" descr="Papier contour">
            <a:extLst>
              <a:ext uri="{FF2B5EF4-FFF2-40B4-BE49-F238E27FC236}">
                <a16:creationId xmlns:a16="http://schemas.microsoft.com/office/drawing/2014/main" id="{EAA6FEF0-8B08-9C90-F30E-B0984A69817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49106" y="4285733"/>
            <a:ext cx="525600" cy="525600"/>
          </a:xfrm>
          <a:prstGeom prst="rect">
            <a:avLst/>
          </a:prstGeom>
          <a:effectLst>
            <a:outerShdw blurRad="50800" dist="38100" dir="2700000" algn="tl" rotWithShape="0">
              <a:prstClr val="black">
                <a:alpha val="40000"/>
              </a:prstClr>
            </a:outerShdw>
          </a:effectLst>
        </p:spPr>
      </p:pic>
      <p:sp>
        <p:nvSpPr>
          <p:cNvPr id="43" name="ZoneTexte 42">
            <a:extLst>
              <a:ext uri="{FF2B5EF4-FFF2-40B4-BE49-F238E27FC236}">
                <a16:creationId xmlns:a16="http://schemas.microsoft.com/office/drawing/2014/main" id="{8174EA8E-DB3E-CA34-A6F4-0BBB5D85CCF6}"/>
              </a:ext>
            </a:extLst>
          </p:cNvPr>
          <p:cNvSpPr txBox="1"/>
          <p:nvPr/>
        </p:nvSpPr>
        <p:spPr>
          <a:xfrm>
            <a:off x="1575815" y="4151746"/>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Hash</a:t>
            </a:r>
          </a:p>
        </p:txBody>
      </p:sp>
      <p:pic>
        <p:nvPicPr>
          <p:cNvPr id="44" name="Graphique 43" descr="Papier contour">
            <a:extLst>
              <a:ext uri="{FF2B5EF4-FFF2-40B4-BE49-F238E27FC236}">
                <a16:creationId xmlns:a16="http://schemas.microsoft.com/office/drawing/2014/main" id="{72070530-F073-0648-09CB-048389E5045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2616" y="4285733"/>
            <a:ext cx="525600" cy="525600"/>
          </a:xfrm>
          <a:prstGeom prst="rect">
            <a:avLst/>
          </a:prstGeom>
          <a:effectLst>
            <a:outerShdw blurRad="50800" dist="38100" dir="2700000" algn="tl" rotWithShape="0">
              <a:prstClr val="black">
                <a:alpha val="40000"/>
              </a:prstClr>
            </a:outerShdw>
          </a:effectLst>
        </p:spPr>
      </p:pic>
      <p:cxnSp>
        <p:nvCxnSpPr>
          <p:cNvPr id="45" name="Connecteur : en angle 44">
            <a:extLst>
              <a:ext uri="{FF2B5EF4-FFF2-40B4-BE49-F238E27FC236}">
                <a16:creationId xmlns:a16="http://schemas.microsoft.com/office/drawing/2014/main" id="{0E7D1D0F-5465-3C03-A85B-94560E269B11}"/>
              </a:ext>
            </a:extLst>
          </p:cNvPr>
          <p:cNvCxnSpPr>
            <a:cxnSpLocks/>
            <a:stCxn id="44" idx="3"/>
            <a:endCxn id="6" idx="0"/>
          </p:cNvCxnSpPr>
          <p:nvPr/>
        </p:nvCxnSpPr>
        <p:spPr>
          <a:xfrm>
            <a:off x="4328216" y="4548533"/>
            <a:ext cx="226892" cy="811844"/>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Connecteur droit avec flèche 48">
            <a:extLst>
              <a:ext uri="{FF2B5EF4-FFF2-40B4-BE49-F238E27FC236}">
                <a16:creationId xmlns:a16="http://schemas.microsoft.com/office/drawing/2014/main" id="{F3C85660-875D-D4EF-2CC1-0D2637BC91EF}"/>
              </a:ext>
            </a:extLst>
          </p:cNvPr>
          <p:cNvCxnSpPr>
            <a:cxnSpLocks/>
            <a:stCxn id="38" idx="3"/>
            <a:endCxn id="44" idx="1"/>
          </p:cNvCxnSpPr>
          <p:nvPr/>
        </p:nvCxnSpPr>
        <p:spPr>
          <a:xfrm>
            <a:off x="2974706" y="4548533"/>
            <a:ext cx="827910" cy="0"/>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2" name="ZoneTexte 51">
            <a:extLst>
              <a:ext uri="{FF2B5EF4-FFF2-40B4-BE49-F238E27FC236}">
                <a16:creationId xmlns:a16="http://schemas.microsoft.com/office/drawing/2014/main" id="{27C9E858-9C95-0BB4-F978-89A980B0B001}"/>
              </a:ext>
            </a:extLst>
          </p:cNvPr>
          <p:cNvSpPr txBox="1"/>
          <p:nvPr/>
        </p:nvSpPr>
        <p:spPr>
          <a:xfrm>
            <a:off x="2693074" y="4138405"/>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Chiffrement</a:t>
            </a:r>
          </a:p>
        </p:txBody>
      </p:sp>
      <p:pic>
        <p:nvPicPr>
          <p:cNvPr id="58" name="Graphique 57" descr="Papier contour">
            <a:extLst>
              <a:ext uri="{FF2B5EF4-FFF2-40B4-BE49-F238E27FC236}">
                <a16:creationId xmlns:a16="http://schemas.microsoft.com/office/drawing/2014/main" id="{664C8A6E-B188-8A3F-A3ED-3491AFDA8C6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13277" y="5444137"/>
            <a:ext cx="480433" cy="480433"/>
          </a:xfrm>
          <a:prstGeom prst="rect">
            <a:avLst/>
          </a:prstGeom>
          <a:effectLst>
            <a:outerShdw blurRad="50800" dist="38100" dir="2700000" algn="tl" rotWithShape="0">
              <a:prstClr val="black">
                <a:alpha val="40000"/>
              </a:prstClr>
            </a:outerShdw>
          </a:effectLst>
        </p:spPr>
      </p:pic>
      <p:sp>
        <p:nvSpPr>
          <p:cNvPr id="69" name="ZoneTexte 68">
            <a:extLst>
              <a:ext uri="{FF2B5EF4-FFF2-40B4-BE49-F238E27FC236}">
                <a16:creationId xmlns:a16="http://schemas.microsoft.com/office/drawing/2014/main" id="{5BE157C8-7E63-5F9F-B309-D827D0064603}"/>
              </a:ext>
            </a:extLst>
          </p:cNvPr>
          <p:cNvSpPr txBox="1"/>
          <p:nvPr/>
        </p:nvSpPr>
        <p:spPr>
          <a:xfrm>
            <a:off x="4881373" y="5384937"/>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Transfert</a:t>
            </a:r>
          </a:p>
        </p:txBody>
      </p:sp>
      <p:pic>
        <p:nvPicPr>
          <p:cNvPr id="78" name="Graphique 77" descr="Papier contour">
            <a:extLst>
              <a:ext uri="{FF2B5EF4-FFF2-40B4-BE49-F238E27FC236}">
                <a16:creationId xmlns:a16="http://schemas.microsoft.com/office/drawing/2014/main" id="{25EFE6B6-91B7-D9DD-11D6-85B44A2E4A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8558" y="5360377"/>
            <a:ext cx="655004" cy="655004"/>
          </a:xfrm>
          <a:prstGeom prst="rect">
            <a:avLst/>
          </a:prstGeom>
          <a:effectLst>
            <a:outerShdw blurRad="50800" dist="38100" dir="2700000" algn="tl" rotWithShape="0">
              <a:prstClr val="black">
                <a:alpha val="40000"/>
              </a:prstClr>
            </a:outerShdw>
          </a:effectLst>
        </p:spPr>
      </p:pic>
      <p:pic>
        <p:nvPicPr>
          <p:cNvPr id="79" name="Graphique 78" descr="Papier contour">
            <a:extLst>
              <a:ext uri="{FF2B5EF4-FFF2-40B4-BE49-F238E27FC236}">
                <a16:creationId xmlns:a16="http://schemas.microsoft.com/office/drawing/2014/main" id="{FB64F32B-9420-94E2-AFB4-19DD072CEA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7047" y="5564112"/>
            <a:ext cx="525368" cy="525368"/>
          </a:xfrm>
          <a:prstGeom prst="rect">
            <a:avLst/>
          </a:prstGeom>
          <a:effectLst>
            <a:outerShdw blurRad="50800" dist="38100" dir="2700000" algn="tl" rotWithShape="0">
              <a:prstClr val="black">
                <a:alpha val="40000"/>
              </a:prstClr>
            </a:outerShdw>
          </a:effectLst>
        </p:spPr>
      </p:pic>
      <p:pic>
        <p:nvPicPr>
          <p:cNvPr id="86" name="Graphique 85" descr="Papier contour">
            <a:extLst>
              <a:ext uri="{FF2B5EF4-FFF2-40B4-BE49-F238E27FC236}">
                <a16:creationId xmlns:a16="http://schemas.microsoft.com/office/drawing/2014/main" id="{B652109C-11D7-0B8E-EFE5-6EC3626A0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18894" y="5360377"/>
            <a:ext cx="655004" cy="655004"/>
          </a:xfrm>
          <a:prstGeom prst="rect">
            <a:avLst/>
          </a:prstGeom>
          <a:effectLst>
            <a:outerShdw blurRad="50800" dist="38100" dir="2700000" algn="tl" rotWithShape="0">
              <a:prstClr val="black">
                <a:alpha val="40000"/>
              </a:prstClr>
            </a:outerShdw>
          </a:effectLst>
        </p:spPr>
      </p:pic>
      <p:cxnSp>
        <p:nvCxnSpPr>
          <p:cNvPr id="88" name="Connecteur droit avec flèche 87">
            <a:extLst>
              <a:ext uri="{FF2B5EF4-FFF2-40B4-BE49-F238E27FC236}">
                <a16:creationId xmlns:a16="http://schemas.microsoft.com/office/drawing/2014/main" id="{5C9C6782-9BAF-25E4-9CDD-3694C4071B8A}"/>
              </a:ext>
            </a:extLst>
          </p:cNvPr>
          <p:cNvCxnSpPr>
            <a:cxnSpLocks/>
            <a:stCxn id="6" idx="3"/>
            <a:endCxn id="78" idx="1"/>
          </p:cNvCxnSpPr>
          <p:nvPr/>
        </p:nvCxnSpPr>
        <p:spPr>
          <a:xfrm>
            <a:off x="4882610" y="5687879"/>
            <a:ext cx="1375948"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2" name="Connecteur droit avec flèche 91">
            <a:extLst>
              <a:ext uri="{FF2B5EF4-FFF2-40B4-BE49-F238E27FC236}">
                <a16:creationId xmlns:a16="http://schemas.microsoft.com/office/drawing/2014/main" id="{882AB534-781D-4D14-648C-721BA054BA83}"/>
              </a:ext>
            </a:extLst>
          </p:cNvPr>
          <p:cNvCxnSpPr>
            <a:cxnSpLocks/>
            <a:stCxn id="78" idx="3"/>
            <a:endCxn id="86" idx="1"/>
          </p:cNvCxnSpPr>
          <p:nvPr/>
        </p:nvCxnSpPr>
        <p:spPr>
          <a:xfrm>
            <a:off x="6913562" y="5687879"/>
            <a:ext cx="705332"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5" name="Graphique 94" descr="Papier contour">
            <a:extLst>
              <a:ext uri="{FF2B5EF4-FFF2-40B4-BE49-F238E27FC236}">
                <a16:creationId xmlns:a16="http://schemas.microsoft.com/office/drawing/2014/main" id="{1B4E3150-7DC6-3E3B-1A57-7ED77575AD8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23376" y="4306727"/>
            <a:ext cx="525368" cy="525368"/>
          </a:xfrm>
          <a:prstGeom prst="rect">
            <a:avLst/>
          </a:prstGeom>
          <a:effectLst>
            <a:outerShdw blurRad="50800" dist="38100" dir="2700000" algn="tl" rotWithShape="0">
              <a:prstClr val="black">
                <a:alpha val="40000"/>
              </a:prstClr>
            </a:outerShdw>
          </a:effectLst>
        </p:spPr>
      </p:pic>
      <p:cxnSp>
        <p:nvCxnSpPr>
          <p:cNvPr id="96" name="Connecteur droit avec flèche 95">
            <a:extLst>
              <a:ext uri="{FF2B5EF4-FFF2-40B4-BE49-F238E27FC236}">
                <a16:creationId xmlns:a16="http://schemas.microsoft.com/office/drawing/2014/main" id="{FFD1144C-951C-7AB8-2471-777C3C906F06}"/>
              </a:ext>
            </a:extLst>
          </p:cNvPr>
          <p:cNvCxnSpPr>
            <a:cxnSpLocks/>
            <a:stCxn id="78" idx="0"/>
            <a:endCxn id="95" idx="2"/>
          </p:cNvCxnSpPr>
          <p:nvPr/>
        </p:nvCxnSpPr>
        <p:spPr>
          <a:xfrm flipV="1">
            <a:off x="6586060" y="4832095"/>
            <a:ext cx="0" cy="52828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 name="Connecteur droit avec flèche 98">
            <a:extLst>
              <a:ext uri="{FF2B5EF4-FFF2-40B4-BE49-F238E27FC236}">
                <a16:creationId xmlns:a16="http://schemas.microsoft.com/office/drawing/2014/main" id="{D8566648-E287-18AC-5730-026188AA32B8}"/>
              </a:ext>
            </a:extLst>
          </p:cNvPr>
          <p:cNvCxnSpPr>
            <a:cxnSpLocks/>
            <a:stCxn id="95" idx="3"/>
            <a:endCxn id="106" idx="1"/>
          </p:cNvCxnSpPr>
          <p:nvPr/>
        </p:nvCxnSpPr>
        <p:spPr>
          <a:xfrm flipV="1">
            <a:off x="6848744" y="4548533"/>
            <a:ext cx="2464532" cy="20878"/>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 name="Connecteur droit avec flèche 100">
            <a:extLst>
              <a:ext uri="{FF2B5EF4-FFF2-40B4-BE49-F238E27FC236}">
                <a16:creationId xmlns:a16="http://schemas.microsoft.com/office/drawing/2014/main" id="{3CCA49CF-7A82-AB49-8D3A-B5DA034D122B}"/>
              </a:ext>
            </a:extLst>
          </p:cNvPr>
          <p:cNvCxnSpPr>
            <a:cxnSpLocks/>
            <a:stCxn id="86" idx="3"/>
            <a:endCxn id="58" idx="1"/>
          </p:cNvCxnSpPr>
          <p:nvPr/>
        </p:nvCxnSpPr>
        <p:spPr>
          <a:xfrm flipV="1">
            <a:off x="8273898" y="5684354"/>
            <a:ext cx="1039379" cy="3525"/>
          </a:xfrm>
          <a:prstGeom prst="straightConnector1">
            <a:avLst/>
          </a:prstGeom>
          <a:ln w="38100">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5" name="ZoneTexte 104">
            <a:extLst>
              <a:ext uri="{FF2B5EF4-FFF2-40B4-BE49-F238E27FC236}">
                <a16:creationId xmlns:a16="http://schemas.microsoft.com/office/drawing/2014/main" id="{3586475C-10EC-0F23-688E-1CD79FF8B189}"/>
              </a:ext>
            </a:extLst>
          </p:cNvPr>
          <p:cNvSpPr txBox="1"/>
          <p:nvPr/>
        </p:nvSpPr>
        <p:spPr>
          <a:xfrm>
            <a:off x="8140785" y="5384937"/>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Hash</a:t>
            </a:r>
          </a:p>
        </p:txBody>
      </p:sp>
      <p:pic>
        <p:nvPicPr>
          <p:cNvPr id="106" name="Graphique 105" descr="Papier contour">
            <a:extLst>
              <a:ext uri="{FF2B5EF4-FFF2-40B4-BE49-F238E27FC236}">
                <a16:creationId xmlns:a16="http://schemas.microsoft.com/office/drawing/2014/main" id="{2DECB12F-0EDF-94FD-35D3-69B06A6AD6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13276" y="4308316"/>
            <a:ext cx="480433" cy="480433"/>
          </a:xfrm>
          <a:prstGeom prst="rect">
            <a:avLst/>
          </a:prstGeom>
          <a:effectLst>
            <a:outerShdw blurRad="50800" dist="38100" dir="2700000" algn="tl" rotWithShape="0">
              <a:prstClr val="black">
                <a:alpha val="40000"/>
              </a:prstClr>
            </a:outerShdw>
          </a:effectLst>
        </p:spPr>
      </p:pic>
      <p:sp>
        <p:nvSpPr>
          <p:cNvPr id="108" name="ZoneTexte 107">
            <a:extLst>
              <a:ext uri="{FF2B5EF4-FFF2-40B4-BE49-F238E27FC236}">
                <a16:creationId xmlns:a16="http://schemas.microsoft.com/office/drawing/2014/main" id="{D8263D4F-0BE7-0A4E-4DEF-943445A22691}"/>
              </a:ext>
            </a:extLst>
          </p:cNvPr>
          <p:cNvSpPr txBox="1"/>
          <p:nvPr/>
        </p:nvSpPr>
        <p:spPr>
          <a:xfrm>
            <a:off x="7410999" y="4239142"/>
            <a:ext cx="1328951" cy="279180"/>
          </a:xfrm>
          <a:prstGeom prst="rect">
            <a:avLst/>
          </a:prstGeom>
          <a:noFill/>
        </p:spPr>
        <p:txBody>
          <a:bodyPr vert="horz" wrap="square" lIns="90000" tIns="46800" rIns="90000" bIns="46800" rtlCol="0" anchor="ctr">
            <a:spAutoFit/>
          </a:bodyPr>
          <a:lstStyle/>
          <a:p>
            <a:pPr algn="ctr">
              <a:spcBef>
                <a:spcPct val="0"/>
              </a:spcBef>
            </a:pPr>
            <a:r>
              <a:rPr lang="fr-FR" sz="1200" b="1">
                <a:solidFill>
                  <a:schemeClr val="accent4">
                    <a:lumMod val="25000"/>
                    <a:lumOff val="75000"/>
                  </a:schemeClr>
                </a:solidFill>
              </a:rPr>
              <a:t>Déchiffrement</a:t>
            </a:r>
          </a:p>
        </p:txBody>
      </p:sp>
      <p:cxnSp>
        <p:nvCxnSpPr>
          <p:cNvPr id="110" name="Connecteur droit avec flèche 109">
            <a:extLst>
              <a:ext uri="{FF2B5EF4-FFF2-40B4-BE49-F238E27FC236}">
                <a16:creationId xmlns:a16="http://schemas.microsoft.com/office/drawing/2014/main" id="{D369C45C-A8A1-85B9-52F5-68E7FE3231D0}"/>
              </a:ext>
            </a:extLst>
          </p:cNvPr>
          <p:cNvCxnSpPr>
            <a:cxnSpLocks/>
            <a:stCxn id="58" idx="0"/>
            <a:endCxn id="106" idx="2"/>
          </p:cNvCxnSpPr>
          <p:nvPr/>
        </p:nvCxnSpPr>
        <p:spPr>
          <a:xfrm flipH="1" flipV="1">
            <a:off x="9553493" y="4788749"/>
            <a:ext cx="1" cy="655388"/>
          </a:xfrm>
          <a:prstGeom prst="straightConnector1">
            <a:avLst/>
          </a:prstGeom>
          <a:ln w="38100">
            <a:solidFill>
              <a:srgbClr val="FFC000"/>
            </a:solidFill>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3" name="ZoneTexte 112">
            <a:extLst>
              <a:ext uri="{FF2B5EF4-FFF2-40B4-BE49-F238E27FC236}">
                <a16:creationId xmlns:a16="http://schemas.microsoft.com/office/drawing/2014/main" id="{11D2D22B-C069-7143-2ABF-6B66A5F8834A}"/>
              </a:ext>
            </a:extLst>
          </p:cNvPr>
          <p:cNvSpPr txBox="1"/>
          <p:nvPr/>
        </p:nvSpPr>
        <p:spPr>
          <a:xfrm>
            <a:off x="9553492" y="4930686"/>
            <a:ext cx="1785276" cy="371513"/>
          </a:xfrm>
          <a:prstGeom prst="rect">
            <a:avLst/>
          </a:prstGeom>
          <a:noFill/>
        </p:spPr>
        <p:txBody>
          <a:bodyPr vert="horz" wrap="square" lIns="90000" tIns="46800" rIns="90000" bIns="46800" rtlCol="0" anchor="ctr">
            <a:spAutoFit/>
          </a:bodyPr>
          <a:lstStyle/>
          <a:p>
            <a:pPr algn="ctr">
              <a:spcBef>
                <a:spcPct val="0"/>
              </a:spcBef>
            </a:pPr>
            <a:r>
              <a:rPr lang="fr-FR" b="1">
                <a:solidFill>
                  <a:srgbClr val="FFC000"/>
                </a:solidFill>
              </a:rPr>
              <a:t>Comparaison</a:t>
            </a:r>
          </a:p>
        </p:txBody>
      </p:sp>
    </p:spTree>
    <p:extLst>
      <p:ext uri="{BB962C8B-B14F-4D97-AF65-F5344CB8AC3E}">
        <p14:creationId xmlns:p14="http://schemas.microsoft.com/office/powerpoint/2010/main" val="3781113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40181E61-0D5E-695D-655F-FFAEBD27B718}"/>
              </a:ext>
            </a:extLst>
          </p:cNvPr>
          <p:cNvSpPr>
            <a:spLocks noGrp="1"/>
          </p:cNvSpPr>
          <p:nvPr>
            <p:ph type="body" sz="quarter" idx="10"/>
          </p:nvPr>
        </p:nvSpPr>
        <p:spPr>
          <a:xfrm>
            <a:off x="2280873" y="4083051"/>
            <a:ext cx="7431088" cy="998068"/>
          </a:xfrm>
          <a:solidFill>
            <a:schemeClr val="accent4">
              <a:lumMod val="90000"/>
              <a:lumOff val="10000"/>
            </a:schemeClr>
          </a:solidFill>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a:lstStyle/>
          <a:p>
            <a:pPr algn="ctr"/>
            <a:r>
              <a:rPr lang="fr-FR" sz="2800">
                <a:solidFill>
                  <a:srgbClr val="FF8E12"/>
                </a:solidFill>
                <a:effectLst>
                  <a:outerShdw blurRad="38100" dist="38100" dir="2700000" algn="tl">
                    <a:srgbClr val="000000">
                      <a:alpha val="43137"/>
                    </a:srgbClr>
                  </a:outerShdw>
                </a:effectLst>
              </a:rPr>
              <a:t>La clé privée ne doit JAMAIS être communiquée et doit rester secrète !</a:t>
            </a:r>
          </a:p>
        </p:txBody>
      </p:sp>
      <p:grpSp>
        <p:nvGrpSpPr>
          <p:cNvPr id="2" name="Group 4912">
            <a:extLst>
              <a:ext uri="{FF2B5EF4-FFF2-40B4-BE49-F238E27FC236}">
                <a16:creationId xmlns:a16="http://schemas.microsoft.com/office/drawing/2014/main" id="{6918DBD6-47F2-5D77-A9CB-61A31F5EFB4C}"/>
              </a:ext>
              <a:ext uri="{C183D7F6-B498-43B3-948B-1728B52AA6E4}">
                <adec:decorative xmlns:adec="http://schemas.microsoft.com/office/drawing/2017/decorative" val="1"/>
              </a:ext>
            </a:extLst>
          </p:cNvPr>
          <p:cNvGrpSpPr>
            <a:grpSpLocks noChangeAspect="1"/>
          </p:cNvGrpSpPr>
          <p:nvPr/>
        </p:nvGrpSpPr>
        <p:grpSpPr>
          <a:xfrm>
            <a:off x="4591020" y="956560"/>
            <a:ext cx="3009960" cy="2478790"/>
            <a:chOff x="4539688" y="3523121"/>
            <a:chExt cx="152246" cy="125379"/>
          </a:xfrm>
          <a:solidFill>
            <a:srgbClr val="FF8E12"/>
          </a:solidFill>
          <a:effectLst>
            <a:outerShdw blurRad="50800" dist="38100" dir="2700000" algn="tl" rotWithShape="0">
              <a:prstClr val="black">
                <a:alpha val="40000"/>
              </a:prstClr>
            </a:outerShdw>
          </a:effectLst>
        </p:grpSpPr>
        <p:sp>
          <p:nvSpPr>
            <p:cNvPr id="3" name="Freeform: Shape 4913">
              <a:extLst>
                <a:ext uri="{FF2B5EF4-FFF2-40B4-BE49-F238E27FC236}">
                  <a16:creationId xmlns:a16="http://schemas.microsoft.com/office/drawing/2014/main" id="{A48A1871-E483-300E-9866-A955D49114F5}"/>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grpFill/>
            <a:ln w="4474" cap="flat">
              <a:noFill/>
              <a:prstDash val="solid"/>
              <a:miter/>
            </a:ln>
          </p:spPr>
          <p:txBody>
            <a:bodyPr rtlCol="0" anchor="ctr"/>
            <a:lstStyle/>
            <a:p>
              <a:endParaRPr lang="en-US"/>
            </a:p>
          </p:txBody>
        </p:sp>
        <p:sp>
          <p:nvSpPr>
            <p:cNvPr id="4" name="Freeform: Shape 4914">
              <a:extLst>
                <a:ext uri="{FF2B5EF4-FFF2-40B4-BE49-F238E27FC236}">
                  <a16:creationId xmlns:a16="http://schemas.microsoft.com/office/drawing/2014/main" id="{8F88236B-0984-5248-AC0F-6B409F1A3F6E}"/>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grpFill/>
            <a:ln w="4474" cap="flat">
              <a:noFill/>
              <a:prstDash val="solid"/>
              <a:miter/>
            </a:ln>
          </p:spPr>
          <p:txBody>
            <a:bodyPr rtlCol="0" anchor="ctr"/>
            <a:lstStyle/>
            <a:p>
              <a:endParaRPr lang="en-US"/>
            </a:p>
          </p:txBody>
        </p:sp>
        <p:sp>
          <p:nvSpPr>
            <p:cNvPr id="6" name="Freeform: Shape 4915">
              <a:extLst>
                <a:ext uri="{FF2B5EF4-FFF2-40B4-BE49-F238E27FC236}">
                  <a16:creationId xmlns:a16="http://schemas.microsoft.com/office/drawing/2014/main" id="{EF780A67-7E73-9F6E-9171-2C6F36699A29}"/>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grpFill/>
            <a:ln w="4474" cap="flat">
              <a:noFill/>
              <a:prstDash val="solid"/>
              <a:miter/>
            </a:ln>
          </p:spPr>
          <p:txBody>
            <a:bodyPr rtlCol="0" anchor="ctr"/>
            <a:lstStyle/>
            <a:p>
              <a:endParaRPr lang="en-US"/>
            </a:p>
          </p:txBody>
        </p:sp>
      </p:grpSp>
    </p:spTree>
    <p:extLst>
      <p:ext uri="{BB962C8B-B14F-4D97-AF65-F5344CB8AC3E}">
        <p14:creationId xmlns:p14="http://schemas.microsoft.com/office/powerpoint/2010/main" val="25156466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320211"/>
            <a:ext cx="11356975" cy="2215991"/>
          </a:xfrm>
        </p:spPr>
        <p:txBody>
          <a:bodyPr/>
          <a:lstStyle/>
          <a:p>
            <a:r>
              <a:rPr lang="fr-FR">
                <a:effectLst>
                  <a:outerShdw blurRad="38100" dist="38100" dir="2700000" algn="tl">
                    <a:srgbClr val="000000">
                      <a:alpha val="43137"/>
                    </a:srgbClr>
                  </a:outerShdw>
                </a:effectLst>
              </a:rPr>
              <a:t>TLS et les tunnels sécurisés</a:t>
            </a:r>
          </a:p>
        </p:txBody>
      </p:sp>
    </p:spTree>
    <p:extLst>
      <p:ext uri="{BB962C8B-B14F-4D97-AF65-F5344CB8AC3E}">
        <p14:creationId xmlns:p14="http://schemas.microsoft.com/office/powerpoint/2010/main" val="3900630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Problématique initiale</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484784"/>
            <a:ext cx="11369042" cy="453650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Alice et Bob ne se connaissent pas et veulent échanger des données sensibles</a:t>
            </a:r>
          </a:p>
          <a:p>
            <a:pPr marL="285750" indent="-285750">
              <a:buFont typeface="Arial" panose="020B0604020202020204" pitchFamily="34" charset="0"/>
              <a:buChar char="•"/>
            </a:pPr>
            <a:r>
              <a:rPr lang="fr-FR" sz="1600" b="1"/>
              <a:t>Evidemment, ils ne peuvent pas se parler directement, et doivent passer par des intermédiaires</a:t>
            </a:r>
          </a:p>
          <a:p>
            <a:pPr marL="285750" indent="-285750">
              <a:buFont typeface="Arial" panose="020B0604020202020204" pitchFamily="34" charset="0"/>
              <a:buChar char="•"/>
            </a:pPr>
            <a:r>
              <a:rPr lang="fr-FR" sz="1600" b="1"/>
              <a:t>Et ils n’ont pas pu s’échanger de clé de chiffrement symétrique auparavant …</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b="1"/>
          </a:p>
          <a:p>
            <a:pPr marL="285750" indent="-285750">
              <a:buFont typeface="Arial" panose="020B0604020202020204" pitchFamily="34" charset="0"/>
              <a:buChar char="•"/>
            </a:pPr>
            <a:r>
              <a:rPr lang="fr-FR" sz="1600" b="1"/>
              <a:t>La solution : créer un tunnel </a:t>
            </a:r>
            <a:r>
              <a:rPr lang="fr-FR" sz="1600" b="1">
                <a:solidFill>
                  <a:schemeClr val="accent2">
                    <a:lumMod val="60000"/>
                    <a:lumOff val="40000"/>
                  </a:schemeClr>
                </a:solidFill>
              </a:rPr>
              <a:t>TLS</a:t>
            </a:r>
            <a:r>
              <a:rPr lang="fr-FR" sz="1600" b="1"/>
              <a:t> sécurisé en appliquant le </a:t>
            </a:r>
            <a:r>
              <a:rPr lang="fr-FR" sz="1600" b="1">
                <a:solidFill>
                  <a:srgbClr val="FF455E"/>
                </a:solidFill>
              </a:rPr>
              <a:t>« Handshake Protocol »</a:t>
            </a:r>
            <a:endParaRPr lang="fr-FR">
              <a:solidFill>
                <a:srgbClr val="FF455E"/>
              </a:solidFill>
            </a:endParaRPr>
          </a:p>
        </p:txBody>
      </p:sp>
      <p:pic>
        <p:nvPicPr>
          <p:cNvPr id="104" name="Graphique 103" descr="Profil femelle avec un remplissage uni">
            <a:extLst>
              <a:ext uri="{FF2B5EF4-FFF2-40B4-BE49-F238E27FC236}">
                <a16:creationId xmlns:a16="http://schemas.microsoft.com/office/drawing/2014/main" id="{43FD16EB-24E8-D545-005D-434C606984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22229" y="3344140"/>
            <a:ext cx="914400" cy="914400"/>
          </a:xfrm>
          <a:prstGeom prst="rect">
            <a:avLst/>
          </a:prstGeom>
          <a:effectLst>
            <a:outerShdw blurRad="50800" dist="38100" dir="2700000" algn="tl" rotWithShape="0">
              <a:prstClr val="black">
                <a:alpha val="40000"/>
              </a:prstClr>
            </a:outerShdw>
          </a:effectLst>
        </p:spPr>
      </p:pic>
      <p:pic>
        <p:nvPicPr>
          <p:cNvPr id="105" name="Graphique 104" descr="Profil mâle avec un remplissage uni">
            <a:extLst>
              <a:ext uri="{FF2B5EF4-FFF2-40B4-BE49-F238E27FC236}">
                <a16:creationId xmlns:a16="http://schemas.microsoft.com/office/drawing/2014/main" id="{6B603ACE-0BEE-7C27-79FD-78510A711A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88288" y="3429000"/>
            <a:ext cx="914400" cy="914400"/>
          </a:xfrm>
          <a:prstGeom prst="rect">
            <a:avLst/>
          </a:prstGeom>
          <a:effectLst>
            <a:outerShdw blurRad="50800" dist="38100" dir="2700000" algn="tl" rotWithShape="0">
              <a:prstClr val="black">
                <a:alpha val="40000"/>
              </a:prstClr>
            </a:outerShdw>
          </a:effectLst>
        </p:spPr>
      </p:pic>
      <p:sp>
        <p:nvSpPr>
          <p:cNvPr id="106" name="ZoneTexte 105">
            <a:extLst>
              <a:ext uri="{FF2B5EF4-FFF2-40B4-BE49-F238E27FC236}">
                <a16:creationId xmlns:a16="http://schemas.microsoft.com/office/drawing/2014/main" id="{89E0C1A6-0DB2-CCFE-2E44-3632C2168AAF}"/>
              </a:ext>
            </a:extLst>
          </p:cNvPr>
          <p:cNvSpPr txBox="1"/>
          <p:nvPr/>
        </p:nvSpPr>
        <p:spPr>
          <a:xfrm>
            <a:off x="8740534" y="3202013"/>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07" name="ZoneTexte 106">
            <a:extLst>
              <a:ext uri="{FF2B5EF4-FFF2-40B4-BE49-F238E27FC236}">
                <a16:creationId xmlns:a16="http://schemas.microsoft.com/office/drawing/2014/main" id="{5EF92E88-072A-E5D8-6703-4A4355EB7804}"/>
              </a:ext>
            </a:extLst>
          </p:cNvPr>
          <p:cNvSpPr txBox="1"/>
          <p:nvPr/>
        </p:nvSpPr>
        <p:spPr>
          <a:xfrm>
            <a:off x="2178359" y="3087464"/>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cxnSp>
        <p:nvCxnSpPr>
          <p:cNvPr id="108" name="Connecteur droit avec flèche 107">
            <a:extLst>
              <a:ext uri="{FF2B5EF4-FFF2-40B4-BE49-F238E27FC236}">
                <a16:creationId xmlns:a16="http://schemas.microsoft.com/office/drawing/2014/main" id="{C0C580DC-F578-ADDF-1AD5-518D94205730}"/>
              </a:ext>
            </a:extLst>
          </p:cNvPr>
          <p:cNvCxnSpPr>
            <a:cxnSpLocks/>
          </p:cNvCxnSpPr>
          <p:nvPr/>
        </p:nvCxnSpPr>
        <p:spPr>
          <a:xfrm>
            <a:off x="3180499" y="3776188"/>
            <a:ext cx="5510193"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16" name="Graphique 115" descr="Point d’interrogation avec un remplissage uni">
            <a:extLst>
              <a:ext uri="{FF2B5EF4-FFF2-40B4-BE49-F238E27FC236}">
                <a16:creationId xmlns:a16="http://schemas.microsoft.com/office/drawing/2014/main" id="{A512D9F8-AF2A-6CAF-C7A5-4B6BD600DC4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03912" y="2861788"/>
            <a:ext cx="914400" cy="9144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54810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 Handshake Protocol expliqué à ma sœur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260692"/>
            <a:ext cx="11369042" cy="32851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a:t>Alice a besoin d’échanger des données sécurisées avec Bob, mais elle doit passer par des nœuds intermédiaires</a:t>
            </a:r>
          </a:p>
          <a:p>
            <a:pPr marL="466725" lvl="1" indent="-285750">
              <a:buFont typeface="Arial" panose="020B0604020202020204" pitchFamily="34" charset="0"/>
              <a:buChar char="•"/>
            </a:pPr>
            <a:r>
              <a:rPr lang="fr-FR"/>
              <a:t>Bob dispose d’une paire asymétrique de clés prêtes à l’emploi</a:t>
            </a:r>
          </a:p>
          <a:p>
            <a:pPr marL="466725" lvl="1" indent="-285750">
              <a:buFont typeface="Arial" panose="020B0604020202020204" pitchFamily="34" charset="0"/>
              <a:buChar char="•"/>
            </a:pPr>
            <a:r>
              <a:rPr lang="fr-FR"/>
              <a:t>Alice n’a pas de paire de clés asymétrique pour chiffer les échanges dans les deux sens</a:t>
            </a:r>
          </a:p>
          <a:p>
            <a:pPr marL="466725" lvl="1" indent="-285750">
              <a:buFont typeface="Arial" panose="020B0604020202020204" pitchFamily="34" charset="0"/>
              <a:buChar char="•"/>
            </a:pPr>
            <a:r>
              <a:rPr lang="fr-FR"/>
              <a:t>Et le chiffrement asymétrique, ça coute cher …</a:t>
            </a:r>
          </a:p>
          <a:p>
            <a:pPr marL="285750" indent="-285750">
              <a:buFont typeface="Arial" panose="020B0604020202020204" pitchFamily="34" charset="0"/>
              <a:buChar char="•"/>
            </a:pPr>
            <a:endParaRPr lang="fr-FR" b="1"/>
          </a:p>
          <a:p>
            <a:r>
              <a:rPr lang="fr-FR" b="1"/>
              <a:t>Alice va donc établir un tunnel sécurisé avec Bob, en appliquant le </a:t>
            </a:r>
            <a:r>
              <a:rPr lang="fr-FR" b="1" err="1"/>
              <a:t>HandShake</a:t>
            </a:r>
            <a:r>
              <a:rPr lang="fr-FR" b="1"/>
              <a:t> Protocol</a:t>
            </a:r>
          </a:p>
          <a:p>
            <a:pPr marL="523875" lvl="1" indent="-342900">
              <a:buFont typeface="+mj-lt"/>
              <a:buAutoNum type="arabicPeriod"/>
            </a:pPr>
            <a:r>
              <a:rPr lang="fr-FR"/>
              <a:t>Alice récupère la clé publique de Bob</a:t>
            </a:r>
          </a:p>
          <a:p>
            <a:pPr marL="523875" lvl="1" indent="-342900">
              <a:buFont typeface="+mj-lt"/>
              <a:buAutoNum type="arabicPeriod"/>
            </a:pPr>
            <a:r>
              <a:rPr lang="fr-FR"/>
              <a:t>Elle génère une clé de chiffrement symétrique, qu’elle chiffre avec la clé publique de Bob, puis lui envoi</a:t>
            </a:r>
          </a:p>
          <a:p>
            <a:pPr marL="523875" lvl="1" indent="-342900">
              <a:buFont typeface="+mj-lt"/>
              <a:buAutoNum type="arabicPeriod"/>
            </a:pPr>
            <a:r>
              <a:rPr lang="fr-FR"/>
              <a:t>Bob est le seul à disposer de la clé privée qui permet de déchiffrer le message d’Alice</a:t>
            </a:r>
          </a:p>
          <a:p>
            <a:pPr marL="523875" lvl="1" indent="-342900">
              <a:buFont typeface="+mj-lt"/>
              <a:buAutoNum type="arabicPeriod"/>
            </a:pPr>
            <a:r>
              <a:rPr lang="fr-FR"/>
              <a:t>Il peut donc récupérer la clé de chiffrement symétrique</a:t>
            </a:r>
          </a:p>
          <a:p>
            <a:pPr marL="523875" lvl="1" indent="-342900">
              <a:buFont typeface="+mj-lt"/>
              <a:buAutoNum type="arabicPeriod"/>
            </a:pPr>
            <a:r>
              <a:rPr lang="fr-FR" b="1">
                <a:solidFill>
                  <a:srgbClr val="FFC000"/>
                </a:solidFill>
              </a:rPr>
              <a:t>Ils peuvent maintenant échanger des données chiffrées avec une clé symétrique partagée et non connue à l’avance</a:t>
            </a:r>
          </a:p>
        </p:txBody>
      </p:sp>
      <p:pic>
        <p:nvPicPr>
          <p:cNvPr id="2" name="Graphique 1" descr="Profil femelle avec un remplissage uni">
            <a:extLst>
              <a:ext uri="{FF2B5EF4-FFF2-40B4-BE49-F238E27FC236}">
                <a16:creationId xmlns:a16="http://schemas.microsoft.com/office/drawing/2014/main" id="{1C3231AF-C5CC-893A-AB7F-A2C1C2E12E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23829" y="5031022"/>
            <a:ext cx="914400" cy="914400"/>
          </a:xfrm>
          <a:prstGeom prst="rect">
            <a:avLst/>
          </a:prstGeom>
          <a:effectLst>
            <a:outerShdw blurRad="50800" dist="38100" dir="2700000" algn="tl" rotWithShape="0">
              <a:prstClr val="black">
                <a:alpha val="40000"/>
              </a:prstClr>
            </a:outerShdw>
          </a:effectLst>
        </p:spPr>
      </p:pic>
      <p:pic>
        <p:nvPicPr>
          <p:cNvPr id="4" name="Graphique 3" descr="Profil mâle avec un remplissage uni">
            <a:extLst>
              <a:ext uri="{FF2B5EF4-FFF2-40B4-BE49-F238E27FC236}">
                <a16:creationId xmlns:a16="http://schemas.microsoft.com/office/drawing/2014/main" id="{A0FB3433-33F4-FC58-D5C4-7F292483BF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89888" y="5031022"/>
            <a:ext cx="914400" cy="914400"/>
          </a:xfrm>
          <a:prstGeom prst="rect">
            <a:avLst/>
          </a:prstGeom>
          <a:effectLst>
            <a:outerShdw blurRad="50800" dist="38100" dir="2700000" algn="tl" rotWithShape="0">
              <a:prstClr val="black">
                <a:alpha val="40000"/>
              </a:prstClr>
            </a:outerShdw>
          </a:effectLst>
        </p:spPr>
      </p:pic>
      <p:cxnSp>
        <p:nvCxnSpPr>
          <p:cNvPr id="18" name="Connecteur : en arc 17">
            <a:extLst>
              <a:ext uri="{FF2B5EF4-FFF2-40B4-BE49-F238E27FC236}">
                <a16:creationId xmlns:a16="http://schemas.microsoft.com/office/drawing/2014/main" id="{57638888-413C-77FF-89BF-0E6EF4A622BA}"/>
              </a:ext>
            </a:extLst>
          </p:cNvPr>
          <p:cNvCxnSpPr>
            <a:cxnSpLocks/>
            <a:stCxn id="4" idx="0"/>
            <a:endCxn id="2" idx="0"/>
          </p:cNvCxnSpPr>
          <p:nvPr/>
        </p:nvCxnSpPr>
        <p:spPr>
          <a:xfrm rot="16200000" flipV="1">
            <a:off x="6014059" y="1797992"/>
            <a:ext cx="12700" cy="6466059"/>
          </a:xfrm>
          <a:prstGeom prst="curvedConnector3">
            <a:avLst>
              <a:gd name="adj1" fmla="val 4199984"/>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6FFBF4C7-E6F3-7B61-46CD-CDBA5E456985}"/>
              </a:ext>
            </a:extLst>
          </p:cNvPr>
          <p:cNvSpPr txBox="1"/>
          <p:nvPr/>
        </p:nvSpPr>
        <p:spPr>
          <a:xfrm>
            <a:off x="5795352" y="4522352"/>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1</a:t>
            </a:r>
          </a:p>
        </p:txBody>
      </p:sp>
      <p:pic>
        <p:nvPicPr>
          <p:cNvPr id="24" name="Graphique 23" descr="Clé avec un remplissage uni">
            <a:extLst>
              <a:ext uri="{FF2B5EF4-FFF2-40B4-BE49-F238E27FC236}">
                <a16:creationId xmlns:a16="http://schemas.microsoft.com/office/drawing/2014/main" id="{01B1ADDE-6927-3DA6-8EED-86BB79872A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82758" y="4847891"/>
            <a:ext cx="442859" cy="451122"/>
          </a:xfrm>
          <a:prstGeom prst="rect">
            <a:avLst/>
          </a:prstGeom>
        </p:spPr>
      </p:pic>
      <p:pic>
        <p:nvPicPr>
          <p:cNvPr id="25" name="Graphique 24" descr="Clé avec un remplissage uni">
            <a:extLst>
              <a:ext uri="{FF2B5EF4-FFF2-40B4-BE49-F238E27FC236}">
                <a16:creationId xmlns:a16="http://schemas.microsoft.com/office/drawing/2014/main" id="{9A30C863-823B-F120-811F-DBFF797BB54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11418" y="5285827"/>
            <a:ext cx="442859" cy="451122"/>
          </a:xfrm>
          <a:prstGeom prst="rect">
            <a:avLst/>
          </a:prstGeom>
          <a:effectLst>
            <a:outerShdw blurRad="50800" dist="38100" dir="2700000" algn="tl" rotWithShape="0">
              <a:prstClr val="black">
                <a:alpha val="40000"/>
              </a:prstClr>
            </a:outerShdw>
          </a:effectLst>
        </p:spPr>
      </p:pic>
      <p:pic>
        <p:nvPicPr>
          <p:cNvPr id="30" name="Graphique 29" descr="Clé avec un remplissage uni">
            <a:extLst>
              <a:ext uri="{FF2B5EF4-FFF2-40B4-BE49-F238E27FC236}">
                <a16:creationId xmlns:a16="http://schemas.microsoft.com/office/drawing/2014/main" id="{9C8E6161-444A-3C3F-A36D-60F138B2B1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31099" y="4763030"/>
            <a:ext cx="442859" cy="451122"/>
          </a:xfrm>
          <a:prstGeom prst="rect">
            <a:avLst/>
          </a:prstGeom>
        </p:spPr>
      </p:pic>
      <p:pic>
        <p:nvPicPr>
          <p:cNvPr id="96" name="Graphique 95" descr="Clé avec un remplissage uni">
            <a:extLst>
              <a:ext uri="{FF2B5EF4-FFF2-40B4-BE49-F238E27FC236}">
                <a16:creationId xmlns:a16="http://schemas.microsoft.com/office/drawing/2014/main" id="{1E8AF9B3-BAAE-03EA-4024-B8389EDC1F9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96216" y="4563778"/>
            <a:ext cx="442859" cy="451122"/>
          </a:xfrm>
          <a:prstGeom prst="rect">
            <a:avLst/>
          </a:prstGeom>
          <a:effectLst>
            <a:outerShdw blurRad="50800" dist="38100" dir="2700000" algn="tl" rotWithShape="0">
              <a:prstClr val="black">
                <a:alpha val="40000"/>
              </a:prstClr>
            </a:outerShdw>
          </a:effectLst>
        </p:spPr>
      </p:pic>
      <p:pic>
        <p:nvPicPr>
          <p:cNvPr id="99" name="Graphique 98" descr="Clé avec un remplissage uni">
            <a:extLst>
              <a:ext uri="{FF2B5EF4-FFF2-40B4-BE49-F238E27FC236}">
                <a16:creationId xmlns:a16="http://schemas.microsoft.com/office/drawing/2014/main" id="{FF95ED6F-9048-6287-3637-87017826414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6216" y="5757068"/>
            <a:ext cx="442859" cy="451122"/>
          </a:xfrm>
          <a:prstGeom prst="rect">
            <a:avLst/>
          </a:prstGeom>
          <a:effectLst>
            <a:outerShdw blurRad="50800" dist="38100" dir="2700000" algn="tl" rotWithShape="0">
              <a:prstClr val="black">
                <a:alpha val="40000"/>
              </a:prstClr>
            </a:outerShdw>
          </a:effectLst>
        </p:spPr>
      </p:pic>
      <p:cxnSp>
        <p:nvCxnSpPr>
          <p:cNvPr id="106" name="Connecteur droit avec flèche 105">
            <a:extLst>
              <a:ext uri="{FF2B5EF4-FFF2-40B4-BE49-F238E27FC236}">
                <a16:creationId xmlns:a16="http://schemas.microsoft.com/office/drawing/2014/main" id="{48BDB570-2AE9-FAB0-A326-B1ABC7753EE3}"/>
              </a:ext>
            </a:extLst>
          </p:cNvPr>
          <p:cNvCxnSpPr>
            <a:cxnSpLocks/>
            <a:endCxn id="96" idx="3"/>
          </p:cNvCxnSpPr>
          <p:nvPr/>
        </p:nvCxnSpPr>
        <p:spPr>
          <a:xfrm flipH="1" flipV="1">
            <a:off x="1739075" y="4789339"/>
            <a:ext cx="746810" cy="34172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0" name="ZoneTexte 109">
            <a:extLst>
              <a:ext uri="{FF2B5EF4-FFF2-40B4-BE49-F238E27FC236}">
                <a16:creationId xmlns:a16="http://schemas.microsoft.com/office/drawing/2014/main" id="{6B2AADD4-516E-5027-1636-058B4BD65885}"/>
              </a:ext>
            </a:extLst>
          </p:cNvPr>
          <p:cNvSpPr txBox="1"/>
          <p:nvPr/>
        </p:nvSpPr>
        <p:spPr>
          <a:xfrm>
            <a:off x="2044853" y="5841130"/>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cxnSp>
        <p:nvCxnSpPr>
          <p:cNvPr id="111" name="Connecteur droit avec flèche 110">
            <a:extLst>
              <a:ext uri="{FF2B5EF4-FFF2-40B4-BE49-F238E27FC236}">
                <a16:creationId xmlns:a16="http://schemas.microsoft.com/office/drawing/2014/main" id="{E78F1211-D8E9-CCC1-F548-2295CFB931A3}"/>
              </a:ext>
            </a:extLst>
          </p:cNvPr>
          <p:cNvCxnSpPr>
            <a:cxnSpLocks/>
            <a:stCxn id="96" idx="2"/>
            <a:endCxn id="99" idx="0"/>
          </p:cNvCxnSpPr>
          <p:nvPr/>
        </p:nvCxnSpPr>
        <p:spPr>
          <a:xfrm>
            <a:off x="1517646" y="5014900"/>
            <a:ext cx="0" cy="742168"/>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14" name="Graphique 113" descr="Clé avec un remplissage uni">
            <a:extLst>
              <a:ext uri="{FF2B5EF4-FFF2-40B4-BE49-F238E27FC236}">
                <a16:creationId xmlns:a16="http://schemas.microsoft.com/office/drawing/2014/main" id="{AFD0D402-D3CD-0B1E-1AAC-FD36F28570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01994" y="5114187"/>
            <a:ext cx="442859" cy="451122"/>
          </a:xfrm>
          <a:prstGeom prst="rect">
            <a:avLst/>
          </a:prstGeom>
        </p:spPr>
      </p:pic>
      <p:cxnSp>
        <p:nvCxnSpPr>
          <p:cNvPr id="119" name="Connecteur droit avec flèche 118">
            <a:extLst>
              <a:ext uri="{FF2B5EF4-FFF2-40B4-BE49-F238E27FC236}">
                <a16:creationId xmlns:a16="http://schemas.microsoft.com/office/drawing/2014/main" id="{FC0B8A34-E273-6D23-B11D-4B29D707D6FE}"/>
              </a:ext>
            </a:extLst>
          </p:cNvPr>
          <p:cNvCxnSpPr>
            <a:cxnSpLocks/>
          </p:cNvCxnSpPr>
          <p:nvPr/>
        </p:nvCxnSpPr>
        <p:spPr>
          <a:xfrm flipV="1">
            <a:off x="1792391" y="5699631"/>
            <a:ext cx="617439" cy="282998"/>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3" name="ZoneTexte 122">
            <a:extLst>
              <a:ext uri="{FF2B5EF4-FFF2-40B4-BE49-F238E27FC236}">
                <a16:creationId xmlns:a16="http://schemas.microsoft.com/office/drawing/2014/main" id="{D580FB10-F05D-E943-C404-F000ECBCDA41}"/>
              </a:ext>
            </a:extLst>
          </p:cNvPr>
          <p:cNvSpPr txBox="1"/>
          <p:nvPr/>
        </p:nvSpPr>
        <p:spPr>
          <a:xfrm>
            <a:off x="2175146" y="4668334"/>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sp>
        <p:nvSpPr>
          <p:cNvPr id="124" name="ZoneTexte 123">
            <a:extLst>
              <a:ext uri="{FF2B5EF4-FFF2-40B4-BE49-F238E27FC236}">
                <a16:creationId xmlns:a16="http://schemas.microsoft.com/office/drawing/2014/main" id="{62D21AE1-20F9-E5CC-2FF4-CDE8B7A12A17}"/>
              </a:ext>
            </a:extLst>
          </p:cNvPr>
          <p:cNvSpPr txBox="1"/>
          <p:nvPr/>
        </p:nvSpPr>
        <p:spPr>
          <a:xfrm>
            <a:off x="1175335" y="5219717"/>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cxnSp>
        <p:nvCxnSpPr>
          <p:cNvPr id="125" name="Connecteur : en arc 124">
            <a:extLst>
              <a:ext uri="{FF2B5EF4-FFF2-40B4-BE49-F238E27FC236}">
                <a16:creationId xmlns:a16="http://schemas.microsoft.com/office/drawing/2014/main" id="{D34D5B83-AB44-F969-D024-990A4D9D4500}"/>
              </a:ext>
            </a:extLst>
          </p:cNvPr>
          <p:cNvCxnSpPr>
            <a:cxnSpLocks/>
            <a:stCxn id="2" idx="2"/>
            <a:endCxn id="4" idx="2"/>
          </p:cNvCxnSpPr>
          <p:nvPr/>
        </p:nvCxnSpPr>
        <p:spPr>
          <a:xfrm rot="16200000" flipH="1">
            <a:off x="6014058" y="2712392"/>
            <a:ext cx="12700" cy="6466059"/>
          </a:xfrm>
          <a:prstGeom prst="curvedConnector3">
            <a:avLst>
              <a:gd name="adj1" fmla="val 3660000"/>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0" name="ZoneTexte 129">
            <a:extLst>
              <a:ext uri="{FF2B5EF4-FFF2-40B4-BE49-F238E27FC236}">
                <a16:creationId xmlns:a16="http://schemas.microsoft.com/office/drawing/2014/main" id="{D99BD8FD-0051-5BEE-3F52-26E43433F227}"/>
              </a:ext>
            </a:extLst>
          </p:cNvPr>
          <p:cNvSpPr txBox="1"/>
          <p:nvPr/>
        </p:nvSpPr>
        <p:spPr>
          <a:xfrm>
            <a:off x="5797859" y="6053211"/>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2</a:t>
            </a:r>
          </a:p>
        </p:txBody>
      </p:sp>
      <p:sp>
        <p:nvSpPr>
          <p:cNvPr id="131" name="ZoneTexte 130">
            <a:extLst>
              <a:ext uri="{FF2B5EF4-FFF2-40B4-BE49-F238E27FC236}">
                <a16:creationId xmlns:a16="http://schemas.microsoft.com/office/drawing/2014/main" id="{01A1996A-072B-5947-8052-7C972139B693}"/>
              </a:ext>
            </a:extLst>
          </p:cNvPr>
          <p:cNvSpPr txBox="1"/>
          <p:nvPr/>
        </p:nvSpPr>
        <p:spPr>
          <a:xfrm>
            <a:off x="9925565" y="5127346"/>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3</a:t>
            </a:r>
          </a:p>
        </p:txBody>
      </p:sp>
      <p:pic>
        <p:nvPicPr>
          <p:cNvPr id="143" name="Graphique 142" descr="Clé avec un remplissage uni">
            <a:extLst>
              <a:ext uri="{FF2B5EF4-FFF2-40B4-BE49-F238E27FC236}">
                <a16:creationId xmlns:a16="http://schemas.microsoft.com/office/drawing/2014/main" id="{CA1CB52C-79E7-A268-D40B-655D03C2AC3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55572" y="4663065"/>
            <a:ext cx="442859" cy="451122"/>
          </a:xfrm>
          <a:prstGeom prst="rect">
            <a:avLst/>
          </a:prstGeom>
          <a:effectLst>
            <a:outerShdw blurRad="50800" dist="38100" dir="2700000" algn="tl" rotWithShape="0">
              <a:prstClr val="black">
                <a:alpha val="40000"/>
              </a:prstClr>
            </a:outerShdw>
          </a:effectLst>
        </p:spPr>
      </p:pic>
      <p:pic>
        <p:nvPicPr>
          <p:cNvPr id="144" name="Graphique 143" descr="Clé avec un remplissage uni">
            <a:extLst>
              <a:ext uri="{FF2B5EF4-FFF2-40B4-BE49-F238E27FC236}">
                <a16:creationId xmlns:a16="http://schemas.microsoft.com/office/drawing/2014/main" id="{720832E6-B52A-B55C-1E22-89BAB1F8C34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55572" y="5856355"/>
            <a:ext cx="442859" cy="451122"/>
          </a:xfrm>
          <a:prstGeom prst="rect">
            <a:avLst/>
          </a:prstGeom>
          <a:effectLst>
            <a:outerShdw blurRad="50800" dist="38100" dir="2700000" algn="tl" rotWithShape="0">
              <a:prstClr val="black">
                <a:alpha val="40000"/>
              </a:prstClr>
            </a:outerShdw>
          </a:effectLst>
        </p:spPr>
      </p:pic>
      <p:cxnSp>
        <p:nvCxnSpPr>
          <p:cNvPr id="145" name="Connecteur droit avec flèche 144">
            <a:extLst>
              <a:ext uri="{FF2B5EF4-FFF2-40B4-BE49-F238E27FC236}">
                <a16:creationId xmlns:a16="http://schemas.microsoft.com/office/drawing/2014/main" id="{839CEB47-3BAC-8EA7-32F8-090849FDFADA}"/>
              </a:ext>
            </a:extLst>
          </p:cNvPr>
          <p:cNvCxnSpPr>
            <a:cxnSpLocks/>
            <a:endCxn id="144" idx="1"/>
          </p:cNvCxnSpPr>
          <p:nvPr/>
        </p:nvCxnSpPr>
        <p:spPr>
          <a:xfrm>
            <a:off x="9656525" y="5841130"/>
            <a:ext cx="699047" cy="24078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8" name="Connecteur droit avec flèche 147">
            <a:extLst>
              <a:ext uri="{FF2B5EF4-FFF2-40B4-BE49-F238E27FC236}">
                <a16:creationId xmlns:a16="http://schemas.microsoft.com/office/drawing/2014/main" id="{0DF2766B-84D9-4A65-4545-1DCBA205D755}"/>
              </a:ext>
            </a:extLst>
          </p:cNvPr>
          <p:cNvCxnSpPr>
            <a:cxnSpLocks/>
            <a:stCxn id="144" idx="0"/>
            <a:endCxn id="143" idx="2"/>
          </p:cNvCxnSpPr>
          <p:nvPr/>
        </p:nvCxnSpPr>
        <p:spPr>
          <a:xfrm flipV="1">
            <a:off x="10577002" y="5114187"/>
            <a:ext cx="0" cy="742168"/>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1" name="Connecteur droit avec flèche 150">
            <a:extLst>
              <a:ext uri="{FF2B5EF4-FFF2-40B4-BE49-F238E27FC236}">
                <a16:creationId xmlns:a16="http://schemas.microsoft.com/office/drawing/2014/main" id="{8731DF8C-99B0-6298-560D-83CC58B72C23}"/>
              </a:ext>
            </a:extLst>
          </p:cNvPr>
          <p:cNvCxnSpPr>
            <a:cxnSpLocks/>
            <a:stCxn id="143" idx="1"/>
          </p:cNvCxnSpPr>
          <p:nvPr/>
        </p:nvCxnSpPr>
        <p:spPr>
          <a:xfrm flipH="1">
            <a:off x="9607245" y="4888626"/>
            <a:ext cx="748327" cy="3255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4" name="ZoneTexte 153">
            <a:extLst>
              <a:ext uri="{FF2B5EF4-FFF2-40B4-BE49-F238E27FC236}">
                <a16:creationId xmlns:a16="http://schemas.microsoft.com/office/drawing/2014/main" id="{C3BB9D02-13BD-A733-BCD0-0F761F97571F}"/>
              </a:ext>
            </a:extLst>
          </p:cNvPr>
          <p:cNvSpPr txBox="1"/>
          <p:nvPr/>
        </p:nvSpPr>
        <p:spPr>
          <a:xfrm>
            <a:off x="9866075" y="5961523"/>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4</a:t>
            </a:r>
          </a:p>
        </p:txBody>
      </p:sp>
      <p:sp>
        <p:nvSpPr>
          <p:cNvPr id="155" name="ZoneTexte 154">
            <a:extLst>
              <a:ext uri="{FF2B5EF4-FFF2-40B4-BE49-F238E27FC236}">
                <a16:creationId xmlns:a16="http://schemas.microsoft.com/office/drawing/2014/main" id="{393E41E1-E6CD-787F-6A23-D51177B2C34D}"/>
              </a:ext>
            </a:extLst>
          </p:cNvPr>
          <p:cNvSpPr txBox="1"/>
          <p:nvPr/>
        </p:nvSpPr>
        <p:spPr>
          <a:xfrm>
            <a:off x="10681219" y="5330292"/>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4</a:t>
            </a:r>
          </a:p>
        </p:txBody>
      </p:sp>
      <p:sp>
        <p:nvSpPr>
          <p:cNvPr id="156" name="ZoneTexte 155">
            <a:extLst>
              <a:ext uri="{FF2B5EF4-FFF2-40B4-BE49-F238E27FC236}">
                <a16:creationId xmlns:a16="http://schemas.microsoft.com/office/drawing/2014/main" id="{5BB7C1AD-AF7C-9251-2815-3A859B4DBF75}"/>
              </a:ext>
            </a:extLst>
          </p:cNvPr>
          <p:cNvSpPr txBox="1"/>
          <p:nvPr/>
        </p:nvSpPr>
        <p:spPr>
          <a:xfrm>
            <a:off x="9799929" y="4663111"/>
            <a:ext cx="247650" cy="309958"/>
          </a:xfrm>
          <a:prstGeom prst="rect">
            <a:avLst/>
          </a:prstGeom>
          <a:noFill/>
        </p:spPr>
        <p:txBody>
          <a:bodyPr vert="horz" wrap="square" lIns="90000" tIns="46800" rIns="90000" bIns="46800" rtlCol="0" anchor="ctr">
            <a:spAutoFit/>
          </a:bodyPr>
          <a:lstStyle>
            <a:defPPr>
              <a:defRPr lang="pt-PT"/>
            </a:defPPr>
            <a:lvl1pPr algn="ctr">
              <a:spcBef>
                <a:spcPct val="0"/>
              </a:spcBef>
              <a:defRPr sz="1400" b="1">
                <a:solidFill>
                  <a:schemeClr val="accent4">
                    <a:lumMod val="50000"/>
                    <a:lumOff val="50000"/>
                  </a:schemeClr>
                </a:solidFill>
                <a:effectLst>
                  <a:outerShdw blurRad="38100" dist="38100" dir="2700000" algn="tl">
                    <a:srgbClr val="000000">
                      <a:alpha val="43137"/>
                    </a:srgbClr>
                  </a:outerShdw>
                </a:effectLst>
              </a:defRPr>
            </a:lvl1pPr>
          </a:lstStyle>
          <a:p>
            <a:r>
              <a:rPr lang="fr-FR"/>
              <a:t>4</a:t>
            </a:r>
          </a:p>
        </p:txBody>
      </p:sp>
      <p:cxnSp>
        <p:nvCxnSpPr>
          <p:cNvPr id="159" name="Connecteur droit avec flèche 158">
            <a:extLst>
              <a:ext uri="{FF2B5EF4-FFF2-40B4-BE49-F238E27FC236}">
                <a16:creationId xmlns:a16="http://schemas.microsoft.com/office/drawing/2014/main" id="{4BC6AF2F-7F8B-60D1-A490-C26605581B56}"/>
              </a:ext>
            </a:extLst>
          </p:cNvPr>
          <p:cNvCxnSpPr>
            <a:cxnSpLocks/>
          </p:cNvCxnSpPr>
          <p:nvPr/>
        </p:nvCxnSpPr>
        <p:spPr>
          <a:xfrm flipV="1">
            <a:off x="3238229" y="5483489"/>
            <a:ext cx="5551659" cy="4733"/>
          </a:xfrm>
          <a:prstGeom prst="straightConnector1">
            <a:avLst/>
          </a:prstGeom>
          <a:ln w="76200">
            <a:solidFill>
              <a:srgbClr val="FFC000"/>
            </a:solidFill>
            <a:prstDash val="sysDash"/>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40960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41745" y="1317649"/>
            <a:ext cx="2613539" cy="4752528"/>
          </a:xfrm>
        </p:spPr>
        <p:txBody>
          <a:bodyPr numCol="1" anchor="ctr"/>
          <a:lstStyle/>
          <a:p>
            <a:pPr marL="285750" indent="-285750">
              <a:buFont typeface="Arial" panose="020B0604020202020204" pitchFamily="34" charset="0"/>
              <a:buChar char="•"/>
            </a:pPr>
            <a:r>
              <a:rPr lang="fr-FR" sz="1200" b="1"/>
              <a:t>Le client contacte le serveur</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Le serveur répond en fournissant son certificat (sa clé publiqu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Le client utilise la clé publique pour chiffrer une clé de session synchron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Le client transmet la clé de session synchrone au serveur</a:t>
            </a:r>
          </a:p>
          <a:p>
            <a:pPr marL="285750" indent="-285750">
              <a:buFont typeface="Arial" panose="020B0604020202020204" pitchFamily="34" charset="0"/>
              <a:buChar char="•"/>
            </a:pPr>
            <a:endParaRPr lang="fr-FR" sz="1100" b="1"/>
          </a:p>
          <a:p>
            <a:pPr marL="285750" indent="-285750">
              <a:buFont typeface="Arial" panose="020B0604020202020204" pitchFamily="34" charset="0"/>
              <a:buChar char="•"/>
            </a:pPr>
            <a:r>
              <a:rPr lang="fr-FR" sz="1200" b="1"/>
              <a:t>Le serveur déchiffre la clé de session avec sa clé privé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Alice et Bob disposent maintenant d’une clé de chiffrement symétrique pour leurs échanges</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e Handshake Protocol en action</a:t>
            </a:r>
          </a:p>
        </p:txBody>
      </p:sp>
      <p:pic>
        <p:nvPicPr>
          <p:cNvPr id="17" name="Graphique 16" descr="Profil femelle avec un remplissage uni">
            <a:extLst>
              <a:ext uri="{FF2B5EF4-FFF2-40B4-BE49-F238E27FC236}">
                <a16:creationId xmlns:a16="http://schemas.microsoft.com/office/drawing/2014/main" id="{C773D4D4-4BE4-5F35-EF3F-48204D7D33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9539" y="1255908"/>
            <a:ext cx="914400" cy="914400"/>
          </a:xfrm>
          <a:prstGeom prst="rect">
            <a:avLst/>
          </a:prstGeom>
          <a:effectLst>
            <a:outerShdw blurRad="50800" dist="38100" dir="2700000" algn="tl" rotWithShape="0">
              <a:prstClr val="black">
                <a:alpha val="40000"/>
              </a:prstClr>
            </a:outerShdw>
          </a:effectLst>
        </p:spPr>
      </p:pic>
      <p:pic>
        <p:nvPicPr>
          <p:cNvPr id="20" name="Graphique 19" descr="Profil mâle avec un remplissage uni">
            <a:extLst>
              <a:ext uri="{FF2B5EF4-FFF2-40B4-BE49-F238E27FC236}">
                <a16:creationId xmlns:a16="http://schemas.microsoft.com/office/drawing/2014/main" id="{97364EAC-9ED2-262D-50CF-9139D6E4F9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35598" y="1340768"/>
            <a:ext cx="914400" cy="914400"/>
          </a:xfrm>
          <a:prstGeom prst="rect">
            <a:avLst/>
          </a:prstGeom>
          <a:effectLst>
            <a:outerShdw blurRad="50800" dist="38100" dir="2700000" algn="tl" rotWithShape="0">
              <a:prstClr val="black">
                <a:alpha val="40000"/>
              </a:prstClr>
            </a:outerShdw>
          </a:effectLst>
        </p:spPr>
      </p:pic>
      <p:cxnSp>
        <p:nvCxnSpPr>
          <p:cNvPr id="24" name="Connecteur droit avec flèche 23">
            <a:extLst>
              <a:ext uri="{FF2B5EF4-FFF2-40B4-BE49-F238E27FC236}">
                <a16:creationId xmlns:a16="http://schemas.microsoft.com/office/drawing/2014/main" id="{09086437-0E2B-6D61-5E52-2983B04A98A5}"/>
              </a:ext>
            </a:extLst>
          </p:cNvPr>
          <p:cNvCxnSpPr>
            <a:cxnSpLocks/>
          </p:cNvCxnSpPr>
          <p:nvPr/>
        </p:nvCxnSpPr>
        <p:spPr>
          <a:xfrm>
            <a:off x="4126739" y="2170308"/>
            <a:ext cx="0" cy="4067004"/>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FAECB01B-C3AA-7D0C-D138-5A0022016B85}"/>
              </a:ext>
            </a:extLst>
          </p:cNvPr>
          <p:cNvCxnSpPr>
            <a:cxnSpLocks/>
            <a:stCxn id="20" idx="2"/>
          </p:cNvCxnSpPr>
          <p:nvPr/>
        </p:nvCxnSpPr>
        <p:spPr>
          <a:xfrm>
            <a:off x="10592798" y="2255168"/>
            <a:ext cx="0"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63BCE5EB-F9EA-E22A-3F76-C95DB9DE7036}"/>
              </a:ext>
            </a:extLst>
          </p:cNvPr>
          <p:cNvCxnSpPr>
            <a:cxnSpLocks/>
          </p:cNvCxnSpPr>
          <p:nvPr/>
        </p:nvCxnSpPr>
        <p:spPr>
          <a:xfrm>
            <a:off x="4223900" y="2298619"/>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ZoneTexte 55">
            <a:extLst>
              <a:ext uri="{FF2B5EF4-FFF2-40B4-BE49-F238E27FC236}">
                <a16:creationId xmlns:a16="http://schemas.microsoft.com/office/drawing/2014/main" id="{0F9AC769-62CB-7F24-352D-7E0CE413AEC7}"/>
              </a:ext>
            </a:extLst>
          </p:cNvPr>
          <p:cNvSpPr txBox="1"/>
          <p:nvPr/>
        </p:nvSpPr>
        <p:spPr>
          <a:xfrm>
            <a:off x="10187844" y="1113781"/>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57" name="ZoneTexte 56">
            <a:extLst>
              <a:ext uri="{FF2B5EF4-FFF2-40B4-BE49-F238E27FC236}">
                <a16:creationId xmlns:a16="http://schemas.microsoft.com/office/drawing/2014/main" id="{AAB20294-66ED-FFFF-57A0-0B8509B57C6D}"/>
              </a:ext>
            </a:extLst>
          </p:cNvPr>
          <p:cNvSpPr txBox="1"/>
          <p:nvPr/>
        </p:nvSpPr>
        <p:spPr>
          <a:xfrm>
            <a:off x="3625669" y="999232"/>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72" name="ZoneTexte 71">
            <a:extLst>
              <a:ext uri="{FF2B5EF4-FFF2-40B4-BE49-F238E27FC236}">
                <a16:creationId xmlns:a16="http://schemas.microsoft.com/office/drawing/2014/main" id="{80BF8ABF-6F8B-228E-38CF-CA09F9AC7546}"/>
              </a:ext>
            </a:extLst>
          </p:cNvPr>
          <p:cNvSpPr txBox="1"/>
          <p:nvPr/>
        </p:nvSpPr>
        <p:spPr>
          <a:xfrm>
            <a:off x="4616314" y="1988661"/>
            <a:ext cx="161285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ient Hello</a:t>
            </a:r>
          </a:p>
        </p:txBody>
      </p:sp>
      <p:cxnSp>
        <p:nvCxnSpPr>
          <p:cNvPr id="73" name="Connecteur droit avec flèche 72">
            <a:extLst>
              <a:ext uri="{FF2B5EF4-FFF2-40B4-BE49-F238E27FC236}">
                <a16:creationId xmlns:a16="http://schemas.microsoft.com/office/drawing/2014/main" id="{25D87FB7-E5F1-96FC-21DB-9F467F525705}"/>
              </a:ext>
            </a:extLst>
          </p:cNvPr>
          <p:cNvCxnSpPr>
            <a:cxnSpLocks/>
          </p:cNvCxnSpPr>
          <p:nvPr/>
        </p:nvCxnSpPr>
        <p:spPr>
          <a:xfrm flipH="1">
            <a:off x="4237709" y="3036117"/>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6" name="ZoneTexte 75">
            <a:extLst>
              <a:ext uri="{FF2B5EF4-FFF2-40B4-BE49-F238E27FC236}">
                <a16:creationId xmlns:a16="http://schemas.microsoft.com/office/drawing/2014/main" id="{D164F4BB-8A26-96F7-E70B-AA39638B317D}"/>
              </a:ext>
            </a:extLst>
          </p:cNvPr>
          <p:cNvSpPr txBox="1"/>
          <p:nvPr/>
        </p:nvSpPr>
        <p:spPr>
          <a:xfrm>
            <a:off x="8538937" y="2759002"/>
            <a:ext cx="1648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a:t>
            </a:r>
          </a:p>
        </p:txBody>
      </p:sp>
      <p:cxnSp>
        <p:nvCxnSpPr>
          <p:cNvPr id="77" name="Connecteur droit avec flèche 76">
            <a:extLst>
              <a:ext uri="{FF2B5EF4-FFF2-40B4-BE49-F238E27FC236}">
                <a16:creationId xmlns:a16="http://schemas.microsoft.com/office/drawing/2014/main" id="{58E55401-A71B-B787-C362-8B4ED32AFF24}"/>
              </a:ext>
            </a:extLst>
          </p:cNvPr>
          <p:cNvCxnSpPr>
            <a:cxnSpLocks/>
          </p:cNvCxnSpPr>
          <p:nvPr/>
        </p:nvCxnSpPr>
        <p:spPr>
          <a:xfrm flipH="1">
            <a:off x="4237709" y="3356992"/>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ABA5A530-4012-CBC6-E319-74DF80515D9E}"/>
              </a:ext>
            </a:extLst>
          </p:cNvPr>
          <p:cNvSpPr txBox="1"/>
          <p:nvPr/>
        </p:nvSpPr>
        <p:spPr>
          <a:xfrm>
            <a:off x="7985292" y="3047034"/>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ertificat (clé publique)</a:t>
            </a:r>
          </a:p>
        </p:txBody>
      </p:sp>
      <p:cxnSp>
        <p:nvCxnSpPr>
          <p:cNvPr id="79" name="Connecteur droit avec flèche 78">
            <a:extLst>
              <a:ext uri="{FF2B5EF4-FFF2-40B4-BE49-F238E27FC236}">
                <a16:creationId xmlns:a16="http://schemas.microsoft.com/office/drawing/2014/main" id="{5020F59C-967E-72EC-BFEA-CF0BD3902F9C}"/>
              </a:ext>
            </a:extLst>
          </p:cNvPr>
          <p:cNvCxnSpPr>
            <a:cxnSpLocks/>
          </p:cNvCxnSpPr>
          <p:nvPr/>
        </p:nvCxnSpPr>
        <p:spPr>
          <a:xfrm flipH="1">
            <a:off x="4223900" y="364502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0E3D098D-ACE6-0371-5B41-DF2EB6A5790A}"/>
              </a:ext>
            </a:extLst>
          </p:cNvPr>
          <p:cNvSpPr txBox="1"/>
          <p:nvPr/>
        </p:nvSpPr>
        <p:spPr>
          <a:xfrm>
            <a:off x="7996497" y="3356992"/>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 </a:t>
            </a:r>
            <a:r>
              <a:rPr lang="fr-FR" sz="1400" b="1" err="1">
                <a:solidFill>
                  <a:srgbClr val="FF304D"/>
                </a:solidFill>
                <a:effectLst>
                  <a:outerShdw blurRad="38100" dist="38100" dir="2700000" algn="tl">
                    <a:srgbClr val="000000">
                      <a:alpha val="43137"/>
                    </a:srgbClr>
                  </a:outerShdw>
                </a:effectLst>
              </a:rPr>
              <a:t>Done</a:t>
            </a:r>
            <a:endParaRPr lang="fr-FR" sz="1400" b="1">
              <a:solidFill>
                <a:srgbClr val="FF304D"/>
              </a:solidFill>
              <a:effectLst>
                <a:outerShdw blurRad="38100" dist="38100" dir="2700000" algn="tl">
                  <a:srgbClr val="000000">
                    <a:alpha val="43137"/>
                  </a:srgbClr>
                </a:outerShdw>
              </a:effectLst>
            </a:endParaRPr>
          </a:p>
        </p:txBody>
      </p:sp>
      <p:cxnSp>
        <p:nvCxnSpPr>
          <p:cNvPr id="81" name="Connecteur droit avec flèche 80">
            <a:extLst>
              <a:ext uri="{FF2B5EF4-FFF2-40B4-BE49-F238E27FC236}">
                <a16:creationId xmlns:a16="http://schemas.microsoft.com/office/drawing/2014/main" id="{A12A8D61-3E3B-95C0-44C7-7AAE5FEC9E66}"/>
              </a:ext>
            </a:extLst>
          </p:cNvPr>
          <p:cNvCxnSpPr>
            <a:cxnSpLocks/>
          </p:cNvCxnSpPr>
          <p:nvPr/>
        </p:nvCxnSpPr>
        <p:spPr>
          <a:xfrm>
            <a:off x="4223900" y="4127692"/>
            <a:ext cx="6271738" cy="381428"/>
          </a:xfrm>
          <a:prstGeom prst="straightConnector1">
            <a:avLst/>
          </a:prstGeom>
          <a:ln w="28575">
            <a:solidFill>
              <a:srgbClr val="92D05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2" name="ZoneTexte 81">
            <a:extLst>
              <a:ext uri="{FF2B5EF4-FFF2-40B4-BE49-F238E27FC236}">
                <a16:creationId xmlns:a16="http://schemas.microsoft.com/office/drawing/2014/main" id="{AD070F0C-885F-EC2F-ABA9-BDFC0ECD024E}"/>
              </a:ext>
            </a:extLst>
          </p:cNvPr>
          <p:cNvSpPr txBox="1"/>
          <p:nvPr/>
        </p:nvSpPr>
        <p:spPr>
          <a:xfrm>
            <a:off x="4424756" y="386104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92D050"/>
                </a:solidFill>
                <a:effectLst>
                  <a:outerShdw blurRad="38100" dist="38100" dir="2700000" algn="tl">
                    <a:srgbClr val="000000">
                      <a:alpha val="43137"/>
                    </a:srgbClr>
                  </a:outerShdw>
                </a:effectLst>
              </a:rPr>
              <a:t>Client Key Exchange</a:t>
            </a:r>
          </a:p>
        </p:txBody>
      </p:sp>
      <p:cxnSp>
        <p:nvCxnSpPr>
          <p:cNvPr id="83" name="Connecteur droit avec flèche 82">
            <a:extLst>
              <a:ext uri="{FF2B5EF4-FFF2-40B4-BE49-F238E27FC236}">
                <a16:creationId xmlns:a16="http://schemas.microsoft.com/office/drawing/2014/main" id="{20F5EEBB-89C2-BD9E-AB8C-FBEA53FDE611}"/>
              </a:ext>
            </a:extLst>
          </p:cNvPr>
          <p:cNvCxnSpPr>
            <a:cxnSpLocks/>
          </p:cNvCxnSpPr>
          <p:nvPr/>
        </p:nvCxnSpPr>
        <p:spPr>
          <a:xfrm>
            <a:off x="4233030" y="450912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4" name="ZoneTexte 83">
            <a:extLst>
              <a:ext uri="{FF2B5EF4-FFF2-40B4-BE49-F238E27FC236}">
                <a16:creationId xmlns:a16="http://schemas.microsoft.com/office/drawing/2014/main" id="{1A2F47E9-37A6-8558-B87A-8FD004D4DAF4}"/>
              </a:ext>
            </a:extLst>
          </p:cNvPr>
          <p:cNvSpPr txBox="1"/>
          <p:nvPr/>
        </p:nvSpPr>
        <p:spPr>
          <a:xfrm>
            <a:off x="4424756" y="422108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hange </a:t>
            </a:r>
            <a:r>
              <a:rPr lang="fr-FR" sz="1400" b="1" err="1">
                <a:solidFill>
                  <a:schemeClr val="accent2">
                    <a:lumMod val="40000"/>
                    <a:lumOff val="60000"/>
                  </a:schemeClr>
                </a:solidFill>
                <a:effectLst>
                  <a:outerShdw blurRad="38100" dist="38100" dir="2700000" algn="tl">
                    <a:srgbClr val="000000">
                      <a:alpha val="43137"/>
                    </a:srgbClr>
                  </a:outerShdw>
                </a:effectLst>
              </a:rPr>
              <a:t>Cipher</a:t>
            </a:r>
            <a:r>
              <a:rPr lang="fr-FR" sz="1400" b="1">
                <a:solidFill>
                  <a:schemeClr val="accent2">
                    <a:lumMod val="40000"/>
                    <a:lumOff val="60000"/>
                  </a:schemeClr>
                </a:solidFill>
                <a:effectLst>
                  <a:outerShdw blurRad="38100" dist="38100" dir="2700000" algn="tl">
                    <a:srgbClr val="000000">
                      <a:alpha val="43137"/>
                    </a:srgbClr>
                  </a:outerShdw>
                </a:effectLst>
              </a:rPr>
              <a:t> </a:t>
            </a:r>
            <a:r>
              <a:rPr lang="fr-FR" sz="1400" b="1" err="1">
                <a:solidFill>
                  <a:schemeClr val="accent2">
                    <a:lumMod val="40000"/>
                    <a:lumOff val="60000"/>
                  </a:schemeClr>
                </a:solidFill>
                <a:effectLst>
                  <a:outerShdw blurRad="38100" dist="38100" dir="2700000" algn="tl">
                    <a:srgbClr val="000000">
                      <a:alpha val="43137"/>
                    </a:srgbClr>
                  </a:outerShdw>
                </a:effectLst>
              </a:rPr>
              <a:t>Spec</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5" name="Connecteur droit avec flèche 84">
            <a:extLst>
              <a:ext uri="{FF2B5EF4-FFF2-40B4-BE49-F238E27FC236}">
                <a16:creationId xmlns:a16="http://schemas.microsoft.com/office/drawing/2014/main" id="{F6944DB9-258A-C43E-7B0C-71E3E429BDF9}"/>
              </a:ext>
            </a:extLst>
          </p:cNvPr>
          <p:cNvCxnSpPr>
            <a:cxnSpLocks/>
          </p:cNvCxnSpPr>
          <p:nvPr/>
        </p:nvCxnSpPr>
        <p:spPr>
          <a:xfrm>
            <a:off x="4233030" y="486916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6" name="ZoneTexte 85">
            <a:extLst>
              <a:ext uri="{FF2B5EF4-FFF2-40B4-BE49-F238E27FC236}">
                <a16:creationId xmlns:a16="http://schemas.microsoft.com/office/drawing/2014/main" id="{655CBECE-F77E-0499-5E5F-8BA992B2B942}"/>
              </a:ext>
            </a:extLst>
          </p:cNvPr>
          <p:cNvSpPr txBox="1"/>
          <p:nvPr/>
        </p:nvSpPr>
        <p:spPr>
          <a:xfrm>
            <a:off x="4398832" y="458112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chemeClr val="accent2">
                    <a:lumMod val="40000"/>
                    <a:lumOff val="60000"/>
                  </a:schemeClr>
                </a:solidFill>
                <a:effectLst>
                  <a:outerShdw blurRad="38100" dist="38100" dir="2700000" algn="tl">
                    <a:srgbClr val="000000">
                      <a:alpha val="43137"/>
                    </a:srgbClr>
                  </a:outerShdw>
                </a:effectLst>
              </a:rPr>
              <a:t>Finished</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7" name="Connecteur droit avec flèche 86">
            <a:extLst>
              <a:ext uri="{FF2B5EF4-FFF2-40B4-BE49-F238E27FC236}">
                <a16:creationId xmlns:a16="http://schemas.microsoft.com/office/drawing/2014/main" id="{5D4428B1-ACFB-7D75-A4C8-A80BF68BE623}"/>
              </a:ext>
            </a:extLst>
          </p:cNvPr>
          <p:cNvCxnSpPr>
            <a:cxnSpLocks/>
          </p:cNvCxnSpPr>
          <p:nvPr/>
        </p:nvCxnSpPr>
        <p:spPr>
          <a:xfrm flipH="1">
            <a:off x="4260650" y="576151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8" name="Connecteur droit avec flèche 87">
            <a:extLst>
              <a:ext uri="{FF2B5EF4-FFF2-40B4-BE49-F238E27FC236}">
                <a16:creationId xmlns:a16="http://schemas.microsoft.com/office/drawing/2014/main" id="{9FD0CA3C-DDBA-CD03-81AF-3782DD8E8E1A}"/>
              </a:ext>
            </a:extLst>
          </p:cNvPr>
          <p:cNvCxnSpPr>
            <a:cxnSpLocks/>
          </p:cNvCxnSpPr>
          <p:nvPr/>
        </p:nvCxnSpPr>
        <p:spPr>
          <a:xfrm flipH="1">
            <a:off x="4237709" y="6115203"/>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10A25536-1771-5C23-E1BE-D1C28083FC55}"/>
              </a:ext>
            </a:extLst>
          </p:cNvPr>
          <p:cNvSpPr txBox="1"/>
          <p:nvPr/>
        </p:nvSpPr>
        <p:spPr>
          <a:xfrm>
            <a:off x="8252502" y="5427015"/>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hange </a:t>
            </a:r>
            <a:r>
              <a:rPr lang="fr-FR" sz="1400" b="1" err="1">
                <a:solidFill>
                  <a:srgbClr val="FF304D"/>
                </a:solidFill>
                <a:effectLst>
                  <a:outerShdw blurRad="38100" dist="38100" dir="2700000" algn="tl">
                    <a:srgbClr val="000000">
                      <a:alpha val="43137"/>
                    </a:srgbClr>
                  </a:outerShdw>
                </a:effectLst>
              </a:rPr>
              <a:t>Cipher</a:t>
            </a:r>
            <a:r>
              <a:rPr lang="fr-FR" sz="1400" b="1">
                <a:solidFill>
                  <a:srgbClr val="FF304D"/>
                </a:solidFill>
                <a:effectLst>
                  <a:outerShdw blurRad="38100" dist="38100" dir="2700000" algn="tl">
                    <a:srgbClr val="000000">
                      <a:alpha val="43137"/>
                    </a:srgbClr>
                  </a:outerShdw>
                </a:effectLst>
              </a:rPr>
              <a:t> </a:t>
            </a:r>
            <a:r>
              <a:rPr lang="fr-FR" sz="1400" b="1" err="1">
                <a:solidFill>
                  <a:srgbClr val="FF304D"/>
                </a:solidFill>
                <a:effectLst>
                  <a:outerShdw blurRad="38100" dist="38100" dir="2700000" algn="tl">
                    <a:srgbClr val="000000">
                      <a:alpha val="43137"/>
                    </a:srgbClr>
                  </a:outerShdw>
                </a:effectLst>
              </a:rPr>
              <a:t>Spec</a:t>
            </a:r>
            <a:endParaRPr lang="fr-FR" sz="1400" b="1">
              <a:solidFill>
                <a:srgbClr val="FF304D"/>
              </a:solidFill>
              <a:effectLst>
                <a:outerShdw blurRad="38100" dist="38100" dir="2700000" algn="tl">
                  <a:srgbClr val="000000">
                    <a:alpha val="43137"/>
                  </a:srgbClr>
                </a:outerShdw>
              </a:effectLst>
            </a:endParaRPr>
          </a:p>
        </p:txBody>
      </p:sp>
      <p:sp>
        <p:nvSpPr>
          <p:cNvPr id="90" name="ZoneTexte 89">
            <a:extLst>
              <a:ext uri="{FF2B5EF4-FFF2-40B4-BE49-F238E27FC236}">
                <a16:creationId xmlns:a16="http://schemas.microsoft.com/office/drawing/2014/main" id="{F6DAC3C6-F352-E264-FFE0-B6FDFA78937A}"/>
              </a:ext>
            </a:extLst>
          </p:cNvPr>
          <p:cNvSpPr txBox="1"/>
          <p:nvPr/>
        </p:nvSpPr>
        <p:spPr>
          <a:xfrm>
            <a:off x="8247400" y="5808426"/>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rgbClr val="FF304D"/>
                </a:solidFill>
                <a:effectLst>
                  <a:outerShdw blurRad="38100" dist="38100" dir="2700000" algn="tl">
                    <a:srgbClr val="000000">
                      <a:alpha val="43137"/>
                    </a:srgbClr>
                  </a:outerShdw>
                </a:effectLst>
              </a:rPr>
              <a:t>Finished</a:t>
            </a:r>
            <a:endParaRPr lang="fr-FR" sz="1400" b="1">
              <a:solidFill>
                <a:srgbClr val="FF304D"/>
              </a:solidFill>
              <a:effectLst>
                <a:outerShdw blurRad="38100" dist="38100" dir="2700000" algn="tl">
                  <a:srgbClr val="000000">
                    <a:alpha val="43137"/>
                  </a:srgbClr>
                </a:outerShdw>
              </a:effectLst>
            </a:endParaRPr>
          </a:p>
        </p:txBody>
      </p:sp>
      <p:pic>
        <p:nvPicPr>
          <p:cNvPr id="93" name="Graphique 92" descr="Clé avec un remplissage uni">
            <a:extLst>
              <a:ext uri="{FF2B5EF4-FFF2-40B4-BE49-F238E27FC236}">
                <a16:creationId xmlns:a16="http://schemas.microsoft.com/office/drawing/2014/main" id="{121A9184-21CC-06F1-1F7B-979C9C3A2E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43398" y="1302193"/>
            <a:ext cx="442859" cy="451122"/>
          </a:xfrm>
          <a:prstGeom prst="rect">
            <a:avLst/>
          </a:prstGeom>
        </p:spPr>
      </p:pic>
      <p:pic>
        <p:nvPicPr>
          <p:cNvPr id="94" name="Graphique 93" descr="Clé avec un remplissage uni">
            <a:extLst>
              <a:ext uri="{FF2B5EF4-FFF2-40B4-BE49-F238E27FC236}">
                <a16:creationId xmlns:a16="http://schemas.microsoft.com/office/drawing/2014/main" id="{A0B0B11C-F1F5-F3A7-9151-B01020E2E0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3397" y="1600211"/>
            <a:ext cx="442859" cy="451122"/>
          </a:xfrm>
          <a:prstGeom prst="rect">
            <a:avLst/>
          </a:prstGeom>
          <a:effectLst>
            <a:outerShdw blurRad="50800" dist="38100" dir="2700000" algn="tl" rotWithShape="0">
              <a:prstClr val="black">
                <a:alpha val="40000"/>
              </a:prstClr>
            </a:outerShdw>
          </a:effectLst>
        </p:spPr>
      </p:pic>
      <p:pic>
        <p:nvPicPr>
          <p:cNvPr id="97" name="Graphique 96" descr="Clé avec un remplissage uni">
            <a:extLst>
              <a:ext uri="{FF2B5EF4-FFF2-40B4-BE49-F238E27FC236}">
                <a16:creationId xmlns:a16="http://schemas.microsoft.com/office/drawing/2014/main" id="{2F6A14A1-196C-6E55-4061-92E80C44FC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55139" y="3910117"/>
            <a:ext cx="365310" cy="372127"/>
          </a:xfrm>
          <a:prstGeom prst="rect">
            <a:avLst/>
          </a:prstGeom>
        </p:spPr>
      </p:pic>
      <p:pic>
        <p:nvPicPr>
          <p:cNvPr id="2" name="Graphique 1" descr="Clé avec un remplissage uni">
            <a:extLst>
              <a:ext uri="{FF2B5EF4-FFF2-40B4-BE49-F238E27FC236}">
                <a16:creationId xmlns:a16="http://schemas.microsoft.com/office/drawing/2014/main" id="{6DE0C822-FE35-57E9-2C4C-9F6D445ED8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80197" y="4329856"/>
            <a:ext cx="363201" cy="36997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04945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Comment éviter le Man in the Middle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484784"/>
            <a:ext cx="2979044" cy="453650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Un attaquant peut se trouver entre Alice et Bob</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Il peut se faire passer pour Bob afin de récupérer la clé de session d’Alic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Il peut lui-même échanger avec Bob en se faisant passer pour Alic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Une fois les sessions établies, il pourra lire les données reçues d’Alice, et les envoyer à Bob : il ne se fera pas détecter</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p:txBody>
      </p:sp>
      <p:pic>
        <p:nvPicPr>
          <p:cNvPr id="5" name="Graphique 4" descr="Profil femelle avec un remplissage uni">
            <a:extLst>
              <a:ext uri="{FF2B5EF4-FFF2-40B4-BE49-F238E27FC236}">
                <a16:creationId xmlns:a16="http://schemas.microsoft.com/office/drawing/2014/main" id="{86DE189F-9985-5987-A97F-FD5776879A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9539" y="1255908"/>
            <a:ext cx="914400" cy="914400"/>
          </a:xfrm>
          <a:prstGeom prst="rect">
            <a:avLst/>
          </a:prstGeom>
          <a:effectLst>
            <a:outerShdw blurRad="50800" dist="38100" dir="2700000" algn="tl" rotWithShape="0">
              <a:prstClr val="black">
                <a:alpha val="40000"/>
              </a:prstClr>
            </a:outerShdw>
          </a:effectLst>
        </p:spPr>
      </p:pic>
      <p:pic>
        <p:nvPicPr>
          <p:cNvPr id="6" name="Graphique 5" descr="Profil mâle avec un remplissage uni">
            <a:extLst>
              <a:ext uri="{FF2B5EF4-FFF2-40B4-BE49-F238E27FC236}">
                <a16:creationId xmlns:a16="http://schemas.microsoft.com/office/drawing/2014/main" id="{CFE92497-7EB0-D9F5-7E0F-144D996048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35598" y="1340768"/>
            <a:ext cx="914400" cy="914400"/>
          </a:xfrm>
          <a:prstGeom prst="rect">
            <a:avLst/>
          </a:prstGeom>
          <a:effectLst>
            <a:outerShdw blurRad="50800" dist="38100" dir="2700000" algn="tl" rotWithShape="0">
              <a:prstClr val="black">
                <a:alpha val="40000"/>
              </a:prstClr>
            </a:outerShdw>
          </a:effectLst>
        </p:spPr>
      </p:pic>
      <p:cxnSp>
        <p:nvCxnSpPr>
          <p:cNvPr id="7" name="Connecteur droit avec flèche 6">
            <a:extLst>
              <a:ext uri="{FF2B5EF4-FFF2-40B4-BE49-F238E27FC236}">
                <a16:creationId xmlns:a16="http://schemas.microsoft.com/office/drawing/2014/main" id="{4AFA2EB3-AA0D-6A59-9785-B0B55250DFEA}"/>
              </a:ext>
            </a:extLst>
          </p:cNvPr>
          <p:cNvCxnSpPr>
            <a:cxnSpLocks/>
          </p:cNvCxnSpPr>
          <p:nvPr/>
        </p:nvCxnSpPr>
        <p:spPr>
          <a:xfrm>
            <a:off x="4126739" y="2170308"/>
            <a:ext cx="0" cy="4067004"/>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 name="Connecteur droit avec flèche 7">
            <a:extLst>
              <a:ext uri="{FF2B5EF4-FFF2-40B4-BE49-F238E27FC236}">
                <a16:creationId xmlns:a16="http://schemas.microsoft.com/office/drawing/2014/main" id="{8AE1A9B7-8F9E-F627-84AC-6561DD650321}"/>
              </a:ext>
            </a:extLst>
          </p:cNvPr>
          <p:cNvCxnSpPr>
            <a:cxnSpLocks/>
            <a:stCxn id="6" idx="2"/>
          </p:cNvCxnSpPr>
          <p:nvPr/>
        </p:nvCxnSpPr>
        <p:spPr>
          <a:xfrm>
            <a:off x="10592798" y="2255168"/>
            <a:ext cx="0"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 name="Graphique 8" descr="Monstre avec un remplissage uni">
            <a:extLst>
              <a:ext uri="{FF2B5EF4-FFF2-40B4-BE49-F238E27FC236}">
                <a16:creationId xmlns:a16="http://schemas.microsoft.com/office/drawing/2014/main" id="{8CEB61B9-DE58-C2D7-5C42-C45C7CC80B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02568" y="1340768"/>
            <a:ext cx="914400" cy="914400"/>
          </a:xfrm>
          <a:prstGeom prst="rect">
            <a:avLst/>
          </a:prstGeom>
          <a:effectLst>
            <a:outerShdw blurRad="50800" dist="38100" dir="2700000" algn="tl" rotWithShape="0">
              <a:prstClr val="black">
                <a:alpha val="40000"/>
              </a:prstClr>
            </a:outerShdw>
          </a:effectLst>
        </p:spPr>
      </p:pic>
      <p:cxnSp>
        <p:nvCxnSpPr>
          <p:cNvPr id="10" name="Connecteur droit avec flèche 9">
            <a:extLst>
              <a:ext uri="{FF2B5EF4-FFF2-40B4-BE49-F238E27FC236}">
                <a16:creationId xmlns:a16="http://schemas.microsoft.com/office/drawing/2014/main" id="{F840259E-04C9-EF2F-487E-70DE37BBD5C3}"/>
              </a:ext>
            </a:extLst>
          </p:cNvPr>
          <p:cNvCxnSpPr>
            <a:cxnSpLocks/>
            <a:stCxn id="9" idx="2"/>
          </p:cNvCxnSpPr>
          <p:nvPr/>
        </p:nvCxnSpPr>
        <p:spPr>
          <a:xfrm>
            <a:off x="7359768" y="2255168"/>
            <a:ext cx="32376"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Connecteur droit avec flèche 10">
            <a:extLst>
              <a:ext uri="{FF2B5EF4-FFF2-40B4-BE49-F238E27FC236}">
                <a16:creationId xmlns:a16="http://schemas.microsoft.com/office/drawing/2014/main" id="{A4D8338E-5415-732A-9E1E-8DA217C89676}"/>
              </a:ext>
            </a:extLst>
          </p:cNvPr>
          <p:cNvCxnSpPr>
            <a:cxnSpLocks/>
          </p:cNvCxnSpPr>
          <p:nvPr/>
        </p:nvCxnSpPr>
        <p:spPr>
          <a:xfrm>
            <a:off x="4223900" y="2298619"/>
            <a:ext cx="3066744" cy="237412"/>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4CEA7716-9EE6-E9D1-3A2E-5D7ECFC5F24D}"/>
              </a:ext>
            </a:extLst>
          </p:cNvPr>
          <p:cNvSpPr txBox="1"/>
          <p:nvPr/>
        </p:nvSpPr>
        <p:spPr>
          <a:xfrm>
            <a:off x="10187844" y="1113781"/>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3" name="ZoneTexte 12">
            <a:extLst>
              <a:ext uri="{FF2B5EF4-FFF2-40B4-BE49-F238E27FC236}">
                <a16:creationId xmlns:a16="http://schemas.microsoft.com/office/drawing/2014/main" id="{6F9AC82D-14B8-B6DA-CE43-EA9F4CE1CC5B}"/>
              </a:ext>
            </a:extLst>
          </p:cNvPr>
          <p:cNvSpPr txBox="1"/>
          <p:nvPr/>
        </p:nvSpPr>
        <p:spPr>
          <a:xfrm>
            <a:off x="3625669" y="999232"/>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14" name="ZoneTexte 13">
            <a:extLst>
              <a:ext uri="{FF2B5EF4-FFF2-40B4-BE49-F238E27FC236}">
                <a16:creationId xmlns:a16="http://schemas.microsoft.com/office/drawing/2014/main" id="{2C7DAEC1-2258-C5F9-AB03-0F1A0BD88D18}"/>
              </a:ext>
            </a:extLst>
          </p:cNvPr>
          <p:cNvSpPr txBox="1"/>
          <p:nvPr/>
        </p:nvSpPr>
        <p:spPr>
          <a:xfrm>
            <a:off x="6734244" y="851080"/>
            <a:ext cx="1251048" cy="525401"/>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4">
                    <a:lumMod val="50000"/>
                    <a:lumOff val="50000"/>
                  </a:schemeClr>
                </a:solidFill>
                <a:effectLst>
                  <a:outerShdw blurRad="38100" dist="38100" dir="2700000" algn="tl">
                    <a:srgbClr val="000000">
                      <a:alpha val="43137"/>
                    </a:srgbClr>
                  </a:outerShdw>
                </a:effectLst>
              </a:rPr>
              <a:t>Man in the Middle</a:t>
            </a:r>
          </a:p>
        </p:txBody>
      </p:sp>
      <p:cxnSp>
        <p:nvCxnSpPr>
          <p:cNvPr id="20" name="Connecteur droit avec flèche 19">
            <a:extLst>
              <a:ext uri="{FF2B5EF4-FFF2-40B4-BE49-F238E27FC236}">
                <a16:creationId xmlns:a16="http://schemas.microsoft.com/office/drawing/2014/main" id="{2F270B01-456C-6178-57A9-A2CC5D57DB8A}"/>
              </a:ext>
            </a:extLst>
          </p:cNvPr>
          <p:cNvCxnSpPr>
            <a:cxnSpLocks/>
          </p:cNvCxnSpPr>
          <p:nvPr/>
        </p:nvCxnSpPr>
        <p:spPr>
          <a:xfrm flipH="1">
            <a:off x="4214807" y="2852955"/>
            <a:ext cx="3066744" cy="65017"/>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DD0C9368-D7E2-FAEB-5A92-30731685EADF}"/>
              </a:ext>
            </a:extLst>
          </p:cNvPr>
          <p:cNvCxnSpPr>
            <a:cxnSpLocks/>
          </p:cNvCxnSpPr>
          <p:nvPr/>
        </p:nvCxnSpPr>
        <p:spPr>
          <a:xfrm>
            <a:off x="4214807" y="3313697"/>
            <a:ext cx="3066744" cy="154552"/>
          </a:xfrm>
          <a:prstGeom prst="straightConnector1">
            <a:avLst/>
          </a:prstGeom>
          <a:ln w="28575">
            <a:solidFill>
              <a:srgbClr val="92D05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C3A48F51-C7C5-27FC-516C-56CF68B4DDE7}"/>
              </a:ext>
            </a:extLst>
          </p:cNvPr>
          <p:cNvCxnSpPr>
            <a:cxnSpLocks/>
          </p:cNvCxnSpPr>
          <p:nvPr/>
        </p:nvCxnSpPr>
        <p:spPr>
          <a:xfrm>
            <a:off x="4223937" y="3695125"/>
            <a:ext cx="3066744" cy="144016"/>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325A6BF8-FAB3-6DFC-026F-F2D4056E4FAC}"/>
              </a:ext>
            </a:extLst>
          </p:cNvPr>
          <p:cNvCxnSpPr>
            <a:cxnSpLocks/>
          </p:cNvCxnSpPr>
          <p:nvPr/>
        </p:nvCxnSpPr>
        <p:spPr>
          <a:xfrm>
            <a:off x="4223937" y="4055165"/>
            <a:ext cx="3066744" cy="144016"/>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ECA983A2-9181-5145-128B-29A68EF3AFBD}"/>
              </a:ext>
            </a:extLst>
          </p:cNvPr>
          <p:cNvCxnSpPr>
            <a:cxnSpLocks/>
          </p:cNvCxnSpPr>
          <p:nvPr/>
        </p:nvCxnSpPr>
        <p:spPr>
          <a:xfrm flipH="1">
            <a:off x="4251557" y="4947519"/>
            <a:ext cx="3066744" cy="86943"/>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Connecteur droit avec flèche 28">
            <a:extLst>
              <a:ext uri="{FF2B5EF4-FFF2-40B4-BE49-F238E27FC236}">
                <a16:creationId xmlns:a16="http://schemas.microsoft.com/office/drawing/2014/main" id="{63F0C8FB-9F9E-61D0-46B5-8D09E309FD54}"/>
              </a:ext>
            </a:extLst>
          </p:cNvPr>
          <p:cNvCxnSpPr>
            <a:cxnSpLocks/>
          </p:cNvCxnSpPr>
          <p:nvPr/>
        </p:nvCxnSpPr>
        <p:spPr>
          <a:xfrm flipH="1">
            <a:off x="4228616" y="5301208"/>
            <a:ext cx="3089685" cy="86943"/>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6" name="Graphique 95" descr="Clé avec un remplissage uni">
            <a:extLst>
              <a:ext uri="{FF2B5EF4-FFF2-40B4-BE49-F238E27FC236}">
                <a16:creationId xmlns:a16="http://schemas.microsoft.com/office/drawing/2014/main" id="{08DC9E14-5FE4-4E3A-66E0-21CE9B5DC5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3398" y="1302193"/>
            <a:ext cx="442859" cy="451122"/>
          </a:xfrm>
          <a:prstGeom prst="rect">
            <a:avLst/>
          </a:prstGeom>
        </p:spPr>
      </p:pic>
      <p:pic>
        <p:nvPicPr>
          <p:cNvPr id="97" name="Graphique 96" descr="Clé avec un remplissage uni">
            <a:extLst>
              <a:ext uri="{FF2B5EF4-FFF2-40B4-BE49-F238E27FC236}">
                <a16:creationId xmlns:a16="http://schemas.microsoft.com/office/drawing/2014/main" id="{92458840-6030-05EA-84D6-A87B106738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43397" y="1600211"/>
            <a:ext cx="442859" cy="451122"/>
          </a:xfrm>
          <a:prstGeom prst="rect">
            <a:avLst/>
          </a:prstGeom>
          <a:effectLst>
            <a:outerShdw blurRad="50800" dist="38100" dir="2700000" algn="tl" rotWithShape="0">
              <a:prstClr val="black">
                <a:alpha val="40000"/>
              </a:prstClr>
            </a:outerShdw>
          </a:effectLst>
        </p:spPr>
      </p:pic>
      <p:cxnSp>
        <p:nvCxnSpPr>
          <p:cNvPr id="150" name="Connecteur droit avec flèche 149">
            <a:extLst>
              <a:ext uri="{FF2B5EF4-FFF2-40B4-BE49-F238E27FC236}">
                <a16:creationId xmlns:a16="http://schemas.microsoft.com/office/drawing/2014/main" id="{16DA1FBD-4C67-24A2-2066-16287F80BAB6}"/>
              </a:ext>
            </a:extLst>
          </p:cNvPr>
          <p:cNvCxnSpPr>
            <a:cxnSpLocks/>
          </p:cNvCxnSpPr>
          <p:nvPr/>
        </p:nvCxnSpPr>
        <p:spPr>
          <a:xfrm>
            <a:off x="7440724" y="2852955"/>
            <a:ext cx="3066744" cy="23741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1" name="Connecteur droit avec flèche 150">
            <a:extLst>
              <a:ext uri="{FF2B5EF4-FFF2-40B4-BE49-F238E27FC236}">
                <a16:creationId xmlns:a16="http://schemas.microsoft.com/office/drawing/2014/main" id="{AEB6A4C6-BA77-D54F-57A9-FDD12C384983}"/>
              </a:ext>
            </a:extLst>
          </p:cNvPr>
          <p:cNvCxnSpPr>
            <a:cxnSpLocks/>
          </p:cNvCxnSpPr>
          <p:nvPr/>
        </p:nvCxnSpPr>
        <p:spPr>
          <a:xfrm flipH="1">
            <a:off x="7431631" y="3407291"/>
            <a:ext cx="3066744" cy="65017"/>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2" name="Connecteur droit avec flèche 151">
            <a:extLst>
              <a:ext uri="{FF2B5EF4-FFF2-40B4-BE49-F238E27FC236}">
                <a16:creationId xmlns:a16="http://schemas.microsoft.com/office/drawing/2014/main" id="{77EC5CEA-27FD-6F90-DD8B-2C91797E5DA3}"/>
              </a:ext>
            </a:extLst>
          </p:cNvPr>
          <p:cNvCxnSpPr>
            <a:cxnSpLocks/>
          </p:cNvCxnSpPr>
          <p:nvPr/>
        </p:nvCxnSpPr>
        <p:spPr>
          <a:xfrm>
            <a:off x="7431631" y="3868033"/>
            <a:ext cx="3066744" cy="154552"/>
          </a:xfrm>
          <a:prstGeom prst="straightConnector1">
            <a:avLst/>
          </a:prstGeom>
          <a:ln w="28575">
            <a:solidFill>
              <a:srgbClr val="92D05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3" name="Connecteur droit avec flèche 152">
            <a:extLst>
              <a:ext uri="{FF2B5EF4-FFF2-40B4-BE49-F238E27FC236}">
                <a16:creationId xmlns:a16="http://schemas.microsoft.com/office/drawing/2014/main" id="{9B93F470-BBB3-7BEB-1869-EB12FD83C856}"/>
              </a:ext>
            </a:extLst>
          </p:cNvPr>
          <p:cNvCxnSpPr>
            <a:cxnSpLocks/>
          </p:cNvCxnSpPr>
          <p:nvPr/>
        </p:nvCxnSpPr>
        <p:spPr>
          <a:xfrm>
            <a:off x="7440761" y="4249461"/>
            <a:ext cx="3066744" cy="14401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4" name="Connecteur droit avec flèche 153">
            <a:extLst>
              <a:ext uri="{FF2B5EF4-FFF2-40B4-BE49-F238E27FC236}">
                <a16:creationId xmlns:a16="http://schemas.microsoft.com/office/drawing/2014/main" id="{895CBEBE-9297-1133-5797-E438DC74275A}"/>
              </a:ext>
            </a:extLst>
          </p:cNvPr>
          <p:cNvCxnSpPr>
            <a:cxnSpLocks/>
          </p:cNvCxnSpPr>
          <p:nvPr/>
        </p:nvCxnSpPr>
        <p:spPr>
          <a:xfrm>
            <a:off x="7440761" y="4609501"/>
            <a:ext cx="3066744" cy="14401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5" name="Connecteur droit avec flèche 154">
            <a:extLst>
              <a:ext uri="{FF2B5EF4-FFF2-40B4-BE49-F238E27FC236}">
                <a16:creationId xmlns:a16="http://schemas.microsoft.com/office/drawing/2014/main" id="{AD6D3ED6-4063-079F-F15A-A7EABF699424}"/>
              </a:ext>
            </a:extLst>
          </p:cNvPr>
          <p:cNvCxnSpPr>
            <a:cxnSpLocks/>
          </p:cNvCxnSpPr>
          <p:nvPr/>
        </p:nvCxnSpPr>
        <p:spPr>
          <a:xfrm flipH="1">
            <a:off x="7468381" y="5501855"/>
            <a:ext cx="3066744"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6" name="Connecteur droit avec flèche 155">
            <a:extLst>
              <a:ext uri="{FF2B5EF4-FFF2-40B4-BE49-F238E27FC236}">
                <a16:creationId xmlns:a16="http://schemas.microsoft.com/office/drawing/2014/main" id="{771A74D1-27AC-37A3-3025-C7D6B4432FEB}"/>
              </a:ext>
            </a:extLst>
          </p:cNvPr>
          <p:cNvCxnSpPr>
            <a:cxnSpLocks/>
          </p:cNvCxnSpPr>
          <p:nvPr/>
        </p:nvCxnSpPr>
        <p:spPr>
          <a:xfrm flipH="1">
            <a:off x="7445440" y="5855544"/>
            <a:ext cx="3089685"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58" name="Graphique 157" descr="Clé avec un remplissage uni">
            <a:extLst>
              <a:ext uri="{FF2B5EF4-FFF2-40B4-BE49-F238E27FC236}">
                <a16:creationId xmlns:a16="http://schemas.microsoft.com/office/drawing/2014/main" id="{36B0A5DB-9031-7BBF-9C22-E2FA322E64C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35368" y="3519847"/>
            <a:ext cx="365310" cy="372127"/>
          </a:xfrm>
          <a:prstGeom prst="rect">
            <a:avLst/>
          </a:prstGeom>
        </p:spPr>
      </p:pic>
      <p:pic>
        <p:nvPicPr>
          <p:cNvPr id="159" name="Graphique 158" descr="Clé avec un remplissage uni">
            <a:extLst>
              <a:ext uri="{FF2B5EF4-FFF2-40B4-BE49-F238E27FC236}">
                <a16:creationId xmlns:a16="http://schemas.microsoft.com/office/drawing/2014/main" id="{8FA0C1F6-3186-3E55-1591-3EB2326E49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57537" y="3676174"/>
            <a:ext cx="363201" cy="369978"/>
          </a:xfrm>
          <a:prstGeom prst="rect">
            <a:avLst/>
          </a:prstGeom>
          <a:effectLst>
            <a:outerShdw blurRad="50800" dist="38100" dir="2700000" algn="tl" rotWithShape="0">
              <a:prstClr val="black">
                <a:alpha val="40000"/>
              </a:prstClr>
            </a:outerShdw>
          </a:effectLst>
        </p:spPr>
      </p:pic>
      <p:pic>
        <p:nvPicPr>
          <p:cNvPr id="160" name="Graphique 159" descr="Clé avec un remplissage uni">
            <a:extLst>
              <a:ext uri="{FF2B5EF4-FFF2-40B4-BE49-F238E27FC236}">
                <a16:creationId xmlns:a16="http://schemas.microsoft.com/office/drawing/2014/main" id="{62F80FB6-D7FC-7C9C-A0E0-3CF152D7E87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29822" y="3120485"/>
            <a:ext cx="365310" cy="372127"/>
          </a:xfrm>
          <a:prstGeom prst="rect">
            <a:avLst/>
          </a:prstGeom>
          <a:effectLst>
            <a:outerShdw blurRad="50800" dist="38100" dir="2700000" algn="tl" rotWithShape="0">
              <a:prstClr val="black">
                <a:alpha val="40000"/>
              </a:prstClr>
            </a:outerShdw>
          </a:effectLst>
        </p:spPr>
      </p:pic>
      <p:pic>
        <p:nvPicPr>
          <p:cNvPr id="161" name="Graphique 160" descr="Clé avec un remplissage uni">
            <a:extLst>
              <a:ext uri="{FF2B5EF4-FFF2-40B4-BE49-F238E27FC236}">
                <a16:creationId xmlns:a16="http://schemas.microsoft.com/office/drawing/2014/main" id="{09EF18A5-6DAA-0DCE-D8DE-2962D8197DB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24191" y="2970564"/>
            <a:ext cx="365310" cy="37212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5666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A9ACB6C4-D529-CFD9-2B4E-2279BE7A6F2D}"/>
              </a:ext>
            </a:extLst>
          </p:cNvPr>
          <p:cNvSpPr>
            <a:spLocks noGrp="1"/>
          </p:cNvSpPr>
          <p:nvPr>
            <p:ph type="body" sz="quarter" idx="24"/>
          </p:nvPr>
        </p:nvSpPr>
        <p:spPr>
          <a:xfrm>
            <a:off x="1794570" y="1489075"/>
            <a:ext cx="5813598" cy="369332"/>
          </a:xfrm>
        </p:spPr>
        <p:txBody>
          <a:bodyPr/>
          <a:lstStyle/>
          <a:p>
            <a:r>
              <a:rPr lang="fr-FR"/>
              <a:t>Introduction à la cryptographie</a:t>
            </a:r>
          </a:p>
        </p:txBody>
      </p:sp>
      <p:sp>
        <p:nvSpPr>
          <p:cNvPr id="8" name="Espace réservé du texte 7">
            <a:extLst>
              <a:ext uri="{FF2B5EF4-FFF2-40B4-BE49-F238E27FC236}">
                <a16:creationId xmlns:a16="http://schemas.microsoft.com/office/drawing/2014/main" id="{63CEE730-E95C-4C74-9C56-C8E08E796A26}"/>
              </a:ext>
            </a:extLst>
          </p:cNvPr>
          <p:cNvSpPr>
            <a:spLocks noGrp="1"/>
          </p:cNvSpPr>
          <p:nvPr>
            <p:ph type="body" sz="quarter" idx="25"/>
          </p:nvPr>
        </p:nvSpPr>
        <p:spPr>
          <a:xfrm>
            <a:off x="1794570" y="2081688"/>
            <a:ext cx="5813598" cy="369332"/>
          </a:xfrm>
        </p:spPr>
        <p:txBody>
          <a:bodyPr>
            <a:normAutofit/>
          </a:bodyPr>
          <a:lstStyle/>
          <a:p>
            <a:r>
              <a:rPr lang="fr-FR"/>
              <a:t>Cryptographie (a)symétrique</a:t>
            </a:r>
          </a:p>
          <a:p>
            <a:endParaRPr lang="fr-FR"/>
          </a:p>
        </p:txBody>
      </p:sp>
      <p:sp>
        <p:nvSpPr>
          <p:cNvPr id="9" name="Espace réservé du texte 8">
            <a:extLst>
              <a:ext uri="{FF2B5EF4-FFF2-40B4-BE49-F238E27FC236}">
                <a16:creationId xmlns:a16="http://schemas.microsoft.com/office/drawing/2014/main" id="{79267479-9272-48BE-3B29-7FCE03D349C8}"/>
              </a:ext>
            </a:extLst>
          </p:cNvPr>
          <p:cNvSpPr>
            <a:spLocks noGrp="1"/>
          </p:cNvSpPr>
          <p:nvPr>
            <p:ph type="body" sz="quarter" idx="26"/>
          </p:nvPr>
        </p:nvSpPr>
        <p:spPr>
          <a:xfrm>
            <a:off x="1794570" y="2674301"/>
            <a:ext cx="5813598" cy="369332"/>
          </a:xfrm>
        </p:spPr>
        <p:txBody>
          <a:bodyPr/>
          <a:lstStyle/>
          <a:p>
            <a:r>
              <a:rPr lang="fr-FR"/>
              <a:t>TLS et les tunnels sécurisés</a:t>
            </a:r>
          </a:p>
        </p:txBody>
      </p:sp>
      <p:sp>
        <p:nvSpPr>
          <p:cNvPr id="10" name="Espace réservé du texte 9">
            <a:extLst>
              <a:ext uri="{FF2B5EF4-FFF2-40B4-BE49-F238E27FC236}">
                <a16:creationId xmlns:a16="http://schemas.microsoft.com/office/drawing/2014/main" id="{EC3D582E-C79C-00DA-5428-930389788197}"/>
              </a:ext>
            </a:extLst>
          </p:cNvPr>
          <p:cNvSpPr>
            <a:spLocks noGrp="1"/>
          </p:cNvSpPr>
          <p:nvPr>
            <p:ph type="body" sz="quarter" idx="27"/>
          </p:nvPr>
        </p:nvSpPr>
        <p:spPr>
          <a:xfrm>
            <a:off x="1079500" y="1489075"/>
            <a:ext cx="335980" cy="369888"/>
          </a:xfrm>
        </p:spPr>
        <p:txBody>
          <a:bodyPr/>
          <a:lstStyle/>
          <a:p>
            <a:r>
              <a:rPr lang="fr-FR"/>
              <a:t>1</a:t>
            </a:r>
          </a:p>
        </p:txBody>
      </p:sp>
      <p:sp>
        <p:nvSpPr>
          <p:cNvPr id="11" name="Espace réservé du texte 10">
            <a:extLst>
              <a:ext uri="{FF2B5EF4-FFF2-40B4-BE49-F238E27FC236}">
                <a16:creationId xmlns:a16="http://schemas.microsoft.com/office/drawing/2014/main" id="{A7BAFDC0-576C-9EE6-360C-4FC83B69EF96}"/>
              </a:ext>
            </a:extLst>
          </p:cNvPr>
          <p:cNvSpPr>
            <a:spLocks noGrp="1"/>
          </p:cNvSpPr>
          <p:nvPr>
            <p:ph type="body" sz="quarter" idx="28"/>
          </p:nvPr>
        </p:nvSpPr>
        <p:spPr>
          <a:xfrm>
            <a:off x="1079500" y="2081450"/>
            <a:ext cx="335980" cy="369888"/>
          </a:xfrm>
        </p:spPr>
        <p:txBody>
          <a:bodyPr/>
          <a:lstStyle/>
          <a:p>
            <a:r>
              <a:rPr lang="fr-FR"/>
              <a:t>2</a:t>
            </a:r>
          </a:p>
        </p:txBody>
      </p:sp>
      <p:sp>
        <p:nvSpPr>
          <p:cNvPr id="12" name="Espace réservé du texte 11">
            <a:extLst>
              <a:ext uri="{FF2B5EF4-FFF2-40B4-BE49-F238E27FC236}">
                <a16:creationId xmlns:a16="http://schemas.microsoft.com/office/drawing/2014/main" id="{F0FF664F-A6AA-B05B-F3BD-52042902CBBF}"/>
              </a:ext>
            </a:extLst>
          </p:cNvPr>
          <p:cNvSpPr>
            <a:spLocks noGrp="1"/>
          </p:cNvSpPr>
          <p:nvPr>
            <p:ph type="body" sz="quarter" idx="29"/>
          </p:nvPr>
        </p:nvSpPr>
        <p:spPr>
          <a:xfrm>
            <a:off x="1079500" y="2673825"/>
            <a:ext cx="335980" cy="369888"/>
          </a:xfrm>
        </p:spPr>
        <p:txBody>
          <a:bodyPr/>
          <a:lstStyle/>
          <a:p>
            <a:r>
              <a:rPr lang="fr-FR"/>
              <a:t>3</a:t>
            </a:r>
          </a:p>
        </p:txBody>
      </p:sp>
      <p:sp>
        <p:nvSpPr>
          <p:cNvPr id="13" name="Espace réservé du texte 12">
            <a:extLst>
              <a:ext uri="{FF2B5EF4-FFF2-40B4-BE49-F238E27FC236}">
                <a16:creationId xmlns:a16="http://schemas.microsoft.com/office/drawing/2014/main" id="{A98EB30F-A963-E899-80F3-305EB1B4946A}"/>
              </a:ext>
            </a:extLst>
          </p:cNvPr>
          <p:cNvSpPr>
            <a:spLocks noGrp="1"/>
          </p:cNvSpPr>
          <p:nvPr>
            <p:ph type="body" sz="quarter" idx="30"/>
          </p:nvPr>
        </p:nvSpPr>
        <p:spPr>
          <a:xfrm>
            <a:off x="1794570" y="3266914"/>
            <a:ext cx="5813598" cy="369332"/>
          </a:xfrm>
        </p:spPr>
        <p:txBody>
          <a:bodyPr/>
          <a:lstStyle/>
          <a:p>
            <a:r>
              <a:rPr lang="fr-FR"/>
              <a:t>Les certificats : la base</a:t>
            </a:r>
          </a:p>
        </p:txBody>
      </p:sp>
      <p:sp>
        <p:nvSpPr>
          <p:cNvPr id="14" name="Espace réservé du texte 13">
            <a:extLst>
              <a:ext uri="{FF2B5EF4-FFF2-40B4-BE49-F238E27FC236}">
                <a16:creationId xmlns:a16="http://schemas.microsoft.com/office/drawing/2014/main" id="{2D320CD5-465D-25B7-92EF-9DFEA369A049}"/>
              </a:ext>
            </a:extLst>
          </p:cNvPr>
          <p:cNvSpPr>
            <a:spLocks noGrp="1"/>
          </p:cNvSpPr>
          <p:nvPr>
            <p:ph type="body" sz="quarter" idx="31"/>
          </p:nvPr>
        </p:nvSpPr>
        <p:spPr>
          <a:xfrm>
            <a:off x="1794570" y="3859527"/>
            <a:ext cx="5813598" cy="369332"/>
          </a:xfrm>
        </p:spPr>
        <p:txBody>
          <a:bodyPr/>
          <a:lstStyle/>
          <a:p>
            <a:r>
              <a:rPr lang="fr-FR"/>
              <a:t>La génération de certificats</a:t>
            </a:r>
          </a:p>
        </p:txBody>
      </p:sp>
      <p:sp>
        <p:nvSpPr>
          <p:cNvPr id="15" name="Espace réservé du texte 14">
            <a:extLst>
              <a:ext uri="{FF2B5EF4-FFF2-40B4-BE49-F238E27FC236}">
                <a16:creationId xmlns:a16="http://schemas.microsoft.com/office/drawing/2014/main" id="{16B6FFC7-95F8-7381-244F-F261603F3946}"/>
              </a:ext>
            </a:extLst>
          </p:cNvPr>
          <p:cNvSpPr>
            <a:spLocks noGrp="1"/>
          </p:cNvSpPr>
          <p:nvPr>
            <p:ph type="body" sz="quarter" idx="32"/>
          </p:nvPr>
        </p:nvSpPr>
        <p:spPr>
          <a:xfrm>
            <a:off x="1794570" y="4452141"/>
            <a:ext cx="5813598" cy="369332"/>
          </a:xfrm>
        </p:spPr>
        <p:txBody>
          <a:bodyPr/>
          <a:lstStyle/>
          <a:p>
            <a:r>
              <a:rPr lang="fr-FR"/>
              <a:t>Le </a:t>
            </a:r>
            <a:r>
              <a:rPr lang="fr-FR" err="1"/>
              <a:t>mutual</a:t>
            </a:r>
            <a:r>
              <a:rPr lang="fr-FR"/>
              <a:t> TLS (mTLS)</a:t>
            </a:r>
          </a:p>
        </p:txBody>
      </p:sp>
      <p:sp>
        <p:nvSpPr>
          <p:cNvPr id="16" name="Espace réservé du texte 15">
            <a:extLst>
              <a:ext uri="{FF2B5EF4-FFF2-40B4-BE49-F238E27FC236}">
                <a16:creationId xmlns:a16="http://schemas.microsoft.com/office/drawing/2014/main" id="{B1F993C6-02C6-8EFD-5E06-4EE160FE2742}"/>
              </a:ext>
            </a:extLst>
          </p:cNvPr>
          <p:cNvSpPr>
            <a:spLocks noGrp="1"/>
          </p:cNvSpPr>
          <p:nvPr>
            <p:ph type="body" sz="quarter" idx="33"/>
          </p:nvPr>
        </p:nvSpPr>
        <p:spPr>
          <a:xfrm>
            <a:off x="1079500" y="3266200"/>
            <a:ext cx="335980" cy="369888"/>
          </a:xfrm>
        </p:spPr>
        <p:txBody>
          <a:bodyPr/>
          <a:lstStyle/>
          <a:p>
            <a:r>
              <a:rPr lang="fr-FR"/>
              <a:t>4</a:t>
            </a:r>
          </a:p>
        </p:txBody>
      </p:sp>
      <p:sp>
        <p:nvSpPr>
          <p:cNvPr id="17" name="Espace réservé du texte 16">
            <a:extLst>
              <a:ext uri="{FF2B5EF4-FFF2-40B4-BE49-F238E27FC236}">
                <a16:creationId xmlns:a16="http://schemas.microsoft.com/office/drawing/2014/main" id="{CC7B2E1A-4804-D5F8-C7BA-282DA04456AA}"/>
              </a:ext>
            </a:extLst>
          </p:cNvPr>
          <p:cNvSpPr>
            <a:spLocks noGrp="1"/>
          </p:cNvSpPr>
          <p:nvPr>
            <p:ph type="body" sz="quarter" idx="34"/>
          </p:nvPr>
        </p:nvSpPr>
        <p:spPr>
          <a:xfrm>
            <a:off x="1079500" y="3858575"/>
            <a:ext cx="335980" cy="369888"/>
          </a:xfrm>
        </p:spPr>
        <p:txBody>
          <a:bodyPr/>
          <a:lstStyle/>
          <a:p>
            <a:r>
              <a:rPr lang="fr-FR"/>
              <a:t>5</a:t>
            </a:r>
          </a:p>
        </p:txBody>
      </p:sp>
      <p:sp>
        <p:nvSpPr>
          <p:cNvPr id="18" name="Espace réservé du texte 17">
            <a:extLst>
              <a:ext uri="{FF2B5EF4-FFF2-40B4-BE49-F238E27FC236}">
                <a16:creationId xmlns:a16="http://schemas.microsoft.com/office/drawing/2014/main" id="{906B1491-E78F-1308-BCBD-E3B7F79E7CE3}"/>
              </a:ext>
            </a:extLst>
          </p:cNvPr>
          <p:cNvSpPr>
            <a:spLocks noGrp="1"/>
          </p:cNvSpPr>
          <p:nvPr>
            <p:ph type="body" sz="quarter" idx="35"/>
          </p:nvPr>
        </p:nvSpPr>
        <p:spPr>
          <a:xfrm>
            <a:off x="1079500" y="4450950"/>
            <a:ext cx="335980" cy="369888"/>
          </a:xfrm>
        </p:spPr>
        <p:txBody>
          <a:bodyPr/>
          <a:lstStyle/>
          <a:p>
            <a:r>
              <a:rPr lang="fr-FR"/>
              <a:t>6</a:t>
            </a:r>
          </a:p>
        </p:txBody>
      </p:sp>
      <p:sp>
        <p:nvSpPr>
          <p:cNvPr id="6" name="Titre 5">
            <a:extLst>
              <a:ext uri="{FF2B5EF4-FFF2-40B4-BE49-F238E27FC236}">
                <a16:creationId xmlns:a16="http://schemas.microsoft.com/office/drawing/2014/main" id="{580D012E-7808-0ABA-9CE4-22FD0DFE17D2}"/>
              </a:ext>
            </a:extLst>
          </p:cNvPr>
          <p:cNvSpPr>
            <a:spLocks noGrp="1"/>
          </p:cNvSpPr>
          <p:nvPr>
            <p:ph type="title"/>
          </p:nvPr>
        </p:nvSpPr>
        <p:spPr/>
        <p:txBody>
          <a:bodyPr/>
          <a:lstStyle/>
          <a:p>
            <a:r>
              <a:rPr lang="fr-FR"/>
              <a:t>Programme du jour</a:t>
            </a:r>
          </a:p>
        </p:txBody>
      </p:sp>
      <p:sp>
        <p:nvSpPr>
          <p:cNvPr id="2" name="Espace réservé du texte 14">
            <a:extLst>
              <a:ext uri="{FF2B5EF4-FFF2-40B4-BE49-F238E27FC236}">
                <a16:creationId xmlns:a16="http://schemas.microsoft.com/office/drawing/2014/main" id="{4B1C660C-046D-A32B-FDA5-10D133D35551}"/>
              </a:ext>
            </a:extLst>
          </p:cNvPr>
          <p:cNvSpPr txBox="1">
            <a:spLocks/>
          </p:cNvSpPr>
          <p:nvPr/>
        </p:nvSpPr>
        <p:spPr>
          <a:xfrm>
            <a:off x="1794570" y="5044199"/>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Les normes cryptographiques</a:t>
            </a:r>
          </a:p>
        </p:txBody>
      </p:sp>
      <p:sp>
        <p:nvSpPr>
          <p:cNvPr id="3" name="Espace réservé du texte 17">
            <a:extLst>
              <a:ext uri="{FF2B5EF4-FFF2-40B4-BE49-F238E27FC236}">
                <a16:creationId xmlns:a16="http://schemas.microsoft.com/office/drawing/2014/main" id="{625239CC-6212-0598-F30D-54AEC962225A}"/>
              </a:ext>
            </a:extLst>
          </p:cNvPr>
          <p:cNvSpPr txBox="1">
            <a:spLocks/>
          </p:cNvSpPr>
          <p:nvPr/>
        </p:nvSpPr>
        <p:spPr>
          <a:xfrm>
            <a:off x="1079500" y="5043325"/>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7</a:t>
            </a:r>
          </a:p>
        </p:txBody>
      </p:sp>
      <p:sp>
        <p:nvSpPr>
          <p:cNvPr id="4" name="Espace réservé du texte 14">
            <a:extLst>
              <a:ext uri="{FF2B5EF4-FFF2-40B4-BE49-F238E27FC236}">
                <a16:creationId xmlns:a16="http://schemas.microsoft.com/office/drawing/2014/main" id="{2F715D4B-BC4F-B5BC-9EA4-917CE7DC0971}"/>
              </a:ext>
            </a:extLst>
          </p:cNvPr>
          <p:cNvSpPr txBox="1">
            <a:spLocks/>
          </p:cNvSpPr>
          <p:nvPr/>
        </p:nvSpPr>
        <p:spPr>
          <a:xfrm>
            <a:off x="1794570" y="5635701"/>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Travaux Pratiques</a:t>
            </a:r>
          </a:p>
        </p:txBody>
      </p:sp>
      <p:sp>
        <p:nvSpPr>
          <p:cNvPr id="5" name="Espace réservé du texte 17">
            <a:extLst>
              <a:ext uri="{FF2B5EF4-FFF2-40B4-BE49-F238E27FC236}">
                <a16:creationId xmlns:a16="http://schemas.microsoft.com/office/drawing/2014/main" id="{9581F256-1F5E-3D66-BA9C-9294E241CBC5}"/>
              </a:ext>
            </a:extLst>
          </p:cNvPr>
          <p:cNvSpPr txBox="1">
            <a:spLocks/>
          </p:cNvSpPr>
          <p:nvPr/>
        </p:nvSpPr>
        <p:spPr>
          <a:xfrm>
            <a:off x="1079500" y="5635701"/>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8</a:t>
            </a:r>
          </a:p>
        </p:txBody>
      </p:sp>
    </p:spTree>
    <p:extLst>
      <p:ext uri="{BB962C8B-B14F-4D97-AF65-F5344CB8AC3E}">
        <p14:creationId xmlns:p14="http://schemas.microsoft.com/office/powerpoint/2010/main" val="20185894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40181E61-0D5E-695D-655F-FFAEBD27B718}"/>
              </a:ext>
            </a:extLst>
          </p:cNvPr>
          <p:cNvSpPr>
            <a:spLocks noGrp="1"/>
          </p:cNvSpPr>
          <p:nvPr>
            <p:ph type="body" sz="quarter" idx="10"/>
          </p:nvPr>
        </p:nvSpPr>
        <p:spPr>
          <a:xfrm>
            <a:off x="417512" y="3872874"/>
            <a:ext cx="11356975" cy="1270626"/>
          </a:xfrm>
          <a:solidFill>
            <a:schemeClr val="accent4">
              <a:lumMod val="90000"/>
              <a:lumOff val="10000"/>
            </a:schemeClr>
          </a:solidFill>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a:lstStyle/>
          <a:p>
            <a:pPr algn="ctr"/>
            <a:r>
              <a:rPr lang="fr-FR" sz="2800">
                <a:solidFill>
                  <a:schemeClr val="accent2"/>
                </a:solidFill>
                <a:effectLst>
                  <a:outerShdw blurRad="38100" dist="38100" dir="2700000" algn="tl">
                    <a:srgbClr val="000000">
                      <a:alpha val="43137"/>
                    </a:srgbClr>
                  </a:outerShdw>
                </a:effectLst>
              </a:rPr>
              <a:t>Les clés de chiffrement assurent la confidentialité, mais ne sont pas suffisantes pour assurer l’identité des interlocuteurs !</a:t>
            </a:r>
          </a:p>
        </p:txBody>
      </p:sp>
      <p:grpSp>
        <p:nvGrpSpPr>
          <p:cNvPr id="2" name="Group 4912">
            <a:extLst>
              <a:ext uri="{FF2B5EF4-FFF2-40B4-BE49-F238E27FC236}">
                <a16:creationId xmlns:a16="http://schemas.microsoft.com/office/drawing/2014/main" id="{6918DBD6-47F2-5D77-A9CB-61A31F5EFB4C}"/>
              </a:ext>
              <a:ext uri="{C183D7F6-B498-43B3-948B-1728B52AA6E4}">
                <adec:decorative xmlns:adec="http://schemas.microsoft.com/office/drawing/2017/decorative" val="1"/>
              </a:ext>
            </a:extLst>
          </p:cNvPr>
          <p:cNvGrpSpPr>
            <a:grpSpLocks noChangeAspect="1"/>
          </p:cNvGrpSpPr>
          <p:nvPr/>
        </p:nvGrpSpPr>
        <p:grpSpPr>
          <a:xfrm>
            <a:off x="4591020" y="524760"/>
            <a:ext cx="3009960" cy="2478790"/>
            <a:chOff x="4539688" y="3523121"/>
            <a:chExt cx="152246" cy="125379"/>
          </a:xfrm>
          <a:effectLst>
            <a:outerShdw blurRad="50800" dist="38100" dir="2700000" algn="tl" rotWithShape="0">
              <a:prstClr val="black">
                <a:alpha val="40000"/>
              </a:prstClr>
            </a:outerShdw>
          </a:effectLst>
        </p:grpSpPr>
        <p:sp>
          <p:nvSpPr>
            <p:cNvPr id="3" name="Freeform: Shape 4913">
              <a:extLst>
                <a:ext uri="{FF2B5EF4-FFF2-40B4-BE49-F238E27FC236}">
                  <a16:creationId xmlns:a16="http://schemas.microsoft.com/office/drawing/2014/main" id="{A48A1871-E483-300E-9866-A955D49114F5}"/>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sp>
          <p:nvSpPr>
            <p:cNvPr id="4" name="Freeform: Shape 4914">
              <a:extLst>
                <a:ext uri="{FF2B5EF4-FFF2-40B4-BE49-F238E27FC236}">
                  <a16:creationId xmlns:a16="http://schemas.microsoft.com/office/drawing/2014/main" id="{8F88236B-0984-5248-AC0F-6B409F1A3F6E}"/>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sp>
          <p:nvSpPr>
            <p:cNvPr id="6" name="Freeform: Shape 4915">
              <a:extLst>
                <a:ext uri="{FF2B5EF4-FFF2-40B4-BE49-F238E27FC236}">
                  <a16:creationId xmlns:a16="http://schemas.microsoft.com/office/drawing/2014/main" id="{EF780A67-7E73-9F6E-9171-2C6F36699A29}"/>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grpSp>
    </p:spTree>
    <p:extLst>
      <p:ext uri="{BB962C8B-B14F-4D97-AF65-F5344CB8AC3E}">
        <p14:creationId xmlns:p14="http://schemas.microsoft.com/office/powerpoint/2010/main" val="35653134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874208"/>
            <a:ext cx="11356975" cy="1107996"/>
          </a:xfrm>
        </p:spPr>
        <p:txBody>
          <a:bodyPr/>
          <a:lstStyle/>
          <a:p>
            <a:r>
              <a:rPr lang="fr-FR"/>
              <a:t>Les certificats : la base</a:t>
            </a:r>
          </a:p>
        </p:txBody>
      </p:sp>
    </p:spTree>
    <p:extLst>
      <p:ext uri="{BB962C8B-B14F-4D97-AF65-F5344CB8AC3E}">
        <p14:creationId xmlns:p14="http://schemas.microsoft.com/office/powerpoint/2010/main" val="26098521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Un certificat, c’est quoi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484784"/>
            <a:ext cx="11369042" cy="453650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Dans notre scénario d’attaque précédent, le « Man in the Middle » fournis sa propre clé publique a Alice</a:t>
            </a:r>
          </a:p>
          <a:p>
            <a:pPr marL="285750" indent="-285750">
              <a:buFont typeface="Arial" panose="020B0604020202020204" pitchFamily="34" charset="0"/>
              <a:buChar char="•"/>
            </a:pPr>
            <a:r>
              <a:rPr lang="fr-FR" sz="1600" b="1"/>
              <a:t>Alice a besoin d’un moyen pour être sure que la clé publique qu’elle reçoit est bien celle de Bob</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2000" b="1">
                <a:solidFill>
                  <a:srgbClr val="FFC000"/>
                </a:solidFill>
              </a:rPr>
              <a:t>La solution : les certificats !</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Un certificat c’est une clé publique enrobée : </a:t>
            </a:r>
          </a:p>
          <a:p>
            <a:pPr marL="466725" lvl="1" indent="-285750">
              <a:buFont typeface="Arial" panose="020B0604020202020204" pitchFamily="34" charset="0"/>
              <a:buChar char="•"/>
            </a:pPr>
            <a:r>
              <a:rPr lang="fr-FR" sz="1600"/>
              <a:t>De la signature d’un partenaire de confiance</a:t>
            </a:r>
          </a:p>
          <a:p>
            <a:pPr marL="466725" lvl="1" indent="-285750">
              <a:buFont typeface="Arial" panose="020B0604020202020204" pitchFamily="34" charset="0"/>
              <a:buChar char="•"/>
            </a:pPr>
            <a:r>
              <a:rPr lang="fr-FR" sz="1600"/>
              <a:t>D’une date d’émission et d’expiration</a:t>
            </a:r>
          </a:p>
          <a:p>
            <a:pPr marL="466725" lvl="1" indent="-285750">
              <a:buFont typeface="Arial" panose="020B0604020202020204" pitchFamily="34" charset="0"/>
              <a:buChar char="•"/>
            </a:pPr>
            <a:r>
              <a:rPr lang="fr-FR" sz="1600"/>
              <a:t>Du type de certificat et son utilisation (client, serveur, autorité de certification)</a:t>
            </a:r>
          </a:p>
          <a:p>
            <a:pPr marL="466725" lvl="1" indent="-285750">
              <a:buFont typeface="Arial" panose="020B0604020202020204" pitchFamily="34" charset="0"/>
              <a:buChar char="•"/>
            </a:pPr>
            <a:r>
              <a:rPr lang="fr-FR" sz="1600"/>
              <a:t>D’autres éléments complémentaires</a:t>
            </a:r>
          </a:p>
          <a:p>
            <a:pPr marL="466725" lvl="1"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Un certificat signé par un partenaire de confiance, c’est l’assurance que la clé privée associée est possédée par la bonne personne : </a:t>
            </a:r>
            <a:r>
              <a:rPr lang="fr-FR" sz="1600" b="1">
                <a:solidFill>
                  <a:srgbClr val="FFC000"/>
                </a:solidFill>
              </a:rPr>
              <a:t>seule cette personne saura déchiffrer les données </a:t>
            </a:r>
            <a:r>
              <a:rPr lang="fr-FR" sz="1600" b="1"/>
              <a:t>!</a:t>
            </a:r>
          </a:p>
          <a:p>
            <a:pPr marL="466725" lvl="1" indent="-285750">
              <a:buFont typeface="Arial" panose="020B0604020202020204" pitchFamily="34" charset="0"/>
              <a:buChar char="•"/>
            </a:pPr>
            <a:endParaRPr lang="fr-FR" sz="1600" b="1"/>
          </a:p>
        </p:txBody>
      </p:sp>
      <p:sp>
        <p:nvSpPr>
          <p:cNvPr id="4" name="Rectangle : coins arrondis 3">
            <a:extLst>
              <a:ext uri="{FF2B5EF4-FFF2-40B4-BE49-F238E27FC236}">
                <a16:creationId xmlns:a16="http://schemas.microsoft.com/office/drawing/2014/main" id="{00C6C713-D6CA-20D1-A5EB-9B82834FB47B}"/>
              </a:ext>
            </a:extLst>
          </p:cNvPr>
          <p:cNvSpPr/>
          <p:nvPr/>
        </p:nvSpPr>
        <p:spPr>
          <a:xfrm>
            <a:off x="9336359" y="2420888"/>
            <a:ext cx="2447653" cy="2376264"/>
          </a:xfrm>
          <a:prstGeom prst="roundRect">
            <a:avLst/>
          </a:prstGeom>
          <a:solidFill>
            <a:schemeClr val="accent4">
              <a:lumMod val="90000"/>
              <a:lumOff val="10000"/>
            </a:schemeClr>
          </a:solidFill>
          <a:ln w="11216" cap="flat">
            <a:solidFill>
              <a:schemeClr val="accent4">
                <a:lumMod val="50000"/>
                <a:lumOff val="50000"/>
              </a:schemeClr>
            </a:solidFill>
            <a:prstDash val="solid"/>
            <a:miter/>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fr-FR" sz="1400" b="1">
                <a:solidFill>
                  <a:schemeClr val="bg1"/>
                </a:solidFill>
                <a:effectLst>
                  <a:outerShdw blurRad="38100" dist="38100" dir="2700000" algn="tl">
                    <a:srgbClr val="000000">
                      <a:alpha val="43137"/>
                    </a:srgbClr>
                  </a:outerShdw>
                </a:effectLst>
              </a:rPr>
              <a:t>Certificat</a:t>
            </a:r>
          </a:p>
        </p:txBody>
      </p:sp>
      <p:pic>
        <p:nvPicPr>
          <p:cNvPr id="5" name="Graphique 4" descr="Clé avec un remplissage uni">
            <a:extLst>
              <a:ext uri="{FF2B5EF4-FFF2-40B4-BE49-F238E27FC236}">
                <a16:creationId xmlns:a16="http://schemas.microsoft.com/office/drawing/2014/main" id="{7364595C-77E6-B964-7182-18533A1324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92934" y="2761775"/>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D715CB0D-EEAA-5BA0-5B54-B4634E37B6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92934" y="3275407"/>
            <a:ext cx="655004" cy="667225"/>
          </a:xfrm>
          <a:prstGeom prst="rect">
            <a:avLst/>
          </a:prstGeom>
          <a:effectLst>
            <a:outerShdw blurRad="50800" dist="38100" dir="2700000" algn="tl" rotWithShape="0">
              <a:prstClr val="black">
                <a:alpha val="40000"/>
              </a:prstClr>
            </a:outerShdw>
          </a:effectLst>
        </p:spPr>
      </p:pic>
      <p:pic>
        <p:nvPicPr>
          <p:cNvPr id="9" name="Graphique 8" descr="Calendrier journalier avec un remplissage uni">
            <a:extLst>
              <a:ext uri="{FF2B5EF4-FFF2-40B4-BE49-F238E27FC236}">
                <a16:creationId xmlns:a16="http://schemas.microsoft.com/office/drawing/2014/main" id="{D54A6AB4-A1D8-6627-285B-A0C95909DF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57396" y="3861271"/>
            <a:ext cx="726080" cy="726080"/>
          </a:xfrm>
          <a:prstGeom prst="rect">
            <a:avLst/>
          </a:prstGeom>
          <a:effectLst>
            <a:outerShdw blurRad="50800" dist="38100" dir="2700000" algn="tl" rotWithShape="0">
              <a:prstClr val="black">
                <a:alpha val="40000"/>
              </a:prstClr>
            </a:outerShdw>
          </a:effectLst>
        </p:spPr>
      </p:pic>
      <p:sp>
        <p:nvSpPr>
          <p:cNvPr id="2" name="ZoneTexte 1">
            <a:extLst>
              <a:ext uri="{FF2B5EF4-FFF2-40B4-BE49-F238E27FC236}">
                <a16:creationId xmlns:a16="http://schemas.microsoft.com/office/drawing/2014/main" id="{1DC90AC5-DC09-2867-6F4A-899611745D93}"/>
              </a:ext>
            </a:extLst>
          </p:cNvPr>
          <p:cNvSpPr txBox="1"/>
          <p:nvPr/>
        </p:nvSpPr>
        <p:spPr>
          <a:xfrm>
            <a:off x="10383476" y="2928282"/>
            <a:ext cx="129138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é publique</a:t>
            </a:r>
          </a:p>
        </p:txBody>
      </p:sp>
      <p:sp>
        <p:nvSpPr>
          <p:cNvPr id="7" name="ZoneTexte 6">
            <a:extLst>
              <a:ext uri="{FF2B5EF4-FFF2-40B4-BE49-F238E27FC236}">
                <a16:creationId xmlns:a16="http://schemas.microsoft.com/office/drawing/2014/main" id="{4AEF589D-7CF3-346A-FD67-494B5F425CF4}"/>
              </a:ext>
            </a:extLst>
          </p:cNvPr>
          <p:cNvSpPr txBox="1"/>
          <p:nvPr/>
        </p:nvSpPr>
        <p:spPr>
          <a:xfrm>
            <a:off x="10383476" y="3429000"/>
            <a:ext cx="129138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33B569"/>
                </a:solidFill>
                <a:effectLst>
                  <a:outerShdw blurRad="38100" dist="38100" dir="2700000" algn="tl">
                    <a:srgbClr val="000000">
                      <a:alpha val="43137"/>
                    </a:srgbClr>
                  </a:outerShdw>
                </a:effectLst>
              </a:rPr>
              <a:t>Signature</a:t>
            </a:r>
          </a:p>
        </p:txBody>
      </p:sp>
      <p:sp>
        <p:nvSpPr>
          <p:cNvPr id="8" name="ZoneTexte 7">
            <a:extLst>
              <a:ext uri="{FF2B5EF4-FFF2-40B4-BE49-F238E27FC236}">
                <a16:creationId xmlns:a16="http://schemas.microsoft.com/office/drawing/2014/main" id="{C2A3C938-6233-C5F5-71E7-74040E2364AE}"/>
              </a:ext>
            </a:extLst>
          </p:cNvPr>
          <p:cNvSpPr txBox="1"/>
          <p:nvPr/>
        </p:nvSpPr>
        <p:spPr>
          <a:xfrm>
            <a:off x="10383476" y="3973194"/>
            <a:ext cx="1291380"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B24A"/>
                </a:solidFill>
                <a:effectLst>
                  <a:outerShdw blurRad="38100" dist="38100" dir="2700000" algn="tl">
                    <a:srgbClr val="000000">
                      <a:alpha val="43137"/>
                    </a:srgbClr>
                  </a:outerShdw>
                </a:effectLst>
              </a:rPr>
              <a:t>Emission</a:t>
            </a:r>
            <a:br>
              <a:rPr lang="fr-FR" sz="1400" b="1">
                <a:solidFill>
                  <a:srgbClr val="FFB24A"/>
                </a:solidFill>
                <a:effectLst>
                  <a:outerShdw blurRad="38100" dist="38100" dir="2700000" algn="tl">
                    <a:srgbClr val="000000">
                      <a:alpha val="43137"/>
                    </a:srgbClr>
                  </a:outerShdw>
                </a:effectLst>
              </a:rPr>
            </a:br>
            <a:r>
              <a:rPr lang="fr-FR" sz="1400" b="1">
                <a:solidFill>
                  <a:srgbClr val="FFB24A"/>
                </a:solidFill>
                <a:effectLst>
                  <a:outerShdw blurRad="38100" dist="38100" dir="2700000" algn="tl">
                    <a:srgbClr val="000000">
                      <a:alpha val="43137"/>
                    </a:srgbClr>
                  </a:outerShdw>
                </a:effectLst>
              </a:rPr>
              <a:t>Expiration</a:t>
            </a:r>
          </a:p>
        </p:txBody>
      </p:sp>
    </p:spTree>
    <p:extLst>
      <p:ext uri="{BB962C8B-B14F-4D97-AF65-F5344CB8AC3E}">
        <p14:creationId xmlns:p14="http://schemas.microsoft.com/office/powerpoint/2010/main" val="23648220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Un partenaire de confiance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Alice vérifie le certificat qu’elle reçoit de Bob avant de chiffrer les données avec la clé publique contenue à l’</a:t>
            </a:r>
            <a:r>
              <a:rPr lang="fr-FR" sz="1600" b="1" err="1"/>
              <a:t>interieur</a:t>
            </a:r>
            <a:endParaRPr lang="fr-FR" sz="1600" b="1"/>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La vérification inclus : </a:t>
            </a:r>
          </a:p>
          <a:p>
            <a:pPr marL="466725" lvl="1" indent="-285750">
              <a:buFont typeface="Arial" panose="020B0604020202020204" pitchFamily="34" charset="0"/>
              <a:buChar char="•"/>
            </a:pPr>
            <a:r>
              <a:rPr lang="fr-FR" sz="1600"/>
              <a:t>La vérification de l’expiration du certificat</a:t>
            </a:r>
          </a:p>
          <a:p>
            <a:pPr marL="466725" lvl="1" indent="-285750">
              <a:buFont typeface="Arial" panose="020B0604020202020204" pitchFamily="34" charset="0"/>
              <a:buChar char="•"/>
            </a:pPr>
            <a:r>
              <a:rPr lang="fr-FR" sz="1600"/>
              <a:t>La vérification de l’utilisation possible du certificat</a:t>
            </a:r>
          </a:p>
          <a:p>
            <a:pPr marL="466725" lvl="1" indent="-285750">
              <a:buFont typeface="Arial" panose="020B0604020202020204" pitchFamily="34" charset="0"/>
              <a:buChar char="•"/>
            </a:pPr>
            <a:r>
              <a:rPr lang="fr-FR" sz="1600"/>
              <a:t>La vérification du nom de domaine valable </a:t>
            </a:r>
          </a:p>
          <a:p>
            <a:pPr marL="466725" lvl="1" indent="-285750">
              <a:buFont typeface="Arial" panose="020B0604020202020204" pitchFamily="34" charset="0"/>
              <a:buChar char="•"/>
            </a:pPr>
            <a:r>
              <a:rPr lang="fr-FR" sz="1600" b="1">
                <a:solidFill>
                  <a:srgbClr val="FFC000"/>
                </a:solidFill>
              </a:rPr>
              <a:t>La vérification de la provenance du certificat</a:t>
            </a:r>
          </a:p>
          <a:p>
            <a:pPr marL="466725" lvl="1"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solidFill>
                  <a:srgbClr val="FFC000"/>
                </a:solidFill>
              </a:rPr>
              <a:t>Vérifier la provenance du certificat = certificat émis par un partenaire de confiance commun a </a:t>
            </a:r>
            <a:r>
              <a:rPr lang="fr-FR" sz="1600" b="1">
                <a:solidFill>
                  <a:schemeClr val="accent2">
                    <a:lumMod val="40000"/>
                    <a:lumOff val="60000"/>
                  </a:schemeClr>
                </a:solidFill>
              </a:rPr>
              <a:t>Alice</a:t>
            </a:r>
            <a:r>
              <a:rPr lang="fr-FR" sz="1600" b="1">
                <a:solidFill>
                  <a:srgbClr val="FFC000"/>
                </a:solidFill>
              </a:rPr>
              <a:t> et </a:t>
            </a:r>
            <a:r>
              <a:rPr lang="fr-FR" sz="1600" b="1">
                <a:solidFill>
                  <a:srgbClr val="FF455E"/>
                </a:solidFill>
              </a:rPr>
              <a:t>Bob</a:t>
            </a:r>
          </a:p>
          <a:p>
            <a:pPr marL="466725" lvl="1" indent="-285750">
              <a:buFont typeface="Arial" panose="020B0604020202020204" pitchFamily="34" charset="0"/>
              <a:buChar char="•"/>
            </a:pPr>
            <a:r>
              <a:rPr lang="fr-FR" sz="1600"/>
              <a:t>Alice fait confiance au partenaire et reconnais sa signature du partenaire</a:t>
            </a:r>
          </a:p>
          <a:p>
            <a:pPr marL="466725" lvl="1" indent="-285750">
              <a:buFont typeface="Arial" panose="020B0604020202020204" pitchFamily="34" charset="0"/>
              <a:buChar char="•"/>
            </a:pPr>
            <a:r>
              <a:rPr lang="fr-FR" sz="1600"/>
              <a:t>Le partenaire confiance certifie Bob en lui fournissant un certificat qu’il a signé</a:t>
            </a:r>
          </a:p>
          <a:p>
            <a:pPr marL="466725" lvl="1" indent="-285750">
              <a:buFont typeface="Arial" panose="020B0604020202020204" pitchFamily="34" charset="0"/>
              <a:buChar char="•"/>
            </a:pPr>
            <a:r>
              <a:rPr lang="fr-FR" sz="1600"/>
              <a:t>Par transitivité, Alice fait confiance à Bob</a:t>
            </a:r>
          </a:p>
          <a:p>
            <a:pPr marL="466725" lvl="1" indent="-285750">
              <a:buFont typeface="Arial" panose="020B0604020202020204" pitchFamily="34" charset="0"/>
              <a:buChar char="•"/>
            </a:pPr>
            <a:endParaRPr lang="fr-FR" sz="1600"/>
          </a:p>
          <a:p>
            <a:pPr algn="ctr"/>
            <a:r>
              <a:rPr lang="fr-FR" sz="2400" b="1">
                <a:solidFill>
                  <a:srgbClr val="FFC000"/>
                </a:solidFill>
                <a:effectLst>
                  <a:outerShdw blurRad="38100" dist="38100" dir="2700000" algn="tl">
                    <a:srgbClr val="000000">
                      <a:alpha val="43137"/>
                    </a:srgbClr>
                  </a:outerShdw>
                </a:effectLst>
              </a:rPr>
              <a:t>Partenaire de confiance = autorité de certification = AC</a:t>
            </a:r>
          </a:p>
        </p:txBody>
      </p:sp>
      <p:pic>
        <p:nvPicPr>
          <p:cNvPr id="2" name="Graphique 1" descr="Profil femelle avec un remplissage uni">
            <a:extLst>
              <a:ext uri="{FF2B5EF4-FFF2-40B4-BE49-F238E27FC236}">
                <a16:creationId xmlns:a16="http://schemas.microsoft.com/office/drawing/2014/main" id="{35B94587-3978-3D0A-D6B9-E51E34FD3B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6240" y="2780928"/>
            <a:ext cx="720000" cy="720000"/>
          </a:xfrm>
          <a:prstGeom prst="rect">
            <a:avLst/>
          </a:prstGeom>
          <a:effectLst>
            <a:outerShdw blurRad="50800" dist="38100" dir="2700000" algn="tl" rotWithShape="0">
              <a:prstClr val="black">
                <a:alpha val="40000"/>
              </a:prstClr>
            </a:outerShdw>
          </a:effectLst>
        </p:spPr>
      </p:pic>
      <p:pic>
        <p:nvPicPr>
          <p:cNvPr id="7" name="Graphique 6" descr="Profil mâle avec un remplissage uni">
            <a:extLst>
              <a:ext uri="{FF2B5EF4-FFF2-40B4-BE49-F238E27FC236}">
                <a16:creationId xmlns:a16="http://schemas.microsoft.com/office/drawing/2014/main" id="{3BF0A289-7848-B14A-D1E7-1A43905A20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464" y="2780928"/>
            <a:ext cx="720000" cy="720000"/>
          </a:xfrm>
          <a:prstGeom prst="rect">
            <a:avLst/>
          </a:prstGeom>
          <a:effectLst>
            <a:outerShdw blurRad="50800" dist="38100" dir="2700000" algn="tl" rotWithShape="0">
              <a:prstClr val="black">
                <a:alpha val="40000"/>
              </a:prstClr>
            </a:outerShdw>
          </a:effectLst>
        </p:spPr>
      </p:pic>
      <p:pic>
        <p:nvPicPr>
          <p:cNvPr id="10" name="Graphique 9" descr="Utilisateur avec un remplissage uni">
            <a:extLst>
              <a:ext uri="{FF2B5EF4-FFF2-40B4-BE49-F238E27FC236}">
                <a16:creationId xmlns:a16="http://schemas.microsoft.com/office/drawing/2014/main" id="{57E073A0-2CE3-ADC2-B841-ACAC88E64F2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64352" y="1844824"/>
            <a:ext cx="720000" cy="720000"/>
          </a:xfrm>
          <a:prstGeom prst="rect">
            <a:avLst/>
          </a:prstGeom>
          <a:effectLst>
            <a:outerShdw blurRad="50800" dist="38100" dir="2700000" algn="tl" rotWithShape="0">
              <a:prstClr val="black">
                <a:alpha val="40000"/>
              </a:prstClr>
            </a:outerShdw>
          </a:effectLst>
        </p:spPr>
      </p:pic>
      <p:cxnSp>
        <p:nvCxnSpPr>
          <p:cNvPr id="11" name="Connecteur droit avec flèche 10">
            <a:extLst>
              <a:ext uri="{FF2B5EF4-FFF2-40B4-BE49-F238E27FC236}">
                <a16:creationId xmlns:a16="http://schemas.microsoft.com/office/drawing/2014/main" id="{DD588C2F-0F4F-D95F-011D-9EF6ABA974EF}"/>
              </a:ext>
            </a:extLst>
          </p:cNvPr>
          <p:cNvCxnSpPr>
            <a:cxnSpLocks/>
          </p:cNvCxnSpPr>
          <p:nvPr/>
        </p:nvCxnSpPr>
        <p:spPr>
          <a:xfrm flipV="1">
            <a:off x="8904312" y="2564824"/>
            <a:ext cx="360040" cy="28811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C0820795-FF00-577B-3929-0191F697EC14}"/>
              </a:ext>
            </a:extLst>
          </p:cNvPr>
          <p:cNvCxnSpPr>
            <a:cxnSpLocks/>
          </p:cNvCxnSpPr>
          <p:nvPr/>
        </p:nvCxnSpPr>
        <p:spPr>
          <a:xfrm>
            <a:off x="9984352" y="2564824"/>
            <a:ext cx="360120" cy="28811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8" name="Connecteur droit avec flèche 17">
            <a:extLst>
              <a:ext uri="{FF2B5EF4-FFF2-40B4-BE49-F238E27FC236}">
                <a16:creationId xmlns:a16="http://schemas.microsoft.com/office/drawing/2014/main" id="{3CD411EF-D7AB-52DB-9BC2-46D5DAD93262}"/>
              </a:ext>
            </a:extLst>
          </p:cNvPr>
          <p:cNvCxnSpPr>
            <a:cxnSpLocks/>
          </p:cNvCxnSpPr>
          <p:nvPr/>
        </p:nvCxnSpPr>
        <p:spPr>
          <a:xfrm>
            <a:off x="9010148" y="3254396"/>
            <a:ext cx="1262316"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1" name="ZoneTexte 20">
            <a:extLst>
              <a:ext uri="{FF2B5EF4-FFF2-40B4-BE49-F238E27FC236}">
                <a16:creationId xmlns:a16="http://schemas.microsoft.com/office/drawing/2014/main" id="{0CC04755-86DD-9338-26ED-E298CEE25688}"/>
              </a:ext>
            </a:extLst>
          </p:cNvPr>
          <p:cNvSpPr txBox="1"/>
          <p:nvPr/>
        </p:nvSpPr>
        <p:spPr>
          <a:xfrm>
            <a:off x="7469267" y="2444673"/>
            <a:ext cx="1745276"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Fait confiance</a:t>
            </a:r>
          </a:p>
        </p:txBody>
      </p:sp>
      <p:sp>
        <p:nvSpPr>
          <p:cNvPr id="22" name="ZoneTexte 21">
            <a:extLst>
              <a:ext uri="{FF2B5EF4-FFF2-40B4-BE49-F238E27FC236}">
                <a16:creationId xmlns:a16="http://schemas.microsoft.com/office/drawing/2014/main" id="{E1C545D9-A34A-6F24-02F0-284F38D7C9F7}"/>
              </a:ext>
            </a:extLst>
          </p:cNvPr>
          <p:cNvSpPr txBox="1"/>
          <p:nvPr/>
        </p:nvSpPr>
        <p:spPr>
          <a:xfrm>
            <a:off x="9759826" y="2425219"/>
            <a:ext cx="1745276"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Atteste</a:t>
            </a:r>
          </a:p>
        </p:txBody>
      </p:sp>
      <p:sp>
        <p:nvSpPr>
          <p:cNvPr id="23" name="ZoneTexte 22">
            <a:extLst>
              <a:ext uri="{FF2B5EF4-FFF2-40B4-BE49-F238E27FC236}">
                <a16:creationId xmlns:a16="http://schemas.microsoft.com/office/drawing/2014/main" id="{FB666075-3464-DE96-B5BD-E620B1089E13}"/>
              </a:ext>
            </a:extLst>
          </p:cNvPr>
          <p:cNvSpPr txBox="1"/>
          <p:nvPr/>
        </p:nvSpPr>
        <p:spPr>
          <a:xfrm>
            <a:off x="8751714" y="3264434"/>
            <a:ext cx="1745276"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Donc fait confiance</a:t>
            </a:r>
          </a:p>
        </p:txBody>
      </p:sp>
    </p:spTree>
    <p:extLst>
      <p:ext uri="{BB962C8B-B14F-4D97-AF65-F5344CB8AC3E}">
        <p14:creationId xmlns:p14="http://schemas.microsoft.com/office/powerpoint/2010/main" val="40738753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store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Alice a besoin de stocker les AC auxquelles elle fait confiance</a:t>
            </a:r>
          </a:p>
          <a:p>
            <a:pPr marL="285750" indent="-285750">
              <a:buFont typeface="Arial" panose="020B0604020202020204" pitchFamily="34" charset="0"/>
              <a:buChar char="•"/>
            </a:pPr>
            <a:r>
              <a:rPr lang="fr-FR" sz="1600" b="1"/>
              <a:t>Elle peut les stocker à différents endroits, et sous différentes formes</a:t>
            </a:r>
          </a:p>
          <a:p>
            <a:pPr marL="466725" lvl="1" indent="-285750">
              <a:buFont typeface="Arial" panose="020B0604020202020204" pitchFamily="34" charset="0"/>
              <a:buChar char="•"/>
            </a:pPr>
            <a:r>
              <a:rPr lang="fr-FR" sz="1600" u="sng"/>
              <a:t>Directement sur sa machine</a:t>
            </a:r>
          </a:p>
          <a:p>
            <a:pPr marL="645750" lvl="2" indent="-285750"/>
            <a:r>
              <a:rPr lang="fr-FR" sz="1600"/>
              <a:t>Exemple : répertoire </a:t>
            </a:r>
            <a:r>
              <a:rPr lang="fr-FR" sz="1600">
                <a:solidFill>
                  <a:srgbClr val="FFC000"/>
                </a:solidFill>
              </a:rPr>
              <a:t>/</a:t>
            </a:r>
            <a:r>
              <a:rPr lang="fr-FR" sz="1600" err="1">
                <a:solidFill>
                  <a:srgbClr val="FFC000"/>
                </a:solidFill>
              </a:rPr>
              <a:t>etc</a:t>
            </a:r>
            <a:r>
              <a:rPr lang="fr-FR" sz="1600">
                <a:solidFill>
                  <a:srgbClr val="FFC000"/>
                </a:solidFill>
              </a:rPr>
              <a:t>/</a:t>
            </a:r>
            <a:r>
              <a:rPr lang="fr-FR" sz="1600" err="1">
                <a:solidFill>
                  <a:srgbClr val="FFC000"/>
                </a:solidFill>
              </a:rPr>
              <a:t>ssl</a:t>
            </a:r>
            <a:r>
              <a:rPr lang="fr-FR" sz="1600">
                <a:solidFill>
                  <a:srgbClr val="FFC000"/>
                </a:solidFill>
              </a:rPr>
              <a:t>/</a:t>
            </a:r>
            <a:r>
              <a:rPr lang="fr-FR" sz="1600" err="1">
                <a:solidFill>
                  <a:srgbClr val="FFC000"/>
                </a:solidFill>
              </a:rPr>
              <a:t>certs</a:t>
            </a:r>
            <a:r>
              <a:rPr lang="fr-FR" sz="1600"/>
              <a:t> sur une VM Linux</a:t>
            </a:r>
          </a:p>
          <a:p>
            <a:pPr marL="466725" lvl="1" indent="-285750">
              <a:buFont typeface="Arial" panose="020B0604020202020204" pitchFamily="34" charset="0"/>
              <a:buChar char="•"/>
            </a:pPr>
            <a:r>
              <a:rPr lang="fr-FR" sz="1600" u="sng"/>
              <a:t>Dans une base de données au format fichier (</a:t>
            </a:r>
            <a:r>
              <a:rPr lang="fr-FR" sz="1600" b="1" u="sng">
                <a:solidFill>
                  <a:srgbClr val="FFC000"/>
                </a:solidFill>
              </a:rPr>
              <a:t>store</a:t>
            </a:r>
            <a:r>
              <a:rPr lang="fr-FR" sz="1600" u="sng"/>
              <a:t>)</a:t>
            </a:r>
          </a:p>
          <a:p>
            <a:pPr marL="645750" lvl="2" indent="-285750"/>
            <a:r>
              <a:rPr lang="fr-FR" sz="1600"/>
              <a:t>Exemple : fichier .P12 ou .</a:t>
            </a:r>
            <a:r>
              <a:rPr lang="fr-FR" sz="1600" err="1"/>
              <a:t>jks</a:t>
            </a:r>
            <a:endParaRPr lang="fr-FR" sz="1600"/>
          </a:p>
          <a:p>
            <a:pPr marL="466725" lvl="1" indent="-285750">
              <a:buFont typeface="Arial" panose="020B0604020202020204" pitchFamily="34" charset="0"/>
              <a:buChar char="•"/>
            </a:pPr>
            <a:r>
              <a:rPr lang="fr-FR" sz="1600" u="sng"/>
              <a:t>Directement sur le disque dans des fichiers </a:t>
            </a:r>
          </a:p>
          <a:p>
            <a:pPr marL="645750" lvl="2" indent="-285750"/>
            <a:r>
              <a:rPr lang="fr-FR" sz="1600"/>
              <a:t>Exemple : fichier .</a:t>
            </a:r>
            <a:r>
              <a:rPr lang="fr-FR" sz="1600" err="1"/>
              <a:t>pem</a:t>
            </a:r>
            <a:r>
              <a:rPr lang="fr-FR" sz="1600"/>
              <a:t> ou .</a:t>
            </a:r>
            <a:r>
              <a:rPr lang="fr-FR" sz="1600" err="1"/>
              <a:t>crt</a:t>
            </a:r>
            <a:endParaRPr lang="fr-FR" sz="1600"/>
          </a:p>
          <a:p>
            <a:endParaRPr lang="fr-FR" sz="1600" b="1"/>
          </a:p>
          <a:p>
            <a:pPr marL="285750" indent="-285750">
              <a:buFont typeface="Arial" panose="020B0604020202020204" pitchFamily="34" charset="0"/>
              <a:buChar char="•"/>
            </a:pPr>
            <a:r>
              <a:rPr lang="fr-FR" sz="1600" b="1"/>
              <a:t>On parle généralement de deux types de store</a:t>
            </a:r>
          </a:p>
          <a:p>
            <a:pPr marL="466725" lvl="1" indent="-285750">
              <a:buFont typeface="Arial" panose="020B0604020202020204" pitchFamily="34" charset="0"/>
              <a:buChar char="•"/>
            </a:pPr>
            <a:r>
              <a:rPr lang="fr-FR" sz="1600"/>
              <a:t>Le </a:t>
            </a:r>
            <a:r>
              <a:rPr lang="fr-FR" sz="1600" b="1" err="1">
                <a:solidFill>
                  <a:srgbClr val="FFC000"/>
                </a:solidFill>
              </a:rPr>
              <a:t>TrustStore</a:t>
            </a:r>
            <a:r>
              <a:rPr lang="fr-FR" sz="1600"/>
              <a:t> : ne contient que des certificats (</a:t>
            </a:r>
            <a:r>
              <a:rPr lang="fr-FR" sz="1600" u="sng"/>
              <a:t>AC de préférence</a:t>
            </a:r>
            <a:r>
              <a:rPr lang="fr-FR" sz="1600"/>
              <a:t>) auxquels on fait confiance</a:t>
            </a:r>
          </a:p>
          <a:p>
            <a:pPr marL="466725" lvl="1" indent="-285750">
              <a:buFont typeface="Arial" panose="020B0604020202020204" pitchFamily="34" charset="0"/>
              <a:buChar char="•"/>
            </a:pPr>
            <a:r>
              <a:rPr lang="fr-FR" sz="1600"/>
              <a:t>Le </a:t>
            </a:r>
            <a:r>
              <a:rPr lang="fr-FR" sz="1600" b="1" err="1">
                <a:solidFill>
                  <a:srgbClr val="FFC000"/>
                </a:solidFill>
              </a:rPr>
              <a:t>KeyStore</a:t>
            </a:r>
            <a:r>
              <a:rPr lang="fr-FR" sz="1600"/>
              <a:t> : contient des clés privées + certificats, utilisables par des serveur web ou comme certificat client</a:t>
            </a:r>
          </a:p>
          <a:p>
            <a:pPr lvl="1" indent="0">
              <a:buNone/>
            </a:pPr>
            <a:endParaRPr lang="fr-FR" sz="1600" b="1"/>
          </a:p>
          <a:p>
            <a:pPr algn="ctr"/>
            <a:r>
              <a:rPr lang="fr-FR" sz="1800" b="1">
                <a:solidFill>
                  <a:srgbClr val="FFC000"/>
                </a:solidFill>
              </a:rPr>
              <a:t>Dans les deux cas, il s’agit du même format de fichier, c’est juste le nom fonctionnel qui change</a:t>
            </a:r>
          </a:p>
        </p:txBody>
      </p:sp>
      <p:grpSp>
        <p:nvGrpSpPr>
          <p:cNvPr id="4" name="Graphic 3">
            <a:extLst>
              <a:ext uri="{FF2B5EF4-FFF2-40B4-BE49-F238E27FC236}">
                <a16:creationId xmlns:a16="http://schemas.microsoft.com/office/drawing/2014/main" id="{12315063-9D19-4926-D161-7D9C43A3F378}"/>
              </a:ext>
              <a:ext uri="{C183D7F6-B498-43B3-948B-1728B52AA6E4}">
                <adec:decorative xmlns:adec="http://schemas.microsoft.com/office/drawing/2017/decorative" val="1"/>
              </a:ext>
            </a:extLst>
          </p:cNvPr>
          <p:cNvGrpSpPr>
            <a:grpSpLocks noChangeAspect="1"/>
          </p:cNvGrpSpPr>
          <p:nvPr/>
        </p:nvGrpSpPr>
        <p:grpSpPr>
          <a:xfrm>
            <a:off x="9127643" y="1204913"/>
            <a:ext cx="1100410" cy="1068040"/>
            <a:chOff x="5934075" y="3267551"/>
            <a:chExt cx="323850" cy="314325"/>
          </a:xfrm>
          <a:solidFill>
            <a:srgbClr val="000000"/>
          </a:solidFill>
        </p:grpSpPr>
        <p:sp>
          <p:nvSpPr>
            <p:cNvPr id="5" name="Freeform: Shape 5220">
              <a:extLst>
                <a:ext uri="{FF2B5EF4-FFF2-40B4-BE49-F238E27FC236}">
                  <a16:creationId xmlns:a16="http://schemas.microsoft.com/office/drawing/2014/main" id="{F937939D-49B6-78E3-E112-64401E57F4A3}"/>
                </a:ext>
              </a:extLst>
            </p:cNvPr>
            <p:cNvSpPr/>
            <p:nvPr/>
          </p:nvSpPr>
          <p:spPr>
            <a:xfrm>
              <a:off x="5934075" y="3267551"/>
              <a:ext cx="323850" cy="314325"/>
            </a:xfrm>
            <a:custGeom>
              <a:avLst/>
              <a:gdLst>
                <a:gd name="connsiteX0" fmla="*/ 301943 w 323850"/>
                <a:gd name="connsiteY0" fmla="*/ 113824 h 314325"/>
                <a:gd name="connsiteX1" fmla="*/ 266700 w 323850"/>
                <a:gd name="connsiteY1" fmla="*/ 113824 h 314325"/>
                <a:gd name="connsiteX2" fmla="*/ 165735 w 323850"/>
                <a:gd name="connsiteY2" fmla="*/ 1429 h 314325"/>
                <a:gd name="connsiteX3" fmla="*/ 159068 w 323850"/>
                <a:gd name="connsiteY3" fmla="*/ 1429 h 314325"/>
                <a:gd name="connsiteX4" fmla="*/ 57150 w 323850"/>
                <a:gd name="connsiteY4" fmla="*/ 113824 h 314325"/>
                <a:gd name="connsiteX5" fmla="*/ 21908 w 323850"/>
                <a:gd name="connsiteY5" fmla="*/ 113824 h 314325"/>
                <a:gd name="connsiteX6" fmla="*/ 0 w 323850"/>
                <a:gd name="connsiteY6" fmla="*/ 134779 h 314325"/>
                <a:gd name="connsiteX7" fmla="*/ 0 w 323850"/>
                <a:gd name="connsiteY7" fmla="*/ 301466 h 314325"/>
                <a:gd name="connsiteX8" fmla="*/ 21908 w 323850"/>
                <a:gd name="connsiteY8" fmla="*/ 323374 h 314325"/>
                <a:gd name="connsiteX9" fmla="*/ 302895 w 323850"/>
                <a:gd name="connsiteY9" fmla="*/ 323374 h 314325"/>
                <a:gd name="connsiteX10" fmla="*/ 324803 w 323850"/>
                <a:gd name="connsiteY10" fmla="*/ 301466 h 314325"/>
                <a:gd name="connsiteX11" fmla="*/ 324803 w 323850"/>
                <a:gd name="connsiteY11" fmla="*/ 134779 h 314325"/>
                <a:gd name="connsiteX12" fmla="*/ 301943 w 323850"/>
                <a:gd name="connsiteY12" fmla="*/ 113824 h 314325"/>
                <a:gd name="connsiteX13" fmla="*/ 161925 w 323850"/>
                <a:gd name="connsiteY13" fmla="*/ 10954 h 314325"/>
                <a:gd name="connsiteX14" fmla="*/ 254318 w 323850"/>
                <a:gd name="connsiteY14" fmla="*/ 113824 h 314325"/>
                <a:gd name="connsiteX15" fmla="*/ 69533 w 323850"/>
                <a:gd name="connsiteY15" fmla="*/ 113824 h 314325"/>
                <a:gd name="connsiteX16" fmla="*/ 161925 w 323850"/>
                <a:gd name="connsiteY16" fmla="*/ 10954 h 314325"/>
                <a:gd name="connsiteX17" fmla="*/ 314325 w 323850"/>
                <a:gd name="connsiteY17" fmla="*/ 301466 h 314325"/>
                <a:gd name="connsiteX18" fmla="*/ 301943 w 323850"/>
                <a:gd name="connsiteY18" fmla="*/ 313849 h 314325"/>
                <a:gd name="connsiteX19" fmla="*/ 21908 w 323850"/>
                <a:gd name="connsiteY19" fmla="*/ 313849 h 314325"/>
                <a:gd name="connsiteX20" fmla="*/ 9525 w 323850"/>
                <a:gd name="connsiteY20" fmla="*/ 301466 h 314325"/>
                <a:gd name="connsiteX21" fmla="*/ 9525 w 323850"/>
                <a:gd name="connsiteY21" fmla="*/ 134779 h 314325"/>
                <a:gd name="connsiteX22" fmla="*/ 21908 w 323850"/>
                <a:gd name="connsiteY22" fmla="*/ 123349 h 314325"/>
                <a:gd name="connsiteX23" fmla="*/ 48578 w 323850"/>
                <a:gd name="connsiteY23" fmla="*/ 123349 h 314325"/>
                <a:gd name="connsiteX24" fmla="*/ 39053 w 323850"/>
                <a:gd name="connsiteY24" fmla="*/ 133826 h 314325"/>
                <a:gd name="connsiteX25" fmla="*/ 33338 w 323850"/>
                <a:gd name="connsiteY25" fmla="*/ 132874 h 314325"/>
                <a:gd name="connsiteX26" fmla="*/ 19050 w 323850"/>
                <a:gd name="connsiteY26" fmla="*/ 147161 h 314325"/>
                <a:gd name="connsiteX27" fmla="*/ 33338 w 323850"/>
                <a:gd name="connsiteY27" fmla="*/ 161449 h 314325"/>
                <a:gd name="connsiteX28" fmla="*/ 47625 w 323850"/>
                <a:gd name="connsiteY28" fmla="*/ 147161 h 314325"/>
                <a:gd name="connsiteX29" fmla="*/ 45720 w 323850"/>
                <a:gd name="connsiteY29" fmla="*/ 140494 h 314325"/>
                <a:gd name="connsiteX30" fmla="*/ 60960 w 323850"/>
                <a:gd name="connsiteY30" fmla="*/ 123349 h 314325"/>
                <a:gd name="connsiteX31" fmla="*/ 262890 w 323850"/>
                <a:gd name="connsiteY31" fmla="*/ 123349 h 314325"/>
                <a:gd name="connsiteX32" fmla="*/ 278130 w 323850"/>
                <a:gd name="connsiteY32" fmla="*/ 140494 h 314325"/>
                <a:gd name="connsiteX33" fmla="*/ 276225 w 323850"/>
                <a:gd name="connsiteY33" fmla="*/ 147161 h 314325"/>
                <a:gd name="connsiteX34" fmla="*/ 290513 w 323850"/>
                <a:gd name="connsiteY34" fmla="*/ 161449 h 314325"/>
                <a:gd name="connsiteX35" fmla="*/ 304800 w 323850"/>
                <a:gd name="connsiteY35" fmla="*/ 147161 h 314325"/>
                <a:gd name="connsiteX36" fmla="*/ 290513 w 323850"/>
                <a:gd name="connsiteY36" fmla="*/ 132874 h 314325"/>
                <a:gd name="connsiteX37" fmla="*/ 284798 w 323850"/>
                <a:gd name="connsiteY37" fmla="*/ 133826 h 314325"/>
                <a:gd name="connsiteX38" fmla="*/ 275273 w 323850"/>
                <a:gd name="connsiteY38" fmla="*/ 123349 h 314325"/>
                <a:gd name="connsiteX39" fmla="*/ 301943 w 323850"/>
                <a:gd name="connsiteY39" fmla="*/ 123349 h 314325"/>
                <a:gd name="connsiteX40" fmla="*/ 314325 w 323850"/>
                <a:gd name="connsiteY40" fmla="*/ 135731 h 314325"/>
                <a:gd name="connsiteX41" fmla="*/ 314325 w 323850"/>
                <a:gd name="connsiteY41" fmla="*/ 3014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3850" h="314325">
                  <a:moveTo>
                    <a:pt x="301943" y="113824"/>
                  </a:moveTo>
                  <a:lnTo>
                    <a:pt x="266700" y="113824"/>
                  </a:lnTo>
                  <a:lnTo>
                    <a:pt x="165735" y="1429"/>
                  </a:lnTo>
                  <a:cubicBezTo>
                    <a:pt x="163830" y="-476"/>
                    <a:pt x="160020" y="-476"/>
                    <a:pt x="159068" y="1429"/>
                  </a:cubicBezTo>
                  <a:lnTo>
                    <a:pt x="57150" y="113824"/>
                  </a:lnTo>
                  <a:lnTo>
                    <a:pt x="21908" y="113824"/>
                  </a:lnTo>
                  <a:cubicBezTo>
                    <a:pt x="9525" y="113824"/>
                    <a:pt x="0" y="123349"/>
                    <a:pt x="0" y="134779"/>
                  </a:cubicBezTo>
                  <a:lnTo>
                    <a:pt x="0" y="301466"/>
                  </a:lnTo>
                  <a:cubicBezTo>
                    <a:pt x="0" y="313849"/>
                    <a:pt x="9525" y="323374"/>
                    <a:pt x="21908" y="323374"/>
                  </a:cubicBezTo>
                  <a:lnTo>
                    <a:pt x="302895" y="323374"/>
                  </a:lnTo>
                  <a:cubicBezTo>
                    <a:pt x="315278" y="323374"/>
                    <a:pt x="324803" y="313849"/>
                    <a:pt x="324803" y="301466"/>
                  </a:cubicBezTo>
                  <a:lnTo>
                    <a:pt x="324803" y="134779"/>
                  </a:lnTo>
                  <a:cubicBezTo>
                    <a:pt x="323850" y="123349"/>
                    <a:pt x="314325" y="113824"/>
                    <a:pt x="301943" y="113824"/>
                  </a:cubicBezTo>
                  <a:close/>
                  <a:moveTo>
                    <a:pt x="161925" y="10954"/>
                  </a:moveTo>
                  <a:lnTo>
                    <a:pt x="254318" y="113824"/>
                  </a:lnTo>
                  <a:lnTo>
                    <a:pt x="69533" y="113824"/>
                  </a:lnTo>
                  <a:lnTo>
                    <a:pt x="161925" y="10954"/>
                  </a:lnTo>
                  <a:close/>
                  <a:moveTo>
                    <a:pt x="314325" y="301466"/>
                  </a:moveTo>
                  <a:cubicBezTo>
                    <a:pt x="314325" y="308134"/>
                    <a:pt x="308610" y="313849"/>
                    <a:pt x="301943" y="313849"/>
                  </a:cubicBezTo>
                  <a:lnTo>
                    <a:pt x="21908" y="313849"/>
                  </a:lnTo>
                  <a:cubicBezTo>
                    <a:pt x="15240" y="313849"/>
                    <a:pt x="9525" y="308134"/>
                    <a:pt x="9525" y="301466"/>
                  </a:cubicBezTo>
                  <a:lnTo>
                    <a:pt x="9525" y="134779"/>
                  </a:lnTo>
                  <a:cubicBezTo>
                    <a:pt x="9525" y="128111"/>
                    <a:pt x="15240" y="123349"/>
                    <a:pt x="21908" y="123349"/>
                  </a:cubicBezTo>
                  <a:lnTo>
                    <a:pt x="48578" y="123349"/>
                  </a:lnTo>
                  <a:lnTo>
                    <a:pt x="39053" y="133826"/>
                  </a:lnTo>
                  <a:cubicBezTo>
                    <a:pt x="37148" y="132874"/>
                    <a:pt x="35243" y="132874"/>
                    <a:pt x="33338" y="132874"/>
                  </a:cubicBezTo>
                  <a:cubicBezTo>
                    <a:pt x="25718" y="132874"/>
                    <a:pt x="19050" y="139541"/>
                    <a:pt x="19050" y="147161"/>
                  </a:cubicBezTo>
                  <a:cubicBezTo>
                    <a:pt x="19050" y="154781"/>
                    <a:pt x="25718" y="161449"/>
                    <a:pt x="33338" y="161449"/>
                  </a:cubicBezTo>
                  <a:cubicBezTo>
                    <a:pt x="40958" y="161449"/>
                    <a:pt x="47625" y="154781"/>
                    <a:pt x="47625" y="147161"/>
                  </a:cubicBezTo>
                  <a:cubicBezTo>
                    <a:pt x="47625" y="144304"/>
                    <a:pt x="46673" y="142399"/>
                    <a:pt x="45720" y="140494"/>
                  </a:cubicBezTo>
                  <a:lnTo>
                    <a:pt x="60960" y="123349"/>
                  </a:lnTo>
                  <a:lnTo>
                    <a:pt x="262890" y="123349"/>
                  </a:lnTo>
                  <a:lnTo>
                    <a:pt x="278130" y="140494"/>
                  </a:lnTo>
                  <a:cubicBezTo>
                    <a:pt x="277178" y="142399"/>
                    <a:pt x="276225" y="144304"/>
                    <a:pt x="276225" y="147161"/>
                  </a:cubicBezTo>
                  <a:cubicBezTo>
                    <a:pt x="276225" y="154781"/>
                    <a:pt x="282893" y="161449"/>
                    <a:pt x="290513" y="161449"/>
                  </a:cubicBezTo>
                  <a:cubicBezTo>
                    <a:pt x="298133" y="161449"/>
                    <a:pt x="304800" y="154781"/>
                    <a:pt x="304800" y="147161"/>
                  </a:cubicBezTo>
                  <a:cubicBezTo>
                    <a:pt x="304800" y="139541"/>
                    <a:pt x="298133" y="132874"/>
                    <a:pt x="290513" y="132874"/>
                  </a:cubicBezTo>
                  <a:cubicBezTo>
                    <a:pt x="288608" y="132874"/>
                    <a:pt x="286703" y="132874"/>
                    <a:pt x="284798" y="133826"/>
                  </a:cubicBezTo>
                  <a:lnTo>
                    <a:pt x="275273" y="123349"/>
                  </a:lnTo>
                  <a:lnTo>
                    <a:pt x="301943" y="123349"/>
                  </a:lnTo>
                  <a:cubicBezTo>
                    <a:pt x="308610" y="123349"/>
                    <a:pt x="314325" y="129064"/>
                    <a:pt x="314325" y="135731"/>
                  </a:cubicBezTo>
                  <a:lnTo>
                    <a:pt x="314325" y="301466"/>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6" name="Freeform: Shape 5221">
              <a:extLst>
                <a:ext uri="{FF2B5EF4-FFF2-40B4-BE49-F238E27FC236}">
                  <a16:creationId xmlns:a16="http://schemas.microsoft.com/office/drawing/2014/main" id="{0ABC6623-94D5-47DF-EA37-88D705C0DB85}"/>
                </a:ext>
              </a:extLst>
            </p:cNvPr>
            <p:cNvSpPr/>
            <p:nvPr/>
          </p:nvSpPr>
          <p:spPr>
            <a:xfrm>
              <a:off x="5999798" y="3457575"/>
              <a:ext cx="47625" cy="47625"/>
            </a:xfrm>
            <a:custGeom>
              <a:avLst/>
              <a:gdLst>
                <a:gd name="connsiteX0" fmla="*/ 41910 w 47625"/>
                <a:gd name="connsiteY0" fmla="*/ 6668 h 47625"/>
                <a:gd name="connsiteX1" fmla="*/ 34290 w 47625"/>
                <a:gd name="connsiteY1" fmla="*/ 1905 h 47625"/>
                <a:gd name="connsiteX2" fmla="*/ 24765 w 47625"/>
                <a:gd name="connsiteY2" fmla="*/ 0 h 47625"/>
                <a:gd name="connsiteX3" fmla="*/ 15240 w 47625"/>
                <a:gd name="connsiteY3" fmla="*/ 1905 h 47625"/>
                <a:gd name="connsiteX4" fmla="*/ 7620 w 47625"/>
                <a:gd name="connsiteY4" fmla="*/ 6668 h 47625"/>
                <a:gd name="connsiteX5" fmla="*/ 1905 w 47625"/>
                <a:gd name="connsiteY5" fmla="*/ 15240 h 47625"/>
                <a:gd name="connsiteX6" fmla="*/ 0 w 47625"/>
                <a:gd name="connsiteY6" fmla="*/ 26670 h 47625"/>
                <a:gd name="connsiteX7" fmla="*/ 1905 w 47625"/>
                <a:gd name="connsiteY7" fmla="*/ 38100 h 47625"/>
                <a:gd name="connsiteX8" fmla="*/ 7620 w 47625"/>
                <a:gd name="connsiteY8" fmla="*/ 46672 h 47625"/>
                <a:gd name="connsiteX9" fmla="*/ 15240 w 47625"/>
                <a:gd name="connsiteY9" fmla="*/ 51435 h 47625"/>
                <a:gd name="connsiteX10" fmla="*/ 24765 w 47625"/>
                <a:gd name="connsiteY10" fmla="*/ 53340 h 47625"/>
                <a:gd name="connsiteX11" fmla="*/ 34290 w 47625"/>
                <a:gd name="connsiteY11" fmla="*/ 51435 h 47625"/>
                <a:gd name="connsiteX12" fmla="*/ 41910 w 47625"/>
                <a:gd name="connsiteY12" fmla="*/ 46672 h 47625"/>
                <a:gd name="connsiteX13" fmla="*/ 47625 w 47625"/>
                <a:gd name="connsiteY13" fmla="*/ 38100 h 47625"/>
                <a:gd name="connsiteX14" fmla="*/ 49530 w 47625"/>
                <a:gd name="connsiteY14" fmla="*/ 26670 h 47625"/>
                <a:gd name="connsiteX15" fmla="*/ 47625 w 47625"/>
                <a:gd name="connsiteY15" fmla="*/ 15240 h 47625"/>
                <a:gd name="connsiteX16" fmla="*/ 41910 w 47625"/>
                <a:gd name="connsiteY16" fmla="*/ 6668 h 47625"/>
                <a:gd name="connsiteX17" fmla="*/ 39053 w 47625"/>
                <a:gd name="connsiteY17" fmla="*/ 34290 h 47625"/>
                <a:gd name="connsiteX18" fmla="*/ 36195 w 47625"/>
                <a:gd name="connsiteY18" fmla="*/ 40005 h 47625"/>
                <a:gd name="connsiteX19" fmla="*/ 31432 w 47625"/>
                <a:gd name="connsiteY19" fmla="*/ 43815 h 47625"/>
                <a:gd name="connsiteX20" fmla="*/ 24765 w 47625"/>
                <a:gd name="connsiteY20" fmla="*/ 44768 h 47625"/>
                <a:gd name="connsiteX21" fmla="*/ 18098 w 47625"/>
                <a:gd name="connsiteY21" fmla="*/ 43815 h 47625"/>
                <a:gd name="connsiteX22" fmla="*/ 13335 w 47625"/>
                <a:gd name="connsiteY22" fmla="*/ 40005 h 47625"/>
                <a:gd name="connsiteX23" fmla="*/ 10477 w 47625"/>
                <a:gd name="connsiteY23" fmla="*/ 34290 h 47625"/>
                <a:gd name="connsiteX24" fmla="*/ 9525 w 47625"/>
                <a:gd name="connsiteY24" fmla="*/ 26670 h 47625"/>
                <a:gd name="connsiteX25" fmla="*/ 10477 w 47625"/>
                <a:gd name="connsiteY25" fmla="*/ 19050 h 47625"/>
                <a:gd name="connsiteX26" fmla="*/ 13335 w 47625"/>
                <a:gd name="connsiteY26" fmla="*/ 13335 h 47625"/>
                <a:gd name="connsiteX27" fmla="*/ 18098 w 47625"/>
                <a:gd name="connsiteY27" fmla="*/ 9525 h 47625"/>
                <a:gd name="connsiteX28" fmla="*/ 24765 w 47625"/>
                <a:gd name="connsiteY28" fmla="*/ 8572 h 47625"/>
                <a:gd name="connsiteX29" fmla="*/ 31432 w 47625"/>
                <a:gd name="connsiteY29" fmla="*/ 9525 h 47625"/>
                <a:gd name="connsiteX30" fmla="*/ 36195 w 47625"/>
                <a:gd name="connsiteY30" fmla="*/ 13335 h 47625"/>
                <a:gd name="connsiteX31" fmla="*/ 39053 w 47625"/>
                <a:gd name="connsiteY31" fmla="*/ 19050 h 47625"/>
                <a:gd name="connsiteX32" fmla="*/ 40005 w 47625"/>
                <a:gd name="connsiteY32" fmla="*/ 26670 h 47625"/>
                <a:gd name="connsiteX33" fmla="*/ 39053 w 47625"/>
                <a:gd name="connsiteY33"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625" h="47625">
                  <a:moveTo>
                    <a:pt x="41910" y="6668"/>
                  </a:moveTo>
                  <a:cubicBezTo>
                    <a:pt x="40005" y="4763"/>
                    <a:pt x="37148" y="2857"/>
                    <a:pt x="34290" y="1905"/>
                  </a:cubicBezTo>
                  <a:cubicBezTo>
                    <a:pt x="31432" y="953"/>
                    <a:pt x="27623" y="0"/>
                    <a:pt x="24765" y="0"/>
                  </a:cubicBezTo>
                  <a:cubicBezTo>
                    <a:pt x="21907" y="0"/>
                    <a:pt x="18098" y="953"/>
                    <a:pt x="15240" y="1905"/>
                  </a:cubicBezTo>
                  <a:cubicBezTo>
                    <a:pt x="12382" y="2857"/>
                    <a:pt x="9525" y="4763"/>
                    <a:pt x="7620" y="6668"/>
                  </a:cubicBezTo>
                  <a:cubicBezTo>
                    <a:pt x="5715" y="8572"/>
                    <a:pt x="3810" y="11430"/>
                    <a:pt x="1905" y="15240"/>
                  </a:cubicBezTo>
                  <a:cubicBezTo>
                    <a:pt x="0" y="19050"/>
                    <a:pt x="0" y="21907"/>
                    <a:pt x="0" y="26670"/>
                  </a:cubicBezTo>
                  <a:cubicBezTo>
                    <a:pt x="0" y="31432"/>
                    <a:pt x="952" y="34290"/>
                    <a:pt x="1905" y="38100"/>
                  </a:cubicBezTo>
                  <a:cubicBezTo>
                    <a:pt x="2857" y="40957"/>
                    <a:pt x="4763" y="43815"/>
                    <a:pt x="7620" y="46672"/>
                  </a:cubicBezTo>
                  <a:cubicBezTo>
                    <a:pt x="9525" y="48578"/>
                    <a:pt x="12382" y="50482"/>
                    <a:pt x="15240" y="51435"/>
                  </a:cubicBezTo>
                  <a:cubicBezTo>
                    <a:pt x="18098" y="52388"/>
                    <a:pt x="21907" y="53340"/>
                    <a:pt x="24765" y="53340"/>
                  </a:cubicBezTo>
                  <a:cubicBezTo>
                    <a:pt x="27623" y="53340"/>
                    <a:pt x="31432" y="52388"/>
                    <a:pt x="34290" y="51435"/>
                  </a:cubicBezTo>
                  <a:cubicBezTo>
                    <a:pt x="37148" y="50482"/>
                    <a:pt x="40005" y="48578"/>
                    <a:pt x="41910" y="46672"/>
                  </a:cubicBezTo>
                  <a:cubicBezTo>
                    <a:pt x="43815" y="44768"/>
                    <a:pt x="45720" y="41910"/>
                    <a:pt x="47625" y="38100"/>
                  </a:cubicBezTo>
                  <a:cubicBezTo>
                    <a:pt x="48578" y="35243"/>
                    <a:pt x="49530" y="30480"/>
                    <a:pt x="49530" y="26670"/>
                  </a:cubicBezTo>
                  <a:cubicBezTo>
                    <a:pt x="49530" y="22860"/>
                    <a:pt x="48578" y="18097"/>
                    <a:pt x="47625" y="15240"/>
                  </a:cubicBezTo>
                  <a:cubicBezTo>
                    <a:pt x="46673" y="12382"/>
                    <a:pt x="43815" y="8572"/>
                    <a:pt x="41910" y="6668"/>
                  </a:cubicBezTo>
                  <a:close/>
                  <a:moveTo>
                    <a:pt x="39053" y="34290"/>
                  </a:moveTo>
                  <a:cubicBezTo>
                    <a:pt x="38100" y="36195"/>
                    <a:pt x="37148" y="38100"/>
                    <a:pt x="36195" y="40005"/>
                  </a:cubicBezTo>
                  <a:cubicBezTo>
                    <a:pt x="35243" y="41910"/>
                    <a:pt x="33337" y="42863"/>
                    <a:pt x="31432" y="43815"/>
                  </a:cubicBezTo>
                  <a:cubicBezTo>
                    <a:pt x="29528" y="44768"/>
                    <a:pt x="27623" y="44768"/>
                    <a:pt x="24765" y="44768"/>
                  </a:cubicBezTo>
                  <a:cubicBezTo>
                    <a:pt x="22860" y="44768"/>
                    <a:pt x="20003" y="44768"/>
                    <a:pt x="18098" y="43815"/>
                  </a:cubicBezTo>
                  <a:cubicBezTo>
                    <a:pt x="16193" y="42863"/>
                    <a:pt x="14287" y="41910"/>
                    <a:pt x="13335" y="40005"/>
                  </a:cubicBezTo>
                  <a:cubicBezTo>
                    <a:pt x="12382" y="38100"/>
                    <a:pt x="11430" y="36195"/>
                    <a:pt x="10477" y="34290"/>
                  </a:cubicBezTo>
                  <a:cubicBezTo>
                    <a:pt x="9525" y="32385"/>
                    <a:pt x="9525" y="29528"/>
                    <a:pt x="9525" y="26670"/>
                  </a:cubicBezTo>
                  <a:cubicBezTo>
                    <a:pt x="9525" y="23813"/>
                    <a:pt x="9525" y="20955"/>
                    <a:pt x="10477" y="19050"/>
                  </a:cubicBezTo>
                  <a:cubicBezTo>
                    <a:pt x="11430" y="17145"/>
                    <a:pt x="12382" y="15240"/>
                    <a:pt x="13335" y="13335"/>
                  </a:cubicBezTo>
                  <a:cubicBezTo>
                    <a:pt x="14287" y="11430"/>
                    <a:pt x="16193" y="10478"/>
                    <a:pt x="18098" y="9525"/>
                  </a:cubicBezTo>
                  <a:cubicBezTo>
                    <a:pt x="20003" y="8572"/>
                    <a:pt x="21907" y="8572"/>
                    <a:pt x="24765" y="8572"/>
                  </a:cubicBezTo>
                  <a:cubicBezTo>
                    <a:pt x="26670" y="8572"/>
                    <a:pt x="29528" y="8572"/>
                    <a:pt x="31432" y="9525"/>
                  </a:cubicBezTo>
                  <a:cubicBezTo>
                    <a:pt x="33337" y="10478"/>
                    <a:pt x="35243" y="11430"/>
                    <a:pt x="36195" y="13335"/>
                  </a:cubicBezTo>
                  <a:cubicBezTo>
                    <a:pt x="37148" y="15240"/>
                    <a:pt x="38100" y="17145"/>
                    <a:pt x="39053" y="19050"/>
                  </a:cubicBezTo>
                  <a:cubicBezTo>
                    <a:pt x="40005" y="20955"/>
                    <a:pt x="40005" y="23813"/>
                    <a:pt x="40005" y="26670"/>
                  </a:cubicBezTo>
                  <a:cubicBezTo>
                    <a:pt x="40005" y="29528"/>
                    <a:pt x="39053" y="31432"/>
                    <a:pt x="39053" y="34290"/>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8" name="Freeform: Shape 5222">
              <a:extLst>
                <a:ext uri="{FF2B5EF4-FFF2-40B4-BE49-F238E27FC236}">
                  <a16:creationId xmlns:a16="http://schemas.microsoft.com/office/drawing/2014/main" id="{4B289152-1B67-188B-2767-1468F961EB92}"/>
                </a:ext>
              </a:extLst>
            </p:cNvPr>
            <p:cNvSpPr/>
            <p:nvPr/>
          </p:nvSpPr>
          <p:spPr>
            <a:xfrm>
              <a:off x="6057900" y="3458528"/>
              <a:ext cx="38100" cy="47625"/>
            </a:xfrm>
            <a:custGeom>
              <a:avLst/>
              <a:gdLst>
                <a:gd name="connsiteX0" fmla="*/ 32385 w 38100"/>
                <a:gd name="connsiteY0" fmla="*/ 3810 h 47625"/>
                <a:gd name="connsiteX1" fmla="*/ 15240 w 38100"/>
                <a:gd name="connsiteY1" fmla="*/ 0 h 47625"/>
                <a:gd name="connsiteX2" fmla="*/ 7620 w 38100"/>
                <a:gd name="connsiteY2" fmla="*/ 0 h 47625"/>
                <a:gd name="connsiteX3" fmla="*/ 0 w 38100"/>
                <a:gd name="connsiteY3" fmla="*/ 953 h 47625"/>
                <a:gd name="connsiteX4" fmla="*/ 0 w 38100"/>
                <a:gd name="connsiteY4" fmla="*/ 51435 h 47625"/>
                <a:gd name="connsiteX5" fmla="*/ 9525 w 38100"/>
                <a:gd name="connsiteY5" fmla="*/ 51435 h 47625"/>
                <a:gd name="connsiteX6" fmla="*/ 9525 w 38100"/>
                <a:gd name="connsiteY6" fmla="*/ 33338 h 47625"/>
                <a:gd name="connsiteX7" fmla="*/ 14288 w 38100"/>
                <a:gd name="connsiteY7" fmla="*/ 33338 h 47625"/>
                <a:gd name="connsiteX8" fmla="*/ 23813 w 38100"/>
                <a:gd name="connsiteY8" fmla="*/ 32385 h 47625"/>
                <a:gd name="connsiteX9" fmla="*/ 31432 w 38100"/>
                <a:gd name="connsiteY9" fmla="*/ 29528 h 47625"/>
                <a:gd name="connsiteX10" fmla="*/ 36195 w 38100"/>
                <a:gd name="connsiteY10" fmla="*/ 24765 h 47625"/>
                <a:gd name="connsiteX11" fmla="*/ 38100 w 38100"/>
                <a:gd name="connsiteY11" fmla="*/ 17145 h 47625"/>
                <a:gd name="connsiteX12" fmla="*/ 32385 w 38100"/>
                <a:gd name="connsiteY12" fmla="*/ 3810 h 47625"/>
                <a:gd name="connsiteX13" fmla="*/ 25717 w 38100"/>
                <a:gd name="connsiteY13" fmla="*/ 22860 h 47625"/>
                <a:gd name="connsiteX14" fmla="*/ 15240 w 38100"/>
                <a:gd name="connsiteY14" fmla="*/ 24765 h 47625"/>
                <a:gd name="connsiteX15" fmla="*/ 10478 w 38100"/>
                <a:gd name="connsiteY15" fmla="*/ 24765 h 47625"/>
                <a:gd name="connsiteX16" fmla="*/ 10478 w 38100"/>
                <a:gd name="connsiteY16" fmla="*/ 7620 h 47625"/>
                <a:gd name="connsiteX17" fmla="*/ 16192 w 38100"/>
                <a:gd name="connsiteY17" fmla="*/ 7620 h 47625"/>
                <a:gd name="connsiteX18" fmla="*/ 20955 w 38100"/>
                <a:gd name="connsiteY18" fmla="*/ 7620 h 47625"/>
                <a:gd name="connsiteX19" fmla="*/ 24765 w 38100"/>
                <a:gd name="connsiteY19" fmla="*/ 8572 h 47625"/>
                <a:gd name="connsiteX20" fmla="*/ 27622 w 38100"/>
                <a:gd name="connsiteY20" fmla="*/ 11430 h 47625"/>
                <a:gd name="connsiteX21" fmla="*/ 28575 w 38100"/>
                <a:gd name="connsiteY21" fmla="*/ 15240 h 47625"/>
                <a:gd name="connsiteX22" fmla="*/ 25717 w 38100"/>
                <a:gd name="connsiteY22" fmla="*/ 2286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100" h="47625">
                  <a:moveTo>
                    <a:pt x="32385" y="3810"/>
                  </a:moveTo>
                  <a:cubicBezTo>
                    <a:pt x="28575" y="953"/>
                    <a:pt x="22860" y="0"/>
                    <a:pt x="15240" y="0"/>
                  </a:cubicBezTo>
                  <a:cubicBezTo>
                    <a:pt x="13335" y="0"/>
                    <a:pt x="10478" y="0"/>
                    <a:pt x="7620" y="0"/>
                  </a:cubicBezTo>
                  <a:cubicBezTo>
                    <a:pt x="4763" y="0"/>
                    <a:pt x="2858" y="953"/>
                    <a:pt x="0" y="953"/>
                  </a:cubicBezTo>
                  <a:lnTo>
                    <a:pt x="0" y="51435"/>
                  </a:lnTo>
                  <a:lnTo>
                    <a:pt x="9525" y="51435"/>
                  </a:lnTo>
                  <a:lnTo>
                    <a:pt x="9525" y="33338"/>
                  </a:lnTo>
                  <a:lnTo>
                    <a:pt x="14288" y="33338"/>
                  </a:lnTo>
                  <a:cubicBezTo>
                    <a:pt x="18097" y="33338"/>
                    <a:pt x="20955" y="33338"/>
                    <a:pt x="23813" y="32385"/>
                  </a:cubicBezTo>
                  <a:cubicBezTo>
                    <a:pt x="26670" y="31432"/>
                    <a:pt x="29528" y="30480"/>
                    <a:pt x="31432" y="29528"/>
                  </a:cubicBezTo>
                  <a:cubicBezTo>
                    <a:pt x="33338" y="28575"/>
                    <a:pt x="35243" y="26670"/>
                    <a:pt x="36195" y="24765"/>
                  </a:cubicBezTo>
                  <a:cubicBezTo>
                    <a:pt x="37147" y="22860"/>
                    <a:pt x="38100" y="20003"/>
                    <a:pt x="38100" y="17145"/>
                  </a:cubicBezTo>
                  <a:cubicBezTo>
                    <a:pt x="39053" y="10478"/>
                    <a:pt x="37147" y="6667"/>
                    <a:pt x="32385" y="3810"/>
                  </a:cubicBezTo>
                  <a:close/>
                  <a:moveTo>
                    <a:pt x="25717" y="22860"/>
                  </a:moveTo>
                  <a:cubicBezTo>
                    <a:pt x="22860" y="23813"/>
                    <a:pt x="20003" y="24765"/>
                    <a:pt x="15240" y="24765"/>
                  </a:cubicBezTo>
                  <a:lnTo>
                    <a:pt x="10478" y="24765"/>
                  </a:lnTo>
                  <a:lnTo>
                    <a:pt x="10478" y="7620"/>
                  </a:lnTo>
                  <a:cubicBezTo>
                    <a:pt x="12383" y="7620"/>
                    <a:pt x="14288" y="7620"/>
                    <a:pt x="16192" y="7620"/>
                  </a:cubicBezTo>
                  <a:cubicBezTo>
                    <a:pt x="18097" y="7620"/>
                    <a:pt x="20003" y="7620"/>
                    <a:pt x="20955" y="7620"/>
                  </a:cubicBezTo>
                  <a:cubicBezTo>
                    <a:pt x="22860" y="7620"/>
                    <a:pt x="23813" y="8572"/>
                    <a:pt x="24765" y="8572"/>
                  </a:cubicBezTo>
                  <a:cubicBezTo>
                    <a:pt x="25717" y="9525"/>
                    <a:pt x="26670" y="10478"/>
                    <a:pt x="27622" y="11430"/>
                  </a:cubicBezTo>
                  <a:cubicBezTo>
                    <a:pt x="28575" y="12382"/>
                    <a:pt x="28575" y="14288"/>
                    <a:pt x="28575" y="15240"/>
                  </a:cubicBezTo>
                  <a:cubicBezTo>
                    <a:pt x="28575" y="20003"/>
                    <a:pt x="27622" y="21907"/>
                    <a:pt x="25717" y="22860"/>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16" name="Freeform: Shape 5223">
              <a:extLst>
                <a:ext uri="{FF2B5EF4-FFF2-40B4-BE49-F238E27FC236}">
                  <a16:creationId xmlns:a16="http://schemas.microsoft.com/office/drawing/2014/main" id="{AF337312-02B5-50E7-952A-7F9A41E4B944}"/>
                </a:ext>
              </a:extLst>
            </p:cNvPr>
            <p:cNvSpPr/>
            <p:nvPr/>
          </p:nvSpPr>
          <p:spPr>
            <a:xfrm>
              <a:off x="6104572" y="3458528"/>
              <a:ext cx="28575" cy="47625"/>
            </a:xfrm>
            <a:custGeom>
              <a:avLst/>
              <a:gdLst>
                <a:gd name="connsiteX0" fmla="*/ 9525 w 28575"/>
                <a:gd name="connsiteY0" fmla="*/ 28575 h 47625"/>
                <a:gd name="connsiteX1" fmla="*/ 30480 w 28575"/>
                <a:gd name="connsiteY1" fmla="*/ 28575 h 47625"/>
                <a:gd name="connsiteX2" fmla="*/ 30480 w 28575"/>
                <a:gd name="connsiteY2" fmla="*/ 20955 h 47625"/>
                <a:gd name="connsiteX3" fmla="*/ 9525 w 28575"/>
                <a:gd name="connsiteY3" fmla="*/ 20955 h 47625"/>
                <a:gd name="connsiteX4" fmla="*/ 9525 w 28575"/>
                <a:gd name="connsiteY4" fmla="*/ 7620 h 47625"/>
                <a:gd name="connsiteX5" fmla="*/ 33338 w 28575"/>
                <a:gd name="connsiteY5" fmla="*/ 7620 h 47625"/>
                <a:gd name="connsiteX6" fmla="*/ 33338 w 28575"/>
                <a:gd name="connsiteY6" fmla="*/ 0 h 47625"/>
                <a:gd name="connsiteX7" fmla="*/ 0 w 28575"/>
                <a:gd name="connsiteY7" fmla="*/ 0 h 47625"/>
                <a:gd name="connsiteX8" fmla="*/ 0 w 28575"/>
                <a:gd name="connsiteY8" fmla="*/ 50482 h 47625"/>
                <a:gd name="connsiteX9" fmla="*/ 35243 w 28575"/>
                <a:gd name="connsiteY9" fmla="*/ 50482 h 47625"/>
                <a:gd name="connsiteX10" fmla="*/ 35243 w 28575"/>
                <a:gd name="connsiteY10" fmla="*/ 42863 h 47625"/>
                <a:gd name="connsiteX11" fmla="*/ 9525 w 28575"/>
                <a:gd name="connsiteY11" fmla="*/ 4286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9525" y="28575"/>
                  </a:moveTo>
                  <a:lnTo>
                    <a:pt x="30480" y="28575"/>
                  </a:lnTo>
                  <a:lnTo>
                    <a:pt x="30480" y="20955"/>
                  </a:lnTo>
                  <a:lnTo>
                    <a:pt x="9525" y="20955"/>
                  </a:lnTo>
                  <a:lnTo>
                    <a:pt x="9525" y="7620"/>
                  </a:lnTo>
                  <a:lnTo>
                    <a:pt x="33338" y="7620"/>
                  </a:lnTo>
                  <a:lnTo>
                    <a:pt x="33338" y="0"/>
                  </a:lnTo>
                  <a:lnTo>
                    <a:pt x="0" y="0"/>
                  </a:lnTo>
                  <a:lnTo>
                    <a:pt x="0" y="50482"/>
                  </a:lnTo>
                  <a:lnTo>
                    <a:pt x="35243" y="50482"/>
                  </a:lnTo>
                  <a:lnTo>
                    <a:pt x="35243" y="42863"/>
                  </a:lnTo>
                  <a:lnTo>
                    <a:pt x="9525" y="42863"/>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sp>
          <p:nvSpPr>
            <p:cNvPr id="17" name="Freeform: Shape 5224">
              <a:extLst>
                <a:ext uri="{FF2B5EF4-FFF2-40B4-BE49-F238E27FC236}">
                  <a16:creationId xmlns:a16="http://schemas.microsoft.com/office/drawing/2014/main" id="{977D9A77-D440-2B96-A3C6-A7587DBDEE37}"/>
                </a:ext>
              </a:extLst>
            </p:cNvPr>
            <p:cNvSpPr/>
            <p:nvPr/>
          </p:nvSpPr>
          <p:spPr>
            <a:xfrm>
              <a:off x="6147435" y="3458528"/>
              <a:ext cx="38100" cy="47625"/>
            </a:xfrm>
            <a:custGeom>
              <a:avLst/>
              <a:gdLst>
                <a:gd name="connsiteX0" fmla="*/ 33338 w 38100"/>
                <a:gd name="connsiteY0" fmla="*/ 34290 h 47625"/>
                <a:gd name="connsiteX1" fmla="*/ 27622 w 38100"/>
                <a:gd name="connsiteY1" fmla="*/ 25717 h 47625"/>
                <a:gd name="connsiteX2" fmla="*/ 20955 w 38100"/>
                <a:gd name="connsiteY2" fmla="*/ 16192 h 47625"/>
                <a:gd name="connsiteX3" fmla="*/ 14288 w 38100"/>
                <a:gd name="connsiteY3" fmla="*/ 7620 h 47625"/>
                <a:gd name="connsiteX4" fmla="*/ 7620 w 38100"/>
                <a:gd name="connsiteY4" fmla="*/ 0 h 47625"/>
                <a:gd name="connsiteX5" fmla="*/ 0 w 38100"/>
                <a:gd name="connsiteY5" fmla="*/ 0 h 47625"/>
                <a:gd name="connsiteX6" fmla="*/ 0 w 38100"/>
                <a:gd name="connsiteY6" fmla="*/ 50482 h 47625"/>
                <a:gd name="connsiteX7" fmla="*/ 9525 w 38100"/>
                <a:gd name="connsiteY7" fmla="*/ 50482 h 47625"/>
                <a:gd name="connsiteX8" fmla="*/ 9525 w 38100"/>
                <a:gd name="connsiteY8" fmla="*/ 14288 h 47625"/>
                <a:gd name="connsiteX9" fmla="*/ 16193 w 38100"/>
                <a:gd name="connsiteY9" fmla="*/ 22860 h 47625"/>
                <a:gd name="connsiteX10" fmla="*/ 22860 w 38100"/>
                <a:gd name="connsiteY10" fmla="*/ 32385 h 47625"/>
                <a:gd name="connsiteX11" fmla="*/ 29528 w 38100"/>
                <a:gd name="connsiteY11" fmla="*/ 41910 h 47625"/>
                <a:gd name="connsiteX12" fmla="*/ 35243 w 38100"/>
                <a:gd name="connsiteY12" fmla="*/ 50482 h 47625"/>
                <a:gd name="connsiteX13" fmla="*/ 42863 w 38100"/>
                <a:gd name="connsiteY13" fmla="*/ 50482 h 47625"/>
                <a:gd name="connsiteX14" fmla="*/ 42863 w 38100"/>
                <a:gd name="connsiteY14" fmla="*/ 0 h 47625"/>
                <a:gd name="connsiteX15" fmla="*/ 33338 w 38100"/>
                <a:gd name="connsiteY15" fmla="*/ 0 h 47625"/>
                <a:gd name="connsiteX16" fmla="*/ 33338 w 38100"/>
                <a:gd name="connsiteY16"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3338" y="34290"/>
                  </a:moveTo>
                  <a:cubicBezTo>
                    <a:pt x="31433" y="31432"/>
                    <a:pt x="29528" y="28575"/>
                    <a:pt x="27622" y="25717"/>
                  </a:cubicBezTo>
                  <a:cubicBezTo>
                    <a:pt x="25718" y="22860"/>
                    <a:pt x="22860" y="20003"/>
                    <a:pt x="20955" y="16192"/>
                  </a:cubicBezTo>
                  <a:cubicBezTo>
                    <a:pt x="19050" y="12382"/>
                    <a:pt x="16193" y="10478"/>
                    <a:pt x="14288" y="7620"/>
                  </a:cubicBezTo>
                  <a:cubicBezTo>
                    <a:pt x="12383" y="4763"/>
                    <a:pt x="9525" y="1905"/>
                    <a:pt x="7620" y="0"/>
                  </a:cubicBezTo>
                  <a:lnTo>
                    <a:pt x="0" y="0"/>
                  </a:lnTo>
                  <a:lnTo>
                    <a:pt x="0" y="50482"/>
                  </a:lnTo>
                  <a:lnTo>
                    <a:pt x="9525" y="50482"/>
                  </a:lnTo>
                  <a:lnTo>
                    <a:pt x="9525" y="14288"/>
                  </a:lnTo>
                  <a:cubicBezTo>
                    <a:pt x="11430" y="17145"/>
                    <a:pt x="13335" y="19050"/>
                    <a:pt x="16193" y="22860"/>
                  </a:cubicBezTo>
                  <a:cubicBezTo>
                    <a:pt x="18097" y="25717"/>
                    <a:pt x="20955" y="29528"/>
                    <a:pt x="22860" y="32385"/>
                  </a:cubicBezTo>
                  <a:cubicBezTo>
                    <a:pt x="24765" y="35242"/>
                    <a:pt x="27622" y="39053"/>
                    <a:pt x="29528" y="41910"/>
                  </a:cubicBezTo>
                  <a:cubicBezTo>
                    <a:pt x="31433" y="44767"/>
                    <a:pt x="33338" y="48578"/>
                    <a:pt x="35243" y="50482"/>
                  </a:cubicBezTo>
                  <a:lnTo>
                    <a:pt x="42863" y="50482"/>
                  </a:lnTo>
                  <a:lnTo>
                    <a:pt x="42863" y="0"/>
                  </a:lnTo>
                  <a:lnTo>
                    <a:pt x="33338" y="0"/>
                  </a:lnTo>
                  <a:lnTo>
                    <a:pt x="33338" y="34290"/>
                  </a:ln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de-DE"/>
            </a:p>
          </p:txBody>
        </p:sp>
      </p:grpSp>
    </p:spTree>
    <p:extLst>
      <p:ext uri="{BB962C8B-B14F-4D97-AF65-F5344CB8AC3E}">
        <p14:creationId xmlns:p14="http://schemas.microsoft.com/office/powerpoint/2010/main" val="16608214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320211"/>
            <a:ext cx="11356975" cy="2215991"/>
          </a:xfrm>
        </p:spPr>
        <p:txBody>
          <a:bodyPr/>
          <a:lstStyle/>
          <a:p>
            <a:r>
              <a:rPr lang="fr-FR"/>
              <a:t>La génération de certificats</a:t>
            </a:r>
          </a:p>
        </p:txBody>
      </p:sp>
    </p:spTree>
    <p:extLst>
      <p:ext uri="{BB962C8B-B14F-4D97-AF65-F5344CB8AC3E}">
        <p14:creationId xmlns:p14="http://schemas.microsoft.com/office/powerpoint/2010/main" val="39260605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A l’origine d’une PKI, une AC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pic>
        <p:nvPicPr>
          <p:cNvPr id="4" name="Graphique 3" descr="Clé avec un remplissage uni">
            <a:extLst>
              <a:ext uri="{FF2B5EF4-FFF2-40B4-BE49-F238E27FC236}">
                <a16:creationId xmlns:a16="http://schemas.microsoft.com/office/drawing/2014/main" id="{95376EF3-7FF3-8485-0D1C-5055EE86BE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4634" y="3277339"/>
            <a:ext cx="655004" cy="667225"/>
          </a:xfrm>
          <a:prstGeom prst="rect">
            <a:avLst/>
          </a:prstGeom>
          <a:effectLst>
            <a:outerShdw blurRad="50800" dist="38100" dir="2700000" algn="tl" rotWithShape="0">
              <a:prstClr val="black">
                <a:alpha val="40000"/>
              </a:prstClr>
            </a:outerShdw>
          </a:effectLst>
        </p:spPr>
      </p:pic>
      <p:pic>
        <p:nvPicPr>
          <p:cNvPr id="5" name="Graphique 4" descr="Clé avec un remplissage uni">
            <a:extLst>
              <a:ext uri="{FF2B5EF4-FFF2-40B4-BE49-F238E27FC236}">
                <a16:creationId xmlns:a16="http://schemas.microsoft.com/office/drawing/2014/main" id="{3972360C-1783-9FC3-14EC-6ECC11209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02316" y="2425333"/>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6E0615AD-3394-1420-30A3-9EC115C85F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63434" y="4129345"/>
            <a:ext cx="655004" cy="667225"/>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D0EA2A3A-ADFD-3364-AD70-E329E12EF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1979088"/>
            <a:ext cx="655004" cy="667225"/>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10E9F739-000D-3F77-FCD9-5C782671F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2835604"/>
            <a:ext cx="655004" cy="667225"/>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F1941E5B-E4A0-848B-0A21-05D5EDBDD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3692120"/>
            <a:ext cx="655004" cy="667225"/>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8C4F05EA-A3E7-9EC3-DBB9-AFA449961B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6494" y="4548635"/>
            <a:ext cx="655004" cy="667225"/>
          </a:xfrm>
          <a:prstGeom prst="rect">
            <a:avLst/>
          </a:prstGeom>
          <a:effectLst>
            <a:outerShdw blurRad="50800" dist="38100" dir="2700000" algn="tl" rotWithShape="0">
              <a:prstClr val="black">
                <a:alpha val="40000"/>
              </a:prstClr>
            </a:outerShdw>
          </a:effectLst>
        </p:spPr>
      </p:pic>
      <p:cxnSp>
        <p:nvCxnSpPr>
          <p:cNvPr id="14" name="Connecteur droit avec flèche 13">
            <a:extLst>
              <a:ext uri="{FF2B5EF4-FFF2-40B4-BE49-F238E27FC236}">
                <a16:creationId xmlns:a16="http://schemas.microsoft.com/office/drawing/2014/main" id="{EA5F0E3B-C305-288F-DA48-5045DF18ECB7}"/>
              </a:ext>
            </a:extLst>
          </p:cNvPr>
          <p:cNvCxnSpPr>
            <a:cxnSpLocks/>
            <a:stCxn id="4" idx="3"/>
            <a:endCxn id="5" idx="1"/>
          </p:cNvCxnSpPr>
          <p:nvPr/>
        </p:nvCxnSpPr>
        <p:spPr>
          <a:xfrm flipV="1">
            <a:off x="1089638" y="2758946"/>
            <a:ext cx="1112678"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6F7399EC-985B-AB86-7D04-518684B683B3}"/>
              </a:ext>
            </a:extLst>
          </p:cNvPr>
          <p:cNvCxnSpPr>
            <a:cxnSpLocks/>
            <a:stCxn id="4" idx="3"/>
            <a:endCxn id="6" idx="1"/>
          </p:cNvCxnSpPr>
          <p:nvPr/>
        </p:nvCxnSpPr>
        <p:spPr>
          <a:xfrm>
            <a:off x="1089638" y="3610952"/>
            <a:ext cx="1173796"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AFE72A28-A018-48F2-97E0-7BA603E0698D}"/>
              </a:ext>
            </a:extLst>
          </p:cNvPr>
          <p:cNvCxnSpPr>
            <a:cxnSpLocks/>
            <a:stCxn id="5" idx="3"/>
            <a:endCxn id="8" idx="1"/>
          </p:cNvCxnSpPr>
          <p:nvPr/>
        </p:nvCxnSpPr>
        <p:spPr>
          <a:xfrm flipV="1">
            <a:off x="2857320" y="2312701"/>
            <a:ext cx="1029174" cy="446245"/>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B3326C75-D50D-279E-E8AE-17840C1AE559}"/>
              </a:ext>
            </a:extLst>
          </p:cNvPr>
          <p:cNvCxnSpPr>
            <a:cxnSpLocks/>
            <a:stCxn id="5" idx="3"/>
            <a:endCxn id="9" idx="1"/>
          </p:cNvCxnSpPr>
          <p:nvPr/>
        </p:nvCxnSpPr>
        <p:spPr>
          <a:xfrm>
            <a:off x="2857320" y="2758946"/>
            <a:ext cx="1029174" cy="410271"/>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B2AB350F-155C-F2F4-20EB-D7A5FA5F4F4D}"/>
              </a:ext>
            </a:extLst>
          </p:cNvPr>
          <p:cNvCxnSpPr>
            <a:cxnSpLocks/>
            <a:stCxn id="6" idx="3"/>
          </p:cNvCxnSpPr>
          <p:nvPr/>
        </p:nvCxnSpPr>
        <p:spPr>
          <a:xfrm flipV="1">
            <a:off x="2918438" y="4025732"/>
            <a:ext cx="968056" cy="4372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7985BFEF-26CB-A8D6-0CB1-24C03A4C120C}"/>
              </a:ext>
            </a:extLst>
          </p:cNvPr>
          <p:cNvCxnSpPr>
            <a:cxnSpLocks/>
            <a:stCxn id="6" idx="3"/>
            <a:endCxn id="13" idx="1"/>
          </p:cNvCxnSpPr>
          <p:nvPr/>
        </p:nvCxnSpPr>
        <p:spPr>
          <a:xfrm>
            <a:off x="2918438" y="4462958"/>
            <a:ext cx="968056" cy="41929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 name="Graphique 100" descr="Clé avec un remplissage uni">
            <a:extLst>
              <a:ext uri="{FF2B5EF4-FFF2-40B4-BE49-F238E27FC236}">
                <a16:creationId xmlns:a16="http://schemas.microsoft.com/office/drawing/2014/main" id="{A620A819-CB9F-CEE5-0131-E43F7B45FC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73595" y="2683905"/>
            <a:ext cx="327762" cy="333877"/>
          </a:xfrm>
          <a:prstGeom prst="rect">
            <a:avLst/>
          </a:prstGeom>
          <a:effectLst>
            <a:outerShdw blurRad="50800" dist="38100" dir="2700000" algn="tl" rotWithShape="0">
              <a:prstClr val="black">
                <a:alpha val="40000"/>
              </a:prstClr>
            </a:outerShdw>
          </a:effectLst>
        </p:spPr>
      </p:pic>
      <p:pic>
        <p:nvPicPr>
          <p:cNvPr id="102" name="Graphique 101" descr="Clé avec un remplissage uni">
            <a:extLst>
              <a:ext uri="{FF2B5EF4-FFF2-40B4-BE49-F238E27FC236}">
                <a16:creationId xmlns:a16="http://schemas.microsoft.com/office/drawing/2014/main" id="{D4569BD3-4C5D-A508-96E5-1A392BCED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35649" y="4389316"/>
            <a:ext cx="327762" cy="333877"/>
          </a:xfrm>
          <a:prstGeom prst="rect">
            <a:avLst/>
          </a:prstGeom>
          <a:effectLst>
            <a:outerShdw blurRad="50800" dist="38100" dir="2700000" algn="tl" rotWithShape="0">
              <a:prstClr val="black">
                <a:alpha val="40000"/>
              </a:prstClr>
            </a:outerShdw>
          </a:effectLst>
        </p:spPr>
      </p:pic>
      <p:pic>
        <p:nvPicPr>
          <p:cNvPr id="104" name="Graphique 103" descr="Clé avec un remplissage uni">
            <a:extLst>
              <a:ext uri="{FF2B5EF4-FFF2-40B4-BE49-F238E27FC236}">
                <a16:creationId xmlns:a16="http://schemas.microsoft.com/office/drawing/2014/main" id="{F2AB8389-5025-EB46-D652-17F0D35D62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63290" y="4811685"/>
            <a:ext cx="327762" cy="333877"/>
          </a:xfrm>
          <a:prstGeom prst="rect">
            <a:avLst/>
          </a:prstGeom>
          <a:effectLst>
            <a:outerShdw blurRad="50800" dist="38100" dir="2700000" algn="tl" rotWithShape="0">
              <a:prstClr val="black">
                <a:alpha val="40000"/>
              </a:prstClr>
            </a:outerShdw>
          </a:effectLst>
        </p:spPr>
      </p:pic>
      <p:pic>
        <p:nvPicPr>
          <p:cNvPr id="105" name="Graphique 104" descr="Clé avec un remplissage uni">
            <a:extLst>
              <a:ext uri="{FF2B5EF4-FFF2-40B4-BE49-F238E27FC236}">
                <a16:creationId xmlns:a16="http://schemas.microsoft.com/office/drawing/2014/main" id="{CC75D13B-CE5C-150E-4CBF-6A233B707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63290" y="3953175"/>
            <a:ext cx="327762" cy="333877"/>
          </a:xfrm>
          <a:prstGeom prst="rect">
            <a:avLst/>
          </a:prstGeom>
          <a:effectLst>
            <a:outerShdw blurRad="50800" dist="38100" dir="2700000" algn="tl" rotWithShape="0">
              <a:prstClr val="black">
                <a:alpha val="40000"/>
              </a:prstClr>
            </a:outerShdw>
          </a:effectLst>
        </p:spPr>
      </p:pic>
      <p:pic>
        <p:nvPicPr>
          <p:cNvPr id="106" name="Graphique 105" descr="Clé avec un remplissage uni">
            <a:extLst>
              <a:ext uri="{FF2B5EF4-FFF2-40B4-BE49-F238E27FC236}">
                <a16:creationId xmlns:a16="http://schemas.microsoft.com/office/drawing/2014/main" id="{D4EEB1EC-3C31-763B-7697-DC1EE05AEA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63290" y="3096659"/>
            <a:ext cx="327762" cy="333877"/>
          </a:xfrm>
          <a:prstGeom prst="rect">
            <a:avLst/>
          </a:prstGeom>
          <a:effectLst>
            <a:outerShdw blurRad="50800" dist="38100" dir="2700000" algn="tl" rotWithShape="0">
              <a:prstClr val="black">
                <a:alpha val="40000"/>
              </a:prstClr>
            </a:outerShdw>
          </a:effectLst>
        </p:spPr>
      </p:pic>
      <p:pic>
        <p:nvPicPr>
          <p:cNvPr id="107" name="Graphique 106" descr="Clé avec un remplissage uni">
            <a:extLst>
              <a:ext uri="{FF2B5EF4-FFF2-40B4-BE49-F238E27FC236}">
                <a16:creationId xmlns:a16="http://schemas.microsoft.com/office/drawing/2014/main" id="{8A2CDE12-8922-51C2-A9B8-1698AE40D2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63290" y="2240143"/>
            <a:ext cx="327762" cy="333877"/>
          </a:xfrm>
          <a:prstGeom prst="rect">
            <a:avLst/>
          </a:prstGeom>
          <a:effectLst>
            <a:outerShdw blurRad="50800" dist="38100" dir="2700000" algn="tl" rotWithShape="0">
              <a:prstClr val="black">
                <a:alpha val="40000"/>
              </a:prstClr>
            </a:outerShdw>
          </a:effectLst>
        </p:spPr>
      </p:pic>
      <p:pic>
        <p:nvPicPr>
          <p:cNvPr id="108" name="Graphique 107" descr="Clé avec un remplissage uni">
            <a:extLst>
              <a:ext uri="{FF2B5EF4-FFF2-40B4-BE49-F238E27FC236}">
                <a16:creationId xmlns:a16="http://schemas.microsoft.com/office/drawing/2014/main" id="{D69414CC-6280-3D22-2443-56EBAC274D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0758" y="3536767"/>
            <a:ext cx="327762" cy="333877"/>
          </a:xfrm>
          <a:prstGeom prst="rect">
            <a:avLst/>
          </a:prstGeom>
          <a:effectLst>
            <a:outerShdw blurRad="50800" dist="38100" dir="2700000" algn="tl" rotWithShape="0">
              <a:prstClr val="black">
                <a:alpha val="40000"/>
              </a:prstClr>
            </a:outerShdw>
          </a:effectLst>
        </p:spPr>
      </p:pic>
      <p:sp>
        <p:nvSpPr>
          <p:cNvPr id="109" name="ZoneTexte 108">
            <a:extLst>
              <a:ext uri="{FF2B5EF4-FFF2-40B4-BE49-F238E27FC236}">
                <a16:creationId xmlns:a16="http://schemas.microsoft.com/office/drawing/2014/main" id="{4F788A86-EE4C-1A3F-2F15-71EBEB111371}"/>
              </a:ext>
            </a:extLst>
          </p:cNvPr>
          <p:cNvSpPr txBox="1"/>
          <p:nvPr/>
        </p:nvSpPr>
        <p:spPr>
          <a:xfrm>
            <a:off x="649845" y="3040483"/>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A</a:t>
            </a:r>
          </a:p>
        </p:txBody>
      </p:sp>
      <p:sp>
        <p:nvSpPr>
          <p:cNvPr id="111" name="ZoneTexte 110">
            <a:extLst>
              <a:ext uri="{FF2B5EF4-FFF2-40B4-BE49-F238E27FC236}">
                <a16:creationId xmlns:a16="http://schemas.microsoft.com/office/drawing/2014/main" id="{3F49A0BA-8806-FF9C-EC68-9AFCC8A1AB7E}"/>
              </a:ext>
            </a:extLst>
          </p:cNvPr>
          <p:cNvSpPr txBox="1"/>
          <p:nvPr/>
        </p:nvSpPr>
        <p:spPr>
          <a:xfrm>
            <a:off x="2473415" y="2163832"/>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B</a:t>
            </a:r>
          </a:p>
        </p:txBody>
      </p:sp>
      <p:sp>
        <p:nvSpPr>
          <p:cNvPr id="112" name="ZoneTexte 111">
            <a:extLst>
              <a:ext uri="{FF2B5EF4-FFF2-40B4-BE49-F238E27FC236}">
                <a16:creationId xmlns:a16="http://schemas.microsoft.com/office/drawing/2014/main" id="{8CA56812-BF81-A155-53C8-3C7E1DAFD25F}"/>
              </a:ext>
            </a:extLst>
          </p:cNvPr>
          <p:cNvSpPr txBox="1"/>
          <p:nvPr/>
        </p:nvSpPr>
        <p:spPr>
          <a:xfrm>
            <a:off x="2536533" y="394772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C</a:t>
            </a:r>
          </a:p>
        </p:txBody>
      </p:sp>
      <p:sp>
        <p:nvSpPr>
          <p:cNvPr id="113" name="ZoneTexte 112">
            <a:extLst>
              <a:ext uri="{FF2B5EF4-FFF2-40B4-BE49-F238E27FC236}">
                <a16:creationId xmlns:a16="http://schemas.microsoft.com/office/drawing/2014/main" id="{9F8A6A9C-6501-1CEA-0331-7CFEEE393CC2}"/>
              </a:ext>
            </a:extLst>
          </p:cNvPr>
          <p:cNvSpPr txBox="1"/>
          <p:nvPr/>
        </p:nvSpPr>
        <p:spPr>
          <a:xfrm>
            <a:off x="4092234" y="4252845"/>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E</a:t>
            </a:r>
          </a:p>
        </p:txBody>
      </p:sp>
      <p:sp>
        <p:nvSpPr>
          <p:cNvPr id="114" name="ZoneTexte 113">
            <a:extLst>
              <a:ext uri="{FF2B5EF4-FFF2-40B4-BE49-F238E27FC236}">
                <a16:creationId xmlns:a16="http://schemas.microsoft.com/office/drawing/2014/main" id="{0D1ABF01-7DF2-BFA2-D783-9BFA6A396EF9}"/>
              </a:ext>
            </a:extLst>
          </p:cNvPr>
          <p:cNvSpPr txBox="1"/>
          <p:nvPr/>
        </p:nvSpPr>
        <p:spPr>
          <a:xfrm>
            <a:off x="4115103" y="2523442"/>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D</a:t>
            </a:r>
          </a:p>
        </p:txBody>
      </p:sp>
      <p:sp>
        <p:nvSpPr>
          <p:cNvPr id="115" name="Espace réservé du texte 4">
            <a:extLst>
              <a:ext uri="{FF2B5EF4-FFF2-40B4-BE49-F238E27FC236}">
                <a16:creationId xmlns:a16="http://schemas.microsoft.com/office/drawing/2014/main" id="{7B65198E-BBD9-5032-13C2-1AA4C80C1A5F}"/>
              </a:ext>
            </a:extLst>
          </p:cNvPr>
          <p:cNvSpPr txBox="1">
            <a:spLocks/>
          </p:cNvSpPr>
          <p:nvPr/>
        </p:nvSpPr>
        <p:spPr>
          <a:xfrm>
            <a:off x="5509553" y="1421160"/>
            <a:ext cx="6423367"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t>L’AC </a:t>
            </a:r>
            <a:r>
              <a:rPr lang="fr-FR" sz="1600" b="1">
                <a:solidFill>
                  <a:srgbClr val="FF8E12"/>
                </a:solidFill>
              </a:rPr>
              <a:t>A</a:t>
            </a:r>
            <a:r>
              <a:rPr lang="fr-FR" sz="1600" b="1"/>
              <a:t> est une AC Racine</a:t>
            </a:r>
          </a:p>
          <a:p>
            <a:pPr marL="466725" lvl="1" indent="-285750">
              <a:buFont typeface="Arial" panose="020B0604020202020204" pitchFamily="34" charset="0"/>
              <a:buChar char="•"/>
            </a:pPr>
            <a:r>
              <a:rPr lang="fr-FR" sz="1600"/>
              <a:t>Elle est créée et signée par elle-même (Self-</a:t>
            </a:r>
            <a:r>
              <a:rPr lang="fr-FR" sz="1600" err="1"/>
              <a:t>Signed</a:t>
            </a:r>
            <a:r>
              <a:rPr lang="fr-FR" sz="1600"/>
              <a:t>)</a:t>
            </a:r>
          </a:p>
          <a:p>
            <a:pPr marL="466725" lvl="1" indent="-285750">
              <a:buFont typeface="Arial" panose="020B0604020202020204" pitchFamily="34" charset="0"/>
              <a:buChar char="•"/>
            </a:pPr>
            <a:r>
              <a:rPr lang="fr-FR" sz="1600"/>
              <a:t>Elle est utilisée pour générer des AC intermédiaires</a:t>
            </a:r>
          </a:p>
          <a:p>
            <a:pPr marL="466725" lvl="1" indent="-285750">
              <a:buFont typeface="Arial" panose="020B0604020202020204" pitchFamily="34" charset="0"/>
              <a:buChar char="•"/>
            </a:pPr>
            <a:endParaRPr lang="fr-FR" sz="1600" b="1"/>
          </a:p>
          <a:p>
            <a:r>
              <a:rPr lang="fr-FR" sz="1600" b="1"/>
              <a:t>Les AC </a:t>
            </a:r>
            <a:r>
              <a:rPr lang="fr-FR" sz="1600" b="1">
                <a:solidFill>
                  <a:srgbClr val="00B050"/>
                </a:solidFill>
              </a:rPr>
              <a:t>B</a:t>
            </a:r>
            <a:r>
              <a:rPr lang="fr-FR" sz="1600" b="1"/>
              <a:t> et </a:t>
            </a:r>
            <a:r>
              <a:rPr lang="fr-FR" sz="1600" b="1">
                <a:solidFill>
                  <a:srgbClr val="FF0000"/>
                </a:solidFill>
              </a:rPr>
              <a:t>C</a:t>
            </a:r>
            <a:r>
              <a:rPr lang="fr-FR" sz="1600" b="1"/>
              <a:t> sont des AC intermédiaires</a:t>
            </a:r>
          </a:p>
          <a:p>
            <a:pPr marL="466725" lvl="1" indent="-285750">
              <a:buFont typeface="Arial" panose="020B0604020202020204" pitchFamily="34" charset="0"/>
              <a:buChar char="•"/>
            </a:pPr>
            <a:r>
              <a:rPr lang="fr-FR" sz="1600"/>
              <a:t>Elles sont signées par l’AC Racine </a:t>
            </a:r>
            <a:r>
              <a:rPr lang="fr-FR" sz="1600">
                <a:solidFill>
                  <a:srgbClr val="FF8E12"/>
                </a:solidFill>
              </a:rPr>
              <a:t>A</a:t>
            </a:r>
          </a:p>
          <a:p>
            <a:pPr marL="466725" lvl="1" indent="-285750">
              <a:buFont typeface="Arial" panose="020B0604020202020204" pitchFamily="34" charset="0"/>
              <a:buChar char="•"/>
            </a:pPr>
            <a:r>
              <a:rPr lang="fr-FR" sz="1600"/>
              <a:t>Elles peuvent être utilisées pour générer des nouvelles AC intermédiaires, ou des certificats client / serveur</a:t>
            </a:r>
          </a:p>
          <a:p>
            <a:pPr marL="466725" lvl="1" indent="-285750">
              <a:buFont typeface="Arial" panose="020B0604020202020204" pitchFamily="34" charset="0"/>
              <a:buChar char="•"/>
            </a:pPr>
            <a:endParaRPr lang="fr-FR" sz="1600"/>
          </a:p>
          <a:p>
            <a:r>
              <a:rPr lang="fr-FR" sz="1600" b="1"/>
              <a:t>Les certificats </a:t>
            </a:r>
            <a:r>
              <a:rPr lang="fr-FR" sz="1600" b="1">
                <a:solidFill>
                  <a:schemeClr val="accent2"/>
                </a:solidFill>
              </a:rPr>
              <a:t>D</a:t>
            </a:r>
            <a:r>
              <a:rPr lang="fr-FR" sz="1600" b="1"/>
              <a:t> sont signés par l’AC </a:t>
            </a:r>
            <a:r>
              <a:rPr lang="fr-FR" sz="1600" b="1">
                <a:solidFill>
                  <a:srgbClr val="00B050"/>
                </a:solidFill>
              </a:rPr>
              <a:t>B</a:t>
            </a:r>
          </a:p>
          <a:p>
            <a:r>
              <a:rPr lang="fr-FR" sz="1600" b="1"/>
              <a:t>Les certificats </a:t>
            </a:r>
            <a:r>
              <a:rPr lang="fr-FR" sz="1600" b="1">
                <a:solidFill>
                  <a:schemeClr val="accent2"/>
                </a:solidFill>
              </a:rPr>
              <a:t>E</a:t>
            </a:r>
            <a:r>
              <a:rPr lang="fr-FR" sz="1600" b="1"/>
              <a:t> sont signés par l’AC </a:t>
            </a:r>
            <a:r>
              <a:rPr lang="fr-FR" sz="1600" b="1">
                <a:solidFill>
                  <a:srgbClr val="FF0000"/>
                </a:solidFill>
              </a:rPr>
              <a:t>C</a:t>
            </a:r>
          </a:p>
          <a:p>
            <a:pPr marL="466725" lvl="1" indent="-285750">
              <a:buFont typeface="Arial" panose="020B0604020202020204" pitchFamily="34" charset="0"/>
              <a:buChar char="•"/>
            </a:pPr>
            <a:endParaRPr lang="fr-FR" sz="1600"/>
          </a:p>
          <a:p>
            <a:r>
              <a:rPr lang="fr-FR" sz="1600" b="1"/>
              <a:t>L’ensemble correspond à une </a:t>
            </a:r>
            <a:r>
              <a:rPr lang="fr-FR" sz="1600" b="1">
                <a:solidFill>
                  <a:srgbClr val="FFC000"/>
                </a:solidFill>
              </a:rPr>
              <a:t>PKI : Public Key Infrastructure</a:t>
            </a:r>
          </a:p>
          <a:p>
            <a:r>
              <a:rPr lang="fr-FR" sz="1600" b="1"/>
              <a:t>La topologie peut varier, il n’y a pas de standard défini (mais on préfère généralement 3 étages)</a:t>
            </a:r>
          </a:p>
          <a:p>
            <a:endParaRPr lang="fr-FR" sz="1600"/>
          </a:p>
        </p:txBody>
      </p:sp>
    </p:spTree>
    <p:extLst>
      <p:ext uri="{BB962C8B-B14F-4D97-AF65-F5344CB8AC3E}">
        <p14:creationId xmlns:p14="http://schemas.microsoft.com/office/powerpoint/2010/main" val="22315039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Revenons à Alice et Bob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pic>
        <p:nvPicPr>
          <p:cNvPr id="4" name="Graphique 3" descr="Clé avec un remplissage uni">
            <a:extLst>
              <a:ext uri="{FF2B5EF4-FFF2-40B4-BE49-F238E27FC236}">
                <a16:creationId xmlns:a16="http://schemas.microsoft.com/office/drawing/2014/main" id="{95376EF3-7FF3-8485-0D1C-5055EE86BE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7399" y="4043205"/>
            <a:ext cx="655004" cy="667225"/>
          </a:xfrm>
          <a:prstGeom prst="rect">
            <a:avLst/>
          </a:prstGeom>
          <a:effectLst>
            <a:outerShdw blurRad="50800" dist="38100" dir="2700000" algn="tl" rotWithShape="0">
              <a:prstClr val="black">
                <a:alpha val="40000"/>
              </a:prstClr>
            </a:outerShdw>
          </a:effectLst>
        </p:spPr>
      </p:pic>
      <p:pic>
        <p:nvPicPr>
          <p:cNvPr id="5" name="Graphique 4" descr="Clé avec un remplissage uni">
            <a:extLst>
              <a:ext uri="{FF2B5EF4-FFF2-40B4-BE49-F238E27FC236}">
                <a16:creationId xmlns:a16="http://schemas.microsoft.com/office/drawing/2014/main" id="{3972360C-1783-9FC3-14EC-6ECC11209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95081" y="3191199"/>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6E0615AD-3394-1420-30A3-9EC115C85F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6199" y="4895211"/>
            <a:ext cx="655004" cy="667225"/>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D0EA2A3A-ADFD-3364-AD70-E329E12EF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2744954"/>
            <a:ext cx="655004" cy="667225"/>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10E9F739-000D-3F77-FCD9-5C782671F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3601470"/>
            <a:ext cx="655004" cy="667225"/>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F1941E5B-E4A0-848B-0A21-05D5EDBDD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4457986"/>
            <a:ext cx="655004" cy="667225"/>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8C4F05EA-A3E7-9EC3-DBB9-AFA449961B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5314501"/>
            <a:ext cx="655004" cy="667225"/>
          </a:xfrm>
          <a:prstGeom prst="rect">
            <a:avLst/>
          </a:prstGeom>
          <a:effectLst>
            <a:outerShdw blurRad="50800" dist="38100" dir="2700000" algn="tl" rotWithShape="0">
              <a:prstClr val="black">
                <a:alpha val="40000"/>
              </a:prstClr>
            </a:outerShdw>
          </a:effectLst>
        </p:spPr>
      </p:pic>
      <p:cxnSp>
        <p:nvCxnSpPr>
          <p:cNvPr id="14" name="Connecteur droit avec flèche 13">
            <a:extLst>
              <a:ext uri="{FF2B5EF4-FFF2-40B4-BE49-F238E27FC236}">
                <a16:creationId xmlns:a16="http://schemas.microsoft.com/office/drawing/2014/main" id="{EA5F0E3B-C305-288F-DA48-5045DF18ECB7}"/>
              </a:ext>
            </a:extLst>
          </p:cNvPr>
          <p:cNvCxnSpPr>
            <a:cxnSpLocks/>
            <a:stCxn id="4" idx="3"/>
            <a:endCxn id="5" idx="1"/>
          </p:cNvCxnSpPr>
          <p:nvPr/>
        </p:nvCxnSpPr>
        <p:spPr>
          <a:xfrm flipV="1">
            <a:off x="1182403" y="3524812"/>
            <a:ext cx="1112678"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6F7399EC-985B-AB86-7D04-518684B683B3}"/>
              </a:ext>
            </a:extLst>
          </p:cNvPr>
          <p:cNvCxnSpPr>
            <a:cxnSpLocks/>
            <a:stCxn id="4" idx="3"/>
            <a:endCxn id="6" idx="1"/>
          </p:cNvCxnSpPr>
          <p:nvPr/>
        </p:nvCxnSpPr>
        <p:spPr>
          <a:xfrm>
            <a:off x="1182403" y="4376818"/>
            <a:ext cx="1173796"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AFE72A28-A018-48F2-97E0-7BA603E0698D}"/>
              </a:ext>
            </a:extLst>
          </p:cNvPr>
          <p:cNvCxnSpPr>
            <a:cxnSpLocks/>
            <a:stCxn id="5" idx="3"/>
            <a:endCxn id="8" idx="1"/>
          </p:cNvCxnSpPr>
          <p:nvPr/>
        </p:nvCxnSpPr>
        <p:spPr>
          <a:xfrm flipV="1">
            <a:off x="2950085" y="3078567"/>
            <a:ext cx="1029174" cy="446245"/>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B3326C75-D50D-279E-E8AE-17840C1AE559}"/>
              </a:ext>
            </a:extLst>
          </p:cNvPr>
          <p:cNvCxnSpPr>
            <a:cxnSpLocks/>
            <a:stCxn id="5" idx="3"/>
            <a:endCxn id="9" idx="1"/>
          </p:cNvCxnSpPr>
          <p:nvPr/>
        </p:nvCxnSpPr>
        <p:spPr>
          <a:xfrm>
            <a:off x="2950085" y="3524812"/>
            <a:ext cx="1029174" cy="410271"/>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B2AB350F-155C-F2F4-20EB-D7A5FA5F4F4D}"/>
              </a:ext>
            </a:extLst>
          </p:cNvPr>
          <p:cNvCxnSpPr>
            <a:cxnSpLocks/>
            <a:stCxn id="6" idx="3"/>
          </p:cNvCxnSpPr>
          <p:nvPr/>
        </p:nvCxnSpPr>
        <p:spPr>
          <a:xfrm flipV="1">
            <a:off x="3011203" y="4791598"/>
            <a:ext cx="968056" cy="4372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7985BFEF-26CB-A8D6-0CB1-24C03A4C120C}"/>
              </a:ext>
            </a:extLst>
          </p:cNvPr>
          <p:cNvCxnSpPr>
            <a:cxnSpLocks/>
            <a:stCxn id="6" idx="3"/>
            <a:endCxn id="13" idx="1"/>
          </p:cNvCxnSpPr>
          <p:nvPr/>
        </p:nvCxnSpPr>
        <p:spPr>
          <a:xfrm>
            <a:off x="3011203" y="5228824"/>
            <a:ext cx="968056" cy="41929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 name="Graphique 100" descr="Clé avec un remplissage uni">
            <a:extLst>
              <a:ext uri="{FF2B5EF4-FFF2-40B4-BE49-F238E27FC236}">
                <a16:creationId xmlns:a16="http://schemas.microsoft.com/office/drawing/2014/main" id="{A620A819-CB9F-CEE5-0131-E43F7B45FC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66360" y="3449771"/>
            <a:ext cx="327762" cy="333877"/>
          </a:xfrm>
          <a:prstGeom prst="rect">
            <a:avLst/>
          </a:prstGeom>
          <a:effectLst>
            <a:outerShdw blurRad="50800" dist="38100" dir="2700000" algn="tl" rotWithShape="0">
              <a:prstClr val="black">
                <a:alpha val="40000"/>
              </a:prstClr>
            </a:outerShdw>
          </a:effectLst>
        </p:spPr>
      </p:pic>
      <p:pic>
        <p:nvPicPr>
          <p:cNvPr id="102" name="Graphique 101" descr="Clé avec un remplissage uni">
            <a:extLst>
              <a:ext uri="{FF2B5EF4-FFF2-40B4-BE49-F238E27FC236}">
                <a16:creationId xmlns:a16="http://schemas.microsoft.com/office/drawing/2014/main" id="{D4569BD3-4C5D-A508-96E5-1A392BCED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28414" y="5155182"/>
            <a:ext cx="327762" cy="333877"/>
          </a:xfrm>
          <a:prstGeom prst="rect">
            <a:avLst/>
          </a:prstGeom>
          <a:effectLst>
            <a:outerShdw blurRad="50800" dist="38100" dir="2700000" algn="tl" rotWithShape="0">
              <a:prstClr val="black">
                <a:alpha val="40000"/>
              </a:prstClr>
            </a:outerShdw>
          </a:effectLst>
        </p:spPr>
      </p:pic>
      <p:pic>
        <p:nvPicPr>
          <p:cNvPr id="104" name="Graphique 103" descr="Clé avec un remplissage uni">
            <a:extLst>
              <a:ext uri="{FF2B5EF4-FFF2-40B4-BE49-F238E27FC236}">
                <a16:creationId xmlns:a16="http://schemas.microsoft.com/office/drawing/2014/main" id="{F2AB8389-5025-EB46-D652-17F0D35D62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5577551"/>
            <a:ext cx="327762" cy="333877"/>
          </a:xfrm>
          <a:prstGeom prst="rect">
            <a:avLst/>
          </a:prstGeom>
          <a:effectLst>
            <a:outerShdw blurRad="50800" dist="38100" dir="2700000" algn="tl" rotWithShape="0">
              <a:prstClr val="black">
                <a:alpha val="40000"/>
              </a:prstClr>
            </a:outerShdw>
          </a:effectLst>
        </p:spPr>
      </p:pic>
      <p:pic>
        <p:nvPicPr>
          <p:cNvPr id="105" name="Graphique 104" descr="Clé avec un remplissage uni">
            <a:extLst>
              <a:ext uri="{FF2B5EF4-FFF2-40B4-BE49-F238E27FC236}">
                <a16:creationId xmlns:a16="http://schemas.microsoft.com/office/drawing/2014/main" id="{CC75D13B-CE5C-150E-4CBF-6A233B707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4719041"/>
            <a:ext cx="327762" cy="333877"/>
          </a:xfrm>
          <a:prstGeom prst="rect">
            <a:avLst/>
          </a:prstGeom>
          <a:effectLst>
            <a:outerShdw blurRad="50800" dist="38100" dir="2700000" algn="tl" rotWithShape="0">
              <a:prstClr val="black">
                <a:alpha val="40000"/>
              </a:prstClr>
            </a:outerShdw>
          </a:effectLst>
        </p:spPr>
      </p:pic>
      <p:pic>
        <p:nvPicPr>
          <p:cNvPr id="106" name="Graphique 105" descr="Clé avec un remplissage uni">
            <a:extLst>
              <a:ext uri="{FF2B5EF4-FFF2-40B4-BE49-F238E27FC236}">
                <a16:creationId xmlns:a16="http://schemas.microsoft.com/office/drawing/2014/main" id="{D4EEB1EC-3C31-763B-7697-DC1EE05AEA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862525"/>
            <a:ext cx="327762" cy="333877"/>
          </a:xfrm>
          <a:prstGeom prst="rect">
            <a:avLst/>
          </a:prstGeom>
          <a:effectLst>
            <a:outerShdw blurRad="50800" dist="38100" dir="2700000" algn="tl" rotWithShape="0">
              <a:prstClr val="black">
                <a:alpha val="40000"/>
              </a:prstClr>
            </a:outerShdw>
          </a:effectLst>
        </p:spPr>
      </p:pic>
      <p:pic>
        <p:nvPicPr>
          <p:cNvPr id="107" name="Graphique 106" descr="Clé avec un remplissage uni">
            <a:extLst>
              <a:ext uri="{FF2B5EF4-FFF2-40B4-BE49-F238E27FC236}">
                <a16:creationId xmlns:a16="http://schemas.microsoft.com/office/drawing/2014/main" id="{8A2CDE12-8922-51C2-A9B8-1698AE40D2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006009"/>
            <a:ext cx="327762" cy="333877"/>
          </a:xfrm>
          <a:prstGeom prst="rect">
            <a:avLst/>
          </a:prstGeom>
          <a:effectLst>
            <a:outerShdw blurRad="50800" dist="38100" dir="2700000" algn="tl" rotWithShape="0">
              <a:prstClr val="black">
                <a:alpha val="40000"/>
              </a:prstClr>
            </a:outerShdw>
          </a:effectLst>
        </p:spPr>
      </p:pic>
      <p:pic>
        <p:nvPicPr>
          <p:cNvPr id="108" name="Graphique 107" descr="Clé avec un remplissage uni">
            <a:extLst>
              <a:ext uri="{FF2B5EF4-FFF2-40B4-BE49-F238E27FC236}">
                <a16:creationId xmlns:a16="http://schemas.microsoft.com/office/drawing/2014/main" id="{D69414CC-6280-3D22-2443-56EBAC274D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3523" y="4302633"/>
            <a:ext cx="327762" cy="333877"/>
          </a:xfrm>
          <a:prstGeom prst="rect">
            <a:avLst/>
          </a:prstGeom>
          <a:effectLst>
            <a:outerShdw blurRad="50800" dist="38100" dir="2700000" algn="tl" rotWithShape="0">
              <a:prstClr val="black">
                <a:alpha val="40000"/>
              </a:prstClr>
            </a:outerShdw>
          </a:effectLst>
        </p:spPr>
      </p:pic>
      <p:sp>
        <p:nvSpPr>
          <p:cNvPr id="109" name="ZoneTexte 108">
            <a:extLst>
              <a:ext uri="{FF2B5EF4-FFF2-40B4-BE49-F238E27FC236}">
                <a16:creationId xmlns:a16="http://schemas.microsoft.com/office/drawing/2014/main" id="{4F788A86-EE4C-1A3F-2F15-71EBEB111371}"/>
              </a:ext>
            </a:extLst>
          </p:cNvPr>
          <p:cNvSpPr txBox="1"/>
          <p:nvPr/>
        </p:nvSpPr>
        <p:spPr>
          <a:xfrm>
            <a:off x="742610" y="3806349"/>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A</a:t>
            </a:r>
          </a:p>
        </p:txBody>
      </p:sp>
      <p:sp>
        <p:nvSpPr>
          <p:cNvPr id="111" name="ZoneTexte 110">
            <a:extLst>
              <a:ext uri="{FF2B5EF4-FFF2-40B4-BE49-F238E27FC236}">
                <a16:creationId xmlns:a16="http://schemas.microsoft.com/office/drawing/2014/main" id="{3F49A0BA-8806-FF9C-EC68-9AFCC8A1AB7E}"/>
              </a:ext>
            </a:extLst>
          </p:cNvPr>
          <p:cNvSpPr txBox="1"/>
          <p:nvPr/>
        </p:nvSpPr>
        <p:spPr>
          <a:xfrm>
            <a:off x="2566180" y="292969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B</a:t>
            </a:r>
          </a:p>
        </p:txBody>
      </p:sp>
      <p:sp>
        <p:nvSpPr>
          <p:cNvPr id="112" name="ZoneTexte 111">
            <a:extLst>
              <a:ext uri="{FF2B5EF4-FFF2-40B4-BE49-F238E27FC236}">
                <a16:creationId xmlns:a16="http://schemas.microsoft.com/office/drawing/2014/main" id="{8CA56812-BF81-A155-53C8-3C7E1DAFD25F}"/>
              </a:ext>
            </a:extLst>
          </p:cNvPr>
          <p:cNvSpPr txBox="1"/>
          <p:nvPr/>
        </p:nvSpPr>
        <p:spPr>
          <a:xfrm>
            <a:off x="2629298" y="4713594"/>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C</a:t>
            </a:r>
          </a:p>
        </p:txBody>
      </p:sp>
      <p:sp>
        <p:nvSpPr>
          <p:cNvPr id="113" name="ZoneTexte 112">
            <a:extLst>
              <a:ext uri="{FF2B5EF4-FFF2-40B4-BE49-F238E27FC236}">
                <a16:creationId xmlns:a16="http://schemas.microsoft.com/office/drawing/2014/main" id="{9F8A6A9C-6501-1CEA-0331-7CFEEE393CC2}"/>
              </a:ext>
            </a:extLst>
          </p:cNvPr>
          <p:cNvSpPr txBox="1"/>
          <p:nvPr/>
        </p:nvSpPr>
        <p:spPr>
          <a:xfrm>
            <a:off x="4184999" y="5018711"/>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E</a:t>
            </a:r>
          </a:p>
        </p:txBody>
      </p:sp>
      <p:sp>
        <p:nvSpPr>
          <p:cNvPr id="114" name="ZoneTexte 113">
            <a:extLst>
              <a:ext uri="{FF2B5EF4-FFF2-40B4-BE49-F238E27FC236}">
                <a16:creationId xmlns:a16="http://schemas.microsoft.com/office/drawing/2014/main" id="{0D1ABF01-7DF2-BFA2-D783-9BFA6A396EF9}"/>
              </a:ext>
            </a:extLst>
          </p:cNvPr>
          <p:cNvSpPr txBox="1"/>
          <p:nvPr/>
        </p:nvSpPr>
        <p:spPr>
          <a:xfrm>
            <a:off x="4207868" y="328930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D</a:t>
            </a:r>
          </a:p>
        </p:txBody>
      </p:sp>
      <p:pic>
        <p:nvPicPr>
          <p:cNvPr id="2" name="Graphique 1" descr="Profil femelle avec un remplissage uni">
            <a:extLst>
              <a:ext uri="{FF2B5EF4-FFF2-40B4-BE49-F238E27FC236}">
                <a16:creationId xmlns:a16="http://schemas.microsoft.com/office/drawing/2014/main" id="{FAB2F430-7340-DAF7-1FDF-2A4798D0DEF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99063" y="1629270"/>
            <a:ext cx="596523" cy="596523"/>
          </a:xfrm>
          <a:prstGeom prst="rect">
            <a:avLst/>
          </a:prstGeom>
          <a:effectLst>
            <a:outerShdw blurRad="50800" dist="38100" dir="2700000" algn="tl" rotWithShape="0">
              <a:prstClr val="black">
                <a:alpha val="40000"/>
              </a:prstClr>
            </a:outerShdw>
          </a:effectLst>
        </p:spPr>
      </p:pic>
      <p:pic>
        <p:nvPicPr>
          <p:cNvPr id="7" name="Graphique 6" descr="Profil mâle avec un remplissage uni">
            <a:extLst>
              <a:ext uri="{FF2B5EF4-FFF2-40B4-BE49-F238E27FC236}">
                <a16:creationId xmlns:a16="http://schemas.microsoft.com/office/drawing/2014/main" id="{A8B0156D-312A-7442-3562-D5F0FAFEC93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36890" y="1629270"/>
            <a:ext cx="596523" cy="596523"/>
          </a:xfrm>
          <a:prstGeom prst="rect">
            <a:avLst/>
          </a:prstGeom>
          <a:effectLst>
            <a:outerShdw blurRad="50800" dist="38100" dir="2700000" algn="tl" rotWithShape="0">
              <a:prstClr val="black">
                <a:alpha val="40000"/>
              </a:prstClr>
            </a:outerShdw>
          </a:effectLst>
        </p:spPr>
      </p:pic>
      <p:cxnSp>
        <p:nvCxnSpPr>
          <p:cNvPr id="10" name="Connecteur droit avec flèche 9">
            <a:extLst>
              <a:ext uri="{FF2B5EF4-FFF2-40B4-BE49-F238E27FC236}">
                <a16:creationId xmlns:a16="http://schemas.microsoft.com/office/drawing/2014/main" id="{94099ECB-5151-90EC-52AC-8D95C5FAABB4}"/>
              </a:ext>
            </a:extLst>
          </p:cNvPr>
          <p:cNvCxnSpPr>
            <a:cxnSpLocks/>
            <a:stCxn id="2" idx="3"/>
            <a:endCxn id="7" idx="1"/>
          </p:cNvCxnSpPr>
          <p:nvPr/>
        </p:nvCxnSpPr>
        <p:spPr>
          <a:xfrm>
            <a:off x="1595586" y="1927532"/>
            <a:ext cx="1941304"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B7838713-E15B-B6FA-8A29-B7A6AE78D8FB}"/>
              </a:ext>
            </a:extLst>
          </p:cNvPr>
          <p:cNvSpPr txBox="1"/>
          <p:nvPr/>
        </p:nvSpPr>
        <p:spPr>
          <a:xfrm>
            <a:off x="3430197" y="1366168"/>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6" name="ZoneTexte 15">
            <a:extLst>
              <a:ext uri="{FF2B5EF4-FFF2-40B4-BE49-F238E27FC236}">
                <a16:creationId xmlns:a16="http://schemas.microsoft.com/office/drawing/2014/main" id="{05831492-44CB-0919-D6C1-84387E7012CC}"/>
              </a:ext>
            </a:extLst>
          </p:cNvPr>
          <p:cNvSpPr txBox="1"/>
          <p:nvPr/>
        </p:nvSpPr>
        <p:spPr>
          <a:xfrm>
            <a:off x="796254" y="136616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17" name="Espace réservé du texte 4">
            <a:extLst>
              <a:ext uri="{FF2B5EF4-FFF2-40B4-BE49-F238E27FC236}">
                <a16:creationId xmlns:a16="http://schemas.microsoft.com/office/drawing/2014/main" id="{D02C9E30-BE4F-EF63-7F95-E797B208D6B8}"/>
              </a:ext>
            </a:extLst>
          </p:cNvPr>
          <p:cNvSpPr txBox="1">
            <a:spLocks/>
          </p:cNvSpPr>
          <p:nvPr/>
        </p:nvSpPr>
        <p:spPr>
          <a:xfrm>
            <a:off x="5082419" y="1074856"/>
            <a:ext cx="6733647" cy="53640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t>Alice cherche à établir une connexion sécurisée avec Bob, et doit donc vérifier le certificat que Bob retourne.</a:t>
            </a:r>
          </a:p>
          <a:p>
            <a:endParaRPr lang="fr-FR" sz="1600"/>
          </a:p>
          <a:p>
            <a:r>
              <a:rPr lang="fr-FR" sz="1600" i="1"/>
              <a:t>Est-ce qu’Alice devrait faire confiance au certificat présenté par Bob, dans ces différentes situations ?</a:t>
            </a:r>
          </a:p>
          <a:p>
            <a:endParaRPr lang="fr-FR" sz="1600"/>
          </a:p>
          <a:p>
            <a:pPr marL="285750" indent="-285750">
              <a:buFont typeface="Arial" panose="020B0604020202020204" pitchFamily="34" charset="0"/>
              <a:buChar char="•"/>
            </a:pPr>
            <a:r>
              <a:rPr lang="fr-FR" sz="1600" b="1"/>
              <a:t>Situation 1 :</a:t>
            </a:r>
            <a:r>
              <a:rPr lang="fr-FR" sz="1600"/>
              <a:t> </a:t>
            </a:r>
          </a:p>
          <a:p>
            <a:pPr marL="466725" lvl="1" indent="-285750">
              <a:buFont typeface="Arial" panose="020B0604020202020204" pitchFamily="34" charset="0"/>
              <a:buChar char="•"/>
            </a:pPr>
            <a:r>
              <a:rPr lang="fr-FR" sz="1600"/>
              <a:t>Bob présente à Alice le certificat </a:t>
            </a:r>
            <a:r>
              <a:rPr lang="fr-FR" sz="1600" b="1">
                <a:solidFill>
                  <a:schemeClr val="accent1">
                    <a:lumMod val="60000"/>
                    <a:lumOff val="40000"/>
                  </a:schemeClr>
                </a:solidFill>
              </a:rPr>
              <a:t>D</a:t>
            </a:r>
          </a:p>
          <a:p>
            <a:pPr marL="466725" lvl="1" indent="-285750">
              <a:buFont typeface="Arial" panose="020B0604020202020204" pitchFamily="34" charset="0"/>
              <a:buChar char="•"/>
            </a:pPr>
            <a:r>
              <a:rPr lang="fr-FR" sz="1600"/>
              <a:t>Alice fait confiance à </a:t>
            </a:r>
            <a:r>
              <a:rPr lang="fr-FR" sz="1600" b="1">
                <a:solidFill>
                  <a:srgbClr val="178C3D"/>
                </a:solidFill>
              </a:rPr>
              <a:t>B</a:t>
            </a:r>
            <a:endParaRPr lang="fr-FR" sz="1600"/>
          </a:p>
          <a:p>
            <a:pPr marL="285750"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Situation 2 :</a:t>
            </a:r>
            <a:r>
              <a:rPr lang="fr-FR" sz="1600"/>
              <a:t> </a:t>
            </a:r>
          </a:p>
          <a:p>
            <a:pPr marL="466725" lvl="1" indent="-285750">
              <a:buFont typeface="Arial" panose="020B0604020202020204" pitchFamily="34" charset="0"/>
              <a:buChar char="•"/>
            </a:pPr>
            <a:r>
              <a:rPr lang="fr-FR" sz="1600"/>
              <a:t>Bob présente à Alice le certificat </a:t>
            </a:r>
            <a:r>
              <a:rPr lang="fr-FR" sz="1600" b="1">
                <a:solidFill>
                  <a:schemeClr val="accent1">
                    <a:lumMod val="60000"/>
                    <a:lumOff val="40000"/>
                  </a:schemeClr>
                </a:solidFill>
              </a:rPr>
              <a:t>D</a:t>
            </a:r>
          </a:p>
          <a:p>
            <a:pPr marL="466725" lvl="1" indent="-285750">
              <a:buFont typeface="Arial" panose="020B0604020202020204" pitchFamily="34" charset="0"/>
              <a:buChar char="•"/>
            </a:pPr>
            <a:r>
              <a:rPr lang="fr-FR" sz="1600"/>
              <a:t>Alice fait confiance à </a:t>
            </a:r>
            <a:r>
              <a:rPr lang="fr-FR" sz="1600" b="1">
                <a:solidFill>
                  <a:srgbClr val="E30021"/>
                </a:solidFill>
              </a:rPr>
              <a:t>C</a:t>
            </a:r>
            <a:endParaRPr lang="fr-FR" sz="1600"/>
          </a:p>
          <a:p>
            <a:pPr marL="285750" indent="-285750">
              <a:buFont typeface="Symbol" panose="05050102010706020507" pitchFamily="18" charset="2"/>
              <a:buChar char="Þ"/>
            </a:pPr>
            <a:endParaRPr lang="fr-FR" sz="1600"/>
          </a:p>
          <a:p>
            <a:pPr marL="285750" indent="-285750">
              <a:buFont typeface="Arial" panose="020B0604020202020204" pitchFamily="34" charset="0"/>
              <a:buChar char="•"/>
            </a:pPr>
            <a:r>
              <a:rPr lang="fr-FR" sz="1600" b="1"/>
              <a:t>Situation 3 : </a:t>
            </a:r>
          </a:p>
          <a:p>
            <a:pPr marL="466725" lvl="1" indent="-285750">
              <a:buFont typeface="Arial" panose="020B0604020202020204" pitchFamily="34" charset="0"/>
              <a:buChar char="•"/>
            </a:pPr>
            <a:r>
              <a:rPr lang="fr-FR" sz="1600"/>
              <a:t>Bob présente à Alice le certificat </a:t>
            </a:r>
            <a:r>
              <a:rPr lang="fr-FR" sz="1600" b="1">
                <a:solidFill>
                  <a:schemeClr val="accent1">
                    <a:lumMod val="60000"/>
                    <a:lumOff val="40000"/>
                  </a:schemeClr>
                </a:solidFill>
              </a:rPr>
              <a:t>D</a:t>
            </a:r>
          </a:p>
          <a:p>
            <a:pPr marL="466725" lvl="1" indent="-285750">
              <a:buFont typeface="Arial" panose="020B0604020202020204" pitchFamily="34" charset="0"/>
              <a:buChar char="•"/>
            </a:pPr>
            <a:r>
              <a:rPr lang="fr-FR" sz="1600"/>
              <a:t>Alice fait confiance à </a:t>
            </a:r>
            <a:r>
              <a:rPr lang="fr-FR" sz="1600" b="1">
                <a:solidFill>
                  <a:srgbClr val="FFB24A"/>
                </a:solidFill>
              </a:rPr>
              <a:t>A</a:t>
            </a:r>
            <a:endParaRPr lang="fr-FR" sz="1600"/>
          </a:p>
          <a:p>
            <a:endParaRPr lang="fr-FR" sz="1600"/>
          </a:p>
        </p:txBody>
      </p:sp>
    </p:spTree>
    <p:extLst>
      <p:ext uri="{BB962C8B-B14F-4D97-AF65-F5344CB8AC3E}">
        <p14:creationId xmlns:p14="http://schemas.microsoft.com/office/powerpoint/2010/main" val="4005496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Revenons à Alice et Bob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pic>
        <p:nvPicPr>
          <p:cNvPr id="4" name="Graphique 3" descr="Clé avec un remplissage uni">
            <a:extLst>
              <a:ext uri="{FF2B5EF4-FFF2-40B4-BE49-F238E27FC236}">
                <a16:creationId xmlns:a16="http://schemas.microsoft.com/office/drawing/2014/main" id="{95376EF3-7FF3-8485-0D1C-5055EE86BE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7399" y="4043205"/>
            <a:ext cx="655004" cy="667225"/>
          </a:xfrm>
          <a:prstGeom prst="rect">
            <a:avLst/>
          </a:prstGeom>
          <a:effectLst>
            <a:outerShdw blurRad="50800" dist="38100" dir="2700000" algn="tl" rotWithShape="0">
              <a:prstClr val="black">
                <a:alpha val="40000"/>
              </a:prstClr>
            </a:outerShdw>
          </a:effectLst>
        </p:spPr>
      </p:pic>
      <p:pic>
        <p:nvPicPr>
          <p:cNvPr id="5" name="Graphique 4" descr="Clé avec un remplissage uni">
            <a:extLst>
              <a:ext uri="{FF2B5EF4-FFF2-40B4-BE49-F238E27FC236}">
                <a16:creationId xmlns:a16="http://schemas.microsoft.com/office/drawing/2014/main" id="{3972360C-1783-9FC3-14EC-6ECC11209F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95081" y="3191199"/>
            <a:ext cx="655004" cy="667225"/>
          </a:xfrm>
          <a:prstGeom prst="rect">
            <a:avLst/>
          </a:prstGeom>
          <a:effectLst>
            <a:outerShdw blurRad="50800" dist="38100" dir="2700000" algn="tl" rotWithShape="0">
              <a:prstClr val="black">
                <a:alpha val="40000"/>
              </a:prstClr>
            </a:outerShdw>
          </a:effectLst>
        </p:spPr>
      </p:pic>
      <p:pic>
        <p:nvPicPr>
          <p:cNvPr id="6" name="Graphique 5" descr="Clé avec un remplissage uni">
            <a:extLst>
              <a:ext uri="{FF2B5EF4-FFF2-40B4-BE49-F238E27FC236}">
                <a16:creationId xmlns:a16="http://schemas.microsoft.com/office/drawing/2014/main" id="{6E0615AD-3394-1420-30A3-9EC115C85F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6199" y="4895211"/>
            <a:ext cx="655004" cy="667225"/>
          </a:xfrm>
          <a:prstGeom prst="rect">
            <a:avLst/>
          </a:prstGeom>
          <a:effectLst>
            <a:outerShdw blurRad="50800" dist="38100" dir="2700000" algn="tl" rotWithShape="0">
              <a:prstClr val="black">
                <a:alpha val="40000"/>
              </a:prstClr>
            </a:outerShdw>
          </a:effectLst>
        </p:spPr>
      </p:pic>
      <p:pic>
        <p:nvPicPr>
          <p:cNvPr id="8" name="Graphique 7" descr="Clé avec un remplissage uni">
            <a:extLst>
              <a:ext uri="{FF2B5EF4-FFF2-40B4-BE49-F238E27FC236}">
                <a16:creationId xmlns:a16="http://schemas.microsoft.com/office/drawing/2014/main" id="{D0EA2A3A-ADFD-3364-AD70-E329E12EF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2744954"/>
            <a:ext cx="655004" cy="667225"/>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10E9F739-000D-3F77-FCD9-5C782671F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3601470"/>
            <a:ext cx="655004" cy="667225"/>
          </a:xfrm>
          <a:prstGeom prst="rect">
            <a:avLst/>
          </a:prstGeom>
          <a:effectLst>
            <a:outerShdw blurRad="50800" dist="38100" dir="2700000" algn="tl" rotWithShape="0">
              <a:prstClr val="black">
                <a:alpha val="40000"/>
              </a:prstClr>
            </a:outerShdw>
          </a:effectLst>
        </p:spPr>
      </p:pic>
      <p:pic>
        <p:nvPicPr>
          <p:cNvPr id="12" name="Graphique 11" descr="Clé avec un remplissage uni">
            <a:extLst>
              <a:ext uri="{FF2B5EF4-FFF2-40B4-BE49-F238E27FC236}">
                <a16:creationId xmlns:a16="http://schemas.microsoft.com/office/drawing/2014/main" id="{F1941E5B-E4A0-848B-0A21-05D5EDBDD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4457986"/>
            <a:ext cx="655004" cy="667225"/>
          </a:xfrm>
          <a:prstGeom prst="rect">
            <a:avLst/>
          </a:prstGeom>
          <a:effectLst>
            <a:outerShdw blurRad="50800" dist="38100" dir="2700000" algn="tl" rotWithShape="0">
              <a:prstClr val="black">
                <a:alpha val="40000"/>
              </a:prstClr>
            </a:outerShdw>
          </a:effectLst>
        </p:spPr>
      </p:pic>
      <p:pic>
        <p:nvPicPr>
          <p:cNvPr id="13" name="Graphique 12" descr="Clé avec un remplissage uni">
            <a:extLst>
              <a:ext uri="{FF2B5EF4-FFF2-40B4-BE49-F238E27FC236}">
                <a16:creationId xmlns:a16="http://schemas.microsoft.com/office/drawing/2014/main" id="{8C4F05EA-A3E7-9EC3-DBB9-AFA449961B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9259" y="5314501"/>
            <a:ext cx="655004" cy="667225"/>
          </a:xfrm>
          <a:prstGeom prst="rect">
            <a:avLst/>
          </a:prstGeom>
          <a:effectLst>
            <a:outerShdw blurRad="50800" dist="38100" dir="2700000" algn="tl" rotWithShape="0">
              <a:prstClr val="black">
                <a:alpha val="40000"/>
              </a:prstClr>
            </a:outerShdw>
          </a:effectLst>
        </p:spPr>
      </p:pic>
      <p:cxnSp>
        <p:nvCxnSpPr>
          <p:cNvPr id="14" name="Connecteur droit avec flèche 13">
            <a:extLst>
              <a:ext uri="{FF2B5EF4-FFF2-40B4-BE49-F238E27FC236}">
                <a16:creationId xmlns:a16="http://schemas.microsoft.com/office/drawing/2014/main" id="{EA5F0E3B-C305-288F-DA48-5045DF18ECB7}"/>
              </a:ext>
            </a:extLst>
          </p:cNvPr>
          <p:cNvCxnSpPr>
            <a:cxnSpLocks/>
            <a:stCxn id="4" idx="3"/>
            <a:endCxn id="5" idx="1"/>
          </p:cNvCxnSpPr>
          <p:nvPr/>
        </p:nvCxnSpPr>
        <p:spPr>
          <a:xfrm flipV="1">
            <a:off x="1182403" y="3524812"/>
            <a:ext cx="1112678"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6F7399EC-985B-AB86-7D04-518684B683B3}"/>
              </a:ext>
            </a:extLst>
          </p:cNvPr>
          <p:cNvCxnSpPr>
            <a:cxnSpLocks/>
            <a:stCxn id="4" idx="3"/>
            <a:endCxn id="6" idx="1"/>
          </p:cNvCxnSpPr>
          <p:nvPr/>
        </p:nvCxnSpPr>
        <p:spPr>
          <a:xfrm>
            <a:off x="1182403" y="4376818"/>
            <a:ext cx="1173796" cy="85200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AFE72A28-A018-48F2-97E0-7BA603E0698D}"/>
              </a:ext>
            </a:extLst>
          </p:cNvPr>
          <p:cNvCxnSpPr>
            <a:cxnSpLocks/>
            <a:stCxn id="5" idx="3"/>
            <a:endCxn id="8" idx="1"/>
          </p:cNvCxnSpPr>
          <p:nvPr/>
        </p:nvCxnSpPr>
        <p:spPr>
          <a:xfrm flipV="1">
            <a:off x="2950085" y="3078567"/>
            <a:ext cx="1029174" cy="446245"/>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B3326C75-D50D-279E-E8AE-17840C1AE559}"/>
              </a:ext>
            </a:extLst>
          </p:cNvPr>
          <p:cNvCxnSpPr>
            <a:cxnSpLocks/>
            <a:stCxn id="5" idx="3"/>
            <a:endCxn id="9" idx="1"/>
          </p:cNvCxnSpPr>
          <p:nvPr/>
        </p:nvCxnSpPr>
        <p:spPr>
          <a:xfrm>
            <a:off x="2950085" y="3524812"/>
            <a:ext cx="1029174" cy="410271"/>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B2AB350F-155C-F2F4-20EB-D7A5FA5F4F4D}"/>
              </a:ext>
            </a:extLst>
          </p:cNvPr>
          <p:cNvCxnSpPr>
            <a:cxnSpLocks/>
            <a:stCxn id="6" idx="3"/>
          </p:cNvCxnSpPr>
          <p:nvPr/>
        </p:nvCxnSpPr>
        <p:spPr>
          <a:xfrm flipV="1">
            <a:off x="3011203" y="4791598"/>
            <a:ext cx="968056" cy="437226"/>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7985BFEF-26CB-A8D6-0CB1-24C03A4C120C}"/>
              </a:ext>
            </a:extLst>
          </p:cNvPr>
          <p:cNvCxnSpPr>
            <a:cxnSpLocks/>
            <a:stCxn id="6" idx="3"/>
            <a:endCxn id="13" idx="1"/>
          </p:cNvCxnSpPr>
          <p:nvPr/>
        </p:nvCxnSpPr>
        <p:spPr>
          <a:xfrm>
            <a:off x="3011203" y="5228824"/>
            <a:ext cx="968056" cy="41929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 name="Graphique 100" descr="Clé avec un remplissage uni">
            <a:extLst>
              <a:ext uri="{FF2B5EF4-FFF2-40B4-BE49-F238E27FC236}">
                <a16:creationId xmlns:a16="http://schemas.microsoft.com/office/drawing/2014/main" id="{A620A819-CB9F-CEE5-0131-E43F7B45FC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66360" y="3449771"/>
            <a:ext cx="327762" cy="333877"/>
          </a:xfrm>
          <a:prstGeom prst="rect">
            <a:avLst/>
          </a:prstGeom>
          <a:effectLst>
            <a:outerShdw blurRad="50800" dist="38100" dir="2700000" algn="tl" rotWithShape="0">
              <a:prstClr val="black">
                <a:alpha val="40000"/>
              </a:prstClr>
            </a:outerShdw>
          </a:effectLst>
        </p:spPr>
      </p:pic>
      <p:pic>
        <p:nvPicPr>
          <p:cNvPr id="102" name="Graphique 101" descr="Clé avec un remplissage uni">
            <a:extLst>
              <a:ext uri="{FF2B5EF4-FFF2-40B4-BE49-F238E27FC236}">
                <a16:creationId xmlns:a16="http://schemas.microsoft.com/office/drawing/2014/main" id="{D4569BD3-4C5D-A508-96E5-1A392BCED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28414" y="5155182"/>
            <a:ext cx="327762" cy="333877"/>
          </a:xfrm>
          <a:prstGeom prst="rect">
            <a:avLst/>
          </a:prstGeom>
          <a:effectLst>
            <a:outerShdw blurRad="50800" dist="38100" dir="2700000" algn="tl" rotWithShape="0">
              <a:prstClr val="black">
                <a:alpha val="40000"/>
              </a:prstClr>
            </a:outerShdw>
          </a:effectLst>
        </p:spPr>
      </p:pic>
      <p:pic>
        <p:nvPicPr>
          <p:cNvPr id="104" name="Graphique 103" descr="Clé avec un remplissage uni">
            <a:extLst>
              <a:ext uri="{FF2B5EF4-FFF2-40B4-BE49-F238E27FC236}">
                <a16:creationId xmlns:a16="http://schemas.microsoft.com/office/drawing/2014/main" id="{F2AB8389-5025-EB46-D652-17F0D35D62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5577551"/>
            <a:ext cx="327762" cy="333877"/>
          </a:xfrm>
          <a:prstGeom prst="rect">
            <a:avLst/>
          </a:prstGeom>
          <a:effectLst>
            <a:outerShdw blurRad="50800" dist="38100" dir="2700000" algn="tl" rotWithShape="0">
              <a:prstClr val="black">
                <a:alpha val="40000"/>
              </a:prstClr>
            </a:outerShdw>
          </a:effectLst>
        </p:spPr>
      </p:pic>
      <p:pic>
        <p:nvPicPr>
          <p:cNvPr id="105" name="Graphique 104" descr="Clé avec un remplissage uni">
            <a:extLst>
              <a:ext uri="{FF2B5EF4-FFF2-40B4-BE49-F238E27FC236}">
                <a16:creationId xmlns:a16="http://schemas.microsoft.com/office/drawing/2014/main" id="{CC75D13B-CE5C-150E-4CBF-6A233B707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6055" y="4719041"/>
            <a:ext cx="327762" cy="333877"/>
          </a:xfrm>
          <a:prstGeom prst="rect">
            <a:avLst/>
          </a:prstGeom>
          <a:effectLst>
            <a:outerShdw blurRad="50800" dist="38100" dir="2700000" algn="tl" rotWithShape="0">
              <a:prstClr val="black">
                <a:alpha val="40000"/>
              </a:prstClr>
            </a:outerShdw>
          </a:effectLst>
        </p:spPr>
      </p:pic>
      <p:pic>
        <p:nvPicPr>
          <p:cNvPr id="106" name="Graphique 105" descr="Clé avec un remplissage uni">
            <a:extLst>
              <a:ext uri="{FF2B5EF4-FFF2-40B4-BE49-F238E27FC236}">
                <a16:creationId xmlns:a16="http://schemas.microsoft.com/office/drawing/2014/main" id="{D4EEB1EC-3C31-763B-7697-DC1EE05AEA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862525"/>
            <a:ext cx="327762" cy="333877"/>
          </a:xfrm>
          <a:prstGeom prst="rect">
            <a:avLst/>
          </a:prstGeom>
          <a:effectLst>
            <a:outerShdw blurRad="50800" dist="38100" dir="2700000" algn="tl" rotWithShape="0">
              <a:prstClr val="black">
                <a:alpha val="40000"/>
              </a:prstClr>
            </a:outerShdw>
          </a:effectLst>
        </p:spPr>
      </p:pic>
      <p:pic>
        <p:nvPicPr>
          <p:cNvPr id="107" name="Graphique 106" descr="Clé avec un remplissage uni">
            <a:extLst>
              <a:ext uri="{FF2B5EF4-FFF2-40B4-BE49-F238E27FC236}">
                <a16:creationId xmlns:a16="http://schemas.microsoft.com/office/drawing/2014/main" id="{8A2CDE12-8922-51C2-A9B8-1698AE40D2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6055" y="3006009"/>
            <a:ext cx="327762" cy="333877"/>
          </a:xfrm>
          <a:prstGeom prst="rect">
            <a:avLst/>
          </a:prstGeom>
          <a:effectLst>
            <a:outerShdw blurRad="50800" dist="38100" dir="2700000" algn="tl" rotWithShape="0">
              <a:prstClr val="black">
                <a:alpha val="40000"/>
              </a:prstClr>
            </a:outerShdw>
          </a:effectLst>
        </p:spPr>
      </p:pic>
      <p:pic>
        <p:nvPicPr>
          <p:cNvPr id="108" name="Graphique 107" descr="Clé avec un remplissage uni">
            <a:extLst>
              <a:ext uri="{FF2B5EF4-FFF2-40B4-BE49-F238E27FC236}">
                <a16:creationId xmlns:a16="http://schemas.microsoft.com/office/drawing/2014/main" id="{D69414CC-6280-3D22-2443-56EBAC274D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3523" y="4302633"/>
            <a:ext cx="327762" cy="333877"/>
          </a:xfrm>
          <a:prstGeom prst="rect">
            <a:avLst/>
          </a:prstGeom>
          <a:effectLst>
            <a:outerShdw blurRad="50800" dist="38100" dir="2700000" algn="tl" rotWithShape="0">
              <a:prstClr val="black">
                <a:alpha val="40000"/>
              </a:prstClr>
            </a:outerShdw>
          </a:effectLst>
        </p:spPr>
      </p:pic>
      <p:sp>
        <p:nvSpPr>
          <p:cNvPr id="109" name="ZoneTexte 108">
            <a:extLst>
              <a:ext uri="{FF2B5EF4-FFF2-40B4-BE49-F238E27FC236}">
                <a16:creationId xmlns:a16="http://schemas.microsoft.com/office/drawing/2014/main" id="{4F788A86-EE4C-1A3F-2F15-71EBEB111371}"/>
              </a:ext>
            </a:extLst>
          </p:cNvPr>
          <p:cNvSpPr txBox="1"/>
          <p:nvPr/>
        </p:nvSpPr>
        <p:spPr>
          <a:xfrm>
            <a:off x="742610" y="3806349"/>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A</a:t>
            </a:r>
          </a:p>
        </p:txBody>
      </p:sp>
      <p:sp>
        <p:nvSpPr>
          <p:cNvPr id="111" name="ZoneTexte 110">
            <a:extLst>
              <a:ext uri="{FF2B5EF4-FFF2-40B4-BE49-F238E27FC236}">
                <a16:creationId xmlns:a16="http://schemas.microsoft.com/office/drawing/2014/main" id="{3F49A0BA-8806-FF9C-EC68-9AFCC8A1AB7E}"/>
              </a:ext>
            </a:extLst>
          </p:cNvPr>
          <p:cNvSpPr txBox="1"/>
          <p:nvPr/>
        </p:nvSpPr>
        <p:spPr>
          <a:xfrm>
            <a:off x="2566180" y="292969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B</a:t>
            </a:r>
          </a:p>
        </p:txBody>
      </p:sp>
      <p:sp>
        <p:nvSpPr>
          <p:cNvPr id="112" name="ZoneTexte 111">
            <a:extLst>
              <a:ext uri="{FF2B5EF4-FFF2-40B4-BE49-F238E27FC236}">
                <a16:creationId xmlns:a16="http://schemas.microsoft.com/office/drawing/2014/main" id="{8CA56812-BF81-A155-53C8-3C7E1DAFD25F}"/>
              </a:ext>
            </a:extLst>
          </p:cNvPr>
          <p:cNvSpPr txBox="1"/>
          <p:nvPr/>
        </p:nvSpPr>
        <p:spPr>
          <a:xfrm>
            <a:off x="2629298" y="4713594"/>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C</a:t>
            </a:r>
          </a:p>
        </p:txBody>
      </p:sp>
      <p:sp>
        <p:nvSpPr>
          <p:cNvPr id="113" name="ZoneTexte 112">
            <a:extLst>
              <a:ext uri="{FF2B5EF4-FFF2-40B4-BE49-F238E27FC236}">
                <a16:creationId xmlns:a16="http://schemas.microsoft.com/office/drawing/2014/main" id="{9F8A6A9C-6501-1CEA-0331-7CFEEE393CC2}"/>
              </a:ext>
            </a:extLst>
          </p:cNvPr>
          <p:cNvSpPr txBox="1"/>
          <p:nvPr/>
        </p:nvSpPr>
        <p:spPr>
          <a:xfrm>
            <a:off x="4184999" y="5018711"/>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E</a:t>
            </a:r>
          </a:p>
        </p:txBody>
      </p:sp>
      <p:sp>
        <p:nvSpPr>
          <p:cNvPr id="114" name="ZoneTexte 113">
            <a:extLst>
              <a:ext uri="{FF2B5EF4-FFF2-40B4-BE49-F238E27FC236}">
                <a16:creationId xmlns:a16="http://schemas.microsoft.com/office/drawing/2014/main" id="{0D1ABF01-7DF2-BFA2-D783-9BFA6A396EF9}"/>
              </a:ext>
            </a:extLst>
          </p:cNvPr>
          <p:cNvSpPr txBox="1"/>
          <p:nvPr/>
        </p:nvSpPr>
        <p:spPr>
          <a:xfrm>
            <a:off x="4207868" y="3289308"/>
            <a:ext cx="325993" cy="402291"/>
          </a:xfrm>
          <a:prstGeom prst="rect">
            <a:avLst/>
          </a:prstGeom>
          <a:noFill/>
        </p:spPr>
        <p:txBody>
          <a:bodyPr vert="horz" wrap="square" lIns="90000" tIns="46800" rIns="90000" bIns="46800" rtlCol="0" anchor="ctr">
            <a:spAutoFit/>
          </a:bodyPr>
          <a:lstStyle/>
          <a:p>
            <a:pPr algn="ctr">
              <a:spcBef>
                <a:spcPct val="0"/>
              </a:spcBef>
            </a:pPr>
            <a:r>
              <a:rPr lang="fr-FR" sz="2000" b="1">
                <a:solidFill>
                  <a:schemeClr val="accent2"/>
                </a:solidFill>
                <a:effectLst>
                  <a:outerShdw blurRad="38100" dist="38100" dir="2700000" algn="tl">
                    <a:srgbClr val="000000">
                      <a:alpha val="43137"/>
                    </a:srgbClr>
                  </a:outerShdw>
                </a:effectLst>
              </a:rPr>
              <a:t>D</a:t>
            </a:r>
          </a:p>
        </p:txBody>
      </p:sp>
      <p:pic>
        <p:nvPicPr>
          <p:cNvPr id="2" name="Graphique 1" descr="Profil femelle avec un remplissage uni">
            <a:extLst>
              <a:ext uri="{FF2B5EF4-FFF2-40B4-BE49-F238E27FC236}">
                <a16:creationId xmlns:a16="http://schemas.microsoft.com/office/drawing/2014/main" id="{FAB2F430-7340-DAF7-1FDF-2A4798D0DEF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99063" y="1629270"/>
            <a:ext cx="596523" cy="596523"/>
          </a:xfrm>
          <a:prstGeom prst="rect">
            <a:avLst/>
          </a:prstGeom>
          <a:effectLst>
            <a:outerShdw blurRad="50800" dist="38100" dir="2700000" algn="tl" rotWithShape="0">
              <a:prstClr val="black">
                <a:alpha val="40000"/>
              </a:prstClr>
            </a:outerShdw>
          </a:effectLst>
        </p:spPr>
      </p:pic>
      <p:pic>
        <p:nvPicPr>
          <p:cNvPr id="7" name="Graphique 6" descr="Profil mâle avec un remplissage uni">
            <a:extLst>
              <a:ext uri="{FF2B5EF4-FFF2-40B4-BE49-F238E27FC236}">
                <a16:creationId xmlns:a16="http://schemas.microsoft.com/office/drawing/2014/main" id="{A8B0156D-312A-7442-3562-D5F0FAFEC93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36890" y="1629270"/>
            <a:ext cx="596523" cy="596523"/>
          </a:xfrm>
          <a:prstGeom prst="rect">
            <a:avLst/>
          </a:prstGeom>
          <a:effectLst>
            <a:outerShdw blurRad="50800" dist="38100" dir="2700000" algn="tl" rotWithShape="0">
              <a:prstClr val="black">
                <a:alpha val="40000"/>
              </a:prstClr>
            </a:outerShdw>
          </a:effectLst>
        </p:spPr>
      </p:pic>
      <p:cxnSp>
        <p:nvCxnSpPr>
          <p:cNvPr id="10" name="Connecteur droit avec flèche 9">
            <a:extLst>
              <a:ext uri="{FF2B5EF4-FFF2-40B4-BE49-F238E27FC236}">
                <a16:creationId xmlns:a16="http://schemas.microsoft.com/office/drawing/2014/main" id="{94099ECB-5151-90EC-52AC-8D95C5FAABB4}"/>
              </a:ext>
            </a:extLst>
          </p:cNvPr>
          <p:cNvCxnSpPr>
            <a:cxnSpLocks/>
            <a:stCxn id="2" idx="3"/>
            <a:endCxn id="7" idx="1"/>
          </p:cNvCxnSpPr>
          <p:nvPr/>
        </p:nvCxnSpPr>
        <p:spPr>
          <a:xfrm>
            <a:off x="1595586" y="1927532"/>
            <a:ext cx="1941304" cy="0"/>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B7838713-E15B-B6FA-8A29-B7A6AE78D8FB}"/>
              </a:ext>
            </a:extLst>
          </p:cNvPr>
          <p:cNvSpPr txBox="1"/>
          <p:nvPr/>
        </p:nvSpPr>
        <p:spPr>
          <a:xfrm>
            <a:off x="3430197" y="1366168"/>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16" name="ZoneTexte 15">
            <a:extLst>
              <a:ext uri="{FF2B5EF4-FFF2-40B4-BE49-F238E27FC236}">
                <a16:creationId xmlns:a16="http://schemas.microsoft.com/office/drawing/2014/main" id="{05831492-44CB-0919-D6C1-84387E7012CC}"/>
              </a:ext>
            </a:extLst>
          </p:cNvPr>
          <p:cNvSpPr txBox="1"/>
          <p:nvPr/>
        </p:nvSpPr>
        <p:spPr>
          <a:xfrm>
            <a:off x="796254" y="136616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17" name="Espace réservé du texte 4">
            <a:extLst>
              <a:ext uri="{FF2B5EF4-FFF2-40B4-BE49-F238E27FC236}">
                <a16:creationId xmlns:a16="http://schemas.microsoft.com/office/drawing/2014/main" id="{D02C9E30-BE4F-EF63-7F95-E797B208D6B8}"/>
              </a:ext>
            </a:extLst>
          </p:cNvPr>
          <p:cNvSpPr txBox="1">
            <a:spLocks/>
          </p:cNvSpPr>
          <p:nvPr/>
        </p:nvSpPr>
        <p:spPr>
          <a:xfrm>
            <a:off x="5082419" y="1074856"/>
            <a:ext cx="6733647" cy="53640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t>Alice cherche à établir une connexion sécurisée avec Bob, et doit donc vérifier le certificat que Bob retourne.</a:t>
            </a:r>
          </a:p>
          <a:p>
            <a:endParaRPr lang="fr-FR" sz="1600"/>
          </a:p>
          <a:p>
            <a:r>
              <a:rPr lang="fr-FR" sz="1600" i="1"/>
              <a:t>Est-ce qu’Alice devrait faire confiance au certificat présenté par Bob, dans ces différentes situations ?</a:t>
            </a:r>
          </a:p>
          <a:p>
            <a:endParaRPr lang="fr-FR" sz="1600"/>
          </a:p>
          <a:p>
            <a:pPr marL="285750" indent="-285750">
              <a:buFont typeface="Arial" panose="020B0604020202020204" pitchFamily="34" charset="0"/>
              <a:buChar char="•"/>
            </a:pPr>
            <a:r>
              <a:rPr lang="fr-FR" sz="1600" b="1"/>
              <a:t>Situation 1 : </a:t>
            </a:r>
            <a:r>
              <a:rPr lang="fr-FR" sz="1600"/>
              <a:t>Oui, car </a:t>
            </a:r>
            <a:r>
              <a:rPr lang="fr-FR" sz="1600" b="1">
                <a:solidFill>
                  <a:srgbClr val="2EA657"/>
                </a:solidFill>
              </a:rPr>
              <a:t>B</a:t>
            </a:r>
            <a:r>
              <a:rPr lang="fr-FR" sz="1600"/>
              <a:t> a signé </a:t>
            </a:r>
            <a:r>
              <a:rPr lang="fr-FR" sz="1600" b="1">
                <a:solidFill>
                  <a:schemeClr val="accent1">
                    <a:lumMod val="60000"/>
                    <a:lumOff val="40000"/>
                  </a:schemeClr>
                </a:solidFill>
              </a:rPr>
              <a:t>D</a:t>
            </a:r>
            <a:endParaRPr lang="fr-FR" sz="1600"/>
          </a:p>
          <a:p>
            <a:pPr marL="285750"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Situation 2 :</a:t>
            </a:r>
            <a:r>
              <a:rPr lang="fr-FR" sz="1600"/>
              <a:t> Non, il n’y a pas de lien entre </a:t>
            </a:r>
            <a:r>
              <a:rPr lang="fr-FR" sz="1600" b="1">
                <a:solidFill>
                  <a:srgbClr val="E30021"/>
                </a:solidFill>
              </a:rPr>
              <a:t>C </a:t>
            </a:r>
            <a:r>
              <a:rPr lang="fr-FR" sz="1600"/>
              <a:t>et</a:t>
            </a:r>
            <a:r>
              <a:rPr lang="fr-FR" sz="1600" b="1">
                <a:solidFill>
                  <a:srgbClr val="E30021"/>
                </a:solidFill>
              </a:rPr>
              <a:t> </a:t>
            </a:r>
            <a:r>
              <a:rPr lang="fr-FR" sz="1600" b="1">
                <a:solidFill>
                  <a:schemeClr val="accent1">
                    <a:lumMod val="60000"/>
                    <a:lumOff val="40000"/>
                  </a:schemeClr>
                </a:solidFill>
              </a:rPr>
              <a:t>D</a:t>
            </a:r>
          </a:p>
          <a:p>
            <a:endParaRPr lang="fr-FR" sz="1600"/>
          </a:p>
          <a:p>
            <a:pPr marL="285750" indent="-285750">
              <a:buFont typeface="Arial" panose="020B0604020202020204" pitchFamily="34" charset="0"/>
              <a:buChar char="•"/>
            </a:pPr>
            <a:r>
              <a:rPr lang="fr-FR" sz="1600" b="1"/>
              <a:t>Situation 3 : </a:t>
            </a:r>
            <a:r>
              <a:rPr lang="fr-FR" sz="1600"/>
              <a:t>Ça dépend ! Pour que Alice accepte </a:t>
            </a:r>
            <a:r>
              <a:rPr lang="fr-FR" sz="1600" b="1">
                <a:solidFill>
                  <a:schemeClr val="accent1">
                    <a:lumMod val="60000"/>
                    <a:lumOff val="40000"/>
                  </a:schemeClr>
                </a:solidFill>
              </a:rPr>
              <a:t>D</a:t>
            </a:r>
            <a:r>
              <a:rPr lang="fr-FR" sz="1600"/>
              <a:t>, il faut que Bob fournisse à Alice le certificat </a:t>
            </a:r>
            <a:r>
              <a:rPr lang="fr-FR" sz="1600" b="1">
                <a:solidFill>
                  <a:schemeClr val="accent1">
                    <a:lumMod val="60000"/>
                    <a:lumOff val="40000"/>
                  </a:schemeClr>
                </a:solidFill>
              </a:rPr>
              <a:t>D </a:t>
            </a:r>
            <a:r>
              <a:rPr lang="fr-FR" sz="1600"/>
              <a:t>(signé par </a:t>
            </a:r>
            <a:r>
              <a:rPr lang="fr-FR" sz="1600" b="1">
                <a:solidFill>
                  <a:srgbClr val="2EA657"/>
                </a:solidFill>
              </a:rPr>
              <a:t>B</a:t>
            </a:r>
            <a:r>
              <a:rPr lang="fr-FR" sz="1600"/>
              <a:t>), et le certificat </a:t>
            </a:r>
            <a:r>
              <a:rPr lang="fr-FR" sz="1600" b="1">
                <a:solidFill>
                  <a:srgbClr val="2EA657"/>
                </a:solidFill>
              </a:rPr>
              <a:t>B </a:t>
            </a:r>
            <a:r>
              <a:rPr lang="fr-FR" sz="1600"/>
              <a:t>(signé par </a:t>
            </a:r>
            <a:r>
              <a:rPr lang="fr-FR" sz="1600" b="1">
                <a:solidFill>
                  <a:srgbClr val="FFB24A"/>
                </a:solidFill>
              </a:rPr>
              <a:t>A</a:t>
            </a:r>
            <a:r>
              <a:rPr lang="fr-FR" sz="1600"/>
              <a:t>) : c’est la </a:t>
            </a:r>
            <a:r>
              <a:rPr lang="fr-FR" sz="1600" b="1">
                <a:solidFill>
                  <a:srgbClr val="FFC000"/>
                </a:solidFill>
              </a:rPr>
              <a:t>chaine de certification </a:t>
            </a:r>
            <a:r>
              <a:rPr lang="fr-FR" sz="1600"/>
              <a:t>!</a:t>
            </a:r>
            <a:br>
              <a:rPr lang="fr-FR" sz="1600" b="1"/>
            </a:br>
            <a:br>
              <a:rPr lang="fr-FR" sz="1600" b="1"/>
            </a:br>
            <a:r>
              <a:rPr lang="fr-FR" sz="1600"/>
              <a:t>Alice pourra alors valider que </a:t>
            </a:r>
            <a:r>
              <a:rPr lang="fr-FR" sz="1600" b="1">
                <a:solidFill>
                  <a:schemeClr val="accent1">
                    <a:lumMod val="60000"/>
                    <a:lumOff val="40000"/>
                  </a:schemeClr>
                </a:solidFill>
              </a:rPr>
              <a:t>D</a:t>
            </a:r>
            <a:r>
              <a:rPr lang="fr-FR" sz="1600"/>
              <a:t> est bien signé avec </a:t>
            </a:r>
            <a:r>
              <a:rPr lang="fr-FR" sz="1600" b="1">
                <a:solidFill>
                  <a:srgbClr val="2EA657"/>
                </a:solidFill>
              </a:rPr>
              <a:t>B</a:t>
            </a:r>
            <a:r>
              <a:rPr lang="fr-FR" sz="1600"/>
              <a:t>, tous deux transmis par Bob, puis elle validera que </a:t>
            </a:r>
            <a:r>
              <a:rPr lang="fr-FR" sz="1600" b="1">
                <a:solidFill>
                  <a:srgbClr val="2EA657"/>
                </a:solidFill>
              </a:rPr>
              <a:t>B</a:t>
            </a:r>
            <a:r>
              <a:rPr lang="fr-FR" sz="1600"/>
              <a:t> est bien signé par </a:t>
            </a:r>
            <a:r>
              <a:rPr lang="fr-FR" sz="1600" b="1">
                <a:solidFill>
                  <a:srgbClr val="FFB24A"/>
                </a:solidFill>
              </a:rPr>
              <a:t>A</a:t>
            </a:r>
            <a:r>
              <a:rPr lang="fr-FR" sz="1600"/>
              <a:t>, </a:t>
            </a:r>
            <a:r>
              <a:rPr lang="fr-FR" sz="1600" err="1"/>
              <a:t>auxquel</a:t>
            </a:r>
            <a:r>
              <a:rPr lang="fr-FR" sz="1600"/>
              <a:t> elle fait déjà confiance.</a:t>
            </a:r>
          </a:p>
        </p:txBody>
      </p:sp>
    </p:spTree>
    <p:extLst>
      <p:ext uri="{BB962C8B-B14F-4D97-AF65-F5344CB8AC3E}">
        <p14:creationId xmlns:p14="http://schemas.microsoft.com/office/powerpoint/2010/main" val="30168033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CSR (PKCS#10 pour les intime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Pour qu’une AC signe un certificat, elle a besoin d’une </a:t>
            </a:r>
            <a:r>
              <a:rPr lang="fr-FR" sz="1600" b="1">
                <a:solidFill>
                  <a:srgbClr val="FFC000"/>
                </a:solidFill>
              </a:rPr>
              <a:t>CSR</a:t>
            </a:r>
            <a:r>
              <a:rPr lang="fr-FR" sz="1600" b="1"/>
              <a:t> (</a:t>
            </a:r>
            <a:r>
              <a:rPr lang="fr-FR" sz="1600" b="1" err="1">
                <a:solidFill>
                  <a:srgbClr val="FFC000"/>
                </a:solidFill>
              </a:rPr>
              <a:t>C</a:t>
            </a:r>
            <a:r>
              <a:rPr lang="fr-FR" sz="1600" b="1" err="1"/>
              <a:t>ertificate</a:t>
            </a:r>
            <a:r>
              <a:rPr lang="fr-FR" sz="1600" b="1"/>
              <a:t> </a:t>
            </a:r>
            <a:r>
              <a:rPr lang="fr-FR" sz="1600" b="1" err="1">
                <a:solidFill>
                  <a:srgbClr val="FFC000"/>
                </a:solidFill>
              </a:rPr>
              <a:t>S</a:t>
            </a:r>
            <a:r>
              <a:rPr lang="fr-FR" sz="1600" b="1" err="1"/>
              <a:t>igning</a:t>
            </a:r>
            <a:r>
              <a:rPr lang="fr-FR" sz="1600" b="1"/>
              <a:t> </a:t>
            </a:r>
            <a:r>
              <a:rPr lang="fr-FR" sz="1600" b="1" err="1">
                <a:solidFill>
                  <a:srgbClr val="FFC000"/>
                </a:solidFill>
              </a:rPr>
              <a:t>R</a:t>
            </a:r>
            <a:r>
              <a:rPr lang="fr-FR" sz="1600" b="1" err="1"/>
              <a:t>equest</a:t>
            </a:r>
            <a:r>
              <a:rPr lang="fr-FR" sz="1600" b="1"/>
              <a:t>)</a:t>
            </a:r>
          </a:p>
          <a:p>
            <a:pPr marL="285750" indent="-285750">
              <a:buFont typeface="Arial" panose="020B0604020202020204" pitchFamily="34" charset="0"/>
              <a:buChar char="•"/>
            </a:pPr>
            <a:r>
              <a:rPr lang="fr-FR" sz="1600" b="1"/>
              <a:t>La recette pour créer une CSR est assez simple : </a:t>
            </a:r>
          </a:p>
          <a:p>
            <a:pPr marL="523875" lvl="1" indent="-342900">
              <a:buFont typeface="+mj-lt"/>
              <a:buAutoNum type="arabicPeriod"/>
            </a:pPr>
            <a:r>
              <a:rPr lang="fr-FR" sz="1600"/>
              <a:t>Générer une paire de clés asymétriques avec l’algorithme de notre choix (doit permettre la signature de contenu)</a:t>
            </a:r>
          </a:p>
          <a:p>
            <a:pPr marL="523875" lvl="1" indent="-342900">
              <a:buFont typeface="+mj-lt"/>
              <a:buAutoNum type="arabicPeriod"/>
            </a:pPr>
            <a:r>
              <a:rPr lang="fr-FR" sz="1600"/>
              <a:t>Générer un fichier d’attributs qu’on souhaite voir apparaitre dans notre futur certificat (exemple ci-dessous)</a:t>
            </a:r>
          </a:p>
          <a:p>
            <a:pPr marL="523875" lvl="1" indent="-342900">
              <a:buFont typeface="+mj-lt"/>
              <a:buAutoNum type="arabicPeriod"/>
            </a:pPr>
            <a:r>
              <a:rPr lang="fr-FR" sz="1600"/>
              <a:t>Générer la CSR en combinant le tout ! </a:t>
            </a:r>
          </a:p>
          <a:p>
            <a:pPr marL="523875" lvl="1" indent="-342900">
              <a:buFont typeface="+mj-lt"/>
              <a:buAutoNum type="arabicPeriod"/>
            </a:pPr>
            <a:endParaRPr lang="fr-FR" sz="1600"/>
          </a:p>
          <a:p>
            <a:pPr marL="342900" indent="-342900">
              <a:buFont typeface="Arial" panose="020B0604020202020204" pitchFamily="34" charset="0"/>
              <a:buChar char="•"/>
            </a:pPr>
            <a:r>
              <a:rPr lang="fr-FR" sz="1600" b="1">
                <a:solidFill>
                  <a:srgbClr val="FFC000"/>
                </a:solidFill>
              </a:rPr>
              <a:t>Une CSR est signée avec la clé privée générée</a:t>
            </a:r>
            <a:r>
              <a:rPr lang="fr-FR" sz="1600" b="1"/>
              <a:t>, ça permet à l’AC de valider que celui qui fait la demande possède bien la clé publique inclue dans la CSR</a:t>
            </a:r>
          </a:p>
          <a:p>
            <a:pPr marL="342900" indent="-342900">
              <a:buFont typeface="Arial" panose="020B0604020202020204" pitchFamily="34" charset="0"/>
              <a:buChar char="•"/>
            </a:pPr>
            <a:r>
              <a:rPr lang="fr-FR" sz="1600" b="1"/>
              <a:t>Le fichier est transmis à l’AC, qui pourra générer</a:t>
            </a:r>
            <a:br>
              <a:rPr lang="fr-FR" sz="1600" b="1"/>
            </a:br>
            <a:r>
              <a:rPr lang="fr-FR" sz="1600" b="1"/>
              <a:t>le certificat et le transmettre à l’appelant</a:t>
            </a:r>
          </a:p>
          <a:p>
            <a:pPr marL="342900" indent="-342900">
              <a:buFont typeface="Arial" panose="020B0604020202020204" pitchFamily="34" charset="0"/>
              <a:buChar char="•"/>
            </a:pPr>
            <a:endParaRPr lang="fr-FR" sz="1600" b="1"/>
          </a:p>
          <a:p>
            <a:pPr marL="342900" indent="-342900">
              <a:buFont typeface="Arial" panose="020B0604020202020204" pitchFamily="34" charset="0"/>
              <a:buChar char="•"/>
            </a:pPr>
            <a:r>
              <a:rPr lang="fr-FR" sz="1600" b="1"/>
              <a:t>Des AC publiques connues : </a:t>
            </a:r>
          </a:p>
          <a:p>
            <a:pPr marL="523875" lvl="1" indent="-342900">
              <a:buFont typeface="Arial" panose="020B0604020202020204" pitchFamily="34" charset="0"/>
              <a:buChar char="•"/>
            </a:pPr>
            <a:r>
              <a:rPr lang="fr-FR" sz="1600" err="1"/>
              <a:t>Verisign</a:t>
            </a:r>
            <a:endParaRPr lang="fr-FR" sz="1600"/>
          </a:p>
          <a:p>
            <a:pPr marL="523875" lvl="1" indent="-342900">
              <a:buFont typeface="Arial" panose="020B0604020202020204" pitchFamily="34" charset="0"/>
              <a:buChar char="•"/>
            </a:pPr>
            <a:r>
              <a:rPr lang="fr-FR" sz="1600" err="1"/>
              <a:t>GlobalSign</a:t>
            </a:r>
            <a:endParaRPr lang="fr-FR" sz="1600"/>
          </a:p>
          <a:p>
            <a:pPr marL="523875" lvl="1" indent="-342900">
              <a:buFont typeface="Arial" panose="020B0604020202020204" pitchFamily="34" charset="0"/>
              <a:buChar char="•"/>
            </a:pPr>
            <a:r>
              <a:rPr lang="fr-FR" sz="1600" err="1"/>
              <a:t>DigiCert</a:t>
            </a:r>
            <a:endParaRPr lang="fr-FR" sz="1600"/>
          </a:p>
          <a:p>
            <a:pPr marL="523875" lvl="1" indent="-342900">
              <a:buFont typeface="Arial" panose="020B0604020202020204" pitchFamily="34" charset="0"/>
              <a:buChar char="•"/>
            </a:pPr>
            <a:r>
              <a:rPr lang="fr-FR" sz="1600" err="1"/>
              <a:t>Let’s</a:t>
            </a:r>
            <a:r>
              <a:rPr lang="fr-FR" sz="1600"/>
              <a:t> </a:t>
            </a:r>
            <a:r>
              <a:rPr lang="fr-FR" sz="1600" err="1"/>
              <a:t>Encrypt</a:t>
            </a:r>
            <a:endParaRPr lang="fr-FR" sz="1600"/>
          </a:p>
          <a:p>
            <a:pPr marL="702900" lvl="2" indent="-342900">
              <a:buFont typeface="+mj-lt"/>
              <a:buAutoNum type="arabicPeriod"/>
            </a:pPr>
            <a:endParaRPr lang="fr-FR" sz="1600" b="1"/>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endParaRPr lang="fr-FR" sz="1600" b="1"/>
          </a:p>
        </p:txBody>
      </p:sp>
      <p:sp>
        <p:nvSpPr>
          <p:cNvPr id="2" name="ZoneTexte 1">
            <a:extLst>
              <a:ext uri="{FF2B5EF4-FFF2-40B4-BE49-F238E27FC236}">
                <a16:creationId xmlns:a16="http://schemas.microsoft.com/office/drawing/2014/main" id="{D5578DF8-C29E-4987-60D8-5E2530594820}"/>
              </a:ext>
            </a:extLst>
          </p:cNvPr>
          <p:cNvSpPr txBox="1"/>
          <p:nvPr/>
        </p:nvSpPr>
        <p:spPr>
          <a:xfrm>
            <a:off x="5675887" y="3608577"/>
            <a:ext cx="6104634" cy="2556727"/>
          </a:xfrm>
          <a:prstGeom prst="rect">
            <a:avLst/>
          </a:prstGeom>
          <a:solidFill>
            <a:schemeClr val="tx2"/>
          </a:solidFill>
          <a:ln>
            <a:solidFill>
              <a:schemeClr val="bg1"/>
            </a:solidFill>
          </a:ln>
        </p:spPr>
        <p:txBody>
          <a:bodyPr vert="horz" wrap="square" lIns="90000" tIns="46800" rIns="90000" bIns="46800" rtlCol="0" anchor="ctr">
            <a:spAutoFit/>
          </a:bodyPr>
          <a:lstStyle>
            <a:defPPr>
              <a:defRPr lang="pt-PT"/>
            </a:defPPr>
            <a:lvl1pPr>
              <a:spcBef>
                <a:spcPct val="0"/>
              </a:spcBef>
              <a:defRPr sz="1400">
                <a:solidFill>
                  <a:schemeClr val="bg1"/>
                </a:solidFill>
                <a:latin typeface="Courier New" panose="02070309020205020404" pitchFamily="49" charset="0"/>
                <a:cs typeface="Courier New" panose="02070309020205020404" pitchFamily="49" charset="0"/>
              </a:defRPr>
            </a:lvl1pPr>
          </a:lstStyle>
          <a:p>
            <a:r>
              <a:rPr lang="fr-FR" sz="1000"/>
              <a:t>[ </a:t>
            </a:r>
            <a:r>
              <a:rPr lang="fr-FR" sz="1000" err="1"/>
              <a:t>req</a:t>
            </a:r>
            <a:r>
              <a:rPr lang="fr-FR" sz="1000"/>
              <a:t> ]</a:t>
            </a:r>
          </a:p>
          <a:p>
            <a:r>
              <a:rPr lang="fr-FR" sz="1000"/>
              <a:t>prompt = no</a:t>
            </a:r>
          </a:p>
          <a:p>
            <a:r>
              <a:rPr lang="fr-FR" sz="1000" err="1"/>
              <a:t>distinguished_name</a:t>
            </a:r>
            <a:r>
              <a:rPr lang="fr-FR" sz="1000"/>
              <a:t> = </a:t>
            </a:r>
            <a:r>
              <a:rPr lang="fr-FR" sz="1000" err="1"/>
              <a:t>dn</a:t>
            </a:r>
            <a:endParaRPr lang="fr-FR" sz="1000"/>
          </a:p>
          <a:p>
            <a:r>
              <a:rPr lang="fr-FR" sz="1000" err="1"/>
              <a:t>req_extensions</a:t>
            </a:r>
            <a:r>
              <a:rPr lang="fr-FR" sz="1000"/>
              <a:t> = </a:t>
            </a:r>
            <a:r>
              <a:rPr lang="fr-FR" sz="1000" err="1"/>
              <a:t>req_ext</a:t>
            </a:r>
            <a:endParaRPr lang="fr-FR" sz="1000"/>
          </a:p>
          <a:p>
            <a:endParaRPr lang="fr-FR" sz="1000"/>
          </a:p>
          <a:p>
            <a:r>
              <a:rPr lang="fr-FR" sz="1000"/>
              <a:t>[ </a:t>
            </a:r>
            <a:r>
              <a:rPr lang="fr-FR" sz="1000" err="1"/>
              <a:t>dn</a:t>
            </a:r>
            <a:r>
              <a:rPr lang="fr-FR" sz="1000"/>
              <a:t> ]</a:t>
            </a:r>
          </a:p>
          <a:p>
            <a:r>
              <a:rPr lang="fr-FR" sz="1000"/>
              <a:t>CN = exemple.com</a:t>
            </a:r>
          </a:p>
          <a:p>
            <a:r>
              <a:rPr lang="fr-FR" sz="1000" err="1"/>
              <a:t>emailAddress</a:t>
            </a:r>
            <a:r>
              <a:rPr lang="fr-FR" sz="1000"/>
              <a:t> = ssl@exemple.com</a:t>
            </a:r>
          </a:p>
          <a:p>
            <a:r>
              <a:rPr lang="fr-FR" sz="1000"/>
              <a:t>O = </a:t>
            </a:r>
            <a:r>
              <a:rPr lang="fr-FR" sz="1000" err="1"/>
              <a:t>Societe</a:t>
            </a:r>
            <a:endParaRPr lang="fr-FR" sz="1000"/>
          </a:p>
          <a:p>
            <a:r>
              <a:rPr lang="fr-FR" sz="1000"/>
              <a:t>OU = </a:t>
            </a:r>
            <a:r>
              <a:rPr lang="fr-FR" sz="1000" err="1"/>
              <a:t>Departement</a:t>
            </a:r>
            <a:endParaRPr lang="fr-FR" sz="1000"/>
          </a:p>
          <a:p>
            <a:r>
              <a:rPr lang="fr-FR" sz="1000"/>
              <a:t>L = Ville</a:t>
            </a:r>
          </a:p>
          <a:p>
            <a:r>
              <a:rPr lang="fr-FR" sz="1000"/>
              <a:t>ST = Etat</a:t>
            </a:r>
          </a:p>
          <a:p>
            <a:r>
              <a:rPr lang="fr-FR" sz="1000"/>
              <a:t>C = FR</a:t>
            </a:r>
          </a:p>
          <a:p>
            <a:endParaRPr lang="fr-FR" sz="1000"/>
          </a:p>
          <a:p>
            <a:r>
              <a:rPr lang="fr-FR" sz="1000"/>
              <a:t>[ </a:t>
            </a:r>
            <a:r>
              <a:rPr lang="fr-FR" sz="1000" err="1"/>
              <a:t>req_ext</a:t>
            </a:r>
            <a:r>
              <a:rPr lang="fr-FR" sz="1000"/>
              <a:t> ]</a:t>
            </a:r>
          </a:p>
          <a:p>
            <a:r>
              <a:rPr lang="fr-FR" sz="1000" err="1"/>
              <a:t>subjectAltName</a:t>
            </a:r>
            <a:r>
              <a:rPr lang="fr-FR" sz="1000"/>
              <a:t> = DNS: www.exemple.com, DNS: mail.exemple.com, IP: 192.168.1.1</a:t>
            </a:r>
          </a:p>
        </p:txBody>
      </p:sp>
    </p:spTree>
    <p:extLst>
      <p:ext uri="{BB962C8B-B14F-4D97-AF65-F5344CB8AC3E}">
        <p14:creationId xmlns:p14="http://schemas.microsoft.com/office/powerpoint/2010/main" val="28845993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1766213"/>
            <a:ext cx="11356975" cy="3323987"/>
          </a:xfrm>
        </p:spPr>
        <p:txBody>
          <a:bodyPr/>
          <a:lstStyle/>
          <a:p>
            <a:r>
              <a:rPr lang="fr-FR"/>
              <a:t>Introduction à la cryptographie</a:t>
            </a:r>
          </a:p>
          <a:p>
            <a:endParaRPr lang="fr-FR"/>
          </a:p>
        </p:txBody>
      </p:sp>
    </p:spTree>
    <p:extLst>
      <p:ext uri="{BB962C8B-B14F-4D97-AF65-F5344CB8AC3E}">
        <p14:creationId xmlns:p14="http://schemas.microsoft.com/office/powerpoint/2010/main" val="34079943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342D69C-1462-0695-59C4-FBB5FC1FE634}"/>
              </a:ext>
            </a:extLst>
          </p:cNvPr>
          <p:cNvSpPr>
            <a:spLocks noGrp="1"/>
          </p:cNvSpPr>
          <p:nvPr>
            <p:ph type="title"/>
          </p:nvPr>
        </p:nvSpPr>
        <p:spPr/>
        <p:txBody>
          <a:bodyPr/>
          <a:lstStyle/>
          <a:p>
            <a:r>
              <a:rPr lang="fr-FR"/>
              <a:t>Les CSR en image</a:t>
            </a:r>
          </a:p>
        </p:txBody>
      </p:sp>
      <p:cxnSp>
        <p:nvCxnSpPr>
          <p:cNvPr id="10" name="Connecteur droit avec flèche 9">
            <a:extLst>
              <a:ext uri="{FF2B5EF4-FFF2-40B4-BE49-F238E27FC236}">
                <a16:creationId xmlns:a16="http://schemas.microsoft.com/office/drawing/2014/main" id="{A0D4467A-4BB4-5FF8-AE66-AD9D35EA1E34}"/>
              </a:ext>
            </a:extLst>
          </p:cNvPr>
          <p:cNvCxnSpPr>
            <a:cxnSpLocks/>
            <a:stCxn id="5" idx="3"/>
            <a:endCxn id="6" idx="1"/>
          </p:cNvCxnSpPr>
          <p:nvPr/>
        </p:nvCxnSpPr>
        <p:spPr>
          <a:xfrm flipV="1">
            <a:off x="1545209" y="5395156"/>
            <a:ext cx="6312046" cy="21992"/>
          </a:xfrm>
          <a:prstGeom prst="straightConnector1">
            <a:avLst/>
          </a:prstGeom>
          <a:ln w="28575">
            <a:solidFill>
              <a:schemeClr val="accent4">
                <a:lumMod val="50000"/>
                <a:lumOff val="50000"/>
              </a:schemeClr>
            </a:solidFill>
            <a:prstDash val="sysDash"/>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2" name="Groupe 1">
            <a:extLst>
              <a:ext uri="{FF2B5EF4-FFF2-40B4-BE49-F238E27FC236}">
                <a16:creationId xmlns:a16="http://schemas.microsoft.com/office/drawing/2014/main" id="{76907C39-EE7F-5EA7-F22C-59FAD2CD1045}"/>
              </a:ext>
            </a:extLst>
          </p:cNvPr>
          <p:cNvGrpSpPr/>
          <p:nvPr/>
        </p:nvGrpSpPr>
        <p:grpSpPr>
          <a:xfrm>
            <a:off x="684139" y="4819198"/>
            <a:ext cx="1002140" cy="957950"/>
            <a:chOff x="1382639" y="5361248"/>
            <a:chExt cx="1002140" cy="957950"/>
          </a:xfrm>
        </p:grpSpPr>
        <p:pic>
          <p:nvPicPr>
            <p:cNvPr id="5" name="Graphique 4" descr="Profil femelle avec un remplissage uni">
              <a:extLst>
                <a:ext uri="{FF2B5EF4-FFF2-40B4-BE49-F238E27FC236}">
                  <a16:creationId xmlns:a16="http://schemas.microsoft.com/office/drawing/2014/main" id="{2263D18C-5EFE-0A69-8C50-268F22463C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23709" y="5599198"/>
              <a:ext cx="720000" cy="720000"/>
            </a:xfrm>
            <a:prstGeom prst="rect">
              <a:avLst/>
            </a:prstGeom>
            <a:effectLst>
              <a:outerShdw blurRad="50800" dist="38100" dir="2700000" algn="tl" rotWithShape="0">
                <a:prstClr val="black">
                  <a:alpha val="40000"/>
                </a:prstClr>
              </a:outerShdw>
            </a:effectLst>
          </p:spPr>
        </p:pic>
        <p:sp>
          <p:nvSpPr>
            <p:cNvPr id="16" name="ZoneTexte 15">
              <a:extLst>
                <a:ext uri="{FF2B5EF4-FFF2-40B4-BE49-F238E27FC236}">
                  <a16:creationId xmlns:a16="http://schemas.microsoft.com/office/drawing/2014/main" id="{A98B870C-1FD6-CA2F-FC29-BDB5CB287247}"/>
                </a:ext>
              </a:extLst>
            </p:cNvPr>
            <p:cNvSpPr txBox="1"/>
            <p:nvPr/>
          </p:nvSpPr>
          <p:spPr>
            <a:xfrm>
              <a:off x="1382639" y="536124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grpSp>
      <p:grpSp>
        <p:nvGrpSpPr>
          <p:cNvPr id="3" name="Groupe 2">
            <a:extLst>
              <a:ext uri="{FF2B5EF4-FFF2-40B4-BE49-F238E27FC236}">
                <a16:creationId xmlns:a16="http://schemas.microsoft.com/office/drawing/2014/main" id="{C25FA647-D372-B64B-C2C0-94969A1D0864}"/>
              </a:ext>
            </a:extLst>
          </p:cNvPr>
          <p:cNvGrpSpPr/>
          <p:nvPr/>
        </p:nvGrpSpPr>
        <p:grpSpPr>
          <a:xfrm>
            <a:off x="7812301" y="4841191"/>
            <a:ext cx="809907" cy="913965"/>
            <a:chOff x="8510801" y="5405233"/>
            <a:chExt cx="809907" cy="913965"/>
          </a:xfrm>
        </p:grpSpPr>
        <p:pic>
          <p:nvPicPr>
            <p:cNvPr id="6" name="Graphique 5" descr="Profil mâle avec un remplissage uni">
              <a:extLst>
                <a:ext uri="{FF2B5EF4-FFF2-40B4-BE49-F238E27FC236}">
                  <a16:creationId xmlns:a16="http://schemas.microsoft.com/office/drawing/2014/main" id="{FC9CB2B6-B281-C334-41F9-4C2C9372D1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55755" y="5599198"/>
              <a:ext cx="720000" cy="720000"/>
            </a:xfrm>
            <a:prstGeom prst="rect">
              <a:avLst/>
            </a:prstGeom>
            <a:effectLst>
              <a:outerShdw blurRad="50800" dist="38100" dir="2700000" algn="tl" rotWithShape="0">
                <a:prstClr val="black">
                  <a:alpha val="40000"/>
                </a:prstClr>
              </a:outerShdw>
            </a:effectLst>
          </p:spPr>
        </p:pic>
        <p:sp>
          <p:nvSpPr>
            <p:cNvPr id="18" name="ZoneTexte 17">
              <a:extLst>
                <a:ext uri="{FF2B5EF4-FFF2-40B4-BE49-F238E27FC236}">
                  <a16:creationId xmlns:a16="http://schemas.microsoft.com/office/drawing/2014/main" id="{78B83456-0A1A-F6FD-7371-7AC49EDBEB6D}"/>
                </a:ext>
              </a:extLst>
            </p:cNvPr>
            <p:cNvSpPr txBox="1"/>
            <p:nvPr/>
          </p:nvSpPr>
          <p:spPr>
            <a:xfrm>
              <a:off x="8510801" y="5405233"/>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grpSp>
      <p:sp>
        <p:nvSpPr>
          <p:cNvPr id="19" name="ZoneTexte 18">
            <a:extLst>
              <a:ext uri="{FF2B5EF4-FFF2-40B4-BE49-F238E27FC236}">
                <a16:creationId xmlns:a16="http://schemas.microsoft.com/office/drawing/2014/main" id="{254969D3-88DA-67E4-E222-CE083C4C2BAA}"/>
              </a:ext>
            </a:extLst>
          </p:cNvPr>
          <p:cNvSpPr txBox="1"/>
          <p:nvPr/>
        </p:nvSpPr>
        <p:spPr>
          <a:xfrm>
            <a:off x="8622208" y="5410545"/>
            <a:ext cx="2852571" cy="279180"/>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Bob se créé une clé privée</a:t>
            </a:r>
          </a:p>
        </p:txBody>
      </p:sp>
      <p:sp>
        <p:nvSpPr>
          <p:cNvPr id="20" name="Espace réservé du texte 4">
            <a:extLst>
              <a:ext uri="{FF2B5EF4-FFF2-40B4-BE49-F238E27FC236}">
                <a16:creationId xmlns:a16="http://schemas.microsoft.com/office/drawing/2014/main" id="{FA6E0866-DD77-ED45-F47F-148A6E90E91D}"/>
              </a:ext>
            </a:extLst>
          </p:cNvPr>
          <p:cNvSpPr txBox="1">
            <a:spLocks/>
          </p:cNvSpPr>
          <p:nvPr/>
        </p:nvSpPr>
        <p:spPr>
          <a:xfrm>
            <a:off x="411479" y="1371601"/>
            <a:ext cx="11369042" cy="85905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a:solidFill>
                  <a:srgbClr val="FF304D"/>
                </a:solidFill>
              </a:rPr>
              <a:t>Bob</a:t>
            </a:r>
            <a:r>
              <a:rPr lang="fr-FR" sz="1600"/>
              <a:t>  souhaite générer un certificat signé par </a:t>
            </a:r>
            <a:r>
              <a:rPr lang="fr-FR" sz="1600" b="1">
                <a:solidFill>
                  <a:srgbClr val="33B569"/>
                </a:solidFill>
              </a:rPr>
              <a:t>Charles</a:t>
            </a:r>
            <a:r>
              <a:rPr lang="fr-FR" sz="1600"/>
              <a:t> (une autorité de confiance) pour sécuriser un service web qu’il héberge. </a:t>
            </a:r>
            <a:r>
              <a:rPr lang="fr-FR" sz="1600" b="1">
                <a:solidFill>
                  <a:schemeClr val="accent2">
                    <a:lumMod val="40000"/>
                    <a:lumOff val="60000"/>
                  </a:schemeClr>
                </a:solidFill>
              </a:rPr>
              <a:t>Alice</a:t>
            </a:r>
            <a:r>
              <a:rPr lang="fr-FR" sz="1600"/>
              <a:t> souhaite consommer le service web hébergé par </a:t>
            </a:r>
            <a:r>
              <a:rPr lang="fr-FR" sz="1600" b="1">
                <a:solidFill>
                  <a:srgbClr val="FF304D"/>
                </a:solidFill>
              </a:rPr>
              <a:t>Bob</a:t>
            </a:r>
            <a:r>
              <a:rPr lang="fr-FR" sz="1600"/>
              <a:t>, et considère déjà </a:t>
            </a:r>
            <a:r>
              <a:rPr lang="fr-FR" sz="1600" b="1">
                <a:solidFill>
                  <a:srgbClr val="33B569"/>
                </a:solidFill>
              </a:rPr>
              <a:t>Charles</a:t>
            </a:r>
            <a:r>
              <a:rPr lang="fr-FR" sz="1600"/>
              <a:t> comme un partenaire de confiance.</a:t>
            </a:r>
          </a:p>
        </p:txBody>
      </p:sp>
      <p:grpSp>
        <p:nvGrpSpPr>
          <p:cNvPr id="8" name="Groupe 7">
            <a:extLst>
              <a:ext uri="{FF2B5EF4-FFF2-40B4-BE49-F238E27FC236}">
                <a16:creationId xmlns:a16="http://schemas.microsoft.com/office/drawing/2014/main" id="{F315E59E-D72D-5966-5E83-954B595C7E7B}"/>
              </a:ext>
            </a:extLst>
          </p:cNvPr>
          <p:cNvGrpSpPr/>
          <p:nvPr/>
        </p:nvGrpSpPr>
        <p:grpSpPr>
          <a:xfrm>
            <a:off x="4248220" y="2530694"/>
            <a:ext cx="1002140" cy="924597"/>
            <a:chOff x="4614066" y="3072744"/>
            <a:chExt cx="1002140" cy="924597"/>
          </a:xfrm>
        </p:grpSpPr>
        <p:pic>
          <p:nvPicPr>
            <p:cNvPr id="7" name="Graphique 6" descr="Utilisateur avec un remplissage uni">
              <a:extLst>
                <a:ext uri="{FF2B5EF4-FFF2-40B4-BE49-F238E27FC236}">
                  <a16:creationId xmlns:a16="http://schemas.microsoft.com/office/drawing/2014/main" id="{BEB75B9E-3CE3-0A46-358C-E2CA412244C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53091" y="3277341"/>
              <a:ext cx="720000" cy="720000"/>
            </a:xfrm>
            <a:prstGeom prst="rect">
              <a:avLst/>
            </a:prstGeom>
            <a:effectLst>
              <a:outerShdw blurRad="50800" dist="38100" dir="2700000" algn="tl" rotWithShape="0">
                <a:prstClr val="black">
                  <a:alpha val="40000"/>
                </a:prstClr>
              </a:outerShdw>
            </a:effectLst>
          </p:spPr>
        </p:pic>
        <p:sp>
          <p:nvSpPr>
            <p:cNvPr id="21" name="ZoneTexte 20">
              <a:extLst>
                <a:ext uri="{FF2B5EF4-FFF2-40B4-BE49-F238E27FC236}">
                  <a16:creationId xmlns:a16="http://schemas.microsoft.com/office/drawing/2014/main" id="{EAD6EC37-1085-736B-0099-AC3B2D6E29CC}"/>
                </a:ext>
              </a:extLst>
            </p:cNvPr>
            <p:cNvSpPr txBox="1"/>
            <p:nvPr/>
          </p:nvSpPr>
          <p:spPr>
            <a:xfrm>
              <a:off x="4614066" y="3072744"/>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33B569"/>
                  </a:solidFill>
                  <a:effectLst>
                    <a:outerShdw blurRad="38100" dist="38100" dir="2700000" algn="tl">
                      <a:srgbClr val="000000">
                        <a:alpha val="43137"/>
                      </a:srgbClr>
                    </a:outerShdw>
                  </a:effectLst>
                </a:rPr>
                <a:t>Charles</a:t>
              </a:r>
            </a:p>
          </p:txBody>
        </p:sp>
      </p:grpSp>
      <p:sp>
        <p:nvSpPr>
          <p:cNvPr id="22" name="ZoneTexte 21">
            <a:extLst>
              <a:ext uri="{FF2B5EF4-FFF2-40B4-BE49-F238E27FC236}">
                <a16:creationId xmlns:a16="http://schemas.microsoft.com/office/drawing/2014/main" id="{E1159C0B-FB31-4353-564A-9EF43FF36B97}"/>
              </a:ext>
            </a:extLst>
          </p:cNvPr>
          <p:cNvSpPr txBox="1"/>
          <p:nvPr/>
        </p:nvSpPr>
        <p:spPr>
          <a:xfrm>
            <a:off x="8309281" y="2992088"/>
            <a:ext cx="2473783" cy="1387176"/>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pPr algn="ctr"/>
            <a:r>
              <a:rPr lang="fr-FR"/>
              <a:t>A partir de sa clé privée, Bob génère une CSR contenant ses informations (nom, localisation …) et la clé publique qu’il souhaite faire signer</a:t>
            </a:r>
            <a:br>
              <a:rPr lang="fr-FR"/>
            </a:br>
            <a:endParaRPr lang="fr-FR"/>
          </a:p>
          <a:p>
            <a:r>
              <a:rPr lang="fr-FR"/>
              <a:t>Il transmet cette CSR à Charles</a:t>
            </a:r>
          </a:p>
        </p:txBody>
      </p:sp>
      <p:cxnSp>
        <p:nvCxnSpPr>
          <p:cNvPr id="26" name="Connecteur : en angle 25">
            <a:extLst>
              <a:ext uri="{FF2B5EF4-FFF2-40B4-BE49-F238E27FC236}">
                <a16:creationId xmlns:a16="http://schemas.microsoft.com/office/drawing/2014/main" id="{32A4766D-1ABB-41AF-FDFD-A4E6CD25573D}"/>
              </a:ext>
            </a:extLst>
          </p:cNvPr>
          <p:cNvCxnSpPr>
            <a:cxnSpLocks/>
            <a:stCxn id="16" idx="0"/>
          </p:cNvCxnSpPr>
          <p:nvPr/>
        </p:nvCxnSpPr>
        <p:spPr>
          <a:xfrm rot="5400000" flipH="1" flipV="1">
            <a:off x="1934944" y="2366897"/>
            <a:ext cx="1702566" cy="3202036"/>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7E8CE0CC-2A06-CEA6-8B7E-2A7AE6CAD731}"/>
              </a:ext>
            </a:extLst>
          </p:cNvPr>
          <p:cNvSpPr txBox="1"/>
          <p:nvPr/>
        </p:nvSpPr>
        <p:spPr>
          <a:xfrm>
            <a:off x="1709713" y="4628765"/>
            <a:ext cx="3015055" cy="648512"/>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Alice reconnait la signature de Charles sur le certificat de Bob, et peut donc terminer le Handshake Protocol</a:t>
            </a:r>
          </a:p>
        </p:txBody>
      </p:sp>
      <p:cxnSp>
        <p:nvCxnSpPr>
          <p:cNvPr id="34" name="Connecteur : en angle 33">
            <a:extLst>
              <a:ext uri="{FF2B5EF4-FFF2-40B4-BE49-F238E27FC236}">
                <a16:creationId xmlns:a16="http://schemas.microsoft.com/office/drawing/2014/main" id="{0D6C4FEF-E3D2-C3BD-9AF4-3E4C95D5F737}"/>
              </a:ext>
            </a:extLst>
          </p:cNvPr>
          <p:cNvCxnSpPr>
            <a:cxnSpLocks/>
            <a:stCxn id="18" idx="0"/>
          </p:cNvCxnSpPr>
          <p:nvPr/>
        </p:nvCxnSpPr>
        <p:spPr>
          <a:xfrm rot="16200000" flipV="1">
            <a:off x="5795294" y="2419230"/>
            <a:ext cx="1733912" cy="3110010"/>
          </a:xfrm>
          <a:prstGeom prst="bentConnector2">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43D9D71A-AF1D-8484-F68A-3DCD42374113}"/>
              </a:ext>
            </a:extLst>
          </p:cNvPr>
          <p:cNvSpPr txBox="1"/>
          <p:nvPr/>
        </p:nvSpPr>
        <p:spPr>
          <a:xfrm>
            <a:off x="4847128" y="5550135"/>
            <a:ext cx="3015055" cy="463846"/>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Quand Alice le contacte, Bob lui transmet le certificat signé par Charles</a:t>
            </a:r>
          </a:p>
        </p:txBody>
      </p:sp>
      <p:sp>
        <p:nvSpPr>
          <p:cNvPr id="42" name="ZoneTexte 41">
            <a:extLst>
              <a:ext uri="{FF2B5EF4-FFF2-40B4-BE49-F238E27FC236}">
                <a16:creationId xmlns:a16="http://schemas.microsoft.com/office/drawing/2014/main" id="{4A556071-3B06-3262-6531-4AD0276E5642}"/>
              </a:ext>
            </a:extLst>
          </p:cNvPr>
          <p:cNvSpPr txBox="1"/>
          <p:nvPr/>
        </p:nvSpPr>
        <p:spPr>
          <a:xfrm>
            <a:off x="1766348" y="2729041"/>
            <a:ext cx="1855242" cy="279180"/>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Fait confiance à Charles</a:t>
            </a:r>
          </a:p>
        </p:txBody>
      </p:sp>
      <p:cxnSp>
        <p:nvCxnSpPr>
          <p:cNvPr id="40" name="Connecteur droit avec flèche 39">
            <a:extLst>
              <a:ext uri="{FF2B5EF4-FFF2-40B4-BE49-F238E27FC236}">
                <a16:creationId xmlns:a16="http://schemas.microsoft.com/office/drawing/2014/main" id="{4210F38E-D359-F7B1-3FE3-348889A4303D}"/>
              </a:ext>
            </a:extLst>
          </p:cNvPr>
          <p:cNvCxnSpPr>
            <a:cxnSpLocks/>
            <a:stCxn id="7" idx="2"/>
            <a:endCxn id="18" idx="1"/>
          </p:cNvCxnSpPr>
          <p:nvPr/>
        </p:nvCxnSpPr>
        <p:spPr>
          <a:xfrm>
            <a:off x="4747245" y="3455291"/>
            <a:ext cx="3065056" cy="1540879"/>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CC040928-0186-65F8-0EB0-DC9617CFADC7}"/>
              </a:ext>
            </a:extLst>
          </p:cNvPr>
          <p:cNvSpPr txBox="1"/>
          <p:nvPr/>
        </p:nvSpPr>
        <p:spPr>
          <a:xfrm>
            <a:off x="5274560" y="3914994"/>
            <a:ext cx="2652244" cy="833178"/>
          </a:xfrm>
          <a:prstGeom prst="rect">
            <a:avLst/>
          </a:prstGeom>
          <a:solidFill>
            <a:schemeClr val="accent4">
              <a:lumMod val="90000"/>
              <a:lumOff val="10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vert="horz" wrap="square" lIns="90000" tIns="46800" rIns="90000" bIns="46800" rtlCol="0" anchor="ctr">
            <a:spAutoFit/>
          </a:bodyPr>
          <a:lstStyle>
            <a:defPPr>
              <a:defRPr lang="pt-PT"/>
            </a:defPPr>
            <a:lvl1pPr algn="ctr">
              <a:spcBef>
                <a:spcPct val="0"/>
              </a:spcBef>
              <a:defRPr sz="1200" b="0">
                <a:solidFill>
                  <a:schemeClr val="accent4">
                    <a:lumMod val="10000"/>
                    <a:lumOff val="90000"/>
                  </a:schemeClr>
                </a:solidFill>
                <a:effectLst>
                  <a:outerShdw blurRad="38100" dist="38100" dir="2700000" algn="tl">
                    <a:srgbClr val="000000">
                      <a:alpha val="43137"/>
                    </a:srgbClr>
                  </a:outerShdw>
                </a:effectLst>
              </a:defRPr>
            </a:lvl1pPr>
          </a:lstStyle>
          <a:p>
            <a:r>
              <a:rPr lang="fr-FR"/>
              <a:t>Charles vérifie l’identité de Bob</a:t>
            </a:r>
            <a:br>
              <a:rPr lang="fr-FR"/>
            </a:br>
            <a:endParaRPr lang="fr-FR"/>
          </a:p>
          <a:p>
            <a:r>
              <a:rPr lang="fr-FR"/>
              <a:t>Il accepte la demande, génère un certificat et lui envoie</a:t>
            </a:r>
          </a:p>
        </p:txBody>
      </p:sp>
      <p:sp>
        <p:nvSpPr>
          <p:cNvPr id="45" name="ZoneTexte 44">
            <a:extLst>
              <a:ext uri="{FF2B5EF4-FFF2-40B4-BE49-F238E27FC236}">
                <a16:creationId xmlns:a16="http://schemas.microsoft.com/office/drawing/2014/main" id="{7E657518-5F35-9D5A-97EA-6BF95AB7B17D}"/>
              </a:ext>
            </a:extLst>
          </p:cNvPr>
          <p:cNvSpPr txBox="1"/>
          <p:nvPr/>
        </p:nvSpPr>
        <p:spPr>
          <a:xfrm>
            <a:off x="9883046" y="4891747"/>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1</a:t>
            </a:r>
          </a:p>
        </p:txBody>
      </p:sp>
      <p:sp>
        <p:nvSpPr>
          <p:cNvPr id="46" name="ZoneTexte 45">
            <a:extLst>
              <a:ext uri="{FF2B5EF4-FFF2-40B4-BE49-F238E27FC236}">
                <a16:creationId xmlns:a16="http://schemas.microsoft.com/office/drawing/2014/main" id="{A68C3604-7F57-D0B5-86FA-6160A7D401E1}"/>
              </a:ext>
            </a:extLst>
          </p:cNvPr>
          <p:cNvSpPr txBox="1"/>
          <p:nvPr/>
        </p:nvSpPr>
        <p:spPr>
          <a:xfrm>
            <a:off x="9380725" y="2479605"/>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2</a:t>
            </a:r>
          </a:p>
        </p:txBody>
      </p:sp>
      <p:sp>
        <p:nvSpPr>
          <p:cNvPr id="47" name="ZoneTexte 46">
            <a:extLst>
              <a:ext uri="{FF2B5EF4-FFF2-40B4-BE49-F238E27FC236}">
                <a16:creationId xmlns:a16="http://schemas.microsoft.com/office/drawing/2014/main" id="{B7026A14-4F7D-7056-EF7B-2258D56A188C}"/>
              </a:ext>
            </a:extLst>
          </p:cNvPr>
          <p:cNvSpPr txBox="1"/>
          <p:nvPr/>
        </p:nvSpPr>
        <p:spPr>
          <a:xfrm>
            <a:off x="6496803" y="3389593"/>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3</a:t>
            </a:r>
          </a:p>
        </p:txBody>
      </p:sp>
      <p:sp>
        <p:nvSpPr>
          <p:cNvPr id="48" name="ZoneTexte 47">
            <a:extLst>
              <a:ext uri="{FF2B5EF4-FFF2-40B4-BE49-F238E27FC236}">
                <a16:creationId xmlns:a16="http://schemas.microsoft.com/office/drawing/2014/main" id="{CC490989-664C-2BC3-917B-CBA60940D340}"/>
              </a:ext>
            </a:extLst>
          </p:cNvPr>
          <p:cNvSpPr txBox="1"/>
          <p:nvPr/>
        </p:nvSpPr>
        <p:spPr>
          <a:xfrm>
            <a:off x="6056165" y="5978128"/>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4</a:t>
            </a:r>
          </a:p>
        </p:txBody>
      </p:sp>
      <p:sp>
        <p:nvSpPr>
          <p:cNvPr id="49" name="ZoneTexte 48">
            <a:extLst>
              <a:ext uri="{FF2B5EF4-FFF2-40B4-BE49-F238E27FC236}">
                <a16:creationId xmlns:a16="http://schemas.microsoft.com/office/drawing/2014/main" id="{BF11A815-5ACD-3D12-91D8-B917FEE6B622}"/>
              </a:ext>
            </a:extLst>
          </p:cNvPr>
          <p:cNvSpPr txBox="1"/>
          <p:nvPr/>
        </p:nvSpPr>
        <p:spPr>
          <a:xfrm>
            <a:off x="2479311" y="2203640"/>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5</a:t>
            </a:r>
          </a:p>
        </p:txBody>
      </p:sp>
      <p:sp>
        <p:nvSpPr>
          <p:cNvPr id="50" name="ZoneTexte 49">
            <a:extLst>
              <a:ext uri="{FF2B5EF4-FFF2-40B4-BE49-F238E27FC236}">
                <a16:creationId xmlns:a16="http://schemas.microsoft.com/office/drawing/2014/main" id="{50B717E4-4B4D-0430-0185-8697F51436A2}"/>
              </a:ext>
            </a:extLst>
          </p:cNvPr>
          <p:cNvSpPr txBox="1"/>
          <p:nvPr/>
        </p:nvSpPr>
        <p:spPr>
          <a:xfrm>
            <a:off x="3051793" y="4150072"/>
            <a:ext cx="330893" cy="525401"/>
          </a:xfrm>
          <a:prstGeom prst="rect">
            <a:avLst/>
          </a:prstGeom>
          <a:noFill/>
        </p:spPr>
        <p:txBody>
          <a:bodyPr vert="horz" wrap="square" lIns="90000" tIns="46800" rIns="90000" bIns="46800" rtlCol="0" anchor="ctr">
            <a:spAutoFit/>
          </a:bodyPr>
          <a:lstStyle/>
          <a:p>
            <a:pPr algn="ctr">
              <a:spcBef>
                <a:spcPct val="0"/>
              </a:spcBef>
            </a:pPr>
            <a:r>
              <a:rPr lang="fr-FR" sz="2800" b="1">
                <a:solidFill>
                  <a:srgbClr val="FFC000"/>
                </a:solidFill>
                <a:effectLst>
                  <a:outerShdw blurRad="38100" dist="38100" dir="2700000" algn="tl">
                    <a:srgbClr val="000000">
                      <a:alpha val="43137"/>
                    </a:srgbClr>
                  </a:outerShdw>
                </a:effectLst>
              </a:rPr>
              <a:t>6</a:t>
            </a:r>
          </a:p>
        </p:txBody>
      </p:sp>
    </p:spTree>
    <p:extLst>
      <p:ext uri="{BB962C8B-B14F-4D97-AF65-F5344CB8AC3E}">
        <p14:creationId xmlns:p14="http://schemas.microsoft.com/office/powerpoint/2010/main" val="3415594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874208"/>
            <a:ext cx="11356975" cy="1107996"/>
          </a:xfrm>
        </p:spPr>
        <p:txBody>
          <a:bodyPr/>
          <a:lstStyle/>
          <a:p>
            <a:r>
              <a:rPr lang="fr-FR"/>
              <a:t>Le </a:t>
            </a:r>
            <a:r>
              <a:rPr lang="fr-FR" err="1">
                <a:solidFill>
                  <a:srgbClr val="FFC000"/>
                </a:solidFill>
              </a:rPr>
              <a:t>m</a:t>
            </a:r>
            <a:r>
              <a:rPr lang="fr-FR" err="1"/>
              <a:t>utual</a:t>
            </a:r>
            <a:r>
              <a:rPr lang="fr-FR"/>
              <a:t> </a:t>
            </a:r>
            <a:r>
              <a:rPr lang="fr-FR">
                <a:solidFill>
                  <a:srgbClr val="FFC000"/>
                </a:solidFill>
              </a:rPr>
              <a:t>TLS</a:t>
            </a:r>
            <a:r>
              <a:rPr lang="fr-FR"/>
              <a:t> (</a:t>
            </a:r>
            <a:r>
              <a:rPr lang="fr-FR">
                <a:solidFill>
                  <a:srgbClr val="FFC000"/>
                </a:solidFill>
              </a:rPr>
              <a:t>mTLS</a:t>
            </a:r>
            <a:r>
              <a:rPr lang="fr-FR"/>
              <a:t>)</a:t>
            </a:r>
          </a:p>
        </p:txBody>
      </p:sp>
    </p:spTree>
    <p:extLst>
      <p:ext uri="{BB962C8B-B14F-4D97-AF65-F5344CB8AC3E}">
        <p14:creationId xmlns:p14="http://schemas.microsoft.com/office/powerpoint/2010/main" val="37401346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Une identification dans les deux sen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052513"/>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Dans les exemples précédents, </a:t>
            </a:r>
            <a:r>
              <a:rPr lang="fr-FR" sz="1600" b="1">
                <a:solidFill>
                  <a:schemeClr val="accent2">
                    <a:lumMod val="40000"/>
                    <a:lumOff val="60000"/>
                  </a:schemeClr>
                </a:solidFill>
              </a:rPr>
              <a:t>Alice</a:t>
            </a:r>
            <a:r>
              <a:rPr lang="fr-FR" sz="1600" b="1"/>
              <a:t> vérifiait l’identité de Bob pendant le Handshake </a:t>
            </a:r>
            <a:r>
              <a:rPr lang="fr-FR" sz="1600" b="1" err="1"/>
              <a:t>protocol</a:t>
            </a:r>
            <a:r>
              <a:rPr lang="fr-FR" sz="1600" b="1"/>
              <a:t> avant de lui envoyer des données chiffrées avec sa clé publiqu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En revanche, </a:t>
            </a:r>
            <a:r>
              <a:rPr lang="fr-FR" sz="1600" b="1">
                <a:solidFill>
                  <a:srgbClr val="FF455E"/>
                </a:solidFill>
              </a:rPr>
              <a:t>Bob</a:t>
            </a:r>
            <a:r>
              <a:rPr lang="fr-FR" sz="1600" b="1"/>
              <a:t> était hébergeur d’un service « Open Bar » : il faisait confiance à tout le monde !</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Il y a plusieurs moyens différents pour </a:t>
            </a:r>
            <a:r>
              <a:rPr lang="fr-FR" sz="1600" b="1">
                <a:solidFill>
                  <a:srgbClr val="FF455E"/>
                </a:solidFill>
              </a:rPr>
              <a:t>Bob</a:t>
            </a:r>
            <a:r>
              <a:rPr lang="fr-FR" sz="1600" b="1"/>
              <a:t> de contrôler l’accès à son service :</a:t>
            </a:r>
          </a:p>
          <a:p>
            <a:pPr marL="466725" lvl="1" indent="-285750">
              <a:buFont typeface="Arial" panose="020B0604020202020204" pitchFamily="34" charset="0"/>
              <a:buChar char="•"/>
            </a:pPr>
            <a:r>
              <a:rPr lang="fr-FR" sz="1600"/>
              <a:t>Forcer un mécanisme d’identification (Basic </a:t>
            </a:r>
            <a:r>
              <a:rPr lang="fr-FR" sz="1600" err="1"/>
              <a:t>Auth</a:t>
            </a:r>
            <a:r>
              <a:rPr lang="fr-FR" sz="1600"/>
              <a:t> pour du login / mot de passe, Basic </a:t>
            </a:r>
            <a:r>
              <a:rPr lang="fr-FR" sz="1600" err="1"/>
              <a:t>Bearer</a:t>
            </a:r>
            <a:r>
              <a:rPr lang="fr-FR" sz="1600"/>
              <a:t> pour du token)</a:t>
            </a:r>
          </a:p>
          <a:p>
            <a:pPr marL="466725" lvl="1" indent="-285750">
              <a:buFont typeface="Arial" panose="020B0604020202020204" pitchFamily="34" charset="0"/>
              <a:buChar char="•"/>
            </a:pPr>
            <a:r>
              <a:rPr lang="fr-FR" sz="1600"/>
              <a:t>Filtrer les sources IP sur le firewall en entrée</a:t>
            </a:r>
          </a:p>
          <a:p>
            <a:pPr marL="466725" lvl="1" indent="-285750">
              <a:buFont typeface="Arial" panose="020B0604020202020204" pitchFamily="34" charset="0"/>
              <a:buChar char="•"/>
            </a:pPr>
            <a:endParaRPr lang="fr-FR" sz="1600"/>
          </a:p>
          <a:p>
            <a:pPr marL="285750" indent="-285750">
              <a:buFont typeface="Arial" panose="020B0604020202020204" pitchFamily="34" charset="0"/>
              <a:buChar char="•"/>
            </a:pPr>
            <a:r>
              <a:rPr lang="fr-FR" sz="1600" b="1"/>
              <a:t>Une autre solution : mettre en place un </a:t>
            </a:r>
            <a:r>
              <a:rPr lang="fr-FR" sz="1600" b="1" err="1">
                <a:solidFill>
                  <a:srgbClr val="FFC000"/>
                </a:solidFill>
              </a:rPr>
              <a:t>m</a:t>
            </a:r>
            <a:r>
              <a:rPr lang="fr-FR" sz="1600" b="1" err="1"/>
              <a:t>utual</a:t>
            </a:r>
            <a:r>
              <a:rPr lang="fr-FR" sz="1600" b="1">
                <a:solidFill>
                  <a:srgbClr val="FFC000"/>
                </a:solidFill>
              </a:rPr>
              <a:t> TLS </a:t>
            </a:r>
            <a:r>
              <a:rPr lang="fr-FR" sz="1600" b="1"/>
              <a:t>(</a:t>
            </a:r>
            <a:r>
              <a:rPr lang="fr-FR" sz="1600" b="1">
                <a:solidFill>
                  <a:srgbClr val="FFC000"/>
                </a:solidFill>
              </a:rPr>
              <a:t>mTLS</a:t>
            </a:r>
            <a:r>
              <a:rPr lang="fr-FR" sz="1600" b="1"/>
              <a:t>)</a:t>
            </a:r>
          </a:p>
          <a:p>
            <a:pPr marL="466725" lvl="1" indent="-285750">
              <a:buFont typeface="Arial" panose="020B0604020202020204" pitchFamily="34" charset="0"/>
              <a:buChar char="•"/>
            </a:pPr>
            <a:r>
              <a:rPr lang="fr-FR" sz="1600"/>
              <a:t>Lors du Handshake Protocol, </a:t>
            </a:r>
            <a:r>
              <a:rPr lang="fr-FR" sz="1600" b="1">
                <a:solidFill>
                  <a:srgbClr val="FF455E"/>
                </a:solidFill>
              </a:rPr>
              <a:t>Bob</a:t>
            </a:r>
            <a:r>
              <a:rPr lang="fr-FR" sz="1600"/>
              <a:t> va présenter des autorités de certification qu’il accepte</a:t>
            </a:r>
          </a:p>
          <a:p>
            <a:pPr marL="466725" lvl="1" indent="-285750">
              <a:buFont typeface="Arial" panose="020B0604020202020204" pitchFamily="34" charset="0"/>
              <a:buChar char="•"/>
            </a:pPr>
            <a:r>
              <a:rPr lang="fr-FR" sz="1600" b="1">
                <a:solidFill>
                  <a:schemeClr val="accent2">
                    <a:lumMod val="40000"/>
                    <a:lumOff val="60000"/>
                  </a:schemeClr>
                </a:solidFill>
              </a:rPr>
              <a:t>Alice</a:t>
            </a:r>
            <a:r>
              <a:rPr lang="fr-FR" sz="1600"/>
              <a:t> devra présenter un certificat valide, certifié par une des AC, pour que </a:t>
            </a:r>
            <a:r>
              <a:rPr lang="fr-FR" sz="1600" b="1">
                <a:solidFill>
                  <a:srgbClr val="FF455E"/>
                </a:solidFill>
              </a:rPr>
              <a:t>Bob</a:t>
            </a:r>
            <a:r>
              <a:rPr lang="fr-FR" sz="1600"/>
              <a:t> accepte de la laisser passer</a:t>
            </a:r>
          </a:p>
          <a:p>
            <a:pPr marL="466725" lvl="1" indent="-285750">
              <a:buFont typeface="Arial" panose="020B0604020202020204" pitchFamily="34" charset="0"/>
              <a:buChar char="•"/>
            </a:pPr>
            <a:r>
              <a:rPr lang="fr-FR" sz="1600" b="1">
                <a:solidFill>
                  <a:schemeClr val="accent2">
                    <a:lumMod val="40000"/>
                    <a:lumOff val="60000"/>
                  </a:schemeClr>
                </a:solidFill>
              </a:rPr>
              <a:t>Alice</a:t>
            </a:r>
            <a:r>
              <a:rPr lang="fr-FR" sz="1600"/>
              <a:t> présente son certificat, chiffré par la clé publique de </a:t>
            </a:r>
            <a:r>
              <a:rPr lang="fr-FR" sz="1600" b="1">
                <a:solidFill>
                  <a:srgbClr val="FF455E"/>
                </a:solidFill>
              </a:rPr>
              <a:t>Bob</a:t>
            </a:r>
            <a:r>
              <a:rPr lang="fr-FR" sz="1600"/>
              <a:t>, en même temps que la clé asymétrique de session</a:t>
            </a:r>
          </a:p>
          <a:p>
            <a:endParaRPr lang="fr-FR" sz="1600"/>
          </a:p>
          <a:p>
            <a:pPr algn="ctr"/>
            <a:r>
              <a:rPr lang="fr-FR" sz="2400" b="1">
                <a:solidFill>
                  <a:srgbClr val="FFC000"/>
                </a:solidFill>
              </a:rPr>
              <a:t>Les mécanismes de sécurité cités ne sont pas exclusifs ! Ils peuvent tous être mis en place en même temps !</a:t>
            </a:r>
          </a:p>
          <a:p>
            <a:pPr marL="466725" lvl="1" indent="-285750">
              <a:buFont typeface="Arial" panose="020B0604020202020204" pitchFamily="34" charset="0"/>
              <a:buChar char="•"/>
            </a:pPr>
            <a:endParaRPr lang="fr-FR" sz="1600"/>
          </a:p>
          <a:p>
            <a:pPr marL="466725" lvl="1" indent="-285750">
              <a:buFont typeface="Arial" panose="020B0604020202020204" pitchFamily="34" charset="0"/>
              <a:buChar char="•"/>
            </a:pPr>
            <a:endParaRPr lang="fr-FR" sz="1600"/>
          </a:p>
        </p:txBody>
      </p:sp>
      <p:pic>
        <p:nvPicPr>
          <p:cNvPr id="4" name="Graphique 3" descr="Profil femelle avec un remplissage uni">
            <a:extLst>
              <a:ext uri="{FF2B5EF4-FFF2-40B4-BE49-F238E27FC236}">
                <a16:creationId xmlns:a16="http://schemas.microsoft.com/office/drawing/2014/main" id="{5F4A7732-FE6F-FC60-060D-9B82E6FE66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79263" y="3502520"/>
            <a:ext cx="596523" cy="596523"/>
          </a:xfrm>
          <a:prstGeom prst="rect">
            <a:avLst/>
          </a:prstGeom>
          <a:effectLst>
            <a:outerShdw blurRad="50800" dist="38100" dir="2700000" algn="tl" rotWithShape="0">
              <a:prstClr val="black">
                <a:alpha val="40000"/>
              </a:prstClr>
            </a:outerShdw>
          </a:effectLst>
        </p:spPr>
      </p:pic>
      <p:pic>
        <p:nvPicPr>
          <p:cNvPr id="5" name="Graphique 4" descr="Profil mâle avec un remplissage uni">
            <a:extLst>
              <a:ext uri="{FF2B5EF4-FFF2-40B4-BE49-F238E27FC236}">
                <a16:creationId xmlns:a16="http://schemas.microsoft.com/office/drawing/2014/main" id="{8B920EA2-85EA-1D29-8C29-0FE5B93FBD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17090" y="3502520"/>
            <a:ext cx="596523" cy="596523"/>
          </a:xfrm>
          <a:prstGeom prst="rect">
            <a:avLst/>
          </a:prstGeom>
          <a:effectLst>
            <a:outerShdw blurRad="50800" dist="38100" dir="2700000" algn="tl" rotWithShape="0">
              <a:prstClr val="black">
                <a:alpha val="40000"/>
              </a:prstClr>
            </a:outerShdw>
          </a:effectLst>
        </p:spPr>
      </p:pic>
      <p:cxnSp>
        <p:nvCxnSpPr>
          <p:cNvPr id="6" name="Connecteur droit avec flèche 5">
            <a:extLst>
              <a:ext uri="{FF2B5EF4-FFF2-40B4-BE49-F238E27FC236}">
                <a16:creationId xmlns:a16="http://schemas.microsoft.com/office/drawing/2014/main" id="{2097EB42-315E-025F-7689-C9BCD320DA54}"/>
              </a:ext>
            </a:extLst>
          </p:cNvPr>
          <p:cNvCxnSpPr>
            <a:cxnSpLocks/>
            <a:stCxn id="4" idx="3"/>
            <a:endCxn id="5" idx="1"/>
          </p:cNvCxnSpPr>
          <p:nvPr/>
        </p:nvCxnSpPr>
        <p:spPr>
          <a:xfrm>
            <a:off x="8275786" y="3800782"/>
            <a:ext cx="1941304" cy="0"/>
          </a:xfrm>
          <a:prstGeom prst="straightConnector1">
            <a:avLst/>
          </a:prstGeom>
          <a:ln w="28575">
            <a:solidFill>
              <a:schemeClr val="accent4">
                <a:lumMod val="50000"/>
                <a:lumOff val="50000"/>
              </a:schemeClr>
            </a:solidFill>
            <a:prstDash val="sysDash"/>
            <a:headEnd type="triangl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A285641D-EE22-137F-A043-B6E3BEAE94D1}"/>
              </a:ext>
            </a:extLst>
          </p:cNvPr>
          <p:cNvSpPr txBox="1"/>
          <p:nvPr/>
        </p:nvSpPr>
        <p:spPr>
          <a:xfrm>
            <a:off x="10110397" y="3239418"/>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9" name="ZoneTexte 8">
            <a:extLst>
              <a:ext uri="{FF2B5EF4-FFF2-40B4-BE49-F238E27FC236}">
                <a16:creationId xmlns:a16="http://schemas.microsoft.com/office/drawing/2014/main" id="{C69B28C7-1B4C-37BB-042D-5D6DF69A93ED}"/>
              </a:ext>
            </a:extLst>
          </p:cNvPr>
          <p:cNvSpPr txBox="1"/>
          <p:nvPr/>
        </p:nvSpPr>
        <p:spPr>
          <a:xfrm>
            <a:off x="7476454" y="3239418"/>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Tree>
    <p:extLst>
      <p:ext uri="{BB962C8B-B14F-4D97-AF65-F5344CB8AC3E}">
        <p14:creationId xmlns:p14="http://schemas.microsoft.com/office/powerpoint/2010/main" val="36880948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41745" y="1317649"/>
            <a:ext cx="2613539" cy="4752528"/>
          </a:xfrm>
        </p:spPr>
        <p:txBody>
          <a:bodyPr numCol="1" anchor="ctr"/>
          <a:lstStyle/>
          <a:p>
            <a:pPr marL="285750" indent="-285750">
              <a:buFont typeface="Arial" panose="020B0604020202020204" pitchFamily="34" charset="0"/>
              <a:buChar char="•"/>
            </a:pPr>
            <a:r>
              <a:rPr lang="fr-FR" sz="1200" b="1"/>
              <a:t>Quand Bob répond à la sollicitation initiale d’Alice, il lui fourni la liste des AC qu’il accept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Alice génère la clé de session, puis la signe avec sa clé privée</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Elle envoi à Bob la clé de session et son certificat client, le tout chiffré avec la clé publique de Bob</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Bob déchiffre le contenu, valide que le certificat est correct, et vérifie que la signature de la clé de session correspond bien au certificat fournis</a:t>
            </a:r>
          </a:p>
          <a:p>
            <a:pPr marL="285750" indent="-285750">
              <a:buFont typeface="Arial" panose="020B0604020202020204" pitchFamily="34" charset="0"/>
              <a:buChar char="•"/>
            </a:pPr>
            <a:endParaRPr lang="fr-FR" sz="1200" b="1"/>
          </a:p>
          <a:p>
            <a:pPr marL="285750" indent="-285750">
              <a:buFont typeface="Arial" panose="020B0604020202020204" pitchFamily="34" charset="0"/>
              <a:buChar char="•"/>
            </a:pPr>
            <a:r>
              <a:rPr lang="fr-FR" sz="1200" b="1"/>
              <a:t>Si tout est OK, la session TLS peut commencer !</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e Handshake Protocol mTLS en action</a:t>
            </a:r>
          </a:p>
        </p:txBody>
      </p:sp>
      <p:pic>
        <p:nvPicPr>
          <p:cNvPr id="17" name="Graphique 16" descr="Profil femelle avec un remplissage uni">
            <a:extLst>
              <a:ext uri="{FF2B5EF4-FFF2-40B4-BE49-F238E27FC236}">
                <a16:creationId xmlns:a16="http://schemas.microsoft.com/office/drawing/2014/main" id="{C773D4D4-4BE4-5F35-EF3F-48204D7D33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9539" y="1255908"/>
            <a:ext cx="914400" cy="914400"/>
          </a:xfrm>
          <a:prstGeom prst="rect">
            <a:avLst/>
          </a:prstGeom>
          <a:effectLst>
            <a:outerShdw blurRad="50800" dist="38100" dir="2700000" algn="tl" rotWithShape="0">
              <a:prstClr val="black">
                <a:alpha val="40000"/>
              </a:prstClr>
            </a:outerShdw>
          </a:effectLst>
        </p:spPr>
      </p:pic>
      <p:pic>
        <p:nvPicPr>
          <p:cNvPr id="20" name="Graphique 19" descr="Profil mâle avec un remplissage uni">
            <a:extLst>
              <a:ext uri="{FF2B5EF4-FFF2-40B4-BE49-F238E27FC236}">
                <a16:creationId xmlns:a16="http://schemas.microsoft.com/office/drawing/2014/main" id="{97364EAC-9ED2-262D-50CF-9139D6E4F9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35598" y="1340768"/>
            <a:ext cx="914400" cy="914400"/>
          </a:xfrm>
          <a:prstGeom prst="rect">
            <a:avLst/>
          </a:prstGeom>
          <a:effectLst>
            <a:outerShdw blurRad="50800" dist="38100" dir="2700000" algn="tl" rotWithShape="0">
              <a:prstClr val="black">
                <a:alpha val="40000"/>
              </a:prstClr>
            </a:outerShdw>
          </a:effectLst>
        </p:spPr>
      </p:pic>
      <p:cxnSp>
        <p:nvCxnSpPr>
          <p:cNvPr id="24" name="Connecteur droit avec flèche 23">
            <a:extLst>
              <a:ext uri="{FF2B5EF4-FFF2-40B4-BE49-F238E27FC236}">
                <a16:creationId xmlns:a16="http://schemas.microsoft.com/office/drawing/2014/main" id="{09086437-0E2B-6D61-5E52-2983B04A98A5}"/>
              </a:ext>
            </a:extLst>
          </p:cNvPr>
          <p:cNvCxnSpPr>
            <a:cxnSpLocks/>
          </p:cNvCxnSpPr>
          <p:nvPr/>
        </p:nvCxnSpPr>
        <p:spPr>
          <a:xfrm>
            <a:off x="4126739" y="2170308"/>
            <a:ext cx="0" cy="4067004"/>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FAECB01B-C3AA-7D0C-D138-5A0022016B85}"/>
              </a:ext>
            </a:extLst>
          </p:cNvPr>
          <p:cNvCxnSpPr>
            <a:cxnSpLocks/>
            <a:stCxn id="20" idx="2"/>
          </p:cNvCxnSpPr>
          <p:nvPr/>
        </p:nvCxnSpPr>
        <p:spPr>
          <a:xfrm>
            <a:off x="10592798" y="2255168"/>
            <a:ext cx="0" cy="4054152"/>
          </a:xfrm>
          <a:prstGeom prst="straightConnector1">
            <a:avLst/>
          </a:prstGeom>
          <a:ln w="28575">
            <a:solidFill>
              <a:schemeClr val="accent4">
                <a:lumMod val="50000"/>
                <a:lumOff val="5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63BCE5EB-F9EA-E22A-3F76-C95DB9DE7036}"/>
              </a:ext>
            </a:extLst>
          </p:cNvPr>
          <p:cNvCxnSpPr>
            <a:cxnSpLocks/>
          </p:cNvCxnSpPr>
          <p:nvPr/>
        </p:nvCxnSpPr>
        <p:spPr>
          <a:xfrm>
            <a:off x="4223900" y="2298619"/>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ZoneTexte 55">
            <a:extLst>
              <a:ext uri="{FF2B5EF4-FFF2-40B4-BE49-F238E27FC236}">
                <a16:creationId xmlns:a16="http://schemas.microsoft.com/office/drawing/2014/main" id="{0F9AC769-62CB-7F24-352D-7E0CE413AEC7}"/>
              </a:ext>
            </a:extLst>
          </p:cNvPr>
          <p:cNvSpPr txBox="1"/>
          <p:nvPr/>
        </p:nvSpPr>
        <p:spPr>
          <a:xfrm>
            <a:off x="10187844" y="1113781"/>
            <a:ext cx="809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Bob</a:t>
            </a:r>
          </a:p>
        </p:txBody>
      </p:sp>
      <p:sp>
        <p:nvSpPr>
          <p:cNvPr id="57" name="ZoneTexte 56">
            <a:extLst>
              <a:ext uri="{FF2B5EF4-FFF2-40B4-BE49-F238E27FC236}">
                <a16:creationId xmlns:a16="http://schemas.microsoft.com/office/drawing/2014/main" id="{AAB20294-66ED-FFFF-57A0-0B8509B57C6D}"/>
              </a:ext>
            </a:extLst>
          </p:cNvPr>
          <p:cNvSpPr txBox="1"/>
          <p:nvPr/>
        </p:nvSpPr>
        <p:spPr>
          <a:xfrm>
            <a:off x="3625669" y="999232"/>
            <a:ext cx="100214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Alice</a:t>
            </a:r>
          </a:p>
        </p:txBody>
      </p:sp>
      <p:sp>
        <p:nvSpPr>
          <p:cNvPr id="72" name="ZoneTexte 71">
            <a:extLst>
              <a:ext uri="{FF2B5EF4-FFF2-40B4-BE49-F238E27FC236}">
                <a16:creationId xmlns:a16="http://schemas.microsoft.com/office/drawing/2014/main" id="{80BF8ABF-6F8B-228E-38CF-CA09F9AC7546}"/>
              </a:ext>
            </a:extLst>
          </p:cNvPr>
          <p:cNvSpPr txBox="1"/>
          <p:nvPr/>
        </p:nvSpPr>
        <p:spPr>
          <a:xfrm>
            <a:off x="4616314" y="1988661"/>
            <a:ext cx="1612850"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lient Hello</a:t>
            </a:r>
          </a:p>
        </p:txBody>
      </p:sp>
      <p:cxnSp>
        <p:nvCxnSpPr>
          <p:cNvPr id="73" name="Connecteur droit avec flèche 72">
            <a:extLst>
              <a:ext uri="{FF2B5EF4-FFF2-40B4-BE49-F238E27FC236}">
                <a16:creationId xmlns:a16="http://schemas.microsoft.com/office/drawing/2014/main" id="{25D87FB7-E5F1-96FC-21DB-9F467F525705}"/>
              </a:ext>
            </a:extLst>
          </p:cNvPr>
          <p:cNvCxnSpPr>
            <a:cxnSpLocks/>
          </p:cNvCxnSpPr>
          <p:nvPr/>
        </p:nvCxnSpPr>
        <p:spPr>
          <a:xfrm flipH="1">
            <a:off x="4237709" y="2877367"/>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6" name="ZoneTexte 75">
            <a:extLst>
              <a:ext uri="{FF2B5EF4-FFF2-40B4-BE49-F238E27FC236}">
                <a16:creationId xmlns:a16="http://schemas.microsoft.com/office/drawing/2014/main" id="{D164F4BB-8A26-96F7-E70B-AA39638B317D}"/>
              </a:ext>
            </a:extLst>
          </p:cNvPr>
          <p:cNvSpPr txBox="1"/>
          <p:nvPr/>
        </p:nvSpPr>
        <p:spPr>
          <a:xfrm>
            <a:off x="8538937" y="2600252"/>
            <a:ext cx="164890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a:t>
            </a:r>
          </a:p>
        </p:txBody>
      </p:sp>
      <p:cxnSp>
        <p:nvCxnSpPr>
          <p:cNvPr id="77" name="Connecteur droit avec flèche 76">
            <a:extLst>
              <a:ext uri="{FF2B5EF4-FFF2-40B4-BE49-F238E27FC236}">
                <a16:creationId xmlns:a16="http://schemas.microsoft.com/office/drawing/2014/main" id="{58E55401-A71B-B787-C362-8B4ED32AFF24}"/>
              </a:ext>
            </a:extLst>
          </p:cNvPr>
          <p:cNvCxnSpPr>
            <a:cxnSpLocks/>
          </p:cNvCxnSpPr>
          <p:nvPr/>
        </p:nvCxnSpPr>
        <p:spPr>
          <a:xfrm flipH="1">
            <a:off x="4237709" y="3198242"/>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ABA5A530-4012-CBC6-E319-74DF80515D9E}"/>
              </a:ext>
            </a:extLst>
          </p:cNvPr>
          <p:cNvSpPr txBox="1"/>
          <p:nvPr/>
        </p:nvSpPr>
        <p:spPr>
          <a:xfrm>
            <a:off x="7985292" y="2888284"/>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ertificat (clé publique)</a:t>
            </a:r>
          </a:p>
        </p:txBody>
      </p:sp>
      <p:cxnSp>
        <p:nvCxnSpPr>
          <p:cNvPr id="79" name="Connecteur droit avec flèche 78">
            <a:extLst>
              <a:ext uri="{FF2B5EF4-FFF2-40B4-BE49-F238E27FC236}">
                <a16:creationId xmlns:a16="http://schemas.microsoft.com/office/drawing/2014/main" id="{5020F59C-967E-72EC-BFEA-CF0BD3902F9C}"/>
              </a:ext>
            </a:extLst>
          </p:cNvPr>
          <p:cNvCxnSpPr>
            <a:cxnSpLocks/>
          </p:cNvCxnSpPr>
          <p:nvPr/>
        </p:nvCxnSpPr>
        <p:spPr>
          <a:xfrm flipH="1">
            <a:off x="4223900" y="377837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0E3D098D-ACE6-0371-5B41-DF2EB6A5790A}"/>
              </a:ext>
            </a:extLst>
          </p:cNvPr>
          <p:cNvSpPr txBox="1"/>
          <p:nvPr/>
        </p:nvSpPr>
        <p:spPr>
          <a:xfrm>
            <a:off x="7996497" y="3490342"/>
            <a:ext cx="2210397"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Server Hello </a:t>
            </a:r>
            <a:r>
              <a:rPr lang="fr-FR" sz="1400" b="1" err="1">
                <a:solidFill>
                  <a:srgbClr val="FF304D"/>
                </a:solidFill>
                <a:effectLst>
                  <a:outerShdw blurRad="38100" dist="38100" dir="2700000" algn="tl">
                    <a:srgbClr val="000000">
                      <a:alpha val="43137"/>
                    </a:srgbClr>
                  </a:outerShdw>
                </a:effectLst>
              </a:rPr>
              <a:t>Done</a:t>
            </a:r>
            <a:endParaRPr lang="fr-FR" sz="1400" b="1">
              <a:solidFill>
                <a:srgbClr val="FF304D"/>
              </a:solidFill>
              <a:effectLst>
                <a:outerShdw blurRad="38100" dist="38100" dir="2700000" algn="tl">
                  <a:srgbClr val="000000">
                    <a:alpha val="43137"/>
                  </a:srgbClr>
                </a:outerShdw>
              </a:effectLst>
            </a:endParaRPr>
          </a:p>
        </p:txBody>
      </p:sp>
      <p:cxnSp>
        <p:nvCxnSpPr>
          <p:cNvPr id="81" name="Connecteur droit avec flèche 80">
            <a:extLst>
              <a:ext uri="{FF2B5EF4-FFF2-40B4-BE49-F238E27FC236}">
                <a16:creationId xmlns:a16="http://schemas.microsoft.com/office/drawing/2014/main" id="{A12A8D61-3E3B-95C0-44C7-7AAE5FEC9E66}"/>
              </a:ext>
            </a:extLst>
          </p:cNvPr>
          <p:cNvCxnSpPr>
            <a:cxnSpLocks/>
          </p:cNvCxnSpPr>
          <p:nvPr/>
        </p:nvCxnSpPr>
        <p:spPr>
          <a:xfrm>
            <a:off x="4223900" y="4127692"/>
            <a:ext cx="6271738" cy="381428"/>
          </a:xfrm>
          <a:prstGeom prst="straightConnector1">
            <a:avLst/>
          </a:prstGeom>
          <a:ln w="28575">
            <a:solidFill>
              <a:srgbClr val="FFC00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2" name="ZoneTexte 81">
            <a:extLst>
              <a:ext uri="{FF2B5EF4-FFF2-40B4-BE49-F238E27FC236}">
                <a16:creationId xmlns:a16="http://schemas.microsoft.com/office/drawing/2014/main" id="{AD070F0C-885F-EC2F-ABA9-BDFC0ECD024E}"/>
              </a:ext>
            </a:extLst>
          </p:cNvPr>
          <p:cNvSpPr txBox="1"/>
          <p:nvPr/>
        </p:nvSpPr>
        <p:spPr>
          <a:xfrm>
            <a:off x="3452393" y="3849566"/>
            <a:ext cx="4979593" cy="309958"/>
          </a:xfrm>
          <a:prstGeom prst="rect">
            <a:avLst/>
          </a:prstGeom>
          <a:noFill/>
          <a:ln>
            <a:noFill/>
          </a:ln>
        </p:spPr>
        <p:txBody>
          <a:bodyPr vert="horz" wrap="square" lIns="90000" tIns="46800" rIns="90000" bIns="46800" rtlCol="0" anchor="ctr">
            <a:spAutoFit/>
          </a:bodyPr>
          <a:lstStyle>
            <a:defPPr>
              <a:defRPr lang="pt-PT"/>
            </a:defPPr>
            <a:lvl1pPr algn="ctr">
              <a:spcBef>
                <a:spcPct val="0"/>
              </a:spcBef>
              <a:defRPr sz="1400" b="1">
                <a:solidFill>
                  <a:srgbClr val="FFC000"/>
                </a:solidFill>
                <a:effectLst>
                  <a:outerShdw blurRad="38100" dist="38100" dir="2700000" algn="tl">
                    <a:srgbClr val="000000">
                      <a:alpha val="43137"/>
                    </a:srgbClr>
                  </a:outerShdw>
                </a:effectLst>
              </a:defRPr>
            </a:lvl1pPr>
          </a:lstStyle>
          <a:p>
            <a:r>
              <a:rPr lang="fr-FR"/>
              <a:t>Client Key Exchange + certificat</a:t>
            </a:r>
          </a:p>
        </p:txBody>
      </p:sp>
      <p:cxnSp>
        <p:nvCxnSpPr>
          <p:cNvPr id="83" name="Connecteur droit avec flèche 82">
            <a:extLst>
              <a:ext uri="{FF2B5EF4-FFF2-40B4-BE49-F238E27FC236}">
                <a16:creationId xmlns:a16="http://schemas.microsoft.com/office/drawing/2014/main" id="{20F5EEBB-89C2-BD9E-AB8C-FBEA53FDE611}"/>
              </a:ext>
            </a:extLst>
          </p:cNvPr>
          <p:cNvCxnSpPr>
            <a:cxnSpLocks/>
          </p:cNvCxnSpPr>
          <p:nvPr/>
        </p:nvCxnSpPr>
        <p:spPr>
          <a:xfrm>
            <a:off x="4233030" y="450912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4" name="ZoneTexte 83">
            <a:extLst>
              <a:ext uri="{FF2B5EF4-FFF2-40B4-BE49-F238E27FC236}">
                <a16:creationId xmlns:a16="http://schemas.microsoft.com/office/drawing/2014/main" id="{1A2F47E9-37A6-8558-B87A-8FD004D4DAF4}"/>
              </a:ext>
            </a:extLst>
          </p:cNvPr>
          <p:cNvSpPr txBox="1"/>
          <p:nvPr/>
        </p:nvSpPr>
        <p:spPr>
          <a:xfrm>
            <a:off x="4424756" y="422108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a:solidFill>
                  <a:schemeClr val="accent2">
                    <a:lumMod val="40000"/>
                    <a:lumOff val="60000"/>
                  </a:schemeClr>
                </a:solidFill>
                <a:effectLst>
                  <a:outerShdw blurRad="38100" dist="38100" dir="2700000" algn="tl">
                    <a:srgbClr val="000000">
                      <a:alpha val="43137"/>
                    </a:srgbClr>
                  </a:outerShdw>
                </a:effectLst>
              </a:rPr>
              <a:t>Change </a:t>
            </a:r>
            <a:r>
              <a:rPr lang="fr-FR" sz="1400" b="1" err="1">
                <a:solidFill>
                  <a:schemeClr val="accent2">
                    <a:lumMod val="40000"/>
                    <a:lumOff val="60000"/>
                  </a:schemeClr>
                </a:solidFill>
                <a:effectLst>
                  <a:outerShdw blurRad="38100" dist="38100" dir="2700000" algn="tl">
                    <a:srgbClr val="000000">
                      <a:alpha val="43137"/>
                    </a:srgbClr>
                  </a:outerShdw>
                </a:effectLst>
              </a:rPr>
              <a:t>Cipher</a:t>
            </a:r>
            <a:r>
              <a:rPr lang="fr-FR" sz="1400" b="1">
                <a:solidFill>
                  <a:schemeClr val="accent2">
                    <a:lumMod val="40000"/>
                    <a:lumOff val="60000"/>
                  </a:schemeClr>
                </a:solidFill>
                <a:effectLst>
                  <a:outerShdw blurRad="38100" dist="38100" dir="2700000" algn="tl">
                    <a:srgbClr val="000000">
                      <a:alpha val="43137"/>
                    </a:srgbClr>
                  </a:outerShdw>
                </a:effectLst>
              </a:rPr>
              <a:t> </a:t>
            </a:r>
            <a:r>
              <a:rPr lang="fr-FR" sz="1400" b="1" err="1">
                <a:solidFill>
                  <a:schemeClr val="accent2">
                    <a:lumMod val="40000"/>
                    <a:lumOff val="60000"/>
                  </a:schemeClr>
                </a:solidFill>
                <a:effectLst>
                  <a:outerShdw blurRad="38100" dist="38100" dir="2700000" algn="tl">
                    <a:srgbClr val="000000">
                      <a:alpha val="43137"/>
                    </a:srgbClr>
                  </a:outerShdw>
                </a:effectLst>
              </a:rPr>
              <a:t>Spec</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5" name="Connecteur droit avec flèche 84">
            <a:extLst>
              <a:ext uri="{FF2B5EF4-FFF2-40B4-BE49-F238E27FC236}">
                <a16:creationId xmlns:a16="http://schemas.microsoft.com/office/drawing/2014/main" id="{F6944DB9-258A-C43E-7B0C-71E3E429BDF9}"/>
              </a:ext>
            </a:extLst>
          </p:cNvPr>
          <p:cNvCxnSpPr>
            <a:cxnSpLocks/>
          </p:cNvCxnSpPr>
          <p:nvPr/>
        </p:nvCxnSpPr>
        <p:spPr>
          <a:xfrm>
            <a:off x="4233030" y="4869160"/>
            <a:ext cx="6271738" cy="381428"/>
          </a:xfrm>
          <a:prstGeom prst="straightConnector1">
            <a:avLst/>
          </a:prstGeom>
          <a:ln w="28575">
            <a:solidFill>
              <a:schemeClr val="accent2">
                <a:lumMod val="40000"/>
                <a:lumOff val="60000"/>
              </a:schemeClr>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6" name="ZoneTexte 85">
            <a:extLst>
              <a:ext uri="{FF2B5EF4-FFF2-40B4-BE49-F238E27FC236}">
                <a16:creationId xmlns:a16="http://schemas.microsoft.com/office/drawing/2014/main" id="{655CBECE-F77E-0499-5E5F-8BA992B2B942}"/>
              </a:ext>
            </a:extLst>
          </p:cNvPr>
          <p:cNvSpPr txBox="1"/>
          <p:nvPr/>
        </p:nvSpPr>
        <p:spPr>
          <a:xfrm>
            <a:off x="4398832" y="4581128"/>
            <a:ext cx="2045561"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chemeClr val="accent2">
                    <a:lumMod val="40000"/>
                    <a:lumOff val="60000"/>
                  </a:schemeClr>
                </a:solidFill>
                <a:effectLst>
                  <a:outerShdw blurRad="38100" dist="38100" dir="2700000" algn="tl">
                    <a:srgbClr val="000000">
                      <a:alpha val="43137"/>
                    </a:srgbClr>
                  </a:outerShdw>
                </a:effectLst>
              </a:rPr>
              <a:t>Finished</a:t>
            </a:r>
            <a:endParaRPr lang="fr-FR" sz="1400" b="1">
              <a:solidFill>
                <a:schemeClr val="accent2">
                  <a:lumMod val="40000"/>
                  <a:lumOff val="60000"/>
                </a:schemeClr>
              </a:solidFill>
              <a:effectLst>
                <a:outerShdw blurRad="38100" dist="38100" dir="2700000" algn="tl">
                  <a:srgbClr val="000000">
                    <a:alpha val="43137"/>
                  </a:srgbClr>
                </a:outerShdw>
              </a:effectLst>
            </a:endParaRPr>
          </a:p>
        </p:txBody>
      </p:sp>
      <p:cxnSp>
        <p:nvCxnSpPr>
          <p:cNvPr id="87" name="Connecteur droit avec flèche 86">
            <a:extLst>
              <a:ext uri="{FF2B5EF4-FFF2-40B4-BE49-F238E27FC236}">
                <a16:creationId xmlns:a16="http://schemas.microsoft.com/office/drawing/2014/main" id="{5D4428B1-ACFB-7D75-A4C8-A80BF68BE623}"/>
              </a:ext>
            </a:extLst>
          </p:cNvPr>
          <p:cNvCxnSpPr>
            <a:cxnSpLocks/>
          </p:cNvCxnSpPr>
          <p:nvPr/>
        </p:nvCxnSpPr>
        <p:spPr>
          <a:xfrm flipH="1">
            <a:off x="4260650" y="5761514"/>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8" name="Connecteur droit avec flèche 87">
            <a:extLst>
              <a:ext uri="{FF2B5EF4-FFF2-40B4-BE49-F238E27FC236}">
                <a16:creationId xmlns:a16="http://schemas.microsoft.com/office/drawing/2014/main" id="{9FD0CA3C-DDBA-CD03-81AF-3782DD8E8E1A}"/>
              </a:ext>
            </a:extLst>
          </p:cNvPr>
          <p:cNvCxnSpPr>
            <a:cxnSpLocks/>
          </p:cNvCxnSpPr>
          <p:nvPr/>
        </p:nvCxnSpPr>
        <p:spPr>
          <a:xfrm flipH="1">
            <a:off x="4237709" y="6115203"/>
            <a:ext cx="6244118" cy="86943"/>
          </a:xfrm>
          <a:prstGeom prst="straightConnector1">
            <a:avLst/>
          </a:prstGeom>
          <a:ln w="28575">
            <a:solidFill>
              <a:srgbClr val="FF455E"/>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10A25536-1771-5C23-E1BE-D1C28083FC55}"/>
              </a:ext>
            </a:extLst>
          </p:cNvPr>
          <p:cNvSpPr txBox="1"/>
          <p:nvPr/>
        </p:nvSpPr>
        <p:spPr>
          <a:xfrm>
            <a:off x="8252502" y="5427015"/>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Change </a:t>
            </a:r>
            <a:r>
              <a:rPr lang="fr-FR" sz="1400" b="1" err="1">
                <a:solidFill>
                  <a:srgbClr val="FF304D"/>
                </a:solidFill>
                <a:effectLst>
                  <a:outerShdw blurRad="38100" dist="38100" dir="2700000" algn="tl">
                    <a:srgbClr val="000000">
                      <a:alpha val="43137"/>
                    </a:srgbClr>
                  </a:outerShdw>
                </a:effectLst>
              </a:rPr>
              <a:t>Cipher</a:t>
            </a:r>
            <a:r>
              <a:rPr lang="fr-FR" sz="1400" b="1">
                <a:solidFill>
                  <a:srgbClr val="FF304D"/>
                </a:solidFill>
                <a:effectLst>
                  <a:outerShdw blurRad="38100" dist="38100" dir="2700000" algn="tl">
                    <a:srgbClr val="000000">
                      <a:alpha val="43137"/>
                    </a:srgbClr>
                  </a:outerShdw>
                </a:effectLst>
              </a:rPr>
              <a:t> </a:t>
            </a:r>
            <a:r>
              <a:rPr lang="fr-FR" sz="1400" b="1" err="1">
                <a:solidFill>
                  <a:srgbClr val="FF304D"/>
                </a:solidFill>
                <a:effectLst>
                  <a:outerShdw blurRad="38100" dist="38100" dir="2700000" algn="tl">
                    <a:srgbClr val="000000">
                      <a:alpha val="43137"/>
                    </a:srgbClr>
                  </a:outerShdw>
                </a:effectLst>
              </a:rPr>
              <a:t>Spec</a:t>
            </a:r>
            <a:endParaRPr lang="fr-FR" sz="1400" b="1">
              <a:solidFill>
                <a:srgbClr val="FF304D"/>
              </a:solidFill>
              <a:effectLst>
                <a:outerShdw blurRad="38100" dist="38100" dir="2700000" algn="tl">
                  <a:srgbClr val="000000">
                    <a:alpha val="43137"/>
                  </a:srgbClr>
                </a:outerShdw>
              </a:effectLst>
            </a:endParaRPr>
          </a:p>
        </p:txBody>
      </p:sp>
      <p:sp>
        <p:nvSpPr>
          <p:cNvPr id="90" name="ZoneTexte 89">
            <a:extLst>
              <a:ext uri="{FF2B5EF4-FFF2-40B4-BE49-F238E27FC236}">
                <a16:creationId xmlns:a16="http://schemas.microsoft.com/office/drawing/2014/main" id="{F6DAC3C6-F352-E264-FFE0-B6FDFA78937A}"/>
              </a:ext>
            </a:extLst>
          </p:cNvPr>
          <p:cNvSpPr txBox="1"/>
          <p:nvPr/>
        </p:nvSpPr>
        <p:spPr>
          <a:xfrm>
            <a:off x="8247400" y="5808426"/>
            <a:ext cx="2052383" cy="309958"/>
          </a:xfrm>
          <a:prstGeom prst="rect">
            <a:avLst/>
          </a:prstGeom>
          <a:noFill/>
        </p:spPr>
        <p:txBody>
          <a:bodyPr vert="horz" wrap="square" lIns="90000" tIns="46800" rIns="90000" bIns="46800" rtlCol="0" anchor="ctr">
            <a:spAutoFit/>
          </a:bodyPr>
          <a:lstStyle/>
          <a:p>
            <a:pPr algn="ctr">
              <a:spcBef>
                <a:spcPct val="0"/>
              </a:spcBef>
            </a:pPr>
            <a:r>
              <a:rPr lang="fr-FR" sz="1400" b="1" err="1">
                <a:solidFill>
                  <a:srgbClr val="FF304D"/>
                </a:solidFill>
                <a:effectLst>
                  <a:outerShdw blurRad="38100" dist="38100" dir="2700000" algn="tl">
                    <a:srgbClr val="000000">
                      <a:alpha val="43137"/>
                    </a:srgbClr>
                  </a:outerShdw>
                </a:effectLst>
              </a:rPr>
              <a:t>Finished</a:t>
            </a:r>
            <a:endParaRPr lang="fr-FR" sz="1400" b="1">
              <a:solidFill>
                <a:srgbClr val="FF304D"/>
              </a:solidFill>
              <a:effectLst>
                <a:outerShdw blurRad="38100" dist="38100" dir="2700000" algn="tl">
                  <a:srgbClr val="000000">
                    <a:alpha val="43137"/>
                  </a:srgbClr>
                </a:outerShdw>
              </a:effectLst>
            </a:endParaRPr>
          </a:p>
        </p:txBody>
      </p:sp>
      <p:pic>
        <p:nvPicPr>
          <p:cNvPr id="93" name="Graphique 92" descr="Clé avec un remplissage uni">
            <a:extLst>
              <a:ext uri="{FF2B5EF4-FFF2-40B4-BE49-F238E27FC236}">
                <a16:creationId xmlns:a16="http://schemas.microsoft.com/office/drawing/2014/main" id="{121A9184-21CC-06F1-1F7B-979C9C3A2E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43398" y="1302193"/>
            <a:ext cx="442859" cy="451122"/>
          </a:xfrm>
          <a:prstGeom prst="rect">
            <a:avLst/>
          </a:prstGeom>
        </p:spPr>
      </p:pic>
      <p:pic>
        <p:nvPicPr>
          <p:cNvPr id="94" name="Graphique 93" descr="Clé avec un remplissage uni">
            <a:extLst>
              <a:ext uri="{FF2B5EF4-FFF2-40B4-BE49-F238E27FC236}">
                <a16:creationId xmlns:a16="http://schemas.microsoft.com/office/drawing/2014/main" id="{A0B0B11C-F1F5-F3A7-9151-B01020E2E0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3397" y="1600211"/>
            <a:ext cx="442859" cy="451122"/>
          </a:xfrm>
          <a:prstGeom prst="rect">
            <a:avLst/>
          </a:prstGeom>
          <a:effectLst>
            <a:outerShdw blurRad="50800" dist="38100" dir="2700000" algn="tl" rotWithShape="0">
              <a:prstClr val="black">
                <a:alpha val="40000"/>
              </a:prstClr>
            </a:outerShdw>
          </a:effectLst>
        </p:spPr>
      </p:pic>
      <p:pic>
        <p:nvPicPr>
          <p:cNvPr id="97" name="Graphique 96" descr="Clé avec un remplissage uni">
            <a:extLst>
              <a:ext uri="{FF2B5EF4-FFF2-40B4-BE49-F238E27FC236}">
                <a16:creationId xmlns:a16="http://schemas.microsoft.com/office/drawing/2014/main" id="{2F6A14A1-196C-6E55-4061-92E80C44FC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55139" y="3910117"/>
            <a:ext cx="365310" cy="372127"/>
          </a:xfrm>
          <a:prstGeom prst="rect">
            <a:avLst/>
          </a:prstGeom>
        </p:spPr>
      </p:pic>
      <p:pic>
        <p:nvPicPr>
          <p:cNvPr id="2" name="Graphique 1" descr="Clé avec un remplissage uni">
            <a:extLst>
              <a:ext uri="{FF2B5EF4-FFF2-40B4-BE49-F238E27FC236}">
                <a16:creationId xmlns:a16="http://schemas.microsoft.com/office/drawing/2014/main" id="{6DE0C822-FE35-57E9-2C4C-9F6D445ED8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80197" y="4329856"/>
            <a:ext cx="363201" cy="369978"/>
          </a:xfrm>
          <a:prstGeom prst="rect">
            <a:avLst/>
          </a:prstGeom>
          <a:effectLst>
            <a:outerShdw blurRad="50800" dist="38100" dir="2700000" algn="tl" rotWithShape="0">
              <a:prstClr val="black">
                <a:alpha val="40000"/>
              </a:prstClr>
            </a:outerShdw>
          </a:effectLst>
        </p:spPr>
      </p:pic>
      <p:cxnSp>
        <p:nvCxnSpPr>
          <p:cNvPr id="4" name="Connecteur droit avec flèche 3">
            <a:extLst>
              <a:ext uri="{FF2B5EF4-FFF2-40B4-BE49-F238E27FC236}">
                <a16:creationId xmlns:a16="http://schemas.microsoft.com/office/drawing/2014/main" id="{CD51F1AA-B002-A002-1518-9B57128E0E06}"/>
              </a:ext>
            </a:extLst>
          </p:cNvPr>
          <p:cNvCxnSpPr>
            <a:cxnSpLocks/>
          </p:cNvCxnSpPr>
          <p:nvPr/>
        </p:nvCxnSpPr>
        <p:spPr>
          <a:xfrm flipH="1">
            <a:off x="4237709" y="3492727"/>
            <a:ext cx="6244118" cy="86943"/>
          </a:xfrm>
          <a:prstGeom prst="straightConnector1">
            <a:avLst/>
          </a:prstGeom>
          <a:ln w="28575">
            <a:solidFill>
              <a:srgbClr val="FFC000"/>
            </a:solidFill>
            <a:prstDash val="sysDash"/>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ZoneTexte 5">
            <a:extLst>
              <a:ext uri="{FF2B5EF4-FFF2-40B4-BE49-F238E27FC236}">
                <a16:creationId xmlns:a16="http://schemas.microsoft.com/office/drawing/2014/main" id="{C3C84814-E403-9646-E69A-9800B34A5127}"/>
              </a:ext>
            </a:extLst>
          </p:cNvPr>
          <p:cNvSpPr txBox="1"/>
          <p:nvPr/>
        </p:nvSpPr>
        <p:spPr>
          <a:xfrm>
            <a:off x="8010306" y="3204695"/>
            <a:ext cx="2210397" cy="309958"/>
          </a:xfrm>
          <a:prstGeom prst="rect">
            <a:avLst/>
          </a:prstGeom>
          <a:noFill/>
          <a:ln>
            <a:noFill/>
          </a:ln>
        </p:spPr>
        <p:txBody>
          <a:bodyPr vert="horz" wrap="square" lIns="90000" tIns="46800" rIns="90000" bIns="46800" rtlCol="0" anchor="ctr">
            <a:spAutoFit/>
          </a:bodyPr>
          <a:lstStyle/>
          <a:p>
            <a:pPr algn="ctr">
              <a:spcBef>
                <a:spcPct val="0"/>
              </a:spcBef>
            </a:pPr>
            <a:r>
              <a:rPr lang="fr-FR" sz="1400" b="1">
                <a:solidFill>
                  <a:srgbClr val="FFC000"/>
                </a:solidFill>
                <a:effectLst>
                  <a:outerShdw blurRad="38100" dist="38100" dir="2700000" algn="tl">
                    <a:srgbClr val="000000">
                      <a:alpha val="43137"/>
                    </a:srgbClr>
                  </a:outerShdw>
                </a:effectLst>
              </a:rPr>
              <a:t>AC Acceptées</a:t>
            </a:r>
          </a:p>
        </p:txBody>
      </p:sp>
      <p:pic>
        <p:nvPicPr>
          <p:cNvPr id="7" name="Graphique 6" descr="Clé avec un remplissage uni">
            <a:extLst>
              <a:ext uri="{FF2B5EF4-FFF2-40B4-BE49-F238E27FC236}">
                <a16:creationId xmlns:a16="http://schemas.microsoft.com/office/drawing/2014/main" id="{120B3736-D72F-F88D-5C6A-9FDCC4B9CD3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33281" y="1297096"/>
            <a:ext cx="442859" cy="451122"/>
          </a:xfrm>
          <a:prstGeom prst="rect">
            <a:avLst/>
          </a:prstGeom>
        </p:spPr>
      </p:pic>
      <p:pic>
        <p:nvPicPr>
          <p:cNvPr id="8" name="Graphique 7" descr="Clé avec un remplissage uni">
            <a:extLst>
              <a:ext uri="{FF2B5EF4-FFF2-40B4-BE49-F238E27FC236}">
                <a16:creationId xmlns:a16="http://schemas.microsoft.com/office/drawing/2014/main" id="{48542369-1DA9-64EA-9BFF-145BF60A9E7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233280" y="1595114"/>
            <a:ext cx="442859" cy="451122"/>
          </a:xfrm>
          <a:prstGeom prst="rect">
            <a:avLst/>
          </a:prstGeom>
          <a:effectLst>
            <a:outerShdw blurRad="50800" dist="38100" dir="2700000" algn="tl" rotWithShape="0">
              <a:prstClr val="black">
                <a:alpha val="40000"/>
              </a:prstClr>
            </a:outerShdw>
          </a:effectLst>
        </p:spPr>
      </p:pic>
      <p:pic>
        <p:nvPicPr>
          <p:cNvPr id="9" name="Graphique 8" descr="Clé avec un remplissage uni">
            <a:extLst>
              <a:ext uri="{FF2B5EF4-FFF2-40B4-BE49-F238E27FC236}">
                <a16:creationId xmlns:a16="http://schemas.microsoft.com/office/drawing/2014/main" id="{2EF62BDC-4B6A-CDD3-65D6-256FE09C56F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77605" y="4318406"/>
            <a:ext cx="374442" cy="381428"/>
          </a:xfrm>
          <a:prstGeom prst="rect">
            <a:avLst/>
          </a:prstGeom>
        </p:spPr>
      </p:pic>
      <p:pic>
        <p:nvPicPr>
          <p:cNvPr id="10" name="Graphique 9" descr="Clé avec un remplissage uni">
            <a:extLst>
              <a:ext uri="{FF2B5EF4-FFF2-40B4-BE49-F238E27FC236}">
                <a16:creationId xmlns:a16="http://schemas.microsoft.com/office/drawing/2014/main" id="{E4F67FE6-8EA2-6094-7D0B-413D19770A1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214253" y="3908939"/>
            <a:ext cx="365310" cy="37212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355967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Des détails qui compte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4971" y="1052513"/>
            <a:ext cx="11369042" cy="324855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Dans le schéma précédent, Alice signe la clé de session (symétrique) avec sa clé privée</a:t>
            </a:r>
          </a:p>
          <a:p>
            <a:pPr marL="466725" lvl="1" indent="-285750">
              <a:buFont typeface="Arial" panose="020B0604020202020204" pitchFamily="34" charset="0"/>
              <a:buChar char="•"/>
            </a:pPr>
            <a:r>
              <a:rPr lang="fr-FR" sz="1600"/>
              <a:t>La clé publique qui permet de contrôler la signature est inclue dans le certificat d’Alice</a:t>
            </a:r>
          </a:p>
          <a:p>
            <a:pPr marL="466725" lvl="1" indent="-285750">
              <a:buFont typeface="Arial" panose="020B0604020202020204" pitchFamily="34" charset="0"/>
              <a:buChar char="•"/>
            </a:pPr>
            <a:r>
              <a:rPr lang="fr-FR" sz="1600"/>
              <a:t>Alice envoi son certificat en même temps que la clé a Bob</a:t>
            </a:r>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Ce mécanisme permet de contrôler à la fois que :</a:t>
            </a:r>
          </a:p>
          <a:p>
            <a:pPr marL="466725" lvl="1" indent="-285750">
              <a:buFont typeface="Arial" panose="020B0604020202020204" pitchFamily="34" charset="0"/>
              <a:buChar char="•"/>
            </a:pPr>
            <a:r>
              <a:rPr lang="fr-FR" sz="1600"/>
              <a:t>Alice a été certifiée par un partenaire de confiance (l’AC à laquelle Bob fait confiance)</a:t>
            </a:r>
          </a:p>
          <a:p>
            <a:pPr marL="466725" lvl="1" indent="-285750">
              <a:buFont typeface="Arial" panose="020B0604020202020204" pitchFamily="34" charset="0"/>
              <a:buChar char="•"/>
            </a:pPr>
            <a:r>
              <a:rPr lang="fr-FR" sz="1600"/>
              <a:t>Qu’il s’agit bien d’Alice, car elle est la seule à posséder la clé privée pour signer la clé de session</a:t>
            </a:r>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Sans signature, n’importe quelle personne pourrait se faire passer pour Alice, il aurait juste suffi de récupérer son certificat client publique</a:t>
            </a:r>
          </a:p>
          <a:p>
            <a:r>
              <a:rPr lang="fr-FR" sz="1600" b="1"/>
              <a:t> </a:t>
            </a:r>
            <a:endParaRPr lang="fr-FR" sz="1600"/>
          </a:p>
          <a:p>
            <a:pPr marL="466725" lvl="1" indent="-285750">
              <a:buFont typeface="Arial" panose="020B0604020202020204" pitchFamily="34" charset="0"/>
              <a:buChar char="•"/>
            </a:pPr>
            <a:endParaRPr lang="fr-FR" sz="1600"/>
          </a:p>
        </p:txBody>
      </p:sp>
      <p:sp>
        <p:nvSpPr>
          <p:cNvPr id="2" name="Espace réservé du texte 4">
            <a:extLst>
              <a:ext uri="{FF2B5EF4-FFF2-40B4-BE49-F238E27FC236}">
                <a16:creationId xmlns:a16="http://schemas.microsoft.com/office/drawing/2014/main" id="{79A8C47B-FA22-5F7F-686A-48D49AB6BEE7}"/>
              </a:ext>
            </a:extLst>
          </p:cNvPr>
          <p:cNvSpPr txBox="1">
            <a:spLocks/>
          </p:cNvSpPr>
          <p:nvPr/>
        </p:nvSpPr>
        <p:spPr>
          <a:xfrm>
            <a:off x="2380456" y="5153238"/>
            <a:ext cx="7431088" cy="998068"/>
          </a:xfrm>
          <a:prstGeom prst="rect">
            <a:avLst/>
          </a:prstGeom>
          <a:solidFill>
            <a:schemeClr val="accent4">
              <a:lumMod val="90000"/>
              <a:lumOff val="10000"/>
            </a:schemeClr>
          </a:solidFill>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lt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lt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lt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lt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r>
              <a:rPr lang="fr-FR" sz="2800" b="1">
                <a:solidFill>
                  <a:srgbClr val="FF8E12"/>
                </a:solidFill>
                <a:effectLst>
                  <a:outerShdw blurRad="38100" dist="38100" dir="2700000" algn="tl">
                    <a:srgbClr val="000000">
                      <a:alpha val="43137"/>
                    </a:srgbClr>
                  </a:outerShdw>
                </a:effectLst>
              </a:rPr>
              <a:t>La clé privée ne doit JAMAIS être communiquée et doit rester secrète !</a:t>
            </a:r>
          </a:p>
        </p:txBody>
      </p:sp>
      <p:grpSp>
        <p:nvGrpSpPr>
          <p:cNvPr id="7" name="Group 4912">
            <a:extLst>
              <a:ext uri="{FF2B5EF4-FFF2-40B4-BE49-F238E27FC236}">
                <a16:creationId xmlns:a16="http://schemas.microsoft.com/office/drawing/2014/main" id="{5FD9CA46-7506-E568-4C03-3E02805C8665}"/>
              </a:ext>
              <a:ext uri="{C183D7F6-B498-43B3-948B-1728B52AA6E4}">
                <adec:decorative xmlns:adec="http://schemas.microsoft.com/office/drawing/2017/decorative" val="1"/>
              </a:ext>
            </a:extLst>
          </p:cNvPr>
          <p:cNvGrpSpPr>
            <a:grpSpLocks noChangeAspect="1"/>
          </p:cNvGrpSpPr>
          <p:nvPr/>
        </p:nvGrpSpPr>
        <p:grpSpPr>
          <a:xfrm>
            <a:off x="5495910" y="3950373"/>
            <a:ext cx="1200180" cy="988383"/>
            <a:chOff x="4539688" y="3523121"/>
            <a:chExt cx="152246" cy="125379"/>
          </a:xfrm>
          <a:solidFill>
            <a:srgbClr val="FF8E12"/>
          </a:solidFill>
          <a:effectLst>
            <a:outerShdw blurRad="50800" dist="38100" dir="2700000" algn="tl" rotWithShape="0">
              <a:prstClr val="black">
                <a:alpha val="40000"/>
              </a:prstClr>
            </a:outerShdw>
          </a:effectLst>
        </p:grpSpPr>
        <p:sp>
          <p:nvSpPr>
            <p:cNvPr id="10" name="Freeform: Shape 4913">
              <a:extLst>
                <a:ext uri="{FF2B5EF4-FFF2-40B4-BE49-F238E27FC236}">
                  <a16:creationId xmlns:a16="http://schemas.microsoft.com/office/drawing/2014/main" id="{E9A25924-70AD-A812-666A-5802AA476D4D}"/>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grpFill/>
            <a:ln w="4474" cap="flat">
              <a:noFill/>
              <a:prstDash val="solid"/>
              <a:miter/>
            </a:ln>
          </p:spPr>
          <p:txBody>
            <a:bodyPr rtlCol="0" anchor="ctr"/>
            <a:lstStyle/>
            <a:p>
              <a:endParaRPr lang="en-US"/>
            </a:p>
          </p:txBody>
        </p:sp>
        <p:sp>
          <p:nvSpPr>
            <p:cNvPr id="11" name="Freeform: Shape 4914">
              <a:extLst>
                <a:ext uri="{FF2B5EF4-FFF2-40B4-BE49-F238E27FC236}">
                  <a16:creationId xmlns:a16="http://schemas.microsoft.com/office/drawing/2014/main" id="{A0C27924-553F-9926-6FD4-5589B3ADBA93}"/>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grpFill/>
            <a:ln w="4474" cap="flat">
              <a:noFill/>
              <a:prstDash val="solid"/>
              <a:miter/>
            </a:ln>
          </p:spPr>
          <p:txBody>
            <a:bodyPr rtlCol="0" anchor="ctr"/>
            <a:lstStyle/>
            <a:p>
              <a:endParaRPr lang="en-US"/>
            </a:p>
          </p:txBody>
        </p:sp>
        <p:sp>
          <p:nvSpPr>
            <p:cNvPr id="12" name="Freeform: Shape 4915">
              <a:extLst>
                <a:ext uri="{FF2B5EF4-FFF2-40B4-BE49-F238E27FC236}">
                  <a16:creationId xmlns:a16="http://schemas.microsoft.com/office/drawing/2014/main" id="{AB5D202B-BDC5-5513-E584-B03090F73C30}"/>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grpFill/>
            <a:ln w="4474" cap="flat">
              <a:noFill/>
              <a:prstDash val="solid"/>
              <a:miter/>
            </a:ln>
          </p:spPr>
          <p:txBody>
            <a:bodyPr rtlCol="0" anchor="ctr"/>
            <a:lstStyle/>
            <a:p>
              <a:endParaRPr lang="en-US"/>
            </a:p>
          </p:txBody>
        </p:sp>
      </p:grpSp>
    </p:spTree>
    <p:extLst>
      <p:ext uri="{BB962C8B-B14F-4D97-AF65-F5344CB8AC3E}">
        <p14:creationId xmlns:p14="http://schemas.microsoft.com/office/powerpoint/2010/main" val="15283857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320211"/>
            <a:ext cx="11356975" cy="2215991"/>
          </a:xfrm>
        </p:spPr>
        <p:txBody>
          <a:bodyPr/>
          <a:lstStyle/>
          <a:p>
            <a:r>
              <a:rPr lang="fr-FR"/>
              <a:t>Les normes cryptographiques</a:t>
            </a:r>
          </a:p>
        </p:txBody>
      </p:sp>
    </p:spTree>
    <p:extLst>
      <p:ext uri="{BB962C8B-B14F-4D97-AF65-F5344CB8AC3E}">
        <p14:creationId xmlns:p14="http://schemas.microsoft.com/office/powerpoint/2010/main" val="2223198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normes cryptographiques, pourquoi ?</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sp>
        <p:nvSpPr>
          <p:cNvPr id="2" name="Espace réservé du texte 4">
            <a:extLst>
              <a:ext uri="{FF2B5EF4-FFF2-40B4-BE49-F238E27FC236}">
                <a16:creationId xmlns:a16="http://schemas.microsoft.com/office/drawing/2014/main" id="{DD51D6D2-5457-0D3D-16AB-33CE6B7ED2E8}"/>
              </a:ext>
            </a:extLst>
          </p:cNvPr>
          <p:cNvSpPr txBox="1">
            <a:spLocks/>
          </p:cNvSpPr>
          <p:nvPr/>
        </p:nvSpPr>
        <p:spPr>
          <a:xfrm>
            <a:off x="563879" y="14211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Le matériel cryptographique dispose de plusieurs formes</a:t>
            </a:r>
          </a:p>
          <a:p>
            <a:pPr marL="466725" lvl="1" indent="-285750">
              <a:buFont typeface="Arial" panose="020B0604020202020204" pitchFamily="34" charset="0"/>
              <a:buChar char="•"/>
            </a:pPr>
            <a:r>
              <a:rPr lang="fr-FR" sz="1600"/>
              <a:t>Directement sous forme de clé</a:t>
            </a:r>
          </a:p>
          <a:p>
            <a:pPr marL="466725" lvl="1" indent="-285750">
              <a:buFont typeface="Arial" panose="020B0604020202020204" pitchFamily="34" charset="0"/>
              <a:buChar char="•"/>
            </a:pPr>
            <a:r>
              <a:rPr lang="fr-FR" sz="1600"/>
              <a:t>Enrobé dans un certificat</a:t>
            </a:r>
          </a:p>
          <a:p>
            <a:pPr marL="466725" lvl="1" indent="-285750">
              <a:buFont typeface="Arial" panose="020B0604020202020204" pitchFamily="34" charset="0"/>
              <a:buChar char="•"/>
            </a:pPr>
            <a:r>
              <a:rPr lang="fr-FR" sz="1600"/>
              <a:t>Inclus dans un </a:t>
            </a:r>
            <a:r>
              <a:rPr lang="fr-FR" sz="1600" err="1"/>
              <a:t>Truststore</a:t>
            </a:r>
            <a:endParaRPr lang="fr-FR" sz="1600"/>
          </a:p>
          <a:p>
            <a:pPr marL="466725" lvl="1" indent="-285750">
              <a:buFont typeface="Arial" panose="020B0604020202020204" pitchFamily="34" charset="0"/>
              <a:buChar char="•"/>
            </a:pPr>
            <a:r>
              <a:rPr lang="fr-FR" sz="1600"/>
              <a:t>Inclus dans un </a:t>
            </a:r>
            <a:r>
              <a:rPr lang="fr-FR" sz="1600" err="1"/>
              <a:t>KeyStore</a:t>
            </a:r>
            <a:endParaRPr lang="fr-FR" sz="1600"/>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Ces différents états sont normés : les respecter assure une interopérabilité des objets cryptographiques</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Différentes normes existent, cohabitent et se complètent : </a:t>
            </a:r>
          </a:p>
          <a:p>
            <a:pPr marL="466725" lvl="1" indent="-285750">
              <a:buFont typeface="Arial" panose="020B0604020202020204" pitchFamily="34" charset="0"/>
              <a:buChar char="•"/>
            </a:pPr>
            <a:r>
              <a:rPr lang="fr-FR" sz="1600" b="1"/>
              <a:t>X.500 : </a:t>
            </a:r>
            <a:r>
              <a:rPr lang="fr-FR" sz="1600"/>
              <a:t>le système de certificat implémente la norme x.509</a:t>
            </a:r>
            <a:endParaRPr lang="fr-FR" sz="1600" b="1"/>
          </a:p>
          <a:p>
            <a:pPr marL="466725" lvl="1" indent="-285750">
              <a:buFont typeface="Arial" panose="020B0604020202020204" pitchFamily="34" charset="0"/>
              <a:buChar char="•"/>
            </a:pPr>
            <a:r>
              <a:rPr lang="fr-FR" sz="1600" b="1"/>
              <a:t>RFC : </a:t>
            </a:r>
            <a:r>
              <a:rPr lang="fr-FR" sz="1600"/>
              <a:t>La RFC 8017 définit le mécanismes de fonctionnement des clés asymétriques</a:t>
            </a:r>
          </a:p>
          <a:p>
            <a:pPr marL="466725" lvl="1" indent="-285750">
              <a:buFont typeface="Arial" panose="020B0604020202020204" pitchFamily="34" charset="0"/>
              <a:buChar char="•"/>
            </a:pPr>
            <a:r>
              <a:rPr lang="fr-FR" sz="1600" b="1">
                <a:solidFill>
                  <a:srgbClr val="FFC000"/>
                </a:solidFill>
              </a:rPr>
              <a:t>PKCS : </a:t>
            </a:r>
            <a:r>
              <a:rPr lang="fr-FR" sz="1600">
                <a:solidFill>
                  <a:srgbClr val="FFC000"/>
                </a:solidFill>
              </a:rPr>
              <a:t>Définit toutes les normes liées aux PKI et à la transmission d’une clé publique</a:t>
            </a:r>
          </a:p>
          <a:p>
            <a:pPr marL="466725" lvl="1" indent="-285750">
              <a:buFont typeface="Arial" panose="020B0604020202020204" pitchFamily="34" charset="0"/>
              <a:buChar char="•"/>
            </a:pPr>
            <a:endParaRPr lang="fr-FR" sz="1600" b="1"/>
          </a:p>
        </p:txBody>
      </p:sp>
    </p:spTree>
    <p:extLst>
      <p:ext uri="{BB962C8B-B14F-4D97-AF65-F5344CB8AC3E}">
        <p14:creationId xmlns:p14="http://schemas.microsoft.com/office/powerpoint/2010/main" val="9166243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a:xfrm>
            <a:off x="414971" y="260350"/>
            <a:ext cx="11008413" cy="792163"/>
          </a:xfrm>
        </p:spPr>
        <p:txBody>
          <a:bodyPr anchor="ctr"/>
          <a:lstStyle/>
          <a:p>
            <a:r>
              <a:rPr lang="fr-FR"/>
              <a:t>Les normes </a:t>
            </a:r>
            <a:r>
              <a:rPr lang="fr-FR">
                <a:solidFill>
                  <a:srgbClr val="FFC000"/>
                </a:solidFill>
              </a:rPr>
              <a:t>PKCS</a:t>
            </a:r>
            <a:r>
              <a:rPr lang="fr-FR"/>
              <a:t> (</a:t>
            </a:r>
            <a:r>
              <a:rPr lang="fr-FR">
                <a:solidFill>
                  <a:srgbClr val="FFC000"/>
                </a:solidFill>
              </a:rPr>
              <a:t>P</a:t>
            </a:r>
            <a:r>
              <a:rPr lang="fr-FR"/>
              <a:t>ublic-</a:t>
            </a:r>
            <a:r>
              <a:rPr lang="fr-FR">
                <a:solidFill>
                  <a:srgbClr val="FFC000"/>
                </a:solidFill>
              </a:rPr>
              <a:t>K</a:t>
            </a:r>
            <a:r>
              <a:rPr lang="fr-FR"/>
              <a:t>ey </a:t>
            </a:r>
            <a:r>
              <a:rPr lang="fr-FR" err="1">
                <a:solidFill>
                  <a:srgbClr val="FFC000"/>
                </a:solidFill>
              </a:rPr>
              <a:t>C</a:t>
            </a:r>
            <a:r>
              <a:rPr lang="fr-FR" err="1"/>
              <a:t>ryptography</a:t>
            </a:r>
            <a:r>
              <a:rPr lang="fr-FR"/>
              <a:t> </a:t>
            </a:r>
            <a:r>
              <a:rPr lang="fr-FR">
                <a:solidFill>
                  <a:srgbClr val="FFC000"/>
                </a:solidFill>
              </a:rPr>
              <a:t>S</a:t>
            </a:r>
            <a:r>
              <a:rPr lang="fr-FR"/>
              <a:t>tandards)</a:t>
            </a:r>
          </a:p>
        </p:txBody>
      </p:sp>
      <p:sp>
        <p:nvSpPr>
          <p:cNvPr id="103" name="Espace réservé du texte 4">
            <a:extLst>
              <a:ext uri="{FF2B5EF4-FFF2-40B4-BE49-F238E27FC236}">
                <a16:creationId xmlns:a16="http://schemas.microsoft.com/office/drawing/2014/main" id="{1BC49AF2-85A3-7246-B2EC-46FDF8E9CC5D}"/>
              </a:ext>
            </a:extLst>
          </p:cNvPr>
          <p:cNvSpPr txBox="1">
            <a:spLocks/>
          </p:cNvSpPr>
          <p:nvPr/>
        </p:nvSpPr>
        <p:spPr>
          <a:xfrm>
            <a:off x="411479" y="12687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sz="1600" b="1"/>
          </a:p>
        </p:txBody>
      </p:sp>
      <p:sp>
        <p:nvSpPr>
          <p:cNvPr id="2" name="Espace réservé du texte 4">
            <a:extLst>
              <a:ext uri="{FF2B5EF4-FFF2-40B4-BE49-F238E27FC236}">
                <a16:creationId xmlns:a16="http://schemas.microsoft.com/office/drawing/2014/main" id="{DD51D6D2-5457-0D3D-16AB-33CE6B7ED2E8}"/>
              </a:ext>
            </a:extLst>
          </p:cNvPr>
          <p:cNvSpPr txBox="1">
            <a:spLocks/>
          </p:cNvSpPr>
          <p:nvPr/>
        </p:nvSpPr>
        <p:spPr>
          <a:xfrm>
            <a:off x="563879" y="1421160"/>
            <a:ext cx="11369042" cy="48965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600" b="1"/>
              <a:t>Certaines normes PKCS sont particulièrement utiles à connaitre : </a:t>
            </a:r>
          </a:p>
          <a:p>
            <a:pPr marL="466725" lvl="1" indent="-285750">
              <a:buFont typeface="Arial" panose="020B0604020202020204" pitchFamily="34" charset="0"/>
              <a:buChar char="•"/>
            </a:pPr>
            <a:r>
              <a:rPr lang="fr-FR" sz="1600" b="1">
                <a:solidFill>
                  <a:srgbClr val="FFC000"/>
                </a:solidFill>
              </a:rPr>
              <a:t>PKCS#1</a:t>
            </a:r>
            <a:r>
              <a:rPr lang="fr-FR" sz="1600" b="1"/>
              <a:t> : </a:t>
            </a:r>
            <a:r>
              <a:rPr lang="fr-FR" sz="1600"/>
              <a:t>La base – clé publique + clé privée, pas encore de certificat</a:t>
            </a:r>
          </a:p>
          <a:p>
            <a:pPr marL="466725" lvl="1" indent="-285750">
              <a:buFont typeface="Arial" panose="020B0604020202020204" pitchFamily="34" charset="0"/>
              <a:buChar char="•"/>
            </a:pPr>
            <a:r>
              <a:rPr lang="fr-FR" sz="1600" b="1">
                <a:solidFill>
                  <a:srgbClr val="FFC000"/>
                </a:solidFill>
              </a:rPr>
              <a:t>PKCS#8</a:t>
            </a:r>
            <a:r>
              <a:rPr lang="fr-FR" sz="1600" b="1"/>
              <a:t> : </a:t>
            </a:r>
            <a:r>
              <a:rPr lang="fr-FR" sz="1600"/>
              <a:t>Un enrobage de la clé privée, utilisable par des serveurs web dans du HTTPS</a:t>
            </a:r>
          </a:p>
          <a:p>
            <a:pPr marL="466725" lvl="1" indent="-285750">
              <a:buFont typeface="Arial" panose="020B0604020202020204" pitchFamily="34" charset="0"/>
              <a:buChar char="•"/>
            </a:pPr>
            <a:r>
              <a:rPr lang="fr-FR" sz="1600" b="1">
                <a:solidFill>
                  <a:srgbClr val="FFC000"/>
                </a:solidFill>
              </a:rPr>
              <a:t>PKCS#10 </a:t>
            </a:r>
            <a:r>
              <a:rPr lang="fr-FR" sz="1600" b="1"/>
              <a:t>: </a:t>
            </a:r>
            <a:r>
              <a:rPr lang="fr-FR" sz="1600"/>
              <a:t>La définition des CSR pour la signature d’une paire de clé asymétriques</a:t>
            </a:r>
          </a:p>
          <a:p>
            <a:pPr marL="466725" lvl="1" indent="-285750">
              <a:buFont typeface="Arial" panose="020B0604020202020204" pitchFamily="34" charset="0"/>
              <a:buChar char="•"/>
            </a:pPr>
            <a:r>
              <a:rPr lang="fr-FR" sz="1600" b="1">
                <a:solidFill>
                  <a:srgbClr val="FFC000"/>
                </a:solidFill>
              </a:rPr>
              <a:t>PKCS#12 </a:t>
            </a:r>
            <a:r>
              <a:rPr lang="fr-FR" sz="1600" b="1"/>
              <a:t>: </a:t>
            </a:r>
            <a:r>
              <a:rPr lang="fr-FR" sz="1600"/>
              <a:t>Mécanisme de stockage de la clé privée et de son certificat dans un seul fichier protégé par mot de passe (un store)</a:t>
            </a:r>
          </a:p>
          <a:p>
            <a:pPr marL="466725" lvl="1"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Et surtout, la norme </a:t>
            </a:r>
            <a:r>
              <a:rPr lang="fr-FR" sz="1600" b="1">
                <a:solidFill>
                  <a:srgbClr val="FFC000"/>
                </a:solidFill>
              </a:rPr>
              <a:t>X.509 </a:t>
            </a:r>
            <a:r>
              <a:rPr lang="fr-FR" sz="1600" b="1"/>
              <a:t>: définition des certificats à clé publique</a:t>
            </a:r>
          </a:p>
          <a:p>
            <a:pPr marL="285750" indent="-285750">
              <a:buFont typeface="Arial" panose="020B0604020202020204" pitchFamily="34" charset="0"/>
              <a:buChar char="•"/>
            </a:pPr>
            <a:endParaRPr lang="fr-FR" sz="1600" b="1"/>
          </a:p>
          <a:p>
            <a:pPr marL="285750" indent="-285750">
              <a:buFont typeface="Arial" panose="020B0604020202020204" pitchFamily="34" charset="0"/>
              <a:buChar char="•"/>
            </a:pPr>
            <a:r>
              <a:rPr lang="fr-FR" sz="1600" b="1"/>
              <a:t>Différents formats de fichiers existent : </a:t>
            </a:r>
          </a:p>
          <a:p>
            <a:pPr marL="466725" lvl="1" indent="-285750">
              <a:buFont typeface="Arial" panose="020B0604020202020204" pitchFamily="34" charset="0"/>
              <a:buChar char="•"/>
            </a:pPr>
            <a:r>
              <a:rPr lang="fr-FR" sz="1600" b="1">
                <a:solidFill>
                  <a:srgbClr val="FFC000"/>
                </a:solidFill>
              </a:rPr>
              <a:t>Le format PEM (.</a:t>
            </a:r>
            <a:r>
              <a:rPr lang="fr-FR" sz="1600" b="1" err="1">
                <a:solidFill>
                  <a:srgbClr val="FFC000"/>
                </a:solidFill>
              </a:rPr>
              <a:t>pem</a:t>
            </a:r>
            <a:r>
              <a:rPr lang="fr-FR" sz="1600" b="1">
                <a:solidFill>
                  <a:srgbClr val="FFC000"/>
                </a:solidFill>
              </a:rPr>
              <a:t>, .</a:t>
            </a:r>
            <a:r>
              <a:rPr lang="fr-FR" sz="1600" b="1" err="1">
                <a:solidFill>
                  <a:srgbClr val="FFC000"/>
                </a:solidFill>
              </a:rPr>
              <a:t>crt</a:t>
            </a:r>
            <a:r>
              <a:rPr lang="fr-FR" sz="1600" b="1">
                <a:solidFill>
                  <a:srgbClr val="FFC000"/>
                </a:solidFill>
              </a:rPr>
              <a:t>, …)</a:t>
            </a:r>
            <a:r>
              <a:rPr lang="fr-FR" sz="1600">
                <a:solidFill>
                  <a:srgbClr val="FFC000"/>
                </a:solidFill>
              </a:rPr>
              <a:t>, </a:t>
            </a:r>
            <a:r>
              <a:rPr lang="fr-FR" sz="1600"/>
              <a:t>juste la donnée brute écrite en Base64 dans un fichier avec un header et un </a:t>
            </a:r>
            <a:r>
              <a:rPr lang="fr-FR" sz="1600" err="1"/>
              <a:t>footer</a:t>
            </a:r>
            <a:r>
              <a:rPr lang="fr-FR" sz="1600"/>
              <a:t>. Plusieurs objets peuvent être présent dans un fichier PEM (ex : chaine de certificat)</a:t>
            </a:r>
          </a:p>
          <a:p>
            <a:pPr marL="466725" lvl="1" indent="-285750">
              <a:buFont typeface="Arial" panose="020B0604020202020204" pitchFamily="34" charset="0"/>
              <a:buChar char="•"/>
            </a:pPr>
            <a:r>
              <a:rPr lang="fr-FR" sz="1600" b="1">
                <a:solidFill>
                  <a:srgbClr val="FFC000"/>
                </a:solidFill>
              </a:rPr>
              <a:t>Le format DER (.der) </a:t>
            </a:r>
            <a:r>
              <a:rPr lang="fr-FR" sz="1600"/>
              <a:t>encodé en binaire, qui ne contient d’un seul objet par fichier</a:t>
            </a:r>
          </a:p>
          <a:p>
            <a:pPr marL="466725" lvl="1" indent="-285750">
              <a:buFont typeface="Arial" panose="020B0604020202020204" pitchFamily="34" charset="0"/>
              <a:buChar char="•"/>
            </a:pPr>
            <a:r>
              <a:rPr lang="fr-FR" sz="1600" b="1">
                <a:solidFill>
                  <a:srgbClr val="FFC000"/>
                </a:solidFill>
              </a:rPr>
              <a:t>Le format PKCS#12 (.</a:t>
            </a:r>
            <a:r>
              <a:rPr lang="fr-FR" sz="1600" b="1" err="1">
                <a:solidFill>
                  <a:srgbClr val="FFC000"/>
                </a:solidFill>
              </a:rPr>
              <a:t>pfx</a:t>
            </a:r>
            <a:r>
              <a:rPr lang="fr-FR" sz="1600" b="1">
                <a:solidFill>
                  <a:srgbClr val="FFC000"/>
                </a:solidFill>
              </a:rPr>
              <a:t> ou .p12) </a:t>
            </a:r>
            <a:r>
              <a:rPr lang="fr-FR" sz="1600"/>
              <a:t>résultat de la norme PKCS#12</a:t>
            </a:r>
          </a:p>
        </p:txBody>
      </p:sp>
    </p:spTree>
    <p:extLst>
      <p:ext uri="{BB962C8B-B14F-4D97-AF65-F5344CB8AC3E}">
        <p14:creationId xmlns:p14="http://schemas.microsoft.com/office/powerpoint/2010/main" val="10928819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8D532E29-48E6-4DAB-AA82-2A90F9990E15}"/>
              </a:ext>
            </a:extLst>
          </p:cNvPr>
          <p:cNvSpPr>
            <a:spLocks noGrp="1"/>
          </p:cNvSpPr>
          <p:nvPr>
            <p:ph type="body" sz="quarter" idx="10"/>
          </p:nvPr>
        </p:nvSpPr>
        <p:spPr>
          <a:xfrm>
            <a:off x="427038" y="2874208"/>
            <a:ext cx="11356975" cy="1107996"/>
          </a:xfrm>
        </p:spPr>
        <p:txBody>
          <a:bodyPr/>
          <a:lstStyle/>
          <a:p>
            <a:r>
              <a:rPr lang="fr-FR"/>
              <a:t>Place au TP !</a:t>
            </a:r>
          </a:p>
        </p:txBody>
      </p:sp>
    </p:spTree>
    <p:extLst>
      <p:ext uri="{BB962C8B-B14F-4D97-AF65-F5344CB8AC3E}">
        <p14:creationId xmlns:p14="http://schemas.microsoft.com/office/powerpoint/2010/main" val="15264294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DCC153A3-B326-8549-BF76-190E305053E3}"/>
              </a:ext>
            </a:extLst>
          </p:cNvPr>
          <p:cNvSpPr>
            <a:spLocks noGrp="1"/>
          </p:cNvSpPr>
          <p:nvPr>
            <p:ph type="title" idx="4294967295"/>
          </p:nvPr>
        </p:nvSpPr>
        <p:spPr>
          <a:xfrm>
            <a:off x="407369" y="1441558"/>
            <a:ext cx="4345176" cy="177141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Ubuntu" panose="020B0504030602030204" pitchFamily="34" charset="0"/>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endParaRPr kumimoji="0" lang="en-US" sz="900" b="0" i="0" u="none" strike="noStrike" kern="1200" cap="none" spc="0" normalizeH="0" baseline="0" noProof="0">
              <a:ln>
                <a:noFill/>
              </a:ln>
              <a:solidFill>
                <a:schemeClr val="bg1"/>
              </a:solidFill>
              <a:effectLst/>
              <a:uLnTx/>
              <a:uFillTx/>
              <a:latin typeface="+mn-lt"/>
              <a:ea typeface="+mn-ea"/>
              <a:cs typeface="+mn-cs"/>
            </a:endParaRPr>
          </a:p>
        </p:txBody>
      </p:sp>
      <p:sp>
        <p:nvSpPr>
          <p:cNvPr id="4" name="Rectangle 3">
            <a:extLst>
              <a:ext uri="{FF2B5EF4-FFF2-40B4-BE49-F238E27FC236}">
                <a16:creationId xmlns:a16="http://schemas.microsoft.com/office/drawing/2014/main" id="{20126FD7-9664-4478-C7C9-A70AB7544732}"/>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a:solidFill>
                  <a:schemeClr val="bg1"/>
                </a:solidFill>
                <a:effectLst/>
                <a:latin typeface="Ubuntu" panose="020B0504030602030204" pitchFamily="34" charset="0"/>
              </a:rPr>
              <a:t>Get the future you want |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1044416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p:txBody>
          <a:bodyPr/>
          <a:lstStyle/>
          <a:p>
            <a:pPr marL="285750" indent="-285750">
              <a:buFont typeface="Arial" panose="020B0604020202020204" pitchFamily="34" charset="0"/>
              <a:buChar char="•"/>
            </a:pPr>
            <a:r>
              <a:rPr lang="fr-FR" sz="1600" b="1"/>
              <a:t>Un réseau est construit comme un maillage</a:t>
            </a:r>
          </a:p>
          <a:p>
            <a:pPr marL="466725" lvl="1" indent="-285750">
              <a:buFont typeface="Arial" panose="020B0604020202020204" pitchFamily="34" charset="0"/>
              <a:buChar char="•"/>
            </a:pPr>
            <a:r>
              <a:rPr lang="fr-FR"/>
              <a:t>Deux acteurs ne sont pas directement interconnectés : ma maison n’a pas de fibre directe avec les serveurs de Google</a:t>
            </a:r>
          </a:p>
          <a:p>
            <a:pPr marL="466725" lvl="1" indent="-285750">
              <a:buFont typeface="Arial" panose="020B0604020202020204" pitchFamily="34" charset="0"/>
              <a:buChar char="•"/>
            </a:pPr>
            <a:r>
              <a:rPr lang="fr-FR"/>
              <a:t>Les messages transitent entre plusieurs (NOMBREUX) points avant d’atteindre leur destination</a:t>
            </a:r>
          </a:p>
          <a:p>
            <a:pPr marL="466725" lvl="1" indent="-285750">
              <a:buFont typeface="Arial" panose="020B0604020202020204" pitchFamily="34" charset="0"/>
              <a:buChar char="•"/>
            </a:pPr>
            <a:endParaRPr lang="fr-FR"/>
          </a:p>
          <a:p>
            <a:pPr marL="466725" lvl="1" indent="-285750">
              <a:buFont typeface="Arial" panose="020B0604020202020204" pitchFamily="34" charset="0"/>
              <a:buChar char="•"/>
            </a:pPr>
            <a:endParaRPr lang="fr-FR"/>
          </a:p>
          <a:p>
            <a:pPr marL="466725" lvl="1"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endParaRPr lang="fr-FR"/>
          </a:p>
          <a:p>
            <a:pPr marL="285750" indent="-285750">
              <a:buFont typeface="Arial" panose="020B0604020202020204" pitchFamily="34" charset="0"/>
              <a:buChar char="•"/>
            </a:pPr>
            <a:r>
              <a:rPr lang="fr-FR" sz="1600" b="1"/>
              <a:t>Sans cryptographie : chaque nœud peut lire / modifier les messages</a:t>
            </a:r>
          </a:p>
          <a:p>
            <a:pPr marL="466725" lvl="1" indent="-285750">
              <a:buFont typeface="Arial" panose="020B0604020202020204" pitchFamily="34" charset="0"/>
              <a:buChar char="•"/>
            </a:pPr>
            <a:r>
              <a:rPr lang="fr-FR"/>
              <a:t>Impossible de faire transiter des données sécurisées (numéro de CB, login et mot de passe, </a:t>
            </a:r>
            <a:r>
              <a:rPr lang="fr-FR" err="1"/>
              <a:t>etc</a:t>
            </a:r>
            <a:r>
              <a:rPr lang="fr-FR"/>
              <a:t>)</a:t>
            </a:r>
          </a:p>
          <a:p>
            <a:pPr marL="466725" lvl="1" indent="-285750">
              <a:buFont typeface="Arial" panose="020B0604020202020204" pitchFamily="34" charset="0"/>
              <a:buChar char="•"/>
            </a:pPr>
            <a:r>
              <a:rPr lang="fr-FR"/>
              <a:t>Possibilité pour n’importe quel nœud de se faire passer pour quelqu’un d’autre</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r>
              <a:rPr lang="fr-FR" sz="1600" b="1"/>
              <a:t>Pour connaitre le nombre de nœuds : l’outil </a:t>
            </a:r>
            <a:r>
              <a:rPr lang="fr-FR" sz="1600" b="1">
                <a:solidFill>
                  <a:srgbClr val="FFC000"/>
                </a:solidFill>
              </a:rPr>
              <a:t>TRACERT</a:t>
            </a:r>
            <a:r>
              <a:rPr lang="fr-FR" sz="1600" b="1"/>
              <a:t> !</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Fonctionnement d’un réseau</a:t>
            </a:r>
          </a:p>
        </p:txBody>
      </p:sp>
      <p:grpSp>
        <p:nvGrpSpPr>
          <p:cNvPr id="26" name="Groupe 25">
            <a:extLst>
              <a:ext uri="{FF2B5EF4-FFF2-40B4-BE49-F238E27FC236}">
                <a16:creationId xmlns:a16="http://schemas.microsoft.com/office/drawing/2014/main" id="{13989E1D-F284-47B3-0EC5-B5096838CE98}"/>
              </a:ext>
            </a:extLst>
          </p:cNvPr>
          <p:cNvGrpSpPr/>
          <p:nvPr/>
        </p:nvGrpSpPr>
        <p:grpSpPr>
          <a:xfrm>
            <a:off x="1149946" y="2744924"/>
            <a:ext cx="9892107" cy="1368152"/>
            <a:chOff x="1149946" y="2744924"/>
            <a:chExt cx="9892107" cy="1368152"/>
          </a:xfrm>
        </p:grpSpPr>
        <p:grpSp>
          <p:nvGrpSpPr>
            <p:cNvPr id="6" name="Groupe 5">
              <a:extLst>
                <a:ext uri="{FF2B5EF4-FFF2-40B4-BE49-F238E27FC236}">
                  <a16:creationId xmlns:a16="http://schemas.microsoft.com/office/drawing/2014/main" id="{4E16524D-3658-EE2F-02CF-1D70BDE46AA4}"/>
                </a:ext>
              </a:extLst>
            </p:cNvPr>
            <p:cNvGrpSpPr/>
            <p:nvPr/>
          </p:nvGrpSpPr>
          <p:grpSpPr>
            <a:xfrm>
              <a:off x="1149946" y="2744924"/>
              <a:ext cx="9892107" cy="1368152"/>
              <a:chOff x="1271464" y="1700808"/>
              <a:chExt cx="9892107" cy="1368152"/>
            </a:xfrm>
          </p:grpSpPr>
          <p:sp>
            <p:nvSpPr>
              <p:cNvPr id="7" name="Ellipse 6">
                <a:extLst>
                  <a:ext uri="{FF2B5EF4-FFF2-40B4-BE49-F238E27FC236}">
                    <a16:creationId xmlns:a16="http://schemas.microsoft.com/office/drawing/2014/main" id="{929C82F8-E96B-A9A7-27FC-6068D6F2A13C}"/>
                  </a:ext>
                </a:extLst>
              </p:cNvPr>
              <p:cNvSpPr/>
              <p:nvPr/>
            </p:nvSpPr>
            <p:spPr>
              <a:xfrm>
                <a:off x="1271464" y="2492896"/>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A</a:t>
                </a:r>
              </a:p>
            </p:txBody>
          </p:sp>
          <p:sp>
            <p:nvSpPr>
              <p:cNvPr id="8" name="Ellipse 7">
                <a:extLst>
                  <a:ext uri="{FF2B5EF4-FFF2-40B4-BE49-F238E27FC236}">
                    <a16:creationId xmlns:a16="http://schemas.microsoft.com/office/drawing/2014/main" id="{9B66F796-A56D-B101-6FDB-83BD9847F5F9}"/>
                  </a:ext>
                </a:extLst>
              </p:cNvPr>
              <p:cNvSpPr/>
              <p:nvPr/>
            </p:nvSpPr>
            <p:spPr>
              <a:xfrm>
                <a:off x="3134673"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1</a:t>
                </a:r>
              </a:p>
            </p:txBody>
          </p:sp>
          <p:sp>
            <p:nvSpPr>
              <p:cNvPr id="9" name="Ellipse 8">
                <a:extLst>
                  <a:ext uri="{FF2B5EF4-FFF2-40B4-BE49-F238E27FC236}">
                    <a16:creationId xmlns:a16="http://schemas.microsoft.com/office/drawing/2014/main" id="{E2343A20-061E-1EAC-1BA5-7220CE401947}"/>
                  </a:ext>
                </a:extLst>
              </p:cNvPr>
              <p:cNvSpPr/>
              <p:nvPr/>
            </p:nvSpPr>
            <p:spPr>
              <a:xfrm>
                <a:off x="4997882"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2</a:t>
                </a:r>
              </a:p>
            </p:txBody>
          </p:sp>
          <p:sp>
            <p:nvSpPr>
              <p:cNvPr id="10" name="Ellipse 9">
                <a:extLst>
                  <a:ext uri="{FF2B5EF4-FFF2-40B4-BE49-F238E27FC236}">
                    <a16:creationId xmlns:a16="http://schemas.microsoft.com/office/drawing/2014/main" id="{1B1167BE-73FD-FC8D-4A97-66EED07FB36B}"/>
                  </a:ext>
                </a:extLst>
              </p:cNvPr>
              <p:cNvSpPr/>
              <p:nvPr/>
            </p:nvSpPr>
            <p:spPr>
              <a:xfrm>
                <a:off x="6861090"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3</a:t>
                </a:r>
              </a:p>
            </p:txBody>
          </p:sp>
          <p:sp>
            <p:nvSpPr>
              <p:cNvPr id="11" name="Ellipse 10">
                <a:extLst>
                  <a:ext uri="{FF2B5EF4-FFF2-40B4-BE49-F238E27FC236}">
                    <a16:creationId xmlns:a16="http://schemas.microsoft.com/office/drawing/2014/main" id="{F770243E-62B6-F153-A4DB-6415322A98C2}"/>
                  </a:ext>
                </a:extLst>
              </p:cNvPr>
              <p:cNvSpPr/>
              <p:nvPr/>
            </p:nvSpPr>
            <p:spPr>
              <a:xfrm>
                <a:off x="8724300"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4</a:t>
                </a:r>
              </a:p>
            </p:txBody>
          </p:sp>
          <p:sp>
            <p:nvSpPr>
              <p:cNvPr id="12" name="Ellipse 11">
                <a:extLst>
                  <a:ext uri="{FF2B5EF4-FFF2-40B4-BE49-F238E27FC236}">
                    <a16:creationId xmlns:a16="http://schemas.microsoft.com/office/drawing/2014/main" id="{ABCBB293-1EF6-83AB-08C6-F4F9BBACB02B}"/>
                  </a:ext>
                </a:extLst>
              </p:cNvPr>
              <p:cNvSpPr/>
              <p:nvPr/>
            </p:nvSpPr>
            <p:spPr>
              <a:xfrm>
                <a:off x="10587507" y="1700808"/>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B</a:t>
                </a:r>
              </a:p>
            </p:txBody>
          </p:sp>
          <p:cxnSp>
            <p:nvCxnSpPr>
              <p:cNvPr id="13" name="Connecteur droit avec flèche 12">
                <a:extLst>
                  <a:ext uri="{FF2B5EF4-FFF2-40B4-BE49-F238E27FC236}">
                    <a16:creationId xmlns:a16="http://schemas.microsoft.com/office/drawing/2014/main" id="{D7047D8D-9FE9-34DD-D6E1-8CFE6786283D}"/>
                  </a:ext>
                </a:extLst>
              </p:cNvPr>
              <p:cNvCxnSpPr>
                <a:cxnSpLocks/>
                <a:stCxn id="7" idx="6"/>
                <a:endCxn id="8" idx="2"/>
              </p:cNvCxnSpPr>
              <p:nvPr/>
            </p:nvCxnSpPr>
            <p:spPr>
              <a:xfrm flipV="1">
                <a:off x="1847528"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7F349496-BC9F-6E16-9484-3E1A3D1477CC}"/>
                  </a:ext>
                </a:extLst>
              </p:cNvPr>
              <p:cNvCxnSpPr>
                <a:cxnSpLocks/>
                <a:stCxn id="8" idx="6"/>
                <a:endCxn id="9" idx="2"/>
              </p:cNvCxnSpPr>
              <p:nvPr/>
            </p:nvCxnSpPr>
            <p:spPr>
              <a:xfrm>
                <a:off x="3710737"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3C5D0723-9D69-3279-329E-3171043305CC}"/>
                  </a:ext>
                </a:extLst>
              </p:cNvPr>
              <p:cNvCxnSpPr>
                <a:cxnSpLocks/>
                <a:stCxn id="9" idx="6"/>
                <a:endCxn id="10" idx="2"/>
              </p:cNvCxnSpPr>
              <p:nvPr/>
            </p:nvCxnSpPr>
            <p:spPr>
              <a:xfrm flipV="1">
                <a:off x="5573946" y="1988840"/>
                <a:ext cx="1287144"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ECEC01AB-497C-7C4F-3253-AA5982A39F84}"/>
                  </a:ext>
                </a:extLst>
              </p:cNvPr>
              <p:cNvCxnSpPr>
                <a:cxnSpLocks/>
                <a:stCxn id="10" idx="6"/>
                <a:endCxn id="11" idx="2"/>
              </p:cNvCxnSpPr>
              <p:nvPr/>
            </p:nvCxnSpPr>
            <p:spPr>
              <a:xfrm>
                <a:off x="7437154" y="1988840"/>
                <a:ext cx="1287146"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A8261543-6339-5805-4410-E2DE54469F02}"/>
                  </a:ext>
                </a:extLst>
              </p:cNvPr>
              <p:cNvCxnSpPr>
                <a:cxnSpLocks/>
                <a:stCxn id="11" idx="6"/>
                <a:endCxn id="12" idx="2"/>
              </p:cNvCxnSpPr>
              <p:nvPr/>
            </p:nvCxnSpPr>
            <p:spPr>
              <a:xfrm flipV="1">
                <a:off x="9300364" y="1988840"/>
                <a:ext cx="1287143"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0" name="Rectangle : carré corné 19">
              <a:extLst>
                <a:ext uri="{FF2B5EF4-FFF2-40B4-BE49-F238E27FC236}">
                  <a16:creationId xmlns:a16="http://schemas.microsoft.com/office/drawing/2014/main" id="{2FE90F1F-B6CF-413D-A312-F1C1A77CCFC9}"/>
                </a:ext>
              </a:extLst>
            </p:cNvPr>
            <p:cNvSpPr/>
            <p:nvPr/>
          </p:nvSpPr>
          <p:spPr>
            <a:xfrm>
              <a:off x="1173119" y="2868749"/>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1" name="Rectangle : carré corné 20">
              <a:extLst>
                <a:ext uri="{FF2B5EF4-FFF2-40B4-BE49-F238E27FC236}">
                  <a16:creationId xmlns:a16="http://schemas.microsoft.com/office/drawing/2014/main" id="{F8485B85-DB19-E5B1-AB1B-CBB55894EBBF}"/>
                </a:ext>
              </a:extLst>
            </p:cNvPr>
            <p:cNvSpPr/>
            <p:nvPr/>
          </p:nvSpPr>
          <p:spPr>
            <a:xfrm>
              <a:off x="3039664" y="3425763"/>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2" name="Rectangle : carré corné 21">
              <a:extLst>
                <a:ext uri="{FF2B5EF4-FFF2-40B4-BE49-F238E27FC236}">
                  <a16:creationId xmlns:a16="http://schemas.microsoft.com/office/drawing/2014/main" id="{42C3550E-6674-D624-B253-F6D5DB7F5102}"/>
                </a:ext>
              </a:extLst>
            </p:cNvPr>
            <p:cNvSpPr/>
            <p:nvPr/>
          </p:nvSpPr>
          <p:spPr>
            <a:xfrm>
              <a:off x="4911345" y="2849699"/>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3" name="Rectangle : carré corné 22">
              <a:extLst>
                <a:ext uri="{FF2B5EF4-FFF2-40B4-BE49-F238E27FC236}">
                  <a16:creationId xmlns:a16="http://schemas.microsoft.com/office/drawing/2014/main" id="{C197AB3C-633D-0EF7-E1BE-1BB4E79FA1E8}"/>
                </a:ext>
              </a:extLst>
            </p:cNvPr>
            <p:cNvSpPr/>
            <p:nvPr/>
          </p:nvSpPr>
          <p:spPr>
            <a:xfrm>
              <a:off x="6791858" y="3425763"/>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4" name="Rectangle : carré corné 23">
              <a:extLst>
                <a:ext uri="{FF2B5EF4-FFF2-40B4-BE49-F238E27FC236}">
                  <a16:creationId xmlns:a16="http://schemas.microsoft.com/office/drawing/2014/main" id="{F9F215C7-5011-FE4F-0250-47AB4179B8A9}"/>
                </a:ext>
              </a:extLst>
            </p:cNvPr>
            <p:cNvSpPr/>
            <p:nvPr/>
          </p:nvSpPr>
          <p:spPr>
            <a:xfrm>
              <a:off x="8630504" y="2849699"/>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sp>
          <p:nvSpPr>
            <p:cNvPr id="25" name="Rectangle : carré corné 24">
              <a:extLst>
                <a:ext uri="{FF2B5EF4-FFF2-40B4-BE49-F238E27FC236}">
                  <a16:creationId xmlns:a16="http://schemas.microsoft.com/office/drawing/2014/main" id="{F52B1BC9-EE11-913F-6A0A-BF44DFB8C132}"/>
                </a:ext>
              </a:extLst>
            </p:cNvPr>
            <p:cNvSpPr/>
            <p:nvPr/>
          </p:nvSpPr>
          <p:spPr>
            <a:xfrm>
              <a:off x="10515168" y="3429000"/>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400">
                  <a:solidFill>
                    <a:schemeClr val="bg1"/>
                  </a:solidFill>
                </a:rPr>
                <a:t>Mon message personnel et très confidentiel  que seul BOB doit pouvoir voir</a:t>
              </a:r>
            </a:p>
          </p:txBody>
        </p:sp>
      </p:grpSp>
    </p:spTree>
    <p:extLst>
      <p:ext uri="{BB962C8B-B14F-4D97-AF65-F5344CB8AC3E}">
        <p14:creationId xmlns:p14="http://schemas.microsoft.com/office/powerpoint/2010/main" val="24096700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811EB-6283-40F4-AF28-479304873225}"/>
              </a:ext>
            </a:extLst>
          </p:cNvPr>
          <p:cNvSpPr>
            <a:spLocks noGrp="1"/>
          </p:cNvSpPr>
          <p:nvPr>
            <p:ph type="title"/>
          </p:nvPr>
        </p:nvSpPr>
        <p:spPr/>
        <p:txBody>
          <a:bodyPr/>
          <a:lstStyle/>
          <a:p>
            <a:r>
              <a:rPr lang="en-US"/>
              <a:t>Tips</a:t>
            </a:r>
            <a:br>
              <a:rPr lang="en-US"/>
            </a:br>
            <a:r>
              <a:rPr lang="en-US" sz="2000">
                <a:solidFill>
                  <a:srgbClr val="A6001A"/>
                </a:solidFill>
                <a:latin typeface="+mn-lt"/>
              </a:rPr>
              <a:t>Read me and delete me</a:t>
            </a:r>
            <a:endParaRPr lang="en-US">
              <a:solidFill>
                <a:srgbClr val="A6001A"/>
              </a:solidFill>
              <a:latin typeface="+mn-lt"/>
            </a:endParaRPr>
          </a:p>
        </p:txBody>
      </p:sp>
      <p:sp>
        <p:nvSpPr>
          <p:cNvPr id="3" name="Text Placeholder 2">
            <a:extLst>
              <a:ext uri="{FF2B5EF4-FFF2-40B4-BE49-F238E27FC236}">
                <a16:creationId xmlns:a16="http://schemas.microsoft.com/office/drawing/2014/main" id="{EEED96DD-0340-48A5-BA08-9D1265F1B26F}"/>
              </a:ext>
            </a:extLst>
          </p:cNvPr>
          <p:cNvSpPr>
            <a:spLocks noGrp="1"/>
          </p:cNvSpPr>
          <p:nvPr>
            <p:ph type="body" sz="quarter" idx="4294967295"/>
          </p:nvPr>
        </p:nvSpPr>
        <p:spPr>
          <a:xfrm>
            <a:off x="412477" y="1571625"/>
            <a:ext cx="4721498" cy="4851400"/>
          </a:xfrm>
        </p:spPr>
        <p:txBody>
          <a:bodyPr/>
          <a:lstStyle/>
          <a:p>
            <a:r>
              <a:rPr lang="en-US" sz="1200">
                <a:latin typeface="+mj-lt"/>
              </a:rPr>
              <a:t>Photography</a:t>
            </a:r>
            <a:endParaRPr lang="en-US" sz="1100">
              <a:latin typeface="+mj-lt"/>
            </a:endParaRPr>
          </a:p>
          <a:p>
            <a:r>
              <a:rPr lang="en-US" sz="1100"/>
              <a:t>Photo inserted in this deck are given as example. </a:t>
            </a:r>
            <a:r>
              <a:rPr lang="en-US" sz="1100">
                <a:solidFill>
                  <a:srgbClr val="E30021"/>
                </a:solidFill>
              </a:rPr>
              <a:t>Do not forget to change the photography to better match your content</a:t>
            </a:r>
            <a:r>
              <a:rPr lang="en-US" sz="1100"/>
              <a:t>.</a:t>
            </a:r>
          </a:p>
          <a:p>
            <a:r>
              <a:rPr lang="en-US" sz="1100"/>
              <a:t>Right click on the picture or picture placeholder to change/insert a photo </a:t>
            </a:r>
          </a:p>
          <a:p>
            <a:r>
              <a:rPr lang="en-US" sz="1100"/>
              <a:t>Where to find photography:</a:t>
            </a:r>
          </a:p>
          <a:p>
            <a:pPr marL="180975" indent="-180975">
              <a:buFont typeface="Arial" panose="020B0604020202020204" pitchFamily="34" charset="0"/>
              <a:buChar char="•"/>
            </a:pPr>
            <a:r>
              <a:rPr lang="en-US" sz="1100"/>
              <a:t>Photo library (will be enriched from time to time): </a:t>
            </a:r>
            <a:br>
              <a:rPr lang="en-US" sz="1100"/>
            </a:br>
            <a:r>
              <a:rPr lang="en-US" sz="1100">
                <a:hlinkClick r:id="rId3"/>
              </a:rPr>
              <a:t>https://dam.gettyimages.com/capgemini/photo-library</a:t>
            </a:r>
            <a:r>
              <a:rPr lang="en-US" sz="1100"/>
              <a:t> </a:t>
            </a:r>
          </a:p>
          <a:p>
            <a:pPr marL="180975" indent="-180975">
              <a:buFont typeface="Arial" panose="020B0604020202020204" pitchFamily="34" charset="0"/>
              <a:buChar char="•"/>
            </a:pPr>
            <a:r>
              <a:rPr lang="en-US" sz="1100"/>
              <a:t>Under licence (check with your M&amp;C or design team):</a:t>
            </a:r>
          </a:p>
          <a:p>
            <a:pPr marL="361950" lvl="2" indent="-185738"/>
            <a:r>
              <a:rPr lang="en-US" sz="1100"/>
              <a:t>Getty images (Recommended)</a:t>
            </a:r>
          </a:p>
          <a:p>
            <a:pPr marL="361950" lvl="2" indent="-185738"/>
            <a:r>
              <a:rPr lang="en-US" sz="1100"/>
              <a:t>Shutterstock</a:t>
            </a:r>
          </a:p>
          <a:p>
            <a:pPr marL="361950" lvl="2" indent="-185738"/>
            <a:r>
              <a:rPr lang="en-US" sz="1100"/>
              <a:t>Adobe images</a:t>
            </a:r>
          </a:p>
          <a:p>
            <a:endParaRPr lang="en-US" sz="1100"/>
          </a:p>
          <a:p>
            <a:r>
              <a:rPr lang="en-US" sz="1200">
                <a:latin typeface="+mj-lt"/>
              </a:rPr>
              <a:t>The shape</a:t>
            </a:r>
          </a:p>
          <a:p>
            <a:r>
              <a:rPr lang="en-US" sz="1100"/>
              <a:t>You can flip the shape on vertical axis (never pointing downward) to better adapt to your content. You can also right-click on it to replace/insert a different one.</a:t>
            </a:r>
          </a:p>
          <a:p>
            <a:r>
              <a:rPr lang="en-US" sz="1100" b="1"/>
              <a:t>Shape is mandatory on front and back covers. </a:t>
            </a:r>
          </a:p>
          <a:p>
            <a:r>
              <a:rPr lang="en-US" sz="1100">
                <a:solidFill>
                  <a:srgbClr val="E30021"/>
                </a:solidFill>
              </a:rPr>
              <a:t>Do not overuse the shape on all pages.</a:t>
            </a:r>
            <a:endParaRPr lang="en-US" sz="1100"/>
          </a:p>
        </p:txBody>
      </p:sp>
      <p:sp>
        <p:nvSpPr>
          <p:cNvPr id="12" name="Text Placeholder 2">
            <a:extLst>
              <a:ext uri="{FF2B5EF4-FFF2-40B4-BE49-F238E27FC236}">
                <a16:creationId xmlns:a16="http://schemas.microsoft.com/office/drawing/2014/main" id="{00836B3E-622C-4A61-88F8-83232F41FF14}"/>
              </a:ext>
            </a:extLst>
          </p:cNvPr>
          <p:cNvSpPr txBox="1">
            <a:spLocks/>
          </p:cNvSpPr>
          <p:nvPr/>
        </p:nvSpPr>
        <p:spPr>
          <a:xfrm>
            <a:off x="5959124" y="658987"/>
            <a:ext cx="4721498" cy="200031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latin typeface="+mj-lt"/>
              </a:rPr>
              <a:t>Color palette</a:t>
            </a:r>
          </a:p>
          <a:p>
            <a:r>
              <a:rPr lang="en-US" sz="1100"/>
              <a:t>Theme colors: Primary colors that </a:t>
            </a:r>
            <a:r>
              <a:rPr lang="en-US" sz="1100">
                <a:solidFill>
                  <a:schemeClr val="tx1"/>
                </a:solidFill>
                <a:latin typeface="Ubuntu" panose="020B0504030602030204" pitchFamily="34" charset="0"/>
              </a:rPr>
              <a:t>MUST be used as the hero colors on all front and back covers.</a:t>
            </a:r>
          </a:p>
          <a:p>
            <a:r>
              <a:rPr lang="en-US" sz="1100">
                <a:solidFill>
                  <a:schemeClr val="tx1"/>
                </a:solidFill>
                <a:latin typeface="Ubuntu" panose="020B0504030602030204" pitchFamily="34" charset="0"/>
              </a:rPr>
              <a:t>Custom colors: Secondary Cool and Warm primarily used for graphs, charts, diagrams and illustrations. </a:t>
            </a:r>
            <a:r>
              <a:rPr lang="en-US" sz="1100">
                <a:latin typeface="Ubuntu" panose="020B0504030602030204" pitchFamily="34" charset="0"/>
              </a:rPr>
              <a:t>Secondary palette IS NOT allowed on covers. Warm palette is for accent colors only</a:t>
            </a:r>
            <a:r>
              <a:rPr lang="en-US" sz="1100">
                <a:solidFill>
                  <a:schemeClr val="tx1"/>
                </a:solidFill>
                <a:latin typeface="Ubuntu" panose="020B0504030602030204" pitchFamily="34" charset="0"/>
              </a:rPr>
              <a:t> (e.g.: a graph, chart).</a:t>
            </a:r>
          </a:p>
          <a:p>
            <a:endParaRPr lang="en-US" sz="800"/>
          </a:p>
          <a:p>
            <a:r>
              <a:rPr lang="en-US" sz="1200">
                <a:latin typeface="+mj-lt"/>
              </a:rPr>
              <a:t>Content</a:t>
            </a:r>
            <a:endParaRPr lang="en-US" sz="1100">
              <a:latin typeface="+mj-lt"/>
            </a:endParaRPr>
          </a:p>
          <a:p>
            <a:r>
              <a:rPr lang="en-US" sz="1100"/>
              <a:t>Use the included layout options as a starting point for slide creation.</a:t>
            </a:r>
          </a:p>
        </p:txBody>
      </p:sp>
      <p:pic>
        <p:nvPicPr>
          <p:cNvPr id="9" name="Picture 8">
            <a:extLst>
              <a:ext uri="{FF2B5EF4-FFF2-40B4-BE49-F238E27FC236}">
                <a16:creationId xmlns:a16="http://schemas.microsoft.com/office/drawing/2014/main" id="{1D4044AC-7513-4100-9E13-CF60F8C8CADE}"/>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b="3743"/>
          <a:stretch/>
        </p:blipFill>
        <p:spPr>
          <a:xfrm>
            <a:off x="10722508" y="738136"/>
            <a:ext cx="1068060" cy="1666847"/>
          </a:xfrm>
          <a:prstGeom prst="rect">
            <a:avLst/>
          </a:prstGeom>
        </p:spPr>
      </p:pic>
      <p:sp>
        <p:nvSpPr>
          <p:cNvPr id="17" name="Rectangle 16">
            <a:extLst>
              <a:ext uri="{FF2B5EF4-FFF2-40B4-BE49-F238E27FC236}">
                <a16:creationId xmlns:a16="http://schemas.microsoft.com/office/drawing/2014/main" id="{0B4A35D7-CD24-4351-A7E1-54867B5AB64B}"/>
              </a:ext>
              <a:ext uri="{C183D7F6-B498-43B3-948B-1728B52AA6E4}">
                <adec:decorative xmlns:adec="http://schemas.microsoft.com/office/drawing/2017/decorative" val="1"/>
              </a:ext>
            </a:extLst>
          </p:cNvPr>
          <p:cNvSpPr/>
          <p:nvPr/>
        </p:nvSpPr>
        <p:spPr>
          <a:xfrm>
            <a:off x="10682583" y="689196"/>
            <a:ext cx="1138592" cy="883196"/>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1" name="Group 20">
            <a:extLst>
              <a:ext uri="{FF2B5EF4-FFF2-40B4-BE49-F238E27FC236}">
                <a16:creationId xmlns:a16="http://schemas.microsoft.com/office/drawing/2014/main" id="{321658F9-4B42-4887-80F1-99AE413FCE27}"/>
              </a:ext>
              <a:ext uri="{C183D7F6-B498-43B3-948B-1728B52AA6E4}">
                <adec:decorative xmlns:adec="http://schemas.microsoft.com/office/drawing/2017/decorative" val="1"/>
              </a:ext>
            </a:extLst>
          </p:cNvPr>
          <p:cNvGrpSpPr/>
          <p:nvPr/>
        </p:nvGrpSpPr>
        <p:grpSpPr>
          <a:xfrm>
            <a:off x="9428263" y="2682245"/>
            <a:ext cx="2444106" cy="1034787"/>
            <a:chOff x="9676031" y="2834926"/>
            <a:chExt cx="2444106" cy="1034787"/>
          </a:xfrm>
        </p:grpSpPr>
        <p:grpSp>
          <p:nvGrpSpPr>
            <p:cNvPr id="16" name="Group 15">
              <a:extLst>
                <a:ext uri="{FF2B5EF4-FFF2-40B4-BE49-F238E27FC236}">
                  <a16:creationId xmlns:a16="http://schemas.microsoft.com/office/drawing/2014/main" id="{022F2C6E-7F85-43B4-9620-553795962848}"/>
                </a:ext>
              </a:extLst>
            </p:cNvPr>
            <p:cNvGrpSpPr/>
            <p:nvPr/>
          </p:nvGrpSpPr>
          <p:grpSpPr>
            <a:xfrm>
              <a:off x="9676031" y="2834926"/>
              <a:ext cx="2444106" cy="565219"/>
              <a:chOff x="6403265" y="428045"/>
              <a:chExt cx="2444106" cy="565219"/>
            </a:xfrm>
          </p:grpSpPr>
          <p:pic>
            <p:nvPicPr>
              <p:cNvPr id="5" name="Picture 4">
                <a:extLst>
                  <a:ext uri="{FF2B5EF4-FFF2-40B4-BE49-F238E27FC236}">
                    <a16:creationId xmlns:a16="http://schemas.microsoft.com/office/drawing/2014/main" id="{AA7087C9-BED2-4D45-869A-A6B39399891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403265" y="428045"/>
                <a:ext cx="2444106" cy="565219"/>
              </a:xfrm>
              <a:prstGeom prst="rect">
                <a:avLst/>
              </a:prstGeom>
            </p:spPr>
          </p:pic>
          <p:sp>
            <p:nvSpPr>
              <p:cNvPr id="14" name="Rectangle 13">
                <a:extLst>
                  <a:ext uri="{FF2B5EF4-FFF2-40B4-BE49-F238E27FC236}">
                    <a16:creationId xmlns:a16="http://schemas.microsoft.com/office/drawing/2014/main" id="{81C7AF5D-7D01-4D51-ABB8-1994BF775AEB}"/>
                  </a:ext>
                </a:extLst>
              </p:cNvPr>
              <p:cNvSpPr/>
              <p:nvPr/>
            </p:nvSpPr>
            <p:spPr>
              <a:xfrm>
                <a:off x="8554552" y="435602"/>
                <a:ext cx="217078" cy="116061"/>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0C305D76-B619-4101-8BBE-B11FD77C290E}"/>
                  </a:ext>
                </a:extLst>
              </p:cNvPr>
              <p:cNvSpPr/>
              <p:nvPr/>
            </p:nvSpPr>
            <p:spPr>
              <a:xfrm>
                <a:off x="6884449" y="546178"/>
                <a:ext cx="345600" cy="318460"/>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pic>
          <p:nvPicPr>
            <p:cNvPr id="19" name="Picture 18">
              <a:extLst>
                <a:ext uri="{FF2B5EF4-FFF2-40B4-BE49-F238E27FC236}">
                  <a16:creationId xmlns:a16="http://schemas.microsoft.com/office/drawing/2014/main" id="{1DE378B3-C4F0-4638-9569-7C988B607517}"/>
                </a:ext>
              </a:extLst>
            </p:cNvPr>
            <p:cNvPicPr>
              <a:picLocks noChangeAspect="1"/>
            </p:cNvPicPr>
            <p:nvPr/>
          </p:nvPicPr>
          <p:blipFill rotWithShape="1">
            <a:blip r:embed="rId6"/>
            <a:srcRect l="6411" t="37635" r="7839" b="6994"/>
            <a:stretch/>
          </p:blipFill>
          <p:spPr>
            <a:xfrm>
              <a:off x="10157215" y="3389652"/>
              <a:ext cx="754381" cy="480061"/>
            </a:xfrm>
            <a:prstGeom prst="rect">
              <a:avLst/>
            </a:prstGeom>
          </p:spPr>
        </p:pic>
      </p:grpSp>
      <p:sp>
        <p:nvSpPr>
          <p:cNvPr id="23" name="TextBox 22">
            <a:extLst>
              <a:ext uri="{FF2B5EF4-FFF2-40B4-BE49-F238E27FC236}">
                <a16:creationId xmlns:a16="http://schemas.microsoft.com/office/drawing/2014/main" id="{6B133FB8-0CEC-472B-9E54-D2C84F5A945F}"/>
              </a:ext>
            </a:extLst>
          </p:cNvPr>
          <p:cNvSpPr txBox="1"/>
          <p:nvPr/>
        </p:nvSpPr>
        <p:spPr>
          <a:xfrm>
            <a:off x="5928818" y="2754501"/>
            <a:ext cx="5672632" cy="3554819"/>
          </a:xfrm>
          <a:prstGeom prst="rect">
            <a:avLst/>
          </a:prstGeom>
        </p:spPr>
        <p:txBody>
          <a:bodyPr vert="horz" lIns="0" tIns="0" rIns="0" bIns="0" rtlCol="0">
            <a:noAutofit/>
          </a:bodyPr>
          <a:lstStyle>
            <a:defPPr>
              <a:defRPr lang="pt-PT"/>
            </a:defPPr>
            <a:lvl1pPr indent="0">
              <a:lnSpc>
                <a:spcPct val="100000"/>
              </a:lnSpc>
              <a:spcBef>
                <a:spcPts val="0"/>
              </a:spcBef>
              <a:spcAft>
                <a:spcPts val="600"/>
              </a:spcAft>
              <a:buFont typeface="Arial" panose="020B0604020202020204" pitchFamily="34" charset="0"/>
              <a:buNone/>
              <a:defRPr sz="1100" b="1" baseline="0"/>
            </a:lvl1pPr>
            <a:lvl2pPr marL="177800" indent="-177800">
              <a:lnSpc>
                <a:spcPct val="100000"/>
              </a:lnSpc>
              <a:spcBef>
                <a:spcPts val="0"/>
              </a:spcBef>
              <a:spcAft>
                <a:spcPts val="600"/>
              </a:spcAft>
              <a:buClr>
                <a:schemeClr val="accent1"/>
              </a:buClr>
              <a:buFont typeface="Wingdings" panose="05000000000000000000" pitchFamily="2" charset="2"/>
              <a:buChar char="§"/>
              <a:defRPr baseline="0"/>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0">
                <a:latin typeface="+mj-lt"/>
              </a:rPr>
              <a:t>Accessibility: Best practices</a:t>
            </a:r>
          </a:p>
          <a:p>
            <a:pPr marL="171450" indent="-171450">
              <a:buFont typeface="Arial" panose="020B0604020202020204" pitchFamily="34" charset="0"/>
              <a:buChar char="•"/>
            </a:pPr>
            <a:r>
              <a:rPr lang="en-US" b="0"/>
              <a:t>Use the Accessibility checker</a:t>
            </a:r>
          </a:p>
          <a:p>
            <a:pPr marL="171450" indent="-171450">
              <a:buFont typeface="Arial" panose="020B0604020202020204" pitchFamily="34" charset="0"/>
              <a:buChar char="•"/>
            </a:pPr>
            <a:r>
              <a:rPr lang="en-US" b="0"/>
              <a:t>Make sure that content is well structured and clearly</a:t>
            </a:r>
            <a:br>
              <a:rPr lang="en-US" b="0"/>
            </a:br>
            <a:r>
              <a:rPr lang="en-US" b="0"/>
              <a:t>written (use headings and lists appropriately).</a:t>
            </a:r>
          </a:p>
          <a:p>
            <a:pPr marL="171450" indent="-171450">
              <a:buFont typeface="Arial" panose="020B0604020202020204" pitchFamily="34" charset="0"/>
              <a:buChar char="•"/>
            </a:pPr>
            <a:r>
              <a:rPr lang="en-US" b="0"/>
              <a:t>Give every slide a unique title</a:t>
            </a:r>
          </a:p>
          <a:p>
            <a:pPr marL="171450" indent="-171450">
              <a:buFont typeface="Arial" panose="020B0604020202020204" pitchFamily="34" charset="0"/>
              <a:buChar char="•"/>
            </a:pPr>
            <a:r>
              <a:rPr lang="en-US" b="0"/>
              <a:t>Make sure slide contents can be read in the order that you intend</a:t>
            </a:r>
          </a:p>
          <a:p>
            <a:pPr marL="171450" indent="-171450">
              <a:buFont typeface="Arial" panose="020B0604020202020204" pitchFamily="34" charset="0"/>
              <a:buChar char="•"/>
            </a:pPr>
            <a:r>
              <a:rPr lang="en-US" b="0"/>
              <a:t>Ensure that color is not the only means of conveying information</a:t>
            </a:r>
          </a:p>
          <a:p>
            <a:pPr marL="171450" indent="-171450">
              <a:buFont typeface="Arial" panose="020B0604020202020204" pitchFamily="34" charset="0"/>
              <a:buChar char="•"/>
            </a:pPr>
            <a:r>
              <a:rPr lang="en-US" b="0"/>
              <a:t>Ensure sufficient contrast between text and background colors</a:t>
            </a:r>
          </a:p>
          <a:p>
            <a:pPr marL="171450" indent="-171450">
              <a:buFont typeface="Arial" panose="020B0604020202020204" pitchFamily="34" charset="0"/>
              <a:buChar char="•"/>
            </a:pPr>
            <a:r>
              <a:rPr lang="en-US" b="0"/>
              <a:t>Describe the illustrations that convey information (e.g.: include alternative text). Otherwise, mark them as “decorative”.</a:t>
            </a:r>
          </a:p>
          <a:p>
            <a:pPr marL="171450" indent="-171450">
              <a:buFont typeface="Arial" panose="020B0604020202020204" pitchFamily="34" charset="0"/>
              <a:buChar char="•"/>
            </a:pPr>
            <a:r>
              <a:rPr lang="en-US" b="0"/>
              <a:t>Use a simple table structure for data only and specify column header information.</a:t>
            </a:r>
          </a:p>
          <a:p>
            <a:endParaRPr lang="en-US" b="0"/>
          </a:p>
          <a:p>
            <a:r>
              <a:rPr lang="en-US" sz="1200" b="0">
                <a:latin typeface="+mj-lt"/>
              </a:rPr>
              <a:t>To finalize</a:t>
            </a:r>
          </a:p>
          <a:p>
            <a:r>
              <a:rPr lang="en-US" b="0"/>
              <a:t>To lower the total weight of the presentation, </a:t>
            </a:r>
            <a:r>
              <a:rPr lang="en-US"/>
              <a:t>delete the unwanted </a:t>
            </a:r>
            <a:r>
              <a:rPr lang="en-US" b="0"/>
              <a:t>page/image and/or master slides</a:t>
            </a:r>
          </a:p>
          <a:p>
            <a:r>
              <a:rPr lang="en-US" b="0"/>
              <a:t>It is recommended to reduce the size and send a PDF copy to your stakeholder/s: </a:t>
            </a:r>
            <a:br>
              <a:rPr lang="en-US" b="0"/>
            </a:br>
            <a:r>
              <a:rPr lang="en-US" b="0"/>
              <a:t>Save as Adobe PDF.</a:t>
            </a:r>
          </a:p>
        </p:txBody>
      </p:sp>
      <p:pic>
        <p:nvPicPr>
          <p:cNvPr id="7" name="Image 6">
            <a:extLst>
              <a:ext uri="{FF2B5EF4-FFF2-40B4-BE49-F238E27FC236}">
                <a16:creationId xmlns:a16="http://schemas.microsoft.com/office/drawing/2014/main" id="{74579CD3-5B8D-DBE1-4618-CFC855AE112A}"/>
              </a:ext>
              <a:ext uri="{C183D7F6-B498-43B3-948B-1728B52AA6E4}">
                <adec:decorative xmlns:adec="http://schemas.microsoft.com/office/drawing/2017/decorative" val="1"/>
              </a:ext>
            </a:extLst>
          </p:cNvPr>
          <p:cNvPicPr>
            <a:picLocks noChangeAspect="1"/>
          </p:cNvPicPr>
          <p:nvPr/>
        </p:nvPicPr>
        <p:blipFill rotWithShape="1">
          <a:blip r:embed="rId7"/>
          <a:srcRect l="913" t="4934" r="4053"/>
          <a:stretch/>
        </p:blipFill>
        <p:spPr>
          <a:xfrm>
            <a:off x="10740800" y="921792"/>
            <a:ext cx="1043214" cy="617705"/>
          </a:xfrm>
          <a:prstGeom prst="rect">
            <a:avLst/>
          </a:prstGeom>
        </p:spPr>
      </p:pic>
    </p:spTree>
    <p:extLst>
      <p:ext uri="{BB962C8B-B14F-4D97-AF65-F5344CB8AC3E}">
        <p14:creationId xmlns:p14="http://schemas.microsoft.com/office/powerpoint/2010/main" val="19291025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A6AAAC-9815-D4B4-DCFB-00EE2F49AF6E}"/>
              </a:ext>
            </a:extLst>
          </p:cNvPr>
          <p:cNvSpPr>
            <a:spLocks noGrp="1"/>
          </p:cNvSpPr>
          <p:nvPr>
            <p:ph type="title" idx="4294967295"/>
          </p:nvPr>
        </p:nvSpPr>
        <p:spPr>
          <a:xfrm>
            <a:off x="2782888" y="1557338"/>
            <a:ext cx="8864600" cy="6477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chemeClr val="bg1"/>
                </a:solidFill>
                <a:effectLst/>
                <a:uLnTx/>
                <a:uFillTx/>
                <a:latin typeface="+mn-lt"/>
                <a:ea typeface="+mn-ea"/>
                <a:cs typeface="+mn-cs"/>
              </a:rPr>
              <a:t>Shapes &amp; icons</a:t>
            </a:r>
          </a:p>
        </p:txBody>
      </p:sp>
      <p:sp>
        <p:nvSpPr>
          <p:cNvPr id="2" name="Text Placeholder 1">
            <a:extLst>
              <a:ext uri="{FF2B5EF4-FFF2-40B4-BE49-F238E27FC236}">
                <a16:creationId xmlns:a16="http://schemas.microsoft.com/office/drawing/2014/main" id="{3A3C0291-2E35-FC92-5A55-0F330A28C0D0}"/>
              </a:ext>
              <a:ext uri="{C183D7F6-B498-43B3-948B-1728B52AA6E4}">
                <adec:decorative xmlns:adec="http://schemas.microsoft.com/office/drawing/2017/decorative" val="1"/>
              </a:ext>
            </a:extLst>
          </p:cNvPr>
          <p:cNvSpPr>
            <a:spLocks noGrp="1"/>
          </p:cNvSpPr>
          <p:nvPr>
            <p:ph type="body" sz="quarter" idx="17"/>
          </p:nvPr>
        </p:nvSpPr>
        <p:spPr/>
        <p:txBody>
          <a:bodyPr/>
          <a:lstStyle/>
          <a:p>
            <a:r>
              <a:rPr lang="en-US"/>
              <a:t>02</a:t>
            </a:r>
          </a:p>
        </p:txBody>
      </p:sp>
    </p:spTree>
    <p:extLst>
      <p:ext uri="{BB962C8B-B14F-4D97-AF65-F5344CB8AC3E}">
        <p14:creationId xmlns:p14="http://schemas.microsoft.com/office/powerpoint/2010/main" val="9873459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08C25-8F58-9F58-118E-2AF033901B63}"/>
              </a:ext>
            </a:extLst>
          </p:cNvPr>
          <p:cNvSpPr>
            <a:spLocks noGrp="1"/>
          </p:cNvSpPr>
          <p:nvPr>
            <p:ph type="title"/>
          </p:nvPr>
        </p:nvSpPr>
        <p:spPr>
          <a:xfrm>
            <a:off x="414971" y="260350"/>
            <a:ext cx="11008413" cy="792163"/>
          </a:xfrm>
        </p:spPr>
        <p:txBody>
          <a:bodyPr/>
          <a:lstStyle/>
          <a:p>
            <a:r>
              <a:rPr lang="en-US"/>
              <a:t>Shapes vibrant blue</a:t>
            </a:r>
          </a:p>
        </p:txBody>
      </p:sp>
      <p:sp>
        <p:nvSpPr>
          <p:cNvPr id="3" name="Text Placeholder 2">
            <a:extLst>
              <a:ext uri="{FF2B5EF4-FFF2-40B4-BE49-F238E27FC236}">
                <a16:creationId xmlns:a16="http://schemas.microsoft.com/office/drawing/2014/main" id="{37ADDAC3-3F84-8CD0-3AA4-E0899AE7A642}"/>
              </a:ext>
            </a:extLst>
          </p:cNvPr>
          <p:cNvSpPr>
            <a:spLocks noGrp="1"/>
          </p:cNvSpPr>
          <p:nvPr>
            <p:ph type="body" sz="quarter" idx="15"/>
          </p:nvPr>
        </p:nvSpPr>
        <p:spPr>
          <a:xfrm>
            <a:off x="414971" y="1125538"/>
            <a:ext cx="11369042" cy="246221"/>
          </a:xfrm>
        </p:spPr>
        <p:txBody>
          <a:bodyPr/>
          <a:lstStyle/>
          <a:p>
            <a:r>
              <a:rPr lang="en-US"/>
              <a:t>No distort, no rotation, no vertical flip, only flipping horizontal and changing the size is brand conform</a:t>
            </a:r>
          </a:p>
        </p:txBody>
      </p:sp>
      <p:pic>
        <p:nvPicPr>
          <p:cNvPr id="7" name="Image 6">
            <a:extLst>
              <a:ext uri="{FF2B5EF4-FFF2-40B4-BE49-F238E27FC236}">
                <a16:creationId xmlns:a16="http://schemas.microsoft.com/office/drawing/2014/main" id="{A1198DDF-B60C-4A53-2323-7DD24F3D7DD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9336" y="2176378"/>
            <a:ext cx="4228920" cy="1717552"/>
          </a:xfrm>
          <a:prstGeom prst="rect">
            <a:avLst/>
          </a:prstGeom>
        </p:spPr>
      </p:pic>
      <p:pic>
        <p:nvPicPr>
          <p:cNvPr id="13" name="Image 12">
            <a:extLst>
              <a:ext uri="{FF2B5EF4-FFF2-40B4-BE49-F238E27FC236}">
                <a16:creationId xmlns:a16="http://schemas.microsoft.com/office/drawing/2014/main" id="{671E9E82-859B-994A-F930-80D68626FE3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96390" y="1884251"/>
            <a:ext cx="3294790" cy="2729635"/>
          </a:xfrm>
          <a:prstGeom prst="rect">
            <a:avLst/>
          </a:prstGeom>
        </p:spPr>
      </p:pic>
      <p:pic>
        <p:nvPicPr>
          <p:cNvPr id="15" name="Image 14">
            <a:extLst>
              <a:ext uri="{FF2B5EF4-FFF2-40B4-BE49-F238E27FC236}">
                <a16:creationId xmlns:a16="http://schemas.microsoft.com/office/drawing/2014/main" id="{98815BCD-F81D-9B5B-1DB9-6685E248DFD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960096" y="2132856"/>
            <a:ext cx="5014606" cy="1951323"/>
          </a:xfrm>
          <a:prstGeom prst="rect">
            <a:avLst/>
          </a:prstGeom>
        </p:spPr>
      </p:pic>
      <p:pic>
        <p:nvPicPr>
          <p:cNvPr id="16" name="Image 15">
            <a:extLst>
              <a:ext uri="{FF2B5EF4-FFF2-40B4-BE49-F238E27FC236}">
                <a16:creationId xmlns:a16="http://schemas.microsoft.com/office/drawing/2014/main" id="{A15C1747-3B3F-4AFD-E5AD-4B400A4AC0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791744" y="4581525"/>
            <a:ext cx="3294790" cy="2729635"/>
          </a:xfrm>
          <a:prstGeom prst="rect">
            <a:avLst/>
          </a:prstGeom>
        </p:spPr>
      </p:pic>
      <p:sp>
        <p:nvSpPr>
          <p:cNvPr id="9" name="TextBox 6">
            <a:extLst>
              <a:ext uri="{FF2B5EF4-FFF2-40B4-BE49-F238E27FC236}">
                <a16:creationId xmlns:a16="http://schemas.microsoft.com/office/drawing/2014/main" id="{D6281507-A4DC-9CDF-57F0-79672FF97D39}"/>
              </a:ext>
              <a:ext uri="{C183D7F6-B498-43B3-948B-1728B52AA6E4}">
                <adec:decorative xmlns:adec="http://schemas.microsoft.com/office/drawing/2017/decorative" val="1"/>
              </a:ext>
            </a:extLst>
          </p:cNvPr>
          <p:cNvSpPr txBox="1"/>
          <p:nvPr/>
        </p:nvSpPr>
        <p:spPr>
          <a:xfrm>
            <a:off x="4223792" y="5222833"/>
            <a:ext cx="1152128" cy="402291"/>
          </a:xfrm>
          <a:prstGeom prst="rect">
            <a:avLst/>
          </a:prstGeom>
          <a:noFill/>
        </p:spPr>
        <p:txBody>
          <a:bodyPr vert="horz" wrap="square" lIns="90000" tIns="46800" rIns="90000" bIns="46800" rtlCol="0" anchor="ctr">
            <a:spAutoFit/>
          </a:bodyPr>
          <a:lstStyle/>
          <a:p>
            <a:pPr algn="ctr">
              <a:spcBef>
                <a:spcPct val="0"/>
              </a:spcBef>
            </a:pPr>
            <a:r>
              <a:rPr lang="en-US" sz="1000"/>
              <a:t>Peak always upwards</a:t>
            </a:r>
          </a:p>
        </p:txBody>
      </p:sp>
      <p:sp>
        <p:nvSpPr>
          <p:cNvPr id="5" name="Oval 6">
            <a:extLst>
              <a:ext uri="{FF2B5EF4-FFF2-40B4-BE49-F238E27FC236}">
                <a16:creationId xmlns:a16="http://schemas.microsoft.com/office/drawing/2014/main" id="{C750A001-FC25-043A-A0E0-6D78208A2F9F}"/>
              </a:ext>
              <a:ext uri="{C183D7F6-B498-43B3-948B-1728B52AA6E4}">
                <adec:decorative xmlns:adec="http://schemas.microsoft.com/office/drawing/2017/decorative" val="1"/>
              </a:ext>
            </a:extLst>
          </p:cNvPr>
          <p:cNvSpPr txBox="1">
            <a:spLocks/>
          </p:cNvSpPr>
          <p:nvPr/>
        </p:nvSpPr>
        <p:spPr bwMode="auto">
          <a:xfrm>
            <a:off x="4511824" y="5708288"/>
            <a:ext cx="504056" cy="504056"/>
          </a:xfrm>
          <a:prstGeom prst="ellipse">
            <a:avLst/>
          </a:prstGeom>
          <a:noFill/>
          <a:ln w="19050">
            <a:solidFill>
              <a:srgbClr val="A6001A"/>
            </a:solidFill>
          </a:ln>
        </p:spPr>
        <p:txBody>
          <a:bodyPr vert="horz" wrap="square" lIns="91440" tIns="45720" rIns="91440" bIns="4572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endParaRPr lang="en-US">
              <a:latin typeface="Ubuntu" panose="020B0504030602030204" pitchFamily="34" charset="0"/>
            </a:endParaRPr>
          </a:p>
        </p:txBody>
      </p:sp>
    </p:spTree>
    <p:extLst>
      <p:ext uri="{BB962C8B-B14F-4D97-AF65-F5344CB8AC3E}">
        <p14:creationId xmlns:p14="http://schemas.microsoft.com/office/powerpoint/2010/main" val="37242499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08C25-8F58-9F58-118E-2AF033901B63}"/>
              </a:ext>
            </a:extLst>
          </p:cNvPr>
          <p:cNvSpPr>
            <a:spLocks noGrp="1"/>
          </p:cNvSpPr>
          <p:nvPr>
            <p:ph type="title"/>
          </p:nvPr>
        </p:nvSpPr>
        <p:spPr>
          <a:xfrm>
            <a:off x="414971" y="260350"/>
            <a:ext cx="11008413" cy="792163"/>
          </a:xfrm>
        </p:spPr>
        <p:txBody>
          <a:bodyPr/>
          <a:lstStyle/>
          <a:p>
            <a:r>
              <a:rPr lang="en-US"/>
              <a:t>Shapes white</a:t>
            </a:r>
          </a:p>
        </p:txBody>
      </p:sp>
      <p:sp>
        <p:nvSpPr>
          <p:cNvPr id="3" name="Text Placeholder 2">
            <a:extLst>
              <a:ext uri="{FF2B5EF4-FFF2-40B4-BE49-F238E27FC236}">
                <a16:creationId xmlns:a16="http://schemas.microsoft.com/office/drawing/2014/main" id="{37ADDAC3-3F84-8CD0-3AA4-E0899AE7A642}"/>
              </a:ext>
            </a:extLst>
          </p:cNvPr>
          <p:cNvSpPr>
            <a:spLocks noGrp="1"/>
          </p:cNvSpPr>
          <p:nvPr>
            <p:ph type="body" sz="quarter" idx="15"/>
          </p:nvPr>
        </p:nvSpPr>
        <p:spPr>
          <a:xfrm>
            <a:off x="414971" y="1125538"/>
            <a:ext cx="11369042" cy="246221"/>
          </a:xfrm>
        </p:spPr>
        <p:txBody>
          <a:bodyPr/>
          <a:lstStyle/>
          <a:p>
            <a:r>
              <a:rPr lang="en-US"/>
              <a:t>No distort, no rotation, no vertical flip, only flipping horizontal and changing the size is brand conform</a:t>
            </a:r>
          </a:p>
        </p:txBody>
      </p:sp>
      <p:pic>
        <p:nvPicPr>
          <p:cNvPr id="9" name="Image 8">
            <a:extLst>
              <a:ext uri="{FF2B5EF4-FFF2-40B4-BE49-F238E27FC236}">
                <a16:creationId xmlns:a16="http://schemas.microsoft.com/office/drawing/2014/main" id="{044716C5-A374-0CA8-8DD1-6F0771E802F3}"/>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9978" y="2278387"/>
            <a:ext cx="4969086" cy="2018166"/>
          </a:xfrm>
          <a:prstGeom prst="rect">
            <a:avLst/>
          </a:prstGeom>
        </p:spPr>
      </p:pic>
      <p:pic>
        <p:nvPicPr>
          <p:cNvPr id="13" name="Image 12">
            <a:extLst>
              <a:ext uri="{FF2B5EF4-FFF2-40B4-BE49-F238E27FC236}">
                <a16:creationId xmlns:a16="http://schemas.microsoft.com/office/drawing/2014/main" id="{F6CB95A8-46A0-E967-8686-22F390F8936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95800" y="1794639"/>
            <a:ext cx="3914205" cy="3161591"/>
          </a:xfrm>
          <a:prstGeom prst="rect">
            <a:avLst/>
          </a:prstGeom>
        </p:spPr>
      </p:pic>
      <p:pic>
        <p:nvPicPr>
          <p:cNvPr id="15" name="Image 14">
            <a:extLst>
              <a:ext uri="{FF2B5EF4-FFF2-40B4-BE49-F238E27FC236}">
                <a16:creationId xmlns:a16="http://schemas.microsoft.com/office/drawing/2014/main" id="{AE76A098-8519-F514-99D0-3987786F2AA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032104" y="2142504"/>
            <a:ext cx="4969086" cy="1934204"/>
          </a:xfrm>
          <a:prstGeom prst="rect">
            <a:avLst/>
          </a:prstGeom>
        </p:spPr>
      </p:pic>
      <p:pic>
        <p:nvPicPr>
          <p:cNvPr id="16" name="Image 15">
            <a:extLst>
              <a:ext uri="{FF2B5EF4-FFF2-40B4-BE49-F238E27FC236}">
                <a16:creationId xmlns:a16="http://schemas.microsoft.com/office/drawing/2014/main" id="{233BC468-9843-E1B8-0636-CEDEA068277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75720" y="4388148"/>
            <a:ext cx="3914205" cy="3161591"/>
          </a:xfrm>
          <a:prstGeom prst="rect">
            <a:avLst/>
          </a:prstGeom>
        </p:spPr>
      </p:pic>
      <p:sp>
        <p:nvSpPr>
          <p:cNvPr id="11" name="TextBox 8">
            <a:extLst>
              <a:ext uri="{FF2B5EF4-FFF2-40B4-BE49-F238E27FC236}">
                <a16:creationId xmlns:a16="http://schemas.microsoft.com/office/drawing/2014/main" id="{72CDCBC3-3047-9C28-3260-286ACF815B77}"/>
              </a:ext>
            </a:extLst>
          </p:cNvPr>
          <p:cNvSpPr txBox="1"/>
          <p:nvPr/>
        </p:nvSpPr>
        <p:spPr>
          <a:xfrm>
            <a:off x="4179986" y="5231461"/>
            <a:ext cx="1152128" cy="402291"/>
          </a:xfrm>
          <a:prstGeom prst="rect">
            <a:avLst/>
          </a:prstGeom>
          <a:noFill/>
        </p:spPr>
        <p:txBody>
          <a:bodyPr vert="horz" wrap="square" lIns="90000" tIns="46800" rIns="90000" bIns="46800" rtlCol="0" anchor="ctr">
            <a:spAutoFit/>
          </a:bodyPr>
          <a:lstStyle/>
          <a:p>
            <a:pPr algn="ctr">
              <a:spcBef>
                <a:spcPct val="0"/>
              </a:spcBef>
            </a:pPr>
            <a:r>
              <a:rPr lang="en-US" sz="1000">
                <a:solidFill>
                  <a:schemeClr val="bg1"/>
                </a:solidFill>
              </a:rPr>
              <a:t>Peak always upwards</a:t>
            </a:r>
          </a:p>
        </p:txBody>
      </p:sp>
      <p:sp>
        <p:nvSpPr>
          <p:cNvPr id="10" name="Oval 6">
            <a:extLst>
              <a:ext uri="{FF2B5EF4-FFF2-40B4-BE49-F238E27FC236}">
                <a16:creationId xmlns:a16="http://schemas.microsoft.com/office/drawing/2014/main" id="{129DFEE0-93DE-08DE-FB48-3DD9A06EB4BB}"/>
              </a:ext>
              <a:ext uri="{C183D7F6-B498-43B3-948B-1728B52AA6E4}">
                <adec:decorative xmlns:adec="http://schemas.microsoft.com/office/drawing/2017/decorative" val="1"/>
              </a:ext>
            </a:extLst>
          </p:cNvPr>
          <p:cNvSpPr txBox="1">
            <a:spLocks/>
          </p:cNvSpPr>
          <p:nvPr/>
        </p:nvSpPr>
        <p:spPr bwMode="auto">
          <a:xfrm>
            <a:off x="4468018" y="5716916"/>
            <a:ext cx="504056" cy="504056"/>
          </a:xfrm>
          <a:prstGeom prst="ellipse">
            <a:avLst/>
          </a:prstGeom>
          <a:noFill/>
          <a:ln w="19050">
            <a:solidFill>
              <a:srgbClr val="A6001A"/>
            </a:solidFill>
          </a:ln>
        </p:spPr>
        <p:txBody>
          <a:bodyPr vert="horz" wrap="square" lIns="91440" tIns="45720" rIns="91440" bIns="4572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endParaRPr lang="en-US">
              <a:latin typeface="Ubuntu" panose="020B0504030602030204" pitchFamily="34" charset="0"/>
            </a:endParaRPr>
          </a:p>
        </p:txBody>
      </p:sp>
    </p:spTree>
    <p:extLst>
      <p:ext uri="{BB962C8B-B14F-4D97-AF65-F5344CB8AC3E}">
        <p14:creationId xmlns:p14="http://schemas.microsoft.com/office/powerpoint/2010/main" val="41081890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197200-79F5-4A71-982E-792743B0621F}"/>
              </a:ext>
            </a:extLst>
          </p:cNvPr>
          <p:cNvSpPr>
            <a:spLocks noGrp="1"/>
          </p:cNvSpPr>
          <p:nvPr>
            <p:ph type="title"/>
          </p:nvPr>
        </p:nvSpPr>
        <p:spPr>
          <a:xfrm>
            <a:off x="414971" y="260350"/>
            <a:ext cx="11008413" cy="792163"/>
          </a:xfrm>
        </p:spPr>
        <p:txBody>
          <a:bodyPr/>
          <a:lstStyle/>
          <a:p>
            <a:r>
              <a:rPr lang="en-US"/>
              <a:t>Icons style</a:t>
            </a:r>
          </a:p>
        </p:txBody>
      </p:sp>
      <p:sp>
        <p:nvSpPr>
          <p:cNvPr id="21" name="TextBox 20">
            <a:extLst>
              <a:ext uri="{FF2B5EF4-FFF2-40B4-BE49-F238E27FC236}">
                <a16:creationId xmlns:a16="http://schemas.microsoft.com/office/drawing/2014/main" id="{548EDE13-0892-4497-A5EE-FBEE567E3DAF}"/>
              </a:ext>
              <a:ext uri="{C183D7F6-B498-43B3-948B-1728B52AA6E4}">
                <adec:decorative xmlns:adec="http://schemas.microsoft.com/office/drawing/2017/decorative" val="0"/>
              </a:ext>
            </a:extLst>
          </p:cNvPr>
          <p:cNvSpPr txBox="1"/>
          <p:nvPr/>
        </p:nvSpPr>
        <p:spPr>
          <a:xfrm>
            <a:off x="7464152" y="1628775"/>
            <a:ext cx="4319861" cy="2846933"/>
          </a:xfrm>
          <a:prstGeom prst="rect">
            <a:avLst/>
          </a:prstGeom>
          <a:noFill/>
        </p:spPr>
        <p:txBody>
          <a:bodyPr wrap="square" lIns="180000">
            <a:spAutoFit/>
          </a:bodyPr>
          <a:lstStyle/>
          <a:p>
            <a:pPr marL="179388" marR="0" indent="-179388" algn="l" rtl="0">
              <a:spcBef>
                <a:spcPts val="600"/>
              </a:spcBef>
              <a:buFont typeface="Arial" panose="020B0604020202020204" pitchFamily="34" charset="0"/>
              <a:buChar char="•"/>
            </a:pPr>
            <a:r>
              <a:rPr lang="en-US" sz="1400" b="0" i="0" u="none" strike="noStrike">
                <a:solidFill>
                  <a:srgbClr val="000000"/>
                </a:solidFill>
                <a:latin typeface="Ubuntu Light" panose="020B0304030602030204" pitchFamily="34" charset="0"/>
              </a:rPr>
              <a:t>Single color</a:t>
            </a:r>
          </a:p>
          <a:p>
            <a:pPr marL="179388" marR="0" indent="-179388" algn="l" rtl="0">
              <a:spcBef>
                <a:spcPts val="600"/>
              </a:spcBef>
              <a:buFont typeface="Arial" panose="020B0604020202020204" pitchFamily="34" charset="0"/>
              <a:buChar char="•"/>
            </a:pPr>
            <a:r>
              <a:rPr lang="en-US" sz="1400" b="0" i="0" u="none" strike="noStrike">
                <a:solidFill>
                  <a:srgbClr val="000000"/>
                </a:solidFill>
                <a:latin typeface="Ubuntu Light" panose="020B0304030602030204" pitchFamily="34" charset="0"/>
              </a:rPr>
              <a:t>One color from the primary or cool palette</a:t>
            </a:r>
          </a:p>
          <a:p>
            <a:pPr marL="179388" indent="-179388">
              <a:spcBef>
                <a:spcPts val="600"/>
              </a:spcBef>
              <a:buFont typeface="Arial" panose="020B0604020202020204" pitchFamily="34" charset="0"/>
              <a:buChar char="•"/>
            </a:pPr>
            <a:r>
              <a:rPr lang="en-GB" sz="1400" b="0" i="0" u="none" strike="noStrike">
                <a:solidFill>
                  <a:srgbClr val="000000"/>
                </a:solidFill>
                <a:latin typeface="Ubuntu Light" panose="020B0304030602030204" pitchFamily="34" charset="0"/>
              </a:rPr>
              <a:t>Simplicity. </a:t>
            </a:r>
            <a:r>
              <a:rPr lang="en-US" sz="1400">
                <a:solidFill>
                  <a:srgbClr val="272936"/>
                </a:solidFill>
                <a:latin typeface="Ubuntu Light" panose="020B0304030602030204" pitchFamily="34" charset="0"/>
              </a:rPr>
              <a:t>Use icons with only the bare minimum of detail necessary for recognition</a:t>
            </a:r>
          </a:p>
          <a:p>
            <a:pPr marL="179388" marR="0" indent="-179388" algn="l" rtl="0">
              <a:spcBef>
                <a:spcPts val="600"/>
              </a:spcBef>
              <a:buFont typeface="Arial" panose="020B0604020202020204" pitchFamily="34" charset="0"/>
              <a:buChar char="•"/>
            </a:pPr>
            <a:r>
              <a:rPr lang="en-GB" sz="1400" b="0" i="0" u="none" strike="noStrike">
                <a:solidFill>
                  <a:srgbClr val="272936"/>
                </a:solidFill>
                <a:latin typeface="Ubuntu Light" panose="020B0304030602030204" pitchFamily="34" charset="0"/>
              </a:rPr>
              <a:t>Line art style</a:t>
            </a:r>
          </a:p>
          <a:p>
            <a:pPr marL="179388" indent="-179388">
              <a:spcBef>
                <a:spcPts val="600"/>
              </a:spcBef>
              <a:buFont typeface="Arial" panose="020B0604020202020204" pitchFamily="34" charset="0"/>
              <a:buChar char="•"/>
            </a:pPr>
            <a:r>
              <a:rPr lang="en-US" sz="1400">
                <a:solidFill>
                  <a:srgbClr val="272936"/>
                </a:solidFill>
                <a:latin typeface="Ubuntu Light" panose="020B0304030602030204" pitchFamily="34" charset="0"/>
              </a:rPr>
              <a:t>Icons can be used in graphs, charts or infographic to provide clarity and simplicity.</a:t>
            </a:r>
            <a:endParaRPr lang="en-US" sz="1600"/>
          </a:p>
          <a:p>
            <a:pPr marL="179388" marR="0" indent="-179388" algn="l" rtl="0">
              <a:spcBef>
                <a:spcPts val="600"/>
              </a:spcBef>
              <a:buFont typeface="Arial" panose="020B0604020202020204" pitchFamily="34" charset="0"/>
              <a:buChar char="•"/>
            </a:pPr>
            <a:r>
              <a:rPr lang="en-US" sz="1400" b="0" i="0" u="none" strike="noStrike">
                <a:solidFill>
                  <a:srgbClr val="272936"/>
                </a:solidFill>
                <a:latin typeface="Ubuntu Light" panose="020B0304030602030204" pitchFamily="34" charset="0"/>
              </a:rPr>
              <a:t>You may need to create your own icon if and when the appropriate one can’t be found. In this case, ensure all our icons are consistent in appearance and work as a family unit.</a:t>
            </a:r>
            <a:endParaRPr lang="en-GB" sz="1400" b="0" i="0" u="none" strike="noStrike">
              <a:solidFill>
                <a:srgbClr val="272936"/>
              </a:solidFill>
              <a:latin typeface="Ubuntu Light" panose="020B0304030602030204" pitchFamily="34" charset="0"/>
            </a:endParaRPr>
          </a:p>
        </p:txBody>
      </p:sp>
      <p:sp>
        <p:nvSpPr>
          <p:cNvPr id="3" name="Freeform: Shape 4494">
            <a:extLst>
              <a:ext uri="{FF2B5EF4-FFF2-40B4-BE49-F238E27FC236}">
                <a16:creationId xmlns:a16="http://schemas.microsoft.com/office/drawing/2014/main" id="{44BDE073-7130-2F9C-D0BB-D66F27DEBDB0}"/>
              </a:ext>
              <a:ext uri="{C183D7F6-B498-43B3-948B-1728B52AA6E4}">
                <adec:decorative xmlns:adec="http://schemas.microsoft.com/office/drawing/2017/decorative" val="1"/>
              </a:ext>
            </a:extLst>
          </p:cNvPr>
          <p:cNvSpPr>
            <a:spLocks noChangeAspect="1"/>
          </p:cNvSpPr>
          <p:nvPr/>
        </p:nvSpPr>
        <p:spPr>
          <a:xfrm>
            <a:off x="383954" y="2132856"/>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chemeClr val="accent1"/>
          </a:solidFill>
          <a:ln w="4474" cap="flat">
            <a:noFill/>
            <a:prstDash val="solid"/>
            <a:miter/>
          </a:ln>
        </p:spPr>
        <p:txBody>
          <a:bodyPr rtlCol="0" anchor="ctr"/>
          <a:lstStyle/>
          <a:p>
            <a:endParaRPr lang="en-US"/>
          </a:p>
        </p:txBody>
      </p:sp>
      <p:sp>
        <p:nvSpPr>
          <p:cNvPr id="4" name="Freeform: Shape 4494">
            <a:extLst>
              <a:ext uri="{FF2B5EF4-FFF2-40B4-BE49-F238E27FC236}">
                <a16:creationId xmlns:a16="http://schemas.microsoft.com/office/drawing/2014/main" id="{FD2687D9-7C4E-DF57-ABE0-C5B7B5E3D83D}"/>
              </a:ext>
              <a:ext uri="{C183D7F6-B498-43B3-948B-1728B52AA6E4}">
                <adec:decorative xmlns:adec="http://schemas.microsoft.com/office/drawing/2017/decorative" val="1"/>
              </a:ext>
            </a:extLst>
          </p:cNvPr>
          <p:cNvSpPr>
            <a:spLocks noChangeAspect="1"/>
          </p:cNvSpPr>
          <p:nvPr/>
        </p:nvSpPr>
        <p:spPr>
          <a:xfrm>
            <a:off x="1680098" y="2135714"/>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chemeClr val="accent2"/>
          </a:solidFill>
          <a:ln w="4474" cap="flat">
            <a:noFill/>
            <a:prstDash val="solid"/>
            <a:miter/>
          </a:ln>
        </p:spPr>
        <p:txBody>
          <a:bodyPr rtlCol="0" anchor="ctr"/>
          <a:lstStyle/>
          <a:p>
            <a:endParaRPr lang="en-US"/>
          </a:p>
        </p:txBody>
      </p:sp>
      <p:sp>
        <p:nvSpPr>
          <p:cNvPr id="5" name="Freeform: Shape 4494">
            <a:extLst>
              <a:ext uri="{FF2B5EF4-FFF2-40B4-BE49-F238E27FC236}">
                <a16:creationId xmlns:a16="http://schemas.microsoft.com/office/drawing/2014/main" id="{221702C5-9C43-EFBB-2191-22D964DBB808}"/>
              </a:ext>
              <a:ext uri="{C183D7F6-B498-43B3-948B-1728B52AA6E4}">
                <adec:decorative xmlns:adec="http://schemas.microsoft.com/office/drawing/2017/decorative" val="1"/>
              </a:ext>
            </a:extLst>
          </p:cNvPr>
          <p:cNvSpPr>
            <a:spLocks noChangeAspect="1"/>
          </p:cNvSpPr>
          <p:nvPr/>
        </p:nvSpPr>
        <p:spPr>
          <a:xfrm>
            <a:off x="2976242" y="2138572"/>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chemeClr val="accent4"/>
          </a:solidFill>
          <a:ln w="4474" cap="flat">
            <a:noFill/>
            <a:prstDash val="solid"/>
            <a:miter/>
          </a:ln>
        </p:spPr>
        <p:txBody>
          <a:bodyPr rtlCol="0" anchor="ctr"/>
          <a:lstStyle/>
          <a:p>
            <a:endParaRPr lang="en-US"/>
          </a:p>
        </p:txBody>
      </p:sp>
      <p:sp>
        <p:nvSpPr>
          <p:cNvPr id="18" name="Freeform: Shape 4494">
            <a:extLst>
              <a:ext uri="{FF2B5EF4-FFF2-40B4-BE49-F238E27FC236}">
                <a16:creationId xmlns:a16="http://schemas.microsoft.com/office/drawing/2014/main" id="{9AA7CB25-D74D-8481-B183-2FBAD39F724A}"/>
              </a:ext>
              <a:ext uri="{C183D7F6-B498-43B3-948B-1728B52AA6E4}">
                <adec:decorative xmlns:adec="http://schemas.microsoft.com/office/drawing/2017/decorative" val="1"/>
              </a:ext>
            </a:extLst>
          </p:cNvPr>
          <p:cNvSpPr>
            <a:spLocks noChangeAspect="1"/>
          </p:cNvSpPr>
          <p:nvPr/>
        </p:nvSpPr>
        <p:spPr>
          <a:xfrm>
            <a:off x="4272386" y="2141430"/>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gradFill flip="none" rotWithShape="1">
            <a:gsLst>
              <a:gs pos="0">
                <a:schemeClr val="accent4"/>
              </a:gs>
              <a:gs pos="100000">
                <a:schemeClr val="accent1"/>
              </a:gs>
            </a:gsLst>
            <a:lin ang="18900000" scaled="1"/>
            <a:tileRect/>
          </a:gradFill>
          <a:ln w="4474" cap="flat">
            <a:noFill/>
            <a:prstDash val="solid"/>
            <a:miter/>
          </a:ln>
        </p:spPr>
        <p:txBody>
          <a:bodyPr rtlCol="0" anchor="ctr"/>
          <a:lstStyle/>
          <a:p>
            <a:endParaRPr lang="en-US"/>
          </a:p>
        </p:txBody>
      </p:sp>
      <p:sp>
        <p:nvSpPr>
          <p:cNvPr id="19" name="Freeform: Shape 4494">
            <a:extLst>
              <a:ext uri="{FF2B5EF4-FFF2-40B4-BE49-F238E27FC236}">
                <a16:creationId xmlns:a16="http://schemas.microsoft.com/office/drawing/2014/main" id="{8BC51450-35ED-9437-3986-580DAE6786F6}"/>
              </a:ext>
              <a:ext uri="{C183D7F6-B498-43B3-948B-1728B52AA6E4}">
                <adec:decorative xmlns:adec="http://schemas.microsoft.com/office/drawing/2017/decorative" val="1"/>
              </a:ext>
            </a:extLst>
          </p:cNvPr>
          <p:cNvSpPr>
            <a:spLocks noChangeAspect="1"/>
          </p:cNvSpPr>
          <p:nvPr/>
        </p:nvSpPr>
        <p:spPr>
          <a:xfrm>
            <a:off x="5568530" y="2132856"/>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gradFill flip="none" rotWithShape="1">
            <a:gsLst>
              <a:gs pos="0">
                <a:schemeClr val="accent1"/>
              </a:gs>
              <a:gs pos="100000">
                <a:schemeClr val="accent2"/>
              </a:gs>
            </a:gsLst>
            <a:lin ang="18900000" scaled="1"/>
            <a:tileRect/>
          </a:gradFill>
          <a:ln w="4474" cap="flat">
            <a:noFill/>
            <a:prstDash val="solid"/>
            <a:miter/>
          </a:ln>
        </p:spPr>
        <p:txBody>
          <a:bodyPr rtlCol="0" anchor="ctr"/>
          <a:lstStyle/>
          <a:p>
            <a:endParaRPr lang="en-US"/>
          </a:p>
        </p:txBody>
      </p:sp>
      <p:sp>
        <p:nvSpPr>
          <p:cNvPr id="20" name="Freeform: Shape 4494">
            <a:extLst>
              <a:ext uri="{FF2B5EF4-FFF2-40B4-BE49-F238E27FC236}">
                <a16:creationId xmlns:a16="http://schemas.microsoft.com/office/drawing/2014/main" id="{F0D6EAC1-34BD-CA7D-46C9-B64E2F26D995}"/>
              </a:ext>
              <a:ext uri="{C183D7F6-B498-43B3-948B-1728B52AA6E4}">
                <adec:decorative xmlns:adec="http://schemas.microsoft.com/office/drawing/2017/decorative" val="1"/>
              </a:ext>
            </a:extLst>
          </p:cNvPr>
          <p:cNvSpPr>
            <a:spLocks noChangeAspect="1"/>
          </p:cNvSpPr>
          <p:nvPr/>
        </p:nvSpPr>
        <p:spPr>
          <a:xfrm>
            <a:off x="372075" y="4140506"/>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336B7D"/>
          </a:solidFill>
          <a:ln w="4474" cap="flat">
            <a:noFill/>
            <a:prstDash val="solid"/>
            <a:miter/>
          </a:ln>
        </p:spPr>
        <p:txBody>
          <a:bodyPr rtlCol="0" anchor="ctr"/>
          <a:lstStyle/>
          <a:p>
            <a:endParaRPr lang="en-US"/>
          </a:p>
        </p:txBody>
      </p:sp>
      <p:sp>
        <p:nvSpPr>
          <p:cNvPr id="22" name="Freeform: Shape 4494">
            <a:extLst>
              <a:ext uri="{FF2B5EF4-FFF2-40B4-BE49-F238E27FC236}">
                <a16:creationId xmlns:a16="http://schemas.microsoft.com/office/drawing/2014/main" id="{56DB2AEF-3081-2BED-2F44-A0936041F95B}"/>
              </a:ext>
              <a:ext uri="{C183D7F6-B498-43B3-948B-1728B52AA6E4}">
                <adec:decorative xmlns:adec="http://schemas.microsoft.com/office/drawing/2017/decorative" val="1"/>
              </a:ext>
            </a:extLst>
          </p:cNvPr>
          <p:cNvSpPr>
            <a:spLocks noChangeAspect="1"/>
          </p:cNvSpPr>
          <p:nvPr/>
        </p:nvSpPr>
        <p:spPr>
          <a:xfrm>
            <a:off x="1668219" y="4143364"/>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00B2A2"/>
          </a:solidFill>
          <a:ln w="4474" cap="flat">
            <a:noFill/>
            <a:prstDash val="solid"/>
            <a:miter/>
          </a:ln>
        </p:spPr>
        <p:txBody>
          <a:bodyPr rtlCol="0" anchor="ctr"/>
          <a:lstStyle/>
          <a:p>
            <a:endParaRPr lang="en-US"/>
          </a:p>
        </p:txBody>
      </p:sp>
      <p:sp>
        <p:nvSpPr>
          <p:cNvPr id="23" name="Freeform: Shape 4494">
            <a:extLst>
              <a:ext uri="{FF2B5EF4-FFF2-40B4-BE49-F238E27FC236}">
                <a16:creationId xmlns:a16="http://schemas.microsoft.com/office/drawing/2014/main" id="{39F854E1-8C4C-B1A0-9871-16451ADF3C75}"/>
              </a:ext>
              <a:ext uri="{C183D7F6-B498-43B3-948B-1728B52AA6E4}">
                <adec:decorative xmlns:adec="http://schemas.microsoft.com/office/drawing/2017/decorative" val="1"/>
              </a:ext>
            </a:extLst>
          </p:cNvPr>
          <p:cNvSpPr>
            <a:spLocks noChangeAspect="1"/>
          </p:cNvSpPr>
          <p:nvPr/>
        </p:nvSpPr>
        <p:spPr>
          <a:xfrm>
            <a:off x="2964363" y="4146222"/>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00D5D0"/>
          </a:solidFill>
          <a:ln w="4474" cap="flat">
            <a:noFill/>
            <a:prstDash val="solid"/>
            <a:miter/>
          </a:ln>
        </p:spPr>
        <p:txBody>
          <a:bodyPr rtlCol="0" anchor="ctr"/>
          <a:lstStyle/>
          <a:p>
            <a:endParaRPr lang="en-US"/>
          </a:p>
        </p:txBody>
      </p:sp>
      <p:sp>
        <p:nvSpPr>
          <p:cNvPr id="24" name="Freeform: Shape 4494">
            <a:extLst>
              <a:ext uri="{FF2B5EF4-FFF2-40B4-BE49-F238E27FC236}">
                <a16:creationId xmlns:a16="http://schemas.microsoft.com/office/drawing/2014/main" id="{03374A2D-92EF-6AAF-4D03-F17BF9F3A3AF}"/>
              </a:ext>
              <a:ext uri="{C183D7F6-B498-43B3-948B-1728B52AA6E4}">
                <adec:decorative xmlns:adec="http://schemas.microsoft.com/office/drawing/2017/decorative" val="1"/>
              </a:ext>
            </a:extLst>
          </p:cNvPr>
          <p:cNvSpPr>
            <a:spLocks noChangeAspect="1"/>
          </p:cNvSpPr>
          <p:nvPr/>
        </p:nvSpPr>
        <p:spPr>
          <a:xfrm>
            <a:off x="4260507" y="4149080"/>
            <a:ext cx="1116835" cy="13561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33B569"/>
          </a:solidFill>
          <a:ln w="4474" cap="flat">
            <a:noFill/>
            <a:prstDash val="solid"/>
            <a:miter/>
          </a:ln>
        </p:spPr>
        <p:txBody>
          <a:bodyPr rtlCol="0" anchor="ctr"/>
          <a:lstStyle/>
          <a:p>
            <a:endParaRPr lang="en-US"/>
          </a:p>
        </p:txBody>
      </p:sp>
    </p:spTree>
    <p:extLst>
      <p:ext uri="{BB962C8B-B14F-4D97-AF65-F5344CB8AC3E}">
        <p14:creationId xmlns:p14="http://schemas.microsoft.com/office/powerpoint/2010/main" val="33518954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C89CD4-BEC2-0F5F-F8C8-EBBE2607AB29}"/>
              </a:ext>
            </a:extLst>
          </p:cNvPr>
          <p:cNvSpPr>
            <a:spLocks noGrp="1"/>
          </p:cNvSpPr>
          <p:nvPr>
            <p:ph type="title"/>
          </p:nvPr>
        </p:nvSpPr>
        <p:spPr/>
        <p:txBody>
          <a:bodyPr/>
          <a:lstStyle/>
          <a:p>
            <a:r>
              <a:rPr lang="en-US"/>
              <a:t>Icons examples</a:t>
            </a:r>
          </a:p>
        </p:txBody>
      </p:sp>
      <p:grpSp>
        <p:nvGrpSpPr>
          <p:cNvPr id="2455" name="Group 2454">
            <a:extLst>
              <a:ext uri="{FF2B5EF4-FFF2-40B4-BE49-F238E27FC236}">
                <a16:creationId xmlns:a16="http://schemas.microsoft.com/office/drawing/2014/main" id="{BC3A2FA5-8C50-4FDE-9B43-09FE3CC4B036}"/>
              </a:ext>
              <a:ext uri="{C183D7F6-B498-43B3-948B-1728B52AA6E4}">
                <adec:decorative xmlns:adec="http://schemas.microsoft.com/office/drawing/2017/decorative" val="1"/>
              </a:ext>
            </a:extLst>
          </p:cNvPr>
          <p:cNvGrpSpPr>
            <a:grpSpLocks noChangeAspect="1"/>
          </p:cNvGrpSpPr>
          <p:nvPr/>
        </p:nvGrpSpPr>
        <p:grpSpPr>
          <a:xfrm>
            <a:off x="6635659" y="3124456"/>
            <a:ext cx="116524" cy="143414"/>
            <a:chOff x="6753773" y="1069094"/>
            <a:chExt cx="116524" cy="143414"/>
          </a:xfrm>
        </p:grpSpPr>
        <p:sp>
          <p:nvSpPr>
            <p:cNvPr id="2456" name="Freeform: Shape 2455">
              <a:extLst>
                <a:ext uri="{FF2B5EF4-FFF2-40B4-BE49-F238E27FC236}">
                  <a16:creationId xmlns:a16="http://schemas.microsoft.com/office/drawing/2014/main" id="{CC2B26FF-7E4F-4B09-B9BD-801326A120B2}"/>
                </a:ext>
              </a:extLst>
            </p:cNvPr>
            <p:cNvSpPr/>
            <p:nvPr/>
          </p:nvSpPr>
          <p:spPr>
            <a:xfrm>
              <a:off x="6766179" y="1167244"/>
              <a:ext cx="26890" cy="31372"/>
            </a:xfrm>
            <a:custGeom>
              <a:avLst/>
              <a:gdLst>
                <a:gd name="connsiteX0" fmla="*/ 16888 w 26890"/>
                <a:gd name="connsiteY0" fmla="*/ 32941 h 31371"/>
                <a:gd name="connsiteX1" fmla="*/ 11958 w 26890"/>
                <a:gd name="connsiteY1" fmla="*/ 30251 h 31371"/>
                <a:gd name="connsiteX2" fmla="*/ 2098 w 26890"/>
                <a:gd name="connsiteY2" fmla="*/ 17255 h 31371"/>
                <a:gd name="connsiteX3" fmla="*/ 2994 w 26890"/>
                <a:gd name="connsiteY3" fmla="*/ 3809 h 31371"/>
                <a:gd name="connsiteX4" fmla="*/ 6131 w 26890"/>
                <a:gd name="connsiteY4" fmla="*/ 672 h 31371"/>
                <a:gd name="connsiteX5" fmla="*/ 9269 w 26890"/>
                <a:gd name="connsiteY5" fmla="*/ 672 h 31371"/>
                <a:gd name="connsiteX6" fmla="*/ 27195 w 26890"/>
                <a:gd name="connsiteY6" fmla="*/ 18599 h 31371"/>
                <a:gd name="connsiteX7" fmla="*/ 28540 w 26890"/>
                <a:gd name="connsiteY7" fmla="*/ 21736 h 31371"/>
                <a:gd name="connsiteX8" fmla="*/ 27195 w 26890"/>
                <a:gd name="connsiteY8" fmla="*/ 24873 h 31371"/>
                <a:gd name="connsiteX9" fmla="*/ 21369 w 26890"/>
                <a:gd name="connsiteY9" fmla="*/ 30700 h 31371"/>
                <a:gd name="connsiteX10" fmla="*/ 16888 w 26890"/>
                <a:gd name="connsiteY10" fmla="*/ 32941 h 31371"/>
                <a:gd name="connsiteX11" fmla="*/ 7924 w 26890"/>
                <a:gd name="connsiteY11" fmla="*/ 5602 h 31371"/>
                <a:gd name="connsiteX12" fmla="*/ 6580 w 26890"/>
                <a:gd name="connsiteY12" fmla="*/ 6947 h 31371"/>
                <a:gd name="connsiteX13" fmla="*/ 6131 w 26890"/>
                <a:gd name="connsiteY13" fmla="*/ 14566 h 31371"/>
                <a:gd name="connsiteX14" fmla="*/ 15991 w 26890"/>
                <a:gd name="connsiteY14" fmla="*/ 27562 h 31371"/>
                <a:gd name="connsiteX15" fmla="*/ 18680 w 26890"/>
                <a:gd name="connsiteY15" fmla="*/ 27562 h 31371"/>
                <a:gd name="connsiteX16" fmla="*/ 24506 w 26890"/>
                <a:gd name="connsiteY16" fmla="*/ 21736 h 31371"/>
                <a:gd name="connsiteX17" fmla="*/ 7924 w 26890"/>
                <a:gd name="connsiteY17" fmla="*/ 560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90" h="31371">
                  <a:moveTo>
                    <a:pt x="16888" y="32941"/>
                  </a:moveTo>
                  <a:cubicBezTo>
                    <a:pt x="14647" y="32941"/>
                    <a:pt x="12854" y="32044"/>
                    <a:pt x="11958" y="30251"/>
                  </a:cubicBezTo>
                  <a:lnTo>
                    <a:pt x="2098" y="17255"/>
                  </a:lnTo>
                  <a:cubicBezTo>
                    <a:pt x="-1039" y="13221"/>
                    <a:pt x="-591" y="7395"/>
                    <a:pt x="2994" y="3809"/>
                  </a:cubicBezTo>
                  <a:lnTo>
                    <a:pt x="6131" y="672"/>
                  </a:lnTo>
                  <a:cubicBezTo>
                    <a:pt x="7028" y="-224"/>
                    <a:pt x="8372" y="-224"/>
                    <a:pt x="9269" y="672"/>
                  </a:cubicBezTo>
                  <a:lnTo>
                    <a:pt x="27195" y="18599"/>
                  </a:lnTo>
                  <a:cubicBezTo>
                    <a:pt x="28092" y="19495"/>
                    <a:pt x="28540" y="20392"/>
                    <a:pt x="28540" y="21736"/>
                  </a:cubicBezTo>
                  <a:cubicBezTo>
                    <a:pt x="28540" y="22633"/>
                    <a:pt x="28092" y="23977"/>
                    <a:pt x="27195" y="24873"/>
                  </a:cubicBezTo>
                  <a:lnTo>
                    <a:pt x="21369" y="30700"/>
                  </a:lnTo>
                  <a:cubicBezTo>
                    <a:pt x="20473" y="32044"/>
                    <a:pt x="18680" y="32941"/>
                    <a:pt x="16888" y="32941"/>
                  </a:cubicBezTo>
                  <a:close/>
                  <a:moveTo>
                    <a:pt x="7924" y="5602"/>
                  </a:moveTo>
                  <a:lnTo>
                    <a:pt x="6580" y="6947"/>
                  </a:lnTo>
                  <a:cubicBezTo>
                    <a:pt x="4787" y="8739"/>
                    <a:pt x="4339" y="12325"/>
                    <a:pt x="6131" y="14566"/>
                  </a:cubicBezTo>
                  <a:lnTo>
                    <a:pt x="15991" y="27562"/>
                  </a:lnTo>
                  <a:cubicBezTo>
                    <a:pt x="16439" y="28459"/>
                    <a:pt x="18232" y="28459"/>
                    <a:pt x="18680" y="27562"/>
                  </a:cubicBezTo>
                  <a:lnTo>
                    <a:pt x="24506" y="21736"/>
                  </a:lnTo>
                  <a:lnTo>
                    <a:pt x="7924" y="5602"/>
                  </a:lnTo>
                  <a:close/>
                </a:path>
              </a:pathLst>
            </a:custGeom>
            <a:solidFill>
              <a:srgbClr val="231F20"/>
            </a:solidFill>
            <a:ln w="4477" cap="flat">
              <a:noFill/>
              <a:prstDash val="solid"/>
              <a:miter/>
            </a:ln>
          </p:spPr>
          <p:txBody>
            <a:bodyPr rtlCol="0" anchor="ctr"/>
            <a:lstStyle/>
            <a:p>
              <a:endParaRPr lang="en-US"/>
            </a:p>
          </p:txBody>
        </p:sp>
        <p:sp>
          <p:nvSpPr>
            <p:cNvPr id="2457" name="Freeform: Shape 2456">
              <a:extLst>
                <a:ext uri="{FF2B5EF4-FFF2-40B4-BE49-F238E27FC236}">
                  <a16:creationId xmlns:a16="http://schemas.microsoft.com/office/drawing/2014/main" id="{AAF26754-FB25-4B78-9323-517DB596FD0F}"/>
                </a:ext>
              </a:extLst>
            </p:cNvPr>
            <p:cNvSpPr/>
            <p:nvPr/>
          </p:nvSpPr>
          <p:spPr>
            <a:xfrm>
              <a:off x="6753773" y="1069094"/>
              <a:ext cx="116524" cy="143414"/>
            </a:xfrm>
            <a:custGeom>
              <a:avLst/>
              <a:gdLst>
                <a:gd name="connsiteX0" fmla="*/ 26156 w 116524"/>
                <a:gd name="connsiteY0" fmla="*/ 146776 h 143414"/>
                <a:gd name="connsiteX1" fmla="*/ 16745 w 116524"/>
                <a:gd name="connsiteY1" fmla="*/ 141846 h 143414"/>
                <a:gd name="connsiteX2" fmla="*/ 4196 w 116524"/>
                <a:gd name="connsiteY2" fmla="*/ 124815 h 143414"/>
                <a:gd name="connsiteX3" fmla="*/ 5989 w 116524"/>
                <a:gd name="connsiteY3" fmla="*/ 97925 h 143414"/>
                <a:gd name="connsiteX4" fmla="*/ 103241 w 116524"/>
                <a:gd name="connsiteY4" fmla="*/ 672 h 143414"/>
                <a:gd name="connsiteX5" fmla="*/ 106379 w 116524"/>
                <a:gd name="connsiteY5" fmla="*/ 672 h 143414"/>
                <a:gd name="connsiteX6" fmla="*/ 114446 w 116524"/>
                <a:gd name="connsiteY6" fmla="*/ 8291 h 143414"/>
                <a:gd name="connsiteX7" fmla="*/ 114894 w 116524"/>
                <a:gd name="connsiteY7" fmla="*/ 9187 h 143414"/>
                <a:gd name="connsiteX8" fmla="*/ 118031 w 116524"/>
                <a:gd name="connsiteY8" fmla="*/ 19944 h 143414"/>
                <a:gd name="connsiteX9" fmla="*/ 117583 w 116524"/>
                <a:gd name="connsiteY9" fmla="*/ 21736 h 143414"/>
                <a:gd name="connsiteX10" fmla="*/ 115790 w 116524"/>
                <a:gd name="connsiteY10" fmla="*/ 22633 h 143414"/>
                <a:gd name="connsiteX11" fmla="*/ 105034 w 116524"/>
                <a:gd name="connsiteY11" fmla="*/ 23977 h 143414"/>
                <a:gd name="connsiteX12" fmla="*/ 108620 w 116524"/>
                <a:gd name="connsiteY12" fmla="*/ 34285 h 143414"/>
                <a:gd name="connsiteX13" fmla="*/ 108171 w 116524"/>
                <a:gd name="connsiteY13" fmla="*/ 36078 h 143414"/>
                <a:gd name="connsiteX14" fmla="*/ 106379 w 116524"/>
                <a:gd name="connsiteY14" fmla="*/ 36974 h 143414"/>
                <a:gd name="connsiteX15" fmla="*/ 95623 w 116524"/>
                <a:gd name="connsiteY15" fmla="*/ 38319 h 143414"/>
                <a:gd name="connsiteX16" fmla="*/ 99208 w 116524"/>
                <a:gd name="connsiteY16" fmla="*/ 48626 h 143414"/>
                <a:gd name="connsiteX17" fmla="*/ 98760 w 116524"/>
                <a:gd name="connsiteY17" fmla="*/ 50419 h 143414"/>
                <a:gd name="connsiteX18" fmla="*/ 96967 w 116524"/>
                <a:gd name="connsiteY18" fmla="*/ 51316 h 143414"/>
                <a:gd name="connsiteX19" fmla="*/ 86659 w 116524"/>
                <a:gd name="connsiteY19" fmla="*/ 53556 h 143414"/>
                <a:gd name="connsiteX20" fmla="*/ 90245 w 116524"/>
                <a:gd name="connsiteY20" fmla="*/ 63864 h 143414"/>
                <a:gd name="connsiteX21" fmla="*/ 89796 w 116524"/>
                <a:gd name="connsiteY21" fmla="*/ 65657 h 143414"/>
                <a:gd name="connsiteX22" fmla="*/ 88004 w 116524"/>
                <a:gd name="connsiteY22" fmla="*/ 66553 h 143414"/>
                <a:gd name="connsiteX23" fmla="*/ 77696 w 116524"/>
                <a:gd name="connsiteY23" fmla="*/ 67898 h 143414"/>
                <a:gd name="connsiteX24" fmla="*/ 81281 w 116524"/>
                <a:gd name="connsiteY24" fmla="*/ 78206 h 143414"/>
                <a:gd name="connsiteX25" fmla="*/ 80833 w 116524"/>
                <a:gd name="connsiteY25" fmla="*/ 79998 h 143414"/>
                <a:gd name="connsiteX26" fmla="*/ 79040 w 116524"/>
                <a:gd name="connsiteY26" fmla="*/ 80895 h 143414"/>
                <a:gd name="connsiteX27" fmla="*/ 68284 w 116524"/>
                <a:gd name="connsiteY27" fmla="*/ 82239 h 143414"/>
                <a:gd name="connsiteX28" fmla="*/ 71870 w 116524"/>
                <a:gd name="connsiteY28" fmla="*/ 92547 h 143414"/>
                <a:gd name="connsiteX29" fmla="*/ 71421 w 116524"/>
                <a:gd name="connsiteY29" fmla="*/ 94340 h 143414"/>
                <a:gd name="connsiteX30" fmla="*/ 69629 w 116524"/>
                <a:gd name="connsiteY30" fmla="*/ 95236 h 143414"/>
                <a:gd name="connsiteX31" fmla="*/ 58873 w 116524"/>
                <a:gd name="connsiteY31" fmla="*/ 96581 h 143414"/>
                <a:gd name="connsiteX32" fmla="*/ 62458 w 116524"/>
                <a:gd name="connsiteY32" fmla="*/ 106889 h 143414"/>
                <a:gd name="connsiteX33" fmla="*/ 62458 w 116524"/>
                <a:gd name="connsiteY33" fmla="*/ 108681 h 143414"/>
                <a:gd name="connsiteX34" fmla="*/ 61114 w 116524"/>
                <a:gd name="connsiteY34" fmla="*/ 109578 h 143414"/>
                <a:gd name="connsiteX35" fmla="*/ 52150 w 116524"/>
                <a:gd name="connsiteY35" fmla="*/ 110922 h 143414"/>
                <a:gd name="connsiteX36" fmla="*/ 51254 w 116524"/>
                <a:gd name="connsiteY36" fmla="*/ 125712 h 143414"/>
                <a:gd name="connsiteX37" fmla="*/ 51254 w 116524"/>
                <a:gd name="connsiteY37" fmla="*/ 125712 h 143414"/>
                <a:gd name="connsiteX38" fmla="*/ 34671 w 116524"/>
                <a:gd name="connsiteY38" fmla="*/ 142294 h 143414"/>
                <a:gd name="connsiteX39" fmla="*/ 26156 w 116524"/>
                <a:gd name="connsiteY39" fmla="*/ 146776 h 143414"/>
                <a:gd name="connsiteX40" fmla="*/ 21675 w 116524"/>
                <a:gd name="connsiteY40" fmla="*/ 88065 h 143414"/>
                <a:gd name="connsiteX41" fmla="*/ 8678 w 116524"/>
                <a:gd name="connsiteY41" fmla="*/ 101062 h 143414"/>
                <a:gd name="connsiteX42" fmla="*/ 7333 w 116524"/>
                <a:gd name="connsiteY42" fmla="*/ 122126 h 143414"/>
                <a:gd name="connsiteX43" fmla="*/ 19882 w 116524"/>
                <a:gd name="connsiteY43" fmla="*/ 139157 h 143414"/>
                <a:gd name="connsiteX44" fmla="*/ 31086 w 116524"/>
                <a:gd name="connsiteY44" fmla="*/ 140053 h 143414"/>
                <a:gd name="connsiteX45" fmla="*/ 47668 w 116524"/>
                <a:gd name="connsiteY45" fmla="*/ 123471 h 143414"/>
                <a:gd name="connsiteX46" fmla="*/ 47668 w 116524"/>
                <a:gd name="connsiteY46" fmla="*/ 114059 h 143414"/>
                <a:gd name="connsiteX47" fmla="*/ 21675 w 116524"/>
                <a:gd name="connsiteY47" fmla="*/ 88065 h 143414"/>
                <a:gd name="connsiteX48" fmla="*/ 49461 w 116524"/>
                <a:gd name="connsiteY48" fmla="*/ 125264 h 143414"/>
                <a:gd name="connsiteX49" fmla="*/ 49461 w 116524"/>
                <a:gd name="connsiteY49" fmla="*/ 125264 h 143414"/>
                <a:gd name="connsiteX50" fmla="*/ 49461 w 116524"/>
                <a:gd name="connsiteY50" fmla="*/ 125264 h 143414"/>
                <a:gd name="connsiteX51" fmla="*/ 24812 w 116524"/>
                <a:gd name="connsiteY51" fmla="*/ 84928 h 143414"/>
                <a:gd name="connsiteX52" fmla="*/ 47668 w 116524"/>
                <a:gd name="connsiteY52" fmla="*/ 107785 h 143414"/>
                <a:gd name="connsiteX53" fmla="*/ 57080 w 116524"/>
                <a:gd name="connsiteY53" fmla="*/ 106440 h 143414"/>
                <a:gd name="connsiteX54" fmla="*/ 54391 w 116524"/>
                <a:gd name="connsiteY54" fmla="*/ 97925 h 143414"/>
                <a:gd name="connsiteX55" fmla="*/ 54839 w 116524"/>
                <a:gd name="connsiteY55" fmla="*/ 94340 h 143414"/>
                <a:gd name="connsiteX56" fmla="*/ 57528 w 116524"/>
                <a:gd name="connsiteY56" fmla="*/ 92547 h 143414"/>
                <a:gd name="connsiteX57" fmla="*/ 66492 w 116524"/>
                <a:gd name="connsiteY57" fmla="*/ 91651 h 143414"/>
                <a:gd name="connsiteX58" fmla="*/ 63803 w 116524"/>
                <a:gd name="connsiteY58" fmla="*/ 83136 h 143414"/>
                <a:gd name="connsiteX59" fmla="*/ 64251 w 116524"/>
                <a:gd name="connsiteY59" fmla="*/ 79550 h 143414"/>
                <a:gd name="connsiteX60" fmla="*/ 66940 w 116524"/>
                <a:gd name="connsiteY60" fmla="*/ 77758 h 143414"/>
                <a:gd name="connsiteX61" fmla="*/ 75903 w 116524"/>
                <a:gd name="connsiteY61" fmla="*/ 76861 h 143414"/>
                <a:gd name="connsiteX62" fmla="*/ 73214 w 116524"/>
                <a:gd name="connsiteY62" fmla="*/ 68794 h 143414"/>
                <a:gd name="connsiteX63" fmla="*/ 73662 w 116524"/>
                <a:gd name="connsiteY63" fmla="*/ 65209 h 143414"/>
                <a:gd name="connsiteX64" fmla="*/ 76351 w 116524"/>
                <a:gd name="connsiteY64" fmla="*/ 63416 h 143414"/>
                <a:gd name="connsiteX65" fmla="*/ 85315 w 116524"/>
                <a:gd name="connsiteY65" fmla="*/ 62520 h 143414"/>
                <a:gd name="connsiteX66" fmla="*/ 82177 w 116524"/>
                <a:gd name="connsiteY66" fmla="*/ 54453 h 143414"/>
                <a:gd name="connsiteX67" fmla="*/ 82626 w 116524"/>
                <a:gd name="connsiteY67" fmla="*/ 50867 h 143414"/>
                <a:gd name="connsiteX68" fmla="*/ 85315 w 116524"/>
                <a:gd name="connsiteY68" fmla="*/ 49075 h 143414"/>
                <a:gd name="connsiteX69" fmla="*/ 94278 w 116524"/>
                <a:gd name="connsiteY69" fmla="*/ 48178 h 143414"/>
                <a:gd name="connsiteX70" fmla="*/ 91589 w 116524"/>
                <a:gd name="connsiteY70" fmla="*/ 39663 h 143414"/>
                <a:gd name="connsiteX71" fmla="*/ 92037 w 116524"/>
                <a:gd name="connsiteY71" fmla="*/ 36078 h 143414"/>
                <a:gd name="connsiteX72" fmla="*/ 94726 w 116524"/>
                <a:gd name="connsiteY72" fmla="*/ 34285 h 143414"/>
                <a:gd name="connsiteX73" fmla="*/ 103690 w 116524"/>
                <a:gd name="connsiteY73" fmla="*/ 33389 h 143414"/>
                <a:gd name="connsiteX74" fmla="*/ 101001 w 116524"/>
                <a:gd name="connsiteY74" fmla="*/ 24873 h 143414"/>
                <a:gd name="connsiteX75" fmla="*/ 101449 w 116524"/>
                <a:gd name="connsiteY75" fmla="*/ 21288 h 143414"/>
                <a:gd name="connsiteX76" fmla="*/ 104138 w 116524"/>
                <a:gd name="connsiteY76" fmla="*/ 19495 h 143414"/>
                <a:gd name="connsiteX77" fmla="*/ 113101 w 116524"/>
                <a:gd name="connsiteY77" fmla="*/ 18599 h 143414"/>
                <a:gd name="connsiteX78" fmla="*/ 110412 w 116524"/>
                <a:gd name="connsiteY78" fmla="*/ 10980 h 143414"/>
                <a:gd name="connsiteX79" fmla="*/ 104586 w 116524"/>
                <a:gd name="connsiteY79" fmla="*/ 5602 h 143414"/>
                <a:gd name="connsiteX80" fmla="*/ 24812 w 116524"/>
                <a:gd name="connsiteY80" fmla="*/ 8492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16524" h="143414">
                  <a:moveTo>
                    <a:pt x="26156" y="146776"/>
                  </a:moveTo>
                  <a:cubicBezTo>
                    <a:pt x="22123" y="146776"/>
                    <a:pt x="18986" y="144983"/>
                    <a:pt x="16745" y="141846"/>
                  </a:cubicBezTo>
                  <a:lnTo>
                    <a:pt x="4196" y="124815"/>
                  </a:lnTo>
                  <a:cubicBezTo>
                    <a:pt x="-2078" y="116748"/>
                    <a:pt x="-1182" y="105096"/>
                    <a:pt x="5989" y="97925"/>
                  </a:cubicBezTo>
                  <a:lnTo>
                    <a:pt x="103241" y="672"/>
                  </a:lnTo>
                  <a:cubicBezTo>
                    <a:pt x="104138" y="-224"/>
                    <a:pt x="105482" y="-224"/>
                    <a:pt x="106379" y="672"/>
                  </a:cubicBezTo>
                  <a:lnTo>
                    <a:pt x="114446" y="8291"/>
                  </a:lnTo>
                  <a:cubicBezTo>
                    <a:pt x="114894" y="8739"/>
                    <a:pt x="114894" y="8739"/>
                    <a:pt x="114894" y="9187"/>
                  </a:cubicBezTo>
                  <a:lnTo>
                    <a:pt x="118031" y="19944"/>
                  </a:lnTo>
                  <a:cubicBezTo>
                    <a:pt x="118031" y="20392"/>
                    <a:pt x="118031" y="21288"/>
                    <a:pt x="117583" y="21736"/>
                  </a:cubicBezTo>
                  <a:cubicBezTo>
                    <a:pt x="117135" y="22184"/>
                    <a:pt x="116687" y="22633"/>
                    <a:pt x="115790" y="22633"/>
                  </a:cubicBezTo>
                  <a:lnTo>
                    <a:pt x="105034" y="23977"/>
                  </a:lnTo>
                  <a:lnTo>
                    <a:pt x="108620" y="34285"/>
                  </a:lnTo>
                  <a:cubicBezTo>
                    <a:pt x="108620" y="34733"/>
                    <a:pt x="108620" y="35630"/>
                    <a:pt x="108171" y="36078"/>
                  </a:cubicBezTo>
                  <a:cubicBezTo>
                    <a:pt x="107723" y="36526"/>
                    <a:pt x="107275" y="36974"/>
                    <a:pt x="106379" y="36974"/>
                  </a:cubicBezTo>
                  <a:lnTo>
                    <a:pt x="95623" y="38319"/>
                  </a:lnTo>
                  <a:lnTo>
                    <a:pt x="99208" y="48626"/>
                  </a:lnTo>
                  <a:cubicBezTo>
                    <a:pt x="99208" y="49075"/>
                    <a:pt x="99208" y="49971"/>
                    <a:pt x="98760" y="50419"/>
                  </a:cubicBezTo>
                  <a:cubicBezTo>
                    <a:pt x="98312" y="50867"/>
                    <a:pt x="97863" y="51316"/>
                    <a:pt x="96967" y="51316"/>
                  </a:cubicBezTo>
                  <a:lnTo>
                    <a:pt x="86659" y="53556"/>
                  </a:lnTo>
                  <a:lnTo>
                    <a:pt x="90245" y="63864"/>
                  </a:lnTo>
                  <a:cubicBezTo>
                    <a:pt x="90245" y="64312"/>
                    <a:pt x="90245" y="65209"/>
                    <a:pt x="89796" y="65657"/>
                  </a:cubicBezTo>
                  <a:cubicBezTo>
                    <a:pt x="89348" y="66105"/>
                    <a:pt x="88900" y="66553"/>
                    <a:pt x="88004" y="66553"/>
                  </a:cubicBezTo>
                  <a:lnTo>
                    <a:pt x="77696" y="67898"/>
                  </a:lnTo>
                  <a:lnTo>
                    <a:pt x="81281" y="78206"/>
                  </a:lnTo>
                  <a:cubicBezTo>
                    <a:pt x="81281" y="78654"/>
                    <a:pt x="81281" y="79550"/>
                    <a:pt x="80833" y="79998"/>
                  </a:cubicBezTo>
                  <a:cubicBezTo>
                    <a:pt x="80385" y="80447"/>
                    <a:pt x="79937" y="80895"/>
                    <a:pt x="79040" y="80895"/>
                  </a:cubicBezTo>
                  <a:lnTo>
                    <a:pt x="68284" y="82239"/>
                  </a:lnTo>
                  <a:lnTo>
                    <a:pt x="71870" y="92547"/>
                  </a:lnTo>
                  <a:cubicBezTo>
                    <a:pt x="71870" y="92995"/>
                    <a:pt x="71870" y="93892"/>
                    <a:pt x="71421" y="94340"/>
                  </a:cubicBezTo>
                  <a:cubicBezTo>
                    <a:pt x="70973" y="94788"/>
                    <a:pt x="70525" y="95236"/>
                    <a:pt x="69629" y="95236"/>
                  </a:cubicBezTo>
                  <a:lnTo>
                    <a:pt x="58873" y="96581"/>
                  </a:lnTo>
                  <a:lnTo>
                    <a:pt x="62458" y="106889"/>
                  </a:lnTo>
                  <a:cubicBezTo>
                    <a:pt x="62458" y="107337"/>
                    <a:pt x="62458" y="108233"/>
                    <a:pt x="62458" y="108681"/>
                  </a:cubicBezTo>
                  <a:cubicBezTo>
                    <a:pt x="62010" y="109129"/>
                    <a:pt x="61562" y="109578"/>
                    <a:pt x="61114" y="109578"/>
                  </a:cubicBezTo>
                  <a:lnTo>
                    <a:pt x="52150" y="110922"/>
                  </a:lnTo>
                  <a:cubicBezTo>
                    <a:pt x="55735" y="115404"/>
                    <a:pt x="55287" y="121678"/>
                    <a:pt x="51254" y="125712"/>
                  </a:cubicBezTo>
                  <a:lnTo>
                    <a:pt x="51254" y="125712"/>
                  </a:lnTo>
                  <a:lnTo>
                    <a:pt x="34671" y="142294"/>
                  </a:lnTo>
                  <a:cubicBezTo>
                    <a:pt x="32431" y="145431"/>
                    <a:pt x="29293" y="146776"/>
                    <a:pt x="26156" y="146776"/>
                  </a:cubicBezTo>
                  <a:close/>
                  <a:moveTo>
                    <a:pt x="21675" y="88065"/>
                  </a:moveTo>
                  <a:lnTo>
                    <a:pt x="8678" y="101062"/>
                  </a:lnTo>
                  <a:cubicBezTo>
                    <a:pt x="2851" y="106889"/>
                    <a:pt x="2403" y="115852"/>
                    <a:pt x="7333" y="122126"/>
                  </a:cubicBezTo>
                  <a:lnTo>
                    <a:pt x="19882" y="139157"/>
                  </a:lnTo>
                  <a:cubicBezTo>
                    <a:pt x="22571" y="142742"/>
                    <a:pt x="27949" y="143190"/>
                    <a:pt x="31086" y="140053"/>
                  </a:cubicBezTo>
                  <a:lnTo>
                    <a:pt x="47668" y="123471"/>
                  </a:lnTo>
                  <a:cubicBezTo>
                    <a:pt x="50357" y="120782"/>
                    <a:pt x="50357" y="116748"/>
                    <a:pt x="47668" y="114059"/>
                  </a:cubicBezTo>
                  <a:lnTo>
                    <a:pt x="21675" y="88065"/>
                  </a:lnTo>
                  <a:close/>
                  <a:moveTo>
                    <a:pt x="49461" y="125264"/>
                  </a:moveTo>
                  <a:lnTo>
                    <a:pt x="49461" y="125264"/>
                  </a:lnTo>
                  <a:lnTo>
                    <a:pt x="49461" y="125264"/>
                  </a:lnTo>
                  <a:close/>
                  <a:moveTo>
                    <a:pt x="24812" y="84928"/>
                  </a:moveTo>
                  <a:lnTo>
                    <a:pt x="47668" y="107785"/>
                  </a:lnTo>
                  <a:lnTo>
                    <a:pt x="57080" y="106440"/>
                  </a:lnTo>
                  <a:lnTo>
                    <a:pt x="54391" y="97925"/>
                  </a:lnTo>
                  <a:cubicBezTo>
                    <a:pt x="53943" y="96581"/>
                    <a:pt x="53943" y="95684"/>
                    <a:pt x="54839" y="94340"/>
                  </a:cubicBezTo>
                  <a:cubicBezTo>
                    <a:pt x="55287" y="93444"/>
                    <a:pt x="56632" y="92547"/>
                    <a:pt x="57528" y="92547"/>
                  </a:cubicBezTo>
                  <a:lnTo>
                    <a:pt x="66492" y="91651"/>
                  </a:lnTo>
                  <a:lnTo>
                    <a:pt x="63803" y="83136"/>
                  </a:lnTo>
                  <a:cubicBezTo>
                    <a:pt x="63354" y="81791"/>
                    <a:pt x="63803" y="80895"/>
                    <a:pt x="64251" y="79550"/>
                  </a:cubicBezTo>
                  <a:cubicBezTo>
                    <a:pt x="64699" y="78654"/>
                    <a:pt x="66043" y="77758"/>
                    <a:pt x="66940" y="77758"/>
                  </a:cubicBezTo>
                  <a:lnTo>
                    <a:pt x="75903" y="76861"/>
                  </a:lnTo>
                  <a:lnTo>
                    <a:pt x="73214" y="68794"/>
                  </a:lnTo>
                  <a:cubicBezTo>
                    <a:pt x="72766" y="67450"/>
                    <a:pt x="72766" y="66553"/>
                    <a:pt x="73662" y="65209"/>
                  </a:cubicBezTo>
                  <a:cubicBezTo>
                    <a:pt x="74110" y="64312"/>
                    <a:pt x="75455" y="63416"/>
                    <a:pt x="76351" y="63416"/>
                  </a:cubicBezTo>
                  <a:lnTo>
                    <a:pt x="85315" y="62520"/>
                  </a:lnTo>
                  <a:lnTo>
                    <a:pt x="82177" y="54453"/>
                  </a:lnTo>
                  <a:cubicBezTo>
                    <a:pt x="82177" y="53108"/>
                    <a:pt x="82177" y="51764"/>
                    <a:pt x="82626" y="50867"/>
                  </a:cubicBezTo>
                  <a:cubicBezTo>
                    <a:pt x="83074" y="49971"/>
                    <a:pt x="84418" y="49075"/>
                    <a:pt x="85315" y="49075"/>
                  </a:cubicBezTo>
                  <a:lnTo>
                    <a:pt x="94278" y="48178"/>
                  </a:lnTo>
                  <a:lnTo>
                    <a:pt x="91589" y="39663"/>
                  </a:lnTo>
                  <a:cubicBezTo>
                    <a:pt x="91141" y="38319"/>
                    <a:pt x="91141" y="37422"/>
                    <a:pt x="92037" y="36078"/>
                  </a:cubicBezTo>
                  <a:cubicBezTo>
                    <a:pt x="92485" y="35181"/>
                    <a:pt x="93830" y="34285"/>
                    <a:pt x="94726" y="34285"/>
                  </a:cubicBezTo>
                  <a:lnTo>
                    <a:pt x="103690" y="33389"/>
                  </a:lnTo>
                  <a:lnTo>
                    <a:pt x="101001" y="24873"/>
                  </a:lnTo>
                  <a:cubicBezTo>
                    <a:pt x="100552" y="23529"/>
                    <a:pt x="100552" y="22633"/>
                    <a:pt x="101449" y="21288"/>
                  </a:cubicBezTo>
                  <a:cubicBezTo>
                    <a:pt x="101897" y="20392"/>
                    <a:pt x="103241" y="19495"/>
                    <a:pt x="104138" y="19495"/>
                  </a:cubicBezTo>
                  <a:lnTo>
                    <a:pt x="113101" y="18599"/>
                  </a:lnTo>
                  <a:lnTo>
                    <a:pt x="110412" y="10980"/>
                  </a:lnTo>
                  <a:lnTo>
                    <a:pt x="104586" y="5602"/>
                  </a:lnTo>
                  <a:lnTo>
                    <a:pt x="24812" y="84928"/>
                  </a:lnTo>
                  <a:close/>
                </a:path>
              </a:pathLst>
            </a:custGeom>
            <a:solidFill>
              <a:srgbClr val="231F20"/>
            </a:solidFill>
            <a:ln w="4477" cap="flat">
              <a:noFill/>
              <a:prstDash val="solid"/>
              <a:miter/>
            </a:ln>
          </p:spPr>
          <p:txBody>
            <a:bodyPr rtlCol="0" anchor="ctr"/>
            <a:lstStyle/>
            <a:p>
              <a:endParaRPr lang="en-US"/>
            </a:p>
          </p:txBody>
        </p:sp>
      </p:grpSp>
      <p:sp>
        <p:nvSpPr>
          <p:cNvPr id="2458" name="Freeform: Shape 2457">
            <a:extLst>
              <a:ext uri="{FF2B5EF4-FFF2-40B4-BE49-F238E27FC236}">
                <a16:creationId xmlns:a16="http://schemas.microsoft.com/office/drawing/2014/main" id="{8BD65F12-C864-45E2-B20E-C54E50752F4C}"/>
              </a:ext>
              <a:ext uri="{C183D7F6-B498-43B3-948B-1728B52AA6E4}">
                <adec:decorative xmlns:adec="http://schemas.microsoft.com/office/drawing/2017/decorative" val="1"/>
              </a:ext>
            </a:extLst>
          </p:cNvPr>
          <p:cNvSpPr>
            <a:spLocks noChangeAspect="1"/>
          </p:cNvSpPr>
          <p:nvPr/>
        </p:nvSpPr>
        <p:spPr>
          <a:xfrm>
            <a:off x="7151665" y="3124904"/>
            <a:ext cx="147896" cy="143414"/>
          </a:xfrm>
          <a:custGeom>
            <a:avLst/>
            <a:gdLst>
              <a:gd name="connsiteX0" fmla="*/ 14341 w 147896"/>
              <a:gd name="connsiteY0" fmla="*/ 146328 h 143414"/>
              <a:gd name="connsiteX1" fmla="*/ 10756 w 147896"/>
              <a:gd name="connsiteY1" fmla="*/ 144983 h 143414"/>
              <a:gd name="connsiteX2" fmla="*/ 1345 w 147896"/>
              <a:gd name="connsiteY2" fmla="*/ 135572 h 143414"/>
              <a:gd name="connsiteX3" fmla="*/ 0 w 147896"/>
              <a:gd name="connsiteY3" fmla="*/ 131986 h 143414"/>
              <a:gd name="connsiteX4" fmla="*/ 1345 w 147896"/>
              <a:gd name="connsiteY4" fmla="*/ 128401 h 143414"/>
              <a:gd name="connsiteX5" fmla="*/ 35854 w 147896"/>
              <a:gd name="connsiteY5" fmla="*/ 93892 h 143414"/>
              <a:gd name="connsiteX6" fmla="*/ 49299 w 147896"/>
              <a:gd name="connsiteY6" fmla="*/ 91651 h 143414"/>
              <a:gd name="connsiteX7" fmla="*/ 52436 w 147896"/>
              <a:gd name="connsiteY7" fmla="*/ 88514 h 143414"/>
              <a:gd name="connsiteX8" fmla="*/ 68570 w 147896"/>
              <a:gd name="connsiteY8" fmla="*/ 85825 h 143414"/>
              <a:gd name="connsiteX9" fmla="*/ 120110 w 147896"/>
              <a:gd name="connsiteY9" fmla="*/ 112715 h 143414"/>
              <a:gd name="connsiteX10" fmla="*/ 126832 w 147896"/>
              <a:gd name="connsiteY10" fmla="*/ 111818 h 143414"/>
              <a:gd name="connsiteX11" fmla="*/ 139829 w 147896"/>
              <a:gd name="connsiteY11" fmla="*/ 99718 h 143414"/>
              <a:gd name="connsiteX12" fmla="*/ 139829 w 147896"/>
              <a:gd name="connsiteY12" fmla="*/ 99270 h 143414"/>
              <a:gd name="connsiteX13" fmla="*/ 139829 w 147896"/>
              <a:gd name="connsiteY13" fmla="*/ 98822 h 143414"/>
              <a:gd name="connsiteX14" fmla="*/ 136244 w 147896"/>
              <a:gd name="connsiteY14" fmla="*/ 94788 h 143414"/>
              <a:gd name="connsiteX15" fmla="*/ 134003 w 147896"/>
              <a:gd name="connsiteY15" fmla="*/ 97029 h 143414"/>
              <a:gd name="connsiteX16" fmla="*/ 116972 w 147896"/>
              <a:gd name="connsiteY16" fmla="*/ 97029 h 143414"/>
              <a:gd name="connsiteX17" fmla="*/ 50195 w 147896"/>
              <a:gd name="connsiteY17" fmla="*/ 31148 h 143414"/>
              <a:gd name="connsiteX18" fmla="*/ 46610 w 147896"/>
              <a:gd name="connsiteY18" fmla="*/ 22633 h 143414"/>
              <a:gd name="connsiteX19" fmla="*/ 50195 w 147896"/>
              <a:gd name="connsiteY19" fmla="*/ 14117 h 143414"/>
              <a:gd name="connsiteX20" fmla="*/ 60951 w 147896"/>
              <a:gd name="connsiteY20" fmla="*/ 3361 h 143414"/>
              <a:gd name="connsiteX21" fmla="*/ 77982 w 147896"/>
              <a:gd name="connsiteY21" fmla="*/ 3361 h 143414"/>
              <a:gd name="connsiteX22" fmla="*/ 144311 w 147896"/>
              <a:gd name="connsiteY22" fmla="*/ 69690 h 143414"/>
              <a:gd name="connsiteX23" fmla="*/ 144311 w 147896"/>
              <a:gd name="connsiteY23" fmla="*/ 86721 h 143414"/>
              <a:gd name="connsiteX24" fmla="*/ 139381 w 147896"/>
              <a:gd name="connsiteY24" fmla="*/ 91651 h 143414"/>
              <a:gd name="connsiteX25" fmla="*/ 142966 w 147896"/>
              <a:gd name="connsiteY25" fmla="*/ 95684 h 143414"/>
              <a:gd name="connsiteX26" fmla="*/ 144311 w 147896"/>
              <a:gd name="connsiteY26" fmla="*/ 99270 h 143414"/>
              <a:gd name="connsiteX27" fmla="*/ 142966 w 147896"/>
              <a:gd name="connsiteY27" fmla="*/ 102855 h 143414"/>
              <a:gd name="connsiteX28" fmla="*/ 130417 w 147896"/>
              <a:gd name="connsiteY28" fmla="*/ 115404 h 143414"/>
              <a:gd name="connsiteX29" fmla="*/ 118317 w 147896"/>
              <a:gd name="connsiteY29" fmla="*/ 117197 h 143414"/>
              <a:gd name="connsiteX30" fmla="*/ 66777 w 147896"/>
              <a:gd name="connsiteY30" fmla="*/ 90306 h 143414"/>
              <a:gd name="connsiteX31" fmla="*/ 56021 w 147896"/>
              <a:gd name="connsiteY31" fmla="*/ 92099 h 143414"/>
              <a:gd name="connsiteX32" fmla="*/ 53332 w 147896"/>
              <a:gd name="connsiteY32" fmla="*/ 94788 h 143414"/>
              <a:gd name="connsiteX33" fmla="*/ 52884 w 147896"/>
              <a:gd name="connsiteY33" fmla="*/ 110026 h 143414"/>
              <a:gd name="connsiteX34" fmla="*/ 52884 w 147896"/>
              <a:gd name="connsiteY34" fmla="*/ 110026 h 143414"/>
              <a:gd name="connsiteX35" fmla="*/ 18375 w 147896"/>
              <a:gd name="connsiteY35" fmla="*/ 144535 h 143414"/>
              <a:gd name="connsiteX36" fmla="*/ 14341 w 147896"/>
              <a:gd name="connsiteY36" fmla="*/ 146328 h 143414"/>
              <a:gd name="connsiteX37" fmla="*/ 44369 w 147896"/>
              <a:gd name="connsiteY37" fmla="*/ 95236 h 143414"/>
              <a:gd name="connsiteX38" fmla="*/ 39439 w 147896"/>
              <a:gd name="connsiteY38" fmla="*/ 97477 h 143414"/>
              <a:gd name="connsiteX39" fmla="*/ 4930 w 147896"/>
              <a:gd name="connsiteY39" fmla="*/ 131986 h 143414"/>
              <a:gd name="connsiteX40" fmla="*/ 14341 w 147896"/>
              <a:gd name="connsiteY40" fmla="*/ 141846 h 143414"/>
              <a:gd name="connsiteX41" fmla="*/ 49299 w 147896"/>
              <a:gd name="connsiteY41" fmla="*/ 107337 h 143414"/>
              <a:gd name="connsiteX42" fmla="*/ 49299 w 147896"/>
              <a:gd name="connsiteY42" fmla="*/ 97477 h 143414"/>
              <a:gd name="connsiteX43" fmla="*/ 48851 w 147896"/>
              <a:gd name="connsiteY43" fmla="*/ 97029 h 143414"/>
              <a:gd name="connsiteX44" fmla="*/ 48851 w 147896"/>
              <a:gd name="connsiteY44" fmla="*/ 97029 h 143414"/>
              <a:gd name="connsiteX45" fmla="*/ 44369 w 147896"/>
              <a:gd name="connsiteY45" fmla="*/ 95236 h 143414"/>
              <a:gd name="connsiteX46" fmla="*/ 51091 w 147896"/>
              <a:gd name="connsiteY46" fmla="*/ 108681 h 143414"/>
              <a:gd name="connsiteX47" fmla="*/ 51091 w 147896"/>
              <a:gd name="connsiteY47" fmla="*/ 108681 h 143414"/>
              <a:gd name="connsiteX48" fmla="*/ 51091 w 147896"/>
              <a:gd name="connsiteY48" fmla="*/ 108681 h 143414"/>
              <a:gd name="connsiteX49" fmla="*/ 69466 w 147896"/>
              <a:gd name="connsiteY49" fmla="*/ 4258 h 143414"/>
              <a:gd name="connsiteX50" fmla="*/ 64088 w 147896"/>
              <a:gd name="connsiteY50" fmla="*/ 6498 h 143414"/>
              <a:gd name="connsiteX51" fmla="*/ 53332 w 147896"/>
              <a:gd name="connsiteY51" fmla="*/ 17255 h 143414"/>
              <a:gd name="connsiteX52" fmla="*/ 51091 w 147896"/>
              <a:gd name="connsiteY52" fmla="*/ 22633 h 143414"/>
              <a:gd name="connsiteX53" fmla="*/ 53332 w 147896"/>
              <a:gd name="connsiteY53" fmla="*/ 28011 h 143414"/>
              <a:gd name="connsiteX54" fmla="*/ 119661 w 147896"/>
              <a:gd name="connsiteY54" fmla="*/ 94340 h 143414"/>
              <a:gd name="connsiteX55" fmla="*/ 130417 w 147896"/>
              <a:gd name="connsiteY55" fmla="*/ 94340 h 143414"/>
              <a:gd name="connsiteX56" fmla="*/ 141174 w 147896"/>
              <a:gd name="connsiteY56" fmla="*/ 83584 h 143414"/>
              <a:gd name="connsiteX57" fmla="*/ 141174 w 147896"/>
              <a:gd name="connsiteY57" fmla="*/ 72828 h 143414"/>
              <a:gd name="connsiteX58" fmla="*/ 74844 w 147896"/>
              <a:gd name="connsiteY58" fmla="*/ 6498 h 143414"/>
              <a:gd name="connsiteX59" fmla="*/ 69466 w 147896"/>
              <a:gd name="connsiteY59" fmla="*/ 425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7896" h="143414">
                <a:moveTo>
                  <a:pt x="14341" y="146328"/>
                </a:moveTo>
                <a:cubicBezTo>
                  <a:pt x="12997" y="146328"/>
                  <a:pt x="11652" y="145879"/>
                  <a:pt x="10756" y="144983"/>
                </a:cubicBezTo>
                <a:lnTo>
                  <a:pt x="1345" y="135572"/>
                </a:lnTo>
                <a:cubicBezTo>
                  <a:pt x="448" y="134675"/>
                  <a:pt x="0" y="133331"/>
                  <a:pt x="0" y="131986"/>
                </a:cubicBezTo>
                <a:cubicBezTo>
                  <a:pt x="0" y="130642"/>
                  <a:pt x="448" y="129297"/>
                  <a:pt x="1345" y="128401"/>
                </a:cubicBezTo>
                <a:lnTo>
                  <a:pt x="35854" y="93892"/>
                </a:lnTo>
                <a:cubicBezTo>
                  <a:pt x="39439" y="90306"/>
                  <a:pt x="44817" y="89858"/>
                  <a:pt x="49299" y="91651"/>
                </a:cubicBezTo>
                <a:lnTo>
                  <a:pt x="52436" y="88514"/>
                </a:lnTo>
                <a:cubicBezTo>
                  <a:pt x="56918" y="84032"/>
                  <a:pt x="63192" y="83136"/>
                  <a:pt x="68570" y="85825"/>
                </a:cubicBezTo>
                <a:lnTo>
                  <a:pt x="120110" y="112715"/>
                </a:lnTo>
                <a:cubicBezTo>
                  <a:pt x="122350" y="114059"/>
                  <a:pt x="125039" y="113611"/>
                  <a:pt x="126832" y="111818"/>
                </a:cubicBezTo>
                <a:lnTo>
                  <a:pt x="139829" y="99718"/>
                </a:lnTo>
                <a:cubicBezTo>
                  <a:pt x="139829" y="99718"/>
                  <a:pt x="139829" y="99270"/>
                  <a:pt x="139829" y="99270"/>
                </a:cubicBezTo>
                <a:cubicBezTo>
                  <a:pt x="139829" y="99270"/>
                  <a:pt x="139829" y="98822"/>
                  <a:pt x="139829" y="98822"/>
                </a:cubicBezTo>
                <a:lnTo>
                  <a:pt x="136244" y="94788"/>
                </a:lnTo>
                <a:lnTo>
                  <a:pt x="134003" y="97029"/>
                </a:lnTo>
                <a:cubicBezTo>
                  <a:pt x="129521" y="101511"/>
                  <a:pt x="121454" y="101511"/>
                  <a:pt x="116972" y="97029"/>
                </a:cubicBezTo>
                <a:lnTo>
                  <a:pt x="50195" y="31148"/>
                </a:lnTo>
                <a:cubicBezTo>
                  <a:pt x="47954" y="28907"/>
                  <a:pt x="46610" y="25770"/>
                  <a:pt x="46610" y="22633"/>
                </a:cubicBezTo>
                <a:cubicBezTo>
                  <a:pt x="46610" y="19495"/>
                  <a:pt x="47954" y="16358"/>
                  <a:pt x="50195" y="14117"/>
                </a:cubicBezTo>
                <a:lnTo>
                  <a:pt x="60951" y="3361"/>
                </a:lnTo>
                <a:cubicBezTo>
                  <a:pt x="65433" y="-1120"/>
                  <a:pt x="73500" y="-1120"/>
                  <a:pt x="77982" y="3361"/>
                </a:cubicBezTo>
                <a:lnTo>
                  <a:pt x="144311" y="69690"/>
                </a:lnTo>
                <a:cubicBezTo>
                  <a:pt x="149241" y="74620"/>
                  <a:pt x="149241" y="82239"/>
                  <a:pt x="144311" y="86721"/>
                </a:cubicBezTo>
                <a:lnTo>
                  <a:pt x="139381" y="91651"/>
                </a:lnTo>
                <a:lnTo>
                  <a:pt x="142966" y="95684"/>
                </a:lnTo>
                <a:cubicBezTo>
                  <a:pt x="143863" y="96581"/>
                  <a:pt x="144311" y="97925"/>
                  <a:pt x="144311" y="99270"/>
                </a:cubicBezTo>
                <a:cubicBezTo>
                  <a:pt x="144311" y="100614"/>
                  <a:pt x="143863" y="101959"/>
                  <a:pt x="142966" y="102855"/>
                </a:cubicBezTo>
                <a:lnTo>
                  <a:pt x="130417" y="115404"/>
                </a:lnTo>
                <a:cubicBezTo>
                  <a:pt x="127280" y="118541"/>
                  <a:pt x="122350" y="119437"/>
                  <a:pt x="118317" y="117197"/>
                </a:cubicBezTo>
                <a:lnTo>
                  <a:pt x="66777" y="90306"/>
                </a:lnTo>
                <a:cubicBezTo>
                  <a:pt x="63192" y="88514"/>
                  <a:pt x="58710" y="88962"/>
                  <a:pt x="56021" y="92099"/>
                </a:cubicBezTo>
                <a:lnTo>
                  <a:pt x="53332" y="94788"/>
                </a:lnTo>
                <a:cubicBezTo>
                  <a:pt x="56918" y="99270"/>
                  <a:pt x="56918" y="105992"/>
                  <a:pt x="52884" y="110026"/>
                </a:cubicBezTo>
                <a:cubicBezTo>
                  <a:pt x="52884" y="110026"/>
                  <a:pt x="52884" y="110026"/>
                  <a:pt x="52884" y="110026"/>
                </a:cubicBezTo>
                <a:lnTo>
                  <a:pt x="18375" y="144535"/>
                </a:lnTo>
                <a:cubicBezTo>
                  <a:pt x="17030" y="145879"/>
                  <a:pt x="15686" y="146328"/>
                  <a:pt x="14341" y="146328"/>
                </a:cubicBezTo>
                <a:close/>
                <a:moveTo>
                  <a:pt x="44369" y="95236"/>
                </a:moveTo>
                <a:cubicBezTo>
                  <a:pt x="42576" y="95236"/>
                  <a:pt x="40783" y="96133"/>
                  <a:pt x="39439" y="97477"/>
                </a:cubicBezTo>
                <a:lnTo>
                  <a:pt x="4930" y="131986"/>
                </a:lnTo>
                <a:lnTo>
                  <a:pt x="14341" y="141846"/>
                </a:lnTo>
                <a:lnTo>
                  <a:pt x="49299" y="107337"/>
                </a:lnTo>
                <a:cubicBezTo>
                  <a:pt x="51988" y="104648"/>
                  <a:pt x="51988" y="100166"/>
                  <a:pt x="49299" y="97477"/>
                </a:cubicBezTo>
                <a:cubicBezTo>
                  <a:pt x="49299" y="97477"/>
                  <a:pt x="48851" y="97029"/>
                  <a:pt x="48851" y="97029"/>
                </a:cubicBezTo>
                <a:cubicBezTo>
                  <a:pt x="48851" y="97029"/>
                  <a:pt x="48851" y="97029"/>
                  <a:pt x="48851" y="97029"/>
                </a:cubicBezTo>
                <a:cubicBezTo>
                  <a:pt x="47506" y="95684"/>
                  <a:pt x="45713" y="95236"/>
                  <a:pt x="44369" y="95236"/>
                </a:cubicBezTo>
                <a:close/>
                <a:moveTo>
                  <a:pt x="51091" y="108681"/>
                </a:moveTo>
                <a:lnTo>
                  <a:pt x="51091" y="108681"/>
                </a:lnTo>
                <a:lnTo>
                  <a:pt x="51091" y="108681"/>
                </a:lnTo>
                <a:close/>
                <a:moveTo>
                  <a:pt x="69466" y="4258"/>
                </a:moveTo>
                <a:cubicBezTo>
                  <a:pt x="67226" y="4258"/>
                  <a:pt x="65433" y="5154"/>
                  <a:pt x="64088" y="6498"/>
                </a:cubicBezTo>
                <a:lnTo>
                  <a:pt x="53332" y="17255"/>
                </a:lnTo>
                <a:cubicBezTo>
                  <a:pt x="51988" y="18599"/>
                  <a:pt x="51091" y="20840"/>
                  <a:pt x="51091" y="22633"/>
                </a:cubicBezTo>
                <a:cubicBezTo>
                  <a:pt x="51091" y="24425"/>
                  <a:pt x="51988" y="26666"/>
                  <a:pt x="53332" y="28011"/>
                </a:cubicBezTo>
                <a:lnTo>
                  <a:pt x="119661" y="94340"/>
                </a:lnTo>
                <a:cubicBezTo>
                  <a:pt x="122350" y="97029"/>
                  <a:pt x="127729" y="97029"/>
                  <a:pt x="130417" y="94340"/>
                </a:cubicBezTo>
                <a:lnTo>
                  <a:pt x="141174" y="83584"/>
                </a:lnTo>
                <a:cubicBezTo>
                  <a:pt x="144311" y="80447"/>
                  <a:pt x="144311" y="75517"/>
                  <a:pt x="141174" y="72828"/>
                </a:cubicBezTo>
                <a:lnTo>
                  <a:pt x="74844" y="6498"/>
                </a:lnTo>
                <a:cubicBezTo>
                  <a:pt x="73500" y="5154"/>
                  <a:pt x="71707" y="4258"/>
                  <a:pt x="69466" y="4258"/>
                </a:cubicBezTo>
                <a:close/>
              </a:path>
            </a:pathLst>
          </a:custGeom>
          <a:solidFill>
            <a:srgbClr val="231F20"/>
          </a:solidFill>
          <a:ln w="4477" cap="flat">
            <a:noFill/>
            <a:prstDash val="solid"/>
            <a:miter/>
          </a:ln>
        </p:spPr>
        <p:txBody>
          <a:bodyPr rtlCol="0" anchor="ctr"/>
          <a:lstStyle/>
          <a:p>
            <a:endParaRPr lang="en-US"/>
          </a:p>
        </p:txBody>
      </p:sp>
      <p:sp>
        <p:nvSpPr>
          <p:cNvPr id="2459" name="Freeform: Shape 2458">
            <a:extLst>
              <a:ext uri="{FF2B5EF4-FFF2-40B4-BE49-F238E27FC236}">
                <a16:creationId xmlns:a16="http://schemas.microsoft.com/office/drawing/2014/main" id="{B2AAFFA3-1D4E-41D1-905F-0F523B50348B}"/>
              </a:ext>
              <a:ext uri="{C183D7F6-B498-43B3-948B-1728B52AA6E4}">
                <adec:decorative xmlns:adec="http://schemas.microsoft.com/office/drawing/2017/decorative" val="1"/>
              </a:ext>
            </a:extLst>
          </p:cNvPr>
          <p:cNvSpPr>
            <a:spLocks noChangeAspect="1"/>
          </p:cNvSpPr>
          <p:nvPr/>
        </p:nvSpPr>
        <p:spPr>
          <a:xfrm>
            <a:off x="6892175" y="3135128"/>
            <a:ext cx="134451" cy="134451"/>
          </a:xfrm>
          <a:custGeom>
            <a:avLst/>
            <a:gdLst>
              <a:gd name="connsiteX0" fmla="*/ 17479 w 134451"/>
              <a:gd name="connsiteY0" fmla="*/ 136104 h 134451"/>
              <a:gd name="connsiteX1" fmla="*/ 12997 w 134451"/>
              <a:gd name="connsiteY1" fmla="*/ 134311 h 134451"/>
              <a:gd name="connsiteX2" fmla="*/ 1793 w 134451"/>
              <a:gd name="connsiteY2" fmla="*/ 123107 h 134451"/>
              <a:gd name="connsiteX3" fmla="*/ 0 w 134451"/>
              <a:gd name="connsiteY3" fmla="*/ 118625 h 134451"/>
              <a:gd name="connsiteX4" fmla="*/ 1793 w 134451"/>
              <a:gd name="connsiteY4" fmla="*/ 114143 h 134451"/>
              <a:gd name="connsiteX5" fmla="*/ 31820 w 134451"/>
              <a:gd name="connsiteY5" fmla="*/ 84116 h 134451"/>
              <a:gd name="connsiteX6" fmla="*/ 47058 w 134451"/>
              <a:gd name="connsiteY6" fmla="*/ 80979 h 134451"/>
              <a:gd name="connsiteX7" fmla="*/ 69466 w 134451"/>
              <a:gd name="connsiteY7" fmla="*/ 58570 h 134451"/>
              <a:gd name="connsiteX8" fmla="*/ 51988 w 134451"/>
              <a:gd name="connsiteY8" fmla="*/ 40643 h 134451"/>
              <a:gd name="connsiteX9" fmla="*/ 50195 w 134451"/>
              <a:gd name="connsiteY9" fmla="*/ 33921 h 134451"/>
              <a:gd name="connsiteX10" fmla="*/ 56918 w 134451"/>
              <a:gd name="connsiteY10" fmla="*/ 26302 h 134451"/>
              <a:gd name="connsiteX11" fmla="*/ 125039 w 134451"/>
              <a:gd name="connsiteY11" fmla="*/ 756 h 134451"/>
              <a:gd name="connsiteX12" fmla="*/ 134003 w 134451"/>
              <a:gd name="connsiteY12" fmla="*/ 2101 h 134451"/>
              <a:gd name="connsiteX13" fmla="*/ 136244 w 134451"/>
              <a:gd name="connsiteY13" fmla="*/ 7479 h 134451"/>
              <a:gd name="connsiteX14" fmla="*/ 135347 w 134451"/>
              <a:gd name="connsiteY14" fmla="*/ 11064 h 134451"/>
              <a:gd name="connsiteX15" fmla="*/ 109802 w 134451"/>
              <a:gd name="connsiteY15" fmla="*/ 79186 h 134451"/>
              <a:gd name="connsiteX16" fmla="*/ 102183 w 134451"/>
              <a:gd name="connsiteY16" fmla="*/ 85909 h 134451"/>
              <a:gd name="connsiteX17" fmla="*/ 95460 w 134451"/>
              <a:gd name="connsiteY17" fmla="*/ 84116 h 134451"/>
              <a:gd name="connsiteX18" fmla="*/ 77533 w 134451"/>
              <a:gd name="connsiteY18" fmla="*/ 66189 h 134451"/>
              <a:gd name="connsiteX19" fmla="*/ 54677 w 134451"/>
              <a:gd name="connsiteY19" fmla="*/ 88150 h 134451"/>
              <a:gd name="connsiteX20" fmla="*/ 51540 w 134451"/>
              <a:gd name="connsiteY20" fmla="*/ 103835 h 134451"/>
              <a:gd name="connsiteX21" fmla="*/ 21512 w 134451"/>
              <a:gd name="connsiteY21" fmla="*/ 133863 h 134451"/>
              <a:gd name="connsiteX22" fmla="*/ 17479 w 134451"/>
              <a:gd name="connsiteY22" fmla="*/ 136104 h 134451"/>
              <a:gd name="connsiteX23" fmla="*/ 42128 w 134451"/>
              <a:gd name="connsiteY23" fmla="*/ 84116 h 134451"/>
              <a:gd name="connsiteX24" fmla="*/ 35405 w 134451"/>
              <a:gd name="connsiteY24" fmla="*/ 86805 h 134451"/>
              <a:gd name="connsiteX25" fmla="*/ 5378 w 134451"/>
              <a:gd name="connsiteY25" fmla="*/ 116832 h 134451"/>
              <a:gd name="connsiteX26" fmla="*/ 5378 w 134451"/>
              <a:gd name="connsiteY26" fmla="*/ 119521 h 134451"/>
              <a:gd name="connsiteX27" fmla="*/ 16582 w 134451"/>
              <a:gd name="connsiteY27" fmla="*/ 130726 h 134451"/>
              <a:gd name="connsiteX28" fmla="*/ 19271 w 134451"/>
              <a:gd name="connsiteY28" fmla="*/ 130726 h 134451"/>
              <a:gd name="connsiteX29" fmla="*/ 49299 w 134451"/>
              <a:gd name="connsiteY29" fmla="*/ 100698 h 134451"/>
              <a:gd name="connsiteX30" fmla="*/ 51988 w 134451"/>
              <a:gd name="connsiteY30" fmla="*/ 93976 h 134451"/>
              <a:gd name="connsiteX31" fmla="*/ 50643 w 134451"/>
              <a:gd name="connsiteY31" fmla="*/ 89046 h 134451"/>
              <a:gd name="connsiteX32" fmla="*/ 50643 w 134451"/>
              <a:gd name="connsiteY32" fmla="*/ 89046 h 134451"/>
              <a:gd name="connsiteX33" fmla="*/ 48851 w 134451"/>
              <a:gd name="connsiteY33" fmla="*/ 86805 h 134451"/>
              <a:gd name="connsiteX34" fmla="*/ 42128 w 134451"/>
              <a:gd name="connsiteY34" fmla="*/ 84116 h 134451"/>
              <a:gd name="connsiteX35" fmla="*/ 51091 w 134451"/>
              <a:gd name="connsiteY35" fmla="*/ 82771 h 134451"/>
              <a:gd name="connsiteX36" fmla="*/ 51988 w 134451"/>
              <a:gd name="connsiteY36" fmla="*/ 83668 h 134451"/>
              <a:gd name="connsiteX37" fmla="*/ 52884 w 134451"/>
              <a:gd name="connsiteY37" fmla="*/ 84564 h 134451"/>
              <a:gd name="connsiteX38" fmla="*/ 76189 w 134451"/>
              <a:gd name="connsiteY38" fmla="*/ 61707 h 134451"/>
              <a:gd name="connsiteX39" fmla="*/ 76189 w 134451"/>
              <a:gd name="connsiteY39" fmla="*/ 61707 h 134451"/>
              <a:gd name="connsiteX40" fmla="*/ 76189 w 134451"/>
              <a:gd name="connsiteY40" fmla="*/ 61707 h 134451"/>
              <a:gd name="connsiteX41" fmla="*/ 82911 w 134451"/>
              <a:gd name="connsiteY41" fmla="*/ 55433 h 134451"/>
              <a:gd name="connsiteX42" fmla="*/ 83360 w 134451"/>
              <a:gd name="connsiteY42" fmla="*/ 54537 h 134451"/>
              <a:gd name="connsiteX43" fmla="*/ 82911 w 134451"/>
              <a:gd name="connsiteY43" fmla="*/ 53640 h 134451"/>
              <a:gd name="connsiteX44" fmla="*/ 80671 w 134451"/>
              <a:gd name="connsiteY44" fmla="*/ 53640 h 134451"/>
              <a:gd name="connsiteX45" fmla="*/ 73948 w 134451"/>
              <a:gd name="connsiteY45" fmla="*/ 60363 h 134451"/>
              <a:gd name="connsiteX46" fmla="*/ 73948 w 134451"/>
              <a:gd name="connsiteY46" fmla="*/ 60363 h 134451"/>
              <a:gd name="connsiteX47" fmla="*/ 73948 w 134451"/>
              <a:gd name="connsiteY47" fmla="*/ 60363 h 134451"/>
              <a:gd name="connsiteX48" fmla="*/ 51091 w 134451"/>
              <a:gd name="connsiteY48" fmla="*/ 82771 h 134451"/>
              <a:gd name="connsiteX49" fmla="*/ 81119 w 134451"/>
              <a:gd name="connsiteY49" fmla="*/ 63500 h 134451"/>
              <a:gd name="connsiteX50" fmla="*/ 99046 w 134451"/>
              <a:gd name="connsiteY50" fmla="*/ 81427 h 134451"/>
              <a:gd name="connsiteX51" fmla="*/ 101286 w 134451"/>
              <a:gd name="connsiteY51" fmla="*/ 81875 h 134451"/>
              <a:gd name="connsiteX52" fmla="*/ 105768 w 134451"/>
              <a:gd name="connsiteY52" fmla="*/ 77842 h 134451"/>
              <a:gd name="connsiteX53" fmla="*/ 131314 w 134451"/>
              <a:gd name="connsiteY53" fmla="*/ 9720 h 134451"/>
              <a:gd name="connsiteX54" fmla="*/ 131762 w 134451"/>
              <a:gd name="connsiteY54" fmla="*/ 7479 h 134451"/>
              <a:gd name="connsiteX55" fmla="*/ 130866 w 134451"/>
              <a:gd name="connsiteY55" fmla="*/ 5238 h 134451"/>
              <a:gd name="connsiteX56" fmla="*/ 126384 w 134451"/>
              <a:gd name="connsiteY56" fmla="*/ 4790 h 134451"/>
              <a:gd name="connsiteX57" fmla="*/ 58262 w 134451"/>
              <a:gd name="connsiteY57" fmla="*/ 30336 h 134451"/>
              <a:gd name="connsiteX58" fmla="*/ 54229 w 134451"/>
              <a:gd name="connsiteY58" fmla="*/ 34817 h 134451"/>
              <a:gd name="connsiteX59" fmla="*/ 54677 w 134451"/>
              <a:gd name="connsiteY59" fmla="*/ 37058 h 134451"/>
              <a:gd name="connsiteX60" fmla="*/ 72155 w 134451"/>
              <a:gd name="connsiteY60" fmla="*/ 54985 h 134451"/>
              <a:gd name="connsiteX61" fmla="*/ 77085 w 134451"/>
              <a:gd name="connsiteY61" fmla="*/ 50055 h 134451"/>
              <a:gd name="connsiteX62" fmla="*/ 85600 w 134451"/>
              <a:gd name="connsiteY62" fmla="*/ 50055 h 134451"/>
              <a:gd name="connsiteX63" fmla="*/ 87393 w 134451"/>
              <a:gd name="connsiteY63" fmla="*/ 54537 h 134451"/>
              <a:gd name="connsiteX64" fmla="*/ 85600 w 134451"/>
              <a:gd name="connsiteY64" fmla="*/ 59018 h 134451"/>
              <a:gd name="connsiteX65" fmla="*/ 81119 w 134451"/>
              <a:gd name="connsiteY65" fmla="*/ 63500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4451" h="134451">
                <a:moveTo>
                  <a:pt x="17479" y="136104"/>
                </a:moveTo>
                <a:cubicBezTo>
                  <a:pt x="15686" y="136104"/>
                  <a:pt x="14341" y="135656"/>
                  <a:pt x="12997" y="134311"/>
                </a:cubicBezTo>
                <a:lnTo>
                  <a:pt x="1793" y="123107"/>
                </a:lnTo>
                <a:cubicBezTo>
                  <a:pt x="448" y="121762"/>
                  <a:pt x="0" y="120418"/>
                  <a:pt x="0" y="118625"/>
                </a:cubicBezTo>
                <a:cubicBezTo>
                  <a:pt x="0" y="116832"/>
                  <a:pt x="448" y="115488"/>
                  <a:pt x="1793" y="114143"/>
                </a:cubicBezTo>
                <a:lnTo>
                  <a:pt x="31820" y="84116"/>
                </a:lnTo>
                <a:cubicBezTo>
                  <a:pt x="35854" y="80082"/>
                  <a:pt x="41680" y="78738"/>
                  <a:pt x="47058" y="80979"/>
                </a:cubicBezTo>
                <a:lnTo>
                  <a:pt x="69466" y="58570"/>
                </a:lnTo>
                <a:lnTo>
                  <a:pt x="51988" y="40643"/>
                </a:lnTo>
                <a:cubicBezTo>
                  <a:pt x="50195" y="38851"/>
                  <a:pt x="49747" y="36610"/>
                  <a:pt x="50195" y="33921"/>
                </a:cubicBezTo>
                <a:cubicBezTo>
                  <a:pt x="51091" y="30336"/>
                  <a:pt x="53780" y="27647"/>
                  <a:pt x="56918" y="26302"/>
                </a:cubicBezTo>
                <a:lnTo>
                  <a:pt x="125039" y="756"/>
                </a:lnTo>
                <a:cubicBezTo>
                  <a:pt x="128625" y="-588"/>
                  <a:pt x="131762" y="-140"/>
                  <a:pt x="134003" y="2101"/>
                </a:cubicBezTo>
                <a:cubicBezTo>
                  <a:pt x="135347" y="3445"/>
                  <a:pt x="136244" y="5238"/>
                  <a:pt x="136244" y="7479"/>
                </a:cubicBezTo>
                <a:cubicBezTo>
                  <a:pt x="136244" y="8823"/>
                  <a:pt x="135796" y="9720"/>
                  <a:pt x="135347" y="11064"/>
                </a:cubicBezTo>
                <a:lnTo>
                  <a:pt x="109802" y="79186"/>
                </a:lnTo>
                <a:cubicBezTo>
                  <a:pt x="108457" y="82323"/>
                  <a:pt x="105320" y="85012"/>
                  <a:pt x="102183" y="85909"/>
                </a:cubicBezTo>
                <a:cubicBezTo>
                  <a:pt x="99494" y="86357"/>
                  <a:pt x="97253" y="85909"/>
                  <a:pt x="95460" y="84116"/>
                </a:cubicBezTo>
                <a:lnTo>
                  <a:pt x="77533" y="66189"/>
                </a:lnTo>
                <a:lnTo>
                  <a:pt x="54677" y="88150"/>
                </a:lnTo>
                <a:cubicBezTo>
                  <a:pt x="56918" y="93079"/>
                  <a:pt x="55573" y="99354"/>
                  <a:pt x="51540" y="103835"/>
                </a:cubicBezTo>
                <a:lnTo>
                  <a:pt x="21512" y="133863"/>
                </a:lnTo>
                <a:cubicBezTo>
                  <a:pt x="20616" y="135207"/>
                  <a:pt x="19271" y="136104"/>
                  <a:pt x="17479" y="136104"/>
                </a:cubicBezTo>
                <a:close/>
                <a:moveTo>
                  <a:pt x="42128" y="84116"/>
                </a:moveTo>
                <a:cubicBezTo>
                  <a:pt x="39439" y="84116"/>
                  <a:pt x="37198" y="85012"/>
                  <a:pt x="35405" y="86805"/>
                </a:cubicBezTo>
                <a:lnTo>
                  <a:pt x="5378" y="116832"/>
                </a:lnTo>
                <a:cubicBezTo>
                  <a:pt x="4482" y="117729"/>
                  <a:pt x="4482" y="118625"/>
                  <a:pt x="5378" y="119521"/>
                </a:cubicBezTo>
                <a:lnTo>
                  <a:pt x="16582" y="130726"/>
                </a:lnTo>
                <a:cubicBezTo>
                  <a:pt x="17479" y="131622"/>
                  <a:pt x="18375" y="131622"/>
                  <a:pt x="19271" y="130726"/>
                </a:cubicBezTo>
                <a:lnTo>
                  <a:pt x="49299" y="100698"/>
                </a:lnTo>
                <a:cubicBezTo>
                  <a:pt x="51091" y="98906"/>
                  <a:pt x="51988" y="96217"/>
                  <a:pt x="51988" y="93976"/>
                </a:cubicBezTo>
                <a:cubicBezTo>
                  <a:pt x="51988" y="92183"/>
                  <a:pt x="51540" y="90839"/>
                  <a:pt x="50643" y="89046"/>
                </a:cubicBezTo>
                <a:cubicBezTo>
                  <a:pt x="50643" y="89046"/>
                  <a:pt x="50643" y="89046"/>
                  <a:pt x="50643" y="89046"/>
                </a:cubicBezTo>
                <a:cubicBezTo>
                  <a:pt x="50195" y="88150"/>
                  <a:pt x="49747" y="87701"/>
                  <a:pt x="48851" y="86805"/>
                </a:cubicBezTo>
                <a:cubicBezTo>
                  <a:pt x="47058" y="85012"/>
                  <a:pt x="44817" y="84116"/>
                  <a:pt x="42128" y="84116"/>
                </a:cubicBezTo>
                <a:close/>
                <a:moveTo>
                  <a:pt x="51091" y="82771"/>
                </a:moveTo>
                <a:cubicBezTo>
                  <a:pt x="51540" y="83220"/>
                  <a:pt x="51988" y="83220"/>
                  <a:pt x="51988" y="83668"/>
                </a:cubicBezTo>
                <a:cubicBezTo>
                  <a:pt x="52436" y="84116"/>
                  <a:pt x="52436" y="84116"/>
                  <a:pt x="52884" y="84564"/>
                </a:cubicBezTo>
                <a:lnTo>
                  <a:pt x="76189" y="61707"/>
                </a:lnTo>
                <a:cubicBezTo>
                  <a:pt x="76189" y="61707"/>
                  <a:pt x="76189" y="61707"/>
                  <a:pt x="76189" y="61707"/>
                </a:cubicBezTo>
                <a:cubicBezTo>
                  <a:pt x="76189" y="61707"/>
                  <a:pt x="76189" y="61707"/>
                  <a:pt x="76189" y="61707"/>
                </a:cubicBezTo>
                <a:lnTo>
                  <a:pt x="82911" y="55433"/>
                </a:lnTo>
                <a:cubicBezTo>
                  <a:pt x="83360" y="54985"/>
                  <a:pt x="83360" y="54985"/>
                  <a:pt x="83360" y="54537"/>
                </a:cubicBezTo>
                <a:cubicBezTo>
                  <a:pt x="83360" y="54089"/>
                  <a:pt x="83360" y="53640"/>
                  <a:pt x="82911" y="53640"/>
                </a:cubicBezTo>
                <a:cubicBezTo>
                  <a:pt x="82463" y="53192"/>
                  <a:pt x="81119" y="53192"/>
                  <a:pt x="80671" y="53640"/>
                </a:cubicBezTo>
                <a:lnTo>
                  <a:pt x="73948" y="60363"/>
                </a:lnTo>
                <a:cubicBezTo>
                  <a:pt x="73948" y="60363"/>
                  <a:pt x="73948" y="60363"/>
                  <a:pt x="73948" y="60363"/>
                </a:cubicBezTo>
                <a:cubicBezTo>
                  <a:pt x="73948" y="60363"/>
                  <a:pt x="73948" y="60363"/>
                  <a:pt x="73948" y="60363"/>
                </a:cubicBezTo>
                <a:lnTo>
                  <a:pt x="51091" y="82771"/>
                </a:lnTo>
                <a:close/>
                <a:moveTo>
                  <a:pt x="81119" y="63500"/>
                </a:moveTo>
                <a:lnTo>
                  <a:pt x="99046" y="81427"/>
                </a:lnTo>
                <a:cubicBezTo>
                  <a:pt x="99942" y="82323"/>
                  <a:pt x="100838" y="81875"/>
                  <a:pt x="101286" y="81875"/>
                </a:cubicBezTo>
                <a:cubicBezTo>
                  <a:pt x="103079" y="81427"/>
                  <a:pt x="104872" y="80082"/>
                  <a:pt x="105768" y="77842"/>
                </a:cubicBezTo>
                <a:lnTo>
                  <a:pt x="131314" y="9720"/>
                </a:lnTo>
                <a:cubicBezTo>
                  <a:pt x="131762" y="8823"/>
                  <a:pt x="131762" y="8375"/>
                  <a:pt x="131762" y="7479"/>
                </a:cubicBezTo>
                <a:cubicBezTo>
                  <a:pt x="131762" y="6583"/>
                  <a:pt x="131314" y="5686"/>
                  <a:pt x="130866" y="5238"/>
                </a:cubicBezTo>
                <a:cubicBezTo>
                  <a:pt x="129969" y="4342"/>
                  <a:pt x="128177" y="4342"/>
                  <a:pt x="126384" y="4790"/>
                </a:cubicBezTo>
                <a:lnTo>
                  <a:pt x="58262" y="30336"/>
                </a:lnTo>
                <a:cubicBezTo>
                  <a:pt x="56469" y="31232"/>
                  <a:pt x="54677" y="33025"/>
                  <a:pt x="54229" y="34817"/>
                </a:cubicBezTo>
                <a:cubicBezTo>
                  <a:pt x="54229" y="35714"/>
                  <a:pt x="54229" y="36610"/>
                  <a:pt x="54677" y="37058"/>
                </a:cubicBezTo>
                <a:lnTo>
                  <a:pt x="72155" y="54985"/>
                </a:lnTo>
                <a:lnTo>
                  <a:pt x="77085" y="50055"/>
                </a:lnTo>
                <a:cubicBezTo>
                  <a:pt x="79326" y="47814"/>
                  <a:pt x="83360" y="47814"/>
                  <a:pt x="85600" y="50055"/>
                </a:cubicBezTo>
                <a:cubicBezTo>
                  <a:pt x="86945" y="51400"/>
                  <a:pt x="87393" y="52744"/>
                  <a:pt x="87393" y="54537"/>
                </a:cubicBezTo>
                <a:cubicBezTo>
                  <a:pt x="87393" y="56329"/>
                  <a:pt x="86945" y="57674"/>
                  <a:pt x="85600" y="59018"/>
                </a:cubicBezTo>
                <a:lnTo>
                  <a:pt x="81119" y="63500"/>
                </a:lnTo>
                <a:close/>
              </a:path>
            </a:pathLst>
          </a:custGeom>
          <a:solidFill>
            <a:srgbClr val="231F20"/>
          </a:solidFill>
          <a:ln w="4477" cap="flat">
            <a:noFill/>
            <a:prstDash val="solid"/>
            <a:miter/>
          </a:ln>
        </p:spPr>
        <p:txBody>
          <a:bodyPr rtlCol="0" anchor="ctr"/>
          <a:lstStyle/>
          <a:p>
            <a:endParaRPr lang="en-US"/>
          </a:p>
        </p:txBody>
      </p:sp>
      <p:sp>
        <p:nvSpPr>
          <p:cNvPr id="2460" name="Freeform: Shape 2459">
            <a:extLst>
              <a:ext uri="{FF2B5EF4-FFF2-40B4-BE49-F238E27FC236}">
                <a16:creationId xmlns:a16="http://schemas.microsoft.com/office/drawing/2014/main" id="{59906468-E4F0-4CBB-9D9B-3644F01308C1}"/>
              </a:ext>
              <a:ext uri="{C183D7F6-B498-43B3-948B-1728B52AA6E4}">
                <adec:decorative xmlns:adec="http://schemas.microsoft.com/office/drawing/2017/decorative" val="1"/>
              </a:ext>
            </a:extLst>
          </p:cNvPr>
          <p:cNvSpPr>
            <a:spLocks noChangeAspect="1"/>
          </p:cNvSpPr>
          <p:nvPr/>
        </p:nvSpPr>
        <p:spPr>
          <a:xfrm>
            <a:off x="10360116" y="3145559"/>
            <a:ext cx="103079" cy="121006"/>
          </a:xfrm>
          <a:custGeom>
            <a:avLst/>
            <a:gdLst>
              <a:gd name="connsiteX0" fmla="*/ 102183 w 103079"/>
              <a:gd name="connsiteY0" fmla="*/ 36487 h 121005"/>
              <a:gd name="connsiteX1" fmla="*/ 3137 w 103079"/>
              <a:gd name="connsiteY1" fmla="*/ 186 h 121005"/>
              <a:gd name="connsiteX2" fmla="*/ 896 w 103079"/>
              <a:gd name="connsiteY2" fmla="*/ 634 h 121005"/>
              <a:gd name="connsiteX3" fmla="*/ 0 w 103079"/>
              <a:gd name="connsiteY3" fmla="*/ 2426 h 121005"/>
              <a:gd name="connsiteX4" fmla="*/ 0 w 103079"/>
              <a:gd name="connsiteY4" fmla="*/ 75030 h 121005"/>
              <a:gd name="connsiteX5" fmla="*/ 0 w 103079"/>
              <a:gd name="connsiteY5" fmla="*/ 122984 h 121005"/>
              <a:gd name="connsiteX6" fmla="*/ 2241 w 103079"/>
              <a:gd name="connsiteY6" fmla="*/ 125225 h 121005"/>
              <a:gd name="connsiteX7" fmla="*/ 4482 w 103079"/>
              <a:gd name="connsiteY7" fmla="*/ 122984 h 121005"/>
              <a:gd name="connsiteX8" fmla="*/ 4482 w 103079"/>
              <a:gd name="connsiteY8" fmla="*/ 76375 h 121005"/>
              <a:gd name="connsiteX9" fmla="*/ 102183 w 103079"/>
              <a:gd name="connsiteY9" fmla="*/ 40521 h 121005"/>
              <a:gd name="connsiteX10" fmla="*/ 103527 w 103079"/>
              <a:gd name="connsiteY10" fmla="*/ 38280 h 121005"/>
              <a:gd name="connsiteX11" fmla="*/ 102183 w 103079"/>
              <a:gd name="connsiteY11" fmla="*/ 36487 h 121005"/>
              <a:gd name="connsiteX12" fmla="*/ 4482 w 103079"/>
              <a:gd name="connsiteY12" fmla="*/ 71893 h 121005"/>
              <a:gd name="connsiteX13" fmla="*/ 4482 w 103079"/>
              <a:gd name="connsiteY13" fmla="*/ 5564 h 121005"/>
              <a:gd name="connsiteX14" fmla="*/ 95012 w 103079"/>
              <a:gd name="connsiteY14" fmla="*/ 38728 h 121005"/>
              <a:gd name="connsiteX15" fmla="*/ 4482 w 103079"/>
              <a:gd name="connsiteY15" fmla="*/ 71893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79" h="121005">
                <a:moveTo>
                  <a:pt x="102183" y="36487"/>
                </a:moveTo>
                <a:lnTo>
                  <a:pt x="3137" y="186"/>
                </a:lnTo>
                <a:cubicBezTo>
                  <a:pt x="2241" y="-263"/>
                  <a:pt x="1793" y="186"/>
                  <a:pt x="896" y="634"/>
                </a:cubicBezTo>
                <a:cubicBezTo>
                  <a:pt x="448" y="1082"/>
                  <a:pt x="0" y="1530"/>
                  <a:pt x="0" y="2426"/>
                </a:cubicBezTo>
                <a:lnTo>
                  <a:pt x="0" y="75030"/>
                </a:lnTo>
                <a:lnTo>
                  <a:pt x="0" y="122984"/>
                </a:lnTo>
                <a:cubicBezTo>
                  <a:pt x="0" y="124329"/>
                  <a:pt x="896" y="125225"/>
                  <a:pt x="2241" y="125225"/>
                </a:cubicBezTo>
                <a:cubicBezTo>
                  <a:pt x="3585" y="125225"/>
                  <a:pt x="4482" y="124329"/>
                  <a:pt x="4482" y="122984"/>
                </a:cubicBezTo>
                <a:lnTo>
                  <a:pt x="4482" y="76375"/>
                </a:lnTo>
                <a:lnTo>
                  <a:pt x="102183" y="40521"/>
                </a:lnTo>
                <a:cubicBezTo>
                  <a:pt x="103079" y="40073"/>
                  <a:pt x="103527" y="39176"/>
                  <a:pt x="103527" y="38280"/>
                </a:cubicBezTo>
                <a:cubicBezTo>
                  <a:pt x="103527" y="37832"/>
                  <a:pt x="103079" y="36936"/>
                  <a:pt x="102183" y="36487"/>
                </a:cubicBezTo>
                <a:close/>
                <a:moveTo>
                  <a:pt x="4482" y="71893"/>
                </a:moveTo>
                <a:lnTo>
                  <a:pt x="4482" y="5564"/>
                </a:lnTo>
                <a:lnTo>
                  <a:pt x="95012" y="38728"/>
                </a:lnTo>
                <a:lnTo>
                  <a:pt x="4482" y="71893"/>
                </a:lnTo>
                <a:close/>
              </a:path>
            </a:pathLst>
          </a:custGeom>
          <a:solidFill>
            <a:srgbClr val="231F20"/>
          </a:solidFill>
          <a:ln w="4477" cap="flat">
            <a:noFill/>
            <a:prstDash val="solid"/>
            <a:miter/>
          </a:ln>
        </p:spPr>
        <p:txBody>
          <a:bodyPr rtlCol="0" anchor="ctr"/>
          <a:lstStyle/>
          <a:p>
            <a:endParaRPr lang="en-US"/>
          </a:p>
        </p:txBody>
      </p:sp>
      <p:sp>
        <p:nvSpPr>
          <p:cNvPr id="2534" name="Freeform: Shape 2533">
            <a:extLst>
              <a:ext uri="{FF2B5EF4-FFF2-40B4-BE49-F238E27FC236}">
                <a16:creationId xmlns:a16="http://schemas.microsoft.com/office/drawing/2014/main" id="{EE1BE653-1A25-4C6F-B8A2-1399764AFF43}"/>
              </a:ext>
              <a:ext uri="{C183D7F6-B498-43B3-948B-1728B52AA6E4}">
                <adec:decorative xmlns:adec="http://schemas.microsoft.com/office/drawing/2017/decorative" val="1"/>
              </a:ext>
            </a:extLst>
          </p:cNvPr>
          <p:cNvSpPr>
            <a:spLocks noChangeAspect="1"/>
          </p:cNvSpPr>
          <p:nvPr/>
        </p:nvSpPr>
        <p:spPr>
          <a:xfrm>
            <a:off x="10076424" y="3145744"/>
            <a:ext cx="98597" cy="125488"/>
          </a:xfrm>
          <a:custGeom>
            <a:avLst/>
            <a:gdLst>
              <a:gd name="connsiteX0" fmla="*/ 69018 w 98597"/>
              <a:gd name="connsiteY0" fmla="*/ 34509 h 125487"/>
              <a:gd name="connsiteX1" fmla="*/ 99942 w 98597"/>
              <a:gd name="connsiteY1" fmla="*/ 3585 h 125487"/>
              <a:gd name="connsiteX2" fmla="*/ 100390 w 98597"/>
              <a:gd name="connsiteY2" fmla="*/ 1345 h 125487"/>
              <a:gd name="connsiteX3" fmla="*/ 98149 w 98597"/>
              <a:gd name="connsiteY3" fmla="*/ 0 h 125487"/>
              <a:gd name="connsiteX4" fmla="*/ 2241 w 98597"/>
              <a:gd name="connsiteY4" fmla="*/ 0 h 125487"/>
              <a:gd name="connsiteX5" fmla="*/ 0 w 98597"/>
              <a:gd name="connsiteY5" fmla="*/ 2241 h 125487"/>
              <a:gd name="connsiteX6" fmla="*/ 0 w 98597"/>
              <a:gd name="connsiteY6" fmla="*/ 67226 h 125487"/>
              <a:gd name="connsiteX7" fmla="*/ 0 w 98597"/>
              <a:gd name="connsiteY7" fmla="*/ 124143 h 125487"/>
              <a:gd name="connsiteX8" fmla="*/ 2241 w 98597"/>
              <a:gd name="connsiteY8" fmla="*/ 126384 h 125487"/>
              <a:gd name="connsiteX9" fmla="*/ 4482 w 98597"/>
              <a:gd name="connsiteY9" fmla="*/ 124143 h 125487"/>
              <a:gd name="connsiteX10" fmla="*/ 4482 w 98597"/>
              <a:gd name="connsiteY10" fmla="*/ 69466 h 125487"/>
              <a:gd name="connsiteX11" fmla="*/ 98149 w 98597"/>
              <a:gd name="connsiteY11" fmla="*/ 69466 h 125487"/>
              <a:gd name="connsiteX12" fmla="*/ 100390 w 98597"/>
              <a:gd name="connsiteY12" fmla="*/ 68122 h 125487"/>
              <a:gd name="connsiteX13" fmla="*/ 99942 w 98597"/>
              <a:gd name="connsiteY13" fmla="*/ 65881 h 125487"/>
              <a:gd name="connsiteX14" fmla="*/ 69018 w 98597"/>
              <a:gd name="connsiteY14" fmla="*/ 34509 h 125487"/>
              <a:gd name="connsiteX15" fmla="*/ 4482 w 98597"/>
              <a:gd name="connsiteY15" fmla="*/ 64985 h 125487"/>
              <a:gd name="connsiteX16" fmla="*/ 4482 w 98597"/>
              <a:gd name="connsiteY16" fmla="*/ 4482 h 125487"/>
              <a:gd name="connsiteX17" fmla="*/ 92771 w 98597"/>
              <a:gd name="connsiteY17" fmla="*/ 4482 h 125487"/>
              <a:gd name="connsiteX18" fmla="*/ 64088 w 98597"/>
              <a:gd name="connsiteY18" fmla="*/ 33165 h 125487"/>
              <a:gd name="connsiteX19" fmla="*/ 64088 w 98597"/>
              <a:gd name="connsiteY19" fmla="*/ 36302 h 125487"/>
              <a:gd name="connsiteX20" fmla="*/ 92771 w 98597"/>
              <a:gd name="connsiteY20" fmla="*/ 64985 h 125487"/>
              <a:gd name="connsiteX21" fmla="*/ 4482 w 98597"/>
              <a:gd name="connsiteY21" fmla="*/ 6498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8597" h="125487">
                <a:moveTo>
                  <a:pt x="69018" y="34509"/>
                </a:moveTo>
                <a:lnTo>
                  <a:pt x="99942" y="3585"/>
                </a:lnTo>
                <a:cubicBezTo>
                  <a:pt x="100390" y="3137"/>
                  <a:pt x="100838" y="1793"/>
                  <a:pt x="100390" y="1345"/>
                </a:cubicBezTo>
                <a:cubicBezTo>
                  <a:pt x="99942" y="448"/>
                  <a:pt x="99046" y="0"/>
                  <a:pt x="98149" y="0"/>
                </a:cubicBezTo>
                <a:lnTo>
                  <a:pt x="2241" y="0"/>
                </a:lnTo>
                <a:cubicBezTo>
                  <a:pt x="896" y="0"/>
                  <a:pt x="0" y="896"/>
                  <a:pt x="0" y="2241"/>
                </a:cubicBezTo>
                <a:lnTo>
                  <a:pt x="0" y="67226"/>
                </a:lnTo>
                <a:lnTo>
                  <a:pt x="0" y="124143"/>
                </a:lnTo>
                <a:cubicBezTo>
                  <a:pt x="0" y="125488"/>
                  <a:pt x="896" y="126384"/>
                  <a:pt x="2241" y="126384"/>
                </a:cubicBezTo>
                <a:cubicBezTo>
                  <a:pt x="3585" y="126384"/>
                  <a:pt x="4482" y="125488"/>
                  <a:pt x="4482" y="124143"/>
                </a:cubicBezTo>
                <a:lnTo>
                  <a:pt x="4482" y="69466"/>
                </a:lnTo>
                <a:lnTo>
                  <a:pt x="98149" y="69466"/>
                </a:lnTo>
                <a:cubicBezTo>
                  <a:pt x="99046" y="69466"/>
                  <a:pt x="99942" y="69018"/>
                  <a:pt x="100390" y="68122"/>
                </a:cubicBezTo>
                <a:cubicBezTo>
                  <a:pt x="100838" y="67226"/>
                  <a:pt x="100390" y="66329"/>
                  <a:pt x="99942" y="65881"/>
                </a:cubicBezTo>
                <a:lnTo>
                  <a:pt x="69018" y="34509"/>
                </a:lnTo>
                <a:close/>
                <a:moveTo>
                  <a:pt x="4482" y="64985"/>
                </a:moveTo>
                <a:lnTo>
                  <a:pt x="4482" y="4482"/>
                </a:lnTo>
                <a:lnTo>
                  <a:pt x="92771" y="4482"/>
                </a:lnTo>
                <a:lnTo>
                  <a:pt x="64088" y="33165"/>
                </a:lnTo>
                <a:cubicBezTo>
                  <a:pt x="63192" y="34061"/>
                  <a:pt x="63192" y="35405"/>
                  <a:pt x="64088" y="36302"/>
                </a:cubicBezTo>
                <a:lnTo>
                  <a:pt x="92771" y="64985"/>
                </a:lnTo>
                <a:lnTo>
                  <a:pt x="4482" y="64985"/>
                </a:lnTo>
                <a:close/>
              </a:path>
            </a:pathLst>
          </a:custGeom>
          <a:solidFill>
            <a:srgbClr val="231F20"/>
          </a:solidFill>
          <a:ln w="4477" cap="flat">
            <a:noFill/>
            <a:prstDash val="solid"/>
            <a:miter/>
          </a:ln>
        </p:spPr>
        <p:txBody>
          <a:bodyPr rtlCol="0" anchor="ctr"/>
          <a:lstStyle/>
          <a:p>
            <a:endParaRPr lang="en-US"/>
          </a:p>
        </p:txBody>
      </p:sp>
      <p:sp>
        <p:nvSpPr>
          <p:cNvPr id="2535" name="Freeform: Shape 2534">
            <a:extLst>
              <a:ext uri="{FF2B5EF4-FFF2-40B4-BE49-F238E27FC236}">
                <a16:creationId xmlns:a16="http://schemas.microsoft.com/office/drawing/2014/main" id="{450A2856-30EE-4879-819A-94B3E662EBB2}"/>
              </a:ext>
              <a:ext uri="{C183D7F6-B498-43B3-948B-1728B52AA6E4}">
                <adec:decorative xmlns:adec="http://schemas.microsoft.com/office/drawing/2017/decorative" val="1"/>
              </a:ext>
            </a:extLst>
          </p:cNvPr>
          <p:cNvSpPr>
            <a:spLocks noChangeAspect="1"/>
          </p:cNvSpPr>
          <p:nvPr/>
        </p:nvSpPr>
        <p:spPr>
          <a:xfrm>
            <a:off x="9816933" y="3145632"/>
            <a:ext cx="94116" cy="125488"/>
          </a:xfrm>
          <a:custGeom>
            <a:avLst/>
            <a:gdLst>
              <a:gd name="connsiteX0" fmla="*/ 96357 w 94115"/>
              <a:gd name="connsiteY0" fmla="*/ 4146 h 125487"/>
              <a:gd name="connsiteX1" fmla="*/ 94116 w 94115"/>
              <a:gd name="connsiteY1" fmla="*/ 4146 h 125487"/>
              <a:gd name="connsiteX2" fmla="*/ 87393 w 94115"/>
              <a:gd name="connsiteY2" fmla="*/ 6835 h 125487"/>
              <a:gd name="connsiteX3" fmla="*/ 53332 w 94115"/>
              <a:gd name="connsiteY3" fmla="*/ 6835 h 125487"/>
              <a:gd name="connsiteX4" fmla="*/ 45713 w 94115"/>
              <a:gd name="connsiteY4" fmla="*/ 3697 h 125487"/>
              <a:gd name="connsiteX5" fmla="*/ 8067 w 94115"/>
              <a:gd name="connsiteY5" fmla="*/ 3697 h 125487"/>
              <a:gd name="connsiteX6" fmla="*/ 1344 w 94115"/>
              <a:gd name="connsiteY6" fmla="*/ 6835 h 125487"/>
              <a:gd name="connsiteX7" fmla="*/ 0 w 94115"/>
              <a:gd name="connsiteY7" fmla="*/ 9075 h 125487"/>
              <a:gd name="connsiteX8" fmla="*/ 0 w 94115"/>
              <a:gd name="connsiteY8" fmla="*/ 68682 h 125487"/>
              <a:gd name="connsiteX9" fmla="*/ 0 w 94115"/>
              <a:gd name="connsiteY9" fmla="*/ 124255 h 125487"/>
              <a:gd name="connsiteX10" fmla="*/ 2241 w 94115"/>
              <a:gd name="connsiteY10" fmla="*/ 126496 h 125487"/>
              <a:gd name="connsiteX11" fmla="*/ 4482 w 94115"/>
              <a:gd name="connsiteY11" fmla="*/ 124255 h 125487"/>
              <a:gd name="connsiteX12" fmla="*/ 4482 w 94115"/>
              <a:gd name="connsiteY12" fmla="*/ 70027 h 125487"/>
              <a:gd name="connsiteX13" fmla="*/ 9860 w 94115"/>
              <a:gd name="connsiteY13" fmla="*/ 67786 h 125487"/>
              <a:gd name="connsiteX14" fmla="*/ 43921 w 94115"/>
              <a:gd name="connsiteY14" fmla="*/ 67786 h 125487"/>
              <a:gd name="connsiteX15" fmla="*/ 51540 w 94115"/>
              <a:gd name="connsiteY15" fmla="*/ 70923 h 125487"/>
              <a:gd name="connsiteX16" fmla="*/ 70363 w 94115"/>
              <a:gd name="connsiteY16" fmla="*/ 74508 h 125487"/>
              <a:gd name="connsiteX17" fmla="*/ 89186 w 94115"/>
              <a:gd name="connsiteY17" fmla="*/ 70475 h 125487"/>
              <a:gd name="connsiteX18" fmla="*/ 95909 w 94115"/>
              <a:gd name="connsiteY18" fmla="*/ 67338 h 125487"/>
              <a:gd name="connsiteX19" fmla="*/ 97253 w 94115"/>
              <a:gd name="connsiteY19" fmla="*/ 65097 h 125487"/>
              <a:gd name="connsiteX20" fmla="*/ 97253 w 94115"/>
              <a:gd name="connsiteY20" fmla="*/ 5938 h 125487"/>
              <a:gd name="connsiteX21" fmla="*/ 96357 w 94115"/>
              <a:gd name="connsiteY21" fmla="*/ 4146 h 125487"/>
              <a:gd name="connsiteX22" fmla="*/ 92771 w 94115"/>
              <a:gd name="connsiteY22" fmla="*/ 64200 h 125487"/>
              <a:gd name="connsiteX23" fmla="*/ 87393 w 94115"/>
              <a:gd name="connsiteY23" fmla="*/ 66441 h 125487"/>
              <a:gd name="connsiteX24" fmla="*/ 53332 w 94115"/>
              <a:gd name="connsiteY24" fmla="*/ 66441 h 125487"/>
              <a:gd name="connsiteX25" fmla="*/ 45713 w 94115"/>
              <a:gd name="connsiteY25" fmla="*/ 63304 h 125487"/>
              <a:gd name="connsiteX26" fmla="*/ 26890 w 94115"/>
              <a:gd name="connsiteY26" fmla="*/ 59719 h 125487"/>
              <a:gd name="connsiteX27" fmla="*/ 7619 w 94115"/>
              <a:gd name="connsiteY27" fmla="*/ 63752 h 125487"/>
              <a:gd name="connsiteX28" fmla="*/ 4034 w 94115"/>
              <a:gd name="connsiteY28" fmla="*/ 65545 h 125487"/>
              <a:gd name="connsiteX29" fmla="*/ 4034 w 94115"/>
              <a:gd name="connsiteY29" fmla="*/ 10420 h 125487"/>
              <a:gd name="connsiteX30" fmla="*/ 9411 w 94115"/>
              <a:gd name="connsiteY30" fmla="*/ 8179 h 125487"/>
              <a:gd name="connsiteX31" fmla="*/ 43473 w 94115"/>
              <a:gd name="connsiteY31" fmla="*/ 8179 h 125487"/>
              <a:gd name="connsiteX32" fmla="*/ 51092 w 94115"/>
              <a:gd name="connsiteY32" fmla="*/ 11316 h 125487"/>
              <a:gd name="connsiteX33" fmla="*/ 88738 w 94115"/>
              <a:gd name="connsiteY33" fmla="*/ 11316 h 125487"/>
              <a:gd name="connsiteX34" fmla="*/ 92323 w 94115"/>
              <a:gd name="connsiteY34" fmla="*/ 9524 h 125487"/>
              <a:gd name="connsiteX35" fmla="*/ 92323 w 94115"/>
              <a:gd name="connsiteY35" fmla="*/ 6420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4115" h="125487">
                <a:moveTo>
                  <a:pt x="96357" y="4146"/>
                </a:moveTo>
                <a:cubicBezTo>
                  <a:pt x="95909" y="3697"/>
                  <a:pt x="95012" y="3697"/>
                  <a:pt x="94116" y="4146"/>
                </a:cubicBezTo>
                <a:lnTo>
                  <a:pt x="87393" y="6835"/>
                </a:lnTo>
                <a:cubicBezTo>
                  <a:pt x="76637" y="11316"/>
                  <a:pt x="64088" y="11316"/>
                  <a:pt x="53332" y="6835"/>
                </a:cubicBezTo>
                <a:lnTo>
                  <a:pt x="45713" y="3697"/>
                </a:lnTo>
                <a:cubicBezTo>
                  <a:pt x="33613" y="-1232"/>
                  <a:pt x="19720" y="-1232"/>
                  <a:pt x="8067" y="3697"/>
                </a:cubicBezTo>
                <a:lnTo>
                  <a:pt x="1344" y="6835"/>
                </a:lnTo>
                <a:cubicBezTo>
                  <a:pt x="448" y="7283"/>
                  <a:pt x="0" y="8179"/>
                  <a:pt x="0" y="9075"/>
                </a:cubicBezTo>
                <a:lnTo>
                  <a:pt x="0" y="68682"/>
                </a:lnTo>
                <a:lnTo>
                  <a:pt x="0" y="124255"/>
                </a:lnTo>
                <a:cubicBezTo>
                  <a:pt x="0" y="125600"/>
                  <a:pt x="896" y="126496"/>
                  <a:pt x="2241" y="126496"/>
                </a:cubicBezTo>
                <a:cubicBezTo>
                  <a:pt x="3585" y="126496"/>
                  <a:pt x="4482" y="125600"/>
                  <a:pt x="4482" y="124255"/>
                </a:cubicBezTo>
                <a:lnTo>
                  <a:pt x="4482" y="70027"/>
                </a:lnTo>
                <a:lnTo>
                  <a:pt x="9860" y="67786"/>
                </a:lnTo>
                <a:cubicBezTo>
                  <a:pt x="20616" y="63304"/>
                  <a:pt x="33165" y="62856"/>
                  <a:pt x="43921" y="67786"/>
                </a:cubicBezTo>
                <a:lnTo>
                  <a:pt x="51540" y="70923"/>
                </a:lnTo>
                <a:cubicBezTo>
                  <a:pt x="57366" y="73612"/>
                  <a:pt x="63640" y="74508"/>
                  <a:pt x="70363" y="74508"/>
                </a:cubicBezTo>
                <a:cubicBezTo>
                  <a:pt x="77085" y="74508"/>
                  <a:pt x="83360" y="73164"/>
                  <a:pt x="89186" y="70475"/>
                </a:cubicBezTo>
                <a:lnTo>
                  <a:pt x="95909" y="67338"/>
                </a:lnTo>
                <a:cubicBezTo>
                  <a:pt x="96805" y="66889"/>
                  <a:pt x="97253" y="65993"/>
                  <a:pt x="97253" y="65097"/>
                </a:cubicBezTo>
                <a:lnTo>
                  <a:pt x="97253" y="5938"/>
                </a:lnTo>
                <a:cubicBezTo>
                  <a:pt x="97253" y="5042"/>
                  <a:pt x="96805" y="4594"/>
                  <a:pt x="96357" y="4146"/>
                </a:cubicBezTo>
                <a:close/>
                <a:moveTo>
                  <a:pt x="92771" y="64200"/>
                </a:moveTo>
                <a:lnTo>
                  <a:pt x="87393" y="66441"/>
                </a:lnTo>
                <a:cubicBezTo>
                  <a:pt x="76637" y="70923"/>
                  <a:pt x="64088" y="70923"/>
                  <a:pt x="53332" y="66441"/>
                </a:cubicBezTo>
                <a:lnTo>
                  <a:pt x="45713" y="63304"/>
                </a:lnTo>
                <a:cubicBezTo>
                  <a:pt x="39887" y="60615"/>
                  <a:pt x="33613" y="59719"/>
                  <a:pt x="26890" y="59719"/>
                </a:cubicBezTo>
                <a:cubicBezTo>
                  <a:pt x="20168" y="59719"/>
                  <a:pt x="13893" y="61063"/>
                  <a:pt x="7619" y="63752"/>
                </a:cubicBezTo>
                <a:lnTo>
                  <a:pt x="4034" y="65545"/>
                </a:lnTo>
                <a:lnTo>
                  <a:pt x="4034" y="10420"/>
                </a:lnTo>
                <a:lnTo>
                  <a:pt x="9411" y="8179"/>
                </a:lnTo>
                <a:cubicBezTo>
                  <a:pt x="20168" y="3697"/>
                  <a:pt x="32716" y="3249"/>
                  <a:pt x="43473" y="8179"/>
                </a:cubicBezTo>
                <a:lnTo>
                  <a:pt x="51092" y="11316"/>
                </a:lnTo>
                <a:cubicBezTo>
                  <a:pt x="62744" y="16246"/>
                  <a:pt x="76637" y="16246"/>
                  <a:pt x="88738" y="11316"/>
                </a:cubicBezTo>
                <a:lnTo>
                  <a:pt x="92323" y="9524"/>
                </a:lnTo>
                <a:lnTo>
                  <a:pt x="92323" y="64200"/>
                </a:lnTo>
                <a:close/>
              </a:path>
            </a:pathLst>
          </a:custGeom>
          <a:solidFill>
            <a:srgbClr val="231F20"/>
          </a:solidFill>
          <a:ln w="4477" cap="flat">
            <a:noFill/>
            <a:prstDash val="solid"/>
            <a:miter/>
          </a:ln>
        </p:spPr>
        <p:txBody>
          <a:bodyPr rtlCol="0" anchor="ctr"/>
          <a:lstStyle/>
          <a:p>
            <a:endParaRPr lang="en-US"/>
          </a:p>
        </p:txBody>
      </p:sp>
      <p:sp>
        <p:nvSpPr>
          <p:cNvPr id="2543" name="Freeform: Shape 2542">
            <a:extLst>
              <a:ext uri="{FF2B5EF4-FFF2-40B4-BE49-F238E27FC236}">
                <a16:creationId xmlns:a16="http://schemas.microsoft.com/office/drawing/2014/main" id="{50CA1FD9-A32D-4D1D-89DF-89AC0FAE8949}"/>
              </a:ext>
              <a:ext uri="{C183D7F6-B498-43B3-948B-1728B52AA6E4}">
                <adec:decorative xmlns:adec="http://schemas.microsoft.com/office/drawing/2017/decorative" val="1"/>
              </a:ext>
            </a:extLst>
          </p:cNvPr>
          <p:cNvSpPr>
            <a:spLocks noChangeAspect="1"/>
          </p:cNvSpPr>
          <p:nvPr/>
        </p:nvSpPr>
        <p:spPr>
          <a:xfrm>
            <a:off x="9545790" y="3145744"/>
            <a:ext cx="94116" cy="125488"/>
          </a:xfrm>
          <a:custGeom>
            <a:avLst/>
            <a:gdLst>
              <a:gd name="connsiteX0" fmla="*/ 93219 w 94115"/>
              <a:gd name="connsiteY0" fmla="*/ 0 h 125487"/>
              <a:gd name="connsiteX1" fmla="*/ 2241 w 94115"/>
              <a:gd name="connsiteY1" fmla="*/ 0 h 125487"/>
              <a:gd name="connsiteX2" fmla="*/ 0 w 94115"/>
              <a:gd name="connsiteY2" fmla="*/ 2241 h 125487"/>
              <a:gd name="connsiteX3" fmla="*/ 0 w 94115"/>
              <a:gd name="connsiteY3" fmla="*/ 67226 h 125487"/>
              <a:gd name="connsiteX4" fmla="*/ 0 w 94115"/>
              <a:gd name="connsiteY4" fmla="*/ 124143 h 125487"/>
              <a:gd name="connsiteX5" fmla="*/ 2241 w 94115"/>
              <a:gd name="connsiteY5" fmla="*/ 126384 h 125487"/>
              <a:gd name="connsiteX6" fmla="*/ 4482 w 94115"/>
              <a:gd name="connsiteY6" fmla="*/ 124143 h 125487"/>
              <a:gd name="connsiteX7" fmla="*/ 4482 w 94115"/>
              <a:gd name="connsiteY7" fmla="*/ 69466 h 125487"/>
              <a:gd name="connsiteX8" fmla="*/ 93219 w 94115"/>
              <a:gd name="connsiteY8" fmla="*/ 69466 h 125487"/>
              <a:gd name="connsiteX9" fmla="*/ 95460 w 94115"/>
              <a:gd name="connsiteY9" fmla="*/ 67226 h 125487"/>
              <a:gd name="connsiteX10" fmla="*/ 95460 w 94115"/>
              <a:gd name="connsiteY10" fmla="*/ 2241 h 125487"/>
              <a:gd name="connsiteX11" fmla="*/ 93219 w 94115"/>
              <a:gd name="connsiteY11" fmla="*/ 0 h 125487"/>
              <a:gd name="connsiteX12" fmla="*/ 90978 w 94115"/>
              <a:gd name="connsiteY12" fmla="*/ 64985 h 125487"/>
              <a:gd name="connsiteX13" fmla="*/ 4482 w 94115"/>
              <a:gd name="connsiteY13" fmla="*/ 64985 h 125487"/>
              <a:gd name="connsiteX14" fmla="*/ 4482 w 94115"/>
              <a:gd name="connsiteY14" fmla="*/ 4482 h 125487"/>
              <a:gd name="connsiteX15" fmla="*/ 90978 w 94115"/>
              <a:gd name="connsiteY15" fmla="*/ 4482 h 125487"/>
              <a:gd name="connsiteX16" fmla="*/ 90978 w 94115"/>
              <a:gd name="connsiteY16" fmla="*/ 6498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115" h="125487">
                <a:moveTo>
                  <a:pt x="93219" y="0"/>
                </a:moveTo>
                <a:lnTo>
                  <a:pt x="2241" y="0"/>
                </a:lnTo>
                <a:cubicBezTo>
                  <a:pt x="896" y="0"/>
                  <a:pt x="0" y="896"/>
                  <a:pt x="0" y="2241"/>
                </a:cubicBezTo>
                <a:lnTo>
                  <a:pt x="0" y="67226"/>
                </a:lnTo>
                <a:lnTo>
                  <a:pt x="0" y="124143"/>
                </a:lnTo>
                <a:cubicBezTo>
                  <a:pt x="0" y="125488"/>
                  <a:pt x="896" y="126384"/>
                  <a:pt x="2241" y="126384"/>
                </a:cubicBezTo>
                <a:cubicBezTo>
                  <a:pt x="3585" y="126384"/>
                  <a:pt x="4482" y="125488"/>
                  <a:pt x="4482" y="124143"/>
                </a:cubicBezTo>
                <a:lnTo>
                  <a:pt x="4482" y="69466"/>
                </a:lnTo>
                <a:lnTo>
                  <a:pt x="93219" y="69466"/>
                </a:lnTo>
                <a:cubicBezTo>
                  <a:pt x="94564" y="69466"/>
                  <a:pt x="95460" y="68570"/>
                  <a:pt x="95460" y="67226"/>
                </a:cubicBezTo>
                <a:lnTo>
                  <a:pt x="95460" y="2241"/>
                </a:lnTo>
                <a:cubicBezTo>
                  <a:pt x="95460" y="896"/>
                  <a:pt x="94564" y="0"/>
                  <a:pt x="93219" y="0"/>
                </a:cubicBezTo>
                <a:close/>
                <a:moveTo>
                  <a:pt x="90978" y="64985"/>
                </a:moveTo>
                <a:lnTo>
                  <a:pt x="4482" y="64985"/>
                </a:lnTo>
                <a:lnTo>
                  <a:pt x="4482" y="4482"/>
                </a:lnTo>
                <a:lnTo>
                  <a:pt x="90978" y="4482"/>
                </a:lnTo>
                <a:lnTo>
                  <a:pt x="90978" y="64985"/>
                </a:lnTo>
                <a:close/>
              </a:path>
            </a:pathLst>
          </a:custGeom>
          <a:solidFill>
            <a:srgbClr val="231F20"/>
          </a:solidFill>
          <a:ln w="4477" cap="flat">
            <a:noFill/>
            <a:prstDash val="solid"/>
            <a:miter/>
          </a:ln>
        </p:spPr>
        <p:txBody>
          <a:bodyPr rtlCol="0" anchor="ctr"/>
          <a:lstStyle/>
          <a:p>
            <a:endParaRPr lang="en-US"/>
          </a:p>
        </p:txBody>
      </p:sp>
      <p:sp>
        <p:nvSpPr>
          <p:cNvPr id="2556" name="Freeform: Shape 2555">
            <a:extLst>
              <a:ext uri="{FF2B5EF4-FFF2-40B4-BE49-F238E27FC236}">
                <a16:creationId xmlns:a16="http://schemas.microsoft.com/office/drawing/2014/main" id="{C78C4AF8-1FE7-4E09-9CF3-D9CFAE6A558D}"/>
              </a:ext>
              <a:ext uri="{C183D7F6-B498-43B3-948B-1728B52AA6E4}">
                <adec:decorative xmlns:adec="http://schemas.microsoft.com/office/drawing/2017/decorative" val="1"/>
              </a:ext>
            </a:extLst>
          </p:cNvPr>
          <p:cNvSpPr>
            <a:spLocks noChangeAspect="1"/>
          </p:cNvSpPr>
          <p:nvPr/>
        </p:nvSpPr>
        <p:spPr>
          <a:xfrm>
            <a:off x="10600783" y="3149592"/>
            <a:ext cx="107561" cy="107561"/>
          </a:xfrm>
          <a:custGeom>
            <a:avLst/>
            <a:gdLst>
              <a:gd name="connsiteX0" fmla="*/ 71259 w 107560"/>
              <a:gd name="connsiteY0" fmla="*/ 110436 h 107560"/>
              <a:gd name="connsiteX1" fmla="*/ 69018 w 107560"/>
              <a:gd name="connsiteY1" fmla="*/ 109091 h 107560"/>
              <a:gd name="connsiteX2" fmla="*/ 50195 w 107560"/>
              <a:gd name="connsiteY2" fmla="*/ 60240 h 107560"/>
              <a:gd name="connsiteX3" fmla="*/ 1344 w 107560"/>
              <a:gd name="connsiteY3" fmla="*/ 41417 h 107560"/>
              <a:gd name="connsiteX4" fmla="*/ 0 w 107560"/>
              <a:gd name="connsiteY4" fmla="*/ 39176 h 107560"/>
              <a:gd name="connsiteX5" fmla="*/ 1344 w 107560"/>
              <a:gd name="connsiteY5" fmla="*/ 36936 h 107560"/>
              <a:gd name="connsiteX6" fmla="*/ 107113 w 107560"/>
              <a:gd name="connsiteY6" fmla="*/ 186 h 107560"/>
              <a:gd name="connsiteX7" fmla="*/ 109353 w 107560"/>
              <a:gd name="connsiteY7" fmla="*/ 634 h 107560"/>
              <a:gd name="connsiteX8" fmla="*/ 110250 w 107560"/>
              <a:gd name="connsiteY8" fmla="*/ 3323 h 107560"/>
              <a:gd name="connsiteX9" fmla="*/ 73500 w 107560"/>
              <a:gd name="connsiteY9" fmla="*/ 109091 h 107560"/>
              <a:gd name="connsiteX10" fmla="*/ 71259 w 107560"/>
              <a:gd name="connsiteY10" fmla="*/ 110436 h 107560"/>
              <a:gd name="connsiteX11" fmla="*/ 71259 w 107560"/>
              <a:gd name="connsiteY11" fmla="*/ 110436 h 107560"/>
              <a:gd name="connsiteX12" fmla="*/ 8963 w 107560"/>
              <a:gd name="connsiteY12" fmla="*/ 39176 h 107560"/>
              <a:gd name="connsiteX13" fmla="*/ 53332 w 107560"/>
              <a:gd name="connsiteY13" fmla="*/ 56207 h 107560"/>
              <a:gd name="connsiteX14" fmla="*/ 54677 w 107560"/>
              <a:gd name="connsiteY14" fmla="*/ 57551 h 107560"/>
              <a:gd name="connsiteX15" fmla="*/ 71707 w 107560"/>
              <a:gd name="connsiteY15" fmla="*/ 101920 h 107560"/>
              <a:gd name="connsiteX16" fmla="*/ 104872 w 107560"/>
              <a:gd name="connsiteY16" fmla="*/ 6460 h 107560"/>
              <a:gd name="connsiteX17" fmla="*/ 8963 w 107560"/>
              <a:gd name="connsiteY17" fmla="*/ 39176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560" h="107560">
                <a:moveTo>
                  <a:pt x="71259" y="110436"/>
                </a:moveTo>
                <a:cubicBezTo>
                  <a:pt x="70363" y="110436"/>
                  <a:pt x="69466" y="109987"/>
                  <a:pt x="69018" y="109091"/>
                </a:cubicBezTo>
                <a:lnTo>
                  <a:pt x="50195" y="60240"/>
                </a:lnTo>
                <a:lnTo>
                  <a:pt x="1344" y="41417"/>
                </a:lnTo>
                <a:cubicBezTo>
                  <a:pt x="448" y="40969"/>
                  <a:pt x="0" y="40073"/>
                  <a:pt x="0" y="39176"/>
                </a:cubicBezTo>
                <a:cubicBezTo>
                  <a:pt x="0" y="38280"/>
                  <a:pt x="448" y="37384"/>
                  <a:pt x="1344" y="36936"/>
                </a:cubicBezTo>
                <a:lnTo>
                  <a:pt x="107113" y="186"/>
                </a:lnTo>
                <a:cubicBezTo>
                  <a:pt x="108009" y="-263"/>
                  <a:pt x="108905" y="186"/>
                  <a:pt x="109353" y="634"/>
                </a:cubicBezTo>
                <a:cubicBezTo>
                  <a:pt x="110250" y="1530"/>
                  <a:pt x="110250" y="2426"/>
                  <a:pt x="110250" y="3323"/>
                </a:cubicBezTo>
                <a:lnTo>
                  <a:pt x="73500" y="109091"/>
                </a:lnTo>
                <a:cubicBezTo>
                  <a:pt x="73052" y="109987"/>
                  <a:pt x="72155" y="110436"/>
                  <a:pt x="71259" y="110436"/>
                </a:cubicBezTo>
                <a:cubicBezTo>
                  <a:pt x="71259" y="110436"/>
                  <a:pt x="71259" y="110436"/>
                  <a:pt x="71259" y="110436"/>
                </a:cubicBezTo>
                <a:close/>
                <a:moveTo>
                  <a:pt x="8963" y="39176"/>
                </a:moveTo>
                <a:lnTo>
                  <a:pt x="53332" y="56207"/>
                </a:lnTo>
                <a:cubicBezTo>
                  <a:pt x="53780" y="56655"/>
                  <a:pt x="54228" y="57103"/>
                  <a:pt x="54677" y="57551"/>
                </a:cubicBezTo>
                <a:lnTo>
                  <a:pt x="71707" y="101920"/>
                </a:lnTo>
                <a:lnTo>
                  <a:pt x="104872" y="6460"/>
                </a:lnTo>
                <a:lnTo>
                  <a:pt x="8963" y="39176"/>
                </a:lnTo>
                <a:close/>
              </a:path>
            </a:pathLst>
          </a:custGeom>
          <a:solidFill>
            <a:srgbClr val="231F20"/>
          </a:solidFill>
          <a:ln w="4477" cap="flat">
            <a:noFill/>
            <a:prstDash val="solid"/>
            <a:miter/>
          </a:ln>
        </p:spPr>
        <p:txBody>
          <a:bodyPr rtlCol="0" anchor="ctr"/>
          <a:lstStyle/>
          <a:p>
            <a:endParaRPr lang="en-US"/>
          </a:p>
        </p:txBody>
      </p:sp>
      <p:grpSp>
        <p:nvGrpSpPr>
          <p:cNvPr id="2557" name="Group 2556">
            <a:extLst>
              <a:ext uri="{FF2B5EF4-FFF2-40B4-BE49-F238E27FC236}">
                <a16:creationId xmlns:a16="http://schemas.microsoft.com/office/drawing/2014/main" id="{8A3A114D-651C-46E7-BF31-B057AFCE2E29}"/>
              </a:ext>
              <a:ext uri="{C183D7F6-B498-43B3-948B-1728B52AA6E4}">
                <adec:decorative xmlns:adec="http://schemas.microsoft.com/office/drawing/2017/decorative" val="1"/>
              </a:ext>
            </a:extLst>
          </p:cNvPr>
          <p:cNvGrpSpPr>
            <a:grpSpLocks noChangeAspect="1"/>
          </p:cNvGrpSpPr>
          <p:nvPr/>
        </p:nvGrpSpPr>
        <p:grpSpPr>
          <a:xfrm>
            <a:off x="9272855" y="3118899"/>
            <a:ext cx="112043" cy="147896"/>
            <a:chOff x="9390969" y="1063537"/>
            <a:chExt cx="112043" cy="147896"/>
          </a:xfrm>
        </p:grpSpPr>
        <p:sp>
          <p:nvSpPr>
            <p:cNvPr id="2558" name="Freeform: Shape 2557">
              <a:extLst>
                <a:ext uri="{FF2B5EF4-FFF2-40B4-BE49-F238E27FC236}">
                  <a16:creationId xmlns:a16="http://schemas.microsoft.com/office/drawing/2014/main" id="{F367FA6F-5C4D-4AF7-99D8-2FB31D66EB43}"/>
                </a:ext>
              </a:extLst>
            </p:cNvPr>
            <p:cNvSpPr/>
            <p:nvPr/>
          </p:nvSpPr>
          <p:spPr>
            <a:xfrm>
              <a:off x="9465813" y="1109654"/>
              <a:ext cx="35854" cy="35854"/>
            </a:xfrm>
            <a:custGeom>
              <a:avLst/>
              <a:gdLst>
                <a:gd name="connsiteX0" fmla="*/ 36302 w 35853"/>
                <a:gd name="connsiteY0" fmla="*/ 0 h 35853"/>
                <a:gd name="connsiteX1" fmla="*/ 36302 w 35853"/>
                <a:gd name="connsiteY1" fmla="*/ 32268 h 35853"/>
                <a:gd name="connsiteX2" fmla="*/ 0 w 35853"/>
                <a:gd name="connsiteY2" fmla="*/ 34061 h 35853"/>
                <a:gd name="connsiteX3" fmla="*/ 0 w 35853"/>
                <a:gd name="connsiteY3" fmla="*/ 1793 h 35853"/>
                <a:gd name="connsiteX4" fmla="*/ 36302 w 35853"/>
                <a:gd name="connsiteY4" fmla="*/ 0 h 35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3" h="35853">
                  <a:moveTo>
                    <a:pt x="36302" y="0"/>
                  </a:moveTo>
                  <a:cubicBezTo>
                    <a:pt x="36302" y="10756"/>
                    <a:pt x="36302" y="21512"/>
                    <a:pt x="36302" y="32268"/>
                  </a:cubicBezTo>
                  <a:cubicBezTo>
                    <a:pt x="22857" y="38094"/>
                    <a:pt x="11204" y="37198"/>
                    <a:pt x="0" y="34061"/>
                  </a:cubicBezTo>
                  <a:lnTo>
                    <a:pt x="0" y="1793"/>
                  </a:lnTo>
                  <a:cubicBezTo>
                    <a:pt x="11204" y="4930"/>
                    <a:pt x="22857" y="5826"/>
                    <a:pt x="36302" y="0"/>
                  </a:cubicBezTo>
                  <a:close/>
                </a:path>
              </a:pathLst>
            </a:custGeom>
            <a:solidFill>
              <a:srgbClr val="231F20"/>
            </a:solidFill>
            <a:ln w="4477" cap="flat">
              <a:noFill/>
              <a:prstDash val="solid"/>
              <a:miter/>
            </a:ln>
          </p:spPr>
          <p:txBody>
            <a:bodyPr rtlCol="0" anchor="ctr"/>
            <a:lstStyle/>
            <a:p>
              <a:endParaRPr lang="en-US"/>
            </a:p>
          </p:txBody>
        </p:sp>
        <p:sp>
          <p:nvSpPr>
            <p:cNvPr id="2559" name="Freeform: Shape 2558">
              <a:extLst>
                <a:ext uri="{FF2B5EF4-FFF2-40B4-BE49-F238E27FC236}">
                  <a16:creationId xmlns:a16="http://schemas.microsoft.com/office/drawing/2014/main" id="{47922339-6A8D-45E6-944F-4ACB1D492624}"/>
                </a:ext>
              </a:extLst>
            </p:cNvPr>
            <p:cNvSpPr/>
            <p:nvPr/>
          </p:nvSpPr>
          <p:spPr>
            <a:xfrm>
              <a:off x="9429511" y="1130718"/>
              <a:ext cx="35854" cy="44817"/>
            </a:xfrm>
            <a:custGeom>
              <a:avLst/>
              <a:gdLst>
                <a:gd name="connsiteX0" fmla="*/ 36302 w 35853"/>
                <a:gd name="connsiteY0" fmla="*/ 12997 h 44817"/>
                <a:gd name="connsiteX1" fmla="*/ 36302 w 35853"/>
                <a:gd name="connsiteY1" fmla="*/ 45265 h 44817"/>
                <a:gd name="connsiteX2" fmla="*/ 0 w 35853"/>
                <a:gd name="connsiteY2" fmla="*/ 32268 h 44817"/>
                <a:gd name="connsiteX3" fmla="*/ 0 w 35853"/>
                <a:gd name="connsiteY3" fmla="*/ 31372 h 44817"/>
                <a:gd name="connsiteX4" fmla="*/ 0 w 35853"/>
                <a:gd name="connsiteY4" fmla="*/ 0 h 44817"/>
                <a:gd name="connsiteX5" fmla="*/ 36302 w 35853"/>
                <a:gd name="connsiteY5" fmla="*/ 12997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53" h="44817">
                  <a:moveTo>
                    <a:pt x="36302" y="12997"/>
                  </a:moveTo>
                  <a:lnTo>
                    <a:pt x="36302" y="45265"/>
                  </a:lnTo>
                  <a:cubicBezTo>
                    <a:pt x="23753" y="41680"/>
                    <a:pt x="11652" y="34957"/>
                    <a:pt x="0" y="32268"/>
                  </a:cubicBezTo>
                  <a:lnTo>
                    <a:pt x="0" y="31372"/>
                  </a:lnTo>
                  <a:lnTo>
                    <a:pt x="0" y="0"/>
                  </a:lnTo>
                  <a:cubicBezTo>
                    <a:pt x="11652" y="2689"/>
                    <a:pt x="23305" y="8963"/>
                    <a:pt x="36302" y="12997"/>
                  </a:cubicBezTo>
                  <a:close/>
                </a:path>
              </a:pathLst>
            </a:custGeom>
            <a:solidFill>
              <a:srgbClr val="231F20"/>
            </a:solidFill>
            <a:ln w="4477" cap="flat">
              <a:noFill/>
              <a:prstDash val="solid"/>
              <a:miter/>
            </a:ln>
          </p:spPr>
          <p:txBody>
            <a:bodyPr rtlCol="0" anchor="ctr"/>
            <a:lstStyle/>
            <a:p>
              <a:endParaRPr lang="en-US"/>
            </a:p>
          </p:txBody>
        </p:sp>
        <p:sp>
          <p:nvSpPr>
            <p:cNvPr id="2560" name="Freeform: Shape 2559">
              <a:extLst>
                <a:ext uri="{FF2B5EF4-FFF2-40B4-BE49-F238E27FC236}">
                  <a16:creationId xmlns:a16="http://schemas.microsoft.com/office/drawing/2014/main" id="{5BFF5FA0-A03F-4744-BD36-58A55A1608E3}"/>
                </a:ext>
              </a:extLst>
            </p:cNvPr>
            <p:cNvSpPr/>
            <p:nvPr/>
          </p:nvSpPr>
          <p:spPr>
            <a:xfrm>
              <a:off x="9429511" y="1066629"/>
              <a:ext cx="35854" cy="40335"/>
            </a:xfrm>
            <a:custGeom>
              <a:avLst/>
              <a:gdLst>
                <a:gd name="connsiteX0" fmla="*/ 36302 w 35853"/>
                <a:gd name="connsiteY0" fmla="*/ 12549 h 40335"/>
                <a:gd name="connsiteX1" fmla="*/ 36302 w 35853"/>
                <a:gd name="connsiteY1" fmla="*/ 44369 h 40335"/>
                <a:gd name="connsiteX2" fmla="*/ 0 w 35853"/>
                <a:gd name="connsiteY2" fmla="*/ 31820 h 40335"/>
                <a:gd name="connsiteX3" fmla="*/ 0 w 35853"/>
                <a:gd name="connsiteY3" fmla="*/ 0 h 40335"/>
                <a:gd name="connsiteX4" fmla="*/ 36302 w 35853"/>
                <a:gd name="connsiteY4" fmla="*/ 12549 h 4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3" h="40335">
                  <a:moveTo>
                    <a:pt x="36302" y="12549"/>
                  </a:moveTo>
                  <a:lnTo>
                    <a:pt x="36302" y="44369"/>
                  </a:lnTo>
                  <a:cubicBezTo>
                    <a:pt x="23753" y="40783"/>
                    <a:pt x="11652" y="34061"/>
                    <a:pt x="0" y="31820"/>
                  </a:cubicBezTo>
                  <a:lnTo>
                    <a:pt x="0" y="0"/>
                  </a:lnTo>
                  <a:cubicBezTo>
                    <a:pt x="11652" y="2241"/>
                    <a:pt x="23305" y="8963"/>
                    <a:pt x="36302" y="12549"/>
                  </a:cubicBezTo>
                  <a:close/>
                </a:path>
              </a:pathLst>
            </a:custGeom>
            <a:solidFill>
              <a:srgbClr val="231F20"/>
            </a:solidFill>
            <a:ln w="4477" cap="flat">
              <a:noFill/>
              <a:prstDash val="solid"/>
              <a:miter/>
            </a:ln>
          </p:spPr>
          <p:txBody>
            <a:bodyPr rtlCol="0" anchor="ctr"/>
            <a:lstStyle/>
            <a:p>
              <a:endParaRPr lang="en-US"/>
            </a:p>
          </p:txBody>
        </p:sp>
        <p:sp>
          <p:nvSpPr>
            <p:cNvPr id="2561" name="Freeform: Shape 2560">
              <a:extLst>
                <a:ext uri="{FF2B5EF4-FFF2-40B4-BE49-F238E27FC236}">
                  <a16:creationId xmlns:a16="http://schemas.microsoft.com/office/drawing/2014/main" id="{265D638A-0B58-4FB2-B679-E394B76EE214}"/>
                </a:ext>
              </a:extLst>
            </p:cNvPr>
            <p:cNvSpPr/>
            <p:nvPr/>
          </p:nvSpPr>
          <p:spPr>
            <a:xfrm>
              <a:off x="9393209" y="1097619"/>
              <a:ext cx="35854" cy="40335"/>
            </a:xfrm>
            <a:custGeom>
              <a:avLst/>
              <a:gdLst>
                <a:gd name="connsiteX0" fmla="*/ 36302 w 35853"/>
                <a:gd name="connsiteY0" fmla="*/ 830 h 40335"/>
                <a:gd name="connsiteX1" fmla="*/ 36302 w 35853"/>
                <a:gd name="connsiteY1" fmla="*/ 33098 h 40335"/>
                <a:gd name="connsiteX2" fmla="*/ 0 w 35853"/>
                <a:gd name="connsiteY2" fmla="*/ 44751 h 40335"/>
                <a:gd name="connsiteX3" fmla="*/ 0 w 35853"/>
                <a:gd name="connsiteY3" fmla="*/ 12483 h 40335"/>
                <a:gd name="connsiteX4" fmla="*/ 36302 w 35853"/>
                <a:gd name="connsiteY4" fmla="*/ 830 h 4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3" h="40335">
                  <a:moveTo>
                    <a:pt x="36302" y="830"/>
                  </a:moveTo>
                  <a:lnTo>
                    <a:pt x="36302" y="33098"/>
                  </a:lnTo>
                  <a:cubicBezTo>
                    <a:pt x="24649" y="30858"/>
                    <a:pt x="12997" y="32202"/>
                    <a:pt x="0" y="44751"/>
                  </a:cubicBezTo>
                  <a:lnTo>
                    <a:pt x="0" y="12483"/>
                  </a:lnTo>
                  <a:cubicBezTo>
                    <a:pt x="12997" y="382"/>
                    <a:pt x="24649" y="-1411"/>
                    <a:pt x="36302" y="830"/>
                  </a:cubicBezTo>
                  <a:close/>
                </a:path>
              </a:pathLst>
            </a:custGeom>
            <a:solidFill>
              <a:srgbClr val="231F20"/>
            </a:solidFill>
            <a:ln w="4477" cap="flat">
              <a:noFill/>
              <a:prstDash val="solid"/>
              <a:miter/>
            </a:ln>
          </p:spPr>
          <p:txBody>
            <a:bodyPr rtlCol="0" anchor="ctr"/>
            <a:lstStyle/>
            <a:p>
              <a:endParaRPr lang="en-US"/>
            </a:p>
          </p:txBody>
        </p:sp>
        <p:sp>
          <p:nvSpPr>
            <p:cNvPr id="2563" name="Freeform: Shape 2562">
              <a:extLst>
                <a:ext uri="{FF2B5EF4-FFF2-40B4-BE49-F238E27FC236}">
                  <a16:creationId xmlns:a16="http://schemas.microsoft.com/office/drawing/2014/main" id="{E6CE222B-1547-49C5-BCA6-5365AB0C1B19}"/>
                </a:ext>
              </a:extLst>
            </p:cNvPr>
            <p:cNvSpPr/>
            <p:nvPr/>
          </p:nvSpPr>
          <p:spPr>
            <a:xfrm>
              <a:off x="9390969" y="1063537"/>
              <a:ext cx="112043" cy="147896"/>
            </a:xfrm>
            <a:custGeom>
              <a:avLst/>
              <a:gdLst>
                <a:gd name="connsiteX0" fmla="*/ 113387 w 112042"/>
                <a:gd name="connsiteY0" fmla="*/ 13400 h 147896"/>
                <a:gd name="connsiteX1" fmla="*/ 113387 w 112042"/>
                <a:gd name="connsiteY1" fmla="*/ 13400 h 147896"/>
                <a:gd name="connsiteX2" fmla="*/ 113387 w 112042"/>
                <a:gd name="connsiteY2" fmla="*/ 12952 h 147896"/>
                <a:gd name="connsiteX3" fmla="*/ 113387 w 112042"/>
                <a:gd name="connsiteY3" fmla="*/ 12504 h 147896"/>
                <a:gd name="connsiteX4" fmla="*/ 112939 w 112042"/>
                <a:gd name="connsiteY4" fmla="*/ 12056 h 147896"/>
                <a:gd name="connsiteX5" fmla="*/ 112491 w 112042"/>
                <a:gd name="connsiteY5" fmla="*/ 11608 h 147896"/>
                <a:gd name="connsiteX6" fmla="*/ 112043 w 112042"/>
                <a:gd name="connsiteY6" fmla="*/ 11608 h 147896"/>
                <a:gd name="connsiteX7" fmla="*/ 111594 w 112042"/>
                <a:gd name="connsiteY7" fmla="*/ 11608 h 147896"/>
                <a:gd name="connsiteX8" fmla="*/ 111146 w 112042"/>
                <a:gd name="connsiteY8" fmla="*/ 11608 h 147896"/>
                <a:gd name="connsiteX9" fmla="*/ 111146 w 112042"/>
                <a:gd name="connsiteY9" fmla="*/ 11608 h 147896"/>
                <a:gd name="connsiteX10" fmla="*/ 110698 w 112042"/>
                <a:gd name="connsiteY10" fmla="*/ 11608 h 147896"/>
                <a:gd name="connsiteX11" fmla="*/ 110250 w 112042"/>
                <a:gd name="connsiteY11" fmla="*/ 11608 h 147896"/>
                <a:gd name="connsiteX12" fmla="*/ 110250 w 112042"/>
                <a:gd name="connsiteY12" fmla="*/ 11608 h 147896"/>
                <a:gd name="connsiteX13" fmla="*/ 75293 w 112042"/>
                <a:gd name="connsiteY13" fmla="*/ 13400 h 147896"/>
                <a:gd name="connsiteX14" fmla="*/ 59159 w 112042"/>
                <a:gd name="connsiteY14" fmla="*/ 7574 h 147896"/>
                <a:gd name="connsiteX15" fmla="*/ 38543 w 112042"/>
                <a:gd name="connsiteY15" fmla="*/ 852 h 147896"/>
                <a:gd name="connsiteX16" fmla="*/ 448 w 112042"/>
                <a:gd name="connsiteY16" fmla="*/ 12952 h 147896"/>
                <a:gd name="connsiteX17" fmla="*/ 0 w 112042"/>
                <a:gd name="connsiteY17" fmla="*/ 13848 h 147896"/>
                <a:gd name="connsiteX18" fmla="*/ 0 w 112042"/>
                <a:gd name="connsiteY18" fmla="*/ 13848 h 147896"/>
                <a:gd name="connsiteX19" fmla="*/ 0 w 112042"/>
                <a:gd name="connsiteY19" fmla="*/ 14297 h 147896"/>
                <a:gd name="connsiteX20" fmla="*/ 0 w 112042"/>
                <a:gd name="connsiteY20" fmla="*/ 14745 h 147896"/>
                <a:gd name="connsiteX21" fmla="*/ 0 w 112042"/>
                <a:gd name="connsiteY21" fmla="*/ 14745 h 147896"/>
                <a:gd name="connsiteX22" fmla="*/ 0 w 112042"/>
                <a:gd name="connsiteY22" fmla="*/ 147851 h 147896"/>
                <a:gd name="connsiteX23" fmla="*/ 2241 w 112042"/>
                <a:gd name="connsiteY23" fmla="*/ 150092 h 147896"/>
                <a:gd name="connsiteX24" fmla="*/ 4482 w 112042"/>
                <a:gd name="connsiteY24" fmla="*/ 147851 h 147896"/>
                <a:gd name="connsiteX25" fmla="*/ 4482 w 112042"/>
                <a:gd name="connsiteY25" fmla="*/ 111998 h 147896"/>
                <a:gd name="connsiteX26" fmla="*/ 38094 w 112042"/>
                <a:gd name="connsiteY26" fmla="*/ 101690 h 147896"/>
                <a:gd name="connsiteX27" fmla="*/ 57814 w 112042"/>
                <a:gd name="connsiteY27" fmla="*/ 108412 h 147896"/>
                <a:gd name="connsiteX28" fmla="*/ 74396 w 112042"/>
                <a:gd name="connsiteY28" fmla="*/ 114239 h 147896"/>
                <a:gd name="connsiteX29" fmla="*/ 91875 w 112042"/>
                <a:gd name="connsiteY29" fmla="*/ 116928 h 147896"/>
                <a:gd name="connsiteX30" fmla="*/ 111146 w 112042"/>
                <a:gd name="connsiteY30" fmla="*/ 112894 h 147896"/>
                <a:gd name="connsiteX31" fmla="*/ 111594 w 112042"/>
                <a:gd name="connsiteY31" fmla="*/ 112894 h 147896"/>
                <a:gd name="connsiteX32" fmla="*/ 113835 w 112042"/>
                <a:gd name="connsiteY32" fmla="*/ 110653 h 147896"/>
                <a:gd name="connsiteX33" fmla="*/ 113835 w 112042"/>
                <a:gd name="connsiteY33" fmla="*/ 13848 h 147896"/>
                <a:gd name="connsiteX34" fmla="*/ 113387 w 112042"/>
                <a:gd name="connsiteY34" fmla="*/ 13400 h 147896"/>
                <a:gd name="connsiteX35" fmla="*/ 113387 w 112042"/>
                <a:gd name="connsiteY35" fmla="*/ 13400 h 147896"/>
                <a:gd name="connsiteX36" fmla="*/ 75293 w 112042"/>
                <a:gd name="connsiteY36" fmla="*/ 110205 h 147896"/>
                <a:gd name="connsiteX37" fmla="*/ 59159 w 112042"/>
                <a:gd name="connsiteY37" fmla="*/ 104379 h 147896"/>
                <a:gd name="connsiteX38" fmla="*/ 38543 w 112042"/>
                <a:gd name="connsiteY38" fmla="*/ 97208 h 147896"/>
                <a:gd name="connsiteX39" fmla="*/ 4034 w 112042"/>
                <a:gd name="connsiteY39" fmla="*/ 106172 h 147896"/>
                <a:gd name="connsiteX40" fmla="*/ 4034 w 112042"/>
                <a:gd name="connsiteY40" fmla="*/ 15641 h 147896"/>
                <a:gd name="connsiteX41" fmla="*/ 37646 w 112042"/>
                <a:gd name="connsiteY41" fmla="*/ 5333 h 147896"/>
                <a:gd name="connsiteX42" fmla="*/ 57366 w 112042"/>
                <a:gd name="connsiteY42" fmla="*/ 12056 h 147896"/>
                <a:gd name="connsiteX43" fmla="*/ 73948 w 112042"/>
                <a:gd name="connsiteY43" fmla="*/ 17882 h 147896"/>
                <a:gd name="connsiteX44" fmla="*/ 91427 w 112042"/>
                <a:gd name="connsiteY44" fmla="*/ 20571 h 147896"/>
                <a:gd name="connsiteX45" fmla="*/ 108906 w 112042"/>
                <a:gd name="connsiteY45" fmla="*/ 17434 h 147896"/>
                <a:gd name="connsiteX46" fmla="*/ 108906 w 112042"/>
                <a:gd name="connsiteY46" fmla="*/ 109309 h 147896"/>
                <a:gd name="connsiteX47" fmla="*/ 75293 w 112042"/>
                <a:gd name="connsiteY47" fmla="*/ 110205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2042" h="147896">
                  <a:moveTo>
                    <a:pt x="113387" y="13400"/>
                  </a:moveTo>
                  <a:cubicBezTo>
                    <a:pt x="113387" y="13400"/>
                    <a:pt x="113387" y="13400"/>
                    <a:pt x="113387" y="13400"/>
                  </a:cubicBezTo>
                  <a:cubicBezTo>
                    <a:pt x="113387" y="12952"/>
                    <a:pt x="113387" y="12952"/>
                    <a:pt x="113387" y="12952"/>
                  </a:cubicBezTo>
                  <a:cubicBezTo>
                    <a:pt x="113387" y="12952"/>
                    <a:pt x="113387" y="12952"/>
                    <a:pt x="113387" y="12504"/>
                  </a:cubicBezTo>
                  <a:cubicBezTo>
                    <a:pt x="113387" y="12504"/>
                    <a:pt x="113387" y="12056"/>
                    <a:pt x="112939" y="12056"/>
                  </a:cubicBezTo>
                  <a:cubicBezTo>
                    <a:pt x="112939" y="12056"/>
                    <a:pt x="112491" y="12056"/>
                    <a:pt x="112491" y="11608"/>
                  </a:cubicBezTo>
                  <a:cubicBezTo>
                    <a:pt x="112491" y="11608"/>
                    <a:pt x="112043" y="11608"/>
                    <a:pt x="112043" y="11608"/>
                  </a:cubicBezTo>
                  <a:cubicBezTo>
                    <a:pt x="112043" y="11608"/>
                    <a:pt x="111594" y="11608"/>
                    <a:pt x="111594" y="11608"/>
                  </a:cubicBezTo>
                  <a:cubicBezTo>
                    <a:pt x="111594" y="11608"/>
                    <a:pt x="111594" y="11608"/>
                    <a:pt x="111146" y="11608"/>
                  </a:cubicBezTo>
                  <a:cubicBezTo>
                    <a:pt x="111146" y="11608"/>
                    <a:pt x="111146" y="11608"/>
                    <a:pt x="111146" y="11608"/>
                  </a:cubicBezTo>
                  <a:cubicBezTo>
                    <a:pt x="111146" y="11608"/>
                    <a:pt x="110698" y="11608"/>
                    <a:pt x="110698" y="11608"/>
                  </a:cubicBezTo>
                  <a:cubicBezTo>
                    <a:pt x="110698" y="11608"/>
                    <a:pt x="110250" y="11608"/>
                    <a:pt x="110250" y="11608"/>
                  </a:cubicBezTo>
                  <a:cubicBezTo>
                    <a:pt x="110250" y="11608"/>
                    <a:pt x="110250" y="11608"/>
                    <a:pt x="110250" y="11608"/>
                  </a:cubicBezTo>
                  <a:cubicBezTo>
                    <a:pt x="99494" y="16537"/>
                    <a:pt x="88738" y="16986"/>
                    <a:pt x="75293" y="13400"/>
                  </a:cubicBezTo>
                  <a:cubicBezTo>
                    <a:pt x="69915" y="11608"/>
                    <a:pt x="64537" y="9815"/>
                    <a:pt x="59159" y="7574"/>
                  </a:cubicBezTo>
                  <a:cubicBezTo>
                    <a:pt x="51988" y="4885"/>
                    <a:pt x="45713" y="2196"/>
                    <a:pt x="38543" y="852"/>
                  </a:cubicBezTo>
                  <a:cubicBezTo>
                    <a:pt x="24201" y="-1837"/>
                    <a:pt x="12101" y="1748"/>
                    <a:pt x="448" y="12952"/>
                  </a:cubicBezTo>
                  <a:cubicBezTo>
                    <a:pt x="0" y="12952"/>
                    <a:pt x="0" y="13400"/>
                    <a:pt x="0" y="13848"/>
                  </a:cubicBezTo>
                  <a:cubicBezTo>
                    <a:pt x="0" y="13848"/>
                    <a:pt x="0" y="13848"/>
                    <a:pt x="0" y="13848"/>
                  </a:cubicBezTo>
                  <a:cubicBezTo>
                    <a:pt x="0" y="13848"/>
                    <a:pt x="0" y="14297"/>
                    <a:pt x="0" y="14297"/>
                  </a:cubicBezTo>
                  <a:cubicBezTo>
                    <a:pt x="0" y="14297"/>
                    <a:pt x="0" y="14745"/>
                    <a:pt x="0" y="14745"/>
                  </a:cubicBezTo>
                  <a:cubicBezTo>
                    <a:pt x="0" y="14745"/>
                    <a:pt x="0" y="14745"/>
                    <a:pt x="0" y="14745"/>
                  </a:cubicBezTo>
                  <a:lnTo>
                    <a:pt x="0" y="147851"/>
                  </a:lnTo>
                  <a:cubicBezTo>
                    <a:pt x="0" y="149196"/>
                    <a:pt x="896" y="150092"/>
                    <a:pt x="2241" y="150092"/>
                  </a:cubicBezTo>
                  <a:cubicBezTo>
                    <a:pt x="3586" y="150092"/>
                    <a:pt x="4482" y="149196"/>
                    <a:pt x="4482" y="147851"/>
                  </a:cubicBezTo>
                  <a:lnTo>
                    <a:pt x="4482" y="111998"/>
                  </a:lnTo>
                  <a:cubicBezTo>
                    <a:pt x="14790" y="102586"/>
                    <a:pt x="25546" y="99001"/>
                    <a:pt x="38094" y="101690"/>
                  </a:cubicBezTo>
                  <a:cubicBezTo>
                    <a:pt x="44817" y="103034"/>
                    <a:pt x="51092" y="105723"/>
                    <a:pt x="57814" y="108412"/>
                  </a:cubicBezTo>
                  <a:cubicBezTo>
                    <a:pt x="63192" y="110653"/>
                    <a:pt x="68570" y="112894"/>
                    <a:pt x="74396" y="114239"/>
                  </a:cubicBezTo>
                  <a:cubicBezTo>
                    <a:pt x="80671" y="116031"/>
                    <a:pt x="86497" y="116928"/>
                    <a:pt x="91875" y="116928"/>
                  </a:cubicBezTo>
                  <a:cubicBezTo>
                    <a:pt x="98597" y="116928"/>
                    <a:pt x="104872" y="115583"/>
                    <a:pt x="111146" y="112894"/>
                  </a:cubicBezTo>
                  <a:cubicBezTo>
                    <a:pt x="111146" y="112894"/>
                    <a:pt x="111146" y="112894"/>
                    <a:pt x="111594" y="112894"/>
                  </a:cubicBezTo>
                  <a:cubicBezTo>
                    <a:pt x="112939" y="112894"/>
                    <a:pt x="113835" y="111998"/>
                    <a:pt x="113835" y="110653"/>
                  </a:cubicBezTo>
                  <a:lnTo>
                    <a:pt x="113835" y="13848"/>
                  </a:lnTo>
                  <a:cubicBezTo>
                    <a:pt x="113387" y="13848"/>
                    <a:pt x="113387" y="13848"/>
                    <a:pt x="113387" y="13400"/>
                  </a:cubicBezTo>
                  <a:cubicBezTo>
                    <a:pt x="113387" y="13848"/>
                    <a:pt x="113387" y="13848"/>
                    <a:pt x="113387" y="13400"/>
                  </a:cubicBezTo>
                  <a:close/>
                  <a:moveTo>
                    <a:pt x="75293" y="110205"/>
                  </a:moveTo>
                  <a:cubicBezTo>
                    <a:pt x="69915" y="108412"/>
                    <a:pt x="64537" y="106620"/>
                    <a:pt x="59159" y="104379"/>
                  </a:cubicBezTo>
                  <a:cubicBezTo>
                    <a:pt x="51988" y="101690"/>
                    <a:pt x="45265" y="99001"/>
                    <a:pt x="38543" y="97208"/>
                  </a:cubicBezTo>
                  <a:cubicBezTo>
                    <a:pt x="25994" y="94967"/>
                    <a:pt x="14790" y="97656"/>
                    <a:pt x="4034" y="106172"/>
                  </a:cubicBezTo>
                  <a:lnTo>
                    <a:pt x="4034" y="15641"/>
                  </a:lnTo>
                  <a:cubicBezTo>
                    <a:pt x="14790" y="5781"/>
                    <a:pt x="25098" y="2644"/>
                    <a:pt x="37646" y="5333"/>
                  </a:cubicBezTo>
                  <a:cubicBezTo>
                    <a:pt x="43921" y="6678"/>
                    <a:pt x="50643" y="9367"/>
                    <a:pt x="57366" y="12056"/>
                  </a:cubicBezTo>
                  <a:cubicBezTo>
                    <a:pt x="62744" y="14297"/>
                    <a:pt x="68122" y="16537"/>
                    <a:pt x="73948" y="17882"/>
                  </a:cubicBezTo>
                  <a:cubicBezTo>
                    <a:pt x="80223" y="19675"/>
                    <a:pt x="86049" y="20571"/>
                    <a:pt x="91427" y="20571"/>
                  </a:cubicBezTo>
                  <a:cubicBezTo>
                    <a:pt x="97253" y="20571"/>
                    <a:pt x="103079" y="19227"/>
                    <a:pt x="108906" y="17434"/>
                  </a:cubicBezTo>
                  <a:lnTo>
                    <a:pt x="108906" y="109309"/>
                  </a:lnTo>
                  <a:cubicBezTo>
                    <a:pt x="98597" y="113342"/>
                    <a:pt x="87842" y="113790"/>
                    <a:pt x="75293" y="110205"/>
                  </a:cubicBezTo>
                  <a:close/>
                </a:path>
              </a:pathLst>
            </a:custGeom>
            <a:solidFill>
              <a:srgbClr val="231F20"/>
            </a:solidFill>
            <a:ln w="4477" cap="flat">
              <a:noFill/>
              <a:prstDash val="solid"/>
              <a:miter/>
            </a:ln>
          </p:spPr>
          <p:txBody>
            <a:bodyPr rtlCol="0" anchor="ctr"/>
            <a:lstStyle/>
            <a:p>
              <a:endParaRPr lang="en-US"/>
            </a:p>
          </p:txBody>
        </p:sp>
      </p:grpSp>
      <p:sp>
        <p:nvSpPr>
          <p:cNvPr id="2565" name="Freeform: Shape 2564">
            <a:extLst>
              <a:ext uri="{FF2B5EF4-FFF2-40B4-BE49-F238E27FC236}">
                <a16:creationId xmlns:a16="http://schemas.microsoft.com/office/drawing/2014/main" id="{42BDF7B8-8749-48BD-BE0A-F9E54C547636}"/>
              </a:ext>
              <a:ext uri="{C183D7F6-B498-43B3-948B-1728B52AA6E4}">
                <adec:decorative xmlns:adec="http://schemas.microsoft.com/office/drawing/2017/decorative" val="1"/>
              </a:ext>
            </a:extLst>
          </p:cNvPr>
          <p:cNvSpPr>
            <a:spLocks noChangeAspect="1"/>
          </p:cNvSpPr>
          <p:nvPr/>
        </p:nvSpPr>
        <p:spPr>
          <a:xfrm>
            <a:off x="9016053" y="3138574"/>
            <a:ext cx="94116" cy="116524"/>
          </a:xfrm>
          <a:custGeom>
            <a:avLst/>
            <a:gdLst>
              <a:gd name="connsiteX0" fmla="*/ 96357 w 94115"/>
              <a:gd name="connsiteY0" fmla="*/ 9860 h 116524"/>
              <a:gd name="connsiteX1" fmla="*/ 2689 w 94115"/>
              <a:gd name="connsiteY1" fmla="*/ 0 h 116524"/>
              <a:gd name="connsiteX2" fmla="*/ 2689 w 94115"/>
              <a:gd name="connsiteY2" fmla="*/ 0 h 116524"/>
              <a:gd name="connsiteX3" fmla="*/ 2689 w 94115"/>
              <a:gd name="connsiteY3" fmla="*/ 0 h 116524"/>
              <a:gd name="connsiteX4" fmla="*/ 2241 w 94115"/>
              <a:gd name="connsiteY4" fmla="*/ 0 h 116524"/>
              <a:gd name="connsiteX5" fmla="*/ 1793 w 94115"/>
              <a:gd name="connsiteY5" fmla="*/ 0 h 116524"/>
              <a:gd name="connsiteX6" fmla="*/ 1344 w 94115"/>
              <a:gd name="connsiteY6" fmla="*/ 0 h 116524"/>
              <a:gd name="connsiteX7" fmla="*/ 896 w 94115"/>
              <a:gd name="connsiteY7" fmla="*/ 448 h 116524"/>
              <a:gd name="connsiteX8" fmla="*/ 448 w 94115"/>
              <a:gd name="connsiteY8" fmla="*/ 896 h 116524"/>
              <a:gd name="connsiteX9" fmla="*/ 0 w 94115"/>
              <a:gd name="connsiteY9" fmla="*/ 1345 h 116524"/>
              <a:gd name="connsiteX10" fmla="*/ 0 w 94115"/>
              <a:gd name="connsiteY10" fmla="*/ 1793 h 116524"/>
              <a:gd name="connsiteX11" fmla="*/ 0 w 94115"/>
              <a:gd name="connsiteY11" fmla="*/ 2241 h 116524"/>
              <a:gd name="connsiteX12" fmla="*/ 0 w 94115"/>
              <a:gd name="connsiteY12" fmla="*/ 2241 h 116524"/>
              <a:gd name="connsiteX13" fmla="*/ 0 w 94115"/>
              <a:gd name="connsiteY13" fmla="*/ 2241 h 116524"/>
              <a:gd name="connsiteX14" fmla="*/ 0 w 94115"/>
              <a:gd name="connsiteY14" fmla="*/ 115628 h 116524"/>
              <a:gd name="connsiteX15" fmla="*/ 2241 w 94115"/>
              <a:gd name="connsiteY15" fmla="*/ 117869 h 116524"/>
              <a:gd name="connsiteX16" fmla="*/ 4482 w 94115"/>
              <a:gd name="connsiteY16" fmla="*/ 115628 h 116524"/>
              <a:gd name="connsiteX17" fmla="*/ 4482 w 94115"/>
              <a:gd name="connsiteY17" fmla="*/ 58710 h 116524"/>
              <a:gd name="connsiteX18" fmla="*/ 96357 w 94115"/>
              <a:gd name="connsiteY18" fmla="*/ 46610 h 116524"/>
              <a:gd name="connsiteX19" fmla="*/ 98149 w 94115"/>
              <a:gd name="connsiteY19" fmla="*/ 44369 h 116524"/>
              <a:gd name="connsiteX20" fmla="*/ 98149 w 94115"/>
              <a:gd name="connsiteY20" fmla="*/ 12101 h 116524"/>
              <a:gd name="connsiteX21" fmla="*/ 96357 w 94115"/>
              <a:gd name="connsiteY21" fmla="*/ 9860 h 116524"/>
              <a:gd name="connsiteX22" fmla="*/ 64088 w 94115"/>
              <a:gd name="connsiteY22" fmla="*/ 46162 h 116524"/>
              <a:gd name="connsiteX23" fmla="*/ 36302 w 94115"/>
              <a:gd name="connsiteY23" fmla="*/ 49747 h 116524"/>
              <a:gd name="connsiteX24" fmla="*/ 36302 w 94115"/>
              <a:gd name="connsiteY24" fmla="*/ 49747 h 116524"/>
              <a:gd name="connsiteX25" fmla="*/ 36302 w 94115"/>
              <a:gd name="connsiteY25" fmla="*/ 8067 h 116524"/>
              <a:gd name="connsiteX26" fmla="*/ 64088 w 94115"/>
              <a:gd name="connsiteY26" fmla="*/ 10756 h 116524"/>
              <a:gd name="connsiteX27" fmla="*/ 64088 w 94115"/>
              <a:gd name="connsiteY27" fmla="*/ 11204 h 116524"/>
              <a:gd name="connsiteX28" fmla="*/ 64088 w 94115"/>
              <a:gd name="connsiteY28" fmla="*/ 46162 h 116524"/>
              <a:gd name="connsiteX29" fmla="*/ 64088 w 94115"/>
              <a:gd name="connsiteY29" fmla="*/ 46162 h 116524"/>
              <a:gd name="connsiteX30" fmla="*/ 4482 w 94115"/>
              <a:gd name="connsiteY30" fmla="*/ 4930 h 116524"/>
              <a:gd name="connsiteX31" fmla="*/ 32268 w 94115"/>
              <a:gd name="connsiteY31" fmla="*/ 7619 h 116524"/>
              <a:gd name="connsiteX32" fmla="*/ 32268 w 94115"/>
              <a:gd name="connsiteY32" fmla="*/ 8067 h 116524"/>
              <a:gd name="connsiteX33" fmla="*/ 32268 w 94115"/>
              <a:gd name="connsiteY33" fmla="*/ 49747 h 116524"/>
              <a:gd name="connsiteX34" fmla="*/ 32268 w 94115"/>
              <a:gd name="connsiteY34" fmla="*/ 50643 h 116524"/>
              <a:gd name="connsiteX35" fmla="*/ 4482 w 94115"/>
              <a:gd name="connsiteY35" fmla="*/ 54229 h 116524"/>
              <a:gd name="connsiteX36" fmla="*/ 4482 w 94115"/>
              <a:gd name="connsiteY36" fmla="*/ 4930 h 116524"/>
              <a:gd name="connsiteX37" fmla="*/ 93668 w 94115"/>
              <a:gd name="connsiteY37" fmla="*/ 42128 h 116524"/>
              <a:gd name="connsiteX38" fmla="*/ 68570 w 94115"/>
              <a:gd name="connsiteY38" fmla="*/ 45265 h 116524"/>
              <a:gd name="connsiteX39" fmla="*/ 68570 w 94115"/>
              <a:gd name="connsiteY39" fmla="*/ 11652 h 116524"/>
              <a:gd name="connsiteX40" fmla="*/ 93668 w 94115"/>
              <a:gd name="connsiteY40" fmla="*/ 14341 h 116524"/>
              <a:gd name="connsiteX41" fmla="*/ 93668 w 94115"/>
              <a:gd name="connsiteY41" fmla="*/ 42128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4115" h="116524">
                <a:moveTo>
                  <a:pt x="96357" y="9860"/>
                </a:moveTo>
                <a:lnTo>
                  <a:pt x="2689" y="0"/>
                </a:lnTo>
                <a:cubicBezTo>
                  <a:pt x="2689" y="0"/>
                  <a:pt x="2689" y="0"/>
                  <a:pt x="2689" y="0"/>
                </a:cubicBezTo>
                <a:cubicBezTo>
                  <a:pt x="2689" y="0"/>
                  <a:pt x="2689" y="0"/>
                  <a:pt x="2689" y="0"/>
                </a:cubicBezTo>
                <a:cubicBezTo>
                  <a:pt x="2689" y="0"/>
                  <a:pt x="2689" y="0"/>
                  <a:pt x="2241" y="0"/>
                </a:cubicBezTo>
                <a:cubicBezTo>
                  <a:pt x="2241" y="0"/>
                  <a:pt x="1793" y="0"/>
                  <a:pt x="1793" y="0"/>
                </a:cubicBezTo>
                <a:cubicBezTo>
                  <a:pt x="1793" y="0"/>
                  <a:pt x="1344" y="0"/>
                  <a:pt x="1344" y="0"/>
                </a:cubicBezTo>
                <a:cubicBezTo>
                  <a:pt x="1344" y="0"/>
                  <a:pt x="896" y="0"/>
                  <a:pt x="896" y="448"/>
                </a:cubicBezTo>
                <a:cubicBezTo>
                  <a:pt x="896" y="448"/>
                  <a:pt x="896" y="448"/>
                  <a:pt x="448" y="896"/>
                </a:cubicBezTo>
                <a:cubicBezTo>
                  <a:pt x="448" y="896"/>
                  <a:pt x="448" y="896"/>
                  <a:pt x="0" y="1345"/>
                </a:cubicBezTo>
                <a:cubicBezTo>
                  <a:pt x="0" y="1345"/>
                  <a:pt x="0" y="1793"/>
                  <a:pt x="0" y="1793"/>
                </a:cubicBezTo>
                <a:cubicBezTo>
                  <a:pt x="0" y="1793"/>
                  <a:pt x="0" y="1793"/>
                  <a:pt x="0" y="2241"/>
                </a:cubicBezTo>
                <a:cubicBezTo>
                  <a:pt x="0" y="2241"/>
                  <a:pt x="0" y="2241"/>
                  <a:pt x="0" y="2241"/>
                </a:cubicBezTo>
                <a:cubicBezTo>
                  <a:pt x="0" y="2241"/>
                  <a:pt x="0" y="2241"/>
                  <a:pt x="0" y="2241"/>
                </a:cubicBezTo>
                <a:lnTo>
                  <a:pt x="0" y="115628"/>
                </a:lnTo>
                <a:cubicBezTo>
                  <a:pt x="0" y="116972"/>
                  <a:pt x="896" y="117869"/>
                  <a:pt x="2241" y="117869"/>
                </a:cubicBezTo>
                <a:cubicBezTo>
                  <a:pt x="3585" y="117869"/>
                  <a:pt x="4482" y="116972"/>
                  <a:pt x="4482" y="115628"/>
                </a:cubicBezTo>
                <a:lnTo>
                  <a:pt x="4482" y="58710"/>
                </a:lnTo>
                <a:lnTo>
                  <a:pt x="96357" y="46610"/>
                </a:lnTo>
                <a:cubicBezTo>
                  <a:pt x="97253" y="46610"/>
                  <a:pt x="98149" y="45713"/>
                  <a:pt x="98149" y="44369"/>
                </a:cubicBezTo>
                <a:lnTo>
                  <a:pt x="98149" y="12101"/>
                </a:lnTo>
                <a:cubicBezTo>
                  <a:pt x="98149" y="11204"/>
                  <a:pt x="97253" y="10308"/>
                  <a:pt x="96357" y="9860"/>
                </a:cubicBezTo>
                <a:close/>
                <a:moveTo>
                  <a:pt x="64088" y="46162"/>
                </a:moveTo>
                <a:lnTo>
                  <a:pt x="36302" y="49747"/>
                </a:lnTo>
                <a:cubicBezTo>
                  <a:pt x="36302" y="49747"/>
                  <a:pt x="36302" y="49747"/>
                  <a:pt x="36302" y="49747"/>
                </a:cubicBezTo>
                <a:lnTo>
                  <a:pt x="36302" y="8067"/>
                </a:lnTo>
                <a:lnTo>
                  <a:pt x="64088" y="10756"/>
                </a:lnTo>
                <a:cubicBezTo>
                  <a:pt x="64088" y="10756"/>
                  <a:pt x="64088" y="11204"/>
                  <a:pt x="64088" y="11204"/>
                </a:cubicBezTo>
                <a:lnTo>
                  <a:pt x="64088" y="46162"/>
                </a:lnTo>
                <a:cubicBezTo>
                  <a:pt x="64088" y="46162"/>
                  <a:pt x="64088" y="46162"/>
                  <a:pt x="64088" y="46162"/>
                </a:cubicBezTo>
                <a:close/>
                <a:moveTo>
                  <a:pt x="4482" y="4930"/>
                </a:moveTo>
                <a:lnTo>
                  <a:pt x="32268" y="7619"/>
                </a:lnTo>
                <a:cubicBezTo>
                  <a:pt x="32268" y="7619"/>
                  <a:pt x="32268" y="7619"/>
                  <a:pt x="32268" y="8067"/>
                </a:cubicBezTo>
                <a:lnTo>
                  <a:pt x="32268" y="49747"/>
                </a:lnTo>
                <a:cubicBezTo>
                  <a:pt x="32268" y="50195"/>
                  <a:pt x="32268" y="50195"/>
                  <a:pt x="32268" y="50643"/>
                </a:cubicBezTo>
                <a:lnTo>
                  <a:pt x="4482" y="54229"/>
                </a:lnTo>
                <a:lnTo>
                  <a:pt x="4482" y="4930"/>
                </a:lnTo>
                <a:close/>
                <a:moveTo>
                  <a:pt x="93668" y="42128"/>
                </a:moveTo>
                <a:lnTo>
                  <a:pt x="68570" y="45265"/>
                </a:lnTo>
                <a:lnTo>
                  <a:pt x="68570" y="11652"/>
                </a:lnTo>
                <a:lnTo>
                  <a:pt x="93668" y="14341"/>
                </a:lnTo>
                <a:lnTo>
                  <a:pt x="93668" y="42128"/>
                </a:lnTo>
                <a:close/>
              </a:path>
            </a:pathLst>
          </a:custGeom>
          <a:solidFill>
            <a:srgbClr val="231F20"/>
          </a:solidFill>
          <a:ln w="4477" cap="flat">
            <a:noFill/>
            <a:prstDash val="solid"/>
            <a:miter/>
          </a:ln>
        </p:spPr>
        <p:txBody>
          <a:bodyPr rtlCol="0" anchor="ctr"/>
          <a:lstStyle/>
          <a:p>
            <a:endParaRPr lang="en-US"/>
          </a:p>
        </p:txBody>
      </p:sp>
      <p:grpSp>
        <p:nvGrpSpPr>
          <p:cNvPr id="2717" name="Group 2716">
            <a:extLst>
              <a:ext uri="{FF2B5EF4-FFF2-40B4-BE49-F238E27FC236}">
                <a16:creationId xmlns:a16="http://schemas.microsoft.com/office/drawing/2014/main" id="{CB03CA06-C566-49D5-8ABD-1C8F5873F870}"/>
              </a:ext>
              <a:ext uri="{C183D7F6-B498-43B3-948B-1728B52AA6E4}">
                <adec:decorative xmlns:adec="http://schemas.microsoft.com/office/drawing/2017/decorative" val="1"/>
              </a:ext>
            </a:extLst>
          </p:cNvPr>
          <p:cNvGrpSpPr>
            <a:grpSpLocks noChangeAspect="1"/>
          </p:cNvGrpSpPr>
          <p:nvPr/>
        </p:nvGrpSpPr>
        <p:grpSpPr>
          <a:xfrm>
            <a:off x="8472901" y="3118387"/>
            <a:ext cx="152378" cy="152378"/>
            <a:chOff x="8591015" y="1063025"/>
            <a:chExt cx="152378" cy="152378"/>
          </a:xfrm>
        </p:grpSpPr>
        <p:sp>
          <p:nvSpPr>
            <p:cNvPr id="2720" name="Freeform: Shape 2719">
              <a:extLst>
                <a:ext uri="{FF2B5EF4-FFF2-40B4-BE49-F238E27FC236}">
                  <a16:creationId xmlns:a16="http://schemas.microsoft.com/office/drawing/2014/main" id="{4B3E0B56-1D33-415B-8C42-A1CA2C80ADB4}"/>
                </a:ext>
              </a:extLst>
            </p:cNvPr>
            <p:cNvSpPr/>
            <p:nvPr/>
          </p:nvSpPr>
          <p:spPr>
            <a:xfrm>
              <a:off x="8608015" y="1080074"/>
              <a:ext cx="116524" cy="116524"/>
            </a:xfrm>
            <a:custGeom>
              <a:avLst/>
              <a:gdLst>
                <a:gd name="connsiteX0" fmla="*/ 117421 w 116524"/>
                <a:gd name="connsiteY0" fmla="*/ 57366 h 116524"/>
                <a:gd name="connsiteX1" fmla="*/ 81567 w 116524"/>
                <a:gd name="connsiteY1" fmla="*/ 47506 h 116524"/>
                <a:gd name="connsiteX2" fmla="*/ 90530 w 116524"/>
                <a:gd name="connsiteY2" fmla="*/ 31820 h 116524"/>
                <a:gd name="connsiteX3" fmla="*/ 90082 w 116524"/>
                <a:gd name="connsiteY3" fmla="*/ 29131 h 116524"/>
                <a:gd name="connsiteX4" fmla="*/ 87393 w 116524"/>
                <a:gd name="connsiteY4" fmla="*/ 28683 h 116524"/>
                <a:gd name="connsiteX5" fmla="*/ 71707 w 116524"/>
                <a:gd name="connsiteY5" fmla="*/ 37646 h 116524"/>
                <a:gd name="connsiteX6" fmla="*/ 61848 w 116524"/>
                <a:gd name="connsiteY6" fmla="*/ 1793 h 116524"/>
                <a:gd name="connsiteX7" fmla="*/ 59607 w 116524"/>
                <a:gd name="connsiteY7" fmla="*/ 0 h 116524"/>
                <a:gd name="connsiteX8" fmla="*/ 57366 w 116524"/>
                <a:gd name="connsiteY8" fmla="*/ 1793 h 116524"/>
                <a:gd name="connsiteX9" fmla="*/ 47506 w 116524"/>
                <a:gd name="connsiteY9" fmla="*/ 37646 h 116524"/>
                <a:gd name="connsiteX10" fmla="*/ 31820 w 116524"/>
                <a:gd name="connsiteY10" fmla="*/ 28683 h 116524"/>
                <a:gd name="connsiteX11" fmla="*/ 29131 w 116524"/>
                <a:gd name="connsiteY11" fmla="*/ 29131 h 116524"/>
                <a:gd name="connsiteX12" fmla="*/ 28683 w 116524"/>
                <a:gd name="connsiteY12" fmla="*/ 31820 h 116524"/>
                <a:gd name="connsiteX13" fmla="*/ 37646 w 116524"/>
                <a:gd name="connsiteY13" fmla="*/ 47506 h 116524"/>
                <a:gd name="connsiteX14" fmla="*/ 1793 w 116524"/>
                <a:gd name="connsiteY14" fmla="*/ 57366 h 116524"/>
                <a:gd name="connsiteX15" fmla="*/ 0 w 116524"/>
                <a:gd name="connsiteY15" fmla="*/ 59607 h 116524"/>
                <a:gd name="connsiteX16" fmla="*/ 1793 w 116524"/>
                <a:gd name="connsiteY16" fmla="*/ 61848 h 116524"/>
                <a:gd name="connsiteX17" fmla="*/ 37646 w 116524"/>
                <a:gd name="connsiteY17" fmla="*/ 71707 h 116524"/>
                <a:gd name="connsiteX18" fmla="*/ 28683 w 116524"/>
                <a:gd name="connsiteY18" fmla="*/ 87393 h 116524"/>
                <a:gd name="connsiteX19" fmla="*/ 29131 w 116524"/>
                <a:gd name="connsiteY19" fmla="*/ 90082 h 116524"/>
                <a:gd name="connsiteX20" fmla="*/ 30924 w 116524"/>
                <a:gd name="connsiteY20" fmla="*/ 90530 h 116524"/>
                <a:gd name="connsiteX21" fmla="*/ 31820 w 116524"/>
                <a:gd name="connsiteY21" fmla="*/ 90082 h 116524"/>
                <a:gd name="connsiteX22" fmla="*/ 47506 w 116524"/>
                <a:gd name="connsiteY22" fmla="*/ 81119 h 116524"/>
                <a:gd name="connsiteX23" fmla="*/ 57366 w 116524"/>
                <a:gd name="connsiteY23" fmla="*/ 116972 h 116524"/>
                <a:gd name="connsiteX24" fmla="*/ 59607 w 116524"/>
                <a:gd name="connsiteY24" fmla="*/ 118765 h 116524"/>
                <a:gd name="connsiteX25" fmla="*/ 61848 w 116524"/>
                <a:gd name="connsiteY25" fmla="*/ 116972 h 116524"/>
                <a:gd name="connsiteX26" fmla="*/ 71707 w 116524"/>
                <a:gd name="connsiteY26" fmla="*/ 81119 h 116524"/>
                <a:gd name="connsiteX27" fmla="*/ 87393 w 116524"/>
                <a:gd name="connsiteY27" fmla="*/ 90082 h 116524"/>
                <a:gd name="connsiteX28" fmla="*/ 88290 w 116524"/>
                <a:gd name="connsiteY28" fmla="*/ 90530 h 116524"/>
                <a:gd name="connsiteX29" fmla="*/ 90082 w 116524"/>
                <a:gd name="connsiteY29" fmla="*/ 90082 h 116524"/>
                <a:gd name="connsiteX30" fmla="*/ 90530 w 116524"/>
                <a:gd name="connsiteY30" fmla="*/ 87393 h 116524"/>
                <a:gd name="connsiteX31" fmla="*/ 81567 w 116524"/>
                <a:gd name="connsiteY31" fmla="*/ 71707 h 116524"/>
                <a:gd name="connsiteX32" fmla="*/ 117421 w 116524"/>
                <a:gd name="connsiteY32" fmla="*/ 61848 h 116524"/>
                <a:gd name="connsiteX33" fmla="*/ 119213 w 116524"/>
                <a:gd name="connsiteY33" fmla="*/ 59607 h 116524"/>
                <a:gd name="connsiteX34" fmla="*/ 117421 w 116524"/>
                <a:gd name="connsiteY34" fmla="*/ 57366 h 116524"/>
                <a:gd name="connsiteX35" fmla="*/ 82463 w 116524"/>
                <a:gd name="connsiteY35" fmla="*/ 36302 h 116524"/>
                <a:gd name="connsiteX36" fmla="*/ 77982 w 116524"/>
                <a:gd name="connsiteY36" fmla="*/ 43921 h 116524"/>
                <a:gd name="connsiteX37" fmla="*/ 75293 w 116524"/>
                <a:gd name="connsiteY37" fmla="*/ 43024 h 116524"/>
                <a:gd name="connsiteX38" fmla="*/ 74396 w 116524"/>
                <a:gd name="connsiteY38" fmla="*/ 40335 h 116524"/>
                <a:gd name="connsiteX39" fmla="*/ 82463 w 116524"/>
                <a:gd name="connsiteY39" fmla="*/ 36302 h 116524"/>
                <a:gd name="connsiteX40" fmla="*/ 43921 w 116524"/>
                <a:gd name="connsiteY40" fmla="*/ 40783 h 116524"/>
                <a:gd name="connsiteX41" fmla="*/ 43024 w 116524"/>
                <a:gd name="connsiteY41" fmla="*/ 43473 h 116524"/>
                <a:gd name="connsiteX42" fmla="*/ 40335 w 116524"/>
                <a:gd name="connsiteY42" fmla="*/ 44369 h 116524"/>
                <a:gd name="connsiteX43" fmla="*/ 35854 w 116524"/>
                <a:gd name="connsiteY43" fmla="*/ 36750 h 116524"/>
                <a:gd name="connsiteX44" fmla="*/ 43921 w 116524"/>
                <a:gd name="connsiteY44" fmla="*/ 40783 h 116524"/>
                <a:gd name="connsiteX45" fmla="*/ 36302 w 116524"/>
                <a:gd name="connsiteY45" fmla="*/ 82463 h 116524"/>
                <a:gd name="connsiteX46" fmla="*/ 40784 w 116524"/>
                <a:gd name="connsiteY46" fmla="*/ 74844 h 116524"/>
                <a:gd name="connsiteX47" fmla="*/ 43473 w 116524"/>
                <a:gd name="connsiteY47" fmla="*/ 75741 h 116524"/>
                <a:gd name="connsiteX48" fmla="*/ 44369 w 116524"/>
                <a:gd name="connsiteY48" fmla="*/ 78430 h 116524"/>
                <a:gd name="connsiteX49" fmla="*/ 36302 w 116524"/>
                <a:gd name="connsiteY49" fmla="*/ 82463 h 116524"/>
                <a:gd name="connsiteX50" fmla="*/ 74844 w 116524"/>
                <a:gd name="connsiteY50" fmla="*/ 78430 h 116524"/>
                <a:gd name="connsiteX51" fmla="*/ 75741 w 116524"/>
                <a:gd name="connsiteY51" fmla="*/ 75741 h 116524"/>
                <a:gd name="connsiteX52" fmla="*/ 78430 w 116524"/>
                <a:gd name="connsiteY52" fmla="*/ 74844 h 116524"/>
                <a:gd name="connsiteX53" fmla="*/ 82911 w 116524"/>
                <a:gd name="connsiteY53" fmla="*/ 82463 h 116524"/>
                <a:gd name="connsiteX54" fmla="*/ 74844 w 116524"/>
                <a:gd name="connsiteY54" fmla="*/ 78430 h 116524"/>
                <a:gd name="connsiteX55" fmla="*/ 71259 w 116524"/>
                <a:gd name="connsiteY55" fmla="*/ 69915 h 116524"/>
                <a:gd name="connsiteX56" fmla="*/ 69915 w 116524"/>
                <a:gd name="connsiteY56" fmla="*/ 71259 h 116524"/>
                <a:gd name="connsiteX57" fmla="*/ 59607 w 116524"/>
                <a:gd name="connsiteY57" fmla="*/ 108457 h 116524"/>
                <a:gd name="connsiteX58" fmla="*/ 49299 w 116524"/>
                <a:gd name="connsiteY58" fmla="*/ 71259 h 116524"/>
                <a:gd name="connsiteX59" fmla="*/ 47954 w 116524"/>
                <a:gd name="connsiteY59" fmla="*/ 69915 h 116524"/>
                <a:gd name="connsiteX60" fmla="*/ 10756 w 116524"/>
                <a:gd name="connsiteY60" fmla="*/ 59607 h 116524"/>
                <a:gd name="connsiteX61" fmla="*/ 47954 w 116524"/>
                <a:gd name="connsiteY61" fmla="*/ 49299 h 116524"/>
                <a:gd name="connsiteX62" fmla="*/ 49299 w 116524"/>
                <a:gd name="connsiteY62" fmla="*/ 47954 h 116524"/>
                <a:gd name="connsiteX63" fmla="*/ 59607 w 116524"/>
                <a:gd name="connsiteY63" fmla="*/ 10756 h 116524"/>
                <a:gd name="connsiteX64" fmla="*/ 69915 w 116524"/>
                <a:gd name="connsiteY64" fmla="*/ 47954 h 116524"/>
                <a:gd name="connsiteX65" fmla="*/ 71259 w 116524"/>
                <a:gd name="connsiteY65" fmla="*/ 49299 h 116524"/>
                <a:gd name="connsiteX66" fmla="*/ 108457 w 116524"/>
                <a:gd name="connsiteY66" fmla="*/ 59607 h 116524"/>
                <a:gd name="connsiteX67" fmla="*/ 71259 w 116524"/>
                <a:gd name="connsiteY67" fmla="*/ 69915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6524" h="116524">
                  <a:moveTo>
                    <a:pt x="117421" y="57366"/>
                  </a:moveTo>
                  <a:lnTo>
                    <a:pt x="81567" y="47506"/>
                  </a:lnTo>
                  <a:lnTo>
                    <a:pt x="90530" y="31820"/>
                  </a:lnTo>
                  <a:cubicBezTo>
                    <a:pt x="90979" y="30924"/>
                    <a:pt x="90979" y="30027"/>
                    <a:pt x="90082" y="29131"/>
                  </a:cubicBezTo>
                  <a:cubicBezTo>
                    <a:pt x="89186" y="28235"/>
                    <a:pt x="88290" y="28235"/>
                    <a:pt x="87393" y="28683"/>
                  </a:cubicBezTo>
                  <a:lnTo>
                    <a:pt x="71707" y="37646"/>
                  </a:lnTo>
                  <a:lnTo>
                    <a:pt x="61848" y="1793"/>
                  </a:lnTo>
                  <a:cubicBezTo>
                    <a:pt x="61399" y="896"/>
                    <a:pt x="60503" y="0"/>
                    <a:pt x="59607" y="0"/>
                  </a:cubicBezTo>
                  <a:cubicBezTo>
                    <a:pt x="58710" y="0"/>
                    <a:pt x="57814" y="448"/>
                    <a:pt x="57366" y="1793"/>
                  </a:cubicBezTo>
                  <a:lnTo>
                    <a:pt x="47506" y="37646"/>
                  </a:lnTo>
                  <a:lnTo>
                    <a:pt x="31820" y="28683"/>
                  </a:lnTo>
                  <a:cubicBezTo>
                    <a:pt x="30924" y="28235"/>
                    <a:pt x="30027" y="28235"/>
                    <a:pt x="29131" y="29131"/>
                  </a:cubicBezTo>
                  <a:cubicBezTo>
                    <a:pt x="28235" y="30027"/>
                    <a:pt x="28235" y="30924"/>
                    <a:pt x="28683" y="31820"/>
                  </a:cubicBezTo>
                  <a:lnTo>
                    <a:pt x="37646" y="47506"/>
                  </a:lnTo>
                  <a:lnTo>
                    <a:pt x="1793" y="57366"/>
                  </a:lnTo>
                  <a:cubicBezTo>
                    <a:pt x="896" y="57814"/>
                    <a:pt x="0" y="58710"/>
                    <a:pt x="0" y="59607"/>
                  </a:cubicBezTo>
                  <a:cubicBezTo>
                    <a:pt x="0" y="60503"/>
                    <a:pt x="448" y="61399"/>
                    <a:pt x="1793" y="61848"/>
                  </a:cubicBezTo>
                  <a:lnTo>
                    <a:pt x="37646" y="71707"/>
                  </a:lnTo>
                  <a:lnTo>
                    <a:pt x="28683" y="87393"/>
                  </a:lnTo>
                  <a:cubicBezTo>
                    <a:pt x="28235" y="88290"/>
                    <a:pt x="28235" y="89186"/>
                    <a:pt x="29131" y="90082"/>
                  </a:cubicBezTo>
                  <a:cubicBezTo>
                    <a:pt x="29579" y="90530"/>
                    <a:pt x="30027" y="90530"/>
                    <a:pt x="30924" y="90530"/>
                  </a:cubicBezTo>
                  <a:cubicBezTo>
                    <a:pt x="31372" y="90530"/>
                    <a:pt x="31820" y="90530"/>
                    <a:pt x="31820" y="90082"/>
                  </a:cubicBezTo>
                  <a:lnTo>
                    <a:pt x="47506" y="81119"/>
                  </a:lnTo>
                  <a:lnTo>
                    <a:pt x="57366" y="116972"/>
                  </a:lnTo>
                  <a:cubicBezTo>
                    <a:pt x="57814" y="117869"/>
                    <a:pt x="58710" y="118765"/>
                    <a:pt x="59607" y="118765"/>
                  </a:cubicBezTo>
                  <a:cubicBezTo>
                    <a:pt x="60503" y="118765"/>
                    <a:pt x="61399" y="118317"/>
                    <a:pt x="61848" y="116972"/>
                  </a:cubicBezTo>
                  <a:lnTo>
                    <a:pt x="71707" y="81119"/>
                  </a:lnTo>
                  <a:lnTo>
                    <a:pt x="87393" y="90082"/>
                  </a:lnTo>
                  <a:cubicBezTo>
                    <a:pt x="87841" y="90082"/>
                    <a:pt x="88290" y="90530"/>
                    <a:pt x="88290" y="90530"/>
                  </a:cubicBezTo>
                  <a:cubicBezTo>
                    <a:pt x="88738" y="90530"/>
                    <a:pt x="89634" y="90082"/>
                    <a:pt x="90082" y="90082"/>
                  </a:cubicBezTo>
                  <a:cubicBezTo>
                    <a:pt x="90979" y="89186"/>
                    <a:pt x="90979" y="88290"/>
                    <a:pt x="90530" y="87393"/>
                  </a:cubicBezTo>
                  <a:lnTo>
                    <a:pt x="81567" y="71707"/>
                  </a:lnTo>
                  <a:lnTo>
                    <a:pt x="117421" y="61848"/>
                  </a:lnTo>
                  <a:cubicBezTo>
                    <a:pt x="118317" y="61399"/>
                    <a:pt x="119213" y="60503"/>
                    <a:pt x="119213" y="59607"/>
                  </a:cubicBezTo>
                  <a:cubicBezTo>
                    <a:pt x="119213" y="58710"/>
                    <a:pt x="118317" y="57814"/>
                    <a:pt x="117421" y="57366"/>
                  </a:cubicBezTo>
                  <a:close/>
                  <a:moveTo>
                    <a:pt x="82463" y="36302"/>
                  </a:moveTo>
                  <a:lnTo>
                    <a:pt x="77982" y="43921"/>
                  </a:lnTo>
                  <a:lnTo>
                    <a:pt x="75293" y="43024"/>
                  </a:lnTo>
                  <a:lnTo>
                    <a:pt x="74396" y="40335"/>
                  </a:lnTo>
                  <a:lnTo>
                    <a:pt x="82463" y="36302"/>
                  </a:lnTo>
                  <a:close/>
                  <a:moveTo>
                    <a:pt x="43921" y="40783"/>
                  </a:moveTo>
                  <a:lnTo>
                    <a:pt x="43024" y="43473"/>
                  </a:lnTo>
                  <a:lnTo>
                    <a:pt x="40335" y="44369"/>
                  </a:lnTo>
                  <a:lnTo>
                    <a:pt x="35854" y="36750"/>
                  </a:lnTo>
                  <a:lnTo>
                    <a:pt x="43921" y="40783"/>
                  </a:lnTo>
                  <a:close/>
                  <a:moveTo>
                    <a:pt x="36302" y="82463"/>
                  </a:moveTo>
                  <a:lnTo>
                    <a:pt x="40784" y="74844"/>
                  </a:lnTo>
                  <a:lnTo>
                    <a:pt x="43473" y="75741"/>
                  </a:lnTo>
                  <a:lnTo>
                    <a:pt x="44369" y="78430"/>
                  </a:lnTo>
                  <a:lnTo>
                    <a:pt x="36302" y="82463"/>
                  </a:lnTo>
                  <a:close/>
                  <a:moveTo>
                    <a:pt x="74844" y="78430"/>
                  </a:moveTo>
                  <a:lnTo>
                    <a:pt x="75741" y="75741"/>
                  </a:lnTo>
                  <a:lnTo>
                    <a:pt x="78430" y="74844"/>
                  </a:lnTo>
                  <a:lnTo>
                    <a:pt x="82911" y="82463"/>
                  </a:lnTo>
                  <a:lnTo>
                    <a:pt x="74844" y="78430"/>
                  </a:lnTo>
                  <a:close/>
                  <a:moveTo>
                    <a:pt x="71259" y="69915"/>
                  </a:moveTo>
                  <a:cubicBezTo>
                    <a:pt x="70363" y="69915"/>
                    <a:pt x="69915" y="70811"/>
                    <a:pt x="69915" y="71259"/>
                  </a:cubicBezTo>
                  <a:lnTo>
                    <a:pt x="59607" y="108457"/>
                  </a:lnTo>
                  <a:lnTo>
                    <a:pt x="49299" y="71259"/>
                  </a:lnTo>
                  <a:cubicBezTo>
                    <a:pt x="49299" y="70363"/>
                    <a:pt x="48402" y="69915"/>
                    <a:pt x="47954" y="69915"/>
                  </a:cubicBezTo>
                  <a:lnTo>
                    <a:pt x="10756" y="59607"/>
                  </a:lnTo>
                  <a:lnTo>
                    <a:pt x="47954" y="49299"/>
                  </a:lnTo>
                  <a:cubicBezTo>
                    <a:pt x="48851" y="49299"/>
                    <a:pt x="49299" y="48402"/>
                    <a:pt x="49299" y="47954"/>
                  </a:cubicBezTo>
                  <a:lnTo>
                    <a:pt x="59607" y="10756"/>
                  </a:lnTo>
                  <a:lnTo>
                    <a:pt x="69915" y="47954"/>
                  </a:lnTo>
                  <a:cubicBezTo>
                    <a:pt x="69915" y="48851"/>
                    <a:pt x="70811" y="49299"/>
                    <a:pt x="71259" y="49299"/>
                  </a:cubicBezTo>
                  <a:lnTo>
                    <a:pt x="108457" y="59607"/>
                  </a:lnTo>
                  <a:lnTo>
                    <a:pt x="71259" y="69915"/>
                  </a:lnTo>
                  <a:close/>
                </a:path>
              </a:pathLst>
            </a:custGeom>
            <a:solidFill>
              <a:srgbClr val="231F20"/>
            </a:solidFill>
            <a:ln w="4477" cap="flat">
              <a:noFill/>
              <a:prstDash val="solid"/>
              <a:miter/>
            </a:ln>
          </p:spPr>
          <p:txBody>
            <a:bodyPr rtlCol="0" anchor="ctr"/>
            <a:lstStyle/>
            <a:p>
              <a:endParaRPr lang="en-US"/>
            </a:p>
          </p:txBody>
        </p:sp>
        <p:sp>
          <p:nvSpPr>
            <p:cNvPr id="2797" name="Freeform: Shape 2796">
              <a:extLst>
                <a:ext uri="{FF2B5EF4-FFF2-40B4-BE49-F238E27FC236}">
                  <a16:creationId xmlns:a16="http://schemas.microsoft.com/office/drawing/2014/main" id="{0B6DB1CC-ACFD-4DB6-8080-EA0D754D4CCA}"/>
                </a:ext>
              </a:extLst>
            </p:cNvPr>
            <p:cNvSpPr/>
            <p:nvPr/>
          </p:nvSpPr>
          <p:spPr>
            <a:xfrm>
              <a:off x="8657762" y="1129373"/>
              <a:ext cx="17927" cy="17927"/>
            </a:xfrm>
            <a:custGeom>
              <a:avLst/>
              <a:gdLst>
                <a:gd name="connsiteX0" fmla="*/ 9860 w 17926"/>
                <a:gd name="connsiteY0" fmla="*/ 0 h 17926"/>
                <a:gd name="connsiteX1" fmla="*/ 0 w 17926"/>
                <a:gd name="connsiteY1" fmla="*/ 9860 h 17926"/>
                <a:gd name="connsiteX2" fmla="*/ 9860 w 17926"/>
                <a:gd name="connsiteY2" fmla="*/ 19719 h 17926"/>
                <a:gd name="connsiteX3" fmla="*/ 19719 w 17926"/>
                <a:gd name="connsiteY3" fmla="*/ 9860 h 17926"/>
                <a:gd name="connsiteX4" fmla="*/ 9860 w 17926"/>
                <a:gd name="connsiteY4" fmla="*/ 0 h 17926"/>
                <a:gd name="connsiteX5" fmla="*/ 9860 w 17926"/>
                <a:gd name="connsiteY5" fmla="*/ 15686 h 17926"/>
                <a:gd name="connsiteX6" fmla="*/ 4482 w 17926"/>
                <a:gd name="connsiteY6" fmla="*/ 10308 h 17926"/>
                <a:gd name="connsiteX7" fmla="*/ 9860 w 17926"/>
                <a:gd name="connsiteY7" fmla="*/ 4930 h 17926"/>
                <a:gd name="connsiteX8" fmla="*/ 15238 w 17926"/>
                <a:gd name="connsiteY8" fmla="*/ 10308 h 17926"/>
                <a:gd name="connsiteX9" fmla="*/ 9860 w 17926"/>
                <a:gd name="connsiteY9" fmla="*/ 15686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9860" y="0"/>
                  </a:moveTo>
                  <a:cubicBezTo>
                    <a:pt x="4482" y="0"/>
                    <a:pt x="0" y="4482"/>
                    <a:pt x="0" y="9860"/>
                  </a:cubicBezTo>
                  <a:cubicBezTo>
                    <a:pt x="0" y="15238"/>
                    <a:pt x="4482" y="19719"/>
                    <a:pt x="9860" y="19719"/>
                  </a:cubicBezTo>
                  <a:cubicBezTo>
                    <a:pt x="15238" y="19719"/>
                    <a:pt x="19719" y="15238"/>
                    <a:pt x="19719" y="9860"/>
                  </a:cubicBezTo>
                  <a:cubicBezTo>
                    <a:pt x="19719" y="4482"/>
                    <a:pt x="15238" y="0"/>
                    <a:pt x="9860" y="0"/>
                  </a:cubicBezTo>
                  <a:close/>
                  <a:moveTo>
                    <a:pt x="9860" y="15686"/>
                  </a:moveTo>
                  <a:cubicBezTo>
                    <a:pt x="6723" y="15686"/>
                    <a:pt x="4482" y="12997"/>
                    <a:pt x="4482" y="10308"/>
                  </a:cubicBezTo>
                  <a:cubicBezTo>
                    <a:pt x="4482" y="7171"/>
                    <a:pt x="7171" y="4930"/>
                    <a:pt x="9860" y="4930"/>
                  </a:cubicBezTo>
                  <a:cubicBezTo>
                    <a:pt x="12997" y="4930"/>
                    <a:pt x="15238" y="7619"/>
                    <a:pt x="15238" y="10308"/>
                  </a:cubicBezTo>
                  <a:cubicBezTo>
                    <a:pt x="15238" y="13445"/>
                    <a:pt x="12997" y="15686"/>
                    <a:pt x="9860" y="15686"/>
                  </a:cubicBezTo>
                  <a:close/>
                </a:path>
              </a:pathLst>
            </a:custGeom>
            <a:solidFill>
              <a:srgbClr val="231F20"/>
            </a:solidFill>
            <a:ln w="4477" cap="flat">
              <a:noFill/>
              <a:prstDash val="solid"/>
              <a:miter/>
            </a:ln>
          </p:spPr>
          <p:txBody>
            <a:bodyPr rtlCol="0" anchor="ctr"/>
            <a:lstStyle/>
            <a:p>
              <a:endParaRPr lang="en-US"/>
            </a:p>
          </p:txBody>
        </p:sp>
        <p:sp>
          <p:nvSpPr>
            <p:cNvPr id="2899" name="Freeform: Shape 2898">
              <a:extLst>
                <a:ext uri="{FF2B5EF4-FFF2-40B4-BE49-F238E27FC236}">
                  <a16:creationId xmlns:a16="http://schemas.microsoft.com/office/drawing/2014/main" id="{C9C8D949-FAE0-46AA-979A-52B1B1E33A46}"/>
                </a:ext>
              </a:extLst>
            </p:cNvPr>
            <p:cNvSpPr/>
            <p:nvPr/>
          </p:nvSpPr>
          <p:spPr>
            <a:xfrm>
              <a:off x="8591015" y="1063025"/>
              <a:ext cx="152378" cy="152378"/>
            </a:xfrm>
            <a:custGeom>
              <a:avLst/>
              <a:gdLst>
                <a:gd name="connsiteX0" fmla="*/ 131732 w 152377"/>
                <a:gd name="connsiteY0" fmla="*/ 23772 h 152377"/>
                <a:gd name="connsiteX1" fmla="*/ 78399 w 152377"/>
                <a:gd name="connsiteY1" fmla="*/ 19 h 152377"/>
                <a:gd name="connsiteX2" fmla="*/ 23723 w 152377"/>
                <a:gd name="connsiteY2" fmla="*/ 21083 h 152377"/>
                <a:gd name="connsiteX3" fmla="*/ 21034 w 152377"/>
                <a:gd name="connsiteY3" fmla="*/ 129092 h 152377"/>
                <a:gd name="connsiteX4" fmla="*/ 76159 w 152377"/>
                <a:gd name="connsiteY4" fmla="*/ 152845 h 152377"/>
                <a:gd name="connsiteX5" fmla="*/ 128594 w 152377"/>
                <a:gd name="connsiteY5" fmla="*/ 131781 h 152377"/>
                <a:gd name="connsiteX6" fmla="*/ 152347 w 152377"/>
                <a:gd name="connsiteY6" fmla="*/ 78449 h 152377"/>
                <a:gd name="connsiteX7" fmla="*/ 131732 w 152377"/>
                <a:gd name="connsiteY7" fmla="*/ 23772 h 152377"/>
                <a:gd name="connsiteX8" fmla="*/ 125905 w 152377"/>
                <a:gd name="connsiteY8" fmla="*/ 128644 h 152377"/>
                <a:gd name="connsiteX9" fmla="*/ 24171 w 152377"/>
                <a:gd name="connsiteY9" fmla="*/ 125955 h 152377"/>
                <a:gd name="connsiteX10" fmla="*/ 26860 w 152377"/>
                <a:gd name="connsiteY10" fmla="*/ 24220 h 152377"/>
                <a:gd name="connsiteX11" fmla="*/ 76159 w 152377"/>
                <a:gd name="connsiteY11" fmla="*/ 4500 h 152377"/>
                <a:gd name="connsiteX12" fmla="*/ 77951 w 152377"/>
                <a:gd name="connsiteY12" fmla="*/ 4500 h 152377"/>
                <a:gd name="connsiteX13" fmla="*/ 128146 w 152377"/>
                <a:gd name="connsiteY13" fmla="*/ 26909 h 152377"/>
                <a:gd name="connsiteX14" fmla="*/ 147866 w 152377"/>
                <a:gd name="connsiteY14" fmla="*/ 78000 h 152377"/>
                <a:gd name="connsiteX15" fmla="*/ 125905 w 152377"/>
                <a:gd name="connsiteY15" fmla="*/ 12864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377" h="152377">
                  <a:moveTo>
                    <a:pt x="131732" y="23772"/>
                  </a:moveTo>
                  <a:cubicBezTo>
                    <a:pt x="117838" y="8982"/>
                    <a:pt x="98567" y="467"/>
                    <a:pt x="78399" y="19"/>
                  </a:cubicBezTo>
                  <a:cubicBezTo>
                    <a:pt x="58232" y="-429"/>
                    <a:pt x="38512" y="7189"/>
                    <a:pt x="23723" y="21083"/>
                  </a:cubicBezTo>
                  <a:cubicBezTo>
                    <a:pt x="-6753" y="50214"/>
                    <a:pt x="-8098" y="98616"/>
                    <a:pt x="21034" y="129092"/>
                  </a:cubicBezTo>
                  <a:cubicBezTo>
                    <a:pt x="35823" y="144778"/>
                    <a:pt x="55991" y="152845"/>
                    <a:pt x="76159" y="152845"/>
                  </a:cubicBezTo>
                  <a:cubicBezTo>
                    <a:pt x="94982" y="152845"/>
                    <a:pt x="113805" y="145674"/>
                    <a:pt x="128594" y="131781"/>
                  </a:cubicBezTo>
                  <a:cubicBezTo>
                    <a:pt x="143384" y="117888"/>
                    <a:pt x="151899" y="98616"/>
                    <a:pt x="152347" y="78449"/>
                  </a:cubicBezTo>
                  <a:cubicBezTo>
                    <a:pt x="153244" y="57833"/>
                    <a:pt x="145625" y="38561"/>
                    <a:pt x="131732" y="23772"/>
                  </a:cubicBezTo>
                  <a:close/>
                  <a:moveTo>
                    <a:pt x="125905" y="128644"/>
                  </a:moveTo>
                  <a:cubicBezTo>
                    <a:pt x="97222" y="155982"/>
                    <a:pt x="51509" y="154637"/>
                    <a:pt x="24171" y="125955"/>
                  </a:cubicBezTo>
                  <a:cubicBezTo>
                    <a:pt x="-3168" y="97272"/>
                    <a:pt x="-1823" y="51558"/>
                    <a:pt x="26860" y="24220"/>
                  </a:cubicBezTo>
                  <a:cubicBezTo>
                    <a:pt x="40305" y="11223"/>
                    <a:pt x="57784" y="4500"/>
                    <a:pt x="76159" y="4500"/>
                  </a:cubicBezTo>
                  <a:cubicBezTo>
                    <a:pt x="76607" y="4500"/>
                    <a:pt x="77503" y="4500"/>
                    <a:pt x="77951" y="4500"/>
                  </a:cubicBezTo>
                  <a:cubicBezTo>
                    <a:pt x="97222" y="4949"/>
                    <a:pt x="115149" y="13016"/>
                    <a:pt x="128146" y="26909"/>
                  </a:cubicBezTo>
                  <a:cubicBezTo>
                    <a:pt x="141591" y="40802"/>
                    <a:pt x="148314" y="59177"/>
                    <a:pt x="147866" y="78000"/>
                  </a:cubicBezTo>
                  <a:cubicBezTo>
                    <a:pt x="147866" y="97272"/>
                    <a:pt x="139799" y="115198"/>
                    <a:pt x="125905" y="128644"/>
                  </a:cubicBezTo>
                  <a:close/>
                </a:path>
              </a:pathLst>
            </a:custGeom>
            <a:solidFill>
              <a:srgbClr val="231F20"/>
            </a:solidFill>
            <a:ln w="4477" cap="flat">
              <a:noFill/>
              <a:prstDash val="solid"/>
              <a:miter/>
            </a:ln>
          </p:spPr>
          <p:txBody>
            <a:bodyPr rtlCol="0" anchor="ctr"/>
            <a:lstStyle/>
            <a:p>
              <a:endParaRPr lang="en-US"/>
            </a:p>
          </p:txBody>
        </p:sp>
      </p:grpSp>
      <p:grpSp>
        <p:nvGrpSpPr>
          <p:cNvPr id="2900" name="Group 2899">
            <a:extLst>
              <a:ext uri="{FF2B5EF4-FFF2-40B4-BE49-F238E27FC236}">
                <a16:creationId xmlns:a16="http://schemas.microsoft.com/office/drawing/2014/main" id="{A89FA574-B2E4-4B8B-81B1-AA0F0BEB5962}"/>
              </a:ext>
              <a:ext uri="{C183D7F6-B498-43B3-948B-1728B52AA6E4}">
                <adec:decorative xmlns:adec="http://schemas.microsoft.com/office/drawing/2017/decorative" val="1"/>
              </a:ext>
            </a:extLst>
          </p:cNvPr>
          <p:cNvGrpSpPr>
            <a:grpSpLocks noChangeAspect="1"/>
          </p:cNvGrpSpPr>
          <p:nvPr/>
        </p:nvGrpSpPr>
        <p:grpSpPr>
          <a:xfrm>
            <a:off x="8729041" y="3118387"/>
            <a:ext cx="152378" cy="152378"/>
            <a:chOff x="8847155" y="1063025"/>
            <a:chExt cx="152378" cy="152378"/>
          </a:xfrm>
        </p:grpSpPr>
        <p:sp>
          <p:nvSpPr>
            <p:cNvPr id="2982" name="Freeform: Shape 2981">
              <a:extLst>
                <a:ext uri="{FF2B5EF4-FFF2-40B4-BE49-F238E27FC236}">
                  <a16:creationId xmlns:a16="http://schemas.microsoft.com/office/drawing/2014/main" id="{29C0714D-166F-4E73-8267-E3A298A535B1}"/>
                </a:ext>
              </a:extLst>
            </p:cNvPr>
            <p:cNvSpPr/>
            <p:nvPr/>
          </p:nvSpPr>
          <p:spPr>
            <a:xfrm>
              <a:off x="8877968" y="1092511"/>
              <a:ext cx="89634" cy="94116"/>
            </a:xfrm>
            <a:custGeom>
              <a:avLst/>
              <a:gdLst>
                <a:gd name="connsiteX0" fmla="*/ 88584 w 89634"/>
                <a:gd name="connsiteY0" fmla="*/ 94228 h 94115"/>
                <a:gd name="connsiteX1" fmla="*/ 87688 w 89634"/>
                <a:gd name="connsiteY1" fmla="*/ 93780 h 94115"/>
                <a:gd name="connsiteX2" fmla="*/ 45560 w 89634"/>
                <a:gd name="connsiteY2" fmla="*/ 69578 h 94115"/>
                <a:gd name="connsiteX3" fmla="*/ 3432 w 89634"/>
                <a:gd name="connsiteY3" fmla="*/ 93780 h 94115"/>
                <a:gd name="connsiteX4" fmla="*/ 743 w 89634"/>
                <a:gd name="connsiteY4" fmla="*/ 93331 h 94115"/>
                <a:gd name="connsiteX5" fmla="*/ 295 w 89634"/>
                <a:gd name="connsiteY5" fmla="*/ 90642 h 94115"/>
                <a:gd name="connsiteX6" fmla="*/ 43767 w 89634"/>
                <a:gd name="connsiteY6" fmla="*/ 1008 h 94115"/>
                <a:gd name="connsiteX7" fmla="*/ 47800 w 89634"/>
                <a:gd name="connsiteY7" fmla="*/ 1008 h 94115"/>
                <a:gd name="connsiteX8" fmla="*/ 91273 w 89634"/>
                <a:gd name="connsiteY8" fmla="*/ 90642 h 94115"/>
                <a:gd name="connsiteX9" fmla="*/ 90825 w 89634"/>
                <a:gd name="connsiteY9" fmla="*/ 93331 h 94115"/>
                <a:gd name="connsiteX10" fmla="*/ 88584 w 89634"/>
                <a:gd name="connsiteY10" fmla="*/ 94228 h 94115"/>
                <a:gd name="connsiteX11" fmla="*/ 43319 w 89634"/>
                <a:gd name="connsiteY11" fmla="*/ 11764 h 94115"/>
                <a:gd name="connsiteX12" fmla="*/ 7465 w 89634"/>
                <a:gd name="connsiteY12" fmla="*/ 86161 h 94115"/>
                <a:gd name="connsiteX13" fmla="*/ 43319 w 89634"/>
                <a:gd name="connsiteY13" fmla="*/ 65545 h 94115"/>
                <a:gd name="connsiteX14" fmla="*/ 43319 w 89634"/>
                <a:gd name="connsiteY14" fmla="*/ 11764 h 94115"/>
                <a:gd name="connsiteX15" fmla="*/ 47800 w 89634"/>
                <a:gd name="connsiteY15" fmla="*/ 65545 h 94115"/>
                <a:gd name="connsiteX16" fmla="*/ 83654 w 89634"/>
                <a:gd name="connsiteY16" fmla="*/ 86161 h 94115"/>
                <a:gd name="connsiteX17" fmla="*/ 47800 w 89634"/>
                <a:gd name="connsiteY17" fmla="*/ 11764 h 94115"/>
                <a:gd name="connsiteX18" fmla="*/ 47800 w 89634"/>
                <a:gd name="connsiteY18" fmla="*/ 65545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634" h="94115">
                  <a:moveTo>
                    <a:pt x="88584" y="94228"/>
                  </a:moveTo>
                  <a:cubicBezTo>
                    <a:pt x="88136" y="94228"/>
                    <a:pt x="87688" y="94228"/>
                    <a:pt x="87688" y="93780"/>
                  </a:cubicBezTo>
                  <a:lnTo>
                    <a:pt x="45560" y="69578"/>
                  </a:lnTo>
                  <a:lnTo>
                    <a:pt x="3432" y="93780"/>
                  </a:lnTo>
                  <a:cubicBezTo>
                    <a:pt x="2535" y="94228"/>
                    <a:pt x="1639" y="94228"/>
                    <a:pt x="743" y="93331"/>
                  </a:cubicBezTo>
                  <a:cubicBezTo>
                    <a:pt x="-154" y="92883"/>
                    <a:pt x="-154" y="91539"/>
                    <a:pt x="295" y="90642"/>
                  </a:cubicBezTo>
                  <a:lnTo>
                    <a:pt x="43767" y="1008"/>
                  </a:lnTo>
                  <a:cubicBezTo>
                    <a:pt x="44663" y="-336"/>
                    <a:pt x="46904" y="-336"/>
                    <a:pt x="47800" y="1008"/>
                  </a:cubicBezTo>
                  <a:lnTo>
                    <a:pt x="91273" y="90642"/>
                  </a:lnTo>
                  <a:cubicBezTo>
                    <a:pt x="91721" y="91539"/>
                    <a:pt x="91721" y="92435"/>
                    <a:pt x="90825" y="93331"/>
                  </a:cubicBezTo>
                  <a:cubicBezTo>
                    <a:pt x="89929" y="93780"/>
                    <a:pt x="89480" y="94228"/>
                    <a:pt x="88584" y="94228"/>
                  </a:cubicBezTo>
                  <a:close/>
                  <a:moveTo>
                    <a:pt x="43319" y="11764"/>
                  </a:moveTo>
                  <a:lnTo>
                    <a:pt x="7465" y="86161"/>
                  </a:lnTo>
                  <a:lnTo>
                    <a:pt x="43319" y="65545"/>
                  </a:lnTo>
                  <a:lnTo>
                    <a:pt x="43319" y="11764"/>
                  </a:lnTo>
                  <a:close/>
                  <a:moveTo>
                    <a:pt x="47800" y="65545"/>
                  </a:moveTo>
                  <a:lnTo>
                    <a:pt x="83654" y="86161"/>
                  </a:lnTo>
                  <a:lnTo>
                    <a:pt x="47800" y="11764"/>
                  </a:lnTo>
                  <a:lnTo>
                    <a:pt x="47800" y="65545"/>
                  </a:lnTo>
                  <a:close/>
                </a:path>
              </a:pathLst>
            </a:custGeom>
            <a:solidFill>
              <a:srgbClr val="231F20"/>
            </a:solidFill>
            <a:ln w="4477" cap="flat">
              <a:noFill/>
              <a:prstDash val="solid"/>
              <a:miter/>
            </a:ln>
          </p:spPr>
          <p:txBody>
            <a:bodyPr rtlCol="0" anchor="ctr"/>
            <a:lstStyle/>
            <a:p>
              <a:endParaRPr lang="en-US"/>
            </a:p>
          </p:txBody>
        </p:sp>
        <p:sp>
          <p:nvSpPr>
            <p:cNvPr id="2983" name="Freeform: Shape 2982">
              <a:extLst>
                <a:ext uri="{FF2B5EF4-FFF2-40B4-BE49-F238E27FC236}">
                  <a16:creationId xmlns:a16="http://schemas.microsoft.com/office/drawing/2014/main" id="{C4EB04C1-9631-4EDB-800D-5F2B927B626C}"/>
                </a:ext>
              </a:extLst>
            </p:cNvPr>
            <p:cNvSpPr/>
            <p:nvPr/>
          </p:nvSpPr>
          <p:spPr>
            <a:xfrm>
              <a:off x="8847155" y="1063025"/>
              <a:ext cx="152378" cy="152378"/>
            </a:xfrm>
            <a:custGeom>
              <a:avLst/>
              <a:gdLst>
                <a:gd name="connsiteX0" fmla="*/ 76372 w 152377"/>
                <a:gd name="connsiteY0" fmla="*/ 152845 h 152377"/>
                <a:gd name="connsiteX1" fmla="*/ 21248 w 152377"/>
                <a:gd name="connsiteY1" fmla="*/ 129092 h 152377"/>
                <a:gd name="connsiteX2" fmla="*/ 23488 w 152377"/>
                <a:gd name="connsiteY2" fmla="*/ 21083 h 152377"/>
                <a:gd name="connsiteX3" fmla="*/ 78165 w 152377"/>
                <a:gd name="connsiteY3" fmla="*/ 19 h 152377"/>
                <a:gd name="connsiteX4" fmla="*/ 131497 w 152377"/>
                <a:gd name="connsiteY4" fmla="*/ 23772 h 152377"/>
                <a:gd name="connsiteX5" fmla="*/ 128808 w 152377"/>
                <a:gd name="connsiteY5" fmla="*/ 131781 h 152377"/>
                <a:gd name="connsiteX6" fmla="*/ 76372 w 152377"/>
                <a:gd name="connsiteY6" fmla="*/ 152845 h 152377"/>
                <a:gd name="connsiteX7" fmla="*/ 76372 w 152377"/>
                <a:gd name="connsiteY7" fmla="*/ 4500 h 152377"/>
                <a:gd name="connsiteX8" fmla="*/ 27074 w 152377"/>
                <a:gd name="connsiteY8" fmla="*/ 24220 h 152377"/>
                <a:gd name="connsiteX9" fmla="*/ 24385 w 152377"/>
                <a:gd name="connsiteY9" fmla="*/ 125955 h 152377"/>
                <a:gd name="connsiteX10" fmla="*/ 126119 w 152377"/>
                <a:gd name="connsiteY10" fmla="*/ 128644 h 152377"/>
                <a:gd name="connsiteX11" fmla="*/ 128808 w 152377"/>
                <a:gd name="connsiteY11" fmla="*/ 26909 h 152377"/>
                <a:gd name="connsiteX12" fmla="*/ 78613 w 152377"/>
                <a:gd name="connsiteY12" fmla="*/ 4500 h 152377"/>
                <a:gd name="connsiteX13" fmla="*/ 76372 w 152377"/>
                <a:gd name="connsiteY13" fmla="*/ 450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377" h="152377">
                  <a:moveTo>
                    <a:pt x="76372" y="152845"/>
                  </a:moveTo>
                  <a:cubicBezTo>
                    <a:pt x="56205" y="152845"/>
                    <a:pt x="36037" y="144778"/>
                    <a:pt x="21248" y="129092"/>
                  </a:cubicBezTo>
                  <a:cubicBezTo>
                    <a:pt x="-7884" y="98616"/>
                    <a:pt x="-6987" y="50214"/>
                    <a:pt x="23488" y="21083"/>
                  </a:cubicBezTo>
                  <a:cubicBezTo>
                    <a:pt x="38278" y="7189"/>
                    <a:pt x="57549" y="-429"/>
                    <a:pt x="78165" y="19"/>
                  </a:cubicBezTo>
                  <a:cubicBezTo>
                    <a:pt x="98333" y="467"/>
                    <a:pt x="117604" y="8982"/>
                    <a:pt x="131497" y="23772"/>
                  </a:cubicBezTo>
                  <a:cubicBezTo>
                    <a:pt x="160628" y="54247"/>
                    <a:pt x="159284" y="102650"/>
                    <a:pt x="128808" y="131781"/>
                  </a:cubicBezTo>
                  <a:cubicBezTo>
                    <a:pt x="114019" y="145674"/>
                    <a:pt x="95196" y="152845"/>
                    <a:pt x="76372" y="152845"/>
                  </a:cubicBezTo>
                  <a:close/>
                  <a:moveTo>
                    <a:pt x="76372" y="4500"/>
                  </a:moveTo>
                  <a:cubicBezTo>
                    <a:pt x="57998" y="4500"/>
                    <a:pt x="40519" y="11671"/>
                    <a:pt x="27074" y="24220"/>
                  </a:cubicBezTo>
                  <a:cubicBezTo>
                    <a:pt x="-1609" y="51558"/>
                    <a:pt x="-2954" y="97272"/>
                    <a:pt x="24385" y="125955"/>
                  </a:cubicBezTo>
                  <a:cubicBezTo>
                    <a:pt x="51723" y="154637"/>
                    <a:pt x="97436" y="155982"/>
                    <a:pt x="126119" y="128644"/>
                  </a:cubicBezTo>
                  <a:cubicBezTo>
                    <a:pt x="154802" y="101305"/>
                    <a:pt x="156147" y="55592"/>
                    <a:pt x="128808" y="26909"/>
                  </a:cubicBezTo>
                  <a:cubicBezTo>
                    <a:pt x="115363" y="13016"/>
                    <a:pt x="97885" y="4949"/>
                    <a:pt x="78613" y="4500"/>
                  </a:cubicBezTo>
                  <a:cubicBezTo>
                    <a:pt x="77269" y="4500"/>
                    <a:pt x="76821" y="4500"/>
                    <a:pt x="76372" y="4500"/>
                  </a:cubicBezTo>
                  <a:close/>
                </a:path>
              </a:pathLst>
            </a:custGeom>
            <a:solidFill>
              <a:srgbClr val="231F20"/>
            </a:solidFill>
            <a:ln w="4477" cap="flat">
              <a:noFill/>
              <a:prstDash val="solid"/>
              <a:miter/>
            </a:ln>
          </p:spPr>
          <p:txBody>
            <a:bodyPr rtlCol="0" anchor="ctr"/>
            <a:lstStyle/>
            <a:p>
              <a:endParaRPr lang="en-US"/>
            </a:p>
          </p:txBody>
        </p:sp>
      </p:grpSp>
      <p:sp>
        <p:nvSpPr>
          <p:cNvPr id="2984" name="Freeform: Shape 2983">
            <a:extLst>
              <a:ext uri="{FF2B5EF4-FFF2-40B4-BE49-F238E27FC236}">
                <a16:creationId xmlns:a16="http://schemas.microsoft.com/office/drawing/2014/main" id="{90CA38E2-4717-4E00-8D32-2DB34E9D54F5}"/>
              </a:ext>
              <a:ext uri="{C183D7F6-B498-43B3-948B-1728B52AA6E4}">
                <adec:decorative xmlns:adec="http://schemas.microsoft.com/office/drawing/2017/decorative" val="1"/>
              </a:ext>
            </a:extLst>
          </p:cNvPr>
          <p:cNvSpPr>
            <a:spLocks noChangeAspect="1"/>
          </p:cNvSpPr>
          <p:nvPr/>
        </p:nvSpPr>
        <p:spPr>
          <a:xfrm>
            <a:off x="6350785" y="3116613"/>
            <a:ext cx="174786" cy="156860"/>
          </a:xfrm>
          <a:custGeom>
            <a:avLst/>
            <a:gdLst>
              <a:gd name="connsiteX0" fmla="*/ 114283 w 174786"/>
              <a:gd name="connsiteY0" fmla="*/ 80671 h 156859"/>
              <a:gd name="connsiteX1" fmla="*/ 137140 w 174786"/>
              <a:gd name="connsiteY1" fmla="*/ 58262 h 156859"/>
              <a:gd name="connsiteX2" fmla="*/ 146103 w 174786"/>
              <a:gd name="connsiteY2" fmla="*/ 59607 h 156859"/>
              <a:gd name="connsiteX3" fmla="*/ 166719 w 174786"/>
              <a:gd name="connsiteY3" fmla="*/ 51091 h 156859"/>
              <a:gd name="connsiteX4" fmla="*/ 175235 w 174786"/>
              <a:gd name="connsiteY4" fmla="*/ 30027 h 156859"/>
              <a:gd name="connsiteX5" fmla="*/ 173890 w 174786"/>
              <a:gd name="connsiteY5" fmla="*/ 22857 h 156859"/>
              <a:gd name="connsiteX6" fmla="*/ 172097 w 174786"/>
              <a:gd name="connsiteY6" fmla="*/ 21064 h 156859"/>
              <a:gd name="connsiteX7" fmla="*/ 169857 w 174786"/>
              <a:gd name="connsiteY7" fmla="*/ 21512 h 156859"/>
              <a:gd name="connsiteX8" fmla="*/ 156860 w 174786"/>
              <a:gd name="connsiteY8" fmla="*/ 34509 h 156859"/>
              <a:gd name="connsiteX9" fmla="*/ 144759 w 174786"/>
              <a:gd name="connsiteY9" fmla="*/ 31820 h 156859"/>
              <a:gd name="connsiteX10" fmla="*/ 141622 w 174786"/>
              <a:gd name="connsiteY10" fmla="*/ 19719 h 156859"/>
              <a:gd name="connsiteX11" fmla="*/ 155067 w 174786"/>
              <a:gd name="connsiteY11" fmla="*/ 6274 h 156859"/>
              <a:gd name="connsiteX12" fmla="*/ 155963 w 174786"/>
              <a:gd name="connsiteY12" fmla="*/ 4930 h 156859"/>
              <a:gd name="connsiteX13" fmla="*/ 154619 w 174786"/>
              <a:gd name="connsiteY13" fmla="*/ 3137 h 156859"/>
              <a:gd name="connsiteX14" fmla="*/ 146103 w 174786"/>
              <a:gd name="connsiteY14" fmla="*/ 1793 h 156859"/>
              <a:gd name="connsiteX15" fmla="*/ 126384 w 174786"/>
              <a:gd name="connsiteY15" fmla="*/ 10756 h 156859"/>
              <a:gd name="connsiteX16" fmla="*/ 117869 w 174786"/>
              <a:gd name="connsiteY16" fmla="*/ 31372 h 156859"/>
              <a:gd name="connsiteX17" fmla="*/ 119213 w 174786"/>
              <a:gd name="connsiteY17" fmla="*/ 39887 h 156859"/>
              <a:gd name="connsiteX18" fmla="*/ 95908 w 174786"/>
              <a:gd name="connsiteY18" fmla="*/ 62744 h 156859"/>
              <a:gd name="connsiteX19" fmla="*/ 72604 w 174786"/>
              <a:gd name="connsiteY19" fmla="*/ 39887 h 156859"/>
              <a:gd name="connsiteX20" fmla="*/ 74844 w 174786"/>
              <a:gd name="connsiteY20" fmla="*/ 37646 h 156859"/>
              <a:gd name="connsiteX21" fmla="*/ 75293 w 174786"/>
              <a:gd name="connsiteY21" fmla="*/ 35854 h 156859"/>
              <a:gd name="connsiteX22" fmla="*/ 74844 w 174786"/>
              <a:gd name="connsiteY22" fmla="*/ 34061 h 156859"/>
              <a:gd name="connsiteX23" fmla="*/ 62744 w 174786"/>
              <a:gd name="connsiteY23" fmla="*/ 22857 h 156859"/>
              <a:gd name="connsiteX24" fmla="*/ 88738 w 174786"/>
              <a:gd name="connsiteY24" fmla="*/ 8067 h 156859"/>
              <a:gd name="connsiteX25" fmla="*/ 90979 w 174786"/>
              <a:gd name="connsiteY25" fmla="*/ 6274 h 156859"/>
              <a:gd name="connsiteX26" fmla="*/ 89634 w 174786"/>
              <a:gd name="connsiteY26" fmla="*/ 4034 h 156859"/>
              <a:gd name="connsiteX27" fmla="*/ 71707 w 174786"/>
              <a:gd name="connsiteY27" fmla="*/ 0 h 156859"/>
              <a:gd name="connsiteX28" fmla="*/ 55573 w 174786"/>
              <a:gd name="connsiteY28" fmla="*/ 3585 h 156859"/>
              <a:gd name="connsiteX29" fmla="*/ 43921 w 174786"/>
              <a:gd name="connsiteY29" fmla="*/ 11652 h 156859"/>
              <a:gd name="connsiteX30" fmla="*/ 21960 w 174786"/>
              <a:gd name="connsiteY30" fmla="*/ 33165 h 156859"/>
              <a:gd name="connsiteX31" fmla="*/ 21064 w 174786"/>
              <a:gd name="connsiteY31" fmla="*/ 34957 h 156859"/>
              <a:gd name="connsiteX32" fmla="*/ 21960 w 174786"/>
              <a:gd name="connsiteY32" fmla="*/ 40335 h 156859"/>
              <a:gd name="connsiteX33" fmla="*/ 20616 w 174786"/>
              <a:gd name="connsiteY33" fmla="*/ 44817 h 156859"/>
              <a:gd name="connsiteX34" fmla="*/ 15686 w 174786"/>
              <a:gd name="connsiteY34" fmla="*/ 46610 h 156859"/>
              <a:gd name="connsiteX35" fmla="*/ 10308 w 174786"/>
              <a:gd name="connsiteY35" fmla="*/ 46162 h 156859"/>
              <a:gd name="connsiteX36" fmla="*/ 8515 w 174786"/>
              <a:gd name="connsiteY36" fmla="*/ 46610 h 156859"/>
              <a:gd name="connsiteX37" fmla="*/ 1793 w 174786"/>
              <a:gd name="connsiteY37" fmla="*/ 53332 h 156859"/>
              <a:gd name="connsiteX38" fmla="*/ 0 w 174786"/>
              <a:gd name="connsiteY38" fmla="*/ 57814 h 156859"/>
              <a:gd name="connsiteX39" fmla="*/ 1793 w 174786"/>
              <a:gd name="connsiteY39" fmla="*/ 62296 h 156859"/>
              <a:gd name="connsiteX40" fmla="*/ 18375 w 174786"/>
              <a:gd name="connsiteY40" fmla="*/ 78878 h 156859"/>
              <a:gd name="connsiteX41" fmla="*/ 27338 w 174786"/>
              <a:gd name="connsiteY41" fmla="*/ 78878 h 156859"/>
              <a:gd name="connsiteX42" fmla="*/ 34061 w 174786"/>
              <a:gd name="connsiteY42" fmla="*/ 72155 h 156859"/>
              <a:gd name="connsiteX43" fmla="*/ 34509 w 174786"/>
              <a:gd name="connsiteY43" fmla="*/ 70363 h 156859"/>
              <a:gd name="connsiteX44" fmla="*/ 34061 w 174786"/>
              <a:gd name="connsiteY44" fmla="*/ 66329 h 156859"/>
              <a:gd name="connsiteX45" fmla="*/ 35405 w 174786"/>
              <a:gd name="connsiteY45" fmla="*/ 61848 h 156859"/>
              <a:gd name="connsiteX46" fmla="*/ 41232 w 174786"/>
              <a:gd name="connsiteY46" fmla="*/ 60055 h 156859"/>
              <a:gd name="connsiteX47" fmla="*/ 48402 w 174786"/>
              <a:gd name="connsiteY47" fmla="*/ 61848 h 156859"/>
              <a:gd name="connsiteX48" fmla="*/ 50643 w 174786"/>
              <a:gd name="connsiteY48" fmla="*/ 61399 h 156859"/>
              <a:gd name="connsiteX49" fmla="*/ 53332 w 174786"/>
              <a:gd name="connsiteY49" fmla="*/ 58710 h 156859"/>
              <a:gd name="connsiteX50" fmla="*/ 76637 w 174786"/>
              <a:gd name="connsiteY50" fmla="*/ 81567 h 156859"/>
              <a:gd name="connsiteX51" fmla="*/ 21960 w 174786"/>
              <a:gd name="connsiteY51" fmla="*/ 134003 h 156859"/>
              <a:gd name="connsiteX52" fmla="*/ 17927 w 174786"/>
              <a:gd name="connsiteY52" fmla="*/ 143863 h 156859"/>
              <a:gd name="connsiteX53" fmla="*/ 21960 w 174786"/>
              <a:gd name="connsiteY53" fmla="*/ 153274 h 156859"/>
              <a:gd name="connsiteX54" fmla="*/ 30924 w 174786"/>
              <a:gd name="connsiteY54" fmla="*/ 156860 h 156859"/>
              <a:gd name="connsiteX55" fmla="*/ 40335 w 174786"/>
              <a:gd name="connsiteY55" fmla="*/ 152826 h 156859"/>
              <a:gd name="connsiteX56" fmla="*/ 94564 w 174786"/>
              <a:gd name="connsiteY56" fmla="*/ 99494 h 156859"/>
              <a:gd name="connsiteX57" fmla="*/ 143863 w 174786"/>
              <a:gd name="connsiteY57" fmla="*/ 147896 h 156859"/>
              <a:gd name="connsiteX58" fmla="*/ 153722 w 174786"/>
              <a:gd name="connsiteY58" fmla="*/ 151930 h 156859"/>
              <a:gd name="connsiteX59" fmla="*/ 163582 w 174786"/>
              <a:gd name="connsiteY59" fmla="*/ 147448 h 156859"/>
              <a:gd name="connsiteX60" fmla="*/ 163582 w 174786"/>
              <a:gd name="connsiteY60" fmla="*/ 128177 h 156859"/>
              <a:gd name="connsiteX61" fmla="*/ 114283 w 174786"/>
              <a:gd name="connsiteY61" fmla="*/ 80671 h 156859"/>
              <a:gd name="connsiteX62" fmla="*/ 129073 w 174786"/>
              <a:gd name="connsiteY62" fmla="*/ 13893 h 156859"/>
              <a:gd name="connsiteX63" fmla="*/ 145655 w 174786"/>
              <a:gd name="connsiteY63" fmla="*/ 6274 h 156859"/>
              <a:gd name="connsiteX64" fmla="*/ 149241 w 174786"/>
              <a:gd name="connsiteY64" fmla="*/ 6723 h 156859"/>
              <a:gd name="connsiteX65" fmla="*/ 138485 w 174786"/>
              <a:gd name="connsiteY65" fmla="*/ 17479 h 156859"/>
              <a:gd name="connsiteX66" fmla="*/ 137140 w 174786"/>
              <a:gd name="connsiteY66" fmla="*/ 21512 h 156859"/>
              <a:gd name="connsiteX67" fmla="*/ 140277 w 174786"/>
              <a:gd name="connsiteY67" fmla="*/ 33613 h 156859"/>
              <a:gd name="connsiteX68" fmla="*/ 143414 w 174786"/>
              <a:gd name="connsiteY68" fmla="*/ 36750 h 156859"/>
              <a:gd name="connsiteX69" fmla="*/ 155515 w 174786"/>
              <a:gd name="connsiteY69" fmla="*/ 39887 h 156859"/>
              <a:gd name="connsiteX70" fmla="*/ 159549 w 174786"/>
              <a:gd name="connsiteY70" fmla="*/ 38543 h 156859"/>
              <a:gd name="connsiteX71" fmla="*/ 169857 w 174786"/>
              <a:gd name="connsiteY71" fmla="*/ 28235 h 156859"/>
              <a:gd name="connsiteX72" fmla="*/ 169857 w 174786"/>
              <a:gd name="connsiteY72" fmla="*/ 30476 h 156859"/>
              <a:gd name="connsiteX73" fmla="*/ 162686 w 174786"/>
              <a:gd name="connsiteY73" fmla="*/ 47954 h 156859"/>
              <a:gd name="connsiteX74" fmla="*/ 145207 w 174786"/>
              <a:gd name="connsiteY74" fmla="*/ 55125 h 156859"/>
              <a:gd name="connsiteX75" fmla="*/ 136692 w 174786"/>
              <a:gd name="connsiteY75" fmla="*/ 53332 h 156859"/>
              <a:gd name="connsiteX76" fmla="*/ 136244 w 174786"/>
              <a:gd name="connsiteY76" fmla="*/ 53332 h 156859"/>
              <a:gd name="connsiteX77" fmla="*/ 128177 w 174786"/>
              <a:gd name="connsiteY77" fmla="*/ 47954 h 156859"/>
              <a:gd name="connsiteX78" fmla="*/ 122799 w 174786"/>
              <a:gd name="connsiteY78" fmla="*/ 39439 h 156859"/>
              <a:gd name="connsiteX79" fmla="*/ 122799 w 174786"/>
              <a:gd name="connsiteY79" fmla="*/ 38991 h 156859"/>
              <a:gd name="connsiteX80" fmla="*/ 121454 w 174786"/>
              <a:gd name="connsiteY80" fmla="*/ 30924 h 156859"/>
              <a:gd name="connsiteX81" fmla="*/ 129073 w 174786"/>
              <a:gd name="connsiteY81" fmla="*/ 13893 h 156859"/>
              <a:gd name="connsiteX82" fmla="*/ 120558 w 174786"/>
              <a:gd name="connsiteY82" fmla="*/ 43921 h 156859"/>
              <a:gd name="connsiteX83" fmla="*/ 125936 w 174786"/>
              <a:gd name="connsiteY83" fmla="*/ 51091 h 156859"/>
              <a:gd name="connsiteX84" fmla="*/ 132658 w 174786"/>
              <a:gd name="connsiteY84" fmla="*/ 56021 h 156859"/>
              <a:gd name="connsiteX85" fmla="*/ 111146 w 174786"/>
              <a:gd name="connsiteY85" fmla="*/ 77085 h 156859"/>
              <a:gd name="connsiteX86" fmla="*/ 98597 w 174786"/>
              <a:gd name="connsiteY86" fmla="*/ 64985 h 156859"/>
              <a:gd name="connsiteX87" fmla="*/ 120558 w 174786"/>
              <a:gd name="connsiteY87" fmla="*/ 43921 h 156859"/>
              <a:gd name="connsiteX88" fmla="*/ 51540 w 174786"/>
              <a:gd name="connsiteY88" fmla="*/ 53780 h 156859"/>
              <a:gd name="connsiteX89" fmla="*/ 51540 w 174786"/>
              <a:gd name="connsiteY89" fmla="*/ 53780 h 156859"/>
              <a:gd name="connsiteX90" fmla="*/ 51540 w 174786"/>
              <a:gd name="connsiteY90" fmla="*/ 53780 h 156859"/>
              <a:gd name="connsiteX91" fmla="*/ 47954 w 174786"/>
              <a:gd name="connsiteY91" fmla="*/ 56918 h 156859"/>
              <a:gd name="connsiteX92" fmla="*/ 42128 w 174786"/>
              <a:gd name="connsiteY92" fmla="*/ 55573 h 156859"/>
              <a:gd name="connsiteX93" fmla="*/ 31820 w 174786"/>
              <a:gd name="connsiteY93" fmla="*/ 58710 h 156859"/>
              <a:gd name="connsiteX94" fmla="*/ 29131 w 174786"/>
              <a:gd name="connsiteY94" fmla="*/ 66777 h 156859"/>
              <a:gd name="connsiteX95" fmla="*/ 29579 w 174786"/>
              <a:gd name="connsiteY95" fmla="*/ 69915 h 156859"/>
              <a:gd name="connsiteX96" fmla="*/ 23753 w 174786"/>
              <a:gd name="connsiteY96" fmla="*/ 75741 h 156859"/>
              <a:gd name="connsiteX97" fmla="*/ 21064 w 174786"/>
              <a:gd name="connsiteY97" fmla="*/ 75741 h 156859"/>
              <a:gd name="connsiteX98" fmla="*/ 4482 w 174786"/>
              <a:gd name="connsiteY98" fmla="*/ 59158 h 156859"/>
              <a:gd name="connsiteX99" fmla="*/ 4034 w 174786"/>
              <a:gd name="connsiteY99" fmla="*/ 57814 h 156859"/>
              <a:gd name="connsiteX100" fmla="*/ 4482 w 174786"/>
              <a:gd name="connsiteY100" fmla="*/ 56469 h 156859"/>
              <a:gd name="connsiteX101" fmla="*/ 4482 w 174786"/>
              <a:gd name="connsiteY101" fmla="*/ 56469 h 156859"/>
              <a:gd name="connsiteX102" fmla="*/ 10308 w 174786"/>
              <a:gd name="connsiteY102" fmla="*/ 50643 h 156859"/>
              <a:gd name="connsiteX103" fmla="*/ 14790 w 174786"/>
              <a:gd name="connsiteY103" fmla="*/ 51091 h 156859"/>
              <a:gd name="connsiteX104" fmla="*/ 23753 w 174786"/>
              <a:gd name="connsiteY104" fmla="*/ 47506 h 156859"/>
              <a:gd name="connsiteX105" fmla="*/ 26442 w 174786"/>
              <a:gd name="connsiteY105" fmla="*/ 39887 h 156859"/>
              <a:gd name="connsiteX106" fmla="*/ 25994 w 174786"/>
              <a:gd name="connsiteY106" fmla="*/ 35405 h 156859"/>
              <a:gd name="connsiteX107" fmla="*/ 47058 w 174786"/>
              <a:gd name="connsiteY107" fmla="*/ 14341 h 156859"/>
              <a:gd name="connsiteX108" fmla="*/ 57366 w 174786"/>
              <a:gd name="connsiteY108" fmla="*/ 7171 h 156859"/>
              <a:gd name="connsiteX109" fmla="*/ 71707 w 174786"/>
              <a:gd name="connsiteY109" fmla="*/ 4034 h 156859"/>
              <a:gd name="connsiteX110" fmla="*/ 79326 w 174786"/>
              <a:gd name="connsiteY110" fmla="*/ 4930 h 156859"/>
              <a:gd name="connsiteX111" fmla="*/ 58710 w 174786"/>
              <a:gd name="connsiteY111" fmla="*/ 21064 h 156859"/>
              <a:gd name="connsiteX112" fmla="*/ 59607 w 174786"/>
              <a:gd name="connsiteY112" fmla="*/ 25994 h 156859"/>
              <a:gd name="connsiteX113" fmla="*/ 69466 w 174786"/>
              <a:gd name="connsiteY113" fmla="*/ 35854 h 156859"/>
              <a:gd name="connsiteX114" fmla="*/ 51540 w 174786"/>
              <a:gd name="connsiteY114" fmla="*/ 53780 h 156859"/>
              <a:gd name="connsiteX115" fmla="*/ 37646 w 174786"/>
              <a:gd name="connsiteY115" fmla="*/ 150137 h 156859"/>
              <a:gd name="connsiteX116" fmla="*/ 25546 w 174786"/>
              <a:gd name="connsiteY116" fmla="*/ 150137 h 156859"/>
              <a:gd name="connsiteX117" fmla="*/ 22409 w 174786"/>
              <a:gd name="connsiteY117" fmla="*/ 143863 h 156859"/>
              <a:gd name="connsiteX118" fmla="*/ 25098 w 174786"/>
              <a:gd name="connsiteY118" fmla="*/ 137588 h 156859"/>
              <a:gd name="connsiteX119" fmla="*/ 79326 w 174786"/>
              <a:gd name="connsiteY119" fmla="*/ 84704 h 156859"/>
              <a:gd name="connsiteX120" fmla="*/ 91875 w 174786"/>
              <a:gd name="connsiteY120" fmla="*/ 96805 h 156859"/>
              <a:gd name="connsiteX121" fmla="*/ 37646 w 174786"/>
              <a:gd name="connsiteY121" fmla="*/ 150137 h 156859"/>
              <a:gd name="connsiteX122" fmla="*/ 160445 w 174786"/>
              <a:gd name="connsiteY122" fmla="*/ 144759 h 156859"/>
              <a:gd name="connsiteX123" fmla="*/ 153722 w 174786"/>
              <a:gd name="connsiteY123" fmla="*/ 147448 h 156859"/>
              <a:gd name="connsiteX124" fmla="*/ 153722 w 174786"/>
              <a:gd name="connsiteY124" fmla="*/ 147448 h 156859"/>
              <a:gd name="connsiteX125" fmla="*/ 147000 w 174786"/>
              <a:gd name="connsiteY125" fmla="*/ 144759 h 156859"/>
              <a:gd name="connsiteX126" fmla="*/ 79774 w 174786"/>
              <a:gd name="connsiteY126" fmla="*/ 78878 h 156859"/>
              <a:gd name="connsiteX127" fmla="*/ 79774 w 174786"/>
              <a:gd name="connsiteY127" fmla="*/ 78878 h 156859"/>
              <a:gd name="connsiteX128" fmla="*/ 56021 w 174786"/>
              <a:gd name="connsiteY128" fmla="*/ 55573 h 156859"/>
              <a:gd name="connsiteX129" fmla="*/ 68570 w 174786"/>
              <a:gd name="connsiteY129" fmla="*/ 43024 h 156859"/>
              <a:gd name="connsiteX130" fmla="*/ 160893 w 174786"/>
              <a:gd name="connsiteY130" fmla="*/ 131762 h 156859"/>
              <a:gd name="connsiteX131" fmla="*/ 160445 w 174786"/>
              <a:gd name="connsiteY131" fmla="*/ 144759 h 15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74786" h="156859">
                <a:moveTo>
                  <a:pt x="114283" y="80671"/>
                </a:moveTo>
                <a:lnTo>
                  <a:pt x="137140" y="58262"/>
                </a:lnTo>
                <a:cubicBezTo>
                  <a:pt x="140277" y="59158"/>
                  <a:pt x="142966" y="59607"/>
                  <a:pt x="146103" y="59607"/>
                </a:cubicBezTo>
                <a:cubicBezTo>
                  <a:pt x="153722" y="59607"/>
                  <a:pt x="160893" y="56469"/>
                  <a:pt x="166719" y="51091"/>
                </a:cubicBezTo>
                <a:cubicBezTo>
                  <a:pt x="172546" y="45265"/>
                  <a:pt x="175235" y="38094"/>
                  <a:pt x="175235" y="30027"/>
                </a:cubicBezTo>
                <a:cubicBezTo>
                  <a:pt x="175235" y="27787"/>
                  <a:pt x="174786" y="25098"/>
                  <a:pt x="173890" y="22857"/>
                </a:cubicBezTo>
                <a:cubicBezTo>
                  <a:pt x="173890" y="21960"/>
                  <a:pt x="172994" y="21512"/>
                  <a:pt x="172097" y="21064"/>
                </a:cubicBezTo>
                <a:cubicBezTo>
                  <a:pt x="171201" y="21064"/>
                  <a:pt x="170305" y="21064"/>
                  <a:pt x="169857" y="21512"/>
                </a:cubicBezTo>
                <a:lnTo>
                  <a:pt x="156860" y="34509"/>
                </a:lnTo>
                <a:lnTo>
                  <a:pt x="144759" y="31820"/>
                </a:lnTo>
                <a:lnTo>
                  <a:pt x="141622" y="19719"/>
                </a:lnTo>
                <a:lnTo>
                  <a:pt x="155067" y="6274"/>
                </a:lnTo>
                <a:cubicBezTo>
                  <a:pt x="155963" y="6274"/>
                  <a:pt x="156411" y="5378"/>
                  <a:pt x="155963" y="4930"/>
                </a:cubicBezTo>
                <a:cubicBezTo>
                  <a:pt x="155963" y="4034"/>
                  <a:pt x="155067" y="3585"/>
                  <a:pt x="154619" y="3137"/>
                </a:cubicBezTo>
                <a:cubicBezTo>
                  <a:pt x="152826" y="2689"/>
                  <a:pt x="149689" y="1793"/>
                  <a:pt x="146103" y="1793"/>
                </a:cubicBezTo>
                <a:cubicBezTo>
                  <a:pt x="138933" y="1793"/>
                  <a:pt x="132210" y="4930"/>
                  <a:pt x="126384" y="10756"/>
                </a:cubicBezTo>
                <a:cubicBezTo>
                  <a:pt x="121006" y="16134"/>
                  <a:pt x="117869" y="23305"/>
                  <a:pt x="117869" y="31372"/>
                </a:cubicBezTo>
                <a:cubicBezTo>
                  <a:pt x="117869" y="34509"/>
                  <a:pt x="118317" y="37198"/>
                  <a:pt x="119213" y="39887"/>
                </a:cubicBezTo>
                <a:lnTo>
                  <a:pt x="95908" y="62744"/>
                </a:lnTo>
                <a:lnTo>
                  <a:pt x="72604" y="39887"/>
                </a:lnTo>
                <a:lnTo>
                  <a:pt x="74844" y="37646"/>
                </a:lnTo>
                <a:cubicBezTo>
                  <a:pt x="75293" y="37198"/>
                  <a:pt x="75293" y="36750"/>
                  <a:pt x="75293" y="35854"/>
                </a:cubicBezTo>
                <a:cubicBezTo>
                  <a:pt x="75293" y="34957"/>
                  <a:pt x="74844" y="34509"/>
                  <a:pt x="74844" y="34061"/>
                </a:cubicBezTo>
                <a:lnTo>
                  <a:pt x="62744" y="22857"/>
                </a:lnTo>
                <a:cubicBezTo>
                  <a:pt x="65433" y="17479"/>
                  <a:pt x="72155" y="8963"/>
                  <a:pt x="88738" y="8067"/>
                </a:cubicBezTo>
                <a:cubicBezTo>
                  <a:pt x="89634" y="8067"/>
                  <a:pt x="90530" y="7171"/>
                  <a:pt x="90979" y="6274"/>
                </a:cubicBezTo>
                <a:cubicBezTo>
                  <a:pt x="90979" y="5378"/>
                  <a:pt x="90530" y="4482"/>
                  <a:pt x="89634" y="4034"/>
                </a:cubicBezTo>
                <a:cubicBezTo>
                  <a:pt x="86049" y="2241"/>
                  <a:pt x="79774" y="0"/>
                  <a:pt x="71707" y="0"/>
                </a:cubicBezTo>
                <a:cubicBezTo>
                  <a:pt x="66329" y="0"/>
                  <a:pt x="60951" y="1345"/>
                  <a:pt x="55573" y="3585"/>
                </a:cubicBezTo>
                <a:cubicBezTo>
                  <a:pt x="51091" y="5378"/>
                  <a:pt x="47506" y="8067"/>
                  <a:pt x="43921" y="11652"/>
                </a:cubicBezTo>
                <a:lnTo>
                  <a:pt x="21960" y="33165"/>
                </a:lnTo>
                <a:cubicBezTo>
                  <a:pt x="21512" y="33613"/>
                  <a:pt x="21064" y="34061"/>
                  <a:pt x="21064" y="34957"/>
                </a:cubicBezTo>
                <a:lnTo>
                  <a:pt x="21960" y="40335"/>
                </a:lnTo>
                <a:cubicBezTo>
                  <a:pt x="21960" y="42128"/>
                  <a:pt x="21512" y="43921"/>
                  <a:pt x="20616" y="44817"/>
                </a:cubicBezTo>
                <a:cubicBezTo>
                  <a:pt x="19271" y="46162"/>
                  <a:pt x="17479" y="47058"/>
                  <a:pt x="15686" y="46610"/>
                </a:cubicBezTo>
                <a:lnTo>
                  <a:pt x="10308" y="46162"/>
                </a:lnTo>
                <a:cubicBezTo>
                  <a:pt x="9412" y="46162"/>
                  <a:pt x="8963" y="46162"/>
                  <a:pt x="8515" y="46610"/>
                </a:cubicBezTo>
                <a:lnTo>
                  <a:pt x="1793" y="53332"/>
                </a:lnTo>
                <a:cubicBezTo>
                  <a:pt x="448" y="54677"/>
                  <a:pt x="0" y="56021"/>
                  <a:pt x="0" y="57814"/>
                </a:cubicBezTo>
                <a:cubicBezTo>
                  <a:pt x="0" y="59607"/>
                  <a:pt x="448" y="60951"/>
                  <a:pt x="1793" y="62296"/>
                </a:cubicBezTo>
                <a:lnTo>
                  <a:pt x="18375" y="78878"/>
                </a:lnTo>
                <a:cubicBezTo>
                  <a:pt x="20616" y="81119"/>
                  <a:pt x="24649" y="81119"/>
                  <a:pt x="27338" y="78878"/>
                </a:cubicBezTo>
                <a:lnTo>
                  <a:pt x="34061" y="72155"/>
                </a:lnTo>
                <a:cubicBezTo>
                  <a:pt x="34509" y="71707"/>
                  <a:pt x="34957" y="70811"/>
                  <a:pt x="34509" y="70363"/>
                </a:cubicBezTo>
                <a:lnTo>
                  <a:pt x="34061" y="66329"/>
                </a:lnTo>
                <a:cubicBezTo>
                  <a:pt x="34061" y="64537"/>
                  <a:pt x="34509" y="62744"/>
                  <a:pt x="35405" y="61848"/>
                </a:cubicBezTo>
                <a:cubicBezTo>
                  <a:pt x="36750" y="60055"/>
                  <a:pt x="38991" y="59607"/>
                  <a:pt x="41232" y="60055"/>
                </a:cubicBezTo>
                <a:lnTo>
                  <a:pt x="48402" y="61848"/>
                </a:lnTo>
                <a:cubicBezTo>
                  <a:pt x="49299" y="61848"/>
                  <a:pt x="50195" y="61848"/>
                  <a:pt x="50643" y="61399"/>
                </a:cubicBezTo>
                <a:lnTo>
                  <a:pt x="53332" y="58710"/>
                </a:lnTo>
                <a:lnTo>
                  <a:pt x="76637" y="81567"/>
                </a:lnTo>
                <a:lnTo>
                  <a:pt x="21960" y="134003"/>
                </a:lnTo>
                <a:cubicBezTo>
                  <a:pt x="19271" y="136692"/>
                  <a:pt x="17927" y="139829"/>
                  <a:pt x="17927" y="143863"/>
                </a:cubicBezTo>
                <a:cubicBezTo>
                  <a:pt x="17927" y="147448"/>
                  <a:pt x="19271" y="151033"/>
                  <a:pt x="21960" y="153274"/>
                </a:cubicBezTo>
                <a:cubicBezTo>
                  <a:pt x="24649" y="155515"/>
                  <a:pt x="27787" y="156860"/>
                  <a:pt x="30924" y="156860"/>
                </a:cubicBezTo>
                <a:cubicBezTo>
                  <a:pt x="34509" y="156860"/>
                  <a:pt x="37646" y="155515"/>
                  <a:pt x="40335" y="152826"/>
                </a:cubicBezTo>
                <a:lnTo>
                  <a:pt x="94564" y="99494"/>
                </a:lnTo>
                <a:lnTo>
                  <a:pt x="143863" y="147896"/>
                </a:lnTo>
                <a:cubicBezTo>
                  <a:pt x="146552" y="150585"/>
                  <a:pt x="149689" y="151930"/>
                  <a:pt x="153722" y="151930"/>
                </a:cubicBezTo>
                <a:cubicBezTo>
                  <a:pt x="157308" y="151930"/>
                  <a:pt x="160893" y="150585"/>
                  <a:pt x="163582" y="147448"/>
                </a:cubicBezTo>
                <a:cubicBezTo>
                  <a:pt x="168960" y="142070"/>
                  <a:pt x="168960" y="133555"/>
                  <a:pt x="163582" y="128177"/>
                </a:cubicBezTo>
                <a:lnTo>
                  <a:pt x="114283" y="80671"/>
                </a:lnTo>
                <a:close/>
                <a:moveTo>
                  <a:pt x="129073" y="13893"/>
                </a:moveTo>
                <a:cubicBezTo>
                  <a:pt x="134003" y="8963"/>
                  <a:pt x="139829" y="6274"/>
                  <a:pt x="145655" y="6274"/>
                </a:cubicBezTo>
                <a:cubicBezTo>
                  <a:pt x="147000" y="6274"/>
                  <a:pt x="148344" y="6274"/>
                  <a:pt x="149241" y="6723"/>
                </a:cubicBezTo>
                <a:lnTo>
                  <a:pt x="138485" y="17479"/>
                </a:lnTo>
                <a:cubicBezTo>
                  <a:pt x="137588" y="18375"/>
                  <a:pt x="137140" y="20168"/>
                  <a:pt x="137140" y="21512"/>
                </a:cubicBezTo>
                <a:lnTo>
                  <a:pt x="140277" y="33613"/>
                </a:lnTo>
                <a:cubicBezTo>
                  <a:pt x="140725" y="35405"/>
                  <a:pt x="142070" y="36302"/>
                  <a:pt x="143414" y="36750"/>
                </a:cubicBezTo>
                <a:lnTo>
                  <a:pt x="155515" y="39887"/>
                </a:lnTo>
                <a:cubicBezTo>
                  <a:pt x="156860" y="40335"/>
                  <a:pt x="158652" y="39887"/>
                  <a:pt x="159549" y="38543"/>
                </a:cubicBezTo>
                <a:lnTo>
                  <a:pt x="169857" y="28235"/>
                </a:lnTo>
                <a:cubicBezTo>
                  <a:pt x="169857" y="29131"/>
                  <a:pt x="169857" y="29579"/>
                  <a:pt x="169857" y="30476"/>
                </a:cubicBezTo>
                <a:cubicBezTo>
                  <a:pt x="170305" y="37198"/>
                  <a:pt x="167616" y="43024"/>
                  <a:pt x="162686" y="47954"/>
                </a:cubicBezTo>
                <a:cubicBezTo>
                  <a:pt x="158204" y="52436"/>
                  <a:pt x="151930" y="55125"/>
                  <a:pt x="145207" y="55125"/>
                </a:cubicBezTo>
                <a:cubicBezTo>
                  <a:pt x="142070" y="55125"/>
                  <a:pt x="139381" y="54677"/>
                  <a:pt x="136692" y="53332"/>
                </a:cubicBezTo>
                <a:cubicBezTo>
                  <a:pt x="136692" y="53332"/>
                  <a:pt x="136692" y="53332"/>
                  <a:pt x="136244" y="53332"/>
                </a:cubicBezTo>
                <a:cubicBezTo>
                  <a:pt x="133107" y="51988"/>
                  <a:pt x="130418" y="50195"/>
                  <a:pt x="128177" y="47954"/>
                </a:cubicBezTo>
                <a:cubicBezTo>
                  <a:pt x="125936" y="45713"/>
                  <a:pt x="123695" y="42576"/>
                  <a:pt x="122799" y="39439"/>
                </a:cubicBezTo>
                <a:cubicBezTo>
                  <a:pt x="122799" y="39439"/>
                  <a:pt x="122799" y="38991"/>
                  <a:pt x="122799" y="38991"/>
                </a:cubicBezTo>
                <a:cubicBezTo>
                  <a:pt x="121902" y="36302"/>
                  <a:pt x="121454" y="33613"/>
                  <a:pt x="121454" y="30924"/>
                </a:cubicBezTo>
                <a:cubicBezTo>
                  <a:pt x="121902" y="24649"/>
                  <a:pt x="124591" y="18375"/>
                  <a:pt x="129073" y="13893"/>
                </a:cubicBezTo>
                <a:close/>
                <a:moveTo>
                  <a:pt x="120558" y="43921"/>
                </a:moveTo>
                <a:cubicBezTo>
                  <a:pt x="121902" y="46610"/>
                  <a:pt x="123695" y="48851"/>
                  <a:pt x="125936" y="51091"/>
                </a:cubicBezTo>
                <a:cubicBezTo>
                  <a:pt x="128177" y="53332"/>
                  <a:pt x="130418" y="54677"/>
                  <a:pt x="132658" y="56021"/>
                </a:cubicBezTo>
                <a:lnTo>
                  <a:pt x="111146" y="77085"/>
                </a:lnTo>
                <a:lnTo>
                  <a:pt x="98597" y="64985"/>
                </a:lnTo>
                <a:lnTo>
                  <a:pt x="120558" y="43921"/>
                </a:lnTo>
                <a:close/>
                <a:moveTo>
                  <a:pt x="51540" y="53780"/>
                </a:moveTo>
                <a:cubicBezTo>
                  <a:pt x="51540" y="53780"/>
                  <a:pt x="51540" y="53780"/>
                  <a:pt x="51540" y="53780"/>
                </a:cubicBezTo>
                <a:cubicBezTo>
                  <a:pt x="51540" y="53780"/>
                  <a:pt x="51540" y="53780"/>
                  <a:pt x="51540" y="53780"/>
                </a:cubicBezTo>
                <a:lnTo>
                  <a:pt x="47954" y="56918"/>
                </a:lnTo>
                <a:lnTo>
                  <a:pt x="42128" y="55573"/>
                </a:lnTo>
                <a:cubicBezTo>
                  <a:pt x="38543" y="54677"/>
                  <a:pt x="34061" y="56021"/>
                  <a:pt x="31820" y="58710"/>
                </a:cubicBezTo>
                <a:cubicBezTo>
                  <a:pt x="30027" y="60951"/>
                  <a:pt x="29131" y="64088"/>
                  <a:pt x="29131" y="66777"/>
                </a:cubicBezTo>
                <a:lnTo>
                  <a:pt x="29579" y="69915"/>
                </a:lnTo>
                <a:lnTo>
                  <a:pt x="23753" y="75741"/>
                </a:lnTo>
                <a:cubicBezTo>
                  <a:pt x="22857" y="76637"/>
                  <a:pt x="21960" y="76637"/>
                  <a:pt x="21064" y="75741"/>
                </a:cubicBezTo>
                <a:lnTo>
                  <a:pt x="4482" y="59158"/>
                </a:lnTo>
                <a:cubicBezTo>
                  <a:pt x="4034" y="58710"/>
                  <a:pt x="4034" y="58262"/>
                  <a:pt x="4034" y="57814"/>
                </a:cubicBezTo>
                <a:cubicBezTo>
                  <a:pt x="4034" y="57366"/>
                  <a:pt x="4034" y="56918"/>
                  <a:pt x="4482" y="56469"/>
                </a:cubicBezTo>
                <a:lnTo>
                  <a:pt x="4482" y="56469"/>
                </a:lnTo>
                <a:lnTo>
                  <a:pt x="10308" y="50643"/>
                </a:lnTo>
                <a:lnTo>
                  <a:pt x="14790" y="51091"/>
                </a:lnTo>
                <a:cubicBezTo>
                  <a:pt x="17927" y="51540"/>
                  <a:pt x="21512" y="50195"/>
                  <a:pt x="23753" y="47506"/>
                </a:cubicBezTo>
                <a:cubicBezTo>
                  <a:pt x="25546" y="45713"/>
                  <a:pt x="26442" y="42576"/>
                  <a:pt x="26442" y="39887"/>
                </a:cubicBezTo>
                <a:lnTo>
                  <a:pt x="25994" y="35405"/>
                </a:lnTo>
                <a:lnTo>
                  <a:pt x="47058" y="14341"/>
                </a:lnTo>
                <a:cubicBezTo>
                  <a:pt x="50195" y="11204"/>
                  <a:pt x="53780" y="8963"/>
                  <a:pt x="57366" y="7171"/>
                </a:cubicBezTo>
                <a:cubicBezTo>
                  <a:pt x="61847" y="4930"/>
                  <a:pt x="66777" y="4034"/>
                  <a:pt x="71707" y="4034"/>
                </a:cubicBezTo>
                <a:cubicBezTo>
                  <a:pt x="74396" y="4034"/>
                  <a:pt x="77085" y="4482"/>
                  <a:pt x="79326" y="4930"/>
                </a:cubicBezTo>
                <a:cubicBezTo>
                  <a:pt x="66777" y="8067"/>
                  <a:pt x="60951" y="16134"/>
                  <a:pt x="58710" y="21064"/>
                </a:cubicBezTo>
                <a:cubicBezTo>
                  <a:pt x="57814" y="22857"/>
                  <a:pt x="58262" y="24649"/>
                  <a:pt x="59607" y="25994"/>
                </a:cubicBezTo>
                <a:lnTo>
                  <a:pt x="69466" y="35854"/>
                </a:lnTo>
                <a:lnTo>
                  <a:pt x="51540" y="53780"/>
                </a:lnTo>
                <a:close/>
                <a:moveTo>
                  <a:pt x="37646" y="150137"/>
                </a:moveTo>
                <a:cubicBezTo>
                  <a:pt x="34061" y="153274"/>
                  <a:pt x="28683" y="153722"/>
                  <a:pt x="25546" y="150137"/>
                </a:cubicBezTo>
                <a:cubicBezTo>
                  <a:pt x="23305" y="148344"/>
                  <a:pt x="22409" y="146104"/>
                  <a:pt x="22409" y="143863"/>
                </a:cubicBezTo>
                <a:cubicBezTo>
                  <a:pt x="22409" y="141622"/>
                  <a:pt x="23305" y="138933"/>
                  <a:pt x="25098" y="137588"/>
                </a:cubicBezTo>
                <a:lnTo>
                  <a:pt x="79326" y="84704"/>
                </a:lnTo>
                <a:lnTo>
                  <a:pt x="91875" y="96805"/>
                </a:lnTo>
                <a:lnTo>
                  <a:pt x="37646" y="150137"/>
                </a:lnTo>
                <a:close/>
                <a:moveTo>
                  <a:pt x="160445" y="144759"/>
                </a:moveTo>
                <a:cubicBezTo>
                  <a:pt x="158652" y="146552"/>
                  <a:pt x="156411" y="147448"/>
                  <a:pt x="153722" y="147448"/>
                </a:cubicBezTo>
                <a:cubicBezTo>
                  <a:pt x="153722" y="147448"/>
                  <a:pt x="153722" y="147448"/>
                  <a:pt x="153722" y="147448"/>
                </a:cubicBezTo>
                <a:cubicBezTo>
                  <a:pt x="151033" y="147448"/>
                  <a:pt x="148792" y="146552"/>
                  <a:pt x="147000" y="144759"/>
                </a:cubicBezTo>
                <a:lnTo>
                  <a:pt x="79774" y="78878"/>
                </a:lnTo>
                <a:cubicBezTo>
                  <a:pt x="79774" y="78878"/>
                  <a:pt x="79774" y="78878"/>
                  <a:pt x="79774" y="78878"/>
                </a:cubicBezTo>
                <a:lnTo>
                  <a:pt x="56021" y="55573"/>
                </a:lnTo>
                <a:lnTo>
                  <a:pt x="68570" y="43024"/>
                </a:lnTo>
                <a:lnTo>
                  <a:pt x="160893" y="131762"/>
                </a:lnTo>
                <a:cubicBezTo>
                  <a:pt x="164478" y="135347"/>
                  <a:pt x="164478" y="141174"/>
                  <a:pt x="160445" y="144759"/>
                </a:cubicBezTo>
                <a:close/>
              </a:path>
            </a:pathLst>
          </a:custGeom>
          <a:solidFill>
            <a:srgbClr val="231F20"/>
          </a:solidFill>
          <a:ln w="4477" cap="flat">
            <a:noFill/>
            <a:prstDash val="solid"/>
            <a:miter/>
          </a:ln>
        </p:spPr>
        <p:txBody>
          <a:bodyPr rtlCol="0" anchor="ctr"/>
          <a:lstStyle/>
          <a:p>
            <a:endParaRPr lang="en-US"/>
          </a:p>
        </p:txBody>
      </p:sp>
      <p:grpSp>
        <p:nvGrpSpPr>
          <p:cNvPr id="2985" name="Group 2984">
            <a:extLst>
              <a:ext uri="{FF2B5EF4-FFF2-40B4-BE49-F238E27FC236}">
                <a16:creationId xmlns:a16="http://schemas.microsoft.com/office/drawing/2014/main" id="{25322310-0672-4EAF-B066-DE03AF91F190}"/>
              </a:ext>
              <a:ext uri="{C183D7F6-B498-43B3-948B-1728B52AA6E4}">
                <adec:decorative xmlns:adec="http://schemas.microsoft.com/office/drawing/2017/decorative" val="1"/>
              </a:ext>
            </a:extLst>
          </p:cNvPr>
          <p:cNvGrpSpPr>
            <a:grpSpLocks noChangeAspect="1"/>
          </p:cNvGrpSpPr>
          <p:nvPr/>
        </p:nvGrpSpPr>
        <p:grpSpPr>
          <a:xfrm>
            <a:off x="7423480" y="3125577"/>
            <a:ext cx="143414" cy="143414"/>
            <a:chOff x="7541594" y="1070215"/>
            <a:chExt cx="143414" cy="143414"/>
          </a:xfrm>
        </p:grpSpPr>
        <p:sp>
          <p:nvSpPr>
            <p:cNvPr id="2986" name="Freeform: Shape 2985">
              <a:extLst>
                <a:ext uri="{FF2B5EF4-FFF2-40B4-BE49-F238E27FC236}">
                  <a16:creationId xmlns:a16="http://schemas.microsoft.com/office/drawing/2014/main" id="{7C93B321-56EB-4627-84A3-8B16013934EC}"/>
                </a:ext>
              </a:extLst>
            </p:cNvPr>
            <p:cNvSpPr/>
            <p:nvPr/>
          </p:nvSpPr>
          <p:spPr>
            <a:xfrm>
              <a:off x="7657446" y="1090382"/>
              <a:ext cx="8963" cy="8963"/>
            </a:xfrm>
            <a:custGeom>
              <a:avLst/>
              <a:gdLst>
                <a:gd name="connsiteX0" fmla="*/ 4930 w 8963"/>
                <a:gd name="connsiteY0" fmla="*/ 0 h 8963"/>
                <a:gd name="connsiteX1" fmla="*/ 0 w 8963"/>
                <a:gd name="connsiteY1" fmla="*/ 4930 h 8963"/>
                <a:gd name="connsiteX2" fmla="*/ 4930 w 8963"/>
                <a:gd name="connsiteY2" fmla="*/ 9860 h 8963"/>
                <a:gd name="connsiteX3" fmla="*/ 9860 w 8963"/>
                <a:gd name="connsiteY3" fmla="*/ 4930 h 8963"/>
                <a:gd name="connsiteX4" fmla="*/ 4930 w 8963"/>
                <a:gd name="connsiteY4" fmla="*/ 0 h 8963"/>
                <a:gd name="connsiteX5" fmla="*/ 4034 w 8963"/>
                <a:gd name="connsiteY5" fmla="*/ 4930 h 8963"/>
                <a:gd name="connsiteX6" fmla="*/ 4482 w 8963"/>
                <a:gd name="connsiteY6" fmla="*/ 4482 h 8963"/>
                <a:gd name="connsiteX7" fmla="*/ 4930 w 8963"/>
                <a:gd name="connsiteY7" fmla="*/ 4930 h 8963"/>
                <a:gd name="connsiteX8" fmla="*/ 4034 w 8963"/>
                <a:gd name="connsiteY8" fmla="*/ 493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63" h="8963">
                  <a:moveTo>
                    <a:pt x="4930" y="0"/>
                  </a:moveTo>
                  <a:cubicBezTo>
                    <a:pt x="2241" y="0"/>
                    <a:pt x="0" y="2241"/>
                    <a:pt x="0" y="4930"/>
                  </a:cubicBezTo>
                  <a:cubicBezTo>
                    <a:pt x="0" y="7619"/>
                    <a:pt x="2241" y="9860"/>
                    <a:pt x="4930" y="9860"/>
                  </a:cubicBezTo>
                  <a:cubicBezTo>
                    <a:pt x="7619" y="9860"/>
                    <a:pt x="9860" y="7619"/>
                    <a:pt x="9860" y="4930"/>
                  </a:cubicBezTo>
                  <a:cubicBezTo>
                    <a:pt x="9860" y="2241"/>
                    <a:pt x="7619" y="0"/>
                    <a:pt x="4930" y="0"/>
                  </a:cubicBezTo>
                  <a:close/>
                  <a:moveTo>
                    <a:pt x="4034" y="4930"/>
                  </a:moveTo>
                  <a:cubicBezTo>
                    <a:pt x="4034" y="4482"/>
                    <a:pt x="4482" y="4482"/>
                    <a:pt x="4482" y="4482"/>
                  </a:cubicBezTo>
                  <a:cubicBezTo>
                    <a:pt x="4482" y="4482"/>
                    <a:pt x="4930" y="4930"/>
                    <a:pt x="4930" y="4930"/>
                  </a:cubicBezTo>
                  <a:cubicBezTo>
                    <a:pt x="5378" y="5378"/>
                    <a:pt x="4034" y="5378"/>
                    <a:pt x="4034" y="4930"/>
                  </a:cubicBezTo>
                  <a:close/>
                </a:path>
              </a:pathLst>
            </a:custGeom>
            <a:solidFill>
              <a:srgbClr val="231F20"/>
            </a:solidFill>
            <a:ln w="4477" cap="flat">
              <a:noFill/>
              <a:prstDash val="solid"/>
              <a:miter/>
            </a:ln>
          </p:spPr>
          <p:txBody>
            <a:bodyPr rtlCol="0" anchor="ctr"/>
            <a:lstStyle/>
            <a:p>
              <a:endParaRPr lang="en-US"/>
            </a:p>
          </p:txBody>
        </p:sp>
        <p:sp>
          <p:nvSpPr>
            <p:cNvPr id="2987" name="Freeform: Shape 2986">
              <a:extLst>
                <a:ext uri="{FF2B5EF4-FFF2-40B4-BE49-F238E27FC236}">
                  <a16:creationId xmlns:a16="http://schemas.microsoft.com/office/drawing/2014/main" id="{DEAE05EC-5A6C-4F17-B3E0-695BC4B85337}"/>
                </a:ext>
              </a:extLst>
            </p:cNvPr>
            <p:cNvSpPr/>
            <p:nvPr/>
          </p:nvSpPr>
          <p:spPr>
            <a:xfrm>
              <a:off x="7541594" y="1070215"/>
              <a:ext cx="143414" cy="143414"/>
            </a:xfrm>
            <a:custGeom>
              <a:avLst/>
              <a:gdLst>
                <a:gd name="connsiteX0" fmla="*/ 145879 w 143414"/>
                <a:gd name="connsiteY0" fmla="*/ 7619 h 143414"/>
                <a:gd name="connsiteX1" fmla="*/ 143639 w 143414"/>
                <a:gd name="connsiteY1" fmla="*/ 2241 h 143414"/>
                <a:gd name="connsiteX2" fmla="*/ 138260 w 143414"/>
                <a:gd name="connsiteY2" fmla="*/ 0 h 143414"/>
                <a:gd name="connsiteX3" fmla="*/ 132883 w 143414"/>
                <a:gd name="connsiteY3" fmla="*/ 2241 h 143414"/>
                <a:gd name="connsiteX4" fmla="*/ 127504 w 143414"/>
                <a:gd name="connsiteY4" fmla="*/ 7619 h 143414"/>
                <a:gd name="connsiteX5" fmla="*/ 120782 w 143414"/>
                <a:gd name="connsiteY5" fmla="*/ 6274 h 143414"/>
                <a:gd name="connsiteX6" fmla="*/ 103303 w 143414"/>
                <a:gd name="connsiteY6" fmla="*/ 18823 h 143414"/>
                <a:gd name="connsiteX7" fmla="*/ 59383 w 143414"/>
                <a:gd name="connsiteY7" fmla="*/ 39887 h 143414"/>
                <a:gd name="connsiteX8" fmla="*/ 49075 w 143414"/>
                <a:gd name="connsiteY8" fmla="*/ 29131 h 143414"/>
                <a:gd name="connsiteX9" fmla="*/ 45937 w 143414"/>
                <a:gd name="connsiteY9" fmla="*/ 29131 h 143414"/>
                <a:gd name="connsiteX10" fmla="*/ 45937 w 143414"/>
                <a:gd name="connsiteY10" fmla="*/ 32268 h 143414"/>
                <a:gd name="connsiteX11" fmla="*/ 55349 w 143414"/>
                <a:gd name="connsiteY11" fmla="*/ 41680 h 143414"/>
                <a:gd name="connsiteX12" fmla="*/ 21736 w 143414"/>
                <a:gd name="connsiteY12" fmla="*/ 57814 h 143414"/>
                <a:gd name="connsiteX13" fmla="*/ 11428 w 143414"/>
                <a:gd name="connsiteY13" fmla="*/ 71707 h 143414"/>
                <a:gd name="connsiteX14" fmla="*/ 10980 w 143414"/>
                <a:gd name="connsiteY14" fmla="*/ 75741 h 143414"/>
                <a:gd name="connsiteX15" fmla="*/ 672 w 143414"/>
                <a:gd name="connsiteY15" fmla="*/ 85601 h 143414"/>
                <a:gd name="connsiteX16" fmla="*/ 672 w 143414"/>
                <a:gd name="connsiteY16" fmla="*/ 88738 h 143414"/>
                <a:gd name="connsiteX17" fmla="*/ 2465 w 143414"/>
                <a:gd name="connsiteY17" fmla="*/ 89634 h 143414"/>
                <a:gd name="connsiteX18" fmla="*/ 3809 w 143414"/>
                <a:gd name="connsiteY18" fmla="*/ 89186 h 143414"/>
                <a:gd name="connsiteX19" fmla="*/ 14566 w 143414"/>
                <a:gd name="connsiteY19" fmla="*/ 78878 h 143414"/>
                <a:gd name="connsiteX20" fmla="*/ 67898 w 143414"/>
                <a:gd name="connsiteY20" fmla="*/ 53780 h 143414"/>
                <a:gd name="connsiteX21" fmla="*/ 67898 w 143414"/>
                <a:gd name="connsiteY21" fmla="*/ 54229 h 143414"/>
                <a:gd name="connsiteX22" fmla="*/ 74620 w 143414"/>
                <a:gd name="connsiteY22" fmla="*/ 60951 h 143414"/>
                <a:gd name="connsiteX23" fmla="*/ 70139 w 143414"/>
                <a:gd name="connsiteY23" fmla="*/ 64985 h 143414"/>
                <a:gd name="connsiteX24" fmla="*/ 69690 w 143414"/>
                <a:gd name="connsiteY24" fmla="*/ 75293 h 143414"/>
                <a:gd name="connsiteX25" fmla="*/ 69690 w 143414"/>
                <a:gd name="connsiteY25" fmla="*/ 75293 h 143414"/>
                <a:gd name="connsiteX26" fmla="*/ 74620 w 143414"/>
                <a:gd name="connsiteY26" fmla="*/ 77533 h 143414"/>
                <a:gd name="connsiteX27" fmla="*/ 74620 w 143414"/>
                <a:gd name="connsiteY27" fmla="*/ 77533 h 143414"/>
                <a:gd name="connsiteX28" fmla="*/ 79550 w 143414"/>
                <a:gd name="connsiteY28" fmla="*/ 75741 h 143414"/>
                <a:gd name="connsiteX29" fmla="*/ 84032 w 143414"/>
                <a:gd name="connsiteY29" fmla="*/ 71259 h 143414"/>
                <a:gd name="connsiteX30" fmla="*/ 91651 w 143414"/>
                <a:gd name="connsiteY30" fmla="*/ 79326 h 143414"/>
                <a:gd name="connsiteX31" fmla="*/ 65657 w 143414"/>
                <a:gd name="connsiteY31" fmla="*/ 130418 h 143414"/>
                <a:gd name="connsiteX32" fmla="*/ 55349 w 143414"/>
                <a:gd name="connsiteY32" fmla="*/ 140725 h 143414"/>
                <a:gd name="connsiteX33" fmla="*/ 55349 w 143414"/>
                <a:gd name="connsiteY33" fmla="*/ 143863 h 143414"/>
                <a:gd name="connsiteX34" fmla="*/ 57142 w 143414"/>
                <a:gd name="connsiteY34" fmla="*/ 144311 h 143414"/>
                <a:gd name="connsiteX35" fmla="*/ 58934 w 143414"/>
                <a:gd name="connsiteY35" fmla="*/ 143863 h 143414"/>
                <a:gd name="connsiteX36" fmla="*/ 69242 w 143414"/>
                <a:gd name="connsiteY36" fmla="*/ 133555 h 143414"/>
                <a:gd name="connsiteX37" fmla="*/ 73276 w 143414"/>
                <a:gd name="connsiteY37" fmla="*/ 133107 h 143414"/>
                <a:gd name="connsiteX38" fmla="*/ 87617 w 143414"/>
                <a:gd name="connsiteY38" fmla="*/ 123247 h 143414"/>
                <a:gd name="connsiteX39" fmla="*/ 103751 w 143414"/>
                <a:gd name="connsiteY39" fmla="*/ 90979 h 143414"/>
                <a:gd name="connsiteX40" fmla="*/ 112267 w 143414"/>
                <a:gd name="connsiteY40" fmla="*/ 99942 h 143414"/>
                <a:gd name="connsiteX41" fmla="*/ 114059 w 143414"/>
                <a:gd name="connsiteY41" fmla="*/ 100390 h 143414"/>
                <a:gd name="connsiteX42" fmla="*/ 115852 w 143414"/>
                <a:gd name="connsiteY42" fmla="*/ 99942 h 143414"/>
                <a:gd name="connsiteX43" fmla="*/ 115852 w 143414"/>
                <a:gd name="connsiteY43" fmla="*/ 96805 h 143414"/>
                <a:gd name="connsiteX44" fmla="*/ 105992 w 143414"/>
                <a:gd name="connsiteY44" fmla="*/ 86945 h 143414"/>
                <a:gd name="connsiteX45" fmla="*/ 128401 w 143414"/>
                <a:gd name="connsiteY45" fmla="*/ 42576 h 143414"/>
                <a:gd name="connsiteX46" fmla="*/ 139605 w 143414"/>
                <a:gd name="connsiteY46" fmla="*/ 25098 h 143414"/>
                <a:gd name="connsiteX47" fmla="*/ 138260 w 143414"/>
                <a:gd name="connsiteY47" fmla="*/ 18823 h 143414"/>
                <a:gd name="connsiteX48" fmla="*/ 143639 w 143414"/>
                <a:gd name="connsiteY48" fmla="*/ 13445 h 143414"/>
                <a:gd name="connsiteX49" fmla="*/ 145879 w 143414"/>
                <a:gd name="connsiteY49" fmla="*/ 7619 h 143414"/>
                <a:gd name="connsiteX50" fmla="*/ 15462 w 143414"/>
                <a:gd name="connsiteY50" fmla="*/ 72604 h 143414"/>
                <a:gd name="connsiteX51" fmla="*/ 23529 w 143414"/>
                <a:gd name="connsiteY51" fmla="*/ 61848 h 143414"/>
                <a:gd name="connsiteX52" fmla="*/ 102407 w 143414"/>
                <a:gd name="connsiteY52" fmla="*/ 24201 h 143414"/>
                <a:gd name="connsiteX53" fmla="*/ 102407 w 143414"/>
                <a:gd name="connsiteY53" fmla="*/ 25098 h 143414"/>
                <a:gd name="connsiteX54" fmla="*/ 103751 w 143414"/>
                <a:gd name="connsiteY54" fmla="*/ 31372 h 143414"/>
                <a:gd name="connsiteX55" fmla="*/ 15910 w 143414"/>
                <a:gd name="connsiteY55" fmla="*/ 73052 h 143414"/>
                <a:gd name="connsiteX56" fmla="*/ 15462 w 143414"/>
                <a:gd name="connsiteY56" fmla="*/ 72604 h 143414"/>
                <a:gd name="connsiteX57" fmla="*/ 75965 w 143414"/>
                <a:gd name="connsiteY57" fmla="*/ 72155 h 143414"/>
                <a:gd name="connsiteX58" fmla="*/ 74172 w 143414"/>
                <a:gd name="connsiteY58" fmla="*/ 73052 h 143414"/>
                <a:gd name="connsiteX59" fmla="*/ 72380 w 143414"/>
                <a:gd name="connsiteY59" fmla="*/ 72155 h 143414"/>
                <a:gd name="connsiteX60" fmla="*/ 72380 w 143414"/>
                <a:gd name="connsiteY60" fmla="*/ 68122 h 143414"/>
                <a:gd name="connsiteX61" fmla="*/ 84480 w 143414"/>
                <a:gd name="connsiteY61" fmla="*/ 56469 h 143414"/>
                <a:gd name="connsiteX62" fmla="*/ 86273 w 143414"/>
                <a:gd name="connsiteY62" fmla="*/ 55573 h 143414"/>
                <a:gd name="connsiteX63" fmla="*/ 88065 w 143414"/>
                <a:gd name="connsiteY63" fmla="*/ 56469 h 143414"/>
                <a:gd name="connsiteX64" fmla="*/ 88065 w 143414"/>
                <a:gd name="connsiteY64" fmla="*/ 60503 h 143414"/>
                <a:gd name="connsiteX65" fmla="*/ 75965 w 143414"/>
                <a:gd name="connsiteY65" fmla="*/ 72155 h 143414"/>
                <a:gd name="connsiteX66" fmla="*/ 87169 w 143414"/>
                <a:gd name="connsiteY66" fmla="*/ 67674 h 143414"/>
                <a:gd name="connsiteX67" fmla="*/ 91651 w 143414"/>
                <a:gd name="connsiteY67" fmla="*/ 63640 h 143414"/>
                <a:gd name="connsiteX68" fmla="*/ 92099 w 143414"/>
                <a:gd name="connsiteY68" fmla="*/ 53332 h 143414"/>
                <a:gd name="connsiteX69" fmla="*/ 87169 w 143414"/>
                <a:gd name="connsiteY69" fmla="*/ 51091 h 143414"/>
                <a:gd name="connsiteX70" fmla="*/ 81791 w 143414"/>
                <a:gd name="connsiteY70" fmla="*/ 52884 h 143414"/>
                <a:gd name="connsiteX71" fmla="*/ 77309 w 143414"/>
                <a:gd name="connsiteY71" fmla="*/ 57366 h 143414"/>
                <a:gd name="connsiteX72" fmla="*/ 71483 w 143414"/>
                <a:gd name="connsiteY72" fmla="*/ 51540 h 143414"/>
                <a:gd name="connsiteX73" fmla="*/ 105544 w 143414"/>
                <a:gd name="connsiteY73" fmla="*/ 35405 h 143414"/>
                <a:gd name="connsiteX74" fmla="*/ 111370 w 143414"/>
                <a:gd name="connsiteY74" fmla="*/ 40783 h 143414"/>
                <a:gd name="connsiteX75" fmla="*/ 94340 w 143414"/>
                <a:gd name="connsiteY75" fmla="*/ 74396 h 143414"/>
                <a:gd name="connsiteX76" fmla="*/ 87169 w 143414"/>
                <a:gd name="connsiteY76" fmla="*/ 67674 h 143414"/>
                <a:gd name="connsiteX77" fmla="*/ 83136 w 143414"/>
                <a:gd name="connsiteY77" fmla="*/ 121006 h 143414"/>
                <a:gd name="connsiteX78" fmla="*/ 72380 w 143414"/>
                <a:gd name="connsiteY78" fmla="*/ 128625 h 143414"/>
                <a:gd name="connsiteX79" fmla="*/ 71931 w 143414"/>
                <a:gd name="connsiteY79" fmla="*/ 128625 h 143414"/>
                <a:gd name="connsiteX80" fmla="*/ 114956 w 143414"/>
                <a:gd name="connsiteY80" fmla="*/ 42576 h 143414"/>
                <a:gd name="connsiteX81" fmla="*/ 120782 w 143414"/>
                <a:gd name="connsiteY81" fmla="*/ 43473 h 143414"/>
                <a:gd name="connsiteX82" fmla="*/ 122575 w 143414"/>
                <a:gd name="connsiteY82" fmla="*/ 43473 h 143414"/>
                <a:gd name="connsiteX83" fmla="*/ 83136 w 143414"/>
                <a:gd name="connsiteY83" fmla="*/ 121006 h 143414"/>
                <a:gd name="connsiteX84" fmla="*/ 120782 w 143414"/>
                <a:gd name="connsiteY84" fmla="*/ 39439 h 143414"/>
                <a:gd name="connsiteX85" fmla="*/ 106440 w 143414"/>
                <a:gd name="connsiteY85" fmla="*/ 25098 h 143414"/>
                <a:gd name="connsiteX86" fmla="*/ 120782 w 143414"/>
                <a:gd name="connsiteY86" fmla="*/ 10756 h 143414"/>
                <a:gd name="connsiteX87" fmla="*/ 135123 w 143414"/>
                <a:gd name="connsiteY87" fmla="*/ 25098 h 143414"/>
                <a:gd name="connsiteX88" fmla="*/ 120782 w 143414"/>
                <a:gd name="connsiteY88" fmla="*/ 39439 h 143414"/>
                <a:gd name="connsiteX89" fmla="*/ 140501 w 143414"/>
                <a:gd name="connsiteY89" fmla="*/ 10308 h 143414"/>
                <a:gd name="connsiteX90" fmla="*/ 136020 w 143414"/>
                <a:gd name="connsiteY90" fmla="*/ 14790 h 143414"/>
                <a:gd name="connsiteX91" fmla="*/ 131090 w 143414"/>
                <a:gd name="connsiteY91" fmla="*/ 9860 h 143414"/>
                <a:gd name="connsiteX92" fmla="*/ 135123 w 143414"/>
                <a:gd name="connsiteY92" fmla="*/ 5378 h 143414"/>
                <a:gd name="connsiteX93" fmla="*/ 137364 w 143414"/>
                <a:gd name="connsiteY93" fmla="*/ 4482 h 143414"/>
                <a:gd name="connsiteX94" fmla="*/ 139605 w 143414"/>
                <a:gd name="connsiteY94" fmla="*/ 5378 h 143414"/>
                <a:gd name="connsiteX95" fmla="*/ 140501 w 143414"/>
                <a:gd name="connsiteY95" fmla="*/ 7619 h 143414"/>
                <a:gd name="connsiteX96" fmla="*/ 140501 w 143414"/>
                <a:gd name="connsiteY96" fmla="*/ 1030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43414" h="143414">
                  <a:moveTo>
                    <a:pt x="145879" y="7619"/>
                  </a:moveTo>
                  <a:cubicBezTo>
                    <a:pt x="145879" y="5378"/>
                    <a:pt x="144983" y="3585"/>
                    <a:pt x="143639" y="2241"/>
                  </a:cubicBezTo>
                  <a:cubicBezTo>
                    <a:pt x="142294" y="896"/>
                    <a:pt x="140053" y="0"/>
                    <a:pt x="138260" y="0"/>
                  </a:cubicBezTo>
                  <a:cubicBezTo>
                    <a:pt x="136020" y="0"/>
                    <a:pt x="134227" y="896"/>
                    <a:pt x="132883" y="2241"/>
                  </a:cubicBezTo>
                  <a:lnTo>
                    <a:pt x="127504" y="7619"/>
                  </a:lnTo>
                  <a:cubicBezTo>
                    <a:pt x="125264" y="6723"/>
                    <a:pt x="123471" y="6274"/>
                    <a:pt x="120782" y="6274"/>
                  </a:cubicBezTo>
                  <a:cubicBezTo>
                    <a:pt x="112715" y="6274"/>
                    <a:pt x="105992" y="11652"/>
                    <a:pt x="103303" y="18823"/>
                  </a:cubicBezTo>
                  <a:lnTo>
                    <a:pt x="59383" y="39887"/>
                  </a:lnTo>
                  <a:lnTo>
                    <a:pt x="49075" y="29131"/>
                  </a:lnTo>
                  <a:cubicBezTo>
                    <a:pt x="48178" y="28235"/>
                    <a:pt x="46834" y="28235"/>
                    <a:pt x="45937" y="29131"/>
                  </a:cubicBezTo>
                  <a:cubicBezTo>
                    <a:pt x="45041" y="30027"/>
                    <a:pt x="45041" y="31372"/>
                    <a:pt x="45937" y="32268"/>
                  </a:cubicBezTo>
                  <a:lnTo>
                    <a:pt x="55349" y="41680"/>
                  </a:lnTo>
                  <a:lnTo>
                    <a:pt x="21736" y="57814"/>
                  </a:lnTo>
                  <a:cubicBezTo>
                    <a:pt x="16358" y="60503"/>
                    <a:pt x="12325" y="65881"/>
                    <a:pt x="11428" y="71707"/>
                  </a:cubicBezTo>
                  <a:lnTo>
                    <a:pt x="10980" y="75741"/>
                  </a:lnTo>
                  <a:lnTo>
                    <a:pt x="672" y="85601"/>
                  </a:lnTo>
                  <a:cubicBezTo>
                    <a:pt x="-224" y="86497"/>
                    <a:pt x="-224" y="87841"/>
                    <a:pt x="672" y="88738"/>
                  </a:cubicBezTo>
                  <a:cubicBezTo>
                    <a:pt x="1120" y="89186"/>
                    <a:pt x="1569" y="89634"/>
                    <a:pt x="2465" y="89634"/>
                  </a:cubicBezTo>
                  <a:cubicBezTo>
                    <a:pt x="2913" y="89634"/>
                    <a:pt x="3361" y="89634"/>
                    <a:pt x="3809" y="89186"/>
                  </a:cubicBezTo>
                  <a:lnTo>
                    <a:pt x="14566" y="78878"/>
                  </a:lnTo>
                  <a:lnTo>
                    <a:pt x="67898" y="53780"/>
                  </a:lnTo>
                  <a:cubicBezTo>
                    <a:pt x="67898" y="53780"/>
                    <a:pt x="67898" y="53780"/>
                    <a:pt x="67898" y="54229"/>
                  </a:cubicBezTo>
                  <a:lnTo>
                    <a:pt x="74620" y="60951"/>
                  </a:lnTo>
                  <a:lnTo>
                    <a:pt x="70139" y="64985"/>
                  </a:lnTo>
                  <a:cubicBezTo>
                    <a:pt x="67450" y="67674"/>
                    <a:pt x="67001" y="72155"/>
                    <a:pt x="69690" y="75293"/>
                  </a:cubicBezTo>
                  <a:cubicBezTo>
                    <a:pt x="69690" y="75293"/>
                    <a:pt x="69690" y="75293"/>
                    <a:pt x="69690" y="75293"/>
                  </a:cubicBezTo>
                  <a:cubicBezTo>
                    <a:pt x="71035" y="76637"/>
                    <a:pt x="72828" y="77533"/>
                    <a:pt x="74620" y="77533"/>
                  </a:cubicBezTo>
                  <a:cubicBezTo>
                    <a:pt x="74620" y="77533"/>
                    <a:pt x="74620" y="77533"/>
                    <a:pt x="74620" y="77533"/>
                  </a:cubicBezTo>
                  <a:cubicBezTo>
                    <a:pt x="76413" y="77533"/>
                    <a:pt x="78206" y="76637"/>
                    <a:pt x="79550" y="75741"/>
                  </a:cubicBezTo>
                  <a:lnTo>
                    <a:pt x="84032" y="71259"/>
                  </a:lnTo>
                  <a:lnTo>
                    <a:pt x="91651" y="79326"/>
                  </a:lnTo>
                  <a:lnTo>
                    <a:pt x="65657" y="130418"/>
                  </a:lnTo>
                  <a:lnTo>
                    <a:pt x="55349" y="140725"/>
                  </a:lnTo>
                  <a:cubicBezTo>
                    <a:pt x="54453" y="141622"/>
                    <a:pt x="54453" y="142966"/>
                    <a:pt x="55349" y="143863"/>
                  </a:cubicBezTo>
                  <a:cubicBezTo>
                    <a:pt x="55797" y="144311"/>
                    <a:pt x="56245" y="144311"/>
                    <a:pt x="57142" y="144311"/>
                  </a:cubicBezTo>
                  <a:cubicBezTo>
                    <a:pt x="58038" y="144311"/>
                    <a:pt x="58486" y="144311"/>
                    <a:pt x="58934" y="143863"/>
                  </a:cubicBezTo>
                  <a:lnTo>
                    <a:pt x="69242" y="133555"/>
                  </a:lnTo>
                  <a:lnTo>
                    <a:pt x="73276" y="133107"/>
                  </a:lnTo>
                  <a:cubicBezTo>
                    <a:pt x="79550" y="132210"/>
                    <a:pt x="84928" y="128625"/>
                    <a:pt x="87617" y="123247"/>
                  </a:cubicBezTo>
                  <a:lnTo>
                    <a:pt x="103751" y="90979"/>
                  </a:lnTo>
                  <a:lnTo>
                    <a:pt x="112267" y="99942"/>
                  </a:lnTo>
                  <a:cubicBezTo>
                    <a:pt x="112715" y="100390"/>
                    <a:pt x="113163" y="100390"/>
                    <a:pt x="114059" y="100390"/>
                  </a:cubicBezTo>
                  <a:cubicBezTo>
                    <a:pt x="114507" y="100390"/>
                    <a:pt x="115404" y="100390"/>
                    <a:pt x="115852" y="99942"/>
                  </a:cubicBezTo>
                  <a:cubicBezTo>
                    <a:pt x="116748" y="99046"/>
                    <a:pt x="116748" y="97701"/>
                    <a:pt x="115852" y="96805"/>
                  </a:cubicBezTo>
                  <a:lnTo>
                    <a:pt x="105992" y="86945"/>
                  </a:lnTo>
                  <a:lnTo>
                    <a:pt x="128401" y="42576"/>
                  </a:lnTo>
                  <a:cubicBezTo>
                    <a:pt x="135123" y="39887"/>
                    <a:pt x="139605" y="33165"/>
                    <a:pt x="139605" y="25098"/>
                  </a:cubicBezTo>
                  <a:cubicBezTo>
                    <a:pt x="139605" y="22857"/>
                    <a:pt x="139157" y="20616"/>
                    <a:pt x="138260" y="18823"/>
                  </a:cubicBezTo>
                  <a:lnTo>
                    <a:pt x="143639" y="13445"/>
                  </a:lnTo>
                  <a:cubicBezTo>
                    <a:pt x="144983" y="11652"/>
                    <a:pt x="145879" y="9860"/>
                    <a:pt x="145879" y="7619"/>
                  </a:cubicBezTo>
                  <a:close/>
                  <a:moveTo>
                    <a:pt x="15462" y="72604"/>
                  </a:moveTo>
                  <a:cubicBezTo>
                    <a:pt x="16358" y="68122"/>
                    <a:pt x="19047" y="64088"/>
                    <a:pt x="23529" y="61848"/>
                  </a:cubicBezTo>
                  <a:lnTo>
                    <a:pt x="102407" y="24201"/>
                  </a:lnTo>
                  <a:cubicBezTo>
                    <a:pt x="102407" y="24649"/>
                    <a:pt x="102407" y="24649"/>
                    <a:pt x="102407" y="25098"/>
                  </a:cubicBezTo>
                  <a:cubicBezTo>
                    <a:pt x="102407" y="27338"/>
                    <a:pt x="102855" y="29579"/>
                    <a:pt x="103751" y="31372"/>
                  </a:cubicBezTo>
                  <a:lnTo>
                    <a:pt x="15910" y="73052"/>
                  </a:lnTo>
                  <a:lnTo>
                    <a:pt x="15462" y="72604"/>
                  </a:lnTo>
                  <a:close/>
                  <a:moveTo>
                    <a:pt x="75965" y="72155"/>
                  </a:moveTo>
                  <a:cubicBezTo>
                    <a:pt x="75517" y="72604"/>
                    <a:pt x="74620" y="73052"/>
                    <a:pt x="74172" y="73052"/>
                  </a:cubicBezTo>
                  <a:cubicBezTo>
                    <a:pt x="73276" y="73052"/>
                    <a:pt x="72828" y="72604"/>
                    <a:pt x="72380" y="72155"/>
                  </a:cubicBezTo>
                  <a:cubicBezTo>
                    <a:pt x="71483" y="71259"/>
                    <a:pt x="71483" y="69466"/>
                    <a:pt x="72380" y="68122"/>
                  </a:cubicBezTo>
                  <a:lnTo>
                    <a:pt x="84480" y="56469"/>
                  </a:lnTo>
                  <a:cubicBezTo>
                    <a:pt x="84928" y="56021"/>
                    <a:pt x="85825" y="55573"/>
                    <a:pt x="86273" y="55573"/>
                  </a:cubicBezTo>
                  <a:cubicBezTo>
                    <a:pt x="87169" y="55573"/>
                    <a:pt x="87617" y="56021"/>
                    <a:pt x="88065" y="56469"/>
                  </a:cubicBezTo>
                  <a:cubicBezTo>
                    <a:pt x="88962" y="57366"/>
                    <a:pt x="88962" y="59158"/>
                    <a:pt x="88065" y="60503"/>
                  </a:cubicBezTo>
                  <a:lnTo>
                    <a:pt x="75965" y="72155"/>
                  </a:lnTo>
                  <a:close/>
                  <a:moveTo>
                    <a:pt x="87169" y="67674"/>
                  </a:moveTo>
                  <a:lnTo>
                    <a:pt x="91651" y="63640"/>
                  </a:lnTo>
                  <a:cubicBezTo>
                    <a:pt x="94340" y="60951"/>
                    <a:pt x="94788" y="56469"/>
                    <a:pt x="92099" y="53332"/>
                  </a:cubicBezTo>
                  <a:cubicBezTo>
                    <a:pt x="90755" y="51988"/>
                    <a:pt x="88962" y="51091"/>
                    <a:pt x="87169" y="51091"/>
                  </a:cubicBezTo>
                  <a:cubicBezTo>
                    <a:pt x="85376" y="51091"/>
                    <a:pt x="83584" y="51540"/>
                    <a:pt x="81791" y="52884"/>
                  </a:cubicBezTo>
                  <a:lnTo>
                    <a:pt x="77309" y="57366"/>
                  </a:lnTo>
                  <a:lnTo>
                    <a:pt x="71483" y="51540"/>
                  </a:lnTo>
                  <a:lnTo>
                    <a:pt x="105544" y="35405"/>
                  </a:lnTo>
                  <a:cubicBezTo>
                    <a:pt x="106889" y="37646"/>
                    <a:pt x="109129" y="39439"/>
                    <a:pt x="111370" y="40783"/>
                  </a:cubicBezTo>
                  <a:lnTo>
                    <a:pt x="94340" y="74396"/>
                  </a:lnTo>
                  <a:lnTo>
                    <a:pt x="87169" y="67674"/>
                  </a:lnTo>
                  <a:close/>
                  <a:moveTo>
                    <a:pt x="83136" y="121006"/>
                  </a:moveTo>
                  <a:cubicBezTo>
                    <a:pt x="80895" y="125040"/>
                    <a:pt x="76861" y="128177"/>
                    <a:pt x="72380" y="128625"/>
                  </a:cubicBezTo>
                  <a:lnTo>
                    <a:pt x="71931" y="128625"/>
                  </a:lnTo>
                  <a:lnTo>
                    <a:pt x="114956" y="42576"/>
                  </a:lnTo>
                  <a:cubicBezTo>
                    <a:pt x="116748" y="43024"/>
                    <a:pt x="118989" y="43473"/>
                    <a:pt x="120782" y="43473"/>
                  </a:cubicBezTo>
                  <a:cubicBezTo>
                    <a:pt x="121230" y="43473"/>
                    <a:pt x="121678" y="43473"/>
                    <a:pt x="122575" y="43473"/>
                  </a:cubicBezTo>
                  <a:lnTo>
                    <a:pt x="83136" y="121006"/>
                  </a:lnTo>
                  <a:close/>
                  <a:moveTo>
                    <a:pt x="120782" y="39439"/>
                  </a:moveTo>
                  <a:cubicBezTo>
                    <a:pt x="112715" y="39439"/>
                    <a:pt x="106440" y="33165"/>
                    <a:pt x="106440" y="25098"/>
                  </a:cubicBezTo>
                  <a:cubicBezTo>
                    <a:pt x="106440" y="17030"/>
                    <a:pt x="112715" y="10756"/>
                    <a:pt x="120782" y="10756"/>
                  </a:cubicBezTo>
                  <a:cubicBezTo>
                    <a:pt x="128849" y="10756"/>
                    <a:pt x="135123" y="17030"/>
                    <a:pt x="135123" y="25098"/>
                  </a:cubicBezTo>
                  <a:cubicBezTo>
                    <a:pt x="135123" y="33165"/>
                    <a:pt x="128401" y="39439"/>
                    <a:pt x="120782" y="39439"/>
                  </a:cubicBezTo>
                  <a:close/>
                  <a:moveTo>
                    <a:pt x="140501" y="10308"/>
                  </a:moveTo>
                  <a:lnTo>
                    <a:pt x="136020" y="14790"/>
                  </a:lnTo>
                  <a:cubicBezTo>
                    <a:pt x="134675" y="12997"/>
                    <a:pt x="133331" y="11204"/>
                    <a:pt x="131090" y="9860"/>
                  </a:cubicBezTo>
                  <a:lnTo>
                    <a:pt x="135123" y="5378"/>
                  </a:lnTo>
                  <a:cubicBezTo>
                    <a:pt x="135572" y="4930"/>
                    <a:pt x="136468" y="4482"/>
                    <a:pt x="137364" y="4482"/>
                  </a:cubicBezTo>
                  <a:cubicBezTo>
                    <a:pt x="138260" y="4482"/>
                    <a:pt x="139157" y="4930"/>
                    <a:pt x="139605" y="5378"/>
                  </a:cubicBezTo>
                  <a:cubicBezTo>
                    <a:pt x="140053" y="5826"/>
                    <a:pt x="140501" y="6723"/>
                    <a:pt x="140501" y="7619"/>
                  </a:cubicBezTo>
                  <a:cubicBezTo>
                    <a:pt x="141398" y="8515"/>
                    <a:pt x="140950" y="9412"/>
                    <a:pt x="140501" y="10308"/>
                  </a:cubicBezTo>
                  <a:close/>
                </a:path>
              </a:pathLst>
            </a:custGeom>
            <a:solidFill>
              <a:srgbClr val="231F20"/>
            </a:solidFill>
            <a:ln w="4477" cap="flat">
              <a:noFill/>
              <a:prstDash val="solid"/>
              <a:miter/>
            </a:ln>
          </p:spPr>
          <p:txBody>
            <a:bodyPr rtlCol="0" anchor="ctr"/>
            <a:lstStyle/>
            <a:p>
              <a:endParaRPr lang="en-US"/>
            </a:p>
          </p:txBody>
        </p:sp>
      </p:grpSp>
      <p:sp>
        <p:nvSpPr>
          <p:cNvPr id="2988" name="Freeform: Shape 2987">
            <a:extLst>
              <a:ext uri="{FF2B5EF4-FFF2-40B4-BE49-F238E27FC236}">
                <a16:creationId xmlns:a16="http://schemas.microsoft.com/office/drawing/2014/main" id="{ABA11D5A-77CA-40CE-9AFA-292398B1604F}"/>
              </a:ext>
              <a:ext uri="{C183D7F6-B498-43B3-948B-1728B52AA6E4}">
                <adec:decorative xmlns:adec="http://schemas.microsoft.com/office/drawing/2017/decorative" val="1"/>
              </a:ext>
            </a:extLst>
          </p:cNvPr>
          <p:cNvSpPr>
            <a:spLocks noChangeAspect="1"/>
          </p:cNvSpPr>
          <p:nvPr/>
        </p:nvSpPr>
        <p:spPr>
          <a:xfrm>
            <a:off x="7681966" y="3122439"/>
            <a:ext cx="147896" cy="147896"/>
          </a:xfrm>
          <a:custGeom>
            <a:avLst/>
            <a:gdLst>
              <a:gd name="connsiteX0" fmla="*/ 147781 w 147896"/>
              <a:gd name="connsiteY0" fmla="*/ 24201 h 147896"/>
              <a:gd name="connsiteX1" fmla="*/ 124924 w 147896"/>
              <a:gd name="connsiteY1" fmla="*/ 1345 h 147896"/>
              <a:gd name="connsiteX2" fmla="*/ 119098 w 147896"/>
              <a:gd name="connsiteY2" fmla="*/ 1345 h 147896"/>
              <a:gd name="connsiteX3" fmla="*/ 111031 w 147896"/>
              <a:gd name="connsiteY3" fmla="*/ 9412 h 147896"/>
              <a:gd name="connsiteX4" fmla="*/ 109686 w 147896"/>
              <a:gd name="connsiteY4" fmla="*/ 12549 h 147896"/>
              <a:gd name="connsiteX5" fmla="*/ 112375 w 147896"/>
              <a:gd name="connsiteY5" fmla="*/ 25994 h 147896"/>
              <a:gd name="connsiteX6" fmla="*/ 55906 w 147896"/>
              <a:gd name="connsiteY6" fmla="*/ 82463 h 147896"/>
              <a:gd name="connsiteX7" fmla="*/ 39772 w 147896"/>
              <a:gd name="connsiteY7" fmla="*/ 66329 h 147896"/>
              <a:gd name="connsiteX8" fmla="*/ 33945 w 147896"/>
              <a:gd name="connsiteY8" fmla="*/ 66329 h 147896"/>
              <a:gd name="connsiteX9" fmla="*/ 6607 w 147896"/>
              <a:gd name="connsiteY9" fmla="*/ 93668 h 147896"/>
              <a:gd name="connsiteX10" fmla="*/ 781 w 147896"/>
              <a:gd name="connsiteY10" fmla="*/ 121006 h 147896"/>
              <a:gd name="connsiteX11" fmla="*/ 7951 w 147896"/>
              <a:gd name="connsiteY11" fmla="*/ 140725 h 147896"/>
              <a:gd name="connsiteX12" fmla="*/ 27223 w 147896"/>
              <a:gd name="connsiteY12" fmla="*/ 147896 h 147896"/>
              <a:gd name="connsiteX13" fmla="*/ 35738 w 147896"/>
              <a:gd name="connsiteY13" fmla="*/ 148793 h 147896"/>
              <a:gd name="connsiteX14" fmla="*/ 54561 w 147896"/>
              <a:gd name="connsiteY14" fmla="*/ 142070 h 147896"/>
              <a:gd name="connsiteX15" fmla="*/ 81900 w 147896"/>
              <a:gd name="connsiteY15" fmla="*/ 114732 h 147896"/>
              <a:gd name="connsiteX16" fmla="*/ 83244 w 147896"/>
              <a:gd name="connsiteY16" fmla="*/ 112043 h 147896"/>
              <a:gd name="connsiteX17" fmla="*/ 81900 w 147896"/>
              <a:gd name="connsiteY17" fmla="*/ 109354 h 147896"/>
              <a:gd name="connsiteX18" fmla="*/ 65317 w 147896"/>
              <a:gd name="connsiteY18" fmla="*/ 92771 h 147896"/>
              <a:gd name="connsiteX19" fmla="*/ 121787 w 147896"/>
              <a:gd name="connsiteY19" fmla="*/ 36302 h 147896"/>
              <a:gd name="connsiteX20" fmla="*/ 135680 w 147896"/>
              <a:gd name="connsiteY20" fmla="*/ 39439 h 147896"/>
              <a:gd name="connsiteX21" fmla="*/ 139265 w 147896"/>
              <a:gd name="connsiteY21" fmla="*/ 38094 h 147896"/>
              <a:gd name="connsiteX22" fmla="*/ 147332 w 147896"/>
              <a:gd name="connsiteY22" fmla="*/ 30027 h 147896"/>
              <a:gd name="connsiteX23" fmla="*/ 148677 w 147896"/>
              <a:gd name="connsiteY23" fmla="*/ 27338 h 147896"/>
              <a:gd name="connsiteX24" fmla="*/ 147781 w 147896"/>
              <a:gd name="connsiteY24" fmla="*/ 24201 h 147896"/>
              <a:gd name="connsiteX25" fmla="*/ 79210 w 147896"/>
              <a:gd name="connsiteY25" fmla="*/ 112043 h 147896"/>
              <a:gd name="connsiteX26" fmla="*/ 52320 w 147896"/>
              <a:gd name="connsiteY26" fmla="*/ 138933 h 147896"/>
              <a:gd name="connsiteX27" fmla="*/ 28567 w 147896"/>
              <a:gd name="connsiteY27" fmla="*/ 143863 h 147896"/>
              <a:gd name="connsiteX28" fmla="*/ 11537 w 147896"/>
              <a:gd name="connsiteY28" fmla="*/ 138036 h 147896"/>
              <a:gd name="connsiteX29" fmla="*/ 5262 w 147896"/>
              <a:gd name="connsiteY29" fmla="*/ 121006 h 147896"/>
              <a:gd name="connsiteX30" fmla="*/ 9744 w 147896"/>
              <a:gd name="connsiteY30" fmla="*/ 97253 h 147896"/>
              <a:gd name="connsiteX31" fmla="*/ 36634 w 147896"/>
              <a:gd name="connsiteY31" fmla="*/ 70363 h 147896"/>
              <a:gd name="connsiteX32" fmla="*/ 54113 w 147896"/>
              <a:gd name="connsiteY32" fmla="*/ 87393 h 147896"/>
              <a:gd name="connsiteX33" fmla="*/ 54113 w 147896"/>
              <a:gd name="connsiteY33" fmla="*/ 87393 h 147896"/>
              <a:gd name="connsiteX34" fmla="*/ 60836 w 147896"/>
              <a:gd name="connsiteY34" fmla="*/ 94116 h 147896"/>
              <a:gd name="connsiteX35" fmla="*/ 60836 w 147896"/>
              <a:gd name="connsiteY35" fmla="*/ 94116 h 147896"/>
              <a:gd name="connsiteX36" fmla="*/ 79210 w 147896"/>
              <a:gd name="connsiteY36" fmla="*/ 112043 h 147896"/>
              <a:gd name="connsiteX37" fmla="*/ 62628 w 147896"/>
              <a:gd name="connsiteY37" fmla="*/ 89186 h 147896"/>
              <a:gd name="connsiteX38" fmla="*/ 59043 w 147896"/>
              <a:gd name="connsiteY38" fmla="*/ 85601 h 147896"/>
              <a:gd name="connsiteX39" fmla="*/ 115064 w 147896"/>
              <a:gd name="connsiteY39" fmla="*/ 29579 h 147896"/>
              <a:gd name="connsiteX40" fmla="*/ 118650 w 147896"/>
              <a:gd name="connsiteY40" fmla="*/ 33165 h 147896"/>
              <a:gd name="connsiteX41" fmla="*/ 62628 w 147896"/>
              <a:gd name="connsiteY41" fmla="*/ 89186 h 147896"/>
              <a:gd name="connsiteX42" fmla="*/ 137025 w 147896"/>
              <a:gd name="connsiteY42" fmla="*/ 34509 h 147896"/>
              <a:gd name="connsiteX43" fmla="*/ 122683 w 147896"/>
              <a:gd name="connsiteY43" fmla="*/ 31372 h 147896"/>
              <a:gd name="connsiteX44" fmla="*/ 116857 w 147896"/>
              <a:gd name="connsiteY44" fmla="*/ 25546 h 147896"/>
              <a:gd name="connsiteX45" fmla="*/ 114168 w 147896"/>
              <a:gd name="connsiteY45" fmla="*/ 12101 h 147896"/>
              <a:gd name="connsiteX46" fmla="*/ 121787 w 147896"/>
              <a:gd name="connsiteY46" fmla="*/ 4482 h 147896"/>
              <a:gd name="connsiteX47" fmla="*/ 144195 w 147896"/>
              <a:gd name="connsiteY47" fmla="*/ 26890 h 147896"/>
              <a:gd name="connsiteX48" fmla="*/ 137025 w 147896"/>
              <a:gd name="connsiteY48" fmla="*/ 34509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7896" h="147896">
                <a:moveTo>
                  <a:pt x="147781" y="24201"/>
                </a:moveTo>
                <a:lnTo>
                  <a:pt x="124924" y="1345"/>
                </a:lnTo>
                <a:cubicBezTo>
                  <a:pt x="123131" y="-448"/>
                  <a:pt x="120890" y="-448"/>
                  <a:pt x="119098" y="1345"/>
                </a:cubicBezTo>
                <a:lnTo>
                  <a:pt x="111031" y="9412"/>
                </a:lnTo>
                <a:cubicBezTo>
                  <a:pt x="110134" y="10308"/>
                  <a:pt x="109686" y="11204"/>
                  <a:pt x="109686" y="12549"/>
                </a:cubicBezTo>
                <a:lnTo>
                  <a:pt x="112375" y="25994"/>
                </a:lnTo>
                <a:lnTo>
                  <a:pt x="55906" y="82463"/>
                </a:lnTo>
                <a:lnTo>
                  <a:pt x="39772" y="66329"/>
                </a:lnTo>
                <a:cubicBezTo>
                  <a:pt x="38427" y="64985"/>
                  <a:pt x="35738" y="64985"/>
                  <a:pt x="33945" y="66329"/>
                </a:cubicBezTo>
                <a:lnTo>
                  <a:pt x="6607" y="93668"/>
                </a:lnTo>
                <a:cubicBezTo>
                  <a:pt x="-1012" y="101286"/>
                  <a:pt x="-564" y="112939"/>
                  <a:pt x="781" y="121006"/>
                </a:cubicBezTo>
                <a:cubicBezTo>
                  <a:pt x="2125" y="129969"/>
                  <a:pt x="5711" y="138036"/>
                  <a:pt x="7951" y="140725"/>
                </a:cubicBezTo>
                <a:cubicBezTo>
                  <a:pt x="10192" y="142966"/>
                  <a:pt x="18707" y="146552"/>
                  <a:pt x="27223" y="147896"/>
                </a:cubicBezTo>
                <a:cubicBezTo>
                  <a:pt x="30360" y="148344"/>
                  <a:pt x="33049" y="148793"/>
                  <a:pt x="35738" y="148793"/>
                </a:cubicBezTo>
                <a:cubicBezTo>
                  <a:pt x="43805" y="148793"/>
                  <a:pt x="50079" y="146552"/>
                  <a:pt x="54561" y="142070"/>
                </a:cubicBezTo>
                <a:lnTo>
                  <a:pt x="81900" y="114732"/>
                </a:lnTo>
                <a:cubicBezTo>
                  <a:pt x="82796" y="113835"/>
                  <a:pt x="83244" y="112939"/>
                  <a:pt x="83244" y="112043"/>
                </a:cubicBezTo>
                <a:cubicBezTo>
                  <a:pt x="83244" y="111146"/>
                  <a:pt x="82796" y="109802"/>
                  <a:pt x="81900" y="109354"/>
                </a:cubicBezTo>
                <a:lnTo>
                  <a:pt x="65317" y="92771"/>
                </a:lnTo>
                <a:lnTo>
                  <a:pt x="121787" y="36302"/>
                </a:lnTo>
                <a:lnTo>
                  <a:pt x="135680" y="39439"/>
                </a:lnTo>
                <a:cubicBezTo>
                  <a:pt x="137025" y="39887"/>
                  <a:pt x="138369" y="38991"/>
                  <a:pt x="139265" y="38094"/>
                </a:cubicBezTo>
                <a:lnTo>
                  <a:pt x="147332" y="30027"/>
                </a:lnTo>
                <a:cubicBezTo>
                  <a:pt x="148229" y="29131"/>
                  <a:pt x="148677" y="28235"/>
                  <a:pt x="148677" y="27338"/>
                </a:cubicBezTo>
                <a:cubicBezTo>
                  <a:pt x="149125" y="25994"/>
                  <a:pt x="148677" y="25098"/>
                  <a:pt x="147781" y="24201"/>
                </a:cubicBezTo>
                <a:close/>
                <a:moveTo>
                  <a:pt x="79210" y="112043"/>
                </a:moveTo>
                <a:lnTo>
                  <a:pt x="52320" y="138933"/>
                </a:lnTo>
                <a:cubicBezTo>
                  <a:pt x="47390" y="143863"/>
                  <a:pt x="39323" y="145207"/>
                  <a:pt x="28567" y="143863"/>
                </a:cubicBezTo>
                <a:cubicBezTo>
                  <a:pt x="20052" y="142518"/>
                  <a:pt x="12881" y="138933"/>
                  <a:pt x="11537" y="138036"/>
                </a:cubicBezTo>
                <a:cubicBezTo>
                  <a:pt x="10192" y="136692"/>
                  <a:pt x="7055" y="129521"/>
                  <a:pt x="5262" y="121006"/>
                </a:cubicBezTo>
                <a:cubicBezTo>
                  <a:pt x="3918" y="113835"/>
                  <a:pt x="3918" y="103527"/>
                  <a:pt x="9744" y="97253"/>
                </a:cubicBezTo>
                <a:lnTo>
                  <a:pt x="36634" y="70363"/>
                </a:lnTo>
                <a:lnTo>
                  <a:pt x="54113" y="87393"/>
                </a:lnTo>
                <a:lnTo>
                  <a:pt x="54113" y="87393"/>
                </a:lnTo>
                <a:lnTo>
                  <a:pt x="60836" y="94116"/>
                </a:lnTo>
                <a:lnTo>
                  <a:pt x="60836" y="94116"/>
                </a:lnTo>
                <a:lnTo>
                  <a:pt x="79210" y="112043"/>
                </a:lnTo>
                <a:close/>
                <a:moveTo>
                  <a:pt x="62628" y="89186"/>
                </a:moveTo>
                <a:lnTo>
                  <a:pt x="59043" y="85601"/>
                </a:lnTo>
                <a:lnTo>
                  <a:pt x="115064" y="29579"/>
                </a:lnTo>
                <a:lnTo>
                  <a:pt x="118650" y="33165"/>
                </a:lnTo>
                <a:lnTo>
                  <a:pt x="62628" y="89186"/>
                </a:lnTo>
                <a:close/>
                <a:moveTo>
                  <a:pt x="137025" y="34509"/>
                </a:moveTo>
                <a:lnTo>
                  <a:pt x="122683" y="31372"/>
                </a:lnTo>
                <a:lnTo>
                  <a:pt x="116857" y="25546"/>
                </a:lnTo>
                <a:lnTo>
                  <a:pt x="114168" y="12101"/>
                </a:lnTo>
                <a:lnTo>
                  <a:pt x="121787" y="4482"/>
                </a:lnTo>
                <a:lnTo>
                  <a:pt x="144195" y="26890"/>
                </a:lnTo>
                <a:lnTo>
                  <a:pt x="137025" y="34509"/>
                </a:lnTo>
                <a:close/>
              </a:path>
            </a:pathLst>
          </a:custGeom>
          <a:solidFill>
            <a:srgbClr val="231F20"/>
          </a:solidFill>
          <a:ln w="4477" cap="flat">
            <a:noFill/>
            <a:prstDash val="solid"/>
            <a:miter/>
          </a:ln>
        </p:spPr>
        <p:txBody>
          <a:bodyPr rtlCol="0" anchor="ctr"/>
          <a:lstStyle/>
          <a:p>
            <a:endParaRPr lang="en-US"/>
          </a:p>
        </p:txBody>
      </p:sp>
      <p:sp>
        <p:nvSpPr>
          <p:cNvPr id="2989" name="Freeform: Shape 2988">
            <a:extLst>
              <a:ext uri="{FF2B5EF4-FFF2-40B4-BE49-F238E27FC236}">
                <a16:creationId xmlns:a16="http://schemas.microsoft.com/office/drawing/2014/main" id="{DAA2063C-6F28-4329-8B93-139E3691A4C4}"/>
              </a:ext>
              <a:ext uri="{C183D7F6-B498-43B3-948B-1728B52AA6E4}">
                <adec:decorative xmlns:adec="http://schemas.microsoft.com/office/drawing/2017/decorative" val="1"/>
              </a:ext>
            </a:extLst>
          </p:cNvPr>
          <p:cNvSpPr>
            <a:spLocks noChangeAspect="1"/>
          </p:cNvSpPr>
          <p:nvPr/>
        </p:nvSpPr>
        <p:spPr>
          <a:xfrm>
            <a:off x="10838537" y="3108098"/>
            <a:ext cx="152378" cy="161341"/>
          </a:xfrm>
          <a:custGeom>
            <a:avLst/>
            <a:gdLst>
              <a:gd name="connsiteX0" fmla="*/ 155739 w 152377"/>
              <a:gd name="connsiteY0" fmla="*/ 93219 h 161341"/>
              <a:gd name="connsiteX1" fmla="*/ 130641 w 152377"/>
              <a:gd name="connsiteY1" fmla="*/ 68122 h 161341"/>
              <a:gd name="connsiteX2" fmla="*/ 128849 w 152377"/>
              <a:gd name="connsiteY2" fmla="*/ 67674 h 161341"/>
              <a:gd name="connsiteX3" fmla="*/ 80447 w 152377"/>
              <a:gd name="connsiteY3" fmla="*/ 67674 h 161341"/>
              <a:gd name="connsiteX4" fmla="*/ 80447 w 152377"/>
              <a:gd name="connsiteY4" fmla="*/ 2241 h 161341"/>
              <a:gd name="connsiteX5" fmla="*/ 78206 w 152377"/>
              <a:gd name="connsiteY5" fmla="*/ 0 h 161341"/>
              <a:gd name="connsiteX6" fmla="*/ 75965 w 152377"/>
              <a:gd name="connsiteY6" fmla="*/ 2241 h 161341"/>
              <a:gd name="connsiteX7" fmla="*/ 75965 w 152377"/>
              <a:gd name="connsiteY7" fmla="*/ 17030 h 161341"/>
              <a:gd name="connsiteX8" fmla="*/ 27562 w 152377"/>
              <a:gd name="connsiteY8" fmla="*/ 17030 h 161341"/>
              <a:gd name="connsiteX9" fmla="*/ 25770 w 152377"/>
              <a:gd name="connsiteY9" fmla="*/ 17479 h 161341"/>
              <a:gd name="connsiteX10" fmla="*/ 672 w 152377"/>
              <a:gd name="connsiteY10" fmla="*/ 42576 h 161341"/>
              <a:gd name="connsiteX11" fmla="*/ 672 w 152377"/>
              <a:gd name="connsiteY11" fmla="*/ 45713 h 161341"/>
              <a:gd name="connsiteX12" fmla="*/ 25770 w 152377"/>
              <a:gd name="connsiteY12" fmla="*/ 70811 h 161341"/>
              <a:gd name="connsiteX13" fmla="*/ 27562 w 152377"/>
              <a:gd name="connsiteY13" fmla="*/ 71259 h 161341"/>
              <a:gd name="connsiteX14" fmla="*/ 75965 w 152377"/>
              <a:gd name="connsiteY14" fmla="*/ 71259 h 161341"/>
              <a:gd name="connsiteX15" fmla="*/ 75965 w 152377"/>
              <a:gd name="connsiteY15" fmla="*/ 157756 h 161341"/>
              <a:gd name="connsiteX16" fmla="*/ 47730 w 152377"/>
              <a:gd name="connsiteY16" fmla="*/ 157756 h 161341"/>
              <a:gd name="connsiteX17" fmla="*/ 45489 w 152377"/>
              <a:gd name="connsiteY17" fmla="*/ 159997 h 161341"/>
              <a:gd name="connsiteX18" fmla="*/ 47730 w 152377"/>
              <a:gd name="connsiteY18" fmla="*/ 162238 h 161341"/>
              <a:gd name="connsiteX19" fmla="*/ 108233 w 152377"/>
              <a:gd name="connsiteY19" fmla="*/ 162238 h 161341"/>
              <a:gd name="connsiteX20" fmla="*/ 110474 w 152377"/>
              <a:gd name="connsiteY20" fmla="*/ 159997 h 161341"/>
              <a:gd name="connsiteX21" fmla="*/ 108233 w 152377"/>
              <a:gd name="connsiteY21" fmla="*/ 157756 h 161341"/>
              <a:gd name="connsiteX22" fmla="*/ 79998 w 152377"/>
              <a:gd name="connsiteY22" fmla="*/ 157756 h 161341"/>
              <a:gd name="connsiteX23" fmla="*/ 79998 w 152377"/>
              <a:gd name="connsiteY23" fmla="*/ 121902 h 161341"/>
              <a:gd name="connsiteX24" fmla="*/ 128401 w 152377"/>
              <a:gd name="connsiteY24" fmla="*/ 121902 h 161341"/>
              <a:gd name="connsiteX25" fmla="*/ 130193 w 152377"/>
              <a:gd name="connsiteY25" fmla="*/ 121454 h 161341"/>
              <a:gd name="connsiteX26" fmla="*/ 155291 w 152377"/>
              <a:gd name="connsiteY26" fmla="*/ 96357 h 161341"/>
              <a:gd name="connsiteX27" fmla="*/ 155739 w 152377"/>
              <a:gd name="connsiteY27" fmla="*/ 94564 h 161341"/>
              <a:gd name="connsiteX28" fmla="*/ 155739 w 152377"/>
              <a:gd name="connsiteY28" fmla="*/ 93219 h 161341"/>
              <a:gd name="connsiteX29" fmla="*/ 28459 w 152377"/>
              <a:gd name="connsiteY29" fmla="*/ 67674 h 161341"/>
              <a:gd name="connsiteX30" fmla="*/ 5602 w 152377"/>
              <a:gd name="connsiteY30" fmla="*/ 44817 h 161341"/>
              <a:gd name="connsiteX31" fmla="*/ 28459 w 152377"/>
              <a:gd name="connsiteY31" fmla="*/ 21960 h 161341"/>
              <a:gd name="connsiteX32" fmla="*/ 75965 w 152377"/>
              <a:gd name="connsiteY32" fmla="*/ 21960 h 161341"/>
              <a:gd name="connsiteX33" fmla="*/ 75965 w 152377"/>
              <a:gd name="connsiteY33" fmla="*/ 68122 h 161341"/>
              <a:gd name="connsiteX34" fmla="*/ 28459 w 152377"/>
              <a:gd name="connsiteY34" fmla="*/ 68122 h 161341"/>
              <a:gd name="connsiteX35" fmla="*/ 127953 w 152377"/>
              <a:gd name="connsiteY35" fmla="*/ 117869 h 161341"/>
              <a:gd name="connsiteX36" fmla="*/ 80447 w 152377"/>
              <a:gd name="connsiteY36" fmla="*/ 117869 h 161341"/>
              <a:gd name="connsiteX37" fmla="*/ 80447 w 152377"/>
              <a:gd name="connsiteY37" fmla="*/ 72155 h 161341"/>
              <a:gd name="connsiteX38" fmla="*/ 127953 w 152377"/>
              <a:gd name="connsiteY38" fmla="*/ 72155 h 161341"/>
              <a:gd name="connsiteX39" fmla="*/ 150809 w 152377"/>
              <a:gd name="connsiteY39" fmla="*/ 95012 h 161341"/>
              <a:gd name="connsiteX40" fmla="*/ 127953 w 152377"/>
              <a:gd name="connsiteY40" fmla="*/ 117869 h 16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377" h="161341">
                <a:moveTo>
                  <a:pt x="155739" y="93219"/>
                </a:moveTo>
                <a:lnTo>
                  <a:pt x="130641" y="68122"/>
                </a:lnTo>
                <a:cubicBezTo>
                  <a:pt x="130193" y="67674"/>
                  <a:pt x="129745" y="67674"/>
                  <a:pt x="128849" y="67674"/>
                </a:cubicBezTo>
                <a:lnTo>
                  <a:pt x="80447" y="67674"/>
                </a:lnTo>
                <a:lnTo>
                  <a:pt x="80447" y="2241"/>
                </a:lnTo>
                <a:cubicBezTo>
                  <a:pt x="80447" y="896"/>
                  <a:pt x="79550" y="0"/>
                  <a:pt x="78206" y="0"/>
                </a:cubicBezTo>
                <a:cubicBezTo>
                  <a:pt x="76861" y="0"/>
                  <a:pt x="75965" y="896"/>
                  <a:pt x="75965" y="2241"/>
                </a:cubicBezTo>
                <a:lnTo>
                  <a:pt x="75965" y="17030"/>
                </a:lnTo>
                <a:lnTo>
                  <a:pt x="27562" y="17030"/>
                </a:lnTo>
                <a:cubicBezTo>
                  <a:pt x="27114" y="17030"/>
                  <a:pt x="26218" y="17479"/>
                  <a:pt x="25770" y="17479"/>
                </a:cubicBezTo>
                <a:lnTo>
                  <a:pt x="672" y="42576"/>
                </a:lnTo>
                <a:cubicBezTo>
                  <a:pt x="-224" y="43473"/>
                  <a:pt x="-224" y="44817"/>
                  <a:pt x="672" y="45713"/>
                </a:cubicBezTo>
                <a:lnTo>
                  <a:pt x="25770" y="70811"/>
                </a:lnTo>
                <a:cubicBezTo>
                  <a:pt x="26218" y="71259"/>
                  <a:pt x="26666" y="71259"/>
                  <a:pt x="27562" y="71259"/>
                </a:cubicBezTo>
                <a:lnTo>
                  <a:pt x="75965" y="71259"/>
                </a:lnTo>
                <a:lnTo>
                  <a:pt x="75965" y="157756"/>
                </a:lnTo>
                <a:lnTo>
                  <a:pt x="47730" y="157756"/>
                </a:lnTo>
                <a:cubicBezTo>
                  <a:pt x="46386" y="157756"/>
                  <a:pt x="45489" y="158652"/>
                  <a:pt x="45489" y="159997"/>
                </a:cubicBezTo>
                <a:cubicBezTo>
                  <a:pt x="45489" y="161341"/>
                  <a:pt x="46386" y="162238"/>
                  <a:pt x="47730" y="162238"/>
                </a:cubicBezTo>
                <a:lnTo>
                  <a:pt x="108233" y="162238"/>
                </a:lnTo>
                <a:cubicBezTo>
                  <a:pt x="109578" y="162238"/>
                  <a:pt x="110474" y="161341"/>
                  <a:pt x="110474" y="159997"/>
                </a:cubicBezTo>
                <a:cubicBezTo>
                  <a:pt x="110474" y="158652"/>
                  <a:pt x="109578" y="157756"/>
                  <a:pt x="108233" y="157756"/>
                </a:cubicBezTo>
                <a:lnTo>
                  <a:pt x="79998" y="157756"/>
                </a:lnTo>
                <a:lnTo>
                  <a:pt x="79998" y="121902"/>
                </a:lnTo>
                <a:lnTo>
                  <a:pt x="128401" y="121902"/>
                </a:lnTo>
                <a:cubicBezTo>
                  <a:pt x="128849" y="121902"/>
                  <a:pt x="129745" y="121454"/>
                  <a:pt x="130193" y="121454"/>
                </a:cubicBezTo>
                <a:lnTo>
                  <a:pt x="155291" y="96357"/>
                </a:lnTo>
                <a:cubicBezTo>
                  <a:pt x="155739" y="95908"/>
                  <a:pt x="155739" y="95460"/>
                  <a:pt x="155739" y="94564"/>
                </a:cubicBezTo>
                <a:cubicBezTo>
                  <a:pt x="155739" y="93668"/>
                  <a:pt x="156187" y="93668"/>
                  <a:pt x="155739" y="93219"/>
                </a:cubicBezTo>
                <a:close/>
                <a:moveTo>
                  <a:pt x="28459" y="67674"/>
                </a:moveTo>
                <a:lnTo>
                  <a:pt x="5602" y="44817"/>
                </a:lnTo>
                <a:lnTo>
                  <a:pt x="28459" y="21960"/>
                </a:lnTo>
                <a:lnTo>
                  <a:pt x="75965" y="21960"/>
                </a:lnTo>
                <a:lnTo>
                  <a:pt x="75965" y="68122"/>
                </a:lnTo>
                <a:lnTo>
                  <a:pt x="28459" y="68122"/>
                </a:lnTo>
                <a:close/>
                <a:moveTo>
                  <a:pt x="127953" y="117869"/>
                </a:moveTo>
                <a:lnTo>
                  <a:pt x="80447" y="117869"/>
                </a:lnTo>
                <a:lnTo>
                  <a:pt x="80447" y="72155"/>
                </a:lnTo>
                <a:lnTo>
                  <a:pt x="127953" y="72155"/>
                </a:lnTo>
                <a:lnTo>
                  <a:pt x="150809" y="95012"/>
                </a:lnTo>
                <a:lnTo>
                  <a:pt x="127953" y="117869"/>
                </a:lnTo>
                <a:close/>
              </a:path>
            </a:pathLst>
          </a:custGeom>
          <a:solidFill>
            <a:srgbClr val="231F20"/>
          </a:solidFill>
          <a:ln w="4477" cap="flat">
            <a:noFill/>
            <a:prstDash val="solid"/>
            <a:miter/>
          </a:ln>
        </p:spPr>
        <p:txBody>
          <a:bodyPr rtlCol="0" anchor="ctr"/>
          <a:lstStyle/>
          <a:p>
            <a:endParaRPr lang="en-US"/>
          </a:p>
        </p:txBody>
      </p:sp>
      <p:sp>
        <p:nvSpPr>
          <p:cNvPr id="2990" name="Freeform: Shape 2989">
            <a:extLst>
              <a:ext uri="{FF2B5EF4-FFF2-40B4-BE49-F238E27FC236}">
                <a16:creationId xmlns:a16="http://schemas.microsoft.com/office/drawing/2014/main" id="{9C502D06-55EA-4E86-87AC-CCD5FD7F4434}"/>
              </a:ext>
              <a:ext uri="{C183D7F6-B498-43B3-948B-1728B52AA6E4}">
                <adec:decorative xmlns:adec="http://schemas.microsoft.com/office/drawing/2017/decorative" val="1"/>
              </a:ext>
            </a:extLst>
          </p:cNvPr>
          <p:cNvSpPr>
            <a:spLocks noChangeAspect="1"/>
          </p:cNvSpPr>
          <p:nvPr/>
        </p:nvSpPr>
        <p:spPr>
          <a:xfrm>
            <a:off x="11101389" y="3148433"/>
            <a:ext cx="129969" cy="121006"/>
          </a:xfrm>
          <a:custGeom>
            <a:avLst/>
            <a:gdLst>
              <a:gd name="connsiteX0" fmla="*/ 129969 w 129969"/>
              <a:gd name="connsiteY0" fmla="*/ 0 h 121005"/>
              <a:gd name="connsiteX1" fmla="*/ 22409 w 129969"/>
              <a:gd name="connsiteY1" fmla="*/ 0 h 121005"/>
              <a:gd name="connsiteX2" fmla="*/ 21064 w 129969"/>
              <a:gd name="connsiteY2" fmla="*/ 448 h 121005"/>
              <a:gd name="connsiteX3" fmla="*/ 897 w 129969"/>
              <a:gd name="connsiteY3" fmla="*/ 17479 h 121005"/>
              <a:gd name="connsiteX4" fmla="*/ 0 w 129969"/>
              <a:gd name="connsiteY4" fmla="*/ 19271 h 121005"/>
              <a:gd name="connsiteX5" fmla="*/ 897 w 129969"/>
              <a:gd name="connsiteY5" fmla="*/ 21064 h 121005"/>
              <a:gd name="connsiteX6" fmla="*/ 21064 w 129969"/>
              <a:gd name="connsiteY6" fmla="*/ 38094 h 121005"/>
              <a:gd name="connsiteX7" fmla="*/ 22409 w 129969"/>
              <a:gd name="connsiteY7" fmla="*/ 38543 h 121005"/>
              <a:gd name="connsiteX8" fmla="*/ 74396 w 129969"/>
              <a:gd name="connsiteY8" fmla="*/ 38543 h 121005"/>
              <a:gd name="connsiteX9" fmla="*/ 74396 w 129969"/>
              <a:gd name="connsiteY9" fmla="*/ 120558 h 121005"/>
              <a:gd name="connsiteX10" fmla="*/ 76637 w 129969"/>
              <a:gd name="connsiteY10" fmla="*/ 122799 h 121005"/>
              <a:gd name="connsiteX11" fmla="*/ 78878 w 129969"/>
              <a:gd name="connsiteY11" fmla="*/ 120558 h 121005"/>
              <a:gd name="connsiteX12" fmla="*/ 78878 w 129969"/>
              <a:gd name="connsiteY12" fmla="*/ 38543 h 121005"/>
              <a:gd name="connsiteX13" fmla="*/ 130417 w 129969"/>
              <a:gd name="connsiteY13" fmla="*/ 38543 h 121005"/>
              <a:gd name="connsiteX14" fmla="*/ 132658 w 129969"/>
              <a:gd name="connsiteY14" fmla="*/ 36302 h 121005"/>
              <a:gd name="connsiteX15" fmla="*/ 132658 w 129969"/>
              <a:gd name="connsiteY15" fmla="*/ 2241 h 121005"/>
              <a:gd name="connsiteX16" fmla="*/ 129969 w 129969"/>
              <a:gd name="connsiteY16" fmla="*/ 0 h 121005"/>
              <a:gd name="connsiteX17" fmla="*/ 127729 w 129969"/>
              <a:gd name="connsiteY17" fmla="*/ 34061 h 121005"/>
              <a:gd name="connsiteX18" fmla="*/ 22857 w 129969"/>
              <a:gd name="connsiteY18" fmla="*/ 34061 h 121005"/>
              <a:gd name="connsiteX19" fmla="*/ 5378 w 129969"/>
              <a:gd name="connsiteY19" fmla="*/ 19271 h 121005"/>
              <a:gd name="connsiteX20" fmla="*/ 22857 w 129969"/>
              <a:gd name="connsiteY20" fmla="*/ 4482 h 121005"/>
              <a:gd name="connsiteX21" fmla="*/ 127729 w 129969"/>
              <a:gd name="connsiteY21" fmla="*/ 4482 h 121005"/>
              <a:gd name="connsiteX22" fmla="*/ 127729 w 129969"/>
              <a:gd name="connsiteY22" fmla="*/ 34061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9969" h="121005">
                <a:moveTo>
                  <a:pt x="129969" y="0"/>
                </a:moveTo>
                <a:lnTo>
                  <a:pt x="22409" y="0"/>
                </a:lnTo>
                <a:cubicBezTo>
                  <a:pt x="21960" y="0"/>
                  <a:pt x="21512" y="0"/>
                  <a:pt x="21064" y="448"/>
                </a:cubicBezTo>
                <a:lnTo>
                  <a:pt x="897" y="17479"/>
                </a:lnTo>
                <a:cubicBezTo>
                  <a:pt x="448" y="17927"/>
                  <a:pt x="0" y="18375"/>
                  <a:pt x="0" y="19271"/>
                </a:cubicBezTo>
                <a:cubicBezTo>
                  <a:pt x="0" y="20168"/>
                  <a:pt x="448" y="20616"/>
                  <a:pt x="897" y="21064"/>
                </a:cubicBezTo>
                <a:lnTo>
                  <a:pt x="21064" y="38094"/>
                </a:lnTo>
                <a:cubicBezTo>
                  <a:pt x="21512" y="38543"/>
                  <a:pt x="21960" y="38543"/>
                  <a:pt x="22409" y="38543"/>
                </a:cubicBezTo>
                <a:lnTo>
                  <a:pt x="74396" y="38543"/>
                </a:lnTo>
                <a:lnTo>
                  <a:pt x="74396" y="120558"/>
                </a:lnTo>
                <a:cubicBezTo>
                  <a:pt x="74396" y="121902"/>
                  <a:pt x="75293" y="122799"/>
                  <a:pt x="76637" y="122799"/>
                </a:cubicBezTo>
                <a:cubicBezTo>
                  <a:pt x="77982" y="122799"/>
                  <a:pt x="78878" y="121902"/>
                  <a:pt x="78878" y="120558"/>
                </a:cubicBezTo>
                <a:lnTo>
                  <a:pt x="78878" y="38543"/>
                </a:lnTo>
                <a:lnTo>
                  <a:pt x="130417" y="38543"/>
                </a:lnTo>
                <a:cubicBezTo>
                  <a:pt x="131762" y="38543"/>
                  <a:pt x="132658" y="37646"/>
                  <a:pt x="132658" y="36302"/>
                </a:cubicBezTo>
                <a:lnTo>
                  <a:pt x="132658" y="2241"/>
                </a:lnTo>
                <a:cubicBezTo>
                  <a:pt x="132210" y="1345"/>
                  <a:pt x="131314" y="0"/>
                  <a:pt x="129969" y="0"/>
                </a:cubicBezTo>
                <a:close/>
                <a:moveTo>
                  <a:pt x="127729" y="34061"/>
                </a:moveTo>
                <a:lnTo>
                  <a:pt x="22857" y="34061"/>
                </a:lnTo>
                <a:lnTo>
                  <a:pt x="5378" y="19271"/>
                </a:lnTo>
                <a:lnTo>
                  <a:pt x="22857" y="4482"/>
                </a:lnTo>
                <a:lnTo>
                  <a:pt x="127729" y="4482"/>
                </a:lnTo>
                <a:lnTo>
                  <a:pt x="127729" y="34061"/>
                </a:lnTo>
                <a:close/>
              </a:path>
            </a:pathLst>
          </a:custGeom>
          <a:solidFill>
            <a:srgbClr val="231F20"/>
          </a:solidFill>
          <a:ln w="4477" cap="flat">
            <a:noFill/>
            <a:prstDash val="solid"/>
            <a:miter/>
          </a:ln>
        </p:spPr>
        <p:txBody>
          <a:bodyPr rtlCol="0" anchor="ctr"/>
          <a:lstStyle/>
          <a:p>
            <a:endParaRPr lang="en-US"/>
          </a:p>
        </p:txBody>
      </p:sp>
      <p:sp>
        <p:nvSpPr>
          <p:cNvPr id="2991" name="Freeform: Shape 2990">
            <a:extLst>
              <a:ext uri="{FF2B5EF4-FFF2-40B4-BE49-F238E27FC236}">
                <a16:creationId xmlns:a16="http://schemas.microsoft.com/office/drawing/2014/main" id="{B9E0C895-1903-467B-82A0-310DC81631AE}"/>
              </a:ext>
              <a:ext uri="{C183D7F6-B498-43B3-948B-1728B52AA6E4}">
                <adec:decorative xmlns:adec="http://schemas.microsoft.com/office/drawing/2017/decorative" val="1"/>
              </a:ext>
            </a:extLst>
          </p:cNvPr>
          <p:cNvSpPr>
            <a:spLocks noChangeAspect="1"/>
          </p:cNvSpPr>
          <p:nvPr/>
        </p:nvSpPr>
        <p:spPr>
          <a:xfrm>
            <a:off x="11355053" y="3128266"/>
            <a:ext cx="152378" cy="152378"/>
          </a:xfrm>
          <a:custGeom>
            <a:avLst/>
            <a:gdLst>
              <a:gd name="connsiteX0" fmla="*/ 130418 w 152377"/>
              <a:gd name="connsiteY0" fmla="*/ 38543 h 152377"/>
              <a:gd name="connsiteX1" fmla="*/ 131762 w 152377"/>
              <a:gd name="connsiteY1" fmla="*/ 38094 h 152377"/>
              <a:gd name="connsiteX2" fmla="*/ 151930 w 152377"/>
              <a:gd name="connsiteY2" fmla="*/ 21064 h 152377"/>
              <a:gd name="connsiteX3" fmla="*/ 152826 w 152377"/>
              <a:gd name="connsiteY3" fmla="*/ 19271 h 152377"/>
              <a:gd name="connsiteX4" fmla="*/ 151930 w 152377"/>
              <a:gd name="connsiteY4" fmla="*/ 17479 h 152377"/>
              <a:gd name="connsiteX5" fmla="*/ 131762 w 152377"/>
              <a:gd name="connsiteY5" fmla="*/ 448 h 152377"/>
              <a:gd name="connsiteX6" fmla="*/ 130418 w 152377"/>
              <a:gd name="connsiteY6" fmla="*/ 0 h 152377"/>
              <a:gd name="connsiteX7" fmla="*/ 22409 w 152377"/>
              <a:gd name="connsiteY7" fmla="*/ 0 h 152377"/>
              <a:gd name="connsiteX8" fmla="*/ 20168 w 152377"/>
              <a:gd name="connsiteY8" fmla="*/ 2241 h 152377"/>
              <a:gd name="connsiteX9" fmla="*/ 20168 w 152377"/>
              <a:gd name="connsiteY9" fmla="*/ 35854 h 152377"/>
              <a:gd name="connsiteX10" fmla="*/ 22409 w 152377"/>
              <a:gd name="connsiteY10" fmla="*/ 38094 h 152377"/>
              <a:gd name="connsiteX11" fmla="*/ 73948 w 152377"/>
              <a:gd name="connsiteY11" fmla="*/ 38094 h 152377"/>
              <a:gd name="connsiteX12" fmla="*/ 73948 w 152377"/>
              <a:gd name="connsiteY12" fmla="*/ 64088 h 152377"/>
              <a:gd name="connsiteX13" fmla="*/ 22409 w 152377"/>
              <a:gd name="connsiteY13" fmla="*/ 64088 h 152377"/>
              <a:gd name="connsiteX14" fmla="*/ 21064 w 152377"/>
              <a:gd name="connsiteY14" fmla="*/ 64537 h 152377"/>
              <a:gd name="connsiteX15" fmla="*/ 897 w 152377"/>
              <a:gd name="connsiteY15" fmla="*/ 81567 h 152377"/>
              <a:gd name="connsiteX16" fmla="*/ 0 w 152377"/>
              <a:gd name="connsiteY16" fmla="*/ 83360 h 152377"/>
              <a:gd name="connsiteX17" fmla="*/ 897 w 152377"/>
              <a:gd name="connsiteY17" fmla="*/ 85152 h 152377"/>
              <a:gd name="connsiteX18" fmla="*/ 21064 w 152377"/>
              <a:gd name="connsiteY18" fmla="*/ 102183 h 152377"/>
              <a:gd name="connsiteX19" fmla="*/ 22409 w 152377"/>
              <a:gd name="connsiteY19" fmla="*/ 102631 h 152377"/>
              <a:gd name="connsiteX20" fmla="*/ 73948 w 152377"/>
              <a:gd name="connsiteY20" fmla="*/ 102631 h 152377"/>
              <a:gd name="connsiteX21" fmla="*/ 73948 w 152377"/>
              <a:gd name="connsiteY21" fmla="*/ 154171 h 152377"/>
              <a:gd name="connsiteX22" fmla="*/ 76189 w 152377"/>
              <a:gd name="connsiteY22" fmla="*/ 156411 h 152377"/>
              <a:gd name="connsiteX23" fmla="*/ 78430 w 152377"/>
              <a:gd name="connsiteY23" fmla="*/ 154171 h 152377"/>
              <a:gd name="connsiteX24" fmla="*/ 78430 w 152377"/>
              <a:gd name="connsiteY24" fmla="*/ 102631 h 152377"/>
              <a:gd name="connsiteX25" fmla="*/ 129969 w 152377"/>
              <a:gd name="connsiteY25" fmla="*/ 102631 h 152377"/>
              <a:gd name="connsiteX26" fmla="*/ 132210 w 152377"/>
              <a:gd name="connsiteY26" fmla="*/ 100390 h 152377"/>
              <a:gd name="connsiteX27" fmla="*/ 132210 w 152377"/>
              <a:gd name="connsiteY27" fmla="*/ 66777 h 152377"/>
              <a:gd name="connsiteX28" fmla="*/ 129969 w 152377"/>
              <a:gd name="connsiteY28" fmla="*/ 64537 h 152377"/>
              <a:gd name="connsiteX29" fmla="*/ 78430 w 152377"/>
              <a:gd name="connsiteY29" fmla="*/ 64537 h 152377"/>
              <a:gd name="connsiteX30" fmla="*/ 78430 w 152377"/>
              <a:gd name="connsiteY30" fmla="*/ 38543 h 152377"/>
              <a:gd name="connsiteX31" fmla="*/ 130418 w 152377"/>
              <a:gd name="connsiteY31" fmla="*/ 38543 h 152377"/>
              <a:gd name="connsiteX32" fmla="*/ 128177 w 152377"/>
              <a:gd name="connsiteY32" fmla="*/ 98149 h 152377"/>
              <a:gd name="connsiteX33" fmla="*/ 23305 w 152377"/>
              <a:gd name="connsiteY33" fmla="*/ 98149 h 152377"/>
              <a:gd name="connsiteX34" fmla="*/ 5826 w 152377"/>
              <a:gd name="connsiteY34" fmla="*/ 83360 h 152377"/>
              <a:gd name="connsiteX35" fmla="*/ 23305 w 152377"/>
              <a:gd name="connsiteY35" fmla="*/ 68570 h 152377"/>
              <a:gd name="connsiteX36" fmla="*/ 128177 w 152377"/>
              <a:gd name="connsiteY36" fmla="*/ 68570 h 152377"/>
              <a:gd name="connsiteX37" fmla="*/ 128177 w 152377"/>
              <a:gd name="connsiteY37" fmla="*/ 98149 h 152377"/>
              <a:gd name="connsiteX38" fmla="*/ 24649 w 152377"/>
              <a:gd name="connsiteY38" fmla="*/ 4930 h 152377"/>
              <a:gd name="connsiteX39" fmla="*/ 129521 w 152377"/>
              <a:gd name="connsiteY39" fmla="*/ 4930 h 152377"/>
              <a:gd name="connsiteX40" fmla="*/ 147000 w 152377"/>
              <a:gd name="connsiteY40" fmla="*/ 19719 h 152377"/>
              <a:gd name="connsiteX41" fmla="*/ 129521 w 152377"/>
              <a:gd name="connsiteY41" fmla="*/ 34509 h 152377"/>
              <a:gd name="connsiteX42" fmla="*/ 24649 w 152377"/>
              <a:gd name="connsiteY42" fmla="*/ 34509 h 152377"/>
              <a:gd name="connsiteX43" fmla="*/ 24649 w 152377"/>
              <a:gd name="connsiteY43" fmla="*/ 493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2377" h="152377">
                <a:moveTo>
                  <a:pt x="130418" y="38543"/>
                </a:moveTo>
                <a:cubicBezTo>
                  <a:pt x="130866" y="38543"/>
                  <a:pt x="131314" y="38543"/>
                  <a:pt x="131762" y="38094"/>
                </a:cubicBezTo>
                <a:lnTo>
                  <a:pt x="151930" y="21064"/>
                </a:lnTo>
                <a:cubicBezTo>
                  <a:pt x="152378" y="20616"/>
                  <a:pt x="152826" y="20168"/>
                  <a:pt x="152826" y="19271"/>
                </a:cubicBezTo>
                <a:cubicBezTo>
                  <a:pt x="152826" y="18375"/>
                  <a:pt x="152378" y="17927"/>
                  <a:pt x="151930" y="17479"/>
                </a:cubicBezTo>
                <a:lnTo>
                  <a:pt x="131762" y="448"/>
                </a:lnTo>
                <a:cubicBezTo>
                  <a:pt x="131314" y="0"/>
                  <a:pt x="130866" y="0"/>
                  <a:pt x="130418" y="0"/>
                </a:cubicBezTo>
                <a:lnTo>
                  <a:pt x="22409" y="0"/>
                </a:lnTo>
                <a:cubicBezTo>
                  <a:pt x="21064" y="0"/>
                  <a:pt x="20168" y="896"/>
                  <a:pt x="20168" y="2241"/>
                </a:cubicBezTo>
                <a:lnTo>
                  <a:pt x="20168" y="35854"/>
                </a:lnTo>
                <a:cubicBezTo>
                  <a:pt x="20168" y="37198"/>
                  <a:pt x="21064" y="38094"/>
                  <a:pt x="22409" y="38094"/>
                </a:cubicBezTo>
                <a:lnTo>
                  <a:pt x="73948" y="38094"/>
                </a:lnTo>
                <a:lnTo>
                  <a:pt x="73948" y="64088"/>
                </a:lnTo>
                <a:lnTo>
                  <a:pt x="22409" y="64088"/>
                </a:lnTo>
                <a:cubicBezTo>
                  <a:pt x="21960" y="64088"/>
                  <a:pt x="21512" y="64088"/>
                  <a:pt x="21064" y="64537"/>
                </a:cubicBezTo>
                <a:lnTo>
                  <a:pt x="897" y="81567"/>
                </a:lnTo>
                <a:cubicBezTo>
                  <a:pt x="449" y="82015"/>
                  <a:pt x="0" y="82463"/>
                  <a:pt x="0" y="83360"/>
                </a:cubicBezTo>
                <a:cubicBezTo>
                  <a:pt x="0" y="84256"/>
                  <a:pt x="449" y="84704"/>
                  <a:pt x="897" y="85152"/>
                </a:cubicBezTo>
                <a:lnTo>
                  <a:pt x="21064" y="102183"/>
                </a:lnTo>
                <a:cubicBezTo>
                  <a:pt x="21512" y="102631"/>
                  <a:pt x="21960" y="102631"/>
                  <a:pt x="22409" y="102631"/>
                </a:cubicBezTo>
                <a:lnTo>
                  <a:pt x="73948" y="102631"/>
                </a:lnTo>
                <a:lnTo>
                  <a:pt x="73948" y="154171"/>
                </a:lnTo>
                <a:cubicBezTo>
                  <a:pt x="73948" y="155515"/>
                  <a:pt x="74845" y="156411"/>
                  <a:pt x="76189" y="156411"/>
                </a:cubicBezTo>
                <a:cubicBezTo>
                  <a:pt x="77534" y="156411"/>
                  <a:pt x="78430" y="155515"/>
                  <a:pt x="78430" y="154171"/>
                </a:cubicBezTo>
                <a:lnTo>
                  <a:pt x="78430" y="102631"/>
                </a:lnTo>
                <a:lnTo>
                  <a:pt x="129969" y="102631"/>
                </a:lnTo>
                <a:cubicBezTo>
                  <a:pt x="131314" y="102631"/>
                  <a:pt x="132210" y="101735"/>
                  <a:pt x="132210" y="100390"/>
                </a:cubicBezTo>
                <a:lnTo>
                  <a:pt x="132210" y="66777"/>
                </a:lnTo>
                <a:cubicBezTo>
                  <a:pt x="132210" y="65433"/>
                  <a:pt x="131314" y="64537"/>
                  <a:pt x="129969" y="64537"/>
                </a:cubicBezTo>
                <a:lnTo>
                  <a:pt x="78430" y="64537"/>
                </a:lnTo>
                <a:lnTo>
                  <a:pt x="78430" y="38543"/>
                </a:lnTo>
                <a:lnTo>
                  <a:pt x="130418" y="38543"/>
                </a:lnTo>
                <a:close/>
                <a:moveTo>
                  <a:pt x="128177" y="98149"/>
                </a:moveTo>
                <a:lnTo>
                  <a:pt x="23305" y="98149"/>
                </a:lnTo>
                <a:lnTo>
                  <a:pt x="5826" y="83360"/>
                </a:lnTo>
                <a:lnTo>
                  <a:pt x="23305" y="68570"/>
                </a:lnTo>
                <a:lnTo>
                  <a:pt x="128177" y="68570"/>
                </a:lnTo>
                <a:lnTo>
                  <a:pt x="128177" y="98149"/>
                </a:lnTo>
                <a:close/>
                <a:moveTo>
                  <a:pt x="24649" y="4930"/>
                </a:moveTo>
                <a:lnTo>
                  <a:pt x="129521" y="4930"/>
                </a:lnTo>
                <a:lnTo>
                  <a:pt x="147000" y="19719"/>
                </a:lnTo>
                <a:lnTo>
                  <a:pt x="129521" y="34509"/>
                </a:lnTo>
                <a:lnTo>
                  <a:pt x="24649" y="34509"/>
                </a:lnTo>
                <a:lnTo>
                  <a:pt x="24649" y="4930"/>
                </a:lnTo>
                <a:close/>
              </a:path>
            </a:pathLst>
          </a:custGeom>
          <a:solidFill>
            <a:srgbClr val="231F20"/>
          </a:solidFill>
          <a:ln w="4477" cap="flat">
            <a:noFill/>
            <a:prstDash val="solid"/>
            <a:miter/>
          </a:ln>
        </p:spPr>
        <p:txBody>
          <a:bodyPr rtlCol="0" anchor="ctr"/>
          <a:lstStyle/>
          <a:p>
            <a:endParaRPr lang="en-US"/>
          </a:p>
        </p:txBody>
      </p:sp>
      <p:grpSp>
        <p:nvGrpSpPr>
          <p:cNvPr id="3117" name="Group 3116">
            <a:extLst>
              <a:ext uri="{FF2B5EF4-FFF2-40B4-BE49-F238E27FC236}">
                <a16:creationId xmlns:a16="http://schemas.microsoft.com/office/drawing/2014/main" id="{20D25C95-E9C0-4D9D-BA50-94DBBD02295B}"/>
              </a:ext>
              <a:ext uri="{C183D7F6-B498-43B3-948B-1728B52AA6E4}">
                <adec:decorative xmlns:adec="http://schemas.microsoft.com/office/drawing/2017/decorative" val="1"/>
              </a:ext>
            </a:extLst>
          </p:cNvPr>
          <p:cNvGrpSpPr>
            <a:grpSpLocks noChangeAspect="1"/>
          </p:cNvGrpSpPr>
          <p:nvPr/>
        </p:nvGrpSpPr>
        <p:grpSpPr>
          <a:xfrm>
            <a:off x="7952576" y="3118387"/>
            <a:ext cx="152378" cy="152378"/>
            <a:chOff x="8070690" y="1063025"/>
            <a:chExt cx="152378" cy="152378"/>
          </a:xfrm>
        </p:grpSpPr>
        <p:sp>
          <p:nvSpPr>
            <p:cNvPr id="3118" name="Freeform: Shape 3117">
              <a:extLst>
                <a:ext uri="{FF2B5EF4-FFF2-40B4-BE49-F238E27FC236}">
                  <a16:creationId xmlns:a16="http://schemas.microsoft.com/office/drawing/2014/main" id="{CFA442A6-78CE-467A-8A56-610687397FB4}"/>
                </a:ext>
              </a:extLst>
            </p:cNvPr>
            <p:cNvSpPr/>
            <p:nvPr/>
          </p:nvSpPr>
          <p:spPr>
            <a:xfrm>
              <a:off x="8129818" y="1089815"/>
              <a:ext cx="31372" cy="98597"/>
            </a:xfrm>
            <a:custGeom>
              <a:avLst/>
              <a:gdLst>
                <a:gd name="connsiteX0" fmla="*/ 15686 w 31371"/>
                <a:gd name="connsiteY0" fmla="*/ 99165 h 98597"/>
                <a:gd name="connsiteX1" fmla="*/ 15686 w 31371"/>
                <a:gd name="connsiteY1" fmla="*/ 99165 h 98597"/>
                <a:gd name="connsiteX2" fmla="*/ 13445 w 31371"/>
                <a:gd name="connsiteY2" fmla="*/ 97372 h 98597"/>
                <a:gd name="connsiteX3" fmla="*/ 0 w 31371"/>
                <a:gd name="connsiteY3" fmla="*/ 49866 h 98597"/>
                <a:gd name="connsiteX4" fmla="*/ 0 w 31371"/>
                <a:gd name="connsiteY4" fmla="*/ 48522 h 98597"/>
                <a:gd name="connsiteX5" fmla="*/ 15686 w 31371"/>
                <a:gd name="connsiteY5" fmla="*/ 1464 h 98597"/>
                <a:gd name="connsiteX6" fmla="*/ 17927 w 31371"/>
                <a:gd name="connsiteY6" fmla="*/ 119 h 98597"/>
                <a:gd name="connsiteX7" fmla="*/ 20168 w 31371"/>
                <a:gd name="connsiteY7" fmla="*/ 1912 h 98597"/>
                <a:gd name="connsiteX8" fmla="*/ 33613 w 31371"/>
                <a:gd name="connsiteY8" fmla="*/ 49418 h 98597"/>
                <a:gd name="connsiteX9" fmla="*/ 33613 w 31371"/>
                <a:gd name="connsiteY9" fmla="*/ 50762 h 98597"/>
                <a:gd name="connsiteX10" fmla="*/ 17927 w 31371"/>
                <a:gd name="connsiteY10" fmla="*/ 97820 h 98597"/>
                <a:gd name="connsiteX11" fmla="*/ 15686 w 31371"/>
                <a:gd name="connsiteY11" fmla="*/ 99165 h 98597"/>
                <a:gd name="connsiteX12" fmla="*/ 4482 w 31371"/>
                <a:gd name="connsiteY12" fmla="*/ 49418 h 98597"/>
                <a:gd name="connsiteX13" fmla="*/ 15686 w 31371"/>
                <a:gd name="connsiteY13" fmla="*/ 89305 h 98597"/>
                <a:gd name="connsiteX14" fmla="*/ 29131 w 31371"/>
                <a:gd name="connsiteY14" fmla="*/ 49866 h 98597"/>
                <a:gd name="connsiteX15" fmla="*/ 17927 w 31371"/>
                <a:gd name="connsiteY15" fmla="*/ 9979 h 98597"/>
                <a:gd name="connsiteX16" fmla="*/ 4482 w 31371"/>
                <a:gd name="connsiteY16" fmla="*/ 49418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98597">
                  <a:moveTo>
                    <a:pt x="15686" y="99165"/>
                  </a:moveTo>
                  <a:cubicBezTo>
                    <a:pt x="15686" y="99165"/>
                    <a:pt x="15686" y="99165"/>
                    <a:pt x="15686" y="99165"/>
                  </a:cubicBezTo>
                  <a:cubicBezTo>
                    <a:pt x="14790" y="99165"/>
                    <a:pt x="13893" y="98269"/>
                    <a:pt x="13445" y="97372"/>
                  </a:cubicBezTo>
                  <a:lnTo>
                    <a:pt x="0" y="49866"/>
                  </a:lnTo>
                  <a:cubicBezTo>
                    <a:pt x="0" y="49418"/>
                    <a:pt x="0" y="48970"/>
                    <a:pt x="0" y="48522"/>
                  </a:cubicBezTo>
                  <a:lnTo>
                    <a:pt x="15686" y="1464"/>
                  </a:lnTo>
                  <a:cubicBezTo>
                    <a:pt x="16134" y="567"/>
                    <a:pt x="17030" y="-329"/>
                    <a:pt x="17927" y="119"/>
                  </a:cubicBezTo>
                  <a:cubicBezTo>
                    <a:pt x="18823" y="119"/>
                    <a:pt x="19719" y="1016"/>
                    <a:pt x="20168" y="1912"/>
                  </a:cubicBezTo>
                  <a:lnTo>
                    <a:pt x="33613" y="49418"/>
                  </a:lnTo>
                  <a:cubicBezTo>
                    <a:pt x="33613" y="49866"/>
                    <a:pt x="33613" y="50314"/>
                    <a:pt x="33613" y="50762"/>
                  </a:cubicBezTo>
                  <a:lnTo>
                    <a:pt x="17927" y="97820"/>
                  </a:lnTo>
                  <a:cubicBezTo>
                    <a:pt x="17479" y="98717"/>
                    <a:pt x="16582" y="99165"/>
                    <a:pt x="15686" y="99165"/>
                  </a:cubicBezTo>
                  <a:close/>
                  <a:moveTo>
                    <a:pt x="4482" y="49418"/>
                  </a:moveTo>
                  <a:lnTo>
                    <a:pt x="15686" y="89305"/>
                  </a:lnTo>
                  <a:lnTo>
                    <a:pt x="29131" y="49866"/>
                  </a:lnTo>
                  <a:lnTo>
                    <a:pt x="17927" y="9979"/>
                  </a:lnTo>
                  <a:lnTo>
                    <a:pt x="4482" y="49418"/>
                  </a:lnTo>
                  <a:close/>
                </a:path>
              </a:pathLst>
            </a:custGeom>
            <a:solidFill>
              <a:srgbClr val="231F20"/>
            </a:solidFill>
            <a:ln w="4477" cap="flat">
              <a:noFill/>
              <a:prstDash val="solid"/>
              <a:miter/>
            </a:ln>
          </p:spPr>
          <p:txBody>
            <a:bodyPr rtlCol="0" anchor="ctr"/>
            <a:lstStyle/>
            <a:p>
              <a:endParaRPr lang="en-US"/>
            </a:p>
          </p:txBody>
        </p:sp>
        <p:sp>
          <p:nvSpPr>
            <p:cNvPr id="3119" name="Freeform: Shape 3118">
              <a:extLst>
                <a:ext uri="{FF2B5EF4-FFF2-40B4-BE49-F238E27FC236}">
                  <a16:creationId xmlns:a16="http://schemas.microsoft.com/office/drawing/2014/main" id="{1405DC0F-5C89-4E78-A2F6-D3F29DD0DAF5}"/>
                </a:ext>
              </a:extLst>
            </p:cNvPr>
            <p:cNvSpPr/>
            <p:nvPr/>
          </p:nvSpPr>
          <p:spPr>
            <a:xfrm>
              <a:off x="8070690" y="1063025"/>
              <a:ext cx="152378" cy="152378"/>
            </a:xfrm>
            <a:custGeom>
              <a:avLst/>
              <a:gdLst>
                <a:gd name="connsiteX0" fmla="*/ 76158 w 152377"/>
                <a:gd name="connsiteY0" fmla="*/ 152845 h 152377"/>
                <a:gd name="connsiteX1" fmla="*/ 21034 w 152377"/>
                <a:gd name="connsiteY1" fmla="*/ 129092 h 152377"/>
                <a:gd name="connsiteX2" fmla="*/ 23723 w 152377"/>
                <a:gd name="connsiteY2" fmla="*/ 21083 h 152377"/>
                <a:gd name="connsiteX3" fmla="*/ 78399 w 152377"/>
                <a:gd name="connsiteY3" fmla="*/ 19 h 152377"/>
                <a:gd name="connsiteX4" fmla="*/ 131732 w 152377"/>
                <a:gd name="connsiteY4" fmla="*/ 23772 h 152377"/>
                <a:gd name="connsiteX5" fmla="*/ 129042 w 152377"/>
                <a:gd name="connsiteY5" fmla="*/ 131781 h 152377"/>
                <a:gd name="connsiteX6" fmla="*/ 76158 w 152377"/>
                <a:gd name="connsiteY6" fmla="*/ 152845 h 152377"/>
                <a:gd name="connsiteX7" fmla="*/ 76158 w 152377"/>
                <a:gd name="connsiteY7" fmla="*/ 4500 h 152377"/>
                <a:gd name="connsiteX8" fmla="*/ 26860 w 152377"/>
                <a:gd name="connsiteY8" fmla="*/ 24220 h 152377"/>
                <a:gd name="connsiteX9" fmla="*/ 24171 w 152377"/>
                <a:gd name="connsiteY9" fmla="*/ 125955 h 152377"/>
                <a:gd name="connsiteX10" fmla="*/ 24171 w 152377"/>
                <a:gd name="connsiteY10" fmla="*/ 125955 h 152377"/>
                <a:gd name="connsiteX11" fmla="*/ 125905 w 152377"/>
                <a:gd name="connsiteY11" fmla="*/ 128644 h 152377"/>
                <a:gd name="connsiteX12" fmla="*/ 128594 w 152377"/>
                <a:gd name="connsiteY12" fmla="*/ 26909 h 152377"/>
                <a:gd name="connsiteX13" fmla="*/ 78399 w 152377"/>
                <a:gd name="connsiteY13" fmla="*/ 4500 h 152377"/>
                <a:gd name="connsiteX14" fmla="*/ 76158 w 152377"/>
                <a:gd name="connsiteY14" fmla="*/ 450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377" h="152377">
                  <a:moveTo>
                    <a:pt x="76158" y="152845"/>
                  </a:moveTo>
                  <a:cubicBezTo>
                    <a:pt x="55991" y="152845"/>
                    <a:pt x="35823" y="144778"/>
                    <a:pt x="21034" y="129092"/>
                  </a:cubicBezTo>
                  <a:cubicBezTo>
                    <a:pt x="-8097" y="98616"/>
                    <a:pt x="-6753" y="50214"/>
                    <a:pt x="23723" y="21083"/>
                  </a:cubicBezTo>
                  <a:cubicBezTo>
                    <a:pt x="38512" y="7189"/>
                    <a:pt x="57783" y="-429"/>
                    <a:pt x="78399" y="19"/>
                  </a:cubicBezTo>
                  <a:cubicBezTo>
                    <a:pt x="98567" y="467"/>
                    <a:pt x="117838" y="8982"/>
                    <a:pt x="131732" y="23772"/>
                  </a:cubicBezTo>
                  <a:cubicBezTo>
                    <a:pt x="160863" y="54247"/>
                    <a:pt x="159518" y="102650"/>
                    <a:pt x="129042" y="131781"/>
                  </a:cubicBezTo>
                  <a:cubicBezTo>
                    <a:pt x="113805" y="145674"/>
                    <a:pt x="94982" y="152845"/>
                    <a:pt x="76158" y="152845"/>
                  </a:cubicBezTo>
                  <a:close/>
                  <a:moveTo>
                    <a:pt x="76158" y="4500"/>
                  </a:moveTo>
                  <a:cubicBezTo>
                    <a:pt x="57783" y="4500"/>
                    <a:pt x="40305" y="11671"/>
                    <a:pt x="26860" y="24220"/>
                  </a:cubicBezTo>
                  <a:cubicBezTo>
                    <a:pt x="-1823" y="51558"/>
                    <a:pt x="-3168" y="97272"/>
                    <a:pt x="24171" y="125955"/>
                  </a:cubicBezTo>
                  <a:lnTo>
                    <a:pt x="24171" y="125955"/>
                  </a:lnTo>
                  <a:cubicBezTo>
                    <a:pt x="51509" y="154637"/>
                    <a:pt x="97223" y="155982"/>
                    <a:pt x="125905" y="128644"/>
                  </a:cubicBezTo>
                  <a:cubicBezTo>
                    <a:pt x="154588" y="101305"/>
                    <a:pt x="155933" y="55592"/>
                    <a:pt x="128594" y="26909"/>
                  </a:cubicBezTo>
                  <a:cubicBezTo>
                    <a:pt x="115149" y="13016"/>
                    <a:pt x="97671" y="4949"/>
                    <a:pt x="78399" y="4500"/>
                  </a:cubicBezTo>
                  <a:cubicBezTo>
                    <a:pt x="77055" y="4500"/>
                    <a:pt x="76607" y="4500"/>
                    <a:pt x="76158" y="4500"/>
                  </a:cubicBezTo>
                  <a:close/>
                </a:path>
              </a:pathLst>
            </a:custGeom>
            <a:solidFill>
              <a:srgbClr val="231F20"/>
            </a:solidFill>
            <a:ln w="4477" cap="flat">
              <a:noFill/>
              <a:prstDash val="solid"/>
              <a:miter/>
            </a:ln>
          </p:spPr>
          <p:txBody>
            <a:bodyPr rtlCol="0" anchor="ctr"/>
            <a:lstStyle/>
            <a:p>
              <a:endParaRPr lang="en-US"/>
            </a:p>
          </p:txBody>
        </p:sp>
        <p:sp>
          <p:nvSpPr>
            <p:cNvPr id="3120" name="Freeform: Shape 3119">
              <a:extLst>
                <a:ext uri="{FF2B5EF4-FFF2-40B4-BE49-F238E27FC236}">
                  <a16:creationId xmlns:a16="http://schemas.microsoft.com/office/drawing/2014/main" id="{6A0455C9-1716-4547-9576-9326C04022B7}"/>
                </a:ext>
              </a:extLst>
            </p:cNvPr>
            <p:cNvSpPr/>
            <p:nvPr/>
          </p:nvSpPr>
          <p:spPr>
            <a:xfrm>
              <a:off x="8140290" y="1132945"/>
              <a:ext cx="8963" cy="13445"/>
            </a:xfrm>
            <a:custGeom>
              <a:avLst/>
              <a:gdLst>
                <a:gd name="connsiteX0" fmla="*/ 2077 w 8963"/>
                <a:gd name="connsiteY0" fmla="*/ 1807 h 13445"/>
                <a:gd name="connsiteX1" fmla="*/ 11488 w 8963"/>
                <a:gd name="connsiteY1" fmla="*/ 2255 h 13445"/>
                <a:gd name="connsiteX2" fmla="*/ 11040 w 8963"/>
                <a:gd name="connsiteY2" fmla="*/ 11666 h 13445"/>
                <a:gd name="connsiteX3" fmla="*/ 1628 w 8963"/>
                <a:gd name="connsiteY3" fmla="*/ 11218 h 13445"/>
                <a:gd name="connsiteX4" fmla="*/ 2077 w 8963"/>
                <a:gd name="connsiteY4" fmla="*/ 1807 h 13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 h="13445">
                  <a:moveTo>
                    <a:pt x="2077" y="1807"/>
                  </a:moveTo>
                  <a:cubicBezTo>
                    <a:pt x="4766" y="-882"/>
                    <a:pt x="8799" y="-434"/>
                    <a:pt x="11488" y="2255"/>
                  </a:cubicBezTo>
                  <a:cubicBezTo>
                    <a:pt x="14177" y="4944"/>
                    <a:pt x="13729" y="8977"/>
                    <a:pt x="11040" y="11666"/>
                  </a:cubicBezTo>
                  <a:cubicBezTo>
                    <a:pt x="8351" y="14355"/>
                    <a:pt x="4317" y="13907"/>
                    <a:pt x="1628" y="11218"/>
                  </a:cubicBezTo>
                  <a:cubicBezTo>
                    <a:pt x="-612" y="8529"/>
                    <a:pt x="-612" y="4496"/>
                    <a:pt x="2077" y="1807"/>
                  </a:cubicBezTo>
                  <a:close/>
                </a:path>
              </a:pathLst>
            </a:custGeom>
            <a:solidFill>
              <a:srgbClr val="231F20"/>
            </a:solidFill>
            <a:ln w="4477" cap="flat">
              <a:noFill/>
              <a:prstDash val="solid"/>
              <a:miter/>
            </a:ln>
          </p:spPr>
          <p:txBody>
            <a:bodyPr rtlCol="0" anchor="ctr"/>
            <a:lstStyle/>
            <a:p>
              <a:endParaRPr lang="en-US"/>
            </a:p>
          </p:txBody>
        </p:sp>
      </p:grpSp>
      <p:grpSp>
        <p:nvGrpSpPr>
          <p:cNvPr id="3121" name="Group 3120">
            <a:extLst>
              <a:ext uri="{FF2B5EF4-FFF2-40B4-BE49-F238E27FC236}">
                <a16:creationId xmlns:a16="http://schemas.microsoft.com/office/drawing/2014/main" id="{F66CB8FC-32BF-4BEB-BCE5-33195AA1F1C4}"/>
              </a:ext>
              <a:ext uri="{C183D7F6-B498-43B3-948B-1728B52AA6E4}">
                <adec:decorative xmlns:adec="http://schemas.microsoft.com/office/drawing/2017/decorative" val="1"/>
              </a:ext>
            </a:extLst>
          </p:cNvPr>
          <p:cNvGrpSpPr>
            <a:grpSpLocks noChangeAspect="1"/>
          </p:cNvGrpSpPr>
          <p:nvPr/>
        </p:nvGrpSpPr>
        <p:grpSpPr>
          <a:xfrm>
            <a:off x="8212514" y="3118387"/>
            <a:ext cx="152378" cy="152378"/>
            <a:chOff x="8330628" y="1063025"/>
            <a:chExt cx="152378" cy="152378"/>
          </a:xfrm>
        </p:grpSpPr>
        <p:sp>
          <p:nvSpPr>
            <p:cNvPr id="3122" name="Freeform: Shape 3121">
              <a:extLst>
                <a:ext uri="{FF2B5EF4-FFF2-40B4-BE49-F238E27FC236}">
                  <a16:creationId xmlns:a16="http://schemas.microsoft.com/office/drawing/2014/main" id="{9FA83CDB-4D3E-4EF3-A6BF-B0FFDAC27304}"/>
                </a:ext>
              </a:extLst>
            </p:cNvPr>
            <p:cNvSpPr/>
            <p:nvPr/>
          </p:nvSpPr>
          <p:spPr>
            <a:xfrm>
              <a:off x="8370748" y="1106331"/>
              <a:ext cx="67226" cy="62744"/>
            </a:xfrm>
            <a:custGeom>
              <a:avLst/>
              <a:gdLst>
                <a:gd name="connsiteX0" fmla="*/ 2427 w 67225"/>
                <a:gd name="connsiteY0" fmla="*/ 66515 h 62743"/>
                <a:gd name="connsiteX1" fmla="*/ 634 w 67225"/>
                <a:gd name="connsiteY1" fmla="*/ 65619 h 62743"/>
                <a:gd name="connsiteX2" fmla="*/ 186 w 67225"/>
                <a:gd name="connsiteY2" fmla="*/ 62929 h 62743"/>
                <a:gd name="connsiteX3" fmla="*/ 23939 w 67225"/>
                <a:gd name="connsiteY3" fmla="*/ 21698 h 62743"/>
                <a:gd name="connsiteX4" fmla="*/ 24835 w 67225"/>
                <a:gd name="connsiteY4" fmla="*/ 20801 h 62743"/>
                <a:gd name="connsiteX5" fmla="*/ 67859 w 67225"/>
                <a:gd name="connsiteY5" fmla="*/ 186 h 62743"/>
                <a:gd name="connsiteX6" fmla="*/ 70548 w 67225"/>
                <a:gd name="connsiteY6" fmla="*/ 634 h 62743"/>
                <a:gd name="connsiteX7" fmla="*/ 70996 w 67225"/>
                <a:gd name="connsiteY7" fmla="*/ 3323 h 62743"/>
                <a:gd name="connsiteX8" fmla="*/ 47244 w 67225"/>
                <a:gd name="connsiteY8" fmla="*/ 44554 h 62743"/>
                <a:gd name="connsiteX9" fmla="*/ 46347 w 67225"/>
                <a:gd name="connsiteY9" fmla="*/ 45451 h 62743"/>
                <a:gd name="connsiteX10" fmla="*/ 3323 w 67225"/>
                <a:gd name="connsiteY10" fmla="*/ 66067 h 62743"/>
                <a:gd name="connsiteX11" fmla="*/ 2427 w 67225"/>
                <a:gd name="connsiteY11" fmla="*/ 66515 h 62743"/>
                <a:gd name="connsiteX12" fmla="*/ 27972 w 67225"/>
                <a:gd name="connsiteY12" fmla="*/ 24387 h 62743"/>
                <a:gd name="connsiteX13" fmla="*/ 7805 w 67225"/>
                <a:gd name="connsiteY13" fmla="*/ 58896 h 62743"/>
                <a:gd name="connsiteX14" fmla="*/ 43658 w 67225"/>
                <a:gd name="connsiteY14" fmla="*/ 41865 h 62743"/>
                <a:gd name="connsiteX15" fmla="*/ 63826 w 67225"/>
                <a:gd name="connsiteY15" fmla="*/ 7356 h 62743"/>
                <a:gd name="connsiteX16" fmla="*/ 27972 w 67225"/>
                <a:gd name="connsiteY16" fmla="*/ 24387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225" h="62743">
                  <a:moveTo>
                    <a:pt x="2427" y="66515"/>
                  </a:moveTo>
                  <a:cubicBezTo>
                    <a:pt x="1978" y="66515"/>
                    <a:pt x="1082" y="66067"/>
                    <a:pt x="634" y="65619"/>
                  </a:cubicBezTo>
                  <a:cubicBezTo>
                    <a:pt x="186" y="64722"/>
                    <a:pt x="-263" y="63826"/>
                    <a:pt x="186" y="62929"/>
                  </a:cubicBezTo>
                  <a:lnTo>
                    <a:pt x="23939" y="21698"/>
                  </a:lnTo>
                  <a:cubicBezTo>
                    <a:pt x="24387" y="21250"/>
                    <a:pt x="24387" y="20801"/>
                    <a:pt x="24835" y="20801"/>
                  </a:cubicBezTo>
                  <a:lnTo>
                    <a:pt x="67859" y="186"/>
                  </a:lnTo>
                  <a:cubicBezTo>
                    <a:pt x="68756" y="-263"/>
                    <a:pt x="69652" y="186"/>
                    <a:pt x="70548" y="634"/>
                  </a:cubicBezTo>
                  <a:cubicBezTo>
                    <a:pt x="70996" y="1530"/>
                    <a:pt x="71445" y="2426"/>
                    <a:pt x="70996" y="3323"/>
                  </a:cubicBezTo>
                  <a:lnTo>
                    <a:pt x="47244" y="44554"/>
                  </a:lnTo>
                  <a:cubicBezTo>
                    <a:pt x="46795" y="45003"/>
                    <a:pt x="46795" y="45451"/>
                    <a:pt x="46347" y="45451"/>
                  </a:cubicBezTo>
                  <a:lnTo>
                    <a:pt x="3323" y="66067"/>
                  </a:lnTo>
                  <a:cubicBezTo>
                    <a:pt x="3323" y="66067"/>
                    <a:pt x="2875" y="66515"/>
                    <a:pt x="2427" y="66515"/>
                  </a:cubicBezTo>
                  <a:close/>
                  <a:moveTo>
                    <a:pt x="27972" y="24387"/>
                  </a:moveTo>
                  <a:lnTo>
                    <a:pt x="7805" y="58896"/>
                  </a:lnTo>
                  <a:lnTo>
                    <a:pt x="43658" y="41865"/>
                  </a:lnTo>
                  <a:lnTo>
                    <a:pt x="63826" y="7356"/>
                  </a:lnTo>
                  <a:lnTo>
                    <a:pt x="27972" y="24387"/>
                  </a:lnTo>
                  <a:close/>
                </a:path>
              </a:pathLst>
            </a:custGeom>
            <a:solidFill>
              <a:srgbClr val="231F20"/>
            </a:solidFill>
            <a:ln w="4477" cap="flat">
              <a:noFill/>
              <a:prstDash val="solid"/>
              <a:miter/>
            </a:ln>
          </p:spPr>
          <p:txBody>
            <a:bodyPr rtlCol="0" anchor="ctr"/>
            <a:lstStyle/>
            <a:p>
              <a:endParaRPr lang="en-US"/>
            </a:p>
          </p:txBody>
        </p:sp>
        <p:sp>
          <p:nvSpPr>
            <p:cNvPr id="3123" name="Freeform: Shape 3122">
              <a:extLst>
                <a:ext uri="{FF2B5EF4-FFF2-40B4-BE49-F238E27FC236}">
                  <a16:creationId xmlns:a16="http://schemas.microsoft.com/office/drawing/2014/main" id="{3448C83D-E4C1-435B-A94D-3E6943C1F9C5}"/>
                </a:ext>
              </a:extLst>
            </p:cNvPr>
            <p:cNvSpPr/>
            <p:nvPr/>
          </p:nvSpPr>
          <p:spPr>
            <a:xfrm>
              <a:off x="8330628" y="1063025"/>
              <a:ext cx="152378" cy="152378"/>
            </a:xfrm>
            <a:custGeom>
              <a:avLst/>
              <a:gdLst>
                <a:gd name="connsiteX0" fmla="*/ 76158 w 152377"/>
                <a:gd name="connsiteY0" fmla="*/ 152845 h 152377"/>
                <a:gd name="connsiteX1" fmla="*/ 21034 w 152377"/>
                <a:gd name="connsiteY1" fmla="*/ 129092 h 152377"/>
                <a:gd name="connsiteX2" fmla="*/ 23723 w 152377"/>
                <a:gd name="connsiteY2" fmla="*/ 21083 h 152377"/>
                <a:gd name="connsiteX3" fmla="*/ 78399 w 152377"/>
                <a:gd name="connsiteY3" fmla="*/ 19 h 152377"/>
                <a:gd name="connsiteX4" fmla="*/ 131732 w 152377"/>
                <a:gd name="connsiteY4" fmla="*/ 23772 h 152377"/>
                <a:gd name="connsiteX5" fmla="*/ 152796 w 152377"/>
                <a:gd name="connsiteY5" fmla="*/ 78449 h 152377"/>
                <a:gd name="connsiteX6" fmla="*/ 129042 w 152377"/>
                <a:gd name="connsiteY6" fmla="*/ 131781 h 152377"/>
                <a:gd name="connsiteX7" fmla="*/ 76158 w 152377"/>
                <a:gd name="connsiteY7" fmla="*/ 152845 h 152377"/>
                <a:gd name="connsiteX8" fmla="*/ 24171 w 152377"/>
                <a:gd name="connsiteY8" fmla="*/ 125955 h 152377"/>
                <a:gd name="connsiteX9" fmla="*/ 125905 w 152377"/>
                <a:gd name="connsiteY9" fmla="*/ 128644 h 152377"/>
                <a:gd name="connsiteX10" fmla="*/ 148314 w 152377"/>
                <a:gd name="connsiteY10" fmla="*/ 78449 h 152377"/>
                <a:gd name="connsiteX11" fmla="*/ 128594 w 152377"/>
                <a:gd name="connsiteY11" fmla="*/ 27357 h 152377"/>
                <a:gd name="connsiteX12" fmla="*/ 78399 w 152377"/>
                <a:gd name="connsiteY12" fmla="*/ 4949 h 152377"/>
                <a:gd name="connsiteX13" fmla="*/ 27308 w 152377"/>
                <a:gd name="connsiteY13" fmla="*/ 24668 h 152377"/>
                <a:gd name="connsiteX14" fmla="*/ 24171 w 152377"/>
                <a:gd name="connsiteY14" fmla="*/ 125955 h 152377"/>
                <a:gd name="connsiteX15" fmla="*/ 24171 w 152377"/>
                <a:gd name="connsiteY15" fmla="*/ 12595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377" h="152377">
                  <a:moveTo>
                    <a:pt x="76158" y="152845"/>
                  </a:moveTo>
                  <a:cubicBezTo>
                    <a:pt x="55991" y="152845"/>
                    <a:pt x="35823" y="144778"/>
                    <a:pt x="21034" y="129092"/>
                  </a:cubicBezTo>
                  <a:cubicBezTo>
                    <a:pt x="-8097" y="98616"/>
                    <a:pt x="-6753" y="50214"/>
                    <a:pt x="23723" y="21083"/>
                  </a:cubicBezTo>
                  <a:cubicBezTo>
                    <a:pt x="38512" y="7189"/>
                    <a:pt x="57783" y="-429"/>
                    <a:pt x="78399" y="19"/>
                  </a:cubicBezTo>
                  <a:cubicBezTo>
                    <a:pt x="98567" y="467"/>
                    <a:pt x="117838" y="8982"/>
                    <a:pt x="131732" y="23772"/>
                  </a:cubicBezTo>
                  <a:cubicBezTo>
                    <a:pt x="145625" y="38561"/>
                    <a:pt x="153244" y="57833"/>
                    <a:pt x="152796" y="78449"/>
                  </a:cubicBezTo>
                  <a:cubicBezTo>
                    <a:pt x="152347" y="99064"/>
                    <a:pt x="143832" y="117888"/>
                    <a:pt x="129042" y="131781"/>
                  </a:cubicBezTo>
                  <a:cubicBezTo>
                    <a:pt x="114253" y="145674"/>
                    <a:pt x="94982" y="152845"/>
                    <a:pt x="76158" y="152845"/>
                  </a:cubicBezTo>
                  <a:close/>
                  <a:moveTo>
                    <a:pt x="24171" y="125955"/>
                  </a:moveTo>
                  <a:cubicBezTo>
                    <a:pt x="51509" y="154637"/>
                    <a:pt x="97223" y="155982"/>
                    <a:pt x="125905" y="128644"/>
                  </a:cubicBezTo>
                  <a:cubicBezTo>
                    <a:pt x="139799" y="115198"/>
                    <a:pt x="147866" y="97720"/>
                    <a:pt x="148314" y="78449"/>
                  </a:cubicBezTo>
                  <a:cubicBezTo>
                    <a:pt x="148762" y="59177"/>
                    <a:pt x="141591" y="41250"/>
                    <a:pt x="128594" y="27357"/>
                  </a:cubicBezTo>
                  <a:cubicBezTo>
                    <a:pt x="115149" y="13464"/>
                    <a:pt x="97671" y="5397"/>
                    <a:pt x="78399" y="4949"/>
                  </a:cubicBezTo>
                  <a:cubicBezTo>
                    <a:pt x="59128" y="4500"/>
                    <a:pt x="41201" y="11671"/>
                    <a:pt x="27308" y="24668"/>
                  </a:cubicBezTo>
                  <a:cubicBezTo>
                    <a:pt x="-1823" y="51558"/>
                    <a:pt x="-3168" y="97272"/>
                    <a:pt x="24171" y="125955"/>
                  </a:cubicBezTo>
                  <a:lnTo>
                    <a:pt x="24171" y="125955"/>
                  </a:lnTo>
                  <a:close/>
                </a:path>
              </a:pathLst>
            </a:custGeom>
            <a:solidFill>
              <a:srgbClr val="231F20"/>
            </a:solidFill>
            <a:ln w="4477" cap="flat">
              <a:noFill/>
              <a:prstDash val="solid"/>
              <a:miter/>
            </a:ln>
          </p:spPr>
          <p:txBody>
            <a:bodyPr rtlCol="0" anchor="ctr"/>
            <a:lstStyle/>
            <a:p>
              <a:endParaRPr lang="en-US"/>
            </a:p>
          </p:txBody>
        </p:sp>
        <p:sp>
          <p:nvSpPr>
            <p:cNvPr id="3124" name="Freeform: Shape 3123">
              <a:extLst>
                <a:ext uri="{FF2B5EF4-FFF2-40B4-BE49-F238E27FC236}">
                  <a16:creationId xmlns:a16="http://schemas.microsoft.com/office/drawing/2014/main" id="{6803372A-9292-414E-A2AA-8481B477476C}"/>
                </a:ext>
              </a:extLst>
            </p:cNvPr>
            <p:cNvSpPr/>
            <p:nvPr/>
          </p:nvSpPr>
          <p:spPr>
            <a:xfrm>
              <a:off x="8400022" y="1132958"/>
              <a:ext cx="13445" cy="13445"/>
            </a:xfrm>
            <a:custGeom>
              <a:avLst/>
              <a:gdLst>
                <a:gd name="connsiteX0" fmla="*/ 7214 w 13445"/>
                <a:gd name="connsiteY0" fmla="*/ 0 h 13445"/>
                <a:gd name="connsiteX1" fmla="*/ 13488 w 13445"/>
                <a:gd name="connsiteY1" fmla="*/ 7171 h 13445"/>
                <a:gd name="connsiteX2" fmla="*/ 6317 w 13445"/>
                <a:gd name="connsiteY2" fmla="*/ 13445 h 13445"/>
                <a:gd name="connsiteX3" fmla="*/ 43 w 13445"/>
                <a:gd name="connsiteY3" fmla="*/ 6274 h 13445"/>
                <a:gd name="connsiteX4" fmla="*/ 7214 w 13445"/>
                <a:gd name="connsiteY4" fmla="*/ 0 h 13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5" h="13445">
                  <a:moveTo>
                    <a:pt x="7214" y="0"/>
                  </a:moveTo>
                  <a:cubicBezTo>
                    <a:pt x="10799" y="0"/>
                    <a:pt x="13936" y="3137"/>
                    <a:pt x="13488" y="7171"/>
                  </a:cubicBezTo>
                  <a:cubicBezTo>
                    <a:pt x="13488" y="10756"/>
                    <a:pt x="10351" y="13893"/>
                    <a:pt x="6317" y="13445"/>
                  </a:cubicBezTo>
                  <a:cubicBezTo>
                    <a:pt x="2732" y="13445"/>
                    <a:pt x="-405" y="10308"/>
                    <a:pt x="43" y="6274"/>
                  </a:cubicBezTo>
                  <a:cubicBezTo>
                    <a:pt x="491" y="2689"/>
                    <a:pt x="3180" y="0"/>
                    <a:pt x="7214" y="0"/>
                  </a:cubicBezTo>
                  <a:close/>
                </a:path>
              </a:pathLst>
            </a:custGeom>
            <a:solidFill>
              <a:srgbClr val="231F20"/>
            </a:solidFill>
            <a:ln w="4477" cap="flat">
              <a:noFill/>
              <a:prstDash val="solid"/>
              <a:miter/>
            </a:ln>
          </p:spPr>
          <p:txBody>
            <a:bodyPr rtlCol="0" anchor="ctr"/>
            <a:lstStyle/>
            <a:p>
              <a:endParaRPr lang="en-US"/>
            </a:p>
          </p:txBody>
        </p:sp>
      </p:grpSp>
      <p:sp>
        <p:nvSpPr>
          <p:cNvPr id="3171" name="Freeform: Shape 3170">
            <a:extLst>
              <a:ext uri="{FF2B5EF4-FFF2-40B4-BE49-F238E27FC236}">
                <a16:creationId xmlns:a16="http://schemas.microsoft.com/office/drawing/2014/main" id="{9ECDA6A6-1CF9-477C-8A7D-DCF8B62F0EC0}"/>
              </a:ext>
              <a:ext uri="{C183D7F6-B498-43B3-948B-1728B52AA6E4}">
                <adec:decorative xmlns:adec="http://schemas.microsoft.com/office/drawing/2017/decorative" val="1"/>
              </a:ext>
            </a:extLst>
          </p:cNvPr>
          <p:cNvSpPr>
            <a:spLocks noChangeAspect="1"/>
          </p:cNvSpPr>
          <p:nvPr/>
        </p:nvSpPr>
        <p:spPr>
          <a:xfrm>
            <a:off x="6350337" y="3108098"/>
            <a:ext cx="4482" cy="4482"/>
          </a:xfrm>
          <a:custGeom>
            <a:avLst/>
            <a:gdLst/>
            <a:ahLst/>
            <a:cxnLst/>
            <a:rect l="l" t="t" r="r" b="b"/>
            <a:pathLst>
              <a:path/>
            </a:pathLst>
          </a:custGeom>
          <a:solidFill>
            <a:srgbClr val="231F20"/>
          </a:solidFill>
          <a:ln w="4477" cap="flat">
            <a:noFill/>
            <a:prstDash val="solid"/>
            <a:miter/>
          </a:ln>
        </p:spPr>
        <p:txBody>
          <a:bodyPr rtlCol="0" anchor="ctr"/>
          <a:lstStyle/>
          <a:p>
            <a:endParaRPr lang="en-US"/>
          </a:p>
        </p:txBody>
      </p:sp>
      <p:sp>
        <p:nvSpPr>
          <p:cNvPr id="3563" name="Freeform: Shape 3562">
            <a:extLst>
              <a:ext uri="{FF2B5EF4-FFF2-40B4-BE49-F238E27FC236}">
                <a16:creationId xmlns:a16="http://schemas.microsoft.com/office/drawing/2014/main" id="{D19E81D6-432D-4906-8ECF-7FC467ECF703}"/>
              </a:ext>
              <a:ext uri="{C183D7F6-B498-43B3-948B-1728B52AA6E4}">
                <adec:decorative xmlns:adec="http://schemas.microsoft.com/office/drawing/2017/decorative" val="1"/>
              </a:ext>
            </a:extLst>
          </p:cNvPr>
          <p:cNvSpPr>
            <a:spLocks noChangeAspect="1"/>
          </p:cNvSpPr>
          <p:nvPr/>
        </p:nvSpPr>
        <p:spPr>
          <a:xfrm>
            <a:off x="6350337" y="3108098"/>
            <a:ext cx="4482" cy="4482"/>
          </a:xfrm>
          <a:custGeom>
            <a:avLst/>
            <a:gdLst/>
            <a:ahLst/>
            <a:cxnLst/>
            <a:rect l="l" t="t" r="r" b="b"/>
            <a:pathLst>
              <a:path/>
            </a:pathLst>
          </a:custGeom>
          <a:solidFill>
            <a:srgbClr val="231F20"/>
          </a:solidFill>
          <a:ln w="4477" cap="flat">
            <a:noFill/>
            <a:prstDash val="solid"/>
            <a:miter/>
          </a:ln>
        </p:spPr>
        <p:txBody>
          <a:bodyPr rtlCol="0" anchor="ctr"/>
          <a:lstStyle/>
          <a:p>
            <a:endParaRPr lang="en-US"/>
          </a:p>
        </p:txBody>
      </p:sp>
      <p:sp>
        <p:nvSpPr>
          <p:cNvPr id="3909" name="Freeform: Shape 3908">
            <a:extLst>
              <a:ext uri="{FF2B5EF4-FFF2-40B4-BE49-F238E27FC236}">
                <a16:creationId xmlns:a16="http://schemas.microsoft.com/office/drawing/2014/main" id="{72628559-514F-4D8F-BC8E-D9403C81789D}"/>
              </a:ext>
              <a:ext uri="{C183D7F6-B498-43B3-948B-1728B52AA6E4}">
                <adec:decorative xmlns:adec="http://schemas.microsoft.com/office/drawing/2017/decorative" val="1"/>
              </a:ext>
            </a:extLst>
          </p:cNvPr>
          <p:cNvSpPr>
            <a:spLocks noChangeAspect="1"/>
          </p:cNvSpPr>
          <p:nvPr/>
        </p:nvSpPr>
        <p:spPr>
          <a:xfrm>
            <a:off x="6350337" y="3108098"/>
            <a:ext cx="4482" cy="4482"/>
          </a:xfrm>
          <a:custGeom>
            <a:avLst/>
            <a:gdLst/>
            <a:ahLst/>
            <a:cxnLst/>
            <a:rect l="l" t="t" r="r" b="b"/>
            <a:pathLst>
              <a:path/>
            </a:pathLst>
          </a:custGeom>
          <a:solidFill>
            <a:srgbClr val="231F20"/>
          </a:solidFill>
          <a:ln w="4477" cap="flat">
            <a:noFill/>
            <a:prstDash val="solid"/>
            <a:miter/>
          </a:ln>
        </p:spPr>
        <p:txBody>
          <a:bodyPr rtlCol="0" anchor="ctr"/>
          <a:lstStyle/>
          <a:p>
            <a:endParaRPr lang="en-US"/>
          </a:p>
        </p:txBody>
      </p:sp>
      <p:grpSp>
        <p:nvGrpSpPr>
          <p:cNvPr id="3943" name="Group 3942">
            <a:extLst>
              <a:ext uri="{FF2B5EF4-FFF2-40B4-BE49-F238E27FC236}">
                <a16:creationId xmlns:a16="http://schemas.microsoft.com/office/drawing/2014/main" id="{DF38C70A-64FF-4EAB-A106-3ADCFA153934}"/>
              </a:ext>
              <a:ext uri="{C183D7F6-B498-43B3-948B-1728B52AA6E4}">
                <adec:decorative xmlns:adec="http://schemas.microsoft.com/office/drawing/2017/decorative" val="1"/>
              </a:ext>
            </a:extLst>
          </p:cNvPr>
          <p:cNvGrpSpPr>
            <a:grpSpLocks noChangeAspect="1"/>
          </p:cNvGrpSpPr>
          <p:nvPr/>
        </p:nvGrpSpPr>
        <p:grpSpPr>
          <a:xfrm>
            <a:off x="817608" y="3638046"/>
            <a:ext cx="127394" cy="124708"/>
            <a:chOff x="858362" y="2902607"/>
            <a:chExt cx="127394" cy="124708"/>
          </a:xfrm>
        </p:grpSpPr>
        <p:sp>
          <p:nvSpPr>
            <p:cNvPr id="3944" name="Freeform: Shape 3943">
              <a:extLst>
                <a:ext uri="{FF2B5EF4-FFF2-40B4-BE49-F238E27FC236}">
                  <a16:creationId xmlns:a16="http://schemas.microsoft.com/office/drawing/2014/main" id="{E0D1590A-B856-4ADB-8DF5-3E2030AA5E87}"/>
                </a:ext>
              </a:extLst>
            </p:cNvPr>
            <p:cNvSpPr/>
            <p:nvPr/>
          </p:nvSpPr>
          <p:spPr>
            <a:xfrm>
              <a:off x="949933" y="2991492"/>
              <a:ext cx="35823" cy="35823"/>
            </a:xfrm>
            <a:custGeom>
              <a:avLst/>
              <a:gdLst>
                <a:gd name="connsiteX0" fmla="*/ 21717 w 35822"/>
                <a:gd name="connsiteY0" fmla="*/ 18135 h 35822"/>
                <a:gd name="connsiteX1" fmla="*/ 36494 w 35822"/>
                <a:gd name="connsiteY1" fmla="*/ 3806 h 35822"/>
                <a:gd name="connsiteX2" fmla="*/ 36494 w 35822"/>
                <a:gd name="connsiteY2" fmla="*/ 672 h 35822"/>
                <a:gd name="connsiteX3" fmla="*/ 33360 w 35822"/>
                <a:gd name="connsiteY3" fmla="*/ 672 h 35822"/>
                <a:gd name="connsiteX4" fmla="*/ 18583 w 35822"/>
                <a:gd name="connsiteY4" fmla="*/ 15001 h 35822"/>
                <a:gd name="connsiteX5" fmla="*/ 3806 w 35822"/>
                <a:gd name="connsiteY5" fmla="*/ 672 h 35822"/>
                <a:gd name="connsiteX6" fmla="*/ 672 w 35822"/>
                <a:gd name="connsiteY6" fmla="*/ 672 h 35822"/>
                <a:gd name="connsiteX7" fmla="*/ 672 w 35822"/>
                <a:gd name="connsiteY7" fmla="*/ 3806 h 35822"/>
                <a:gd name="connsiteX8" fmla="*/ 15448 w 35822"/>
                <a:gd name="connsiteY8" fmla="*/ 18135 h 35822"/>
                <a:gd name="connsiteX9" fmla="*/ 672 w 35822"/>
                <a:gd name="connsiteY9" fmla="*/ 32464 h 35822"/>
                <a:gd name="connsiteX10" fmla="*/ 672 w 35822"/>
                <a:gd name="connsiteY10" fmla="*/ 35599 h 35822"/>
                <a:gd name="connsiteX11" fmla="*/ 2463 w 35822"/>
                <a:gd name="connsiteY11" fmla="*/ 36494 h 35822"/>
                <a:gd name="connsiteX12" fmla="*/ 3806 w 35822"/>
                <a:gd name="connsiteY12" fmla="*/ 36046 h 35822"/>
                <a:gd name="connsiteX13" fmla="*/ 18583 w 35822"/>
                <a:gd name="connsiteY13" fmla="*/ 21717 h 35822"/>
                <a:gd name="connsiteX14" fmla="*/ 33360 w 35822"/>
                <a:gd name="connsiteY14" fmla="*/ 36046 h 35822"/>
                <a:gd name="connsiteX15" fmla="*/ 34703 w 35822"/>
                <a:gd name="connsiteY15" fmla="*/ 36494 h 35822"/>
                <a:gd name="connsiteX16" fmla="*/ 36494 w 35822"/>
                <a:gd name="connsiteY16" fmla="*/ 35599 h 35822"/>
                <a:gd name="connsiteX17" fmla="*/ 36494 w 35822"/>
                <a:gd name="connsiteY17" fmla="*/ 32464 h 35822"/>
                <a:gd name="connsiteX18" fmla="*/ 21717 w 35822"/>
                <a:gd name="connsiteY18" fmla="*/ 1813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22" h="35822">
                  <a:moveTo>
                    <a:pt x="21717" y="18135"/>
                  </a:moveTo>
                  <a:lnTo>
                    <a:pt x="36494" y="3806"/>
                  </a:lnTo>
                  <a:cubicBezTo>
                    <a:pt x="37390" y="2911"/>
                    <a:pt x="37390" y="1567"/>
                    <a:pt x="36494" y="672"/>
                  </a:cubicBezTo>
                  <a:cubicBezTo>
                    <a:pt x="35599" y="-224"/>
                    <a:pt x="34255" y="-224"/>
                    <a:pt x="33360" y="672"/>
                  </a:cubicBezTo>
                  <a:lnTo>
                    <a:pt x="18583" y="15001"/>
                  </a:lnTo>
                  <a:lnTo>
                    <a:pt x="3806" y="672"/>
                  </a:lnTo>
                  <a:cubicBezTo>
                    <a:pt x="2911" y="-224"/>
                    <a:pt x="1567" y="-224"/>
                    <a:pt x="672" y="672"/>
                  </a:cubicBezTo>
                  <a:cubicBezTo>
                    <a:pt x="-224" y="1567"/>
                    <a:pt x="-224" y="2911"/>
                    <a:pt x="672" y="3806"/>
                  </a:cubicBezTo>
                  <a:lnTo>
                    <a:pt x="15448" y="18135"/>
                  </a:lnTo>
                  <a:lnTo>
                    <a:pt x="672" y="32464"/>
                  </a:lnTo>
                  <a:cubicBezTo>
                    <a:pt x="-224" y="33360"/>
                    <a:pt x="-224" y="34703"/>
                    <a:pt x="672" y="35599"/>
                  </a:cubicBezTo>
                  <a:cubicBezTo>
                    <a:pt x="1119" y="36046"/>
                    <a:pt x="1567" y="36494"/>
                    <a:pt x="2463" y="36494"/>
                  </a:cubicBezTo>
                  <a:cubicBezTo>
                    <a:pt x="2911" y="36494"/>
                    <a:pt x="3806" y="36494"/>
                    <a:pt x="3806" y="36046"/>
                  </a:cubicBezTo>
                  <a:lnTo>
                    <a:pt x="18583" y="21717"/>
                  </a:lnTo>
                  <a:lnTo>
                    <a:pt x="33360" y="36046"/>
                  </a:lnTo>
                  <a:cubicBezTo>
                    <a:pt x="33808" y="36494"/>
                    <a:pt x="34255" y="36494"/>
                    <a:pt x="34703" y="36494"/>
                  </a:cubicBezTo>
                  <a:cubicBezTo>
                    <a:pt x="35151" y="36494"/>
                    <a:pt x="36046" y="36046"/>
                    <a:pt x="36494" y="35599"/>
                  </a:cubicBezTo>
                  <a:cubicBezTo>
                    <a:pt x="37390" y="34703"/>
                    <a:pt x="37390" y="33360"/>
                    <a:pt x="36494" y="32464"/>
                  </a:cubicBezTo>
                  <a:lnTo>
                    <a:pt x="21717" y="18135"/>
                  </a:lnTo>
                  <a:close/>
                </a:path>
              </a:pathLst>
            </a:custGeom>
            <a:solidFill>
              <a:srgbClr val="231F20"/>
            </a:solidFill>
            <a:ln w="4474" cap="flat">
              <a:noFill/>
              <a:prstDash val="solid"/>
              <a:miter/>
            </a:ln>
          </p:spPr>
          <p:txBody>
            <a:bodyPr rtlCol="0" anchor="ctr"/>
            <a:lstStyle/>
            <a:p>
              <a:endParaRPr lang="en-US"/>
            </a:p>
          </p:txBody>
        </p:sp>
        <p:sp>
          <p:nvSpPr>
            <p:cNvPr id="3945" name="Freeform: Shape 3944">
              <a:extLst>
                <a:ext uri="{FF2B5EF4-FFF2-40B4-BE49-F238E27FC236}">
                  <a16:creationId xmlns:a16="http://schemas.microsoft.com/office/drawing/2014/main" id="{FF49364F-A8B8-4E99-B98D-727F56E230CD}"/>
                </a:ext>
              </a:extLst>
            </p:cNvPr>
            <p:cNvSpPr/>
            <p:nvPr/>
          </p:nvSpPr>
          <p:spPr>
            <a:xfrm>
              <a:off x="871796" y="29160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46" name="Freeform: Shape 3945">
              <a:extLst>
                <a:ext uri="{FF2B5EF4-FFF2-40B4-BE49-F238E27FC236}">
                  <a16:creationId xmlns:a16="http://schemas.microsoft.com/office/drawing/2014/main" id="{A3096BEB-00CD-4834-A26E-A017FB0C4438}"/>
                </a:ext>
              </a:extLst>
            </p:cNvPr>
            <p:cNvSpPr/>
            <p:nvPr/>
          </p:nvSpPr>
          <p:spPr>
            <a:xfrm>
              <a:off x="871796"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47" name="Freeform: Shape 3946">
              <a:extLst>
                <a:ext uri="{FF2B5EF4-FFF2-40B4-BE49-F238E27FC236}">
                  <a16:creationId xmlns:a16="http://schemas.microsoft.com/office/drawing/2014/main" id="{BFFA0AF3-60FD-45CC-AC02-CA8C768F7101}"/>
                </a:ext>
              </a:extLst>
            </p:cNvPr>
            <p:cNvSpPr/>
            <p:nvPr/>
          </p:nvSpPr>
          <p:spPr>
            <a:xfrm>
              <a:off x="871796"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48" name="Freeform: Shape 3947">
              <a:extLst>
                <a:ext uri="{FF2B5EF4-FFF2-40B4-BE49-F238E27FC236}">
                  <a16:creationId xmlns:a16="http://schemas.microsoft.com/office/drawing/2014/main" id="{A8DA245E-520A-498A-BB8D-D24150C7F8EE}"/>
                </a:ext>
              </a:extLst>
            </p:cNvPr>
            <p:cNvSpPr/>
            <p:nvPr/>
          </p:nvSpPr>
          <p:spPr>
            <a:xfrm>
              <a:off x="858362"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42091 h 120901"/>
                <a:gd name="connsiteX4" fmla="*/ 0 w 111945"/>
                <a:gd name="connsiteY4" fmla="*/ 42091 h 120901"/>
                <a:gd name="connsiteX5" fmla="*/ 0 w 111945"/>
                <a:gd name="connsiteY5" fmla="*/ 42091 h 120901"/>
                <a:gd name="connsiteX6" fmla="*/ 0 w 111945"/>
                <a:gd name="connsiteY6" fmla="*/ 82392 h 120901"/>
                <a:gd name="connsiteX7" fmla="*/ 0 w 111945"/>
                <a:gd name="connsiteY7" fmla="*/ 82392 h 120901"/>
                <a:gd name="connsiteX8" fmla="*/ 0 w 111945"/>
                <a:gd name="connsiteY8" fmla="*/ 82392 h 120901"/>
                <a:gd name="connsiteX9" fmla="*/ 0 w 111945"/>
                <a:gd name="connsiteY9" fmla="*/ 111945 h 120901"/>
                <a:gd name="connsiteX10" fmla="*/ 12986 w 111945"/>
                <a:gd name="connsiteY10" fmla="*/ 124483 h 120901"/>
                <a:gd name="connsiteX11" fmla="*/ 77466 w 111945"/>
                <a:gd name="connsiteY11" fmla="*/ 124483 h 120901"/>
                <a:gd name="connsiteX12" fmla="*/ 79705 w 111945"/>
                <a:gd name="connsiteY12" fmla="*/ 122244 h 120901"/>
                <a:gd name="connsiteX13" fmla="*/ 77466 w 111945"/>
                <a:gd name="connsiteY13" fmla="*/ 120005 h 120901"/>
                <a:gd name="connsiteX14" fmla="*/ 12986 w 111945"/>
                <a:gd name="connsiteY14" fmla="*/ 120005 h 120901"/>
                <a:gd name="connsiteX15" fmla="*/ 4478 w 111945"/>
                <a:gd name="connsiteY15" fmla="*/ 111945 h 120901"/>
                <a:gd name="connsiteX16" fmla="*/ 4478 w 111945"/>
                <a:gd name="connsiteY16" fmla="*/ 84631 h 120901"/>
                <a:gd name="connsiteX17" fmla="*/ 77466 w 111945"/>
                <a:gd name="connsiteY17" fmla="*/ 84631 h 120901"/>
                <a:gd name="connsiteX18" fmla="*/ 79705 w 111945"/>
                <a:gd name="connsiteY18" fmla="*/ 82392 h 120901"/>
                <a:gd name="connsiteX19" fmla="*/ 77466 w 111945"/>
                <a:gd name="connsiteY19" fmla="*/ 80153 h 120901"/>
                <a:gd name="connsiteX20" fmla="*/ 4478 w 111945"/>
                <a:gd name="connsiteY20" fmla="*/ 80153 h 120901"/>
                <a:gd name="connsiteX21" fmla="*/ 4478 w 111945"/>
                <a:gd name="connsiteY21" fmla="*/ 44330 h 120901"/>
                <a:gd name="connsiteX22" fmla="*/ 107468 w 111945"/>
                <a:gd name="connsiteY22" fmla="*/ 44330 h 120901"/>
                <a:gd name="connsiteX23" fmla="*/ 107468 w 111945"/>
                <a:gd name="connsiteY23" fmla="*/ 72988 h 120901"/>
                <a:gd name="connsiteX24" fmla="*/ 109707 w 111945"/>
                <a:gd name="connsiteY24" fmla="*/ 75227 h 120901"/>
                <a:gd name="connsiteX25" fmla="*/ 111945 w 111945"/>
                <a:gd name="connsiteY25" fmla="*/ 72988 h 120901"/>
                <a:gd name="connsiteX26" fmla="*/ 111945 w 111945"/>
                <a:gd name="connsiteY26" fmla="*/ 12538 h 120901"/>
                <a:gd name="connsiteX27" fmla="*/ 98960 w 111945"/>
                <a:gd name="connsiteY27" fmla="*/ 0 h 120901"/>
                <a:gd name="connsiteX28" fmla="*/ 4478 w 111945"/>
                <a:gd name="connsiteY28" fmla="*/ 39853 h 120901"/>
                <a:gd name="connsiteX29" fmla="*/ 4478 w 111945"/>
                <a:gd name="connsiteY29" fmla="*/ 12538 h 120901"/>
                <a:gd name="connsiteX30" fmla="*/ 12986 w 111945"/>
                <a:gd name="connsiteY30" fmla="*/ 4478 h 120901"/>
                <a:gd name="connsiteX31" fmla="*/ 98960 w 111945"/>
                <a:gd name="connsiteY31" fmla="*/ 4478 h 120901"/>
                <a:gd name="connsiteX32" fmla="*/ 107468 w 111945"/>
                <a:gd name="connsiteY32" fmla="*/ 12538 h 120901"/>
                <a:gd name="connsiteX33" fmla="*/ 107468 w 111945"/>
                <a:gd name="connsiteY33" fmla="*/ 39853 h 120901"/>
                <a:gd name="connsiteX34" fmla="*/ 4478 w 111945"/>
                <a:gd name="connsiteY34"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945" h="120901">
                  <a:moveTo>
                    <a:pt x="98960" y="0"/>
                  </a:moveTo>
                  <a:lnTo>
                    <a:pt x="12986" y="0"/>
                  </a:lnTo>
                  <a:cubicBezTo>
                    <a:pt x="5821" y="0"/>
                    <a:pt x="0" y="5821"/>
                    <a:pt x="0" y="12538"/>
                  </a:cubicBezTo>
                  <a:lnTo>
                    <a:pt x="0" y="42091"/>
                  </a:lnTo>
                  <a:cubicBezTo>
                    <a:pt x="0" y="42091"/>
                    <a:pt x="0" y="42091"/>
                    <a:pt x="0" y="42091"/>
                  </a:cubicBezTo>
                  <a:cubicBezTo>
                    <a:pt x="0" y="42091"/>
                    <a:pt x="0" y="42091"/>
                    <a:pt x="0" y="42091"/>
                  </a:cubicBezTo>
                  <a:lnTo>
                    <a:pt x="0" y="82392"/>
                  </a:lnTo>
                  <a:cubicBezTo>
                    <a:pt x="0" y="82392"/>
                    <a:pt x="0" y="82392"/>
                    <a:pt x="0" y="82392"/>
                  </a:cubicBezTo>
                  <a:cubicBezTo>
                    <a:pt x="0" y="82392"/>
                    <a:pt x="0" y="82392"/>
                    <a:pt x="0" y="82392"/>
                  </a:cubicBezTo>
                  <a:lnTo>
                    <a:pt x="0" y="111945"/>
                  </a:lnTo>
                  <a:cubicBezTo>
                    <a:pt x="0" y="119110"/>
                    <a:pt x="5821" y="124483"/>
                    <a:pt x="12986" y="124483"/>
                  </a:cubicBezTo>
                  <a:lnTo>
                    <a:pt x="77466" y="124483"/>
                  </a:lnTo>
                  <a:cubicBezTo>
                    <a:pt x="78810" y="124483"/>
                    <a:pt x="79705" y="123588"/>
                    <a:pt x="79705" y="122244"/>
                  </a:cubicBezTo>
                  <a:cubicBezTo>
                    <a:pt x="79705" y="120901"/>
                    <a:pt x="78810" y="120005"/>
                    <a:pt x="77466" y="120005"/>
                  </a:cubicBezTo>
                  <a:lnTo>
                    <a:pt x="12986" y="120005"/>
                  </a:lnTo>
                  <a:cubicBezTo>
                    <a:pt x="8508" y="120005"/>
                    <a:pt x="4478" y="116423"/>
                    <a:pt x="4478" y="111945"/>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72988"/>
                  </a:lnTo>
                  <a:cubicBezTo>
                    <a:pt x="107468" y="74332"/>
                    <a:pt x="108363" y="75227"/>
                    <a:pt x="109707" y="75227"/>
                  </a:cubicBezTo>
                  <a:cubicBezTo>
                    <a:pt x="111050" y="75227"/>
                    <a:pt x="111945" y="74332"/>
                    <a:pt x="111945" y="72988"/>
                  </a:cubicBezTo>
                  <a:lnTo>
                    <a:pt x="111945" y="12538"/>
                  </a:lnTo>
                  <a:cubicBezTo>
                    <a:pt x="111945" y="5373"/>
                    <a:pt x="106124" y="0"/>
                    <a:pt x="98960" y="0"/>
                  </a:cubicBezTo>
                  <a:close/>
                  <a:moveTo>
                    <a:pt x="4478" y="39853"/>
                  </a:moveTo>
                  <a:lnTo>
                    <a:pt x="4478" y="12538"/>
                  </a:lnTo>
                  <a:cubicBezTo>
                    <a:pt x="4478" y="8060"/>
                    <a:pt x="8508" y="4478"/>
                    <a:pt x="12986" y="4478"/>
                  </a:cubicBezTo>
                  <a:lnTo>
                    <a:pt x="98960" y="4478"/>
                  </a:lnTo>
                  <a:cubicBezTo>
                    <a:pt x="103438"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grpSp>
      <p:grpSp>
        <p:nvGrpSpPr>
          <p:cNvPr id="3949" name="Group 3948">
            <a:extLst>
              <a:ext uri="{FF2B5EF4-FFF2-40B4-BE49-F238E27FC236}">
                <a16:creationId xmlns:a16="http://schemas.microsoft.com/office/drawing/2014/main" id="{71B2ECE8-F844-4F9C-A97B-A435B67BAB38}"/>
              </a:ext>
              <a:ext uri="{C183D7F6-B498-43B3-948B-1728B52AA6E4}">
                <adec:decorative xmlns:adec="http://schemas.microsoft.com/office/drawing/2017/decorative" val="1"/>
              </a:ext>
            </a:extLst>
          </p:cNvPr>
          <p:cNvGrpSpPr>
            <a:grpSpLocks noChangeAspect="1"/>
          </p:cNvGrpSpPr>
          <p:nvPr/>
        </p:nvGrpSpPr>
        <p:grpSpPr>
          <a:xfrm>
            <a:off x="1087620" y="3638046"/>
            <a:ext cx="130907" cy="123547"/>
            <a:chOff x="1128374" y="2902607"/>
            <a:chExt cx="130907" cy="123547"/>
          </a:xfrm>
        </p:grpSpPr>
        <p:sp>
          <p:nvSpPr>
            <p:cNvPr id="3950" name="Freeform: Shape 3949">
              <a:extLst>
                <a:ext uri="{FF2B5EF4-FFF2-40B4-BE49-F238E27FC236}">
                  <a16:creationId xmlns:a16="http://schemas.microsoft.com/office/drawing/2014/main" id="{AEF604D0-4770-4D34-BE9F-7ED087B8DB93}"/>
                </a:ext>
              </a:extLst>
            </p:cNvPr>
            <p:cNvSpPr/>
            <p:nvPr/>
          </p:nvSpPr>
          <p:spPr>
            <a:xfrm>
              <a:off x="1142256" y="2916041"/>
              <a:ext cx="13433" cy="4478"/>
            </a:xfrm>
            <a:custGeom>
              <a:avLst/>
              <a:gdLst>
                <a:gd name="connsiteX0" fmla="*/ 1522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5225 w 13433"/>
                <a:gd name="connsiteY4" fmla="*/ 0 h 4477"/>
                <a:gd name="connsiteX5" fmla="*/ 17464 w 13433"/>
                <a:gd name="connsiteY5" fmla="*/ 2239 h 4477"/>
                <a:gd name="connsiteX6" fmla="*/ 1522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5225" y="4478"/>
                  </a:moveTo>
                  <a:lnTo>
                    <a:pt x="2239" y="4478"/>
                  </a:lnTo>
                  <a:cubicBezTo>
                    <a:pt x="896" y="4478"/>
                    <a:pt x="0" y="3582"/>
                    <a:pt x="0" y="2239"/>
                  </a:cubicBezTo>
                  <a:cubicBezTo>
                    <a:pt x="0" y="895"/>
                    <a:pt x="896" y="0"/>
                    <a:pt x="2239" y="0"/>
                  </a:cubicBezTo>
                  <a:lnTo>
                    <a:pt x="15225" y="0"/>
                  </a:lnTo>
                  <a:cubicBezTo>
                    <a:pt x="16568" y="0"/>
                    <a:pt x="17464" y="895"/>
                    <a:pt x="17464" y="2239"/>
                  </a:cubicBezTo>
                  <a:cubicBezTo>
                    <a:pt x="17464" y="3582"/>
                    <a:pt x="16568" y="4478"/>
                    <a:pt x="15225" y="4478"/>
                  </a:cubicBezTo>
                  <a:close/>
                </a:path>
              </a:pathLst>
            </a:custGeom>
            <a:solidFill>
              <a:srgbClr val="231F20"/>
            </a:solidFill>
            <a:ln w="4474" cap="flat">
              <a:noFill/>
              <a:prstDash val="solid"/>
              <a:miter/>
            </a:ln>
          </p:spPr>
          <p:txBody>
            <a:bodyPr rtlCol="0" anchor="ctr"/>
            <a:lstStyle/>
            <a:p>
              <a:endParaRPr lang="en-US"/>
            </a:p>
          </p:txBody>
        </p:sp>
        <p:sp>
          <p:nvSpPr>
            <p:cNvPr id="3951" name="Freeform: Shape 3950">
              <a:extLst>
                <a:ext uri="{FF2B5EF4-FFF2-40B4-BE49-F238E27FC236}">
                  <a16:creationId xmlns:a16="http://schemas.microsoft.com/office/drawing/2014/main" id="{46228494-90E9-42CB-85B5-229C4AAF3E66}"/>
                </a:ext>
              </a:extLst>
            </p:cNvPr>
            <p:cNvSpPr/>
            <p:nvPr/>
          </p:nvSpPr>
          <p:spPr>
            <a:xfrm>
              <a:off x="1142256" y="2956341"/>
              <a:ext cx="13433" cy="4478"/>
            </a:xfrm>
            <a:custGeom>
              <a:avLst/>
              <a:gdLst>
                <a:gd name="connsiteX0" fmla="*/ 1522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5225 w 13433"/>
                <a:gd name="connsiteY4" fmla="*/ 0 h 4477"/>
                <a:gd name="connsiteX5" fmla="*/ 17464 w 13433"/>
                <a:gd name="connsiteY5" fmla="*/ 2239 h 4477"/>
                <a:gd name="connsiteX6" fmla="*/ 1522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5225" y="4478"/>
                  </a:moveTo>
                  <a:lnTo>
                    <a:pt x="2239" y="4478"/>
                  </a:lnTo>
                  <a:cubicBezTo>
                    <a:pt x="896" y="4478"/>
                    <a:pt x="0" y="3582"/>
                    <a:pt x="0" y="2239"/>
                  </a:cubicBezTo>
                  <a:cubicBezTo>
                    <a:pt x="0" y="895"/>
                    <a:pt x="896" y="0"/>
                    <a:pt x="2239" y="0"/>
                  </a:cubicBezTo>
                  <a:lnTo>
                    <a:pt x="15225" y="0"/>
                  </a:lnTo>
                  <a:cubicBezTo>
                    <a:pt x="16568" y="0"/>
                    <a:pt x="17464" y="895"/>
                    <a:pt x="17464" y="2239"/>
                  </a:cubicBezTo>
                  <a:cubicBezTo>
                    <a:pt x="17464" y="3582"/>
                    <a:pt x="16568" y="4478"/>
                    <a:pt x="15225" y="4478"/>
                  </a:cubicBezTo>
                  <a:close/>
                </a:path>
              </a:pathLst>
            </a:custGeom>
            <a:solidFill>
              <a:srgbClr val="231F20"/>
            </a:solidFill>
            <a:ln w="4474" cap="flat">
              <a:noFill/>
              <a:prstDash val="solid"/>
              <a:miter/>
            </a:ln>
          </p:spPr>
          <p:txBody>
            <a:bodyPr rtlCol="0" anchor="ctr"/>
            <a:lstStyle/>
            <a:p>
              <a:endParaRPr lang="en-US"/>
            </a:p>
          </p:txBody>
        </p:sp>
        <p:sp>
          <p:nvSpPr>
            <p:cNvPr id="3952" name="Freeform: Shape 3951">
              <a:extLst>
                <a:ext uri="{FF2B5EF4-FFF2-40B4-BE49-F238E27FC236}">
                  <a16:creationId xmlns:a16="http://schemas.microsoft.com/office/drawing/2014/main" id="{955E0C62-1A96-42F2-9224-E3328249E301}"/>
                </a:ext>
              </a:extLst>
            </p:cNvPr>
            <p:cNvSpPr/>
            <p:nvPr/>
          </p:nvSpPr>
          <p:spPr>
            <a:xfrm>
              <a:off x="1142256" y="2996641"/>
              <a:ext cx="13433" cy="4478"/>
            </a:xfrm>
            <a:custGeom>
              <a:avLst/>
              <a:gdLst>
                <a:gd name="connsiteX0" fmla="*/ 1522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5225 w 13433"/>
                <a:gd name="connsiteY4" fmla="*/ 0 h 4477"/>
                <a:gd name="connsiteX5" fmla="*/ 17464 w 13433"/>
                <a:gd name="connsiteY5" fmla="*/ 2239 h 4477"/>
                <a:gd name="connsiteX6" fmla="*/ 1522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5225" y="4478"/>
                  </a:moveTo>
                  <a:lnTo>
                    <a:pt x="2239" y="4478"/>
                  </a:lnTo>
                  <a:cubicBezTo>
                    <a:pt x="896" y="4478"/>
                    <a:pt x="0" y="3582"/>
                    <a:pt x="0" y="2239"/>
                  </a:cubicBezTo>
                  <a:cubicBezTo>
                    <a:pt x="0" y="895"/>
                    <a:pt x="896" y="0"/>
                    <a:pt x="2239" y="0"/>
                  </a:cubicBezTo>
                  <a:lnTo>
                    <a:pt x="15225" y="0"/>
                  </a:lnTo>
                  <a:cubicBezTo>
                    <a:pt x="16568" y="0"/>
                    <a:pt x="17464" y="895"/>
                    <a:pt x="17464" y="2239"/>
                  </a:cubicBezTo>
                  <a:cubicBezTo>
                    <a:pt x="17464" y="3582"/>
                    <a:pt x="16568" y="4478"/>
                    <a:pt x="15225" y="4478"/>
                  </a:cubicBezTo>
                  <a:close/>
                </a:path>
              </a:pathLst>
            </a:custGeom>
            <a:solidFill>
              <a:srgbClr val="231F20"/>
            </a:solidFill>
            <a:ln w="4474" cap="flat">
              <a:noFill/>
              <a:prstDash val="solid"/>
              <a:miter/>
            </a:ln>
          </p:spPr>
          <p:txBody>
            <a:bodyPr rtlCol="0" anchor="ctr"/>
            <a:lstStyle/>
            <a:p>
              <a:endParaRPr lang="en-US"/>
            </a:p>
          </p:txBody>
        </p:sp>
        <p:sp>
          <p:nvSpPr>
            <p:cNvPr id="3953" name="Freeform: Shape 3952">
              <a:extLst>
                <a:ext uri="{FF2B5EF4-FFF2-40B4-BE49-F238E27FC236}">
                  <a16:creationId xmlns:a16="http://schemas.microsoft.com/office/drawing/2014/main" id="{1032A3F5-8CE7-4599-9C61-8F1247FC7D44}"/>
                </a:ext>
              </a:extLst>
            </p:cNvPr>
            <p:cNvSpPr/>
            <p:nvPr/>
          </p:nvSpPr>
          <p:spPr>
            <a:xfrm>
              <a:off x="1128374"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42091 h 120901"/>
                <a:gd name="connsiteX4" fmla="*/ 0 w 111945"/>
                <a:gd name="connsiteY4" fmla="*/ 42091 h 120901"/>
                <a:gd name="connsiteX5" fmla="*/ 0 w 111945"/>
                <a:gd name="connsiteY5" fmla="*/ 42091 h 120901"/>
                <a:gd name="connsiteX6" fmla="*/ 0 w 111945"/>
                <a:gd name="connsiteY6" fmla="*/ 82392 h 120901"/>
                <a:gd name="connsiteX7" fmla="*/ 0 w 111945"/>
                <a:gd name="connsiteY7" fmla="*/ 82392 h 120901"/>
                <a:gd name="connsiteX8" fmla="*/ 0 w 111945"/>
                <a:gd name="connsiteY8" fmla="*/ 82392 h 120901"/>
                <a:gd name="connsiteX9" fmla="*/ 0 w 111945"/>
                <a:gd name="connsiteY9" fmla="*/ 112393 h 120901"/>
                <a:gd name="connsiteX10" fmla="*/ 12986 w 111945"/>
                <a:gd name="connsiteY10" fmla="*/ 124931 h 120901"/>
                <a:gd name="connsiteX11" fmla="*/ 75227 w 111945"/>
                <a:gd name="connsiteY11" fmla="*/ 124931 h 120901"/>
                <a:gd name="connsiteX12" fmla="*/ 77466 w 111945"/>
                <a:gd name="connsiteY12" fmla="*/ 122692 h 120901"/>
                <a:gd name="connsiteX13" fmla="*/ 75227 w 111945"/>
                <a:gd name="connsiteY13" fmla="*/ 120453 h 120901"/>
                <a:gd name="connsiteX14" fmla="*/ 12986 w 111945"/>
                <a:gd name="connsiteY14" fmla="*/ 120453 h 120901"/>
                <a:gd name="connsiteX15" fmla="*/ 4478 w 111945"/>
                <a:gd name="connsiteY15" fmla="*/ 112393 h 120901"/>
                <a:gd name="connsiteX16" fmla="*/ 4478 w 111945"/>
                <a:gd name="connsiteY16" fmla="*/ 84631 h 120901"/>
                <a:gd name="connsiteX17" fmla="*/ 77466 w 111945"/>
                <a:gd name="connsiteY17" fmla="*/ 84631 h 120901"/>
                <a:gd name="connsiteX18" fmla="*/ 79705 w 111945"/>
                <a:gd name="connsiteY18" fmla="*/ 82392 h 120901"/>
                <a:gd name="connsiteX19" fmla="*/ 77466 w 111945"/>
                <a:gd name="connsiteY19" fmla="*/ 80153 h 120901"/>
                <a:gd name="connsiteX20" fmla="*/ 4478 w 111945"/>
                <a:gd name="connsiteY20" fmla="*/ 80153 h 120901"/>
                <a:gd name="connsiteX21" fmla="*/ 4478 w 111945"/>
                <a:gd name="connsiteY21" fmla="*/ 44330 h 120901"/>
                <a:gd name="connsiteX22" fmla="*/ 107468 w 111945"/>
                <a:gd name="connsiteY22" fmla="*/ 44330 h 120901"/>
                <a:gd name="connsiteX23" fmla="*/ 107468 w 111945"/>
                <a:gd name="connsiteY23" fmla="*/ 72541 h 120901"/>
                <a:gd name="connsiteX24" fmla="*/ 109707 w 111945"/>
                <a:gd name="connsiteY24" fmla="*/ 74779 h 120901"/>
                <a:gd name="connsiteX25" fmla="*/ 111945 w 111945"/>
                <a:gd name="connsiteY25" fmla="*/ 72541 h 120901"/>
                <a:gd name="connsiteX26" fmla="*/ 111945 w 111945"/>
                <a:gd name="connsiteY26" fmla="*/ 12538 h 120901"/>
                <a:gd name="connsiteX27" fmla="*/ 98960 w 111945"/>
                <a:gd name="connsiteY27" fmla="*/ 0 h 120901"/>
                <a:gd name="connsiteX28" fmla="*/ 4478 w 111945"/>
                <a:gd name="connsiteY28" fmla="*/ 40300 h 120901"/>
                <a:gd name="connsiteX29" fmla="*/ 4478 w 111945"/>
                <a:gd name="connsiteY29" fmla="*/ 12538 h 120901"/>
                <a:gd name="connsiteX30" fmla="*/ 12986 w 111945"/>
                <a:gd name="connsiteY30" fmla="*/ 4478 h 120901"/>
                <a:gd name="connsiteX31" fmla="*/ 98960 w 111945"/>
                <a:gd name="connsiteY31" fmla="*/ 4478 h 120901"/>
                <a:gd name="connsiteX32" fmla="*/ 107468 w 111945"/>
                <a:gd name="connsiteY32" fmla="*/ 12538 h 120901"/>
                <a:gd name="connsiteX33" fmla="*/ 107468 w 111945"/>
                <a:gd name="connsiteY33" fmla="*/ 40300 h 120901"/>
                <a:gd name="connsiteX34" fmla="*/ 4478 w 111945"/>
                <a:gd name="connsiteY34" fmla="*/ 4030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945" h="120901">
                  <a:moveTo>
                    <a:pt x="98960" y="0"/>
                  </a:moveTo>
                  <a:lnTo>
                    <a:pt x="12986" y="0"/>
                  </a:lnTo>
                  <a:cubicBezTo>
                    <a:pt x="5821" y="0"/>
                    <a:pt x="0" y="5821"/>
                    <a:pt x="0" y="12538"/>
                  </a:cubicBezTo>
                  <a:lnTo>
                    <a:pt x="0" y="42091"/>
                  </a:lnTo>
                  <a:cubicBezTo>
                    <a:pt x="0" y="42091"/>
                    <a:pt x="0" y="42091"/>
                    <a:pt x="0" y="42091"/>
                  </a:cubicBezTo>
                  <a:cubicBezTo>
                    <a:pt x="0" y="42091"/>
                    <a:pt x="0" y="42091"/>
                    <a:pt x="0" y="42091"/>
                  </a:cubicBezTo>
                  <a:lnTo>
                    <a:pt x="0" y="82392"/>
                  </a:lnTo>
                  <a:cubicBezTo>
                    <a:pt x="0" y="82392"/>
                    <a:pt x="0" y="82392"/>
                    <a:pt x="0" y="82392"/>
                  </a:cubicBezTo>
                  <a:cubicBezTo>
                    <a:pt x="0" y="82392"/>
                    <a:pt x="0" y="82392"/>
                    <a:pt x="0" y="82392"/>
                  </a:cubicBezTo>
                  <a:lnTo>
                    <a:pt x="0" y="112393"/>
                  </a:lnTo>
                  <a:cubicBezTo>
                    <a:pt x="0" y="119558"/>
                    <a:pt x="5821" y="124931"/>
                    <a:pt x="12986" y="124931"/>
                  </a:cubicBezTo>
                  <a:lnTo>
                    <a:pt x="75227" y="124931"/>
                  </a:lnTo>
                  <a:cubicBezTo>
                    <a:pt x="76571" y="124931"/>
                    <a:pt x="77466" y="124035"/>
                    <a:pt x="77466" y="122692"/>
                  </a:cubicBezTo>
                  <a:cubicBezTo>
                    <a:pt x="77466" y="121349"/>
                    <a:pt x="76571" y="120453"/>
                    <a:pt x="75227" y="120453"/>
                  </a:cubicBezTo>
                  <a:lnTo>
                    <a:pt x="12986" y="120453"/>
                  </a:lnTo>
                  <a:cubicBezTo>
                    <a:pt x="8508" y="120453"/>
                    <a:pt x="4478" y="116871"/>
                    <a:pt x="4478" y="112393"/>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72541"/>
                  </a:lnTo>
                  <a:cubicBezTo>
                    <a:pt x="107468" y="73884"/>
                    <a:pt x="108363" y="74779"/>
                    <a:pt x="109707" y="74779"/>
                  </a:cubicBezTo>
                  <a:cubicBezTo>
                    <a:pt x="111050" y="74779"/>
                    <a:pt x="111945" y="73884"/>
                    <a:pt x="111945" y="72541"/>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40300"/>
                  </a:lnTo>
                  <a:lnTo>
                    <a:pt x="4478" y="40300"/>
                  </a:lnTo>
                  <a:close/>
                </a:path>
              </a:pathLst>
            </a:custGeom>
            <a:solidFill>
              <a:srgbClr val="231F20"/>
            </a:solidFill>
            <a:ln w="4474" cap="flat">
              <a:noFill/>
              <a:prstDash val="solid"/>
              <a:miter/>
            </a:ln>
          </p:spPr>
          <p:txBody>
            <a:bodyPr rtlCol="0" anchor="ctr"/>
            <a:lstStyle/>
            <a:p>
              <a:endParaRPr lang="en-US"/>
            </a:p>
          </p:txBody>
        </p:sp>
        <p:sp>
          <p:nvSpPr>
            <p:cNvPr id="3954" name="Freeform: Shape 3953">
              <a:extLst>
                <a:ext uri="{FF2B5EF4-FFF2-40B4-BE49-F238E27FC236}">
                  <a16:creationId xmlns:a16="http://schemas.microsoft.com/office/drawing/2014/main" id="{8D381C99-6A49-4578-A038-C1E464EED6AE}"/>
                </a:ext>
              </a:extLst>
            </p:cNvPr>
            <p:cNvSpPr/>
            <p:nvPr/>
          </p:nvSpPr>
          <p:spPr>
            <a:xfrm>
              <a:off x="1205547" y="2985854"/>
              <a:ext cx="53734" cy="40300"/>
            </a:xfrm>
            <a:custGeom>
              <a:avLst/>
              <a:gdLst>
                <a:gd name="connsiteX0" fmla="*/ 24474 w 53733"/>
                <a:gd name="connsiteY0" fmla="*/ 42132 h 40300"/>
                <a:gd name="connsiteX1" fmla="*/ 23131 w 53733"/>
                <a:gd name="connsiteY1" fmla="*/ 41684 h 40300"/>
                <a:gd name="connsiteX2" fmla="*/ 742 w 53733"/>
                <a:gd name="connsiteY2" fmla="*/ 22877 h 40300"/>
                <a:gd name="connsiteX3" fmla="*/ 294 w 53733"/>
                <a:gd name="connsiteY3" fmla="*/ 19743 h 40300"/>
                <a:gd name="connsiteX4" fmla="*/ 3429 w 53733"/>
                <a:gd name="connsiteY4" fmla="*/ 19295 h 40300"/>
                <a:gd name="connsiteX5" fmla="*/ 24027 w 53733"/>
                <a:gd name="connsiteY5" fmla="*/ 36311 h 40300"/>
                <a:gd name="connsiteX6" fmla="*/ 49998 w 53733"/>
                <a:gd name="connsiteY6" fmla="*/ 936 h 40300"/>
                <a:gd name="connsiteX7" fmla="*/ 53132 w 53733"/>
                <a:gd name="connsiteY7" fmla="*/ 488 h 40300"/>
                <a:gd name="connsiteX8" fmla="*/ 53580 w 53733"/>
                <a:gd name="connsiteY8" fmla="*/ 3623 h 40300"/>
                <a:gd name="connsiteX9" fmla="*/ 26265 w 53733"/>
                <a:gd name="connsiteY9" fmla="*/ 41236 h 40300"/>
                <a:gd name="connsiteX10" fmla="*/ 24474 w 53733"/>
                <a:gd name="connsiteY10" fmla="*/ 42132 h 40300"/>
                <a:gd name="connsiteX11" fmla="*/ 24474 w 53733"/>
                <a:gd name="connsiteY11" fmla="*/ 42132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733" h="40300">
                  <a:moveTo>
                    <a:pt x="24474" y="42132"/>
                  </a:moveTo>
                  <a:cubicBezTo>
                    <a:pt x="24027" y="42132"/>
                    <a:pt x="23579" y="42132"/>
                    <a:pt x="23131" y="41684"/>
                  </a:cubicBezTo>
                  <a:lnTo>
                    <a:pt x="742" y="22877"/>
                  </a:lnTo>
                  <a:cubicBezTo>
                    <a:pt x="-154" y="21982"/>
                    <a:pt x="-154" y="20638"/>
                    <a:pt x="294" y="19743"/>
                  </a:cubicBezTo>
                  <a:cubicBezTo>
                    <a:pt x="1190" y="18847"/>
                    <a:pt x="2533" y="18847"/>
                    <a:pt x="3429" y="19295"/>
                  </a:cubicBezTo>
                  <a:lnTo>
                    <a:pt x="24027" y="36311"/>
                  </a:lnTo>
                  <a:lnTo>
                    <a:pt x="49998" y="936"/>
                  </a:lnTo>
                  <a:cubicBezTo>
                    <a:pt x="50893" y="40"/>
                    <a:pt x="52237" y="-407"/>
                    <a:pt x="53132" y="488"/>
                  </a:cubicBezTo>
                  <a:cubicBezTo>
                    <a:pt x="54028" y="1384"/>
                    <a:pt x="54476" y="2727"/>
                    <a:pt x="53580" y="3623"/>
                  </a:cubicBezTo>
                  <a:lnTo>
                    <a:pt x="26265" y="41236"/>
                  </a:lnTo>
                  <a:cubicBezTo>
                    <a:pt x="25818" y="41684"/>
                    <a:pt x="25370" y="41684"/>
                    <a:pt x="24474" y="42132"/>
                  </a:cubicBezTo>
                  <a:cubicBezTo>
                    <a:pt x="24474" y="42132"/>
                    <a:pt x="24474" y="42132"/>
                    <a:pt x="24474" y="42132"/>
                  </a:cubicBezTo>
                  <a:close/>
                </a:path>
              </a:pathLst>
            </a:custGeom>
            <a:solidFill>
              <a:srgbClr val="231F20"/>
            </a:solidFill>
            <a:ln w="4474" cap="flat">
              <a:noFill/>
              <a:prstDash val="solid"/>
              <a:miter/>
            </a:ln>
          </p:spPr>
          <p:txBody>
            <a:bodyPr rtlCol="0" anchor="ctr"/>
            <a:lstStyle/>
            <a:p>
              <a:endParaRPr lang="en-US"/>
            </a:p>
          </p:txBody>
        </p:sp>
      </p:grpSp>
      <p:grpSp>
        <p:nvGrpSpPr>
          <p:cNvPr id="3955" name="Group 3954">
            <a:extLst>
              <a:ext uri="{FF2B5EF4-FFF2-40B4-BE49-F238E27FC236}">
                <a16:creationId xmlns:a16="http://schemas.microsoft.com/office/drawing/2014/main" id="{DB83E9F0-7FA1-4CE5-9303-7524E70FEFF5}"/>
              </a:ext>
              <a:ext uri="{C183D7F6-B498-43B3-948B-1728B52AA6E4}">
                <adec:decorative xmlns:adec="http://schemas.microsoft.com/office/drawing/2017/decorative" val="1"/>
              </a:ext>
            </a:extLst>
          </p:cNvPr>
          <p:cNvGrpSpPr>
            <a:grpSpLocks noChangeAspect="1"/>
          </p:cNvGrpSpPr>
          <p:nvPr/>
        </p:nvGrpSpPr>
        <p:grpSpPr>
          <a:xfrm>
            <a:off x="1347334" y="3638046"/>
            <a:ext cx="124035" cy="122916"/>
            <a:chOff x="1388088" y="2902607"/>
            <a:chExt cx="124035" cy="122916"/>
          </a:xfrm>
        </p:grpSpPr>
        <p:sp>
          <p:nvSpPr>
            <p:cNvPr id="3956" name="Freeform: Shape 3955">
              <a:extLst>
                <a:ext uri="{FF2B5EF4-FFF2-40B4-BE49-F238E27FC236}">
                  <a16:creationId xmlns:a16="http://schemas.microsoft.com/office/drawing/2014/main" id="{F8501CD6-9FF4-4405-8260-D1CCB911FC19}"/>
                </a:ext>
              </a:extLst>
            </p:cNvPr>
            <p:cNvSpPr/>
            <p:nvPr/>
          </p:nvSpPr>
          <p:spPr>
            <a:xfrm>
              <a:off x="1401521" y="29160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57" name="Freeform: Shape 3956">
              <a:extLst>
                <a:ext uri="{FF2B5EF4-FFF2-40B4-BE49-F238E27FC236}">
                  <a16:creationId xmlns:a16="http://schemas.microsoft.com/office/drawing/2014/main" id="{EE2049BA-7F17-437D-BC93-4240B92092C7}"/>
                </a:ext>
              </a:extLst>
            </p:cNvPr>
            <p:cNvSpPr/>
            <p:nvPr/>
          </p:nvSpPr>
          <p:spPr>
            <a:xfrm>
              <a:off x="1401521"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58" name="Freeform: Shape 3957">
              <a:extLst>
                <a:ext uri="{FF2B5EF4-FFF2-40B4-BE49-F238E27FC236}">
                  <a16:creationId xmlns:a16="http://schemas.microsoft.com/office/drawing/2014/main" id="{A0BDE9E2-1440-4AE6-9AC9-708D13E91B43}"/>
                </a:ext>
              </a:extLst>
            </p:cNvPr>
            <p:cNvSpPr/>
            <p:nvPr/>
          </p:nvSpPr>
          <p:spPr>
            <a:xfrm>
              <a:off x="1401521"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59" name="Freeform: Shape 3958">
              <a:extLst>
                <a:ext uri="{FF2B5EF4-FFF2-40B4-BE49-F238E27FC236}">
                  <a16:creationId xmlns:a16="http://schemas.microsoft.com/office/drawing/2014/main" id="{5EDB09D3-EA5C-4585-BAFB-68BA3EF8288F}"/>
                </a:ext>
              </a:extLst>
            </p:cNvPr>
            <p:cNvSpPr/>
            <p:nvPr/>
          </p:nvSpPr>
          <p:spPr>
            <a:xfrm>
              <a:off x="1388088"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76123 w 111945"/>
                <a:gd name="connsiteY5" fmla="*/ 124931 h 120901"/>
                <a:gd name="connsiteX6" fmla="*/ 78362 w 111945"/>
                <a:gd name="connsiteY6" fmla="*/ 122692 h 120901"/>
                <a:gd name="connsiteX7" fmla="*/ 76123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77466 w 111945"/>
                <a:gd name="connsiteY11" fmla="*/ 84631 h 120901"/>
                <a:gd name="connsiteX12" fmla="*/ 79705 w 111945"/>
                <a:gd name="connsiteY12" fmla="*/ 82392 h 120901"/>
                <a:gd name="connsiteX13" fmla="*/ 77466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68958 h 120901"/>
                <a:gd name="connsiteX18" fmla="*/ 109707 w 111945"/>
                <a:gd name="connsiteY18" fmla="*/ 71197 h 120901"/>
                <a:gd name="connsiteX19" fmla="*/ 111945 w 111945"/>
                <a:gd name="connsiteY19" fmla="*/ 68958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40300 h 120901"/>
                <a:gd name="connsiteX28" fmla="*/ 4478 w 111945"/>
                <a:gd name="connsiteY28" fmla="*/ 4030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76123" y="124931"/>
                  </a:lnTo>
                  <a:cubicBezTo>
                    <a:pt x="77466" y="124931"/>
                    <a:pt x="78362" y="124035"/>
                    <a:pt x="78362" y="122692"/>
                  </a:cubicBezTo>
                  <a:cubicBezTo>
                    <a:pt x="78362" y="121349"/>
                    <a:pt x="77466" y="120453"/>
                    <a:pt x="76123" y="120453"/>
                  </a:cubicBezTo>
                  <a:lnTo>
                    <a:pt x="12986" y="120453"/>
                  </a:lnTo>
                  <a:cubicBezTo>
                    <a:pt x="8508" y="120453"/>
                    <a:pt x="4478" y="116871"/>
                    <a:pt x="4478" y="112393"/>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40300"/>
                  </a:lnTo>
                  <a:lnTo>
                    <a:pt x="4478" y="40300"/>
                  </a:lnTo>
                  <a:close/>
                </a:path>
              </a:pathLst>
            </a:custGeom>
            <a:solidFill>
              <a:srgbClr val="231F20"/>
            </a:solidFill>
            <a:ln w="4474" cap="flat">
              <a:noFill/>
              <a:prstDash val="solid"/>
              <a:miter/>
            </a:ln>
          </p:spPr>
          <p:txBody>
            <a:bodyPr rtlCol="0" anchor="ctr"/>
            <a:lstStyle/>
            <a:p>
              <a:endParaRPr lang="en-US"/>
            </a:p>
          </p:txBody>
        </p:sp>
        <p:sp>
          <p:nvSpPr>
            <p:cNvPr id="3960" name="Freeform: Shape 3959">
              <a:extLst>
                <a:ext uri="{FF2B5EF4-FFF2-40B4-BE49-F238E27FC236}">
                  <a16:creationId xmlns:a16="http://schemas.microsoft.com/office/drawing/2014/main" id="{F9920B26-EB9C-4DA3-9F26-F0361F4B5696}"/>
                </a:ext>
              </a:extLst>
            </p:cNvPr>
            <p:cNvSpPr/>
            <p:nvPr/>
          </p:nvSpPr>
          <p:spPr>
            <a:xfrm>
              <a:off x="1471823" y="2976267"/>
              <a:ext cx="40300" cy="49256"/>
            </a:xfrm>
            <a:custGeom>
              <a:avLst/>
              <a:gdLst>
                <a:gd name="connsiteX0" fmla="*/ 20150 w 40300"/>
                <a:gd name="connsiteY0" fmla="*/ 9627 h 49255"/>
                <a:gd name="connsiteX1" fmla="*/ 14777 w 40300"/>
                <a:gd name="connsiteY1" fmla="*/ 9627 h 49255"/>
                <a:gd name="connsiteX2" fmla="*/ 20598 w 40300"/>
                <a:gd name="connsiteY2" fmla="*/ 3806 h 49255"/>
                <a:gd name="connsiteX3" fmla="*/ 20598 w 40300"/>
                <a:gd name="connsiteY3" fmla="*/ 672 h 49255"/>
                <a:gd name="connsiteX4" fmla="*/ 17463 w 40300"/>
                <a:gd name="connsiteY4" fmla="*/ 672 h 49255"/>
                <a:gd name="connsiteX5" fmla="*/ 8060 w 40300"/>
                <a:gd name="connsiteY5" fmla="*/ 10075 h 49255"/>
                <a:gd name="connsiteX6" fmla="*/ 8060 w 40300"/>
                <a:gd name="connsiteY6" fmla="*/ 13210 h 49255"/>
                <a:gd name="connsiteX7" fmla="*/ 17463 w 40300"/>
                <a:gd name="connsiteY7" fmla="*/ 22613 h 49255"/>
                <a:gd name="connsiteX8" fmla="*/ 19255 w 40300"/>
                <a:gd name="connsiteY8" fmla="*/ 23061 h 49255"/>
                <a:gd name="connsiteX9" fmla="*/ 21046 w 40300"/>
                <a:gd name="connsiteY9" fmla="*/ 22613 h 49255"/>
                <a:gd name="connsiteX10" fmla="*/ 21046 w 40300"/>
                <a:gd name="connsiteY10" fmla="*/ 19478 h 49255"/>
                <a:gd name="connsiteX11" fmla="*/ 15672 w 40300"/>
                <a:gd name="connsiteY11" fmla="*/ 14105 h 49255"/>
                <a:gd name="connsiteX12" fmla="*/ 21046 w 40300"/>
                <a:gd name="connsiteY12" fmla="*/ 14105 h 49255"/>
                <a:gd name="connsiteX13" fmla="*/ 37614 w 40300"/>
                <a:gd name="connsiteY13" fmla="*/ 30673 h 49255"/>
                <a:gd name="connsiteX14" fmla="*/ 21046 w 40300"/>
                <a:gd name="connsiteY14" fmla="*/ 47241 h 49255"/>
                <a:gd name="connsiteX15" fmla="*/ 4478 w 40300"/>
                <a:gd name="connsiteY15" fmla="*/ 30673 h 49255"/>
                <a:gd name="connsiteX16" fmla="*/ 2239 w 40300"/>
                <a:gd name="connsiteY16" fmla="*/ 28434 h 49255"/>
                <a:gd name="connsiteX17" fmla="*/ 0 w 40300"/>
                <a:gd name="connsiteY17" fmla="*/ 30673 h 49255"/>
                <a:gd name="connsiteX18" fmla="*/ 21046 w 40300"/>
                <a:gd name="connsiteY18" fmla="*/ 51719 h 49255"/>
                <a:gd name="connsiteX19" fmla="*/ 42091 w 40300"/>
                <a:gd name="connsiteY19" fmla="*/ 30673 h 49255"/>
                <a:gd name="connsiteX20" fmla="*/ 20150 w 40300"/>
                <a:gd name="connsiteY20" fmla="*/ 9627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00" h="49255">
                  <a:moveTo>
                    <a:pt x="20150" y="9627"/>
                  </a:moveTo>
                  <a:lnTo>
                    <a:pt x="14777" y="9627"/>
                  </a:lnTo>
                  <a:lnTo>
                    <a:pt x="20598" y="3806"/>
                  </a:lnTo>
                  <a:cubicBezTo>
                    <a:pt x="21494" y="2911"/>
                    <a:pt x="21494" y="1567"/>
                    <a:pt x="20598" y="672"/>
                  </a:cubicBezTo>
                  <a:cubicBezTo>
                    <a:pt x="19702" y="-224"/>
                    <a:pt x="18359" y="-224"/>
                    <a:pt x="17463" y="672"/>
                  </a:cubicBezTo>
                  <a:lnTo>
                    <a:pt x="8060" y="10075"/>
                  </a:lnTo>
                  <a:cubicBezTo>
                    <a:pt x="7164" y="10971"/>
                    <a:pt x="7164" y="12314"/>
                    <a:pt x="8060" y="13210"/>
                  </a:cubicBezTo>
                  <a:lnTo>
                    <a:pt x="17463" y="22613"/>
                  </a:lnTo>
                  <a:cubicBezTo>
                    <a:pt x="17911" y="23061"/>
                    <a:pt x="18359" y="23061"/>
                    <a:pt x="19255" y="23061"/>
                  </a:cubicBezTo>
                  <a:cubicBezTo>
                    <a:pt x="20150" y="23061"/>
                    <a:pt x="20598" y="23061"/>
                    <a:pt x="21046" y="22613"/>
                  </a:cubicBezTo>
                  <a:cubicBezTo>
                    <a:pt x="21941" y="21717"/>
                    <a:pt x="21941" y="20374"/>
                    <a:pt x="21046" y="19478"/>
                  </a:cubicBezTo>
                  <a:lnTo>
                    <a:pt x="15672" y="14105"/>
                  </a:lnTo>
                  <a:lnTo>
                    <a:pt x="21046" y="14105"/>
                  </a:lnTo>
                  <a:cubicBezTo>
                    <a:pt x="30001" y="14105"/>
                    <a:pt x="37614" y="21717"/>
                    <a:pt x="37614" y="30673"/>
                  </a:cubicBezTo>
                  <a:cubicBezTo>
                    <a:pt x="37614" y="39629"/>
                    <a:pt x="30001" y="47241"/>
                    <a:pt x="21046" y="47241"/>
                  </a:cubicBezTo>
                  <a:cubicBezTo>
                    <a:pt x="12090" y="47241"/>
                    <a:pt x="4478" y="39629"/>
                    <a:pt x="4478" y="30673"/>
                  </a:cubicBezTo>
                  <a:cubicBezTo>
                    <a:pt x="4478" y="29330"/>
                    <a:pt x="3582" y="28434"/>
                    <a:pt x="2239" y="28434"/>
                  </a:cubicBezTo>
                  <a:cubicBezTo>
                    <a:pt x="896" y="28434"/>
                    <a:pt x="0" y="29330"/>
                    <a:pt x="0" y="30673"/>
                  </a:cubicBezTo>
                  <a:cubicBezTo>
                    <a:pt x="0" y="42315"/>
                    <a:pt x="9403" y="51719"/>
                    <a:pt x="21046" y="51719"/>
                  </a:cubicBezTo>
                  <a:cubicBezTo>
                    <a:pt x="32688" y="51719"/>
                    <a:pt x="42091" y="42315"/>
                    <a:pt x="42091" y="30673"/>
                  </a:cubicBezTo>
                  <a:cubicBezTo>
                    <a:pt x="42091" y="19031"/>
                    <a:pt x="31792" y="9627"/>
                    <a:pt x="20150" y="9627"/>
                  </a:cubicBezTo>
                  <a:close/>
                </a:path>
              </a:pathLst>
            </a:custGeom>
            <a:solidFill>
              <a:srgbClr val="231F20"/>
            </a:solidFill>
            <a:ln w="4474" cap="flat">
              <a:noFill/>
              <a:prstDash val="solid"/>
              <a:miter/>
            </a:ln>
          </p:spPr>
          <p:txBody>
            <a:bodyPr rtlCol="0" anchor="ctr"/>
            <a:lstStyle/>
            <a:p>
              <a:endParaRPr lang="en-US"/>
            </a:p>
          </p:txBody>
        </p:sp>
      </p:grpSp>
      <p:grpSp>
        <p:nvGrpSpPr>
          <p:cNvPr id="3961" name="Group 3960">
            <a:extLst>
              <a:ext uri="{FF2B5EF4-FFF2-40B4-BE49-F238E27FC236}">
                <a16:creationId xmlns:a16="http://schemas.microsoft.com/office/drawing/2014/main" id="{25C18499-CCC9-48F5-ACBD-D1D34F57819C}"/>
              </a:ext>
              <a:ext uri="{C183D7F6-B498-43B3-948B-1728B52AA6E4}">
                <adec:decorative xmlns:adec="http://schemas.microsoft.com/office/drawing/2017/decorative" val="1"/>
              </a:ext>
            </a:extLst>
          </p:cNvPr>
          <p:cNvGrpSpPr>
            <a:grpSpLocks noChangeAspect="1"/>
          </p:cNvGrpSpPr>
          <p:nvPr/>
        </p:nvGrpSpPr>
        <p:grpSpPr>
          <a:xfrm>
            <a:off x="1877060" y="3638046"/>
            <a:ext cx="125379" cy="123140"/>
            <a:chOff x="1917814" y="2902607"/>
            <a:chExt cx="125379" cy="123140"/>
          </a:xfrm>
        </p:grpSpPr>
        <p:sp>
          <p:nvSpPr>
            <p:cNvPr id="3962" name="Freeform: Shape 3961">
              <a:extLst>
                <a:ext uri="{FF2B5EF4-FFF2-40B4-BE49-F238E27FC236}">
                  <a16:creationId xmlns:a16="http://schemas.microsoft.com/office/drawing/2014/main" id="{D87BCA0F-FEFC-4AB1-90AF-77B6A1194631}"/>
                </a:ext>
              </a:extLst>
            </p:cNvPr>
            <p:cNvSpPr/>
            <p:nvPr/>
          </p:nvSpPr>
          <p:spPr>
            <a:xfrm>
              <a:off x="1931247"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63" name="Freeform: Shape 3962">
              <a:extLst>
                <a:ext uri="{FF2B5EF4-FFF2-40B4-BE49-F238E27FC236}">
                  <a16:creationId xmlns:a16="http://schemas.microsoft.com/office/drawing/2014/main" id="{399815B7-64A7-4644-9206-CA75351FF039}"/>
                </a:ext>
              </a:extLst>
            </p:cNvPr>
            <p:cNvSpPr/>
            <p:nvPr/>
          </p:nvSpPr>
          <p:spPr>
            <a:xfrm>
              <a:off x="1931247"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64" name="Freeform: Shape 3963">
              <a:extLst>
                <a:ext uri="{FF2B5EF4-FFF2-40B4-BE49-F238E27FC236}">
                  <a16:creationId xmlns:a16="http://schemas.microsoft.com/office/drawing/2014/main" id="{B0EA8DEE-7A3F-4B95-A7A3-9BE41A274166}"/>
                </a:ext>
              </a:extLst>
            </p:cNvPr>
            <p:cNvSpPr/>
            <p:nvPr/>
          </p:nvSpPr>
          <p:spPr>
            <a:xfrm>
              <a:off x="1931247"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3965" name="Freeform: Shape 3964">
              <a:extLst>
                <a:ext uri="{FF2B5EF4-FFF2-40B4-BE49-F238E27FC236}">
                  <a16:creationId xmlns:a16="http://schemas.microsoft.com/office/drawing/2014/main" id="{41D6AF45-73B5-4AF5-894F-E63C378F8F2F}"/>
                </a:ext>
              </a:extLst>
            </p:cNvPr>
            <p:cNvSpPr/>
            <p:nvPr/>
          </p:nvSpPr>
          <p:spPr>
            <a:xfrm>
              <a:off x="1917814"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69406 w 111945"/>
                <a:gd name="connsiteY5" fmla="*/ 124931 h 120901"/>
                <a:gd name="connsiteX6" fmla="*/ 71645 w 111945"/>
                <a:gd name="connsiteY6" fmla="*/ 122692 h 120901"/>
                <a:gd name="connsiteX7" fmla="*/ 69406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77466 w 111945"/>
                <a:gd name="connsiteY11" fmla="*/ 84631 h 120901"/>
                <a:gd name="connsiteX12" fmla="*/ 79705 w 111945"/>
                <a:gd name="connsiteY12" fmla="*/ 82392 h 120901"/>
                <a:gd name="connsiteX13" fmla="*/ 77466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68958 h 120901"/>
                <a:gd name="connsiteX18" fmla="*/ 109707 w 111945"/>
                <a:gd name="connsiteY18" fmla="*/ 71197 h 120901"/>
                <a:gd name="connsiteX19" fmla="*/ 111945 w 111945"/>
                <a:gd name="connsiteY19" fmla="*/ 68958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39853 h 120901"/>
                <a:gd name="connsiteX28" fmla="*/ 4478 w 111945"/>
                <a:gd name="connsiteY28"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69406" y="124931"/>
                  </a:lnTo>
                  <a:cubicBezTo>
                    <a:pt x="70750" y="124931"/>
                    <a:pt x="71645" y="124035"/>
                    <a:pt x="71645" y="122692"/>
                  </a:cubicBezTo>
                  <a:cubicBezTo>
                    <a:pt x="71645" y="121349"/>
                    <a:pt x="70750" y="120453"/>
                    <a:pt x="69406" y="120453"/>
                  </a:cubicBezTo>
                  <a:lnTo>
                    <a:pt x="12986" y="120453"/>
                  </a:lnTo>
                  <a:cubicBezTo>
                    <a:pt x="8508" y="120453"/>
                    <a:pt x="4478" y="116871"/>
                    <a:pt x="4478" y="112393"/>
                  </a:cubicBezTo>
                  <a:lnTo>
                    <a:pt x="4478" y="84631"/>
                  </a:lnTo>
                  <a:lnTo>
                    <a:pt x="77466" y="84631"/>
                  </a:lnTo>
                  <a:cubicBezTo>
                    <a:pt x="78810" y="84631"/>
                    <a:pt x="79705" y="83735"/>
                    <a:pt x="79705" y="82392"/>
                  </a:cubicBezTo>
                  <a:cubicBezTo>
                    <a:pt x="79705" y="81048"/>
                    <a:pt x="78810" y="80153"/>
                    <a:pt x="7746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sp>
          <p:nvSpPr>
            <p:cNvPr id="3966" name="Freeform: Shape 3965">
              <a:extLst>
                <a:ext uri="{FF2B5EF4-FFF2-40B4-BE49-F238E27FC236}">
                  <a16:creationId xmlns:a16="http://schemas.microsoft.com/office/drawing/2014/main" id="{4FABD0B1-58CE-424D-B952-3B9A3755E7D1}"/>
                </a:ext>
              </a:extLst>
            </p:cNvPr>
            <p:cNvSpPr/>
            <p:nvPr/>
          </p:nvSpPr>
          <p:spPr>
            <a:xfrm>
              <a:off x="1998415" y="2980969"/>
              <a:ext cx="44778" cy="44778"/>
            </a:xfrm>
            <a:custGeom>
              <a:avLst/>
              <a:gdLst>
                <a:gd name="connsiteX0" fmla="*/ 42539 w 44778"/>
                <a:gd name="connsiteY0" fmla="*/ 15672 h 44778"/>
                <a:gd name="connsiteX1" fmla="*/ 35375 w 44778"/>
                <a:gd name="connsiteY1" fmla="*/ 15672 h 44778"/>
                <a:gd name="connsiteX2" fmla="*/ 35375 w 44778"/>
                <a:gd name="connsiteY2" fmla="*/ 12986 h 44778"/>
                <a:gd name="connsiteX3" fmla="*/ 22389 w 44778"/>
                <a:gd name="connsiteY3" fmla="*/ 0 h 44778"/>
                <a:gd name="connsiteX4" fmla="*/ 9403 w 44778"/>
                <a:gd name="connsiteY4" fmla="*/ 12986 h 44778"/>
                <a:gd name="connsiteX5" fmla="*/ 9403 w 44778"/>
                <a:gd name="connsiteY5" fmla="*/ 15672 h 44778"/>
                <a:gd name="connsiteX6" fmla="*/ 2239 w 44778"/>
                <a:gd name="connsiteY6" fmla="*/ 15672 h 44778"/>
                <a:gd name="connsiteX7" fmla="*/ 0 w 44778"/>
                <a:gd name="connsiteY7" fmla="*/ 17911 h 44778"/>
                <a:gd name="connsiteX8" fmla="*/ 0 w 44778"/>
                <a:gd name="connsiteY8" fmla="*/ 44778 h 44778"/>
                <a:gd name="connsiteX9" fmla="*/ 2239 w 44778"/>
                <a:gd name="connsiteY9" fmla="*/ 47017 h 44778"/>
                <a:gd name="connsiteX10" fmla="*/ 42539 w 44778"/>
                <a:gd name="connsiteY10" fmla="*/ 47017 h 44778"/>
                <a:gd name="connsiteX11" fmla="*/ 44778 w 44778"/>
                <a:gd name="connsiteY11" fmla="*/ 44778 h 44778"/>
                <a:gd name="connsiteX12" fmla="*/ 44778 w 44778"/>
                <a:gd name="connsiteY12" fmla="*/ 17911 h 44778"/>
                <a:gd name="connsiteX13" fmla="*/ 42539 w 44778"/>
                <a:gd name="connsiteY13" fmla="*/ 15672 h 44778"/>
                <a:gd name="connsiteX14" fmla="*/ 13881 w 44778"/>
                <a:gd name="connsiteY14" fmla="*/ 12538 h 44778"/>
                <a:gd name="connsiteX15" fmla="*/ 22389 w 44778"/>
                <a:gd name="connsiteY15" fmla="*/ 4030 h 44778"/>
                <a:gd name="connsiteX16" fmla="*/ 30897 w 44778"/>
                <a:gd name="connsiteY16" fmla="*/ 12538 h 44778"/>
                <a:gd name="connsiteX17" fmla="*/ 30897 w 44778"/>
                <a:gd name="connsiteY17" fmla="*/ 15225 h 44778"/>
                <a:gd name="connsiteX18" fmla="*/ 13881 w 44778"/>
                <a:gd name="connsiteY18" fmla="*/ 15225 h 44778"/>
                <a:gd name="connsiteX19" fmla="*/ 13881 w 44778"/>
                <a:gd name="connsiteY19" fmla="*/ 12538 h 44778"/>
                <a:gd name="connsiteX20" fmla="*/ 40300 w 44778"/>
                <a:gd name="connsiteY20" fmla="*/ 42539 h 44778"/>
                <a:gd name="connsiteX21" fmla="*/ 4478 w 44778"/>
                <a:gd name="connsiteY21" fmla="*/ 42539 h 44778"/>
                <a:gd name="connsiteX22" fmla="*/ 4478 w 44778"/>
                <a:gd name="connsiteY22" fmla="*/ 20150 h 44778"/>
                <a:gd name="connsiteX23" fmla="*/ 40300 w 44778"/>
                <a:gd name="connsiteY23" fmla="*/ 20150 h 44778"/>
                <a:gd name="connsiteX24" fmla="*/ 40300 w 44778"/>
                <a:gd name="connsiteY24" fmla="*/ 42539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78" h="44778">
                  <a:moveTo>
                    <a:pt x="42539" y="15672"/>
                  </a:moveTo>
                  <a:lnTo>
                    <a:pt x="35375" y="15672"/>
                  </a:lnTo>
                  <a:lnTo>
                    <a:pt x="35375" y="12986"/>
                  </a:lnTo>
                  <a:cubicBezTo>
                    <a:pt x="35375" y="5821"/>
                    <a:pt x="29554" y="0"/>
                    <a:pt x="22389" y="0"/>
                  </a:cubicBezTo>
                  <a:cubicBezTo>
                    <a:pt x="15225" y="0"/>
                    <a:pt x="9403" y="5821"/>
                    <a:pt x="9403" y="12986"/>
                  </a:cubicBezTo>
                  <a:lnTo>
                    <a:pt x="9403" y="15672"/>
                  </a:lnTo>
                  <a:lnTo>
                    <a:pt x="2239" y="15672"/>
                  </a:lnTo>
                  <a:cubicBezTo>
                    <a:pt x="896" y="15672"/>
                    <a:pt x="0" y="16568"/>
                    <a:pt x="0" y="17911"/>
                  </a:cubicBezTo>
                  <a:lnTo>
                    <a:pt x="0" y="44778"/>
                  </a:lnTo>
                  <a:cubicBezTo>
                    <a:pt x="0" y="46121"/>
                    <a:pt x="896" y="47017"/>
                    <a:pt x="2239" y="47017"/>
                  </a:cubicBezTo>
                  <a:lnTo>
                    <a:pt x="42539" y="47017"/>
                  </a:lnTo>
                  <a:cubicBezTo>
                    <a:pt x="43883" y="47017"/>
                    <a:pt x="44778" y="46121"/>
                    <a:pt x="44778" y="44778"/>
                  </a:cubicBezTo>
                  <a:lnTo>
                    <a:pt x="44778" y="17911"/>
                  </a:lnTo>
                  <a:cubicBezTo>
                    <a:pt x="44778" y="16568"/>
                    <a:pt x="43435" y="15672"/>
                    <a:pt x="42539" y="15672"/>
                  </a:cubicBezTo>
                  <a:close/>
                  <a:moveTo>
                    <a:pt x="13881" y="12538"/>
                  </a:moveTo>
                  <a:cubicBezTo>
                    <a:pt x="13881" y="8060"/>
                    <a:pt x="17463" y="4030"/>
                    <a:pt x="22389" y="4030"/>
                  </a:cubicBezTo>
                  <a:cubicBezTo>
                    <a:pt x="26867" y="4030"/>
                    <a:pt x="30897" y="7612"/>
                    <a:pt x="30897" y="12538"/>
                  </a:cubicBezTo>
                  <a:lnTo>
                    <a:pt x="30897" y="15225"/>
                  </a:lnTo>
                  <a:lnTo>
                    <a:pt x="13881" y="15225"/>
                  </a:lnTo>
                  <a:lnTo>
                    <a:pt x="13881" y="12538"/>
                  </a:lnTo>
                  <a:close/>
                  <a:moveTo>
                    <a:pt x="40300" y="42539"/>
                  </a:moveTo>
                  <a:lnTo>
                    <a:pt x="4478" y="42539"/>
                  </a:lnTo>
                  <a:lnTo>
                    <a:pt x="4478" y="20150"/>
                  </a:lnTo>
                  <a:lnTo>
                    <a:pt x="40300" y="20150"/>
                  </a:lnTo>
                  <a:lnTo>
                    <a:pt x="40300" y="42539"/>
                  </a:lnTo>
                  <a:close/>
                </a:path>
              </a:pathLst>
            </a:custGeom>
            <a:solidFill>
              <a:srgbClr val="231F20"/>
            </a:solidFill>
            <a:ln w="4474" cap="flat">
              <a:noFill/>
              <a:prstDash val="solid"/>
              <a:miter/>
            </a:ln>
          </p:spPr>
          <p:txBody>
            <a:bodyPr rtlCol="0" anchor="ctr"/>
            <a:lstStyle/>
            <a:p>
              <a:endParaRPr lang="en-US"/>
            </a:p>
          </p:txBody>
        </p:sp>
      </p:grpSp>
      <p:sp>
        <p:nvSpPr>
          <p:cNvPr id="3967" name="Freeform: Shape 3966">
            <a:extLst>
              <a:ext uri="{FF2B5EF4-FFF2-40B4-BE49-F238E27FC236}">
                <a16:creationId xmlns:a16="http://schemas.microsoft.com/office/drawing/2014/main" id="{498774CF-DD0D-4824-9E84-D52B596F4AEA}"/>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alpha val="10000"/>
            </a:srgbClr>
          </a:solidFill>
          <a:ln w="4474" cap="flat">
            <a:noFill/>
            <a:prstDash val="solid"/>
            <a:miter/>
          </a:ln>
        </p:spPr>
        <p:txBody>
          <a:bodyPr rtlCol="0" anchor="ctr"/>
          <a:lstStyle/>
          <a:p>
            <a:endParaRPr lang="en-US"/>
          </a:p>
        </p:txBody>
      </p:sp>
      <p:grpSp>
        <p:nvGrpSpPr>
          <p:cNvPr id="3968" name="Group 3967">
            <a:extLst>
              <a:ext uri="{FF2B5EF4-FFF2-40B4-BE49-F238E27FC236}">
                <a16:creationId xmlns:a16="http://schemas.microsoft.com/office/drawing/2014/main" id="{36C0BD25-3F37-486C-B020-AA6F07E76093}"/>
              </a:ext>
              <a:ext uri="{C183D7F6-B498-43B3-948B-1728B52AA6E4}">
                <adec:decorative xmlns:adec="http://schemas.microsoft.com/office/drawing/2017/decorative" val="1"/>
              </a:ext>
            </a:extLst>
          </p:cNvPr>
          <p:cNvGrpSpPr>
            <a:grpSpLocks noChangeAspect="1"/>
          </p:cNvGrpSpPr>
          <p:nvPr/>
        </p:nvGrpSpPr>
        <p:grpSpPr>
          <a:xfrm>
            <a:off x="2147072" y="3638046"/>
            <a:ext cx="131928" cy="128626"/>
            <a:chOff x="2187826" y="2902607"/>
            <a:chExt cx="131928" cy="128626"/>
          </a:xfrm>
        </p:grpSpPr>
        <p:sp>
          <p:nvSpPr>
            <p:cNvPr id="3969" name="Freeform: Shape 3968">
              <a:extLst>
                <a:ext uri="{FF2B5EF4-FFF2-40B4-BE49-F238E27FC236}">
                  <a16:creationId xmlns:a16="http://schemas.microsoft.com/office/drawing/2014/main" id="{4BA39BF9-4366-478A-8490-942A7C2BFE56}"/>
                </a:ext>
              </a:extLst>
            </p:cNvPr>
            <p:cNvSpPr/>
            <p:nvPr/>
          </p:nvSpPr>
          <p:spPr>
            <a:xfrm>
              <a:off x="2201260"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0" name="Freeform: Shape 3969">
              <a:extLst>
                <a:ext uri="{FF2B5EF4-FFF2-40B4-BE49-F238E27FC236}">
                  <a16:creationId xmlns:a16="http://schemas.microsoft.com/office/drawing/2014/main" id="{982CD18C-0853-4007-89B3-0C2F0E5DDEA9}"/>
                </a:ext>
              </a:extLst>
            </p:cNvPr>
            <p:cNvSpPr/>
            <p:nvPr/>
          </p:nvSpPr>
          <p:spPr>
            <a:xfrm>
              <a:off x="2201260"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1" name="Freeform: Shape 3970">
              <a:extLst>
                <a:ext uri="{FF2B5EF4-FFF2-40B4-BE49-F238E27FC236}">
                  <a16:creationId xmlns:a16="http://schemas.microsoft.com/office/drawing/2014/main" id="{30223EEC-16BB-4F9D-8B6D-2E0398E68DAB}"/>
                </a:ext>
              </a:extLst>
            </p:cNvPr>
            <p:cNvSpPr/>
            <p:nvPr/>
          </p:nvSpPr>
          <p:spPr>
            <a:xfrm>
              <a:off x="2201260"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2" name="Freeform: Shape 3971">
              <a:extLst>
                <a:ext uri="{FF2B5EF4-FFF2-40B4-BE49-F238E27FC236}">
                  <a16:creationId xmlns:a16="http://schemas.microsoft.com/office/drawing/2014/main" id="{62F4EE43-499E-4956-8E7A-28B67B6064AD}"/>
                </a:ext>
              </a:extLst>
            </p:cNvPr>
            <p:cNvSpPr/>
            <p:nvPr/>
          </p:nvSpPr>
          <p:spPr>
            <a:xfrm>
              <a:off x="2187826"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69406 w 111945"/>
                <a:gd name="connsiteY5" fmla="*/ 124931 h 120901"/>
                <a:gd name="connsiteX6" fmla="*/ 71645 w 111945"/>
                <a:gd name="connsiteY6" fmla="*/ 122692 h 120901"/>
                <a:gd name="connsiteX7" fmla="*/ 69406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77466 w 111945"/>
                <a:gd name="connsiteY11" fmla="*/ 84631 h 120901"/>
                <a:gd name="connsiteX12" fmla="*/ 79705 w 111945"/>
                <a:gd name="connsiteY12" fmla="*/ 82392 h 120901"/>
                <a:gd name="connsiteX13" fmla="*/ 77466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68958 h 120901"/>
                <a:gd name="connsiteX18" fmla="*/ 109707 w 111945"/>
                <a:gd name="connsiteY18" fmla="*/ 71197 h 120901"/>
                <a:gd name="connsiteX19" fmla="*/ 111945 w 111945"/>
                <a:gd name="connsiteY19" fmla="*/ 68958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39853 h 120901"/>
                <a:gd name="connsiteX28" fmla="*/ 4478 w 111945"/>
                <a:gd name="connsiteY28"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69406" y="124931"/>
                  </a:lnTo>
                  <a:cubicBezTo>
                    <a:pt x="70749" y="124931"/>
                    <a:pt x="71645" y="124035"/>
                    <a:pt x="71645" y="122692"/>
                  </a:cubicBezTo>
                  <a:cubicBezTo>
                    <a:pt x="71645" y="121349"/>
                    <a:pt x="70749" y="120453"/>
                    <a:pt x="69406" y="120453"/>
                  </a:cubicBezTo>
                  <a:lnTo>
                    <a:pt x="12986" y="120453"/>
                  </a:lnTo>
                  <a:cubicBezTo>
                    <a:pt x="8508" y="120453"/>
                    <a:pt x="4478" y="116871"/>
                    <a:pt x="4478" y="112393"/>
                  </a:cubicBezTo>
                  <a:lnTo>
                    <a:pt x="4478" y="84631"/>
                  </a:lnTo>
                  <a:lnTo>
                    <a:pt x="77466" y="84631"/>
                  </a:lnTo>
                  <a:cubicBezTo>
                    <a:pt x="78809" y="84631"/>
                    <a:pt x="79705" y="83735"/>
                    <a:pt x="79705" y="82392"/>
                  </a:cubicBezTo>
                  <a:cubicBezTo>
                    <a:pt x="79705" y="81048"/>
                    <a:pt x="78809" y="80153"/>
                    <a:pt x="7746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7"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sp>
          <p:nvSpPr>
            <p:cNvPr id="3973" name="Freeform: Shape 3972">
              <a:extLst>
                <a:ext uri="{FF2B5EF4-FFF2-40B4-BE49-F238E27FC236}">
                  <a16:creationId xmlns:a16="http://schemas.microsoft.com/office/drawing/2014/main" id="{A5DEDEA0-E3AE-478F-B083-470E40CD701D}"/>
                </a:ext>
              </a:extLst>
            </p:cNvPr>
            <p:cNvSpPr/>
            <p:nvPr/>
          </p:nvSpPr>
          <p:spPr>
            <a:xfrm>
              <a:off x="2279454" y="2995410"/>
              <a:ext cx="40300" cy="35823"/>
            </a:xfrm>
            <a:custGeom>
              <a:avLst/>
              <a:gdLst>
                <a:gd name="connsiteX0" fmla="*/ 42707 w 40300"/>
                <a:gd name="connsiteY0" fmla="*/ 10187 h 35822"/>
                <a:gd name="connsiteX1" fmla="*/ 33304 w 40300"/>
                <a:gd name="connsiteY1" fmla="*/ 784 h 35822"/>
                <a:gd name="connsiteX2" fmla="*/ 32408 w 40300"/>
                <a:gd name="connsiteY2" fmla="*/ 336 h 35822"/>
                <a:gd name="connsiteX3" fmla="*/ 30617 w 40300"/>
                <a:gd name="connsiteY3" fmla="*/ 336 h 35822"/>
                <a:gd name="connsiteX4" fmla="*/ 29721 w 40300"/>
                <a:gd name="connsiteY4" fmla="*/ 784 h 35822"/>
                <a:gd name="connsiteX5" fmla="*/ 20318 w 40300"/>
                <a:gd name="connsiteY5" fmla="*/ 10187 h 35822"/>
                <a:gd name="connsiteX6" fmla="*/ 20318 w 40300"/>
                <a:gd name="connsiteY6" fmla="*/ 13321 h 35822"/>
                <a:gd name="connsiteX7" fmla="*/ 22109 w 40300"/>
                <a:gd name="connsiteY7" fmla="*/ 13769 h 35822"/>
                <a:gd name="connsiteX8" fmla="*/ 23900 w 40300"/>
                <a:gd name="connsiteY8" fmla="*/ 13321 h 35822"/>
                <a:gd name="connsiteX9" fmla="*/ 29274 w 40300"/>
                <a:gd name="connsiteY9" fmla="*/ 7948 h 35822"/>
                <a:gd name="connsiteX10" fmla="*/ 29274 w 40300"/>
                <a:gd name="connsiteY10" fmla="*/ 12874 h 35822"/>
                <a:gd name="connsiteX11" fmla="*/ 10467 w 40300"/>
                <a:gd name="connsiteY11" fmla="*/ 31681 h 35822"/>
                <a:gd name="connsiteX12" fmla="*/ 3302 w 40300"/>
                <a:gd name="connsiteY12" fmla="*/ 30337 h 35822"/>
                <a:gd name="connsiteX13" fmla="*/ 168 w 40300"/>
                <a:gd name="connsiteY13" fmla="*/ 31681 h 35822"/>
                <a:gd name="connsiteX14" fmla="*/ 1511 w 40300"/>
                <a:gd name="connsiteY14" fmla="*/ 34815 h 35822"/>
                <a:gd name="connsiteX15" fmla="*/ 10467 w 40300"/>
                <a:gd name="connsiteY15" fmla="*/ 36606 h 35822"/>
                <a:gd name="connsiteX16" fmla="*/ 33752 w 40300"/>
                <a:gd name="connsiteY16" fmla="*/ 13321 h 35822"/>
                <a:gd name="connsiteX17" fmla="*/ 33752 w 40300"/>
                <a:gd name="connsiteY17" fmla="*/ 8396 h 35822"/>
                <a:gd name="connsiteX18" fmla="*/ 39125 w 40300"/>
                <a:gd name="connsiteY18" fmla="*/ 13769 h 35822"/>
                <a:gd name="connsiteX19" fmla="*/ 42259 w 40300"/>
                <a:gd name="connsiteY19" fmla="*/ 13769 h 35822"/>
                <a:gd name="connsiteX20" fmla="*/ 42707 w 40300"/>
                <a:gd name="connsiteY20" fmla="*/ 1018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00" h="35822">
                  <a:moveTo>
                    <a:pt x="42707" y="10187"/>
                  </a:moveTo>
                  <a:lnTo>
                    <a:pt x="33304" y="784"/>
                  </a:lnTo>
                  <a:cubicBezTo>
                    <a:pt x="33304" y="784"/>
                    <a:pt x="32856" y="336"/>
                    <a:pt x="32408" y="336"/>
                  </a:cubicBezTo>
                  <a:cubicBezTo>
                    <a:pt x="31960" y="-112"/>
                    <a:pt x="31065" y="-112"/>
                    <a:pt x="30617" y="336"/>
                  </a:cubicBezTo>
                  <a:cubicBezTo>
                    <a:pt x="30169" y="336"/>
                    <a:pt x="30169" y="784"/>
                    <a:pt x="29721" y="784"/>
                  </a:cubicBezTo>
                  <a:lnTo>
                    <a:pt x="20318" y="10187"/>
                  </a:lnTo>
                  <a:cubicBezTo>
                    <a:pt x="19422" y="11083"/>
                    <a:pt x="19422" y="12426"/>
                    <a:pt x="20318" y="13321"/>
                  </a:cubicBezTo>
                  <a:cubicBezTo>
                    <a:pt x="20766" y="13769"/>
                    <a:pt x="21214" y="13769"/>
                    <a:pt x="22109" y="13769"/>
                  </a:cubicBezTo>
                  <a:cubicBezTo>
                    <a:pt x="23005" y="13769"/>
                    <a:pt x="23453" y="13769"/>
                    <a:pt x="23900" y="13321"/>
                  </a:cubicBezTo>
                  <a:lnTo>
                    <a:pt x="29274" y="7948"/>
                  </a:lnTo>
                  <a:lnTo>
                    <a:pt x="29274" y="12874"/>
                  </a:lnTo>
                  <a:cubicBezTo>
                    <a:pt x="29274" y="23173"/>
                    <a:pt x="20766" y="31681"/>
                    <a:pt x="10467" y="31681"/>
                  </a:cubicBezTo>
                  <a:cubicBezTo>
                    <a:pt x="7780" y="31681"/>
                    <a:pt x="5541" y="31233"/>
                    <a:pt x="3302" y="30337"/>
                  </a:cubicBezTo>
                  <a:cubicBezTo>
                    <a:pt x="1959" y="29889"/>
                    <a:pt x="1063" y="30337"/>
                    <a:pt x="168" y="31681"/>
                  </a:cubicBezTo>
                  <a:cubicBezTo>
                    <a:pt x="-280" y="33024"/>
                    <a:pt x="168" y="33919"/>
                    <a:pt x="1511" y="34815"/>
                  </a:cubicBezTo>
                  <a:cubicBezTo>
                    <a:pt x="4198" y="36158"/>
                    <a:pt x="7332" y="36606"/>
                    <a:pt x="10467" y="36606"/>
                  </a:cubicBezTo>
                  <a:cubicBezTo>
                    <a:pt x="23453" y="36606"/>
                    <a:pt x="33752" y="26307"/>
                    <a:pt x="33752" y="13321"/>
                  </a:cubicBezTo>
                  <a:lnTo>
                    <a:pt x="33752" y="8396"/>
                  </a:lnTo>
                  <a:lnTo>
                    <a:pt x="39125" y="13769"/>
                  </a:lnTo>
                  <a:cubicBezTo>
                    <a:pt x="40020" y="14665"/>
                    <a:pt x="41364" y="14665"/>
                    <a:pt x="42259" y="13769"/>
                  </a:cubicBezTo>
                  <a:cubicBezTo>
                    <a:pt x="43155" y="12874"/>
                    <a:pt x="43603" y="11083"/>
                    <a:pt x="42707" y="10187"/>
                  </a:cubicBezTo>
                  <a:close/>
                </a:path>
              </a:pathLst>
            </a:custGeom>
            <a:solidFill>
              <a:srgbClr val="231F20"/>
            </a:solidFill>
            <a:ln w="4474" cap="flat">
              <a:noFill/>
              <a:prstDash val="solid"/>
              <a:miter/>
            </a:ln>
          </p:spPr>
          <p:txBody>
            <a:bodyPr rtlCol="0" anchor="ctr"/>
            <a:lstStyle/>
            <a:p>
              <a:endParaRPr lang="en-US"/>
            </a:p>
          </p:txBody>
        </p:sp>
        <p:sp>
          <p:nvSpPr>
            <p:cNvPr id="3974" name="Freeform: Shape 3973">
              <a:extLst>
                <a:ext uri="{FF2B5EF4-FFF2-40B4-BE49-F238E27FC236}">
                  <a16:creationId xmlns:a16="http://schemas.microsoft.com/office/drawing/2014/main" id="{4E517578-E033-4B28-9CC7-C33ED2FF51C5}"/>
                </a:ext>
              </a:extLst>
            </p:cNvPr>
            <p:cNvSpPr/>
            <p:nvPr/>
          </p:nvSpPr>
          <p:spPr>
            <a:xfrm>
              <a:off x="2255665" y="2983208"/>
              <a:ext cx="40300" cy="35823"/>
            </a:xfrm>
            <a:custGeom>
              <a:avLst/>
              <a:gdLst>
                <a:gd name="connsiteX0" fmla="*/ 41420 w 40300"/>
                <a:gd name="connsiteY0" fmla="*/ 1791 h 35822"/>
                <a:gd name="connsiteX1" fmla="*/ 32464 w 40300"/>
                <a:gd name="connsiteY1" fmla="*/ 0 h 35822"/>
                <a:gd name="connsiteX2" fmla="*/ 9180 w 40300"/>
                <a:gd name="connsiteY2" fmla="*/ 23285 h 35822"/>
                <a:gd name="connsiteX3" fmla="*/ 9180 w 40300"/>
                <a:gd name="connsiteY3" fmla="*/ 28210 h 35822"/>
                <a:gd name="connsiteX4" fmla="*/ 3806 w 40300"/>
                <a:gd name="connsiteY4" fmla="*/ 22837 h 35822"/>
                <a:gd name="connsiteX5" fmla="*/ 672 w 40300"/>
                <a:gd name="connsiteY5" fmla="*/ 22837 h 35822"/>
                <a:gd name="connsiteX6" fmla="*/ 672 w 40300"/>
                <a:gd name="connsiteY6" fmla="*/ 25971 h 35822"/>
                <a:gd name="connsiteX7" fmla="*/ 10075 w 40300"/>
                <a:gd name="connsiteY7" fmla="*/ 35375 h 35822"/>
                <a:gd name="connsiteX8" fmla="*/ 10075 w 40300"/>
                <a:gd name="connsiteY8" fmla="*/ 35375 h 35822"/>
                <a:gd name="connsiteX9" fmla="*/ 10971 w 40300"/>
                <a:gd name="connsiteY9" fmla="*/ 35823 h 35822"/>
                <a:gd name="connsiteX10" fmla="*/ 11866 w 40300"/>
                <a:gd name="connsiteY10" fmla="*/ 35823 h 35822"/>
                <a:gd name="connsiteX11" fmla="*/ 12762 w 40300"/>
                <a:gd name="connsiteY11" fmla="*/ 35823 h 35822"/>
                <a:gd name="connsiteX12" fmla="*/ 13657 w 40300"/>
                <a:gd name="connsiteY12" fmla="*/ 35375 h 35822"/>
                <a:gd name="connsiteX13" fmla="*/ 23061 w 40300"/>
                <a:gd name="connsiteY13" fmla="*/ 25971 h 35822"/>
                <a:gd name="connsiteX14" fmla="*/ 23061 w 40300"/>
                <a:gd name="connsiteY14" fmla="*/ 22837 h 35822"/>
                <a:gd name="connsiteX15" fmla="*/ 19926 w 40300"/>
                <a:gd name="connsiteY15" fmla="*/ 22837 h 35822"/>
                <a:gd name="connsiteX16" fmla="*/ 14553 w 40300"/>
                <a:gd name="connsiteY16" fmla="*/ 28210 h 35822"/>
                <a:gd name="connsiteX17" fmla="*/ 14553 w 40300"/>
                <a:gd name="connsiteY17" fmla="*/ 23285 h 35822"/>
                <a:gd name="connsiteX18" fmla="*/ 33360 w 40300"/>
                <a:gd name="connsiteY18" fmla="*/ 4478 h 35822"/>
                <a:gd name="connsiteX19" fmla="*/ 40524 w 40300"/>
                <a:gd name="connsiteY19" fmla="*/ 5821 h 35822"/>
                <a:gd name="connsiteX20" fmla="*/ 43659 w 40300"/>
                <a:gd name="connsiteY20" fmla="*/ 4478 h 35822"/>
                <a:gd name="connsiteX21" fmla="*/ 41420 w 40300"/>
                <a:gd name="connsiteY21" fmla="*/ 1791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00" h="35822">
                  <a:moveTo>
                    <a:pt x="41420" y="1791"/>
                  </a:moveTo>
                  <a:cubicBezTo>
                    <a:pt x="38733" y="448"/>
                    <a:pt x="35599" y="0"/>
                    <a:pt x="32464" y="0"/>
                  </a:cubicBezTo>
                  <a:cubicBezTo>
                    <a:pt x="19479" y="0"/>
                    <a:pt x="9180" y="10299"/>
                    <a:pt x="9180" y="23285"/>
                  </a:cubicBezTo>
                  <a:lnTo>
                    <a:pt x="9180" y="28210"/>
                  </a:lnTo>
                  <a:lnTo>
                    <a:pt x="3806" y="22837"/>
                  </a:lnTo>
                  <a:cubicBezTo>
                    <a:pt x="2911" y="21941"/>
                    <a:pt x="1567" y="21941"/>
                    <a:pt x="672" y="22837"/>
                  </a:cubicBezTo>
                  <a:cubicBezTo>
                    <a:pt x="-224" y="23732"/>
                    <a:pt x="-224" y="25076"/>
                    <a:pt x="672" y="25971"/>
                  </a:cubicBezTo>
                  <a:lnTo>
                    <a:pt x="10075" y="35375"/>
                  </a:lnTo>
                  <a:cubicBezTo>
                    <a:pt x="10075" y="35375"/>
                    <a:pt x="10075" y="35375"/>
                    <a:pt x="10075" y="35375"/>
                  </a:cubicBezTo>
                  <a:cubicBezTo>
                    <a:pt x="10075" y="35375"/>
                    <a:pt x="10523" y="35823"/>
                    <a:pt x="10971" y="35823"/>
                  </a:cubicBezTo>
                  <a:cubicBezTo>
                    <a:pt x="11418" y="35823"/>
                    <a:pt x="11418" y="35823"/>
                    <a:pt x="11866" y="35823"/>
                  </a:cubicBezTo>
                  <a:cubicBezTo>
                    <a:pt x="12314" y="35823"/>
                    <a:pt x="12314" y="35823"/>
                    <a:pt x="12762" y="35823"/>
                  </a:cubicBezTo>
                  <a:cubicBezTo>
                    <a:pt x="13210" y="35823"/>
                    <a:pt x="13210" y="35375"/>
                    <a:pt x="13657" y="35375"/>
                  </a:cubicBezTo>
                  <a:lnTo>
                    <a:pt x="23061" y="25971"/>
                  </a:lnTo>
                  <a:cubicBezTo>
                    <a:pt x="23956" y="25076"/>
                    <a:pt x="23956" y="23732"/>
                    <a:pt x="23061" y="22837"/>
                  </a:cubicBezTo>
                  <a:cubicBezTo>
                    <a:pt x="22165" y="21941"/>
                    <a:pt x="20822" y="21941"/>
                    <a:pt x="19926" y="22837"/>
                  </a:cubicBezTo>
                  <a:lnTo>
                    <a:pt x="14553" y="28210"/>
                  </a:lnTo>
                  <a:lnTo>
                    <a:pt x="14553" y="23285"/>
                  </a:lnTo>
                  <a:cubicBezTo>
                    <a:pt x="14553" y="12986"/>
                    <a:pt x="23061" y="4478"/>
                    <a:pt x="33360" y="4478"/>
                  </a:cubicBezTo>
                  <a:cubicBezTo>
                    <a:pt x="36046" y="4478"/>
                    <a:pt x="38285" y="4925"/>
                    <a:pt x="40524" y="5821"/>
                  </a:cubicBezTo>
                  <a:cubicBezTo>
                    <a:pt x="41868" y="6269"/>
                    <a:pt x="42763" y="5821"/>
                    <a:pt x="43659" y="4478"/>
                  </a:cubicBezTo>
                  <a:cubicBezTo>
                    <a:pt x="43211" y="3582"/>
                    <a:pt x="42763" y="2239"/>
                    <a:pt x="41420" y="1791"/>
                  </a:cubicBezTo>
                  <a:close/>
                </a:path>
              </a:pathLst>
            </a:custGeom>
            <a:solidFill>
              <a:srgbClr val="231F20"/>
            </a:solidFill>
            <a:ln w="4474" cap="flat">
              <a:noFill/>
              <a:prstDash val="solid"/>
              <a:miter/>
            </a:ln>
          </p:spPr>
          <p:txBody>
            <a:bodyPr rtlCol="0" anchor="ctr"/>
            <a:lstStyle/>
            <a:p>
              <a:endParaRPr lang="en-US"/>
            </a:p>
          </p:txBody>
        </p:sp>
      </p:grpSp>
      <p:sp>
        <p:nvSpPr>
          <p:cNvPr id="3975" name="Freeform: Shape 3974">
            <a:extLst>
              <a:ext uri="{FF2B5EF4-FFF2-40B4-BE49-F238E27FC236}">
                <a16:creationId xmlns:a16="http://schemas.microsoft.com/office/drawing/2014/main" id="{A8B4FE3D-6AD7-4377-8E53-4E9C44C3DEB9}"/>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alpha val="10000"/>
            </a:srgbClr>
          </a:solidFill>
          <a:ln w="4474" cap="flat">
            <a:noFill/>
            <a:prstDash val="solid"/>
            <a:miter/>
          </a:ln>
        </p:spPr>
        <p:txBody>
          <a:bodyPr rtlCol="0" anchor="ctr"/>
          <a:lstStyle/>
          <a:p>
            <a:endParaRPr lang="en-US"/>
          </a:p>
        </p:txBody>
      </p:sp>
      <p:grpSp>
        <p:nvGrpSpPr>
          <p:cNvPr id="3976" name="Group 3975">
            <a:extLst>
              <a:ext uri="{FF2B5EF4-FFF2-40B4-BE49-F238E27FC236}">
                <a16:creationId xmlns:a16="http://schemas.microsoft.com/office/drawing/2014/main" id="{3301BAA6-E320-4EDA-AB3A-922C71430E3C}"/>
              </a:ext>
              <a:ext uri="{C183D7F6-B498-43B3-948B-1728B52AA6E4}">
                <adec:decorative xmlns:adec="http://schemas.microsoft.com/office/drawing/2017/decorative" val="1"/>
              </a:ext>
            </a:extLst>
          </p:cNvPr>
          <p:cNvGrpSpPr>
            <a:grpSpLocks noChangeAspect="1"/>
          </p:cNvGrpSpPr>
          <p:nvPr/>
        </p:nvGrpSpPr>
        <p:grpSpPr>
          <a:xfrm>
            <a:off x="2667395" y="3638046"/>
            <a:ext cx="127618" cy="125379"/>
            <a:chOff x="2708149" y="2902607"/>
            <a:chExt cx="127618" cy="125379"/>
          </a:xfrm>
        </p:grpSpPr>
        <p:sp>
          <p:nvSpPr>
            <p:cNvPr id="3977" name="Freeform: Shape 3976">
              <a:extLst>
                <a:ext uri="{FF2B5EF4-FFF2-40B4-BE49-F238E27FC236}">
                  <a16:creationId xmlns:a16="http://schemas.microsoft.com/office/drawing/2014/main" id="{8BF684FC-6D62-4525-9660-E36ADC4B15E9}"/>
                </a:ext>
              </a:extLst>
            </p:cNvPr>
            <p:cNvSpPr/>
            <p:nvPr/>
          </p:nvSpPr>
          <p:spPr>
            <a:xfrm>
              <a:off x="2721582"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8" name="Freeform: Shape 3977">
              <a:extLst>
                <a:ext uri="{FF2B5EF4-FFF2-40B4-BE49-F238E27FC236}">
                  <a16:creationId xmlns:a16="http://schemas.microsoft.com/office/drawing/2014/main" id="{95468BFF-5D0C-4ADC-B001-0B9E2FCC25C0}"/>
                </a:ext>
              </a:extLst>
            </p:cNvPr>
            <p:cNvSpPr/>
            <p:nvPr/>
          </p:nvSpPr>
          <p:spPr>
            <a:xfrm>
              <a:off x="2721582"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79" name="Freeform: Shape 3978">
              <a:extLst>
                <a:ext uri="{FF2B5EF4-FFF2-40B4-BE49-F238E27FC236}">
                  <a16:creationId xmlns:a16="http://schemas.microsoft.com/office/drawing/2014/main" id="{036BEC70-47A3-46C7-A707-FA6B7518F62F}"/>
                </a:ext>
              </a:extLst>
            </p:cNvPr>
            <p:cNvSpPr/>
            <p:nvPr/>
          </p:nvSpPr>
          <p:spPr>
            <a:xfrm>
              <a:off x="2721582"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0" name="Freeform: Shape 3979">
              <a:extLst>
                <a:ext uri="{FF2B5EF4-FFF2-40B4-BE49-F238E27FC236}">
                  <a16:creationId xmlns:a16="http://schemas.microsoft.com/office/drawing/2014/main" id="{9D8D861A-D1DF-4543-B895-842416DAC1EC}"/>
                </a:ext>
              </a:extLst>
            </p:cNvPr>
            <p:cNvSpPr/>
            <p:nvPr/>
          </p:nvSpPr>
          <p:spPr>
            <a:xfrm>
              <a:off x="2708149"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35823 w 111945"/>
                <a:gd name="connsiteY5" fmla="*/ 124931 h 120901"/>
                <a:gd name="connsiteX6" fmla="*/ 38061 w 111945"/>
                <a:gd name="connsiteY6" fmla="*/ 122692 h 120901"/>
                <a:gd name="connsiteX7" fmla="*/ 35823 w 111945"/>
                <a:gd name="connsiteY7" fmla="*/ 120453 h 120901"/>
                <a:gd name="connsiteX8" fmla="*/ 12986 w 111945"/>
                <a:gd name="connsiteY8" fmla="*/ 120453 h 120901"/>
                <a:gd name="connsiteX9" fmla="*/ 4478 w 111945"/>
                <a:gd name="connsiteY9" fmla="*/ 112393 h 120901"/>
                <a:gd name="connsiteX10" fmla="*/ 4478 w 111945"/>
                <a:gd name="connsiteY10" fmla="*/ 84631 h 120901"/>
                <a:gd name="connsiteX11" fmla="*/ 55973 w 111945"/>
                <a:gd name="connsiteY11" fmla="*/ 84631 h 120901"/>
                <a:gd name="connsiteX12" fmla="*/ 58212 w 111945"/>
                <a:gd name="connsiteY12" fmla="*/ 82392 h 120901"/>
                <a:gd name="connsiteX13" fmla="*/ 55973 w 111945"/>
                <a:gd name="connsiteY13" fmla="*/ 80153 h 120901"/>
                <a:gd name="connsiteX14" fmla="*/ 4478 w 111945"/>
                <a:gd name="connsiteY14" fmla="*/ 80153 h 120901"/>
                <a:gd name="connsiteX15" fmla="*/ 4478 w 111945"/>
                <a:gd name="connsiteY15" fmla="*/ 44330 h 120901"/>
                <a:gd name="connsiteX16" fmla="*/ 107468 w 111945"/>
                <a:gd name="connsiteY16" fmla="*/ 44330 h 120901"/>
                <a:gd name="connsiteX17" fmla="*/ 107468 w 111945"/>
                <a:gd name="connsiteY17" fmla="*/ 55525 h 120901"/>
                <a:gd name="connsiteX18" fmla="*/ 109707 w 111945"/>
                <a:gd name="connsiteY18" fmla="*/ 57764 h 120901"/>
                <a:gd name="connsiteX19" fmla="*/ 111945 w 111945"/>
                <a:gd name="connsiteY19" fmla="*/ 55525 h 120901"/>
                <a:gd name="connsiteX20" fmla="*/ 111945 w 111945"/>
                <a:gd name="connsiteY20" fmla="*/ 12538 h 120901"/>
                <a:gd name="connsiteX21" fmla="*/ 98960 w 111945"/>
                <a:gd name="connsiteY21" fmla="*/ 0 h 120901"/>
                <a:gd name="connsiteX22" fmla="*/ 4478 w 111945"/>
                <a:gd name="connsiteY22" fmla="*/ 40300 h 120901"/>
                <a:gd name="connsiteX23" fmla="*/ 4478 w 111945"/>
                <a:gd name="connsiteY23" fmla="*/ 12538 h 120901"/>
                <a:gd name="connsiteX24" fmla="*/ 12986 w 111945"/>
                <a:gd name="connsiteY24" fmla="*/ 4478 h 120901"/>
                <a:gd name="connsiteX25" fmla="*/ 98960 w 111945"/>
                <a:gd name="connsiteY25" fmla="*/ 4478 h 120901"/>
                <a:gd name="connsiteX26" fmla="*/ 107468 w 111945"/>
                <a:gd name="connsiteY26" fmla="*/ 12538 h 120901"/>
                <a:gd name="connsiteX27" fmla="*/ 107468 w 111945"/>
                <a:gd name="connsiteY27" fmla="*/ 39853 h 120901"/>
                <a:gd name="connsiteX28" fmla="*/ 4478 w 111945"/>
                <a:gd name="connsiteY28" fmla="*/ 398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35823" y="124931"/>
                  </a:lnTo>
                  <a:cubicBezTo>
                    <a:pt x="37166" y="124931"/>
                    <a:pt x="38061" y="124035"/>
                    <a:pt x="38061" y="122692"/>
                  </a:cubicBezTo>
                  <a:cubicBezTo>
                    <a:pt x="38061" y="121349"/>
                    <a:pt x="37166" y="120453"/>
                    <a:pt x="35823" y="120453"/>
                  </a:cubicBezTo>
                  <a:lnTo>
                    <a:pt x="12986" y="120453"/>
                  </a:lnTo>
                  <a:cubicBezTo>
                    <a:pt x="8508" y="120453"/>
                    <a:pt x="4478" y="116871"/>
                    <a:pt x="4478" y="112393"/>
                  </a:cubicBezTo>
                  <a:lnTo>
                    <a:pt x="4478" y="84631"/>
                  </a:lnTo>
                  <a:lnTo>
                    <a:pt x="55973" y="84631"/>
                  </a:lnTo>
                  <a:cubicBezTo>
                    <a:pt x="57316" y="84631"/>
                    <a:pt x="58212" y="83735"/>
                    <a:pt x="58212" y="82392"/>
                  </a:cubicBezTo>
                  <a:cubicBezTo>
                    <a:pt x="58212" y="81048"/>
                    <a:pt x="57316" y="80153"/>
                    <a:pt x="55973" y="80153"/>
                  </a:cubicBezTo>
                  <a:lnTo>
                    <a:pt x="4478" y="80153"/>
                  </a:lnTo>
                  <a:lnTo>
                    <a:pt x="4478" y="44330"/>
                  </a:lnTo>
                  <a:lnTo>
                    <a:pt x="107468" y="44330"/>
                  </a:lnTo>
                  <a:lnTo>
                    <a:pt x="107468" y="55525"/>
                  </a:lnTo>
                  <a:cubicBezTo>
                    <a:pt x="107468" y="56868"/>
                    <a:pt x="108363" y="57764"/>
                    <a:pt x="109707" y="57764"/>
                  </a:cubicBezTo>
                  <a:cubicBezTo>
                    <a:pt x="111050" y="57764"/>
                    <a:pt x="111945" y="56868"/>
                    <a:pt x="111945" y="55525"/>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39853"/>
                  </a:lnTo>
                  <a:lnTo>
                    <a:pt x="4478" y="39853"/>
                  </a:lnTo>
                  <a:close/>
                </a:path>
              </a:pathLst>
            </a:custGeom>
            <a:solidFill>
              <a:srgbClr val="231F20"/>
            </a:solidFill>
            <a:ln w="4474" cap="flat">
              <a:noFill/>
              <a:prstDash val="solid"/>
              <a:miter/>
            </a:ln>
          </p:spPr>
          <p:txBody>
            <a:bodyPr rtlCol="0" anchor="ctr"/>
            <a:lstStyle/>
            <a:p>
              <a:endParaRPr lang="en-US"/>
            </a:p>
          </p:txBody>
        </p:sp>
        <p:sp>
          <p:nvSpPr>
            <p:cNvPr id="3981" name="Freeform: Shape 3980">
              <a:extLst>
                <a:ext uri="{FF2B5EF4-FFF2-40B4-BE49-F238E27FC236}">
                  <a16:creationId xmlns:a16="http://schemas.microsoft.com/office/drawing/2014/main" id="{A1911788-D17C-4521-9D4C-21E39792EB86}"/>
                </a:ext>
              </a:extLst>
            </p:cNvPr>
            <p:cNvSpPr/>
            <p:nvPr/>
          </p:nvSpPr>
          <p:spPr>
            <a:xfrm>
              <a:off x="2755166" y="2969774"/>
              <a:ext cx="80601" cy="58212"/>
            </a:xfrm>
            <a:custGeom>
              <a:avLst/>
              <a:gdLst>
                <a:gd name="connsiteX0" fmla="*/ 82392 w 80600"/>
                <a:gd name="connsiteY0" fmla="*/ 53734 h 58211"/>
                <a:gd name="connsiteX1" fmla="*/ 78362 w 80600"/>
                <a:gd name="connsiteY1" fmla="*/ 53734 h 58211"/>
                <a:gd name="connsiteX2" fmla="*/ 78362 w 80600"/>
                <a:gd name="connsiteY2" fmla="*/ 2239 h 58211"/>
                <a:gd name="connsiteX3" fmla="*/ 76123 w 80600"/>
                <a:gd name="connsiteY3" fmla="*/ 0 h 58211"/>
                <a:gd name="connsiteX4" fmla="*/ 62689 w 80600"/>
                <a:gd name="connsiteY4" fmla="*/ 0 h 58211"/>
                <a:gd name="connsiteX5" fmla="*/ 60451 w 80600"/>
                <a:gd name="connsiteY5" fmla="*/ 2239 h 58211"/>
                <a:gd name="connsiteX6" fmla="*/ 60451 w 80600"/>
                <a:gd name="connsiteY6" fmla="*/ 53734 h 58211"/>
                <a:gd name="connsiteX7" fmla="*/ 51495 w 80600"/>
                <a:gd name="connsiteY7" fmla="*/ 53734 h 58211"/>
                <a:gd name="connsiteX8" fmla="*/ 51495 w 80600"/>
                <a:gd name="connsiteY8" fmla="*/ 15672 h 58211"/>
                <a:gd name="connsiteX9" fmla="*/ 49256 w 80600"/>
                <a:gd name="connsiteY9" fmla="*/ 13433 h 58211"/>
                <a:gd name="connsiteX10" fmla="*/ 35823 w 80600"/>
                <a:gd name="connsiteY10" fmla="*/ 13433 h 58211"/>
                <a:gd name="connsiteX11" fmla="*/ 33584 w 80600"/>
                <a:gd name="connsiteY11" fmla="*/ 15672 h 58211"/>
                <a:gd name="connsiteX12" fmla="*/ 33584 w 80600"/>
                <a:gd name="connsiteY12" fmla="*/ 53734 h 58211"/>
                <a:gd name="connsiteX13" fmla="*/ 24628 w 80600"/>
                <a:gd name="connsiteY13" fmla="*/ 53734 h 58211"/>
                <a:gd name="connsiteX14" fmla="*/ 24628 w 80600"/>
                <a:gd name="connsiteY14" fmla="*/ 29106 h 58211"/>
                <a:gd name="connsiteX15" fmla="*/ 22389 w 80600"/>
                <a:gd name="connsiteY15" fmla="*/ 26867 h 58211"/>
                <a:gd name="connsiteX16" fmla="*/ 8956 w 80600"/>
                <a:gd name="connsiteY16" fmla="*/ 26867 h 58211"/>
                <a:gd name="connsiteX17" fmla="*/ 6717 w 80600"/>
                <a:gd name="connsiteY17" fmla="*/ 29106 h 58211"/>
                <a:gd name="connsiteX18" fmla="*/ 6717 w 80600"/>
                <a:gd name="connsiteY18" fmla="*/ 53734 h 58211"/>
                <a:gd name="connsiteX19" fmla="*/ 2239 w 80600"/>
                <a:gd name="connsiteY19" fmla="*/ 53734 h 58211"/>
                <a:gd name="connsiteX20" fmla="*/ 0 w 80600"/>
                <a:gd name="connsiteY20" fmla="*/ 55973 h 58211"/>
                <a:gd name="connsiteX21" fmla="*/ 2239 w 80600"/>
                <a:gd name="connsiteY21" fmla="*/ 58212 h 58211"/>
                <a:gd name="connsiteX22" fmla="*/ 8956 w 80600"/>
                <a:gd name="connsiteY22" fmla="*/ 58212 h 58211"/>
                <a:gd name="connsiteX23" fmla="*/ 22389 w 80600"/>
                <a:gd name="connsiteY23" fmla="*/ 58212 h 58211"/>
                <a:gd name="connsiteX24" fmla="*/ 35823 w 80600"/>
                <a:gd name="connsiteY24" fmla="*/ 58212 h 58211"/>
                <a:gd name="connsiteX25" fmla="*/ 49256 w 80600"/>
                <a:gd name="connsiteY25" fmla="*/ 58212 h 58211"/>
                <a:gd name="connsiteX26" fmla="*/ 62689 w 80600"/>
                <a:gd name="connsiteY26" fmla="*/ 58212 h 58211"/>
                <a:gd name="connsiteX27" fmla="*/ 76123 w 80600"/>
                <a:gd name="connsiteY27" fmla="*/ 58212 h 58211"/>
                <a:gd name="connsiteX28" fmla="*/ 82392 w 80600"/>
                <a:gd name="connsiteY28" fmla="*/ 58212 h 58211"/>
                <a:gd name="connsiteX29" fmla="*/ 84631 w 80600"/>
                <a:gd name="connsiteY29" fmla="*/ 55973 h 58211"/>
                <a:gd name="connsiteX30" fmla="*/ 82392 w 80600"/>
                <a:gd name="connsiteY30" fmla="*/ 53734 h 58211"/>
                <a:gd name="connsiteX31" fmla="*/ 11195 w 80600"/>
                <a:gd name="connsiteY31" fmla="*/ 53734 h 58211"/>
                <a:gd name="connsiteX32" fmla="*/ 11195 w 80600"/>
                <a:gd name="connsiteY32" fmla="*/ 31345 h 58211"/>
                <a:gd name="connsiteX33" fmla="*/ 20150 w 80600"/>
                <a:gd name="connsiteY33" fmla="*/ 31345 h 58211"/>
                <a:gd name="connsiteX34" fmla="*/ 20150 w 80600"/>
                <a:gd name="connsiteY34" fmla="*/ 53734 h 58211"/>
                <a:gd name="connsiteX35" fmla="*/ 11195 w 80600"/>
                <a:gd name="connsiteY35" fmla="*/ 53734 h 58211"/>
                <a:gd name="connsiteX36" fmla="*/ 38061 w 80600"/>
                <a:gd name="connsiteY36" fmla="*/ 53734 h 58211"/>
                <a:gd name="connsiteX37" fmla="*/ 38061 w 80600"/>
                <a:gd name="connsiteY37" fmla="*/ 17911 h 58211"/>
                <a:gd name="connsiteX38" fmla="*/ 47017 w 80600"/>
                <a:gd name="connsiteY38" fmla="*/ 17911 h 58211"/>
                <a:gd name="connsiteX39" fmla="*/ 47017 w 80600"/>
                <a:gd name="connsiteY39" fmla="*/ 53734 h 58211"/>
                <a:gd name="connsiteX40" fmla="*/ 38061 w 80600"/>
                <a:gd name="connsiteY40" fmla="*/ 53734 h 58211"/>
                <a:gd name="connsiteX41" fmla="*/ 64928 w 80600"/>
                <a:gd name="connsiteY41" fmla="*/ 53734 h 58211"/>
                <a:gd name="connsiteX42" fmla="*/ 64928 w 80600"/>
                <a:gd name="connsiteY42" fmla="*/ 4478 h 58211"/>
                <a:gd name="connsiteX43" fmla="*/ 73884 w 80600"/>
                <a:gd name="connsiteY43" fmla="*/ 4478 h 58211"/>
                <a:gd name="connsiteX44" fmla="*/ 73884 w 80600"/>
                <a:gd name="connsiteY44" fmla="*/ 53734 h 58211"/>
                <a:gd name="connsiteX45" fmla="*/ 64928 w 80600"/>
                <a:gd name="connsiteY45"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0600" h="58211">
                  <a:moveTo>
                    <a:pt x="82392" y="53734"/>
                  </a:moveTo>
                  <a:lnTo>
                    <a:pt x="78362" y="53734"/>
                  </a:lnTo>
                  <a:lnTo>
                    <a:pt x="78362" y="2239"/>
                  </a:lnTo>
                  <a:cubicBezTo>
                    <a:pt x="78362" y="895"/>
                    <a:pt x="77466" y="0"/>
                    <a:pt x="76123" y="0"/>
                  </a:cubicBezTo>
                  <a:lnTo>
                    <a:pt x="62689" y="0"/>
                  </a:lnTo>
                  <a:cubicBezTo>
                    <a:pt x="61346" y="0"/>
                    <a:pt x="60451" y="895"/>
                    <a:pt x="60451" y="2239"/>
                  </a:cubicBezTo>
                  <a:lnTo>
                    <a:pt x="60451" y="53734"/>
                  </a:lnTo>
                  <a:lnTo>
                    <a:pt x="51495" y="53734"/>
                  </a:lnTo>
                  <a:lnTo>
                    <a:pt x="51495" y="15672"/>
                  </a:lnTo>
                  <a:cubicBezTo>
                    <a:pt x="51495" y="14329"/>
                    <a:pt x="50599" y="13433"/>
                    <a:pt x="49256" y="13433"/>
                  </a:cubicBezTo>
                  <a:lnTo>
                    <a:pt x="35823" y="13433"/>
                  </a:lnTo>
                  <a:cubicBezTo>
                    <a:pt x="34479" y="13433"/>
                    <a:pt x="33584" y="14329"/>
                    <a:pt x="33584" y="15672"/>
                  </a:cubicBezTo>
                  <a:lnTo>
                    <a:pt x="33584" y="53734"/>
                  </a:lnTo>
                  <a:lnTo>
                    <a:pt x="24628" y="53734"/>
                  </a:lnTo>
                  <a:lnTo>
                    <a:pt x="24628" y="29106"/>
                  </a:lnTo>
                  <a:cubicBezTo>
                    <a:pt x="24628" y="27762"/>
                    <a:pt x="23733" y="26867"/>
                    <a:pt x="22389" y="26867"/>
                  </a:cubicBezTo>
                  <a:lnTo>
                    <a:pt x="8956" y="26867"/>
                  </a:lnTo>
                  <a:cubicBezTo>
                    <a:pt x="7612" y="26867"/>
                    <a:pt x="6717" y="27762"/>
                    <a:pt x="6717" y="29106"/>
                  </a:cubicBezTo>
                  <a:lnTo>
                    <a:pt x="6717" y="53734"/>
                  </a:lnTo>
                  <a:lnTo>
                    <a:pt x="2239" y="53734"/>
                  </a:lnTo>
                  <a:cubicBezTo>
                    <a:pt x="896" y="53734"/>
                    <a:pt x="0" y="54629"/>
                    <a:pt x="0" y="55973"/>
                  </a:cubicBezTo>
                  <a:cubicBezTo>
                    <a:pt x="0" y="57316"/>
                    <a:pt x="896" y="58212"/>
                    <a:pt x="2239" y="58212"/>
                  </a:cubicBezTo>
                  <a:lnTo>
                    <a:pt x="8956" y="58212"/>
                  </a:lnTo>
                  <a:lnTo>
                    <a:pt x="22389" y="58212"/>
                  </a:lnTo>
                  <a:lnTo>
                    <a:pt x="35823" y="58212"/>
                  </a:lnTo>
                  <a:lnTo>
                    <a:pt x="49256" y="58212"/>
                  </a:lnTo>
                  <a:lnTo>
                    <a:pt x="62689" y="58212"/>
                  </a:lnTo>
                  <a:lnTo>
                    <a:pt x="76123" y="58212"/>
                  </a:lnTo>
                  <a:lnTo>
                    <a:pt x="82392" y="58212"/>
                  </a:lnTo>
                  <a:cubicBezTo>
                    <a:pt x="83735" y="58212"/>
                    <a:pt x="84631" y="57316"/>
                    <a:pt x="84631" y="55973"/>
                  </a:cubicBezTo>
                  <a:cubicBezTo>
                    <a:pt x="84631" y="54629"/>
                    <a:pt x="83735" y="53734"/>
                    <a:pt x="82392" y="53734"/>
                  </a:cubicBezTo>
                  <a:close/>
                  <a:moveTo>
                    <a:pt x="11195" y="53734"/>
                  </a:moveTo>
                  <a:lnTo>
                    <a:pt x="11195" y="31345"/>
                  </a:lnTo>
                  <a:lnTo>
                    <a:pt x="20150" y="31345"/>
                  </a:lnTo>
                  <a:lnTo>
                    <a:pt x="20150" y="53734"/>
                  </a:lnTo>
                  <a:lnTo>
                    <a:pt x="11195" y="53734"/>
                  </a:lnTo>
                  <a:close/>
                  <a:moveTo>
                    <a:pt x="38061" y="53734"/>
                  </a:moveTo>
                  <a:lnTo>
                    <a:pt x="38061" y="17911"/>
                  </a:lnTo>
                  <a:lnTo>
                    <a:pt x="47017" y="17911"/>
                  </a:lnTo>
                  <a:lnTo>
                    <a:pt x="47017" y="53734"/>
                  </a:lnTo>
                  <a:lnTo>
                    <a:pt x="38061" y="53734"/>
                  </a:lnTo>
                  <a:close/>
                  <a:moveTo>
                    <a:pt x="64928" y="53734"/>
                  </a:moveTo>
                  <a:lnTo>
                    <a:pt x="64928" y="4478"/>
                  </a:lnTo>
                  <a:lnTo>
                    <a:pt x="73884" y="4478"/>
                  </a:lnTo>
                  <a:lnTo>
                    <a:pt x="73884" y="53734"/>
                  </a:lnTo>
                  <a:lnTo>
                    <a:pt x="64928" y="53734"/>
                  </a:lnTo>
                  <a:close/>
                </a:path>
              </a:pathLst>
            </a:custGeom>
            <a:solidFill>
              <a:srgbClr val="231F20"/>
            </a:solidFill>
            <a:ln w="4474" cap="flat">
              <a:noFill/>
              <a:prstDash val="solid"/>
              <a:miter/>
            </a:ln>
          </p:spPr>
          <p:txBody>
            <a:bodyPr rtlCol="0" anchor="ctr"/>
            <a:lstStyle/>
            <a:p>
              <a:endParaRPr lang="en-US"/>
            </a:p>
          </p:txBody>
        </p:sp>
      </p:grpSp>
      <p:grpSp>
        <p:nvGrpSpPr>
          <p:cNvPr id="3982" name="Group 3981">
            <a:extLst>
              <a:ext uri="{FF2B5EF4-FFF2-40B4-BE49-F238E27FC236}">
                <a16:creationId xmlns:a16="http://schemas.microsoft.com/office/drawing/2014/main" id="{E8D39213-712B-4F05-9EEE-BC31D94E081C}"/>
              </a:ext>
              <a:ext uri="{C183D7F6-B498-43B3-948B-1728B52AA6E4}">
                <adec:decorative xmlns:adec="http://schemas.microsoft.com/office/drawing/2017/decorative" val="1"/>
              </a:ext>
            </a:extLst>
          </p:cNvPr>
          <p:cNvGrpSpPr>
            <a:grpSpLocks noChangeAspect="1"/>
          </p:cNvGrpSpPr>
          <p:nvPr/>
        </p:nvGrpSpPr>
        <p:grpSpPr>
          <a:xfrm>
            <a:off x="2406786" y="3638046"/>
            <a:ext cx="111945" cy="120901"/>
            <a:chOff x="2447540" y="2902607"/>
            <a:chExt cx="111945" cy="120901"/>
          </a:xfrm>
        </p:grpSpPr>
        <p:sp>
          <p:nvSpPr>
            <p:cNvPr id="3983" name="Freeform: Shape 3982">
              <a:extLst>
                <a:ext uri="{FF2B5EF4-FFF2-40B4-BE49-F238E27FC236}">
                  <a16:creationId xmlns:a16="http://schemas.microsoft.com/office/drawing/2014/main" id="{4C931D5A-4480-421C-80BF-03B5BD9059A1}"/>
                </a:ext>
              </a:extLst>
            </p:cNvPr>
            <p:cNvSpPr/>
            <p:nvPr/>
          </p:nvSpPr>
          <p:spPr>
            <a:xfrm>
              <a:off x="2460973" y="2915593"/>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4" name="Freeform: Shape 3983">
              <a:extLst>
                <a:ext uri="{FF2B5EF4-FFF2-40B4-BE49-F238E27FC236}">
                  <a16:creationId xmlns:a16="http://schemas.microsoft.com/office/drawing/2014/main" id="{454AF4C1-C229-4A03-9186-90232D886D29}"/>
                </a:ext>
              </a:extLst>
            </p:cNvPr>
            <p:cNvSpPr/>
            <p:nvPr/>
          </p:nvSpPr>
          <p:spPr>
            <a:xfrm>
              <a:off x="2460973"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5" name="Freeform: Shape 3984">
              <a:extLst>
                <a:ext uri="{FF2B5EF4-FFF2-40B4-BE49-F238E27FC236}">
                  <a16:creationId xmlns:a16="http://schemas.microsoft.com/office/drawing/2014/main" id="{59F22B59-C483-48DE-8CA7-B22A7D77896E}"/>
                </a:ext>
              </a:extLst>
            </p:cNvPr>
            <p:cNvSpPr/>
            <p:nvPr/>
          </p:nvSpPr>
          <p:spPr>
            <a:xfrm>
              <a:off x="2460973"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5"/>
                    <a:pt x="895" y="0"/>
                    <a:pt x="2239" y="0"/>
                  </a:cubicBezTo>
                  <a:lnTo>
                    <a:pt x="15672" y="0"/>
                  </a:lnTo>
                  <a:cubicBezTo>
                    <a:pt x="17016" y="0"/>
                    <a:pt x="17911" y="895"/>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3986" name="Freeform: Shape 3985">
              <a:extLst>
                <a:ext uri="{FF2B5EF4-FFF2-40B4-BE49-F238E27FC236}">
                  <a16:creationId xmlns:a16="http://schemas.microsoft.com/office/drawing/2014/main" id="{B47DF95D-2C2A-4D2D-9F71-983C36A82736}"/>
                </a:ext>
              </a:extLst>
            </p:cNvPr>
            <p:cNvSpPr/>
            <p:nvPr/>
          </p:nvSpPr>
          <p:spPr>
            <a:xfrm>
              <a:off x="2447540"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112393 h 120901"/>
                <a:gd name="connsiteX4" fmla="*/ 12986 w 111945"/>
                <a:gd name="connsiteY4" fmla="*/ 124931 h 120901"/>
                <a:gd name="connsiteX5" fmla="*/ 98960 w 111945"/>
                <a:gd name="connsiteY5" fmla="*/ 124931 h 120901"/>
                <a:gd name="connsiteX6" fmla="*/ 111945 w 111945"/>
                <a:gd name="connsiteY6" fmla="*/ 111945 h 120901"/>
                <a:gd name="connsiteX7" fmla="*/ 111945 w 111945"/>
                <a:gd name="connsiteY7" fmla="*/ 12538 h 120901"/>
                <a:gd name="connsiteX8" fmla="*/ 98960 w 111945"/>
                <a:gd name="connsiteY8" fmla="*/ 0 h 120901"/>
                <a:gd name="connsiteX9" fmla="*/ 4478 w 111945"/>
                <a:gd name="connsiteY9" fmla="*/ 44778 h 120901"/>
                <a:gd name="connsiteX10" fmla="*/ 107468 w 111945"/>
                <a:gd name="connsiteY10" fmla="*/ 44778 h 120901"/>
                <a:gd name="connsiteX11" fmla="*/ 107468 w 111945"/>
                <a:gd name="connsiteY11" fmla="*/ 80601 h 120901"/>
                <a:gd name="connsiteX12" fmla="*/ 4478 w 111945"/>
                <a:gd name="connsiteY12" fmla="*/ 80601 h 120901"/>
                <a:gd name="connsiteX13" fmla="*/ 4478 w 111945"/>
                <a:gd name="connsiteY13" fmla="*/ 44778 h 120901"/>
                <a:gd name="connsiteX14" fmla="*/ 12986 w 111945"/>
                <a:gd name="connsiteY14" fmla="*/ 4478 h 120901"/>
                <a:gd name="connsiteX15" fmla="*/ 98960 w 111945"/>
                <a:gd name="connsiteY15" fmla="*/ 4478 h 120901"/>
                <a:gd name="connsiteX16" fmla="*/ 107468 w 111945"/>
                <a:gd name="connsiteY16" fmla="*/ 12538 h 120901"/>
                <a:gd name="connsiteX17" fmla="*/ 107468 w 111945"/>
                <a:gd name="connsiteY17" fmla="*/ 39853 h 120901"/>
                <a:gd name="connsiteX18" fmla="*/ 4478 w 111945"/>
                <a:gd name="connsiteY18" fmla="*/ 39853 h 120901"/>
                <a:gd name="connsiteX19" fmla="*/ 4478 w 111945"/>
                <a:gd name="connsiteY19" fmla="*/ 12538 h 120901"/>
                <a:gd name="connsiteX20" fmla="*/ 12986 w 111945"/>
                <a:gd name="connsiteY20" fmla="*/ 4478 h 120901"/>
                <a:gd name="connsiteX21" fmla="*/ 98960 w 111945"/>
                <a:gd name="connsiteY21" fmla="*/ 120901 h 120901"/>
                <a:gd name="connsiteX22" fmla="*/ 12986 w 111945"/>
                <a:gd name="connsiteY22" fmla="*/ 120901 h 120901"/>
                <a:gd name="connsiteX23" fmla="*/ 4478 w 111945"/>
                <a:gd name="connsiteY23" fmla="*/ 112841 h 120901"/>
                <a:gd name="connsiteX24" fmla="*/ 4478 w 111945"/>
                <a:gd name="connsiteY24" fmla="*/ 85079 h 120901"/>
                <a:gd name="connsiteX25" fmla="*/ 107468 w 111945"/>
                <a:gd name="connsiteY25" fmla="*/ 85079 h 120901"/>
                <a:gd name="connsiteX26" fmla="*/ 107468 w 111945"/>
                <a:gd name="connsiteY26" fmla="*/ 112393 h 120901"/>
                <a:gd name="connsiteX27" fmla="*/ 98960 w 111945"/>
                <a:gd name="connsiteY27" fmla="*/ 120901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945" h="120901">
                  <a:moveTo>
                    <a:pt x="98960" y="0"/>
                  </a:moveTo>
                  <a:lnTo>
                    <a:pt x="12986" y="0"/>
                  </a:lnTo>
                  <a:cubicBezTo>
                    <a:pt x="5821" y="0"/>
                    <a:pt x="0" y="5821"/>
                    <a:pt x="0" y="12538"/>
                  </a:cubicBezTo>
                  <a:lnTo>
                    <a:pt x="0" y="112393"/>
                  </a:lnTo>
                  <a:cubicBezTo>
                    <a:pt x="0" y="119558"/>
                    <a:pt x="5821" y="124931"/>
                    <a:pt x="12986" y="124931"/>
                  </a:cubicBezTo>
                  <a:lnTo>
                    <a:pt x="98960" y="124931"/>
                  </a:lnTo>
                  <a:cubicBezTo>
                    <a:pt x="106124" y="124931"/>
                    <a:pt x="111945" y="119110"/>
                    <a:pt x="111945" y="111945"/>
                  </a:cubicBezTo>
                  <a:lnTo>
                    <a:pt x="111945" y="12538"/>
                  </a:lnTo>
                  <a:cubicBezTo>
                    <a:pt x="111945" y="5373"/>
                    <a:pt x="106124" y="0"/>
                    <a:pt x="98960" y="0"/>
                  </a:cubicBezTo>
                  <a:close/>
                  <a:moveTo>
                    <a:pt x="4478" y="44778"/>
                  </a:moveTo>
                  <a:lnTo>
                    <a:pt x="107468" y="44778"/>
                  </a:lnTo>
                  <a:lnTo>
                    <a:pt x="107468" y="80601"/>
                  </a:lnTo>
                  <a:lnTo>
                    <a:pt x="4478" y="80601"/>
                  </a:lnTo>
                  <a:lnTo>
                    <a:pt x="4478" y="44778"/>
                  </a:lnTo>
                  <a:close/>
                  <a:moveTo>
                    <a:pt x="12986" y="4478"/>
                  </a:moveTo>
                  <a:lnTo>
                    <a:pt x="98960" y="4478"/>
                  </a:lnTo>
                  <a:cubicBezTo>
                    <a:pt x="103437" y="4478"/>
                    <a:pt x="107468" y="8060"/>
                    <a:pt x="107468" y="12538"/>
                  </a:cubicBezTo>
                  <a:lnTo>
                    <a:pt x="107468" y="39853"/>
                  </a:lnTo>
                  <a:lnTo>
                    <a:pt x="4478" y="39853"/>
                  </a:lnTo>
                  <a:lnTo>
                    <a:pt x="4478" y="12538"/>
                  </a:lnTo>
                  <a:cubicBezTo>
                    <a:pt x="4478" y="8060"/>
                    <a:pt x="8060" y="4478"/>
                    <a:pt x="12986" y="4478"/>
                  </a:cubicBezTo>
                  <a:close/>
                  <a:moveTo>
                    <a:pt x="98960" y="120901"/>
                  </a:moveTo>
                  <a:lnTo>
                    <a:pt x="12986" y="120901"/>
                  </a:lnTo>
                  <a:cubicBezTo>
                    <a:pt x="8508" y="120901"/>
                    <a:pt x="4478" y="117319"/>
                    <a:pt x="4478" y="112841"/>
                  </a:cubicBezTo>
                  <a:lnTo>
                    <a:pt x="4478" y="85079"/>
                  </a:lnTo>
                  <a:lnTo>
                    <a:pt x="107468" y="85079"/>
                  </a:lnTo>
                  <a:lnTo>
                    <a:pt x="107468" y="112393"/>
                  </a:lnTo>
                  <a:cubicBezTo>
                    <a:pt x="107468" y="116871"/>
                    <a:pt x="103437" y="120901"/>
                    <a:pt x="98960" y="120901"/>
                  </a:cubicBezTo>
                  <a:close/>
                </a:path>
              </a:pathLst>
            </a:custGeom>
            <a:solidFill>
              <a:srgbClr val="231F20"/>
            </a:solidFill>
            <a:ln w="4474" cap="flat">
              <a:noFill/>
              <a:prstDash val="solid"/>
              <a:miter/>
            </a:ln>
          </p:spPr>
          <p:txBody>
            <a:bodyPr rtlCol="0" anchor="ctr"/>
            <a:lstStyle/>
            <a:p>
              <a:endParaRPr lang="en-US"/>
            </a:p>
          </p:txBody>
        </p:sp>
      </p:grpSp>
      <p:sp>
        <p:nvSpPr>
          <p:cNvPr id="3987" name="Freeform: Shape 3986">
            <a:extLst>
              <a:ext uri="{FF2B5EF4-FFF2-40B4-BE49-F238E27FC236}">
                <a16:creationId xmlns:a16="http://schemas.microsoft.com/office/drawing/2014/main" id="{F100D317-EAA5-4662-B628-C3A948BD6111}"/>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alpha val="10000"/>
            </a:srgbClr>
          </a:solidFill>
          <a:ln w="4474" cap="flat">
            <a:noFill/>
            <a:prstDash val="solid"/>
            <a:miter/>
          </a:ln>
        </p:spPr>
        <p:txBody>
          <a:bodyPr rtlCol="0" anchor="ctr"/>
          <a:lstStyle/>
          <a:p>
            <a:endParaRPr lang="en-US"/>
          </a:p>
        </p:txBody>
      </p:sp>
      <p:sp>
        <p:nvSpPr>
          <p:cNvPr id="3988" name="Freeform: Shape 3987">
            <a:extLst>
              <a:ext uri="{FF2B5EF4-FFF2-40B4-BE49-F238E27FC236}">
                <a16:creationId xmlns:a16="http://schemas.microsoft.com/office/drawing/2014/main" id="{B163A67E-3F56-4B0B-80CD-F7C1D589F95B}"/>
              </a:ext>
              <a:ext uri="{C183D7F6-B498-43B3-948B-1728B52AA6E4}">
                <adec:decorative xmlns:adec="http://schemas.microsoft.com/office/drawing/2017/decorative" val="1"/>
              </a:ext>
            </a:extLst>
          </p:cNvPr>
          <p:cNvSpPr>
            <a:spLocks noChangeAspect="1"/>
          </p:cNvSpPr>
          <p:nvPr/>
        </p:nvSpPr>
        <p:spPr>
          <a:xfrm>
            <a:off x="5547079" y="3339823"/>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125379 w 125378"/>
              <a:gd name="connsiteY9" fmla="*/ 113737 h 138812"/>
              <a:gd name="connsiteX10" fmla="*/ 125379 w 125378"/>
              <a:gd name="connsiteY10" fmla="*/ 113289 h 138812"/>
              <a:gd name="connsiteX11" fmla="*/ 125379 w 125378"/>
              <a:gd name="connsiteY11" fmla="*/ 112841 h 138812"/>
              <a:gd name="connsiteX12" fmla="*/ 125379 w 125378"/>
              <a:gd name="connsiteY12" fmla="*/ 26419 h 138812"/>
              <a:gd name="connsiteX13" fmla="*/ 125379 w 125378"/>
              <a:gd name="connsiteY13" fmla="*/ 25523 h 138812"/>
              <a:gd name="connsiteX14" fmla="*/ 125379 w 125378"/>
              <a:gd name="connsiteY14" fmla="*/ 25523 h 138812"/>
              <a:gd name="connsiteX15" fmla="*/ 62689 w 125378"/>
              <a:gd name="connsiteY15" fmla="*/ 4478 h 138812"/>
              <a:gd name="connsiteX16" fmla="*/ 120901 w 125378"/>
              <a:gd name="connsiteY16" fmla="*/ 25523 h 138812"/>
              <a:gd name="connsiteX17" fmla="*/ 62689 w 125378"/>
              <a:gd name="connsiteY17" fmla="*/ 46569 h 138812"/>
              <a:gd name="connsiteX18" fmla="*/ 4478 w 125378"/>
              <a:gd name="connsiteY18" fmla="*/ 25523 h 138812"/>
              <a:gd name="connsiteX19" fmla="*/ 62689 w 125378"/>
              <a:gd name="connsiteY19" fmla="*/ 4478 h 138812"/>
              <a:gd name="connsiteX20" fmla="*/ 120901 w 125378"/>
              <a:gd name="connsiteY20" fmla="*/ 112841 h 138812"/>
              <a:gd name="connsiteX21" fmla="*/ 120901 w 125378"/>
              <a:gd name="connsiteY21" fmla="*/ 112841 h 138812"/>
              <a:gd name="connsiteX22" fmla="*/ 62689 w 125378"/>
              <a:gd name="connsiteY22" fmla="*/ 134335 h 138812"/>
              <a:gd name="connsiteX23" fmla="*/ 4478 w 125378"/>
              <a:gd name="connsiteY23" fmla="*/ 113289 h 138812"/>
              <a:gd name="connsiteX24" fmla="*/ 4478 w 125378"/>
              <a:gd name="connsiteY24" fmla="*/ 112841 h 138812"/>
              <a:gd name="connsiteX25" fmla="*/ 4478 w 125378"/>
              <a:gd name="connsiteY25" fmla="*/ 112393 h 138812"/>
              <a:gd name="connsiteX26" fmla="*/ 4478 w 125378"/>
              <a:gd name="connsiteY26" fmla="*/ 93586 h 138812"/>
              <a:gd name="connsiteX27" fmla="*/ 62689 w 125378"/>
              <a:gd name="connsiteY27" fmla="*/ 109707 h 138812"/>
              <a:gd name="connsiteX28" fmla="*/ 120901 w 125378"/>
              <a:gd name="connsiteY28" fmla="*/ 93586 h 138812"/>
              <a:gd name="connsiteX29" fmla="*/ 120901 w 125378"/>
              <a:gd name="connsiteY29" fmla="*/ 112841 h 138812"/>
              <a:gd name="connsiteX30" fmla="*/ 120901 w 125378"/>
              <a:gd name="connsiteY30" fmla="*/ 112841 h 138812"/>
              <a:gd name="connsiteX31" fmla="*/ 120901 w 125378"/>
              <a:gd name="connsiteY31" fmla="*/ 84183 h 138812"/>
              <a:gd name="connsiteX32" fmla="*/ 62689 w 125378"/>
              <a:gd name="connsiteY32" fmla="*/ 105229 h 138812"/>
              <a:gd name="connsiteX33" fmla="*/ 4478 w 125378"/>
              <a:gd name="connsiteY33" fmla="*/ 84183 h 138812"/>
              <a:gd name="connsiteX34" fmla="*/ 4478 w 125378"/>
              <a:gd name="connsiteY34" fmla="*/ 64481 h 138812"/>
              <a:gd name="connsiteX35" fmla="*/ 62689 w 125378"/>
              <a:gd name="connsiteY35" fmla="*/ 80601 h 138812"/>
              <a:gd name="connsiteX36" fmla="*/ 120901 w 125378"/>
              <a:gd name="connsiteY36" fmla="*/ 64481 h 138812"/>
              <a:gd name="connsiteX37" fmla="*/ 120901 w 125378"/>
              <a:gd name="connsiteY37" fmla="*/ 84183 h 138812"/>
              <a:gd name="connsiteX38" fmla="*/ 120901 w 125378"/>
              <a:gd name="connsiteY38" fmla="*/ 55077 h 138812"/>
              <a:gd name="connsiteX39" fmla="*/ 62689 w 125378"/>
              <a:gd name="connsiteY39" fmla="*/ 76123 h 138812"/>
              <a:gd name="connsiteX40" fmla="*/ 4478 w 125378"/>
              <a:gd name="connsiteY40" fmla="*/ 55077 h 138812"/>
              <a:gd name="connsiteX41" fmla="*/ 4478 w 125378"/>
              <a:gd name="connsiteY41" fmla="*/ 35375 h 138812"/>
              <a:gd name="connsiteX42" fmla="*/ 62689 w 125378"/>
              <a:gd name="connsiteY42" fmla="*/ 51495 h 138812"/>
              <a:gd name="connsiteX43" fmla="*/ 120901 w 125378"/>
              <a:gd name="connsiteY43" fmla="*/ 35375 h 138812"/>
              <a:gd name="connsiteX44" fmla="*/ 120901 w 125378"/>
              <a:gd name="connsiteY44"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98064" y="139260"/>
                  <a:pt x="125379" y="128066"/>
                  <a:pt x="125379" y="113737"/>
                </a:cubicBezTo>
                <a:cubicBezTo>
                  <a:pt x="125379" y="113737"/>
                  <a:pt x="125379" y="113737"/>
                  <a:pt x="125379" y="113289"/>
                </a:cubicBezTo>
                <a:cubicBezTo>
                  <a:pt x="125379" y="113289"/>
                  <a:pt x="125379" y="113289"/>
                  <a:pt x="125379" y="112841"/>
                </a:cubicBezTo>
                <a:lnTo>
                  <a:pt x="125379" y="26419"/>
                </a:lnTo>
                <a:cubicBezTo>
                  <a:pt x="125379" y="26419"/>
                  <a:pt x="124931" y="25971"/>
                  <a:pt x="125379" y="25523"/>
                </a:cubicBezTo>
                <a:cubicBezTo>
                  <a:pt x="124931" y="25971"/>
                  <a:pt x="125379" y="25971"/>
                  <a:pt x="125379" y="25523"/>
                </a:cubicBezTo>
                <a:close/>
                <a:moveTo>
                  <a:pt x="62689" y="4478"/>
                </a:moveTo>
                <a:cubicBezTo>
                  <a:pt x="97617" y="4478"/>
                  <a:pt x="120901" y="15225"/>
                  <a:pt x="120901" y="25523"/>
                </a:cubicBezTo>
                <a:cubicBezTo>
                  <a:pt x="120901" y="35823"/>
                  <a:pt x="97617" y="46569"/>
                  <a:pt x="62689" y="46569"/>
                </a:cubicBezTo>
                <a:cubicBezTo>
                  <a:pt x="27762" y="46569"/>
                  <a:pt x="4478" y="35823"/>
                  <a:pt x="4478" y="25523"/>
                </a:cubicBezTo>
                <a:cubicBezTo>
                  <a:pt x="4478" y="15225"/>
                  <a:pt x="27762" y="4478"/>
                  <a:pt x="62689" y="4478"/>
                </a:cubicBezTo>
                <a:close/>
                <a:moveTo>
                  <a:pt x="120901" y="112841"/>
                </a:moveTo>
                <a:cubicBezTo>
                  <a:pt x="120901" y="113289"/>
                  <a:pt x="120901" y="113289"/>
                  <a:pt x="120901" y="112841"/>
                </a:cubicBezTo>
                <a:cubicBezTo>
                  <a:pt x="120901" y="123140"/>
                  <a:pt x="97617" y="134335"/>
                  <a:pt x="62689" y="134335"/>
                </a:cubicBezTo>
                <a:cubicBezTo>
                  <a:pt x="27762" y="134335"/>
                  <a:pt x="4478" y="123588"/>
                  <a:pt x="4478" y="113289"/>
                </a:cubicBezTo>
                <a:cubicBezTo>
                  <a:pt x="4478" y="113289"/>
                  <a:pt x="4478" y="113289"/>
                  <a:pt x="4478" y="112841"/>
                </a:cubicBezTo>
                <a:cubicBezTo>
                  <a:pt x="4478" y="112841"/>
                  <a:pt x="4478" y="112841"/>
                  <a:pt x="4478" y="112393"/>
                </a:cubicBezTo>
                <a:lnTo>
                  <a:pt x="4478" y="93586"/>
                </a:lnTo>
                <a:cubicBezTo>
                  <a:pt x="13433" y="102990"/>
                  <a:pt x="35823" y="109707"/>
                  <a:pt x="62689" y="109707"/>
                </a:cubicBezTo>
                <a:cubicBezTo>
                  <a:pt x="89556" y="109707"/>
                  <a:pt x="111945" y="102990"/>
                  <a:pt x="120901" y="93586"/>
                </a:cubicBezTo>
                <a:lnTo>
                  <a:pt x="120901" y="112841"/>
                </a:lnTo>
                <a:cubicBezTo>
                  <a:pt x="120901" y="112841"/>
                  <a:pt x="120901" y="112841"/>
                  <a:pt x="120901" y="112841"/>
                </a:cubicBezTo>
                <a:close/>
                <a:moveTo>
                  <a:pt x="120901" y="84183"/>
                </a:moveTo>
                <a:cubicBezTo>
                  <a:pt x="120901" y="94482"/>
                  <a:pt x="97617" y="105229"/>
                  <a:pt x="62689" y="105229"/>
                </a:cubicBezTo>
                <a:cubicBezTo>
                  <a:pt x="27762" y="105229"/>
                  <a:pt x="4478" y="94482"/>
                  <a:pt x="4478" y="84183"/>
                </a:cubicBezTo>
                <a:lnTo>
                  <a:pt x="4478" y="64481"/>
                </a:lnTo>
                <a:cubicBezTo>
                  <a:pt x="13433" y="73884"/>
                  <a:pt x="35823" y="80601"/>
                  <a:pt x="62689" y="80601"/>
                </a:cubicBezTo>
                <a:cubicBezTo>
                  <a:pt x="89556" y="80601"/>
                  <a:pt x="111945" y="73884"/>
                  <a:pt x="120901" y="64481"/>
                </a:cubicBezTo>
                <a:lnTo>
                  <a:pt x="120901" y="84183"/>
                </a:lnTo>
                <a:close/>
                <a:moveTo>
                  <a:pt x="120901" y="55077"/>
                </a:moveTo>
                <a:cubicBezTo>
                  <a:pt x="120901" y="65376"/>
                  <a:pt x="97617" y="76123"/>
                  <a:pt x="62689" y="76123"/>
                </a:cubicBezTo>
                <a:cubicBezTo>
                  <a:pt x="27762"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grpSp>
        <p:nvGrpSpPr>
          <p:cNvPr id="3989" name="Group 3988">
            <a:extLst>
              <a:ext uri="{FF2B5EF4-FFF2-40B4-BE49-F238E27FC236}">
                <a16:creationId xmlns:a16="http://schemas.microsoft.com/office/drawing/2014/main" id="{B6206BC5-79F5-40DE-9F5A-80AE37C9D4FB}"/>
              </a:ext>
              <a:ext uri="{C183D7F6-B498-43B3-948B-1728B52AA6E4}">
                <adec:decorative xmlns:adec="http://schemas.microsoft.com/office/drawing/2017/decorative" val="1"/>
              </a:ext>
            </a:extLst>
          </p:cNvPr>
          <p:cNvGrpSpPr>
            <a:grpSpLocks noChangeAspect="1"/>
          </p:cNvGrpSpPr>
          <p:nvPr/>
        </p:nvGrpSpPr>
        <p:grpSpPr>
          <a:xfrm>
            <a:off x="5032578" y="3339823"/>
            <a:ext cx="125379" cy="138812"/>
            <a:chOff x="5073332" y="2604384"/>
            <a:chExt cx="125379" cy="138812"/>
          </a:xfrm>
        </p:grpSpPr>
        <p:sp>
          <p:nvSpPr>
            <p:cNvPr id="3990" name="Freeform: Shape 3989">
              <a:extLst>
                <a:ext uri="{FF2B5EF4-FFF2-40B4-BE49-F238E27FC236}">
                  <a16:creationId xmlns:a16="http://schemas.microsoft.com/office/drawing/2014/main" id="{8433D405-7AD2-4F94-B179-E0457AC7CBFE}"/>
                </a:ext>
              </a:extLst>
            </p:cNvPr>
            <p:cNvSpPr/>
            <p:nvPr/>
          </p:nvSpPr>
          <p:spPr>
            <a:xfrm>
              <a:off x="5073332"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0601 h 138812"/>
                <a:gd name="connsiteX23" fmla="*/ 123140 w 125378"/>
                <a:gd name="connsiteY23" fmla="*/ 82840 h 138812"/>
                <a:gd name="connsiteX24" fmla="*/ 125379 w 125378"/>
                <a:gd name="connsiteY24" fmla="*/ 80601 h 138812"/>
                <a:gd name="connsiteX25" fmla="*/ 125379 w 125378"/>
                <a:gd name="connsiteY25" fmla="*/ 26419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3" y="105677"/>
                    <a:pt x="4478" y="94930"/>
                    <a:pt x="4478" y="84631"/>
                  </a:cubicBezTo>
                  <a:lnTo>
                    <a:pt x="4478" y="64481"/>
                  </a:lnTo>
                  <a:cubicBezTo>
                    <a:pt x="13433" y="73884"/>
                    <a:pt x="35823" y="80601"/>
                    <a:pt x="62689" y="80601"/>
                  </a:cubicBezTo>
                  <a:cubicBezTo>
                    <a:pt x="89556" y="80601"/>
                    <a:pt x="111945" y="73884"/>
                    <a:pt x="120901" y="64481"/>
                  </a:cubicBezTo>
                  <a:lnTo>
                    <a:pt x="120901" y="80601"/>
                  </a:lnTo>
                  <a:cubicBezTo>
                    <a:pt x="120901" y="81944"/>
                    <a:pt x="121797" y="82840"/>
                    <a:pt x="123140" y="82840"/>
                  </a:cubicBezTo>
                  <a:cubicBezTo>
                    <a:pt x="124484" y="82840"/>
                    <a:pt x="125379" y="81944"/>
                    <a:pt x="125379" y="80601"/>
                  </a:cubicBezTo>
                  <a:lnTo>
                    <a:pt x="125379" y="26419"/>
                  </a:lnTo>
                  <a:cubicBezTo>
                    <a:pt x="125379" y="26419"/>
                    <a:pt x="125379" y="25971"/>
                    <a:pt x="125379" y="25523"/>
                  </a:cubicBezTo>
                  <a:cubicBezTo>
                    <a:pt x="125379" y="25971"/>
                    <a:pt x="125379" y="25971"/>
                    <a:pt x="125379" y="25523"/>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672"/>
                    <a:pt x="27763"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3991" name="Freeform: Shape 3990">
              <a:extLst>
                <a:ext uri="{FF2B5EF4-FFF2-40B4-BE49-F238E27FC236}">
                  <a16:creationId xmlns:a16="http://schemas.microsoft.com/office/drawing/2014/main" id="{A6FF899E-35DA-4BC1-87E3-931525373090}"/>
                </a:ext>
              </a:extLst>
            </p:cNvPr>
            <p:cNvSpPr/>
            <p:nvPr/>
          </p:nvSpPr>
          <p:spPr>
            <a:xfrm>
              <a:off x="5153933" y="2692150"/>
              <a:ext cx="44778" cy="49256"/>
            </a:xfrm>
            <a:custGeom>
              <a:avLst/>
              <a:gdLst>
                <a:gd name="connsiteX0" fmla="*/ 42539 w 44778"/>
                <a:gd name="connsiteY0" fmla="*/ 17463 h 49255"/>
                <a:gd name="connsiteX1" fmla="*/ 36270 w 44778"/>
                <a:gd name="connsiteY1" fmla="*/ 17463 h 49255"/>
                <a:gd name="connsiteX2" fmla="*/ 36270 w 44778"/>
                <a:gd name="connsiteY2" fmla="*/ 13881 h 49255"/>
                <a:gd name="connsiteX3" fmla="*/ 22389 w 44778"/>
                <a:gd name="connsiteY3" fmla="*/ 0 h 49255"/>
                <a:gd name="connsiteX4" fmla="*/ 8508 w 44778"/>
                <a:gd name="connsiteY4" fmla="*/ 13881 h 49255"/>
                <a:gd name="connsiteX5" fmla="*/ 8508 w 44778"/>
                <a:gd name="connsiteY5" fmla="*/ 17463 h 49255"/>
                <a:gd name="connsiteX6" fmla="*/ 2239 w 44778"/>
                <a:gd name="connsiteY6" fmla="*/ 17463 h 49255"/>
                <a:gd name="connsiteX7" fmla="*/ 0 w 44778"/>
                <a:gd name="connsiteY7" fmla="*/ 19702 h 49255"/>
                <a:gd name="connsiteX8" fmla="*/ 0 w 44778"/>
                <a:gd name="connsiteY8" fmla="*/ 48808 h 49255"/>
                <a:gd name="connsiteX9" fmla="*/ 2239 w 44778"/>
                <a:gd name="connsiteY9" fmla="*/ 51047 h 49255"/>
                <a:gd name="connsiteX10" fmla="*/ 42539 w 44778"/>
                <a:gd name="connsiteY10" fmla="*/ 51047 h 49255"/>
                <a:gd name="connsiteX11" fmla="*/ 44778 w 44778"/>
                <a:gd name="connsiteY11" fmla="*/ 48808 h 49255"/>
                <a:gd name="connsiteX12" fmla="*/ 44778 w 44778"/>
                <a:gd name="connsiteY12" fmla="*/ 19702 h 49255"/>
                <a:gd name="connsiteX13" fmla="*/ 42539 w 44778"/>
                <a:gd name="connsiteY13" fmla="*/ 17463 h 49255"/>
                <a:gd name="connsiteX14" fmla="*/ 12986 w 44778"/>
                <a:gd name="connsiteY14" fmla="*/ 13881 h 49255"/>
                <a:gd name="connsiteX15" fmla="*/ 22389 w 44778"/>
                <a:gd name="connsiteY15" fmla="*/ 4478 h 49255"/>
                <a:gd name="connsiteX16" fmla="*/ 31792 w 44778"/>
                <a:gd name="connsiteY16" fmla="*/ 13881 h 49255"/>
                <a:gd name="connsiteX17" fmla="*/ 31792 w 44778"/>
                <a:gd name="connsiteY17" fmla="*/ 17463 h 49255"/>
                <a:gd name="connsiteX18" fmla="*/ 13433 w 44778"/>
                <a:gd name="connsiteY18" fmla="*/ 17463 h 49255"/>
                <a:gd name="connsiteX19" fmla="*/ 13433 w 44778"/>
                <a:gd name="connsiteY19" fmla="*/ 13881 h 49255"/>
                <a:gd name="connsiteX20" fmla="*/ 40300 w 44778"/>
                <a:gd name="connsiteY20" fmla="*/ 46569 h 49255"/>
                <a:gd name="connsiteX21" fmla="*/ 4478 w 44778"/>
                <a:gd name="connsiteY21" fmla="*/ 46569 h 49255"/>
                <a:gd name="connsiteX22" fmla="*/ 4478 w 44778"/>
                <a:gd name="connsiteY22" fmla="*/ 21941 h 49255"/>
                <a:gd name="connsiteX23" fmla="*/ 40300 w 44778"/>
                <a:gd name="connsiteY23" fmla="*/ 21941 h 49255"/>
                <a:gd name="connsiteX24" fmla="*/ 40300 w 44778"/>
                <a:gd name="connsiteY24" fmla="*/ 46569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78" h="49255">
                  <a:moveTo>
                    <a:pt x="42539" y="17463"/>
                  </a:moveTo>
                  <a:lnTo>
                    <a:pt x="36270" y="17463"/>
                  </a:lnTo>
                  <a:lnTo>
                    <a:pt x="36270" y="13881"/>
                  </a:lnTo>
                  <a:cubicBezTo>
                    <a:pt x="36270" y="6269"/>
                    <a:pt x="30002" y="0"/>
                    <a:pt x="22389" y="0"/>
                  </a:cubicBezTo>
                  <a:cubicBezTo>
                    <a:pt x="14777" y="0"/>
                    <a:pt x="8508" y="6269"/>
                    <a:pt x="8508" y="13881"/>
                  </a:cubicBezTo>
                  <a:lnTo>
                    <a:pt x="8508" y="17463"/>
                  </a:lnTo>
                  <a:lnTo>
                    <a:pt x="2239" y="17463"/>
                  </a:lnTo>
                  <a:cubicBezTo>
                    <a:pt x="896" y="17463"/>
                    <a:pt x="0" y="18359"/>
                    <a:pt x="0" y="19702"/>
                  </a:cubicBezTo>
                  <a:lnTo>
                    <a:pt x="0" y="48808"/>
                  </a:lnTo>
                  <a:cubicBezTo>
                    <a:pt x="0" y="50151"/>
                    <a:pt x="896" y="51047"/>
                    <a:pt x="2239" y="51047"/>
                  </a:cubicBezTo>
                  <a:lnTo>
                    <a:pt x="42539" y="51047"/>
                  </a:lnTo>
                  <a:cubicBezTo>
                    <a:pt x="43883" y="51047"/>
                    <a:pt x="44778" y="50151"/>
                    <a:pt x="44778" y="48808"/>
                  </a:cubicBezTo>
                  <a:lnTo>
                    <a:pt x="44778" y="19702"/>
                  </a:lnTo>
                  <a:cubicBezTo>
                    <a:pt x="44778" y="18359"/>
                    <a:pt x="43435" y="17463"/>
                    <a:pt x="42539" y="17463"/>
                  </a:cubicBezTo>
                  <a:close/>
                  <a:moveTo>
                    <a:pt x="12986" y="13881"/>
                  </a:moveTo>
                  <a:cubicBezTo>
                    <a:pt x="12986" y="8508"/>
                    <a:pt x="17016" y="4478"/>
                    <a:pt x="22389" y="4478"/>
                  </a:cubicBezTo>
                  <a:cubicBezTo>
                    <a:pt x="27315" y="4478"/>
                    <a:pt x="31792" y="8508"/>
                    <a:pt x="31792" y="13881"/>
                  </a:cubicBezTo>
                  <a:lnTo>
                    <a:pt x="31792" y="17463"/>
                  </a:lnTo>
                  <a:lnTo>
                    <a:pt x="13433" y="17463"/>
                  </a:lnTo>
                  <a:lnTo>
                    <a:pt x="13433" y="13881"/>
                  </a:lnTo>
                  <a:close/>
                  <a:moveTo>
                    <a:pt x="40300" y="46569"/>
                  </a:moveTo>
                  <a:lnTo>
                    <a:pt x="4478" y="46569"/>
                  </a:lnTo>
                  <a:lnTo>
                    <a:pt x="4478" y="21941"/>
                  </a:lnTo>
                  <a:lnTo>
                    <a:pt x="40300" y="21941"/>
                  </a:lnTo>
                  <a:lnTo>
                    <a:pt x="40300" y="46569"/>
                  </a:lnTo>
                  <a:close/>
                </a:path>
              </a:pathLst>
            </a:custGeom>
            <a:solidFill>
              <a:srgbClr val="231F20"/>
            </a:solidFill>
            <a:ln w="4474" cap="flat">
              <a:noFill/>
              <a:prstDash val="solid"/>
              <a:miter/>
            </a:ln>
          </p:spPr>
          <p:txBody>
            <a:bodyPr rtlCol="0" anchor="ctr"/>
            <a:lstStyle/>
            <a:p>
              <a:endParaRPr lang="en-US"/>
            </a:p>
          </p:txBody>
        </p:sp>
      </p:grpSp>
      <p:grpSp>
        <p:nvGrpSpPr>
          <p:cNvPr id="3992" name="Group 3991">
            <a:extLst>
              <a:ext uri="{FF2B5EF4-FFF2-40B4-BE49-F238E27FC236}">
                <a16:creationId xmlns:a16="http://schemas.microsoft.com/office/drawing/2014/main" id="{AD01443F-0E18-4CD3-A1EF-0AC4E76BA4E9}"/>
              </a:ext>
              <a:ext uri="{C183D7F6-B498-43B3-948B-1728B52AA6E4}">
                <adec:decorative xmlns:adec="http://schemas.microsoft.com/office/drawing/2017/decorative" val="1"/>
              </a:ext>
            </a:extLst>
          </p:cNvPr>
          <p:cNvGrpSpPr>
            <a:grpSpLocks noChangeAspect="1"/>
          </p:cNvGrpSpPr>
          <p:nvPr/>
        </p:nvGrpSpPr>
        <p:grpSpPr>
          <a:xfrm>
            <a:off x="5286022" y="3339823"/>
            <a:ext cx="131480" cy="138812"/>
            <a:chOff x="5326776" y="2604384"/>
            <a:chExt cx="131480" cy="138812"/>
          </a:xfrm>
        </p:grpSpPr>
        <p:sp>
          <p:nvSpPr>
            <p:cNvPr id="3993" name="Freeform: Shape 3992">
              <a:extLst>
                <a:ext uri="{FF2B5EF4-FFF2-40B4-BE49-F238E27FC236}">
                  <a16:creationId xmlns:a16="http://schemas.microsoft.com/office/drawing/2014/main" id="{1491106F-D7D1-4CE7-ADBC-44A09EAC33EA}"/>
                </a:ext>
              </a:extLst>
            </p:cNvPr>
            <p:cNvSpPr/>
            <p:nvPr/>
          </p:nvSpPr>
          <p:spPr>
            <a:xfrm>
              <a:off x="5326776"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47913 w 125378"/>
                <a:gd name="connsiteY15" fmla="*/ 109259 h 138812"/>
                <a:gd name="connsiteX16" fmla="*/ 47913 w 125378"/>
                <a:gd name="connsiteY16" fmla="*/ 109259 h 138812"/>
                <a:gd name="connsiteX17" fmla="*/ 50152 w 125378"/>
                <a:gd name="connsiteY17" fmla="*/ 107020 h 138812"/>
                <a:gd name="connsiteX18" fmla="*/ 47913 w 125378"/>
                <a:gd name="connsiteY18" fmla="*/ 104781 h 138812"/>
                <a:gd name="connsiteX19" fmla="*/ 4030 w 125378"/>
                <a:gd name="connsiteY19" fmla="*/ 84183 h 138812"/>
                <a:gd name="connsiteX20" fmla="*/ 4030 w 125378"/>
                <a:gd name="connsiteY20" fmla="*/ 64481 h 138812"/>
                <a:gd name="connsiteX21" fmla="*/ 62242 w 125378"/>
                <a:gd name="connsiteY21" fmla="*/ 80601 h 138812"/>
                <a:gd name="connsiteX22" fmla="*/ 120453 w 125378"/>
                <a:gd name="connsiteY22" fmla="*/ 64481 h 138812"/>
                <a:gd name="connsiteX23" fmla="*/ 120453 w 125378"/>
                <a:gd name="connsiteY23" fmla="*/ 80601 h 138812"/>
                <a:gd name="connsiteX24" fmla="*/ 122692 w 125378"/>
                <a:gd name="connsiteY24" fmla="*/ 82840 h 138812"/>
                <a:gd name="connsiteX25" fmla="*/ 124931 w 125378"/>
                <a:gd name="connsiteY25" fmla="*/ 80601 h 138812"/>
                <a:gd name="connsiteX26" fmla="*/ 124931 w 125378"/>
                <a:gd name="connsiteY26" fmla="*/ 26419 h 138812"/>
                <a:gd name="connsiteX27" fmla="*/ 125379 w 125378"/>
                <a:gd name="connsiteY27" fmla="*/ 25523 h 138812"/>
                <a:gd name="connsiteX28" fmla="*/ 125379 w 125378"/>
                <a:gd name="connsiteY28" fmla="*/ 25523 h 138812"/>
                <a:gd name="connsiteX29" fmla="*/ 62689 w 125378"/>
                <a:gd name="connsiteY29" fmla="*/ 4478 h 138812"/>
                <a:gd name="connsiteX30" fmla="*/ 120901 w 125378"/>
                <a:gd name="connsiteY30" fmla="*/ 25523 h 138812"/>
                <a:gd name="connsiteX31" fmla="*/ 62689 w 125378"/>
                <a:gd name="connsiteY31" fmla="*/ 46569 h 138812"/>
                <a:gd name="connsiteX32" fmla="*/ 4478 w 125378"/>
                <a:gd name="connsiteY32" fmla="*/ 25523 h 138812"/>
                <a:gd name="connsiteX33" fmla="*/ 62689 w 125378"/>
                <a:gd name="connsiteY33" fmla="*/ 4478 h 138812"/>
                <a:gd name="connsiteX34" fmla="*/ 120901 w 125378"/>
                <a:gd name="connsiteY34" fmla="*/ 55077 h 138812"/>
                <a:gd name="connsiteX35" fmla="*/ 62689 w 125378"/>
                <a:gd name="connsiteY35" fmla="*/ 76123 h 138812"/>
                <a:gd name="connsiteX36" fmla="*/ 4478 w 125378"/>
                <a:gd name="connsiteY36" fmla="*/ 55077 h 138812"/>
                <a:gd name="connsiteX37" fmla="*/ 4478 w 125378"/>
                <a:gd name="connsiteY37" fmla="*/ 35375 h 138812"/>
                <a:gd name="connsiteX38" fmla="*/ 62689 w 125378"/>
                <a:gd name="connsiteY38" fmla="*/ 51495 h 138812"/>
                <a:gd name="connsiteX39" fmla="*/ 120901 w 125378"/>
                <a:gd name="connsiteY39" fmla="*/ 35375 h 138812"/>
                <a:gd name="connsiteX40" fmla="*/ 120901 w 125378"/>
                <a:gd name="connsiteY40"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1643" y="101646"/>
                    <a:pt x="27315" y="107468"/>
                    <a:pt x="47913" y="109259"/>
                  </a:cubicBezTo>
                  <a:cubicBezTo>
                    <a:pt x="47913" y="109259"/>
                    <a:pt x="47913" y="109259"/>
                    <a:pt x="47913" y="109259"/>
                  </a:cubicBezTo>
                  <a:cubicBezTo>
                    <a:pt x="49256" y="109259"/>
                    <a:pt x="50152" y="108363"/>
                    <a:pt x="50152" y="107020"/>
                  </a:cubicBezTo>
                  <a:cubicBezTo>
                    <a:pt x="50152" y="105677"/>
                    <a:pt x="49256" y="104781"/>
                    <a:pt x="47913" y="104781"/>
                  </a:cubicBezTo>
                  <a:cubicBezTo>
                    <a:pt x="22837" y="102542"/>
                    <a:pt x="4030" y="93586"/>
                    <a:pt x="4030" y="84183"/>
                  </a:cubicBezTo>
                  <a:lnTo>
                    <a:pt x="4030" y="64481"/>
                  </a:lnTo>
                  <a:cubicBezTo>
                    <a:pt x="12986" y="73884"/>
                    <a:pt x="35375" y="80601"/>
                    <a:pt x="62242" y="80601"/>
                  </a:cubicBezTo>
                  <a:cubicBezTo>
                    <a:pt x="89109" y="80601"/>
                    <a:pt x="111050" y="73884"/>
                    <a:pt x="120453" y="64481"/>
                  </a:cubicBezTo>
                  <a:lnTo>
                    <a:pt x="120453" y="80601"/>
                  </a:lnTo>
                  <a:cubicBezTo>
                    <a:pt x="120453" y="81944"/>
                    <a:pt x="121349" y="82840"/>
                    <a:pt x="122692" y="82840"/>
                  </a:cubicBezTo>
                  <a:cubicBezTo>
                    <a:pt x="124036" y="82840"/>
                    <a:pt x="124931" y="81944"/>
                    <a:pt x="124931" y="80601"/>
                  </a:cubicBezTo>
                  <a:lnTo>
                    <a:pt x="124931" y="26419"/>
                  </a:lnTo>
                  <a:cubicBezTo>
                    <a:pt x="125379" y="26419"/>
                    <a:pt x="125379" y="25971"/>
                    <a:pt x="125379" y="25523"/>
                  </a:cubicBezTo>
                  <a:cubicBezTo>
                    <a:pt x="125379" y="25971"/>
                    <a:pt x="125379" y="25971"/>
                    <a:pt x="125379" y="25523"/>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225"/>
                    <a:pt x="28210"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498"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3994" name="Freeform: Shape 3993">
              <a:extLst>
                <a:ext uri="{FF2B5EF4-FFF2-40B4-BE49-F238E27FC236}">
                  <a16:creationId xmlns:a16="http://schemas.microsoft.com/office/drawing/2014/main" id="{54EE3A32-1788-48E0-AFE8-CAAA34AFA953}"/>
                </a:ext>
              </a:extLst>
            </p:cNvPr>
            <p:cNvSpPr/>
            <p:nvPr/>
          </p:nvSpPr>
          <p:spPr>
            <a:xfrm>
              <a:off x="5417956" y="2709613"/>
              <a:ext cx="40300" cy="31345"/>
            </a:xfrm>
            <a:custGeom>
              <a:avLst/>
              <a:gdLst>
                <a:gd name="connsiteX0" fmla="*/ 39573 w 40300"/>
                <a:gd name="connsiteY0" fmla="*/ 9403 h 31344"/>
                <a:gd name="connsiteX1" fmla="*/ 31065 w 40300"/>
                <a:gd name="connsiteY1" fmla="*/ 448 h 31344"/>
                <a:gd name="connsiteX2" fmla="*/ 31065 w 40300"/>
                <a:gd name="connsiteY2" fmla="*/ 448 h 31344"/>
                <a:gd name="connsiteX3" fmla="*/ 29274 w 40300"/>
                <a:gd name="connsiteY3" fmla="*/ 0 h 31344"/>
                <a:gd name="connsiteX4" fmla="*/ 27482 w 40300"/>
                <a:gd name="connsiteY4" fmla="*/ 448 h 31344"/>
                <a:gd name="connsiteX5" fmla="*/ 27482 w 40300"/>
                <a:gd name="connsiteY5" fmla="*/ 448 h 31344"/>
                <a:gd name="connsiteX6" fmla="*/ 18975 w 40300"/>
                <a:gd name="connsiteY6" fmla="*/ 9403 h 31344"/>
                <a:gd name="connsiteX7" fmla="*/ 18975 w 40300"/>
                <a:gd name="connsiteY7" fmla="*/ 12538 h 31344"/>
                <a:gd name="connsiteX8" fmla="*/ 22109 w 40300"/>
                <a:gd name="connsiteY8" fmla="*/ 12538 h 31344"/>
                <a:gd name="connsiteX9" fmla="*/ 27035 w 40300"/>
                <a:gd name="connsiteY9" fmla="*/ 7612 h 31344"/>
                <a:gd name="connsiteX10" fmla="*/ 27035 w 40300"/>
                <a:gd name="connsiteY10" fmla="*/ 11642 h 31344"/>
                <a:gd name="connsiteX11" fmla="*/ 10019 w 40300"/>
                <a:gd name="connsiteY11" fmla="*/ 29106 h 31344"/>
                <a:gd name="connsiteX12" fmla="*/ 3303 w 40300"/>
                <a:gd name="connsiteY12" fmla="*/ 27762 h 31344"/>
                <a:gd name="connsiteX13" fmla="*/ 168 w 40300"/>
                <a:gd name="connsiteY13" fmla="*/ 29106 h 31344"/>
                <a:gd name="connsiteX14" fmla="*/ 1511 w 40300"/>
                <a:gd name="connsiteY14" fmla="*/ 32240 h 31344"/>
                <a:gd name="connsiteX15" fmla="*/ 10019 w 40300"/>
                <a:gd name="connsiteY15" fmla="*/ 34031 h 31344"/>
                <a:gd name="connsiteX16" fmla="*/ 31513 w 40300"/>
                <a:gd name="connsiteY16" fmla="*/ 12090 h 31344"/>
                <a:gd name="connsiteX17" fmla="*/ 31513 w 40300"/>
                <a:gd name="connsiteY17" fmla="*/ 8060 h 31344"/>
                <a:gd name="connsiteX18" fmla="*/ 36438 w 40300"/>
                <a:gd name="connsiteY18" fmla="*/ 12986 h 31344"/>
                <a:gd name="connsiteX19" fmla="*/ 38229 w 40300"/>
                <a:gd name="connsiteY19" fmla="*/ 13433 h 31344"/>
                <a:gd name="connsiteX20" fmla="*/ 40021 w 40300"/>
                <a:gd name="connsiteY20" fmla="*/ 12986 h 31344"/>
                <a:gd name="connsiteX21" fmla="*/ 39573 w 40300"/>
                <a:gd name="connsiteY21" fmla="*/ 9403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00" h="31344">
                  <a:moveTo>
                    <a:pt x="39573" y="9403"/>
                  </a:moveTo>
                  <a:lnTo>
                    <a:pt x="31065" y="448"/>
                  </a:lnTo>
                  <a:cubicBezTo>
                    <a:pt x="31065" y="448"/>
                    <a:pt x="31065" y="448"/>
                    <a:pt x="31065" y="448"/>
                  </a:cubicBezTo>
                  <a:cubicBezTo>
                    <a:pt x="30617" y="0"/>
                    <a:pt x="30170" y="0"/>
                    <a:pt x="29274" y="0"/>
                  </a:cubicBezTo>
                  <a:cubicBezTo>
                    <a:pt x="28826" y="0"/>
                    <a:pt x="27931" y="448"/>
                    <a:pt x="27482" y="448"/>
                  </a:cubicBezTo>
                  <a:cubicBezTo>
                    <a:pt x="27482" y="448"/>
                    <a:pt x="27482" y="448"/>
                    <a:pt x="27482" y="448"/>
                  </a:cubicBezTo>
                  <a:lnTo>
                    <a:pt x="18975" y="9403"/>
                  </a:lnTo>
                  <a:cubicBezTo>
                    <a:pt x="18079" y="10299"/>
                    <a:pt x="18079" y="11642"/>
                    <a:pt x="18975" y="12538"/>
                  </a:cubicBezTo>
                  <a:cubicBezTo>
                    <a:pt x="19870" y="13433"/>
                    <a:pt x="21214" y="13433"/>
                    <a:pt x="22109" y="12538"/>
                  </a:cubicBezTo>
                  <a:lnTo>
                    <a:pt x="27035" y="7612"/>
                  </a:lnTo>
                  <a:lnTo>
                    <a:pt x="27035" y="11642"/>
                  </a:lnTo>
                  <a:cubicBezTo>
                    <a:pt x="27035" y="21046"/>
                    <a:pt x="19423" y="29106"/>
                    <a:pt x="10019" y="29106"/>
                  </a:cubicBezTo>
                  <a:cubicBezTo>
                    <a:pt x="7780" y="29106"/>
                    <a:pt x="5542" y="28658"/>
                    <a:pt x="3303" y="27762"/>
                  </a:cubicBezTo>
                  <a:cubicBezTo>
                    <a:pt x="1959" y="27315"/>
                    <a:pt x="1064" y="27762"/>
                    <a:pt x="168" y="29106"/>
                  </a:cubicBezTo>
                  <a:cubicBezTo>
                    <a:pt x="-280" y="30449"/>
                    <a:pt x="168" y="31345"/>
                    <a:pt x="1511" y="32240"/>
                  </a:cubicBezTo>
                  <a:cubicBezTo>
                    <a:pt x="4198" y="33584"/>
                    <a:pt x="6885" y="34031"/>
                    <a:pt x="10019" y="34031"/>
                  </a:cubicBezTo>
                  <a:cubicBezTo>
                    <a:pt x="22109" y="34031"/>
                    <a:pt x="31513" y="24180"/>
                    <a:pt x="31513" y="12090"/>
                  </a:cubicBezTo>
                  <a:lnTo>
                    <a:pt x="31513" y="8060"/>
                  </a:lnTo>
                  <a:lnTo>
                    <a:pt x="36438" y="12986"/>
                  </a:lnTo>
                  <a:cubicBezTo>
                    <a:pt x="36886" y="13433"/>
                    <a:pt x="37334" y="13433"/>
                    <a:pt x="38229" y="13433"/>
                  </a:cubicBezTo>
                  <a:cubicBezTo>
                    <a:pt x="38677" y="13433"/>
                    <a:pt x="39573" y="13433"/>
                    <a:pt x="40021" y="12986"/>
                  </a:cubicBezTo>
                  <a:cubicBezTo>
                    <a:pt x="40468" y="11642"/>
                    <a:pt x="40468" y="10299"/>
                    <a:pt x="39573" y="9403"/>
                  </a:cubicBezTo>
                  <a:close/>
                </a:path>
              </a:pathLst>
            </a:custGeom>
            <a:solidFill>
              <a:srgbClr val="231F20"/>
            </a:solidFill>
            <a:ln w="4474" cap="flat">
              <a:noFill/>
              <a:prstDash val="solid"/>
              <a:miter/>
            </a:ln>
          </p:spPr>
          <p:txBody>
            <a:bodyPr rtlCol="0" anchor="ctr"/>
            <a:lstStyle/>
            <a:p>
              <a:endParaRPr lang="en-US"/>
            </a:p>
          </p:txBody>
        </p:sp>
        <p:sp>
          <p:nvSpPr>
            <p:cNvPr id="3995" name="Freeform: Shape 3994">
              <a:extLst>
                <a:ext uri="{FF2B5EF4-FFF2-40B4-BE49-F238E27FC236}">
                  <a16:creationId xmlns:a16="http://schemas.microsoft.com/office/drawing/2014/main" id="{7A632088-4AEA-4529-975E-77DD461F702E}"/>
                </a:ext>
              </a:extLst>
            </p:cNvPr>
            <p:cNvSpPr/>
            <p:nvPr/>
          </p:nvSpPr>
          <p:spPr>
            <a:xfrm>
              <a:off x="5395959" y="2697971"/>
              <a:ext cx="35823" cy="31345"/>
            </a:xfrm>
            <a:custGeom>
              <a:avLst/>
              <a:gdLst>
                <a:gd name="connsiteX0" fmla="*/ 38733 w 35822"/>
                <a:gd name="connsiteY0" fmla="*/ 1791 h 31344"/>
                <a:gd name="connsiteX1" fmla="*/ 30225 w 35822"/>
                <a:gd name="connsiteY1" fmla="*/ 0 h 31344"/>
                <a:gd name="connsiteX2" fmla="*/ 8732 w 35822"/>
                <a:gd name="connsiteY2" fmla="*/ 21941 h 31344"/>
                <a:gd name="connsiteX3" fmla="*/ 8732 w 35822"/>
                <a:gd name="connsiteY3" fmla="*/ 25971 h 31344"/>
                <a:gd name="connsiteX4" fmla="*/ 3806 w 35822"/>
                <a:gd name="connsiteY4" fmla="*/ 21046 h 31344"/>
                <a:gd name="connsiteX5" fmla="*/ 672 w 35822"/>
                <a:gd name="connsiteY5" fmla="*/ 21046 h 31344"/>
                <a:gd name="connsiteX6" fmla="*/ 672 w 35822"/>
                <a:gd name="connsiteY6" fmla="*/ 24180 h 31344"/>
                <a:gd name="connsiteX7" fmla="*/ 9179 w 35822"/>
                <a:gd name="connsiteY7" fmla="*/ 33136 h 31344"/>
                <a:gd name="connsiteX8" fmla="*/ 9179 w 35822"/>
                <a:gd name="connsiteY8" fmla="*/ 33136 h 31344"/>
                <a:gd name="connsiteX9" fmla="*/ 10075 w 35822"/>
                <a:gd name="connsiteY9" fmla="*/ 33584 h 31344"/>
                <a:gd name="connsiteX10" fmla="*/ 10971 w 35822"/>
                <a:gd name="connsiteY10" fmla="*/ 33584 h 31344"/>
                <a:gd name="connsiteX11" fmla="*/ 11866 w 35822"/>
                <a:gd name="connsiteY11" fmla="*/ 33584 h 31344"/>
                <a:gd name="connsiteX12" fmla="*/ 12762 w 35822"/>
                <a:gd name="connsiteY12" fmla="*/ 33136 h 31344"/>
                <a:gd name="connsiteX13" fmla="*/ 12762 w 35822"/>
                <a:gd name="connsiteY13" fmla="*/ 33136 h 31344"/>
                <a:gd name="connsiteX14" fmla="*/ 21270 w 35822"/>
                <a:gd name="connsiteY14" fmla="*/ 24180 h 31344"/>
                <a:gd name="connsiteX15" fmla="*/ 21270 w 35822"/>
                <a:gd name="connsiteY15" fmla="*/ 21046 h 31344"/>
                <a:gd name="connsiteX16" fmla="*/ 18135 w 35822"/>
                <a:gd name="connsiteY16" fmla="*/ 21046 h 31344"/>
                <a:gd name="connsiteX17" fmla="*/ 13209 w 35822"/>
                <a:gd name="connsiteY17" fmla="*/ 25971 h 31344"/>
                <a:gd name="connsiteX18" fmla="*/ 13209 w 35822"/>
                <a:gd name="connsiteY18" fmla="*/ 21941 h 31344"/>
                <a:gd name="connsiteX19" fmla="*/ 30225 w 35822"/>
                <a:gd name="connsiteY19" fmla="*/ 4478 h 31344"/>
                <a:gd name="connsiteX20" fmla="*/ 36942 w 35822"/>
                <a:gd name="connsiteY20" fmla="*/ 5821 h 31344"/>
                <a:gd name="connsiteX21" fmla="*/ 40076 w 35822"/>
                <a:gd name="connsiteY21" fmla="*/ 4478 h 31344"/>
                <a:gd name="connsiteX22" fmla="*/ 38733 w 35822"/>
                <a:gd name="connsiteY22" fmla="*/ 1791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822" h="31344">
                  <a:moveTo>
                    <a:pt x="38733" y="1791"/>
                  </a:moveTo>
                  <a:cubicBezTo>
                    <a:pt x="36046" y="448"/>
                    <a:pt x="33360" y="0"/>
                    <a:pt x="30225" y="0"/>
                  </a:cubicBezTo>
                  <a:cubicBezTo>
                    <a:pt x="18583" y="0"/>
                    <a:pt x="8732" y="9851"/>
                    <a:pt x="8732" y="21941"/>
                  </a:cubicBezTo>
                  <a:lnTo>
                    <a:pt x="8732" y="25971"/>
                  </a:lnTo>
                  <a:lnTo>
                    <a:pt x="3806" y="21046"/>
                  </a:lnTo>
                  <a:cubicBezTo>
                    <a:pt x="2911" y="20150"/>
                    <a:pt x="1567" y="20150"/>
                    <a:pt x="672" y="21046"/>
                  </a:cubicBezTo>
                  <a:cubicBezTo>
                    <a:pt x="-224" y="21941"/>
                    <a:pt x="-224" y="23285"/>
                    <a:pt x="672" y="24180"/>
                  </a:cubicBezTo>
                  <a:lnTo>
                    <a:pt x="9179" y="33136"/>
                  </a:lnTo>
                  <a:cubicBezTo>
                    <a:pt x="9179" y="33136"/>
                    <a:pt x="9179" y="33136"/>
                    <a:pt x="9179" y="33136"/>
                  </a:cubicBezTo>
                  <a:cubicBezTo>
                    <a:pt x="9179" y="33136"/>
                    <a:pt x="9628" y="33584"/>
                    <a:pt x="10075" y="33584"/>
                  </a:cubicBezTo>
                  <a:cubicBezTo>
                    <a:pt x="10523" y="33584"/>
                    <a:pt x="10523" y="33584"/>
                    <a:pt x="10971" y="33584"/>
                  </a:cubicBezTo>
                  <a:cubicBezTo>
                    <a:pt x="11418" y="33584"/>
                    <a:pt x="11418" y="33584"/>
                    <a:pt x="11866" y="33584"/>
                  </a:cubicBezTo>
                  <a:cubicBezTo>
                    <a:pt x="12314" y="33584"/>
                    <a:pt x="12314" y="33136"/>
                    <a:pt x="12762" y="33136"/>
                  </a:cubicBezTo>
                  <a:cubicBezTo>
                    <a:pt x="12762" y="33136"/>
                    <a:pt x="12762" y="33136"/>
                    <a:pt x="12762" y="33136"/>
                  </a:cubicBezTo>
                  <a:lnTo>
                    <a:pt x="21270" y="24180"/>
                  </a:lnTo>
                  <a:cubicBezTo>
                    <a:pt x="22165" y="23285"/>
                    <a:pt x="22165" y="21941"/>
                    <a:pt x="21270" y="21046"/>
                  </a:cubicBezTo>
                  <a:cubicBezTo>
                    <a:pt x="20374" y="20150"/>
                    <a:pt x="19031" y="20150"/>
                    <a:pt x="18135" y="21046"/>
                  </a:cubicBezTo>
                  <a:lnTo>
                    <a:pt x="13209" y="25971"/>
                  </a:lnTo>
                  <a:lnTo>
                    <a:pt x="13209" y="21941"/>
                  </a:lnTo>
                  <a:cubicBezTo>
                    <a:pt x="13209" y="12538"/>
                    <a:pt x="20822" y="4478"/>
                    <a:pt x="30225" y="4478"/>
                  </a:cubicBezTo>
                  <a:cubicBezTo>
                    <a:pt x="32464" y="4478"/>
                    <a:pt x="34703" y="4926"/>
                    <a:pt x="36942" y="5821"/>
                  </a:cubicBezTo>
                  <a:cubicBezTo>
                    <a:pt x="38285" y="6269"/>
                    <a:pt x="39181" y="5821"/>
                    <a:pt x="40076" y="4478"/>
                  </a:cubicBezTo>
                  <a:cubicBezTo>
                    <a:pt x="40076" y="3582"/>
                    <a:pt x="39629" y="2239"/>
                    <a:pt x="38733" y="1791"/>
                  </a:cubicBezTo>
                  <a:close/>
                </a:path>
              </a:pathLst>
            </a:custGeom>
            <a:solidFill>
              <a:srgbClr val="231F20"/>
            </a:solidFill>
            <a:ln w="4474" cap="flat">
              <a:noFill/>
              <a:prstDash val="solid"/>
              <a:miter/>
            </a:ln>
          </p:spPr>
          <p:txBody>
            <a:bodyPr rtlCol="0" anchor="ctr"/>
            <a:lstStyle/>
            <a:p>
              <a:endParaRPr lang="en-US"/>
            </a:p>
          </p:txBody>
        </p:sp>
      </p:grpSp>
      <p:grpSp>
        <p:nvGrpSpPr>
          <p:cNvPr id="3996" name="Group 3995">
            <a:extLst>
              <a:ext uri="{FF2B5EF4-FFF2-40B4-BE49-F238E27FC236}">
                <a16:creationId xmlns:a16="http://schemas.microsoft.com/office/drawing/2014/main" id="{70575725-C365-4243-B016-CBFB630D79A3}"/>
              </a:ext>
              <a:ext uri="{C183D7F6-B498-43B3-948B-1728B52AA6E4}">
                <adec:decorative xmlns:adec="http://schemas.microsoft.com/office/drawing/2017/decorative" val="1"/>
              </a:ext>
            </a:extLst>
          </p:cNvPr>
          <p:cNvGrpSpPr>
            <a:grpSpLocks noChangeAspect="1"/>
          </p:cNvGrpSpPr>
          <p:nvPr/>
        </p:nvGrpSpPr>
        <p:grpSpPr>
          <a:xfrm>
            <a:off x="4242243" y="3339823"/>
            <a:ext cx="125379" cy="138812"/>
            <a:chOff x="4282997" y="2604384"/>
            <a:chExt cx="125379" cy="138812"/>
          </a:xfrm>
        </p:grpSpPr>
        <p:sp>
          <p:nvSpPr>
            <p:cNvPr id="3997" name="Freeform: Shape 3996">
              <a:extLst>
                <a:ext uri="{FF2B5EF4-FFF2-40B4-BE49-F238E27FC236}">
                  <a16:creationId xmlns:a16="http://schemas.microsoft.com/office/drawing/2014/main" id="{D571614E-3331-4405-A27A-AB5B2BBDEBC3}"/>
                </a:ext>
              </a:extLst>
            </p:cNvPr>
            <p:cNvSpPr/>
            <p:nvPr/>
          </p:nvSpPr>
          <p:spPr>
            <a:xfrm>
              <a:off x="4282997"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1049 h 138812"/>
                <a:gd name="connsiteX23" fmla="*/ 123140 w 125378"/>
                <a:gd name="connsiteY23" fmla="*/ 83287 h 138812"/>
                <a:gd name="connsiteX24" fmla="*/ 125379 w 125378"/>
                <a:gd name="connsiteY24" fmla="*/ 81049 h 138812"/>
                <a:gd name="connsiteX25" fmla="*/ 125379 w 125378"/>
                <a:gd name="connsiteY25" fmla="*/ 25971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763"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3"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7" y="83287"/>
                    <a:pt x="123140" y="83287"/>
                  </a:cubicBezTo>
                  <a:cubicBezTo>
                    <a:pt x="124484" y="83287"/>
                    <a:pt x="125379" y="82392"/>
                    <a:pt x="125379" y="81049"/>
                  </a:cubicBezTo>
                  <a:lnTo>
                    <a:pt x="125379" y="25971"/>
                  </a:lnTo>
                  <a:cubicBezTo>
                    <a:pt x="125379" y="26419"/>
                    <a:pt x="124931" y="25971"/>
                    <a:pt x="125379" y="25523"/>
                  </a:cubicBezTo>
                  <a:cubicBezTo>
                    <a:pt x="124931" y="25971"/>
                    <a:pt x="125379" y="25971"/>
                    <a:pt x="125379" y="25523"/>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225"/>
                    <a:pt x="27763"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3998" name="Freeform: Shape 3997">
              <a:extLst>
                <a:ext uri="{FF2B5EF4-FFF2-40B4-BE49-F238E27FC236}">
                  <a16:creationId xmlns:a16="http://schemas.microsoft.com/office/drawing/2014/main" id="{DE727BC1-816B-457E-9E64-D1ADD250D4D2}"/>
                </a:ext>
              </a:extLst>
            </p:cNvPr>
            <p:cNvSpPr/>
            <p:nvPr/>
          </p:nvSpPr>
          <p:spPr>
            <a:xfrm>
              <a:off x="4354796" y="2703752"/>
              <a:ext cx="49256" cy="35823"/>
            </a:xfrm>
            <a:custGeom>
              <a:avLst/>
              <a:gdLst>
                <a:gd name="connsiteX0" fmla="*/ 22683 w 49255"/>
                <a:gd name="connsiteY0" fmla="*/ 39445 h 35822"/>
                <a:gd name="connsiteX1" fmla="*/ 21340 w 49255"/>
                <a:gd name="connsiteY1" fmla="*/ 38997 h 35822"/>
                <a:gd name="connsiteX2" fmla="*/ 742 w 49255"/>
                <a:gd name="connsiteY2" fmla="*/ 21534 h 35822"/>
                <a:gd name="connsiteX3" fmla="*/ 294 w 49255"/>
                <a:gd name="connsiteY3" fmla="*/ 18399 h 35822"/>
                <a:gd name="connsiteX4" fmla="*/ 3429 w 49255"/>
                <a:gd name="connsiteY4" fmla="*/ 17952 h 35822"/>
                <a:gd name="connsiteX5" fmla="*/ 22235 w 49255"/>
                <a:gd name="connsiteY5" fmla="*/ 34072 h 35822"/>
                <a:gd name="connsiteX6" fmla="*/ 46416 w 49255"/>
                <a:gd name="connsiteY6" fmla="*/ 936 h 35822"/>
                <a:gd name="connsiteX7" fmla="*/ 49550 w 49255"/>
                <a:gd name="connsiteY7" fmla="*/ 488 h 35822"/>
                <a:gd name="connsiteX8" fmla="*/ 49998 w 49255"/>
                <a:gd name="connsiteY8" fmla="*/ 3623 h 35822"/>
                <a:gd name="connsiteX9" fmla="*/ 24474 w 49255"/>
                <a:gd name="connsiteY9" fmla="*/ 38550 h 35822"/>
                <a:gd name="connsiteX10" fmla="*/ 22683 w 49255"/>
                <a:gd name="connsiteY10" fmla="*/ 39445 h 35822"/>
                <a:gd name="connsiteX11" fmla="*/ 22683 w 49255"/>
                <a:gd name="connsiteY11" fmla="*/ 3944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55" h="35822">
                  <a:moveTo>
                    <a:pt x="22683" y="39445"/>
                  </a:moveTo>
                  <a:cubicBezTo>
                    <a:pt x="22235" y="39445"/>
                    <a:pt x="21788" y="39445"/>
                    <a:pt x="21340" y="38997"/>
                  </a:cubicBezTo>
                  <a:lnTo>
                    <a:pt x="742" y="21534"/>
                  </a:lnTo>
                  <a:cubicBezTo>
                    <a:pt x="-154" y="20638"/>
                    <a:pt x="-154" y="19295"/>
                    <a:pt x="294" y="18399"/>
                  </a:cubicBezTo>
                  <a:cubicBezTo>
                    <a:pt x="1190" y="17504"/>
                    <a:pt x="2533" y="17504"/>
                    <a:pt x="3429" y="17952"/>
                  </a:cubicBezTo>
                  <a:lnTo>
                    <a:pt x="22235" y="34072"/>
                  </a:lnTo>
                  <a:lnTo>
                    <a:pt x="46416" y="936"/>
                  </a:lnTo>
                  <a:cubicBezTo>
                    <a:pt x="47311" y="40"/>
                    <a:pt x="48655" y="-407"/>
                    <a:pt x="49550" y="488"/>
                  </a:cubicBezTo>
                  <a:cubicBezTo>
                    <a:pt x="50446" y="1384"/>
                    <a:pt x="50894" y="2727"/>
                    <a:pt x="49998" y="3623"/>
                  </a:cubicBezTo>
                  <a:lnTo>
                    <a:pt x="24474" y="38550"/>
                  </a:lnTo>
                  <a:cubicBezTo>
                    <a:pt x="24027" y="38997"/>
                    <a:pt x="23579" y="39445"/>
                    <a:pt x="22683" y="39445"/>
                  </a:cubicBezTo>
                  <a:cubicBezTo>
                    <a:pt x="22683" y="39445"/>
                    <a:pt x="22683" y="39445"/>
                    <a:pt x="22683" y="39445"/>
                  </a:cubicBezTo>
                  <a:close/>
                </a:path>
              </a:pathLst>
            </a:custGeom>
            <a:solidFill>
              <a:srgbClr val="231F20"/>
            </a:solidFill>
            <a:ln w="4474" cap="flat">
              <a:noFill/>
              <a:prstDash val="solid"/>
              <a:miter/>
            </a:ln>
          </p:spPr>
          <p:txBody>
            <a:bodyPr rtlCol="0" anchor="ctr"/>
            <a:lstStyle/>
            <a:p>
              <a:endParaRPr lang="en-US"/>
            </a:p>
          </p:txBody>
        </p:sp>
      </p:grpSp>
      <p:grpSp>
        <p:nvGrpSpPr>
          <p:cNvPr id="3999" name="Group 3998">
            <a:extLst>
              <a:ext uri="{FF2B5EF4-FFF2-40B4-BE49-F238E27FC236}">
                <a16:creationId xmlns:a16="http://schemas.microsoft.com/office/drawing/2014/main" id="{84F21C14-6616-47D5-B656-4BAA7BBB010D}"/>
              </a:ext>
              <a:ext uri="{C183D7F6-B498-43B3-948B-1728B52AA6E4}">
                <adec:decorative xmlns:adec="http://schemas.microsoft.com/office/drawing/2017/decorative" val="1"/>
              </a:ext>
            </a:extLst>
          </p:cNvPr>
          <p:cNvGrpSpPr>
            <a:grpSpLocks noChangeAspect="1"/>
          </p:cNvGrpSpPr>
          <p:nvPr/>
        </p:nvGrpSpPr>
        <p:grpSpPr>
          <a:xfrm>
            <a:off x="4512256" y="3339823"/>
            <a:ext cx="125379" cy="138812"/>
            <a:chOff x="4553010" y="2604384"/>
            <a:chExt cx="125379" cy="138812"/>
          </a:xfrm>
        </p:grpSpPr>
        <p:sp>
          <p:nvSpPr>
            <p:cNvPr id="4000" name="Freeform: Shape 3999">
              <a:extLst>
                <a:ext uri="{FF2B5EF4-FFF2-40B4-BE49-F238E27FC236}">
                  <a16:creationId xmlns:a16="http://schemas.microsoft.com/office/drawing/2014/main" id="{16CB0B75-C0E5-46FF-8127-CF0F2E268C5F}"/>
                </a:ext>
              </a:extLst>
            </p:cNvPr>
            <p:cNvSpPr/>
            <p:nvPr/>
          </p:nvSpPr>
          <p:spPr>
            <a:xfrm>
              <a:off x="4553010"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1049 h 138812"/>
                <a:gd name="connsiteX23" fmla="*/ 123140 w 125378"/>
                <a:gd name="connsiteY23" fmla="*/ 83287 h 138812"/>
                <a:gd name="connsiteX24" fmla="*/ 125379 w 125378"/>
                <a:gd name="connsiteY24" fmla="*/ 81049 h 138812"/>
                <a:gd name="connsiteX25" fmla="*/ 125379 w 125378"/>
                <a:gd name="connsiteY25" fmla="*/ 25971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2"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2"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6" y="83287"/>
                    <a:pt x="123140" y="83287"/>
                  </a:cubicBezTo>
                  <a:cubicBezTo>
                    <a:pt x="124483" y="83287"/>
                    <a:pt x="125379" y="82392"/>
                    <a:pt x="125379" y="81049"/>
                  </a:cubicBezTo>
                  <a:lnTo>
                    <a:pt x="125379" y="25971"/>
                  </a:lnTo>
                  <a:cubicBezTo>
                    <a:pt x="125379" y="26419"/>
                    <a:pt x="125379" y="25971"/>
                    <a:pt x="125379" y="25523"/>
                  </a:cubicBezTo>
                  <a:cubicBezTo>
                    <a:pt x="125379" y="25971"/>
                    <a:pt x="125379" y="25971"/>
                    <a:pt x="125379" y="25523"/>
                  </a:cubicBezTo>
                  <a:close/>
                  <a:moveTo>
                    <a:pt x="62689" y="4478"/>
                  </a:moveTo>
                  <a:cubicBezTo>
                    <a:pt x="97616" y="4478"/>
                    <a:pt x="120901" y="15225"/>
                    <a:pt x="120901" y="25523"/>
                  </a:cubicBezTo>
                  <a:cubicBezTo>
                    <a:pt x="120901" y="35823"/>
                    <a:pt x="97616" y="46569"/>
                    <a:pt x="62689" y="46569"/>
                  </a:cubicBezTo>
                  <a:cubicBezTo>
                    <a:pt x="27762" y="46569"/>
                    <a:pt x="4478" y="35823"/>
                    <a:pt x="4478" y="25523"/>
                  </a:cubicBezTo>
                  <a:cubicBezTo>
                    <a:pt x="4478" y="15225"/>
                    <a:pt x="27762" y="4478"/>
                    <a:pt x="62689" y="4478"/>
                  </a:cubicBezTo>
                  <a:close/>
                  <a:moveTo>
                    <a:pt x="120901" y="55077"/>
                  </a:moveTo>
                  <a:cubicBezTo>
                    <a:pt x="120901" y="65376"/>
                    <a:pt x="97616" y="76123"/>
                    <a:pt x="62689" y="76123"/>
                  </a:cubicBezTo>
                  <a:cubicBezTo>
                    <a:pt x="27762"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4001" name="Freeform: Shape 4000">
              <a:extLst>
                <a:ext uri="{FF2B5EF4-FFF2-40B4-BE49-F238E27FC236}">
                  <a16:creationId xmlns:a16="http://schemas.microsoft.com/office/drawing/2014/main" id="{88FAEAC5-4D22-454E-9289-050F51313A98}"/>
                </a:ext>
              </a:extLst>
            </p:cNvPr>
            <p:cNvSpPr/>
            <p:nvPr/>
          </p:nvSpPr>
          <p:spPr>
            <a:xfrm>
              <a:off x="4633163" y="2695060"/>
              <a:ext cx="35823" cy="44778"/>
            </a:xfrm>
            <a:custGeom>
              <a:avLst/>
              <a:gdLst>
                <a:gd name="connsiteX0" fmla="*/ 19703 w 35822"/>
                <a:gd name="connsiteY0" fmla="*/ 8732 h 44778"/>
                <a:gd name="connsiteX1" fmla="*/ 14777 w 35822"/>
                <a:gd name="connsiteY1" fmla="*/ 8732 h 44778"/>
                <a:gd name="connsiteX2" fmla="*/ 19703 w 35822"/>
                <a:gd name="connsiteY2" fmla="*/ 3806 h 44778"/>
                <a:gd name="connsiteX3" fmla="*/ 19703 w 35822"/>
                <a:gd name="connsiteY3" fmla="*/ 672 h 44778"/>
                <a:gd name="connsiteX4" fmla="*/ 16568 w 35822"/>
                <a:gd name="connsiteY4" fmla="*/ 672 h 44778"/>
                <a:gd name="connsiteX5" fmla="*/ 8060 w 35822"/>
                <a:gd name="connsiteY5" fmla="*/ 9627 h 44778"/>
                <a:gd name="connsiteX6" fmla="*/ 8060 w 35822"/>
                <a:gd name="connsiteY6" fmla="*/ 12762 h 44778"/>
                <a:gd name="connsiteX7" fmla="*/ 16568 w 35822"/>
                <a:gd name="connsiteY7" fmla="*/ 21718 h 44778"/>
                <a:gd name="connsiteX8" fmla="*/ 18359 w 35822"/>
                <a:gd name="connsiteY8" fmla="*/ 22165 h 44778"/>
                <a:gd name="connsiteX9" fmla="*/ 20150 w 35822"/>
                <a:gd name="connsiteY9" fmla="*/ 21718 h 44778"/>
                <a:gd name="connsiteX10" fmla="*/ 20150 w 35822"/>
                <a:gd name="connsiteY10" fmla="*/ 18583 h 44778"/>
                <a:gd name="connsiteX11" fmla="*/ 15225 w 35822"/>
                <a:gd name="connsiteY11" fmla="*/ 13657 h 44778"/>
                <a:gd name="connsiteX12" fmla="*/ 19703 w 35822"/>
                <a:gd name="connsiteY12" fmla="*/ 13657 h 44778"/>
                <a:gd name="connsiteX13" fmla="*/ 34927 w 35822"/>
                <a:gd name="connsiteY13" fmla="*/ 28882 h 44778"/>
                <a:gd name="connsiteX14" fmla="*/ 19703 w 35822"/>
                <a:gd name="connsiteY14" fmla="*/ 44107 h 44778"/>
                <a:gd name="connsiteX15" fmla="*/ 4478 w 35822"/>
                <a:gd name="connsiteY15" fmla="*/ 28882 h 44778"/>
                <a:gd name="connsiteX16" fmla="*/ 2239 w 35822"/>
                <a:gd name="connsiteY16" fmla="*/ 26643 h 44778"/>
                <a:gd name="connsiteX17" fmla="*/ 0 w 35822"/>
                <a:gd name="connsiteY17" fmla="*/ 28882 h 44778"/>
                <a:gd name="connsiteX18" fmla="*/ 19703 w 35822"/>
                <a:gd name="connsiteY18" fmla="*/ 48584 h 44778"/>
                <a:gd name="connsiteX19" fmla="*/ 39405 w 35822"/>
                <a:gd name="connsiteY19" fmla="*/ 28882 h 44778"/>
                <a:gd name="connsiteX20" fmla="*/ 19703 w 35822"/>
                <a:gd name="connsiteY20" fmla="*/ 8732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822" h="44778">
                  <a:moveTo>
                    <a:pt x="19703" y="8732"/>
                  </a:moveTo>
                  <a:lnTo>
                    <a:pt x="14777" y="8732"/>
                  </a:lnTo>
                  <a:lnTo>
                    <a:pt x="19703" y="3806"/>
                  </a:lnTo>
                  <a:cubicBezTo>
                    <a:pt x="20598" y="2911"/>
                    <a:pt x="20598" y="1567"/>
                    <a:pt x="19703" y="672"/>
                  </a:cubicBezTo>
                  <a:cubicBezTo>
                    <a:pt x="18807" y="-224"/>
                    <a:pt x="17464" y="-224"/>
                    <a:pt x="16568" y="672"/>
                  </a:cubicBezTo>
                  <a:lnTo>
                    <a:pt x="8060" y="9627"/>
                  </a:lnTo>
                  <a:cubicBezTo>
                    <a:pt x="7165" y="10523"/>
                    <a:pt x="7165" y="11866"/>
                    <a:pt x="8060" y="12762"/>
                  </a:cubicBezTo>
                  <a:lnTo>
                    <a:pt x="16568" y="21718"/>
                  </a:lnTo>
                  <a:cubicBezTo>
                    <a:pt x="17016" y="22165"/>
                    <a:pt x="17464" y="22165"/>
                    <a:pt x="18359" y="22165"/>
                  </a:cubicBezTo>
                  <a:cubicBezTo>
                    <a:pt x="18807" y="22165"/>
                    <a:pt x="19703" y="22165"/>
                    <a:pt x="20150" y="21718"/>
                  </a:cubicBezTo>
                  <a:cubicBezTo>
                    <a:pt x="21046" y="20822"/>
                    <a:pt x="21046" y="19479"/>
                    <a:pt x="20150" y="18583"/>
                  </a:cubicBezTo>
                  <a:lnTo>
                    <a:pt x="15225" y="13657"/>
                  </a:lnTo>
                  <a:lnTo>
                    <a:pt x="19703" y="13657"/>
                  </a:lnTo>
                  <a:cubicBezTo>
                    <a:pt x="28210" y="13657"/>
                    <a:pt x="34927" y="20374"/>
                    <a:pt x="34927" y="28882"/>
                  </a:cubicBezTo>
                  <a:cubicBezTo>
                    <a:pt x="34927" y="37390"/>
                    <a:pt x="28210" y="44107"/>
                    <a:pt x="19703" y="44107"/>
                  </a:cubicBezTo>
                  <a:cubicBezTo>
                    <a:pt x="11195" y="44107"/>
                    <a:pt x="4478" y="37390"/>
                    <a:pt x="4478" y="28882"/>
                  </a:cubicBezTo>
                  <a:cubicBezTo>
                    <a:pt x="4478" y="27539"/>
                    <a:pt x="3582" y="26643"/>
                    <a:pt x="2239" y="26643"/>
                  </a:cubicBezTo>
                  <a:cubicBezTo>
                    <a:pt x="896" y="26643"/>
                    <a:pt x="0" y="27539"/>
                    <a:pt x="0" y="28882"/>
                  </a:cubicBezTo>
                  <a:cubicBezTo>
                    <a:pt x="0" y="39629"/>
                    <a:pt x="8956" y="48584"/>
                    <a:pt x="19703" y="48584"/>
                  </a:cubicBezTo>
                  <a:cubicBezTo>
                    <a:pt x="30449" y="48584"/>
                    <a:pt x="39405" y="39629"/>
                    <a:pt x="39405" y="28882"/>
                  </a:cubicBezTo>
                  <a:cubicBezTo>
                    <a:pt x="39405" y="18135"/>
                    <a:pt x="30449" y="8732"/>
                    <a:pt x="19703" y="8732"/>
                  </a:cubicBezTo>
                  <a:close/>
                </a:path>
              </a:pathLst>
            </a:custGeom>
            <a:solidFill>
              <a:srgbClr val="231F20"/>
            </a:solidFill>
            <a:ln w="4474" cap="flat">
              <a:noFill/>
              <a:prstDash val="solid"/>
              <a:miter/>
            </a:ln>
          </p:spPr>
          <p:txBody>
            <a:bodyPr rtlCol="0" anchor="ctr"/>
            <a:lstStyle/>
            <a:p>
              <a:endParaRPr lang="en-US"/>
            </a:p>
          </p:txBody>
        </p:sp>
      </p:grpSp>
      <p:grpSp>
        <p:nvGrpSpPr>
          <p:cNvPr id="4002" name="Group 4001">
            <a:extLst>
              <a:ext uri="{FF2B5EF4-FFF2-40B4-BE49-F238E27FC236}">
                <a16:creationId xmlns:a16="http://schemas.microsoft.com/office/drawing/2014/main" id="{284E8B0E-4956-49C9-A3E2-40345ED40D22}"/>
              </a:ext>
              <a:ext uri="{C183D7F6-B498-43B3-948B-1728B52AA6E4}">
                <adec:decorative xmlns:adec="http://schemas.microsoft.com/office/drawing/2017/decorative" val="1"/>
              </a:ext>
            </a:extLst>
          </p:cNvPr>
          <p:cNvGrpSpPr>
            <a:grpSpLocks noChangeAspect="1"/>
          </p:cNvGrpSpPr>
          <p:nvPr/>
        </p:nvGrpSpPr>
        <p:grpSpPr>
          <a:xfrm>
            <a:off x="4771969" y="3339823"/>
            <a:ext cx="125379" cy="138812"/>
            <a:chOff x="4812723" y="2604384"/>
            <a:chExt cx="125379" cy="138812"/>
          </a:xfrm>
        </p:grpSpPr>
        <p:sp>
          <p:nvSpPr>
            <p:cNvPr id="4003" name="Freeform: Shape 4002">
              <a:extLst>
                <a:ext uri="{FF2B5EF4-FFF2-40B4-BE49-F238E27FC236}">
                  <a16:creationId xmlns:a16="http://schemas.microsoft.com/office/drawing/2014/main" id="{7CE5E9F5-4F65-439C-83E2-7D8636F97A4C}"/>
                </a:ext>
              </a:extLst>
            </p:cNvPr>
            <p:cNvSpPr/>
            <p:nvPr/>
          </p:nvSpPr>
          <p:spPr>
            <a:xfrm>
              <a:off x="4812723" y="2604384"/>
              <a:ext cx="125379" cy="138812"/>
            </a:xfrm>
            <a:custGeom>
              <a:avLst/>
              <a:gdLst>
                <a:gd name="connsiteX0" fmla="*/ 125379 w 125378"/>
                <a:gd name="connsiteY0" fmla="*/ 25523 h 138812"/>
                <a:gd name="connsiteX1" fmla="*/ 62689 w 125378"/>
                <a:gd name="connsiteY1" fmla="*/ 0 h 138812"/>
                <a:gd name="connsiteX2" fmla="*/ 0 w 125378"/>
                <a:gd name="connsiteY2" fmla="*/ 25523 h 138812"/>
                <a:gd name="connsiteX3" fmla="*/ 0 w 125378"/>
                <a:gd name="connsiteY3" fmla="*/ 25971 h 138812"/>
                <a:gd name="connsiteX4" fmla="*/ 0 w 125378"/>
                <a:gd name="connsiteY4" fmla="*/ 26419 h 138812"/>
                <a:gd name="connsiteX5" fmla="*/ 0 w 125378"/>
                <a:gd name="connsiteY5" fmla="*/ 112841 h 138812"/>
                <a:gd name="connsiteX6" fmla="*/ 0 w 125378"/>
                <a:gd name="connsiteY6" fmla="*/ 113289 h 138812"/>
                <a:gd name="connsiteX7" fmla="*/ 0 w 125378"/>
                <a:gd name="connsiteY7" fmla="*/ 113737 h 138812"/>
                <a:gd name="connsiteX8" fmla="*/ 62689 w 125378"/>
                <a:gd name="connsiteY8" fmla="*/ 139260 h 138812"/>
                <a:gd name="connsiteX9" fmla="*/ 64928 w 125378"/>
                <a:gd name="connsiteY9" fmla="*/ 137021 h 138812"/>
                <a:gd name="connsiteX10" fmla="*/ 62689 w 125378"/>
                <a:gd name="connsiteY10" fmla="*/ 134782 h 138812"/>
                <a:gd name="connsiteX11" fmla="*/ 4478 w 125378"/>
                <a:gd name="connsiteY11" fmla="*/ 113737 h 138812"/>
                <a:gd name="connsiteX12" fmla="*/ 4478 w 125378"/>
                <a:gd name="connsiteY12" fmla="*/ 113289 h 138812"/>
                <a:gd name="connsiteX13" fmla="*/ 4478 w 125378"/>
                <a:gd name="connsiteY13" fmla="*/ 112841 h 138812"/>
                <a:gd name="connsiteX14" fmla="*/ 4478 w 125378"/>
                <a:gd name="connsiteY14" fmla="*/ 94034 h 138812"/>
                <a:gd name="connsiteX15" fmla="*/ 62689 w 125378"/>
                <a:gd name="connsiteY15" fmla="*/ 110154 h 138812"/>
                <a:gd name="connsiteX16" fmla="*/ 64928 w 125378"/>
                <a:gd name="connsiteY16" fmla="*/ 107915 h 138812"/>
                <a:gd name="connsiteX17" fmla="*/ 62689 w 125378"/>
                <a:gd name="connsiteY17" fmla="*/ 105677 h 138812"/>
                <a:gd name="connsiteX18" fmla="*/ 4478 w 125378"/>
                <a:gd name="connsiteY18" fmla="*/ 84631 h 138812"/>
                <a:gd name="connsiteX19" fmla="*/ 4478 w 125378"/>
                <a:gd name="connsiteY19" fmla="*/ 64481 h 138812"/>
                <a:gd name="connsiteX20" fmla="*/ 62689 w 125378"/>
                <a:gd name="connsiteY20" fmla="*/ 80601 h 138812"/>
                <a:gd name="connsiteX21" fmla="*/ 120901 w 125378"/>
                <a:gd name="connsiteY21" fmla="*/ 64481 h 138812"/>
                <a:gd name="connsiteX22" fmla="*/ 120901 w 125378"/>
                <a:gd name="connsiteY22" fmla="*/ 81049 h 138812"/>
                <a:gd name="connsiteX23" fmla="*/ 123140 w 125378"/>
                <a:gd name="connsiteY23" fmla="*/ 83287 h 138812"/>
                <a:gd name="connsiteX24" fmla="*/ 125379 w 125378"/>
                <a:gd name="connsiteY24" fmla="*/ 81049 h 138812"/>
                <a:gd name="connsiteX25" fmla="*/ 125379 w 125378"/>
                <a:gd name="connsiteY25" fmla="*/ 25971 h 138812"/>
                <a:gd name="connsiteX26" fmla="*/ 125379 w 125378"/>
                <a:gd name="connsiteY26" fmla="*/ 25523 h 138812"/>
                <a:gd name="connsiteX27" fmla="*/ 125379 w 125378"/>
                <a:gd name="connsiteY27" fmla="*/ 25523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378" h="138812">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2"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2"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6" y="83287"/>
                    <a:pt x="123140" y="83287"/>
                  </a:cubicBezTo>
                  <a:cubicBezTo>
                    <a:pt x="124483" y="83287"/>
                    <a:pt x="125379" y="82392"/>
                    <a:pt x="125379" y="81049"/>
                  </a:cubicBezTo>
                  <a:lnTo>
                    <a:pt x="125379" y="25971"/>
                  </a:lnTo>
                  <a:cubicBezTo>
                    <a:pt x="125379" y="26419"/>
                    <a:pt x="125379" y="25971"/>
                    <a:pt x="125379" y="25523"/>
                  </a:cubicBezTo>
                  <a:cubicBezTo>
                    <a:pt x="125379" y="25971"/>
                    <a:pt x="125379" y="25971"/>
                    <a:pt x="125379" y="25523"/>
                  </a:cubicBezTo>
                  <a:close/>
                  <a:moveTo>
                    <a:pt x="62689" y="4478"/>
                  </a:moveTo>
                  <a:cubicBezTo>
                    <a:pt x="97616" y="4478"/>
                    <a:pt x="120901" y="15225"/>
                    <a:pt x="120901" y="25523"/>
                  </a:cubicBezTo>
                  <a:cubicBezTo>
                    <a:pt x="120901" y="35823"/>
                    <a:pt x="97616" y="46569"/>
                    <a:pt x="62689" y="46569"/>
                  </a:cubicBezTo>
                  <a:cubicBezTo>
                    <a:pt x="27762" y="46569"/>
                    <a:pt x="4478" y="35823"/>
                    <a:pt x="4478" y="25523"/>
                  </a:cubicBezTo>
                  <a:cubicBezTo>
                    <a:pt x="4478" y="15225"/>
                    <a:pt x="27762" y="4478"/>
                    <a:pt x="62689" y="4478"/>
                  </a:cubicBezTo>
                  <a:close/>
                  <a:moveTo>
                    <a:pt x="120901" y="55077"/>
                  </a:moveTo>
                  <a:cubicBezTo>
                    <a:pt x="120901" y="65376"/>
                    <a:pt x="97616" y="76123"/>
                    <a:pt x="62689" y="76123"/>
                  </a:cubicBezTo>
                  <a:cubicBezTo>
                    <a:pt x="27762" y="76123"/>
                    <a:pt x="4478" y="65376"/>
                    <a:pt x="4478" y="55077"/>
                  </a:cubicBezTo>
                  <a:lnTo>
                    <a:pt x="4478" y="35375"/>
                  </a:lnTo>
                  <a:cubicBezTo>
                    <a:pt x="13433" y="44778"/>
                    <a:pt x="35823" y="51495"/>
                    <a:pt x="62689" y="51495"/>
                  </a:cubicBezTo>
                  <a:cubicBezTo>
                    <a:pt x="89556" y="51495"/>
                    <a:pt x="111945" y="44778"/>
                    <a:pt x="120901" y="35375"/>
                  </a:cubicBezTo>
                  <a:lnTo>
                    <a:pt x="120901" y="55077"/>
                  </a:lnTo>
                  <a:close/>
                </a:path>
              </a:pathLst>
            </a:custGeom>
            <a:solidFill>
              <a:srgbClr val="231F20"/>
            </a:solidFill>
            <a:ln w="4474" cap="flat">
              <a:noFill/>
              <a:prstDash val="solid"/>
              <a:miter/>
            </a:ln>
          </p:spPr>
          <p:txBody>
            <a:bodyPr rtlCol="0" anchor="ctr"/>
            <a:lstStyle/>
            <a:p>
              <a:endParaRPr lang="en-US"/>
            </a:p>
          </p:txBody>
        </p:sp>
        <p:sp>
          <p:nvSpPr>
            <p:cNvPr id="4004" name="Freeform: Shape 4003">
              <a:extLst>
                <a:ext uri="{FF2B5EF4-FFF2-40B4-BE49-F238E27FC236}">
                  <a16:creationId xmlns:a16="http://schemas.microsoft.com/office/drawing/2014/main" id="{FC6575E9-8DEC-407D-A00B-ED10D75A441D}"/>
                </a:ext>
              </a:extLst>
            </p:cNvPr>
            <p:cNvSpPr/>
            <p:nvPr/>
          </p:nvSpPr>
          <p:spPr>
            <a:xfrm>
              <a:off x="4890189" y="2692597"/>
              <a:ext cx="44778" cy="49256"/>
            </a:xfrm>
            <a:custGeom>
              <a:avLst/>
              <a:gdLst>
                <a:gd name="connsiteX0" fmla="*/ 43435 w 44778"/>
                <a:gd name="connsiteY0" fmla="*/ 11195 h 49255"/>
                <a:gd name="connsiteX1" fmla="*/ 23732 w 44778"/>
                <a:gd name="connsiteY1" fmla="*/ 0 h 49255"/>
                <a:gd name="connsiteX2" fmla="*/ 23732 w 44778"/>
                <a:gd name="connsiteY2" fmla="*/ 0 h 49255"/>
                <a:gd name="connsiteX3" fmla="*/ 23285 w 44778"/>
                <a:gd name="connsiteY3" fmla="*/ 0 h 49255"/>
                <a:gd name="connsiteX4" fmla="*/ 22837 w 44778"/>
                <a:gd name="connsiteY4" fmla="*/ 0 h 49255"/>
                <a:gd name="connsiteX5" fmla="*/ 22389 w 44778"/>
                <a:gd name="connsiteY5" fmla="*/ 0 h 49255"/>
                <a:gd name="connsiteX6" fmla="*/ 21941 w 44778"/>
                <a:gd name="connsiteY6" fmla="*/ 0 h 49255"/>
                <a:gd name="connsiteX7" fmla="*/ 21493 w 44778"/>
                <a:gd name="connsiteY7" fmla="*/ 0 h 49255"/>
                <a:gd name="connsiteX8" fmla="*/ 21046 w 44778"/>
                <a:gd name="connsiteY8" fmla="*/ 0 h 49255"/>
                <a:gd name="connsiteX9" fmla="*/ 21046 w 44778"/>
                <a:gd name="connsiteY9" fmla="*/ 0 h 49255"/>
                <a:gd name="connsiteX10" fmla="*/ 1343 w 44778"/>
                <a:gd name="connsiteY10" fmla="*/ 11195 h 49255"/>
                <a:gd name="connsiteX11" fmla="*/ 0 w 44778"/>
                <a:gd name="connsiteY11" fmla="*/ 13433 h 49255"/>
                <a:gd name="connsiteX12" fmla="*/ 21941 w 44778"/>
                <a:gd name="connsiteY12" fmla="*/ 50599 h 49255"/>
                <a:gd name="connsiteX13" fmla="*/ 22389 w 44778"/>
                <a:gd name="connsiteY13" fmla="*/ 50599 h 49255"/>
                <a:gd name="connsiteX14" fmla="*/ 22389 w 44778"/>
                <a:gd name="connsiteY14" fmla="*/ 50599 h 49255"/>
                <a:gd name="connsiteX15" fmla="*/ 22389 w 44778"/>
                <a:gd name="connsiteY15" fmla="*/ 50599 h 49255"/>
                <a:gd name="connsiteX16" fmla="*/ 22389 w 44778"/>
                <a:gd name="connsiteY16" fmla="*/ 50599 h 49255"/>
                <a:gd name="connsiteX17" fmla="*/ 22389 w 44778"/>
                <a:gd name="connsiteY17" fmla="*/ 50599 h 49255"/>
                <a:gd name="connsiteX18" fmla="*/ 22837 w 44778"/>
                <a:gd name="connsiteY18" fmla="*/ 50599 h 49255"/>
                <a:gd name="connsiteX19" fmla="*/ 44778 w 44778"/>
                <a:gd name="connsiteY19" fmla="*/ 13433 h 49255"/>
                <a:gd name="connsiteX20" fmla="*/ 43435 w 44778"/>
                <a:gd name="connsiteY20" fmla="*/ 11195 h 49255"/>
                <a:gd name="connsiteX21" fmla="*/ 22837 w 44778"/>
                <a:gd name="connsiteY21" fmla="*/ 46122 h 49255"/>
                <a:gd name="connsiteX22" fmla="*/ 4925 w 44778"/>
                <a:gd name="connsiteY22" fmla="*/ 14777 h 49255"/>
                <a:gd name="connsiteX23" fmla="*/ 22837 w 44778"/>
                <a:gd name="connsiteY23" fmla="*/ 4478 h 49255"/>
                <a:gd name="connsiteX24" fmla="*/ 40748 w 44778"/>
                <a:gd name="connsiteY24" fmla="*/ 14777 h 49255"/>
                <a:gd name="connsiteX25" fmla="*/ 22837 w 44778"/>
                <a:gd name="connsiteY25" fmla="*/ 46122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778" h="49255">
                  <a:moveTo>
                    <a:pt x="43435" y="11195"/>
                  </a:moveTo>
                  <a:cubicBezTo>
                    <a:pt x="34031" y="8060"/>
                    <a:pt x="24180" y="0"/>
                    <a:pt x="23732" y="0"/>
                  </a:cubicBezTo>
                  <a:cubicBezTo>
                    <a:pt x="23732" y="0"/>
                    <a:pt x="23732" y="0"/>
                    <a:pt x="23732" y="0"/>
                  </a:cubicBezTo>
                  <a:cubicBezTo>
                    <a:pt x="23732" y="0"/>
                    <a:pt x="23285" y="0"/>
                    <a:pt x="23285" y="0"/>
                  </a:cubicBezTo>
                  <a:cubicBezTo>
                    <a:pt x="23285" y="0"/>
                    <a:pt x="22837" y="0"/>
                    <a:pt x="22837" y="0"/>
                  </a:cubicBezTo>
                  <a:cubicBezTo>
                    <a:pt x="22837" y="0"/>
                    <a:pt x="22389" y="0"/>
                    <a:pt x="22389" y="0"/>
                  </a:cubicBezTo>
                  <a:cubicBezTo>
                    <a:pt x="22389" y="0"/>
                    <a:pt x="21941" y="0"/>
                    <a:pt x="21941" y="0"/>
                  </a:cubicBezTo>
                  <a:cubicBezTo>
                    <a:pt x="21941" y="0"/>
                    <a:pt x="21493" y="0"/>
                    <a:pt x="21493" y="0"/>
                  </a:cubicBezTo>
                  <a:cubicBezTo>
                    <a:pt x="21493" y="0"/>
                    <a:pt x="21046" y="0"/>
                    <a:pt x="21046" y="0"/>
                  </a:cubicBezTo>
                  <a:cubicBezTo>
                    <a:pt x="21046" y="0"/>
                    <a:pt x="21046" y="0"/>
                    <a:pt x="21046" y="0"/>
                  </a:cubicBezTo>
                  <a:cubicBezTo>
                    <a:pt x="21046" y="0"/>
                    <a:pt x="11195" y="8060"/>
                    <a:pt x="1343" y="11195"/>
                  </a:cubicBezTo>
                  <a:cubicBezTo>
                    <a:pt x="448" y="11642"/>
                    <a:pt x="0" y="12538"/>
                    <a:pt x="0" y="13433"/>
                  </a:cubicBezTo>
                  <a:cubicBezTo>
                    <a:pt x="0" y="45674"/>
                    <a:pt x="21941" y="50599"/>
                    <a:pt x="21941" y="50599"/>
                  </a:cubicBezTo>
                  <a:cubicBezTo>
                    <a:pt x="21941" y="50599"/>
                    <a:pt x="22389" y="50599"/>
                    <a:pt x="22389" y="50599"/>
                  </a:cubicBezTo>
                  <a:cubicBezTo>
                    <a:pt x="22389" y="50599"/>
                    <a:pt x="22389" y="50599"/>
                    <a:pt x="22389" y="50599"/>
                  </a:cubicBezTo>
                  <a:lnTo>
                    <a:pt x="22389" y="50599"/>
                  </a:lnTo>
                  <a:lnTo>
                    <a:pt x="22389" y="50599"/>
                  </a:lnTo>
                  <a:cubicBezTo>
                    <a:pt x="22389" y="50599"/>
                    <a:pt x="22389" y="50599"/>
                    <a:pt x="22389" y="50599"/>
                  </a:cubicBezTo>
                  <a:cubicBezTo>
                    <a:pt x="22389" y="50599"/>
                    <a:pt x="22837" y="50599"/>
                    <a:pt x="22837" y="50599"/>
                  </a:cubicBezTo>
                  <a:cubicBezTo>
                    <a:pt x="22837" y="50599"/>
                    <a:pt x="44778" y="45674"/>
                    <a:pt x="44778" y="13433"/>
                  </a:cubicBezTo>
                  <a:cubicBezTo>
                    <a:pt x="45226" y="12538"/>
                    <a:pt x="44330" y="11642"/>
                    <a:pt x="43435" y="11195"/>
                  </a:cubicBezTo>
                  <a:close/>
                  <a:moveTo>
                    <a:pt x="22837" y="46122"/>
                  </a:moveTo>
                  <a:cubicBezTo>
                    <a:pt x="20150" y="45226"/>
                    <a:pt x="5373" y="39853"/>
                    <a:pt x="4925" y="14777"/>
                  </a:cubicBezTo>
                  <a:cubicBezTo>
                    <a:pt x="12538" y="11642"/>
                    <a:pt x="19702" y="6717"/>
                    <a:pt x="22837" y="4478"/>
                  </a:cubicBezTo>
                  <a:cubicBezTo>
                    <a:pt x="25971" y="6717"/>
                    <a:pt x="33136" y="12090"/>
                    <a:pt x="40748" y="14777"/>
                  </a:cubicBezTo>
                  <a:cubicBezTo>
                    <a:pt x="39852" y="39853"/>
                    <a:pt x="25524" y="45226"/>
                    <a:pt x="22837" y="46122"/>
                  </a:cubicBezTo>
                  <a:close/>
                </a:path>
              </a:pathLst>
            </a:custGeom>
            <a:solidFill>
              <a:srgbClr val="231F20"/>
            </a:solidFill>
            <a:ln w="4474" cap="flat">
              <a:noFill/>
              <a:prstDash val="solid"/>
              <a:miter/>
            </a:ln>
          </p:spPr>
          <p:txBody>
            <a:bodyPr rtlCol="0" anchor="ctr"/>
            <a:lstStyle/>
            <a:p>
              <a:endParaRPr lang="en-US"/>
            </a:p>
          </p:txBody>
        </p:sp>
      </p:grpSp>
      <p:grpSp>
        <p:nvGrpSpPr>
          <p:cNvPr id="4005" name="Group 4004">
            <a:extLst>
              <a:ext uri="{FF2B5EF4-FFF2-40B4-BE49-F238E27FC236}">
                <a16:creationId xmlns:a16="http://schemas.microsoft.com/office/drawing/2014/main" id="{B5BAEF75-170C-4BEC-8137-D06704AF9539}"/>
              </a:ext>
              <a:ext uri="{C183D7F6-B498-43B3-948B-1728B52AA6E4}">
                <adec:decorative xmlns:adec="http://schemas.microsoft.com/office/drawing/2017/decorative" val="1"/>
              </a:ext>
            </a:extLst>
          </p:cNvPr>
          <p:cNvGrpSpPr>
            <a:grpSpLocks noChangeAspect="1"/>
          </p:cNvGrpSpPr>
          <p:nvPr/>
        </p:nvGrpSpPr>
        <p:grpSpPr>
          <a:xfrm>
            <a:off x="4287469" y="2086035"/>
            <a:ext cx="71645" cy="125379"/>
            <a:chOff x="4328223" y="1350596"/>
            <a:chExt cx="71645" cy="125379"/>
          </a:xfrm>
        </p:grpSpPr>
        <p:sp>
          <p:nvSpPr>
            <p:cNvPr id="4006" name="Freeform: Shape 4005">
              <a:extLst>
                <a:ext uri="{FF2B5EF4-FFF2-40B4-BE49-F238E27FC236}">
                  <a16:creationId xmlns:a16="http://schemas.microsoft.com/office/drawing/2014/main" id="{44D7DCE2-DB27-4A6E-ACAC-2AD58EA57786}"/>
                </a:ext>
              </a:extLst>
            </p:cNvPr>
            <p:cNvSpPr/>
            <p:nvPr/>
          </p:nvSpPr>
          <p:spPr>
            <a:xfrm>
              <a:off x="4328223" y="1350596"/>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4" y="125379"/>
                    <a:pt x="0" y="118214"/>
                    <a:pt x="0" y="109707"/>
                  </a:cubicBezTo>
                  <a:lnTo>
                    <a:pt x="0" y="15672"/>
                  </a:lnTo>
                  <a:cubicBezTo>
                    <a:pt x="0" y="7165"/>
                    <a:pt x="7164" y="0"/>
                    <a:pt x="15672" y="0"/>
                  </a:cubicBezTo>
                  <a:lnTo>
                    <a:pt x="55973" y="0"/>
                  </a:lnTo>
                  <a:cubicBezTo>
                    <a:pt x="64480" y="0"/>
                    <a:pt x="71645" y="7165"/>
                    <a:pt x="71645" y="15672"/>
                  </a:cubicBezTo>
                  <a:lnTo>
                    <a:pt x="71645" y="109707"/>
                  </a:lnTo>
                  <a:cubicBezTo>
                    <a:pt x="71645" y="118214"/>
                    <a:pt x="64480"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07" name="Freeform: Shape 4006">
              <a:extLst>
                <a:ext uri="{FF2B5EF4-FFF2-40B4-BE49-F238E27FC236}">
                  <a16:creationId xmlns:a16="http://schemas.microsoft.com/office/drawing/2014/main" id="{0CCD1725-C301-478E-911B-100B5AAD3A95}"/>
                </a:ext>
              </a:extLst>
            </p:cNvPr>
            <p:cNvSpPr/>
            <p:nvPr/>
          </p:nvSpPr>
          <p:spPr>
            <a:xfrm>
              <a:off x="4355090" y="1358656"/>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4008" name="Freeform: Shape 4007">
              <a:extLst>
                <a:ext uri="{FF2B5EF4-FFF2-40B4-BE49-F238E27FC236}">
                  <a16:creationId xmlns:a16="http://schemas.microsoft.com/office/drawing/2014/main" id="{D44B5660-9EF6-45B0-BE34-F47E92C7B0D8}"/>
                </a:ext>
              </a:extLst>
            </p:cNvPr>
            <p:cNvSpPr/>
            <p:nvPr/>
          </p:nvSpPr>
          <p:spPr>
            <a:xfrm>
              <a:off x="4357329" y="1453585"/>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grpSp>
      <p:grpSp>
        <p:nvGrpSpPr>
          <p:cNvPr id="4009" name="Group 4008">
            <a:extLst>
              <a:ext uri="{FF2B5EF4-FFF2-40B4-BE49-F238E27FC236}">
                <a16:creationId xmlns:a16="http://schemas.microsoft.com/office/drawing/2014/main" id="{A82A147B-5BA4-4F5C-A8BC-06D264F1D47E}"/>
              </a:ext>
              <a:ext uri="{C183D7F6-B498-43B3-948B-1728B52AA6E4}">
                <adec:decorative xmlns:adec="http://schemas.microsoft.com/office/drawing/2017/decorative" val="1"/>
              </a:ext>
            </a:extLst>
          </p:cNvPr>
          <p:cNvGrpSpPr>
            <a:grpSpLocks noChangeAspect="1"/>
          </p:cNvGrpSpPr>
          <p:nvPr/>
        </p:nvGrpSpPr>
        <p:grpSpPr>
          <a:xfrm>
            <a:off x="4533301" y="2086035"/>
            <a:ext cx="98512" cy="125379"/>
            <a:chOff x="4574055" y="1350596"/>
            <a:chExt cx="98512" cy="125379"/>
          </a:xfrm>
        </p:grpSpPr>
        <p:sp>
          <p:nvSpPr>
            <p:cNvPr id="4010" name="Freeform: Shape 4009">
              <a:extLst>
                <a:ext uri="{FF2B5EF4-FFF2-40B4-BE49-F238E27FC236}">
                  <a16:creationId xmlns:a16="http://schemas.microsoft.com/office/drawing/2014/main" id="{1C2A4180-4AE1-4A79-B380-981D3287D4A0}"/>
                </a:ext>
              </a:extLst>
            </p:cNvPr>
            <p:cNvSpPr/>
            <p:nvPr/>
          </p:nvSpPr>
          <p:spPr>
            <a:xfrm>
              <a:off x="4574055" y="1350596"/>
              <a:ext cx="98512" cy="125379"/>
            </a:xfrm>
            <a:custGeom>
              <a:avLst/>
              <a:gdLst>
                <a:gd name="connsiteX0" fmla="*/ 82840 w 98511"/>
                <a:gd name="connsiteY0" fmla="*/ 125379 h 125378"/>
                <a:gd name="connsiteX1" fmla="*/ 15672 w 98511"/>
                <a:gd name="connsiteY1" fmla="*/ 125379 h 125378"/>
                <a:gd name="connsiteX2" fmla="*/ 0 w 98511"/>
                <a:gd name="connsiteY2" fmla="*/ 109707 h 125378"/>
                <a:gd name="connsiteX3" fmla="*/ 0 w 98511"/>
                <a:gd name="connsiteY3" fmla="*/ 15672 h 125378"/>
                <a:gd name="connsiteX4" fmla="*/ 15672 w 98511"/>
                <a:gd name="connsiteY4" fmla="*/ 0 h 125378"/>
                <a:gd name="connsiteX5" fmla="*/ 82840 w 98511"/>
                <a:gd name="connsiteY5" fmla="*/ 0 h 125378"/>
                <a:gd name="connsiteX6" fmla="*/ 98512 w 98511"/>
                <a:gd name="connsiteY6" fmla="*/ 15672 h 125378"/>
                <a:gd name="connsiteX7" fmla="*/ 98512 w 98511"/>
                <a:gd name="connsiteY7" fmla="*/ 109707 h 125378"/>
                <a:gd name="connsiteX8" fmla="*/ 82840 w 98511"/>
                <a:gd name="connsiteY8" fmla="*/ 125379 h 125378"/>
                <a:gd name="connsiteX9" fmla="*/ 15672 w 98511"/>
                <a:gd name="connsiteY9" fmla="*/ 4478 h 125378"/>
                <a:gd name="connsiteX10" fmla="*/ 4478 w 98511"/>
                <a:gd name="connsiteY10" fmla="*/ 15672 h 125378"/>
                <a:gd name="connsiteX11" fmla="*/ 4478 w 98511"/>
                <a:gd name="connsiteY11" fmla="*/ 109707 h 125378"/>
                <a:gd name="connsiteX12" fmla="*/ 15672 w 98511"/>
                <a:gd name="connsiteY12" fmla="*/ 120901 h 125378"/>
                <a:gd name="connsiteX13" fmla="*/ 82840 w 98511"/>
                <a:gd name="connsiteY13" fmla="*/ 120901 h 125378"/>
                <a:gd name="connsiteX14" fmla="*/ 94034 w 98511"/>
                <a:gd name="connsiteY14" fmla="*/ 109707 h 125378"/>
                <a:gd name="connsiteX15" fmla="*/ 94034 w 98511"/>
                <a:gd name="connsiteY15" fmla="*/ 15672 h 125378"/>
                <a:gd name="connsiteX16" fmla="*/ 82840 w 98511"/>
                <a:gd name="connsiteY16" fmla="*/ 4478 h 125378"/>
                <a:gd name="connsiteX17" fmla="*/ 15672 w 98511"/>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511" h="125378">
                  <a:moveTo>
                    <a:pt x="82840" y="125379"/>
                  </a:moveTo>
                  <a:lnTo>
                    <a:pt x="15672" y="125379"/>
                  </a:lnTo>
                  <a:cubicBezTo>
                    <a:pt x="7165" y="125379"/>
                    <a:pt x="0" y="118214"/>
                    <a:pt x="0" y="109707"/>
                  </a:cubicBezTo>
                  <a:lnTo>
                    <a:pt x="0" y="15672"/>
                  </a:lnTo>
                  <a:cubicBezTo>
                    <a:pt x="0" y="7165"/>
                    <a:pt x="7165" y="0"/>
                    <a:pt x="15672" y="0"/>
                  </a:cubicBezTo>
                  <a:lnTo>
                    <a:pt x="82840" y="0"/>
                  </a:lnTo>
                  <a:cubicBezTo>
                    <a:pt x="91348" y="0"/>
                    <a:pt x="98512" y="7165"/>
                    <a:pt x="98512" y="15672"/>
                  </a:cubicBezTo>
                  <a:lnTo>
                    <a:pt x="98512" y="109707"/>
                  </a:lnTo>
                  <a:cubicBezTo>
                    <a:pt x="98512" y="118214"/>
                    <a:pt x="91795" y="125379"/>
                    <a:pt x="82840" y="125379"/>
                  </a:cubicBezTo>
                  <a:close/>
                  <a:moveTo>
                    <a:pt x="15672" y="4478"/>
                  </a:moveTo>
                  <a:cubicBezTo>
                    <a:pt x="9404" y="4478"/>
                    <a:pt x="4478" y="9403"/>
                    <a:pt x="4478" y="15672"/>
                  </a:cubicBezTo>
                  <a:lnTo>
                    <a:pt x="4478" y="109707"/>
                  </a:lnTo>
                  <a:cubicBezTo>
                    <a:pt x="4478" y="115975"/>
                    <a:pt x="9404" y="120901"/>
                    <a:pt x="15672" y="120901"/>
                  </a:cubicBezTo>
                  <a:lnTo>
                    <a:pt x="82840" y="120901"/>
                  </a:lnTo>
                  <a:cubicBezTo>
                    <a:pt x="89109" y="120901"/>
                    <a:pt x="94034" y="115975"/>
                    <a:pt x="94034" y="109707"/>
                  </a:cubicBezTo>
                  <a:lnTo>
                    <a:pt x="94034" y="15672"/>
                  </a:lnTo>
                  <a:cubicBezTo>
                    <a:pt x="94034" y="9403"/>
                    <a:pt x="89109" y="4478"/>
                    <a:pt x="82840"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11" name="Freeform: Shape 4010">
              <a:extLst>
                <a:ext uri="{FF2B5EF4-FFF2-40B4-BE49-F238E27FC236}">
                  <a16:creationId xmlns:a16="http://schemas.microsoft.com/office/drawing/2014/main" id="{13715778-486C-41B0-AE43-B94DD6FDAF7D}"/>
                </a:ext>
              </a:extLst>
            </p:cNvPr>
            <p:cNvSpPr/>
            <p:nvPr/>
          </p:nvSpPr>
          <p:spPr>
            <a:xfrm>
              <a:off x="4614356" y="1358656"/>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012" name="Freeform: Shape 4011">
              <a:extLst>
                <a:ext uri="{FF2B5EF4-FFF2-40B4-BE49-F238E27FC236}">
                  <a16:creationId xmlns:a16="http://schemas.microsoft.com/office/drawing/2014/main" id="{D18A8A1D-FF9B-498B-8B76-A8BBF2AEE482}"/>
                </a:ext>
              </a:extLst>
            </p:cNvPr>
            <p:cNvSpPr/>
            <p:nvPr/>
          </p:nvSpPr>
          <p:spPr>
            <a:xfrm>
              <a:off x="4616595" y="145358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grpSp>
      <p:sp>
        <p:nvSpPr>
          <p:cNvPr id="4013" name="Freeform: Shape 4012">
            <a:extLst>
              <a:ext uri="{FF2B5EF4-FFF2-40B4-BE49-F238E27FC236}">
                <a16:creationId xmlns:a16="http://schemas.microsoft.com/office/drawing/2014/main" id="{CC3720BB-BDFA-468E-8DD1-BDCEEAB459B6}"/>
              </a:ext>
              <a:ext uri="{C183D7F6-B498-43B3-948B-1728B52AA6E4}">
                <adec:decorative xmlns:adec="http://schemas.microsoft.com/office/drawing/2017/decorative" val="1"/>
              </a:ext>
            </a:extLst>
          </p:cNvPr>
          <p:cNvSpPr>
            <a:spLocks noChangeAspect="1"/>
          </p:cNvSpPr>
          <p:nvPr/>
        </p:nvSpPr>
        <p:spPr>
          <a:xfrm>
            <a:off x="4776895" y="2099468"/>
            <a:ext cx="152246" cy="98512"/>
          </a:xfrm>
          <a:custGeom>
            <a:avLst/>
            <a:gdLst>
              <a:gd name="connsiteX0" fmla="*/ 150007 w 152245"/>
              <a:gd name="connsiteY0" fmla="*/ 80601 h 98511"/>
              <a:gd name="connsiteX1" fmla="*/ 138812 w 152245"/>
              <a:gd name="connsiteY1" fmla="*/ 80601 h 98511"/>
              <a:gd name="connsiteX2" fmla="*/ 138812 w 152245"/>
              <a:gd name="connsiteY2" fmla="*/ 15672 h 98511"/>
              <a:gd name="connsiteX3" fmla="*/ 123140 w 152245"/>
              <a:gd name="connsiteY3" fmla="*/ 0 h 98511"/>
              <a:gd name="connsiteX4" fmla="*/ 29106 w 152245"/>
              <a:gd name="connsiteY4" fmla="*/ 0 h 98511"/>
              <a:gd name="connsiteX5" fmla="*/ 13433 w 152245"/>
              <a:gd name="connsiteY5" fmla="*/ 15672 h 98511"/>
              <a:gd name="connsiteX6" fmla="*/ 13433 w 152245"/>
              <a:gd name="connsiteY6" fmla="*/ 80601 h 98511"/>
              <a:gd name="connsiteX7" fmla="*/ 2239 w 152245"/>
              <a:gd name="connsiteY7" fmla="*/ 80601 h 98511"/>
              <a:gd name="connsiteX8" fmla="*/ 0 w 152245"/>
              <a:gd name="connsiteY8" fmla="*/ 82840 h 98511"/>
              <a:gd name="connsiteX9" fmla="*/ 15672 w 152245"/>
              <a:gd name="connsiteY9" fmla="*/ 98512 h 98511"/>
              <a:gd name="connsiteX10" fmla="*/ 136573 w 152245"/>
              <a:gd name="connsiteY10" fmla="*/ 98512 h 98511"/>
              <a:gd name="connsiteX11" fmla="*/ 152246 w 152245"/>
              <a:gd name="connsiteY11" fmla="*/ 82840 h 98511"/>
              <a:gd name="connsiteX12" fmla="*/ 152246 w 152245"/>
              <a:gd name="connsiteY12" fmla="*/ 82840 h 98511"/>
              <a:gd name="connsiteX13" fmla="*/ 150007 w 152245"/>
              <a:gd name="connsiteY13" fmla="*/ 80601 h 98511"/>
              <a:gd name="connsiteX14" fmla="*/ 17911 w 152245"/>
              <a:gd name="connsiteY14" fmla="*/ 15672 h 98511"/>
              <a:gd name="connsiteX15" fmla="*/ 29106 w 152245"/>
              <a:gd name="connsiteY15" fmla="*/ 4478 h 98511"/>
              <a:gd name="connsiteX16" fmla="*/ 123140 w 152245"/>
              <a:gd name="connsiteY16" fmla="*/ 4478 h 98511"/>
              <a:gd name="connsiteX17" fmla="*/ 134335 w 152245"/>
              <a:gd name="connsiteY17" fmla="*/ 15672 h 98511"/>
              <a:gd name="connsiteX18" fmla="*/ 134335 w 152245"/>
              <a:gd name="connsiteY18" fmla="*/ 80601 h 98511"/>
              <a:gd name="connsiteX19" fmla="*/ 17911 w 152245"/>
              <a:gd name="connsiteY19" fmla="*/ 80601 h 98511"/>
              <a:gd name="connsiteX20" fmla="*/ 17911 w 152245"/>
              <a:gd name="connsiteY20" fmla="*/ 15672 h 98511"/>
              <a:gd name="connsiteX21" fmla="*/ 138812 w 152245"/>
              <a:gd name="connsiteY21" fmla="*/ 93586 h 98511"/>
              <a:gd name="connsiteX22" fmla="*/ 138812 w 152245"/>
              <a:gd name="connsiteY22" fmla="*/ 88661 h 98511"/>
              <a:gd name="connsiteX23" fmla="*/ 134335 w 152245"/>
              <a:gd name="connsiteY23" fmla="*/ 88661 h 98511"/>
              <a:gd name="connsiteX24" fmla="*/ 134335 w 152245"/>
              <a:gd name="connsiteY24" fmla="*/ 93586 h 98511"/>
              <a:gd name="connsiteX25" fmla="*/ 125379 w 152245"/>
              <a:gd name="connsiteY25" fmla="*/ 93586 h 98511"/>
              <a:gd name="connsiteX26" fmla="*/ 125379 w 152245"/>
              <a:gd name="connsiteY26" fmla="*/ 88661 h 98511"/>
              <a:gd name="connsiteX27" fmla="*/ 120901 w 152245"/>
              <a:gd name="connsiteY27" fmla="*/ 88661 h 98511"/>
              <a:gd name="connsiteX28" fmla="*/ 120901 w 152245"/>
              <a:gd name="connsiteY28" fmla="*/ 93586 h 98511"/>
              <a:gd name="connsiteX29" fmla="*/ 111945 w 152245"/>
              <a:gd name="connsiteY29" fmla="*/ 93586 h 98511"/>
              <a:gd name="connsiteX30" fmla="*/ 111945 w 152245"/>
              <a:gd name="connsiteY30" fmla="*/ 88661 h 98511"/>
              <a:gd name="connsiteX31" fmla="*/ 107468 w 152245"/>
              <a:gd name="connsiteY31" fmla="*/ 88661 h 98511"/>
              <a:gd name="connsiteX32" fmla="*/ 107468 w 152245"/>
              <a:gd name="connsiteY32" fmla="*/ 93586 h 98511"/>
              <a:gd name="connsiteX33" fmla="*/ 15672 w 152245"/>
              <a:gd name="connsiteY33" fmla="*/ 93586 h 98511"/>
              <a:gd name="connsiteX34" fmla="*/ 4478 w 152245"/>
              <a:gd name="connsiteY34" fmla="*/ 84631 h 98511"/>
              <a:gd name="connsiteX35" fmla="*/ 147320 w 152245"/>
              <a:gd name="connsiteY35" fmla="*/ 84631 h 98511"/>
              <a:gd name="connsiteX36" fmla="*/ 138812 w 152245"/>
              <a:gd name="connsiteY36" fmla="*/ 93586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2245" h="98511">
                <a:moveTo>
                  <a:pt x="150007" y="80601"/>
                </a:moveTo>
                <a:lnTo>
                  <a:pt x="138812" y="80601"/>
                </a:lnTo>
                <a:lnTo>
                  <a:pt x="138812" y="15672"/>
                </a:lnTo>
                <a:cubicBezTo>
                  <a:pt x="138812" y="7165"/>
                  <a:pt x="131648" y="0"/>
                  <a:pt x="123140" y="0"/>
                </a:cubicBezTo>
                <a:lnTo>
                  <a:pt x="29106" y="0"/>
                </a:lnTo>
                <a:cubicBezTo>
                  <a:pt x="20598" y="0"/>
                  <a:pt x="13433" y="7165"/>
                  <a:pt x="13433" y="15672"/>
                </a:cubicBezTo>
                <a:lnTo>
                  <a:pt x="13433" y="80601"/>
                </a:lnTo>
                <a:lnTo>
                  <a:pt x="2239" y="80601"/>
                </a:lnTo>
                <a:cubicBezTo>
                  <a:pt x="896" y="80601"/>
                  <a:pt x="0" y="81496"/>
                  <a:pt x="0" y="82840"/>
                </a:cubicBezTo>
                <a:cubicBezTo>
                  <a:pt x="0" y="91347"/>
                  <a:pt x="7164" y="98512"/>
                  <a:pt x="15672" y="98512"/>
                </a:cubicBezTo>
                <a:lnTo>
                  <a:pt x="136573" y="98512"/>
                </a:lnTo>
                <a:cubicBezTo>
                  <a:pt x="145081" y="98512"/>
                  <a:pt x="152246" y="91347"/>
                  <a:pt x="152246" y="82840"/>
                </a:cubicBezTo>
                <a:lnTo>
                  <a:pt x="152246" y="82840"/>
                </a:lnTo>
                <a:cubicBezTo>
                  <a:pt x="152246" y="81496"/>
                  <a:pt x="150903" y="80601"/>
                  <a:pt x="150007" y="80601"/>
                </a:cubicBezTo>
                <a:close/>
                <a:moveTo>
                  <a:pt x="17911" y="15672"/>
                </a:moveTo>
                <a:cubicBezTo>
                  <a:pt x="17911" y="9403"/>
                  <a:pt x="22837" y="4478"/>
                  <a:pt x="29106" y="4478"/>
                </a:cubicBezTo>
                <a:lnTo>
                  <a:pt x="123140" y="4478"/>
                </a:lnTo>
                <a:cubicBezTo>
                  <a:pt x="129409" y="4478"/>
                  <a:pt x="134335" y="9403"/>
                  <a:pt x="134335" y="15672"/>
                </a:cubicBezTo>
                <a:lnTo>
                  <a:pt x="134335" y="80601"/>
                </a:lnTo>
                <a:lnTo>
                  <a:pt x="17911" y="80601"/>
                </a:lnTo>
                <a:lnTo>
                  <a:pt x="17911" y="15672"/>
                </a:lnTo>
                <a:close/>
                <a:moveTo>
                  <a:pt x="138812" y="93586"/>
                </a:moveTo>
                <a:lnTo>
                  <a:pt x="138812" y="88661"/>
                </a:lnTo>
                <a:lnTo>
                  <a:pt x="134335" y="88661"/>
                </a:lnTo>
                <a:lnTo>
                  <a:pt x="134335" y="93586"/>
                </a:lnTo>
                <a:lnTo>
                  <a:pt x="125379" y="93586"/>
                </a:lnTo>
                <a:lnTo>
                  <a:pt x="125379" y="88661"/>
                </a:lnTo>
                <a:lnTo>
                  <a:pt x="120901" y="88661"/>
                </a:lnTo>
                <a:lnTo>
                  <a:pt x="120901" y="93586"/>
                </a:lnTo>
                <a:lnTo>
                  <a:pt x="111945" y="93586"/>
                </a:lnTo>
                <a:lnTo>
                  <a:pt x="111945" y="88661"/>
                </a:lnTo>
                <a:lnTo>
                  <a:pt x="107468" y="88661"/>
                </a:lnTo>
                <a:lnTo>
                  <a:pt x="107468" y="93586"/>
                </a:lnTo>
                <a:lnTo>
                  <a:pt x="15672" y="93586"/>
                </a:lnTo>
                <a:cubicBezTo>
                  <a:pt x="10299" y="93586"/>
                  <a:pt x="5821" y="89556"/>
                  <a:pt x="4478" y="84631"/>
                </a:cubicBezTo>
                <a:lnTo>
                  <a:pt x="147320" y="84631"/>
                </a:lnTo>
                <a:cubicBezTo>
                  <a:pt x="146425" y="89556"/>
                  <a:pt x="142843" y="92691"/>
                  <a:pt x="138812" y="93586"/>
                </a:cubicBezTo>
                <a:close/>
              </a:path>
            </a:pathLst>
          </a:custGeom>
          <a:solidFill>
            <a:srgbClr val="231F20"/>
          </a:solidFill>
          <a:ln w="4474" cap="flat">
            <a:noFill/>
            <a:prstDash val="solid"/>
            <a:miter/>
          </a:ln>
        </p:spPr>
        <p:txBody>
          <a:bodyPr rtlCol="0" anchor="ctr"/>
          <a:lstStyle/>
          <a:p>
            <a:endParaRPr lang="en-US"/>
          </a:p>
        </p:txBody>
      </p:sp>
      <p:grpSp>
        <p:nvGrpSpPr>
          <p:cNvPr id="4014" name="Group 4013">
            <a:extLst>
              <a:ext uri="{FF2B5EF4-FFF2-40B4-BE49-F238E27FC236}">
                <a16:creationId xmlns:a16="http://schemas.microsoft.com/office/drawing/2014/main" id="{5E2C46A2-3332-4616-825C-FC94E4708FF5}"/>
              </a:ext>
              <a:ext uri="{C183D7F6-B498-43B3-948B-1728B52AA6E4}">
                <adec:decorative xmlns:adec="http://schemas.microsoft.com/office/drawing/2017/decorative" val="1"/>
              </a:ext>
            </a:extLst>
          </p:cNvPr>
          <p:cNvGrpSpPr>
            <a:grpSpLocks noChangeAspect="1"/>
          </p:cNvGrpSpPr>
          <p:nvPr/>
        </p:nvGrpSpPr>
        <p:grpSpPr>
          <a:xfrm>
            <a:off x="5309307" y="2086035"/>
            <a:ext cx="125379" cy="125379"/>
            <a:chOff x="5350061" y="1350596"/>
            <a:chExt cx="125379" cy="125379"/>
          </a:xfrm>
        </p:grpSpPr>
        <p:sp>
          <p:nvSpPr>
            <p:cNvPr id="4015" name="Freeform: Shape 4014">
              <a:extLst>
                <a:ext uri="{FF2B5EF4-FFF2-40B4-BE49-F238E27FC236}">
                  <a16:creationId xmlns:a16="http://schemas.microsoft.com/office/drawing/2014/main" id="{22938384-B14B-4A5F-B271-59058FFDB83C}"/>
                </a:ext>
              </a:extLst>
            </p:cNvPr>
            <p:cNvSpPr/>
            <p:nvPr/>
          </p:nvSpPr>
          <p:spPr>
            <a:xfrm>
              <a:off x="5350061" y="1350596"/>
              <a:ext cx="125379" cy="125379"/>
            </a:xfrm>
            <a:custGeom>
              <a:avLst/>
              <a:gdLst>
                <a:gd name="connsiteX0" fmla="*/ 109707 w 125378"/>
                <a:gd name="connsiteY0" fmla="*/ 67167 h 125378"/>
                <a:gd name="connsiteX1" fmla="*/ 98512 w 125378"/>
                <a:gd name="connsiteY1" fmla="*/ 67167 h 125378"/>
                <a:gd name="connsiteX2" fmla="*/ 98512 w 125378"/>
                <a:gd name="connsiteY2" fmla="*/ 2239 h 125378"/>
                <a:gd name="connsiteX3" fmla="*/ 96273 w 125378"/>
                <a:gd name="connsiteY3" fmla="*/ 0 h 125378"/>
                <a:gd name="connsiteX4" fmla="*/ 29106 w 125378"/>
                <a:gd name="connsiteY4" fmla="*/ 0 h 125378"/>
                <a:gd name="connsiteX5" fmla="*/ 26867 w 125378"/>
                <a:gd name="connsiteY5" fmla="*/ 2239 h 125378"/>
                <a:gd name="connsiteX6" fmla="*/ 26867 w 125378"/>
                <a:gd name="connsiteY6" fmla="*/ 67167 h 125378"/>
                <a:gd name="connsiteX7" fmla="*/ 15672 w 125378"/>
                <a:gd name="connsiteY7" fmla="*/ 67167 h 125378"/>
                <a:gd name="connsiteX8" fmla="*/ 0 w 125378"/>
                <a:gd name="connsiteY8" fmla="*/ 82840 h 125378"/>
                <a:gd name="connsiteX9" fmla="*/ 0 w 125378"/>
                <a:gd name="connsiteY9" fmla="*/ 109707 h 125378"/>
                <a:gd name="connsiteX10" fmla="*/ 15672 w 125378"/>
                <a:gd name="connsiteY10" fmla="*/ 125379 h 125378"/>
                <a:gd name="connsiteX11" fmla="*/ 109707 w 125378"/>
                <a:gd name="connsiteY11" fmla="*/ 125379 h 125378"/>
                <a:gd name="connsiteX12" fmla="*/ 125379 w 125378"/>
                <a:gd name="connsiteY12" fmla="*/ 109707 h 125378"/>
                <a:gd name="connsiteX13" fmla="*/ 125379 w 125378"/>
                <a:gd name="connsiteY13" fmla="*/ 82840 h 125378"/>
                <a:gd name="connsiteX14" fmla="*/ 109707 w 125378"/>
                <a:gd name="connsiteY14" fmla="*/ 67167 h 125378"/>
                <a:gd name="connsiteX15" fmla="*/ 31345 w 125378"/>
                <a:gd name="connsiteY15" fmla="*/ 4478 h 125378"/>
                <a:gd name="connsiteX16" fmla="*/ 94034 w 125378"/>
                <a:gd name="connsiteY16" fmla="*/ 4478 h 125378"/>
                <a:gd name="connsiteX17" fmla="*/ 94034 w 125378"/>
                <a:gd name="connsiteY17" fmla="*/ 67167 h 125378"/>
                <a:gd name="connsiteX18" fmla="*/ 31345 w 125378"/>
                <a:gd name="connsiteY18" fmla="*/ 67167 h 125378"/>
                <a:gd name="connsiteX19" fmla="*/ 31345 w 125378"/>
                <a:gd name="connsiteY19" fmla="*/ 4478 h 125378"/>
                <a:gd name="connsiteX20" fmla="*/ 120901 w 125378"/>
                <a:gd name="connsiteY20" fmla="*/ 109707 h 125378"/>
                <a:gd name="connsiteX21" fmla="*/ 109707 w 125378"/>
                <a:gd name="connsiteY21" fmla="*/ 120901 h 125378"/>
                <a:gd name="connsiteX22" fmla="*/ 15672 w 125378"/>
                <a:gd name="connsiteY22" fmla="*/ 120901 h 125378"/>
                <a:gd name="connsiteX23" fmla="*/ 4478 w 125378"/>
                <a:gd name="connsiteY23" fmla="*/ 109707 h 125378"/>
                <a:gd name="connsiteX24" fmla="*/ 4478 w 125378"/>
                <a:gd name="connsiteY24" fmla="*/ 82840 h 125378"/>
                <a:gd name="connsiteX25" fmla="*/ 15672 w 125378"/>
                <a:gd name="connsiteY25" fmla="*/ 71645 h 125378"/>
                <a:gd name="connsiteX26" fmla="*/ 29106 w 125378"/>
                <a:gd name="connsiteY26" fmla="*/ 71645 h 125378"/>
                <a:gd name="connsiteX27" fmla="*/ 96273 w 125378"/>
                <a:gd name="connsiteY27" fmla="*/ 71645 h 125378"/>
                <a:gd name="connsiteX28" fmla="*/ 109707 w 125378"/>
                <a:gd name="connsiteY28" fmla="*/ 71645 h 125378"/>
                <a:gd name="connsiteX29" fmla="*/ 120901 w 125378"/>
                <a:gd name="connsiteY29" fmla="*/ 82840 h 125378"/>
                <a:gd name="connsiteX30" fmla="*/ 120901 w 125378"/>
                <a:gd name="connsiteY30" fmla="*/ 109707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378" h="125378">
                  <a:moveTo>
                    <a:pt x="109707" y="67167"/>
                  </a:moveTo>
                  <a:lnTo>
                    <a:pt x="98512" y="67167"/>
                  </a:lnTo>
                  <a:lnTo>
                    <a:pt x="98512" y="2239"/>
                  </a:lnTo>
                  <a:cubicBezTo>
                    <a:pt x="98512" y="896"/>
                    <a:pt x="97616" y="0"/>
                    <a:pt x="96273" y="0"/>
                  </a:cubicBezTo>
                  <a:lnTo>
                    <a:pt x="29106" y="0"/>
                  </a:lnTo>
                  <a:cubicBezTo>
                    <a:pt x="27762" y="0"/>
                    <a:pt x="26867" y="896"/>
                    <a:pt x="26867" y="2239"/>
                  </a:cubicBezTo>
                  <a:lnTo>
                    <a:pt x="26867" y="67167"/>
                  </a:lnTo>
                  <a:lnTo>
                    <a:pt x="15672" y="67167"/>
                  </a:lnTo>
                  <a:cubicBezTo>
                    <a:pt x="7164" y="67167"/>
                    <a:pt x="0" y="74332"/>
                    <a:pt x="0" y="82840"/>
                  </a:cubicBezTo>
                  <a:lnTo>
                    <a:pt x="0" y="109707"/>
                  </a:lnTo>
                  <a:cubicBezTo>
                    <a:pt x="0" y="118214"/>
                    <a:pt x="7164" y="125379"/>
                    <a:pt x="15672" y="125379"/>
                  </a:cubicBezTo>
                  <a:lnTo>
                    <a:pt x="109707" y="125379"/>
                  </a:lnTo>
                  <a:cubicBezTo>
                    <a:pt x="118215" y="125379"/>
                    <a:pt x="125379" y="118214"/>
                    <a:pt x="125379" y="109707"/>
                  </a:cubicBezTo>
                  <a:lnTo>
                    <a:pt x="125379" y="82840"/>
                  </a:lnTo>
                  <a:cubicBezTo>
                    <a:pt x="125379" y="74332"/>
                    <a:pt x="118662" y="67167"/>
                    <a:pt x="109707" y="67167"/>
                  </a:cubicBezTo>
                  <a:close/>
                  <a:moveTo>
                    <a:pt x="31345" y="4478"/>
                  </a:moveTo>
                  <a:lnTo>
                    <a:pt x="94034" y="4478"/>
                  </a:lnTo>
                  <a:lnTo>
                    <a:pt x="94034" y="67167"/>
                  </a:lnTo>
                  <a:lnTo>
                    <a:pt x="31345" y="67167"/>
                  </a:lnTo>
                  <a:lnTo>
                    <a:pt x="31345" y="4478"/>
                  </a:lnTo>
                  <a:close/>
                  <a:moveTo>
                    <a:pt x="120901" y="109707"/>
                  </a:moveTo>
                  <a:cubicBezTo>
                    <a:pt x="120901" y="115975"/>
                    <a:pt x="115976" y="120901"/>
                    <a:pt x="109707" y="120901"/>
                  </a:cubicBezTo>
                  <a:lnTo>
                    <a:pt x="15672" y="120901"/>
                  </a:lnTo>
                  <a:cubicBezTo>
                    <a:pt x="9403" y="120901"/>
                    <a:pt x="4478" y="115975"/>
                    <a:pt x="4478" y="109707"/>
                  </a:cubicBezTo>
                  <a:lnTo>
                    <a:pt x="4478" y="82840"/>
                  </a:lnTo>
                  <a:cubicBezTo>
                    <a:pt x="4478" y="76571"/>
                    <a:pt x="9403" y="71645"/>
                    <a:pt x="15672" y="71645"/>
                  </a:cubicBezTo>
                  <a:lnTo>
                    <a:pt x="29106" y="71645"/>
                  </a:lnTo>
                  <a:lnTo>
                    <a:pt x="96273" y="71645"/>
                  </a:lnTo>
                  <a:lnTo>
                    <a:pt x="109707" y="71645"/>
                  </a:lnTo>
                  <a:cubicBezTo>
                    <a:pt x="115976" y="71645"/>
                    <a:pt x="120901" y="76571"/>
                    <a:pt x="120901" y="82840"/>
                  </a:cubicBezTo>
                  <a:lnTo>
                    <a:pt x="120901" y="109707"/>
                  </a:lnTo>
                  <a:close/>
                </a:path>
              </a:pathLst>
            </a:custGeom>
            <a:solidFill>
              <a:srgbClr val="231F20"/>
            </a:solidFill>
            <a:ln w="4474" cap="flat">
              <a:noFill/>
              <a:prstDash val="solid"/>
              <a:miter/>
            </a:ln>
          </p:spPr>
          <p:txBody>
            <a:bodyPr rtlCol="0" anchor="ctr"/>
            <a:lstStyle/>
            <a:p>
              <a:endParaRPr lang="en-US"/>
            </a:p>
          </p:txBody>
        </p:sp>
        <p:sp>
          <p:nvSpPr>
            <p:cNvPr id="4016" name="Freeform: Shape 4015">
              <a:extLst>
                <a:ext uri="{FF2B5EF4-FFF2-40B4-BE49-F238E27FC236}">
                  <a16:creationId xmlns:a16="http://schemas.microsoft.com/office/drawing/2014/main" id="{4969B8F3-DB84-4CD5-B3A1-991F3C1EC980}"/>
                </a:ext>
              </a:extLst>
            </p:cNvPr>
            <p:cNvSpPr/>
            <p:nvPr/>
          </p:nvSpPr>
          <p:spPr>
            <a:xfrm>
              <a:off x="5390362" y="1364029"/>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6"/>
                    <a:pt x="895" y="0"/>
                    <a:pt x="2239" y="0"/>
                  </a:cubicBezTo>
                  <a:lnTo>
                    <a:pt x="42539" y="0"/>
                  </a:lnTo>
                  <a:cubicBezTo>
                    <a:pt x="43882" y="0"/>
                    <a:pt x="44778" y="896"/>
                    <a:pt x="44778" y="2239"/>
                  </a:cubicBezTo>
                  <a:cubicBezTo>
                    <a:pt x="44778" y="3582"/>
                    <a:pt x="43882" y="4478"/>
                    <a:pt x="42539" y="4478"/>
                  </a:cubicBezTo>
                  <a:close/>
                </a:path>
              </a:pathLst>
            </a:custGeom>
            <a:solidFill>
              <a:srgbClr val="231F20"/>
            </a:solidFill>
            <a:ln w="4474" cap="flat">
              <a:noFill/>
              <a:prstDash val="solid"/>
              <a:miter/>
            </a:ln>
          </p:spPr>
          <p:txBody>
            <a:bodyPr rtlCol="0" anchor="ctr"/>
            <a:lstStyle/>
            <a:p>
              <a:endParaRPr lang="en-US"/>
            </a:p>
          </p:txBody>
        </p:sp>
        <p:sp>
          <p:nvSpPr>
            <p:cNvPr id="4017" name="Freeform: Shape 4016">
              <a:extLst>
                <a:ext uri="{FF2B5EF4-FFF2-40B4-BE49-F238E27FC236}">
                  <a16:creationId xmlns:a16="http://schemas.microsoft.com/office/drawing/2014/main" id="{4086EFDC-59FB-472E-882C-D48A3EC29D0A}"/>
                </a:ext>
              </a:extLst>
            </p:cNvPr>
            <p:cNvSpPr/>
            <p:nvPr/>
          </p:nvSpPr>
          <p:spPr>
            <a:xfrm>
              <a:off x="5390362" y="1377463"/>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6"/>
                    <a:pt x="895" y="0"/>
                    <a:pt x="2239" y="0"/>
                  </a:cubicBezTo>
                  <a:lnTo>
                    <a:pt x="42539" y="0"/>
                  </a:lnTo>
                  <a:cubicBezTo>
                    <a:pt x="43882" y="0"/>
                    <a:pt x="44778" y="896"/>
                    <a:pt x="44778" y="2239"/>
                  </a:cubicBezTo>
                  <a:cubicBezTo>
                    <a:pt x="44778" y="3582"/>
                    <a:pt x="43882" y="4478"/>
                    <a:pt x="42539" y="4478"/>
                  </a:cubicBezTo>
                  <a:close/>
                </a:path>
              </a:pathLst>
            </a:custGeom>
            <a:solidFill>
              <a:srgbClr val="231F20"/>
            </a:solidFill>
            <a:ln w="4474" cap="flat">
              <a:noFill/>
              <a:prstDash val="solid"/>
              <a:miter/>
            </a:ln>
          </p:spPr>
          <p:txBody>
            <a:bodyPr rtlCol="0" anchor="ctr"/>
            <a:lstStyle/>
            <a:p>
              <a:endParaRPr lang="en-US"/>
            </a:p>
          </p:txBody>
        </p:sp>
        <p:sp>
          <p:nvSpPr>
            <p:cNvPr id="4018" name="Freeform: Shape 4017">
              <a:extLst>
                <a:ext uri="{FF2B5EF4-FFF2-40B4-BE49-F238E27FC236}">
                  <a16:creationId xmlns:a16="http://schemas.microsoft.com/office/drawing/2014/main" id="{EB1A9C09-2828-461B-888A-E8769777E8CF}"/>
                </a:ext>
              </a:extLst>
            </p:cNvPr>
            <p:cNvSpPr/>
            <p:nvPr/>
          </p:nvSpPr>
          <p:spPr>
            <a:xfrm>
              <a:off x="5390362" y="1390896"/>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6"/>
                    <a:pt x="895" y="0"/>
                    <a:pt x="2239" y="0"/>
                  </a:cubicBezTo>
                  <a:lnTo>
                    <a:pt x="42539" y="0"/>
                  </a:lnTo>
                  <a:cubicBezTo>
                    <a:pt x="43882" y="0"/>
                    <a:pt x="44778" y="896"/>
                    <a:pt x="44778" y="2239"/>
                  </a:cubicBezTo>
                  <a:cubicBezTo>
                    <a:pt x="44778" y="3582"/>
                    <a:pt x="43882" y="4478"/>
                    <a:pt x="42539" y="4478"/>
                  </a:cubicBezTo>
                  <a:close/>
                </a:path>
              </a:pathLst>
            </a:custGeom>
            <a:solidFill>
              <a:srgbClr val="231F20"/>
            </a:solidFill>
            <a:ln w="4474" cap="flat">
              <a:noFill/>
              <a:prstDash val="solid"/>
              <a:miter/>
            </a:ln>
          </p:spPr>
          <p:txBody>
            <a:bodyPr rtlCol="0" anchor="ctr"/>
            <a:lstStyle/>
            <a:p>
              <a:endParaRPr lang="en-US"/>
            </a:p>
          </p:txBody>
        </p:sp>
      </p:grpSp>
      <p:grpSp>
        <p:nvGrpSpPr>
          <p:cNvPr id="4019" name="Group 4018">
            <a:extLst>
              <a:ext uri="{FF2B5EF4-FFF2-40B4-BE49-F238E27FC236}">
                <a16:creationId xmlns:a16="http://schemas.microsoft.com/office/drawing/2014/main" id="{C39900CF-B43C-4D6E-B07F-5FBD6AE3FCA2}"/>
              </a:ext>
              <a:ext uri="{C183D7F6-B498-43B3-948B-1728B52AA6E4}">
                <adec:decorative xmlns:adec="http://schemas.microsoft.com/office/drawing/2017/decorative" val="1"/>
              </a:ext>
            </a:extLst>
          </p:cNvPr>
          <p:cNvGrpSpPr>
            <a:grpSpLocks noChangeAspect="1"/>
          </p:cNvGrpSpPr>
          <p:nvPr/>
        </p:nvGrpSpPr>
        <p:grpSpPr>
          <a:xfrm>
            <a:off x="5595888" y="2086035"/>
            <a:ext cx="71645" cy="125379"/>
            <a:chOff x="5636642" y="1350596"/>
            <a:chExt cx="71645" cy="125379"/>
          </a:xfrm>
        </p:grpSpPr>
        <p:sp>
          <p:nvSpPr>
            <p:cNvPr id="4020" name="Freeform: Shape 4019">
              <a:extLst>
                <a:ext uri="{FF2B5EF4-FFF2-40B4-BE49-F238E27FC236}">
                  <a16:creationId xmlns:a16="http://schemas.microsoft.com/office/drawing/2014/main" id="{B00184CA-CDCE-4B5B-95E2-94AC16175699}"/>
                </a:ext>
              </a:extLst>
            </p:cNvPr>
            <p:cNvSpPr/>
            <p:nvPr/>
          </p:nvSpPr>
          <p:spPr>
            <a:xfrm>
              <a:off x="5636642" y="1350596"/>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4" y="125379"/>
                    <a:pt x="0" y="118214"/>
                    <a:pt x="0" y="109707"/>
                  </a:cubicBezTo>
                  <a:lnTo>
                    <a:pt x="0" y="15672"/>
                  </a:lnTo>
                  <a:cubicBezTo>
                    <a:pt x="0" y="7165"/>
                    <a:pt x="7164" y="0"/>
                    <a:pt x="15672" y="0"/>
                  </a:cubicBezTo>
                  <a:lnTo>
                    <a:pt x="55973" y="0"/>
                  </a:lnTo>
                  <a:cubicBezTo>
                    <a:pt x="64481" y="0"/>
                    <a:pt x="71645" y="7165"/>
                    <a:pt x="71645" y="15672"/>
                  </a:cubicBezTo>
                  <a:lnTo>
                    <a:pt x="71645" y="109707"/>
                  </a:lnTo>
                  <a:cubicBezTo>
                    <a:pt x="71645" y="118214"/>
                    <a:pt x="64928"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21" name="Freeform: Shape 4020">
              <a:extLst>
                <a:ext uri="{FF2B5EF4-FFF2-40B4-BE49-F238E27FC236}">
                  <a16:creationId xmlns:a16="http://schemas.microsoft.com/office/drawing/2014/main" id="{8093D072-86BD-4A5C-9E95-AF05D5500C2E}"/>
                </a:ext>
              </a:extLst>
            </p:cNvPr>
            <p:cNvSpPr/>
            <p:nvPr/>
          </p:nvSpPr>
          <p:spPr>
            <a:xfrm>
              <a:off x="5665747" y="1453585"/>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8" y="13433"/>
                    <a:pt x="0" y="10426"/>
                    <a:pt x="0" y="6717"/>
                  </a:cubicBezTo>
                  <a:cubicBezTo>
                    <a:pt x="0" y="3007"/>
                    <a:pt x="3008"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grpSp>
      <p:sp>
        <p:nvSpPr>
          <p:cNvPr id="4022" name="Freeform: Shape 4021">
            <a:extLst>
              <a:ext uri="{FF2B5EF4-FFF2-40B4-BE49-F238E27FC236}">
                <a16:creationId xmlns:a16="http://schemas.microsoft.com/office/drawing/2014/main" id="{25B7C75E-B99F-49C6-92F0-2EE5297E8BD2}"/>
              </a:ext>
              <a:ext uri="{C183D7F6-B498-43B3-948B-1728B52AA6E4}">
                <adec:decorative xmlns:adec="http://schemas.microsoft.com/office/drawing/2017/decorative" val="1"/>
              </a:ext>
            </a:extLst>
          </p:cNvPr>
          <p:cNvSpPr>
            <a:spLocks noChangeAspect="1"/>
          </p:cNvSpPr>
          <p:nvPr/>
        </p:nvSpPr>
        <p:spPr>
          <a:xfrm>
            <a:off x="2387531" y="2427244"/>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111" y="0"/>
                  <a:pt x="145529" y="0"/>
                </a:cubicBezTo>
                <a:close/>
                <a:moveTo>
                  <a:pt x="147768" y="91795"/>
                </a:moveTo>
                <a:cubicBezTo>
                  <a:pt x="147768" y="93139"/>
                  <a:pt x="146873"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3"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23" name="Freeform: Shape 4022">
            <a:extLst>
              <a:ext uri="{FF2B5EF4-FFF2-40B4-BE49-F238E27FC236}">
                <a16:creationId xmlns:a16="http://schemas.microsoft.com/office/drawing/2014/main" id="{D7E32CE8-D26D-4941-ACC2-4D99CEC64B03}"/>
              </a:ext>
              <a:ext uri="{C183D7F6-B498-43B3-948B-1728B52AA6E4}">
                <adec:decorative xmlns:adec="http://schemas.microsoft.com/office/drawing/2017/decorative" val="1"/>
              </a:ext>
            </a:extLst>
          </p:cNvPr>
          <p:cNvSpPr>
            <a:spLocks noChangeAspect="1"/>
          </p:cNvSpPr>
          <p:nvPr/>
        </p:nvSpPr>
        <p:spPr>
          <a:xfrm>
            <a:off x="2670977" y="2427244"/>
            <a:ext cx="125379" cy="125379"/>
          </a:xfrm>
          <a:custGeom>
            <a:avLst/>
            <a:gdLst>
              <a:gd name="connsiteX0" fmla="*/ 118662 w 125378"/>
              <a:gd name="connsiteY0" fmla="*/ 0 h 125378"/>
              <a:gd name="connsiteX1" fmla="*/ 6717 w 125378"/>
              <a:gd name="connsiteY1" fmla="*/ 0 h 125378"/>
              <a:gd name="connsiteX2" fmla="*/ 0 w 125378"/>
              <a:gd name="connsiteY2" fmla="*/ 6717 h 125378"/>
              <a:gd name="connsiteX3" fmla="*/ 0 w 125378"/>
              <a:gd name="connsiteY3" fmla="*/ 105229 h 125378"/>
              <a:gd name="connsiteX4" fmla="*/ 6717 w 125378"/>
              <a:gd name="connsiteY4" fmla="*/ 111945 h 125378"/>
              <a:gd name="connsiteX5" fmla="*/ 60451 w 125378"/>
              <a:gd name="connsiteY5" fmla="*/ 111945 h 125378"/>
              <a:gd name="connsiteX6" fmla="*/ 60451 w 125378"/>
              <a:gd name="connsiteY6" fmla="*/ 120901 h 125378"/>
              <a:gd name="connsiteX7" fmla="*/ 29106 w 125378"/>
              <a:gd name="connsiteY7" fmla="*/ 120901 h 125378"/>
              <a:gd name="connsiteX8" fmla="*/ 26867 w 125378"/>
              <a:gd name="connsiteY8" fmla="*/ 123140 h 125378"/>
              <a:gd name="connsiteX9" fmla="*/ 29106 w 125378"/>
              <a:gd name="connsiteY9" fmla="*/ 125379 h 125378"/>
              <a:gd name="connsiteX10" fmla="*/ 96273 w 125378"/>
              <a:gd name="connsiteY10" fmla="*/ 125379 h 125378"/>
              <a:gd name="connsiteX11" fmla="*/ 98512 w 125378"/>
              <a:gd name="connsiteY11" fmla="*/ 123140 h 125378"/>
              <a:gd name="connsiteX12" fmla="*/ 96273 w 125378"/>
              <a:gd name="connsiteY12" fmla="*/ 120901 h 125378"/>
              <a:gd name="connsiteX13" fmla="*/ 64928 w 125378"/>
              <a:gd name="connsiteY13" fmla="*/ 120901 h 125378"/>
              <a:gd name="connsiteX14" fmla="*/ 64928 w 125378"/>
              <a:gd name="connsiteY14" fmla="*/ 111945 h 125378"/>
              <a:gd name="connsiteX15" fmla="*/ 118662 w 125378"/>
              <a:gd name="connsiteY15" fmla="*/ 111945 h 125378"/>
              <a:gd name="connsiteX16" fmla="*/ 125379 w 125378"/>
              <a:gd name="connsiteY16" fmla="*/ 105229 h 125378"/>
              <a:gd name="connsiteX17" fmla="*/ 125379 w 125378"/>
              <a:gd name="connsiteY17" fmla="*/ 6717 h 125378"/>
              <a:gd name="connsiteX18" fmla="*/ 118662 w 125378"/>
              <a:gd name="connsiteY18" fmla="*/ 0 h 125378"/>
              <a:gd name="connsiteX19" fmla="*/ 120901 w 125378"/>
              <a:gd name="connsiteY19" fmla="*/ 105229 h 125378"/>
              <a:gd name="connsiteX20" fmla="*/ 118662 w 125378"/>
              <a:gd name="connsiteY20" fmla="*/ 107468 h 125378"/>
              <a:gd name="connsiteX21" fmla="*/ 6717 w 125378"/>
              <a:gd name="connsiteY21" fmla="*/ 107468 h 125378"/>
              <a:gd name="connsiteX22" fmla="*/ 4478 w 125378"/>
              <a:gd name="connsiteY22" fmla="*/ 105229 h 125378"/>
              <a:gd name="connsiteX23" fmla="*/ 4478 w 125378"/>
              <a:gd name="connsiteY23" fmla="*/ 6717 h 125378"/>
              <a:gd name="connsiteX24" fmla="*/ 6717 w 125378"/>
              <a:gd name="connsiteY24" fmla="*/ 4478 h 125378"/>
              <a:gd name="connsiteX25" fmla="*/ 118662 w 125378"/>
              <a:gd name="connsiteY25" fmla="*/ 4478 h 125378"/>
              <a:gd name="connsiteX26" fmla="*/ 120901 w 125378"/>
              <a:gd name="connsiteY26" fmla="*/ 6717 h 125378"/>
              <a:gd name="connsiteX27" fmla="*/ 120901 w 125378"/>
              <a:gd name="connsiteY27" fmla="*/ 105229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378" h="125378">
                <a:moveTo>
                  <a:pt x="118662" y="0"/>
                </a:moveTo>
                <a:lnTo>
                  <a:pt x="6717" y="0"/>
                </a:lnTo>
                <a:cubicBezTo>
                  <a:pt x="3134" y="0"/>
                  <a:pt x="0" y="3134"/>
                  <a:pt x="0" y="6717"/>
                </a:cubicBezTo>
                <a:lnTo>
                  <a:pt x="0" y="105229"/>
                </a:lnTo>
                <a:cubicBezTo>
                  <a:pt x="0" y="108811"/>
                  <a:pt x="3134" y="111945"/>
                  <a:pt x="6717" y="111945"/>
                </a:cubicBezTo>
                <a:lnTo>
                  <a:pt x="60451" y="111945"/>
                </a:lnTo>
                <a:lnTo>
                  <a:pt x="60451" y="120901"/>
                </a:lnTo>
                <a:lnTo>
                  <a:pt x="29106" y="120901"/>
                </a:lnTo>
                <a:cubicBezTo>
                  <a:pt x="27762" y="120901"/>
                  <a:pt x="26867" y="121797"/>
                  <a:pt x="26867" y="123140"/>
                </a:cubicBezTo>
                <a:cubicBezTo>
                  <a:pt x="26867" y="124483"/>
                  <a:pt x="27762" y="125379"/>
                  <a:pt x="29106" y="125379"/>
                </a:cubicBezTo>
                <a:lnTo>
                  <a:pt x="96273" y="125379"/>
                </a:lnTo>
                <a:cubicBezTo>
                  <a:pt x="97616" y="125379"/>
                  <a:pt x="98512" y="124483"/>
                  <a:pt x="98512" y="123140"/>
                </a:cubicBezTo>
                <a:cubicBezTo>
                  <a:pt x="98512" y="121797"/>
                  <a:pt x="97616" y="120901"/>
                  <a:pt x="96273" y="120901"/>
                </a:cubicBezTo>
                <a:lnTo>
                  <a:pt x="64928" y="120901"/>
                </a:lnTo>
                <a:lnTo>
                  <a:pt x="64928" y="111945"/>
                </a:lnTo>
                <a:lnTo>
                  <a:pt x="118662" y="111945"/>
                </a:lnTo>
                <a:cubicBezTo>
                  <a:pt x="122244" y="111945"/>
                  <a:pt x="125379" y="108811"/>
                  <a:pt x="125379" y="105229"/>
                </a:cubicBezTo>
                <a:lnTo>
                  <a:pt x="125379" y="6717"/>
                </a:lnTo>
                <a:cubicBezTo>
                  <a:pt x="125379" y="2687"/>
                  <a:pt x="122692" y="0"/>
                  <a:pt x="118662" y="0"/>
                </a:cubicBezTo>
                <a:close/>
                <a:moveTo>
                  <a:pt x="120901" y="105229"/>
                </a:moveTo>
                <a:cubicBezTo>
                  <a:pt x="120901" y="106572"/>
                  <a:pt x="120005" y="107468"/>
                  <a:pt x="118662" y="107468"/>
                </a:cubicBezTo>
                <a:lnTo>
                  <a:pt x="6717" y="107468"/>
                </a:lnTo>
                <a:cubicBezTo>
                  <a:pt x="5373" y="107468"/>
                  <a:pt x="4478" y="106572"/>
                  <a:pt x="4478" y="105229"/>
                </a:cubicBezTo>
                <a:lnTo>
                  <a:pt x="4478" y="6717"/>
                </a:lnTo>
                <a:cubicBezTo>
                  <a:pt x="4478" y="5373"/>
                  <a:pt x="5373" y="4478"/>
                  <a:pt x="6717" y="4478"/>
                </a:cubicBezTo>
                <a:lnTo>
                  <a:pt x="118662" y="4478"/>
                </a:lnTo>
                <a:cubicBezTo>
                  <a:pt x="120005" y="4478"/>
                  <a:pt x="120901" y="5373"/>
                  <a:pt x="120901" y="6717"/>
                </a:cubicBezTo>
                <a:lnTo>
                  <a:pt x="120901" y="105229"/>
                </a:lnTo>
                <a:close/>
              </a:path>
            </a:pathLst>
          </a:custGeom>
          <a:solidFill>
            <a:srgbClr val="231F20"/>
          </a:solidFill>
          <a:ln w="4474" cap="flat">
            <a:noFill/>
            <a:prstDash val="solid"/>
            <a:miter/>
          </a:ln>
        </p:spPr>
        <p:txBody>
          <a:bodyPr rtlCol="0" anchor="ctr"/>
          <a:lstStyle/>
          <a:p>
            <a:endParaRPr lang="en-US"/>
          </a:p>
        </p:txBody>
      </p:sp>
      <p:grpSp>
        <p:nvGrpSpPr>
          <p:cNvPr id="4024" name="Group 4023">
            <a:extLst>
              <a:ext uri="{FF2B5EF4-FFF2-40B4-BE49-F238E27FC236}">
                <a16:creationId xmlns:a16="http://schemas.microsoft.com/office/drawing/2014/main" id="{ECB58A45-F9F7-49E5-969F-D9160C588530}"/>
              </a:ext>
              <a:ext uri="{C183D7F6-B498-43B3-948B-1728B52AA6E4}">
                <adec:decorative xmlns:adec="http://schemas.microsoft.com/office/drawing/2017/decorative" val="1"/>
              </a:ext>
            </a:extLst>
          </p:cNvPr>
          <p:cNvGrpSpPr>
            <a:grpSpLocks noChangeAspect="1"/>
          </p:cNvGrpSpPr>
          <p:nvPr/>
        </p:nvGrpSpPr>
        <p:grpSpPr>
          <a:xfrm>
            <a:off x="1598092" y="2440678"/>
            <a:ext cx="152246" cy="98512"/>
            <a:chOff x="1638846" y="1705239"/>
            <a:chExt cx="152246" cy="98512"/>
          </a:xfrm>
        </p:grpSpPr>
        <p:sp>
          <p:nvSpPr>
            <p:cNvPr id="4025" name="Freeform: Shape 4024">
              <a:extLst>
                <a:ext uri="{FF2B5EF4-FFF2-40B4-BE49-F238E27FC236}">
                  <a16:creationId xmlns:a16="http://schemas.microsoft.com/office/drawing/2014/main" id="{DCBA7A13-6DAF-4674-9361-B7560EC51DDC}"/>
                </a:ext>
              </a:extLst>
            </p:cNvPr>
            <p:cNvSpPr/>
            <p:nvPr/>
          </p:nvSpPr>
          <p:spPr>
            <a:xfrm>
              <a:off x="1638846" y="1705239"/>
              <a:ext cx="152246" cy="98512"/>
            </a:xfrm>
            <a:custGeom>
              <a:avLst/>
              <a:gdLst>
                <a:gd name="connsiteX0" fmla="*/ 150007 w 152245"/>
                <a:gd name="connsiteY0" fmla="*/ 80601 h 98511"/>
                <a:gd name="connsiteX1" fmla="*/ 138812 w 152245"/>
                <a:gd name="connsiteY1" fmla="*/ 80601 h 98511"/>
                <a:gd name="connsiteX2" fmla="*/ 138812 w 152245"/>
                <a:gd name="connsiteY2" fmla="*/ 15672 h 98511"/>
                <a:gd name="connsiteX3" fmla="*/ 123140 w 152245"/>
                <a:gd name="connsiteY3" fmla="*/ 0 h 98511"/>
                <a:gd name="connsiteX4" fmla="*/ 29106 w 152245"/>
                <a:gd name="connsiteY4" fmla="*/ 0 h 98511"/>
                <a:gd name="connsiteX5" fmla="*/ 13433 w 152245"/>
                <a:gd name="connsiteY5" fmla="*/ 15672 h 98511"/>
                <a:gd name="connsiteX6" fmla="*/ 13433 w 152245"/>
                <a:gd name="connsiteY6" fmla="*/ 80601 h 98511"/>
                <a:gd name="connsiteX7" fmla="*/ 2239 w 152245"/>
                <a:gd name="connsiteY7" fmla="*/ 80601 h 98511"/>
                <a:gd name="connsiteX8" fmla="*/ 0 w 152245"/>
                <a:gd name="connsiteY8" fmla="*/ 82840 h 98511"/>
                <a:gd name="connsiteX9" fmla="*/ 15672 w 152245"/>
                <a:gd name="connsiteY9" fmla="*/ 98512 h 98511"/>
                <a:gd name="connsiteX10" fmla="*/ 136573 w 152245"/>
                <a:gd name="connsiteY10" fmla="*/ 98512 h 98511"/>
                <a:gd name="connsiteX11" fmla="*/ 152246 w 152245"/>
                <a:gd name="connsiteY11" fmla="*/ 82840 h 98511"/>
                <a:gd name="connsiteX12" fmla="*/ 152246 w 152245"/>
                <a:gd name="connsiteY12" fmla="*/ 82840 h 98511"/>
                <a:gd name="connsiteX13" fmla="*/ 150007 w 152245"/>
                <a:gd name="connsiteY13" fmla="*/ 80601 h 98511"/>
                <a:gd name="connsiteX14" fmla="*/ 17911 w 152245"/>
                <a:gd name="connsiteY14" fmla="*/ 15672 h 98511"/>
                <a:gd name="connsiteX15" fmla="*/ 29106 w 152245"/>
                <a:gd name="connsiteY15" fmla="*/ 4478 h 98511"/>
                <a:gd name="connsiteX16" fmla="*/ 123140 w 152245"/>
                <a:gd name="connsiteY16" fmla="*/ 4478 h 98511"/>
                <a:gd name="connsiteX17" fmla="*/ 134335 w 152245"/>
                <a:gd name="connsiteY17" fmla="*/ 15672 h 98511"/>
                <a:gd name="connsiteX18" fmla="*/ 134335 w 152245"/>
                <a:gd name="connsiteY18" fmla="*/ 80601 h 98511"/>
                <a:gd name="connsiteX19" fmla="*/ 17911 w 152245"/>
                <a:gd name="connsiteY19" fmla="*/ 80601 h 98511"/>
                <a:gd name="connsiteX20" fmla="*/ 17911 w 152245"/>
                <a:gd name="connsiteY20" fmla="*/ 15672 h 98511"/>
                <a:gd name="connsiteX21" fmla="*/ 136573 w 152245"/>
                <a:gd name="connsiteY21" fmla="*/ 94034 h 98511"/>
                <a:gd name="connsiteX22" fmla="*/ 15672 w 152245"/>
                <a:gd name="connsiteY22" fmla="*/ 94034 h 98511"/>
                <a:gd name="connsiteX23" fmla="*/ 4478 w 152245"/>
                <a:gd name="connsiteY23" fmla="*/ 85079 h 98511"/>
                <a:gd name="connsiteX24" fmla="*/ 147320 w 152245"/>
                <a:gd name="connsiteY24" fmla="*/ 85079 h 98511"/>
                <a:gd name="connsiteX25" fmla="*/ 136573 w 152245"/>
                <a:gd name="connsiteY25" fmla="*/ 9403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45" h="98511">
                  <a:moveTo>
                    <a:pt x="150007" y="80601"/>
                  </a:moveTo>
                  <a:lnTo>
                    <a:pt x="138812" y="80601"/>
                  </a:lnTo>
                  <a:lnTo>
                    <a:pt x="138812" y="15672"/>
                  </a:lnTo>
                  <a:cubicBezTo>
                    <a:pt x="138812" y="7164"/>
                    <a:pt x="131648" y="0"/>
                    <a:pt x="123140" y="0"/>
                  </a:cubicBezTo>
                  <a:lnTo>
                    <a:pt x="29106" y="0"/>
                  </a:lnTo>
                  <a:cubicBezTo>
                    <a:pt x="20598" y="0"/>
                    <a:pt x="13433" y="7164"/>
                    <a:pt x="13433" y="15672"/>
                  </a:cubicBezTo>
                  <a:lnTo>
                    <a:pt x="13433" y="80601"/>
                  </a:lnTo>
                  <a:lnTo>
                    <a:pt x="2239" y="80601"/>
                  </a:lnTo>
                  <a:cubicBezTo>
                    <a:pt x="896" y="80601"/>
                    <a:pt x="0" y="81496"/>
                    <a:pt x="0" y="82840"/>
                  </a:cubicBezTo>
                  <a:cubicBezTo>
                    <a:pt x="0" y="91347"/>
                    <a:pt x="7164" y="98512"/>
                    <a:pt x="15672" y="98512"/>
                  </a:cubicBezTo>
                  <a:lnTo>
                    <a:pt x="136573" y="98512"/>
                  </a:lnTo>
                  <a:cubicBezTo>
                    <a:pt x="145081" y="98512"/>
                    <a:pt x="152246" y="91347"/>
                    <a:pt x="152246" y="82840"/>
                  </a:cubicBezTo>
                  <a:lnTo>
                    <a:pt x="152246" y="82840"/>
                  </a:lnTo>
                  <a:cubicBezTo>
                    <a:pt x="152246" y="81496"/>
                    <a:pt x="151350" y="80601"/>
                    <a:pt x="150007" y="80601"/>
                  </a:cubicBezTo>
                  <a:close/>
                  <a:moveTo>
                    <a:pt x="17911" y="15672"/>
                  </a:moveTo>
                  <a:cubicBezTo>
                    <a:pt x="17911" y="9403"/>
                    <a:pt x="22837" y="4478"/>
                    <a:pt x="29106" y="4478"/>
                  </a:cubicBezTo>
                  <a:lnTo>
                    <a:pt x="123140" y="4478"/>
                  </a:lnTo>
                  <a:cubicBezTo>
                    <a:pt x="129409" y="4478"/>
                    <a:pt x="134335" y="9403"/>
                    <a:pt x="134335" y="15672"/>
                  </a:cubicBezTo>
                  <a:lnTo>
                    <a:pt x="134335" y="80601"/>
                  </a:lnTo>
                  <a:lnTo>
                    <a:pt x="17911" y="80601"/>
                  </a:lnTo>
                  <a:lnTo>
                    <a:pt x="17911" y="15672"/>
                  </a:lnTo>
                  <a:close/>
                  <a:moveTo>
                    <a:pt x="136573" y="94034"/>
                  </a:moveTo>
                  <a:lnTo>
                    <a:pt x="15672" y="94034"/>
                  </a:lnTo>
                  <a:cubicBezTo>
                    <a:pt x="10299" y="94034"/>
                    <a:pt x="5821" y="90004"/>
                    <a:pt x="4478" y="85079"/>
                  </a:cubicBezTo>
                  <a:lnTo>
                    <a:pt x="147320" y="85079"/>
                  </a:lnTo>
                  <a:cubicBezTo>
                    <a:pt x="146425" y="90004"/>
                    <a:pt x="141947" y="94034"/>
                    <a:pt x="136573" y="94034"/>
                  </a:cubicBezTo>
                  <a:close/>
                </a:path>
              </a:pathLst>
            </a:custGeom>
            <a:solidFill>
              <a:srgbClr val="231F20"/>
            </a:solidFill>
            <a:ln w="4474" cap="flat">
              <a:noFill/>
              <a:prstDash val="solid"/>
              <a:miter/>
            </a:ln>
          </p:spPr>
          <p:txBody>
            <a:bodyPr rtlCol="0" anchor="ctr"/>
            <a:lstStyle/>
            <a:p>
              <a:endParaRPr lang="en-US"/>
            </a:p>
          </p:txBody>
        </p:sp>
        <p:sp>
          <p:nvSpPr>
            <p:cNvPr id="4026" name="Freeform: Shape 4025">
              <a:extLst>
                <a:ext uri="{FF2B5EF4-FFF2-40B4-BE49-F238E27FC236}">
                  <a16:creationId xmlns:a16="http://schemas.microsoft.com/office/drawing/2014/main" id="{F52D3B56-D527-4AC1-A4B5-FE0D8F8968DB}"/>
                </a:ext>
              </a:extLst>
            </p:cNvPr>
            <p:cNvSpPr/>
            <p:nvPr/>
          </p:nvSpPr>
          <p:spPr>
            <a:xfrm>
              <a:off x="1706013" y="1718672"/>
              <a:ext cx="44778" cy="35823"/>
            </a:xfrm>
            <a:custGeom>
              <a:avLst/>
              <a:gdLst>
                <a:gd name="connsiteX0" fmla="*/ 15672 w 44778"/>
                <a:gd name="connsiteY0" fmla="*/ 38061 h 35822"/>
                <a:gd name="connsiteX1" fmla="*/ 13881 w 44778"/>
                <a:gd name="connsiteY1" fmla="*/ 37166 h 35822"/>
                <a:gd name="connsiteX2" fmla="*/ 9851 w 44778"/>
                <a:gd name="connsiteY2" fmla="*/ 31345 h 35822"/>
                <a:gd name="connsiteX3" fmla="*/ 2239 w 44778"/>
                <a:gd name="connsiteY3" fmla="*/ 31345 h 35822"/>
                <a:gd name="connsiteX4" fmla="*/ 0 w 44778"/>
                <a:gd name="connsiteY4" fmla="*/ 29106 h 35822"/>
                <a:gd name="connsiteX5" fmla="*/ 0 w 44778"/>
                <a:gd name="connsiteY5" fmla="*/ 2239 h 35822"/>
                <a:gd name="connsiteX6" fmla="*/ 2239 w 44778"/>
                <a:gd name="connsiteY6" fmla="*/ 0 h 35822"/>
                <a:gd name="connsiteX7" fmla="*/ 42539 w 44778"/>
                <a:gd name="connsiteY7" fmla="*/ 0 h 35822"/>
                <a:gd name="connsiteX8" fmla="*/ 44778 w 44778"/>
                <a:gd name="connsiteY8" fmla="*/ 2239 h 35822"/>
                <a:gd name="connsiteX9" fmla="*/ 44778 w 44778"/>
                <a:gd name="connsiteY9" fmla="*/ 29106 h 35822"/>
                <a:gd name="connsiteX10" fmla="*/ 42539 w 44778"/>
                <a:gd name="connsiteY10" fmla="*/ 31345 h 35822"/>
                <a:gd name="connsiteX11" fmla="*/ 21493 w 44778"/>
                <a:gd name="connsiteY11" fmla="*/ 31345 h 35822"/>
                <a:gd name="connsiteX12" fmla="*/ 17463 w 44778"/>
                <a:gd name="connsiteY12" fmla="*/ 37166 h 35822"/>
                <a:gd name="connsiteX13" fmla="*/ 15672 w 44778"/>
                <a:gd name="connsiteY13" fmla="*/ 38061 h 35822"/>
                <a:gd name="connsiteX14" fmla="*/ 4478 w 44778"/>
                <a:gd name="connsiteY14" fmla="*/ 26867 h 35822"/>
                <a:gd name="connsiteX15" fmla="*/ 11195 w 44778"/>
                <a:gd name="connsiteY15" fmla="*/ 26867 h 35822"/>
                <a:gd name="connsiteX16" fmla="*/ 12986 w 44778"/>
                <a:gd name="connsiteY16" fmla="*/ 27762 h 35822"/>
                <a:gd name="connsiteX17" fmla="*/ 15672 w 44778"/>
                <a:gd name="connsiteY17" fmla="*/ 31792 h 35822"/>
                <a:gd name="connsiteX18" fmla="*/ 18359 w 44778"/>
                <a:gd name="connsiteY18" fmla="*/ 27762 h 35822"/>
                <a:gd name="connsiteX19" fmla="*/ 20150 w 44778"/>
                <a:gd name="connsiteY19" fmla="*/ 26867 h 35822"/>
                <a:gd name="connsiteX20" fmla="*/ 40300 w 44778"/>
                <a:gd name="connsiteY20" fmla="*/ 26867 h 35822"/>
                <a:gd name="connsiteX21" fmla="*/ 40300 w 44778"/>
                <a:gd name="connsiteY21" fmla="*/ 4478 h 35822"/>
                <a:gd name="connsiteX22" fmla="*/ 4478 w 44778"/>
                <a:gd name="connsiteY22" fmla="*/ 4478 h 35822"/>
                <a:gd name="connsiteX23" fmla="*/ 4478 w 44778"/>
                <a:gd name="connsiteY23" fmla="*/ 2686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78" h="35822">
                  <a:moveTo>
                    <a:pt x="15672" y="38061"/>
                  </a:moveTo>
                  <a:cubicBezTo>
                    <a:pt x="14777" y="38061"/>
                    <a:pt x="14329" y="37614"/>
                    <a:pt x="13881" y="37166"/>
                  </a:cubicBezTo>
                  <a:lnTo>
                    <a:pt x="9851" y="31345"/>
                  </a:lnTo>
                  <a:lnTo>
                    <a:pt x="2239" y="31345"/>
                  </a:lnTo>
                  <a:cubicBezTo>
                    <a:pt x="896" y="31345"/>
                    <a:pt x="0" y="30449"/>
                    <a:pt x="0" y="29106"/>
                  </a:cubicBezTo>
                  <a:lnTo>
                    <a:pt x="0" y="2239"/>
                  </a:lnTo>
                  <a:cubicBezTo>
                    <a:pt x="0" y="896"/>
                    <a:pt x="896" y="0"/>
                    <a:pt x="2239" y="0"/>
                  </a:cubicBezTo>
                  <a:lnTo>
                    <a:pt x="42539" y="0"/>
                  </a:lnTo>
                  <a:cubicBezTo>
                    <a:pt x="43883" y="0"/>
                    <a:pt x="44778" y="896"/>
                    <a:pt x="44778" y="2239"/>
                  </a:cubicBezTo>
                  <a:lnTo>
                    <a:pt x="44778" y="29106"/>
                  </a:lnTo>
                  <a:cubicBezTo>
                    <a:pt x="44778" y="30449"/>
                    <a:pt x="43883" y="31345"/>
                    <a:pt x="42539" y="31345"/>
                  </a:cubicBezTo>
                  <a:lnTo>
                    <a:pt x="21493" y="31345"/>
                  </a:lnTo>
                  <a:lnTo>
                    <a:pt x="17463" y="37166"/>
                  </a:lnTo>
                  <a:cubicBezTo>
                    <a:pt x="17016" y="37614"/>
                    <a:pt x="16568" y="38061"/>
                    <a:pt x="15672" y="38061"/>
                  </a:cubicBezTo>
                  <a:close/>
                  <a:moveTo>
                    <a:pt x="4478" y="26867"/>
                  </a:moveTo>
                  <a:lnTo>
                    <a:pt x="11195" y="26867"/>
                  </a:lnTo>
                  <a:cubicBezTo>
                    <a:pt x="12090" y="26867"/>
                    <a:pt x="12538" y="27315"/>
                    <a:pt x="12986" y="27762"/>
                  </a:cubicBezTo>
                  <a:lnTo>
                    <a:pt x="15672" y="31792"/>
                  </a:lnTo>
                  <a:lnTo>
                    <a:pt x="18359" y="27762"/>
                  </a:lnTo>
                  <a:cubicBezTo>
                    <a:pt x="18807" y="27315"/>
                    <a:pt x="19255" y="26867"/>
                    <a:pt x="20150" y="26867"/>
                  </a:cubicBezTo>
                  <a:lnTo>
                    <a:pt x="40300" y="26867"/>
                  </a:lnTo>
                  <a:lnTo>
                    <a:pt x="40300"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grpSp>
      <p:grpSp>
        <p:nvGrpSpPr>
          <p:cNvPr id="4027" name="Group 4026">
            <a:extLst>
              <a:ext uri="{FF2B5EF4-FFF2-40B4-BE49-F238E27FC236}">
                <a16:creationId xmlns:a16="http://schemas.microsoft.com/office/drawing/2014/main" id="{D66B4839-041E-4DB5-A8DD-B0E543D89E17}"/>
              </a:ext>
              <a:ext uri="{C183D7F6-B498-43B3-948B-1728B52AA6E4}">
                <adec:decorative xmlns:adec="http://schemas.microsoft.com/office/drawing/2017/decorative" val="1"/>
              </a:ext>
            </a:extLst>
          </p:cNvPr>
          <p:cNvGrpSpPr>
            <a:grpSpLocks noChangeAspect="1"/>
          </p:cNvGrpSpPr>
          <p:nvPr/>
        </p:nvGrpSpPr>
        <p:grpSpPr>
          <a:xfrm>
            <a:off x="1898106" y="2427244"/>
            <a:ext cx="71645" cy="125379"/>
            <a:chOff x="1938860" y="1691805"/>
            <a:chExt cx="71645" cy="125379"/>
          </a:xfrm>
        </p:grpSpPr>
        <p:sp>
          <p:nvSpPr>
            <p:cNvPr id="4028" name="Freeform: Shape 4027">
              <a:extLst>
                <a:ext uri="{FF2B5EF4-FFF2-40B4-BE49-F238E27FC236}">
                  <a16:creationId xmlns:a16="http://schemas.microsoft.com/office/drawing/2014/main" id="{F8EB42EE-D732-47CD-A043-ECBDC5E0A320}"/>
                </a:ext>
              </a:extLst>
            </p:cNvPr>
            <p:cNvSpPr/>
            <p:nvPr/>
          </p:nvSpPr>
          <p:spPr>
            <a:xfrm>
              <a:off x="1938860" y="1691805"/>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5" y="125379"/>
                    <a:pt x="0" y="118214"/>
                    <a:pt x="0" y="109707"/>
                  </a:cubicBezTo>
                  <a:lnTo>
                    <a:pt x="0" y="15672"/>
                  </a:lnTo>
                  <a:cubicBezTo>
                    <a:pt x="0" y="7164"/>
                    <a:pt x="7165" y="0"/>
                    <a:pt x="15672" y="0"/>
                  </a:cubicBezTo>
                  <a:lnTo>
                    <a:pt x="55973" y="0"/>
                  </a:lnTo>
                  <a:cubicBezTo>
                    <a:pt x="64481" y="0"/>
                    <a:pt x="71645" y="7164"/>
                    <a:pt x="71645" y="15672"/>
                  </a:cubicBezTo>
                  <a:lnTo>
                    <a:pt x="71645" y="109707"/>
                  </a:lnTo>
                  <a:cubicBezTo>
                    <a:pt x="71645" y="118214"/>
                    <a:pt x="64481"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29" name="Freeform: Shape 4028">
              <a:extLst>
                <a:ext uri="{FF2B5EF4-FFF2-40B4-BE49-F238E27FC236}">
                  <a16:creationId xmlns:a16="http://schemas.microsoft.com/office/drawing/2014/main" id="{04FFEEA4-0F33-462D-98BC-291BAE1ED1E3}"/>
                </a:ext>
              </a:extLst>
            </p:cNvPr>
            <p:cNvSpPr/>
            <p:nvPr/>
          </p:nvSpPr>
          <p:spPr>
            <a:xfrm>
              <a:off x="1965726" y="1693596"/>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5" y="4478"/>
                    <a:pt x="0" y="3582"/>
                    <a:pt x="0" y="2239"/>
                  </a:cubicBezTo>
                  <a:cubicBezTo>
                    <a:pt x="0" y="896"/>
                    <a:pt x="895"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030" name="Freeform: Shape 4029">
              <a:extLst>
                <a:ext uri="{FF2B5EF4-FFF2-40B4-BE49-F238E27FC236}">
                  <a16:creationId xmlns:a16="http://schemas.microsoft.com/office/drawing/2014/main" id="{374E8BA5-E08C-44D2-BF1D-36B8F605DF7A}"/>
                </a:ext>
              </a:extLst>
            </p:cNvPr>
            <p:cNvSpPr/>
            <p:nvPr/>
          </p:nvSpPr>
          <p:spPr>
            <a:xfrm>
              <a:off x="1967965" y="179479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031" name="Freeform: Shape 4030">
              <a:extLst>
                <a:ext uri="{FF2B5EF4-FFF2-40B4-BE49-F238E27FC236}">
                  <a16:creationId xmlns:a16="http://schemas.microsoft.com/office/drawing/2014/main" id="{552BE4DC-4117-463C-A56F-294D9BDCF66B}"/>
                </a:ext>
              </a:extLst>
            </p:cNvPr>
            <p:cNvSpPr/>
            <p:nvPr/>
          </p:nvSpPr>
          <p:spPr>
            <a:xfrm>
              <a:off x="1952293" y="1718672"/>
              <a:ext cx="44778" cy="35823"/>
            </a:xfrm>
            <a:custGeom>
              <a:avLst/>
              <a:gdLst>
                <a:gd name="connsiteX0" fmla="*/ 15672 w 44778"/>
                <a:gd name="connsiteY0" fmla="*/ 38061 h 35822"/>
                <a:gd name="connsiteX1" fmla="*/ 13881 w 44778"/>
                <a:gd name="connsiteY1" fmla="*/ 37166 h 35822"/>
                <a:gd name="connsiteX2" fmla="*/ 9851 w 44778"/>
                <a:gd name="connsiteY2" fmla="*/ 31345 h 35822"/>
                <a:gd name="connsiteX3" fmla="*/ 2239 w 44778"/>
                <a:gd name="connsiteY3" fmla="*/ 31345 h 35822"/>
                <a:gd name="connsiteX4" fmla="*/ 0 w 44778"/>
                <a:gd name="connsiteY4" fmla="*/ 29106 h 35822"/>
                <a:gd name="connsiteX5" fmla="*/ 0 w 44778"/>
                <a:gd name="connsiteY5" fmla="*/ 2239 h 35822"/>
                <a:gd name="connsiteX6" fmla="*/ 2239 w 44778"/>
                <a:gd name="connsiteY6" fmla="*/ 0 h 35822"/>
                <a:gd name="connsiteX7" fmla="*/ 42539 w 44778"/>
                <a:gd name="connsiteY7" fmla="*/ 0 h 35822"/>
                <a:gd name="connsiteX8" fmla="*/ 44778 w 44778"/>
                <a:gd name="connsiteY8" fmla="*/ 2239 h 35822"/>
                <a:gd name="connsiteX9" fmla="*/ 44778 w 44778"/>
                <a:gd name="connsiteY9" fmla="*/ 29106 h 35822"/>
                <a:gd name="connsiteX10" fmla="*/ 42539 w 44778"/>
                <a:gd name="connsiteY10" fmla="*/ 31345 h 35822"/>
                <a:gd name="connsiteX11" fmla="*/ 21493 w 44778"/>
                <a:gd name="connsiteY11" fmla="*/ 31345 h 35822"/>
                <a:gd name="connsiteX12" fmla="*/ 17463 w 44778"/>
                <a:gd name="connsiteY12" fmla="*/ 37166 h 35822"/>
                <a:gd name="connsiteX13" fmla="*/ 15672 w 44778"/>
                <a:gd name="connsiteY13" fmla="*/ 38061 h 35822"/>
                <a:gd name="connsiteX14" fmla="*/ 4478 w 44778"/>
                <a:gd name="connsiteY14" fmla="*/ 26867 h 35822"/>
                <a:gd name="connsiteX15" fmla="*/ 11195 w 44778"/>
                <a:gd name="connsiteY15" fmla="*/ 26867 h 35822"/>
                <a:gd name="connsiteX16" fmla="*/ 12986 w 44778"/>
                <a:gd name="connsiteY16" fmla="*/ 27762 h 35822"/>
                <a:gd name="connsiteX17" fmla="*/ 15672 w 44778"/>
                <a:gd name="connsiteY17" fmla="*/ 31792 h 35822"/>
                <a:gd name="connsiteX18" fmla="*/ 18359 w 44778"/>
                <a:gd name="connsiteY18" fmla="*/ 27762 h 35822"/>
                <a:gd name="connsiteX19" fmla="*/ 20150 w 44778"/>
                <a:gd name="connsiteY19" fmla="*/ 26867 h 35822"/>
                <a:gd name="connsiteX20" fmla="*/ 40300 w 44778"/>
                <a:gd name="connsiteY20" fmla="*/ 26867 h 35822"/>
                <a:gd name="connsiteX21" fmla="*/ 40300 w 44778"/>
                <a:gd name="connsiteY21" fmla="*/ 4478 h 35822"/>
                <a:gd name="connsiteX22" fmla="*/ 4478 w 44778"/>
                <a:gd name="connsiteY22" fmla="*/ 4478 h 35822"/>
                <a:gd name="connsiteX23" fmla="*/ 4478 w 44778"/>
                <a:gd name="connsiteY23" fmla="*/ 2686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78" h="35822">
                  <a:moveTo>
                    <a:pt x="15672" y="38061"/>
                  </a:moveTo>
                  <a:cubicBezTo>
                    <a:pt x="15225" y="38061"/>
                    <a:pt x="14329" y="37614"/>
                    <a:pt x="13881" y="37166"/>
                  </a:cubicBezTo>
                  <a:lnTo>
                    <a:pt x="9851" y="31345"/>
                  </a:lnTo>
                  <a:lnTo>
                    <a:pt x="2239" y="31345"/>
                  </a:lnTo>
                  <a:cubicBezTo>
                    <a:pt x="895" y="31345"/>
                    <a:pt x="0" y="30449"/>
                    <a:pt x="0" y="29106"/>
                  </a:cubicBezTo>
                  <a:lnTo>
                    <a:pt x="0" y="2239"/>
                  </a:lnTo>
                  <a:cubicBezTo>
                    <a:pt x="0" y="896"/>
                    <a:pt x="895" y="0"/>
                    <a:pt x="2239" y="0"/>
                  </a:cubicBezTo>
                  <a:lnTo>
                    <a:pt x="42539" y="0"/>
                  </a:lnTo>
                  <a:cubicBezTo>
                    <a:pt x="43883" y="0"/>
                    <a:pt x="44778" y="896"/>
                    <a:pt x="44778" y="2239"/>
                  </a:cubicBezTo>
                  <a:lnTo>
                    <a:pt x="44778" y="29106"/>
                  </a:lnTo>
                  <a:cubicBezTo>
                    <a:pt x="44778" y="30449"/>
                    <a:pt x="43883" y="31345"/>
                    <a:pt x="42539" y="31345"/>
                  </a:cubicBezTo>
                  <a:lnTo>
                    <a:pt x="21493" y="31345"/>
                  </a:lnTo>
                  <a:lnTo>
                    <a:pt x="17463" y="37166"/>
                  </a:lnTo>
                  <a:cubicBezTo>
                    <a:pt x="17016" y="37614"/>
                    <a:pt x="16568" y="38061"/>
                    <a:pt x="15672" y="38061"/>
                  </a:cubicBezTo>
                  <a:close/>
                  <a:moveTo>
                    <a:pt x="4478" y="26867"/>
                  </a:moveTo>
                  <a:lnTo>
                    <a:pt x="11195" y="26867"/>
                  </a:lnTo>
                  <a:cubicBezTo>
                    <a:pt x="12090" y="26867"/>
                    <a:pt x="12538" y="27315"/>
                    <a:pt x="12986" y="27762"/>
                  </a:cubicBezTo>
                  <a:lnTo>
                    <a:pt x="15672" y="31792"/>
                  </a:lnTo>
                  <a:lnTo>
                    <a:pt x="18359" y="27762"/>
                  </a:lnTo>
                  <a:cubicBezTo>
                    <a:pt x="18807" y="27315"/>
                    <a:pt x="19255" y="26867"/>
                    <a:pt x="20150" y="26867"/>
                  </a:cubicBezTo>
                  <a:lnTo>
                    <a:pt x="40300" y="26867"/>
                  </a:lnTo>
                  <a:lnTo>
                    <a:pt x="40300"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grpSp>
      <p:grpSp>
        <p:nvGrpSpPr>
          <p:cNvPr id="4032" name="Group 4031">
            <a:extLst>
              <a:ext uri="{FF2B5EF4-FFF2-40B4-BE49-F238E27FC236}">
                <a16:creationId xmlns:a16="http://schemas.microsoft.com/office/drawing/2014/main" id="{2F61B7B5-5BC8-4F11-958A-75B8965C4571}"/>
              </a:ext>
              <a:ext uri="{C183D7F6-B498-43B3-948B-1728B52AA6E4}">
                <adec:decorative xmlns:adec="http://schemas.microsoft.com/office/drawing/2017/decorative" val="1"/>
              </a:ext>
            </a:extLst>
          </p:cNvPr>
          <p:cNvGrpSpPr>
            <a:grpSpLocks noChangeAspect="1"/>
          </p:cNvGrpSpPr>
          <p:nvPr/>
        </p:nvGrpSpPr>
        <p:grpSpPr>
          <a:xfrm>
            <a:off x="2127818" y="2427244"/>
            <a:ext cx="152246" cy="111945"/>
            <a:chOff x="2168572" y="1691805"/>
            <a:chExt cx="152246" cy="111945"/>
          </a:xfrm>
        </p:grpSpPr>
        <p:sp>
          <p:nvSpPr>
            <p:cNvPr id="4033" name="Freeform: Shape 4032">
              <a:extLst>
                <a:ext uri="{FF2B5EF4-FFF2-40B4-BE49-F238E27FC236}">
                  <a16:creationId xmlns:a16="http://schemas.microsoft.com/office/drawing/2014/main" id="{7935EE75-6A00-4CA5-A390-BBB9BC6EA658}"/>
                </a:ext>
              </a:extLst>
            </p:cNvPr>
            <p:cNvSpPr/>
            <p:nvPr/>
          </p:nvSpPr>
          <p:spPr>
            <a:xfrm>
              <a:off x="2168572" y="1691805"/>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3"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3"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34" name="Freeform: Shape 4033">
              <a:extLst>
                <a:ext uri="{FF2B5EF4-FFF2-40B4-BE49-F238E27FC236}">
                  <a16:creationId xmlns:a16="http://schemas.microsoft.com/office/drawing/2014/main" id="{C37C2480-BF83-483C-976A-D32A8CB9760E}"/>
                </a:ext>
              </a:extLst>
            </p:cNvPr>
            <p:cNvSpPr/>
            <p:nvPr/>
          </p:nvSpPr>
          <p:spPr>
            <a:xfrm>
              <a:off x="2249172" y="1705239"/>
              <a:ext cx="58212" cy="49256"/>
            </a:xfrm>
            <a:custGeom>
              <a:avLst/>
              <a:gdLst>
                <a:gd name="connsiteX0" fmla="*/ 15672 w 58211"/>
                <a:gd name="connsiteY0" fmla="*/ 51495 h 49255"/>
                <a:gd name="connsiteX1" fmla="*/ 13881 w 58211"/>
                <a:gd name="connsiteY1" fmla="*/ 50599 h 49255"/>
                <a:gd name="connsiteX2" fmla="*/ 9851 w 58211"/>
                <a:gd name="connsiteY2" fmla="*/ 44778 h 49255"/>
                <a:gd name="connsiteX3" fmla="*/ 2239 w 58211"/>
                <a:gd name="connsiteY3" fmla="*/ 44778 h 49255"/>
                <a:gd name="connsiteX4" fmla="*/ 0 w 58211"/>
                <a:gd name="connsiteY4" fmla="*/ 42539 h 49255"/>
                <a:gd name="connsiteX5" fmla="*/ 0 w 58211"/>
                <a:gd name="connsiteY5" fmla="*/ 2239 h 49255"/>
                <a:gd name="connsiteX6" fmla="*/ 2239 w 58211"/>
                <a:gd name="connsiteY6" fmla="*/ 0 h 49255"/>
                <a:gd name="connsiteX7" fmla="*/ 55973 w 58211"/>
                <a:gd name="connsiteY7" fmla="*/ 0 h 49255"/>
                <a:gd name="connsiteX8" fmla="*/ 58212 w 58211"/>
                <a:gd name="connsiteY8" fmla="*/ 2239 h 49255"/>
                <a:gd name="connsiteX9" fmla="*/ 58212 w 58211"/>
                <a:gd name="connsiteY9" fmla="*/ 42539 h 49255"/>
                <a:gd name="connsiteX10" fmla="*/ 55973 w 58211"/>
                <a:gd name="connsiteY10" fmla="*/ 44778 h 49255"/>
                <a:gd name="connsiteX11" fmla="*/ 21494 w 58211"/>
                <a:gd name="connsiteY11" fmla="*/ 44778 h 49255"/>
                <a:gd name="connsiteX12" fmla="*/ 17463 w 58211"/>
                <a:gd name="connsiteY12" fmla="*/ 50599 h 49255"/>
                <a:gd name="connsiteX13" fmla="*/ 15672 w 58211"/>
                <a:gd name="connsiteY13" fmla="*/ 51495 h 49255"/>
                <a:gd name="connsiteX14" fmla="*/ 4478 w 58211"/>
                <a:gd name="connsiteY14" fmla="*/ 40300 h 49255"/>
                <a:gd name="connsiteX15" fmla="*/ 11195 w 58211"/>
                <a:gd name="connsiteY15" fmla="*/ 40300 h 49255"/>
                <a:gd name="connsiteX16" fmla="*/ 12986 w 58211"/>
                <a:gd name="connsiteY16" fmla="*/ 41196 h 49255"/>
                <a:gd name="connsiteX17" fmla="*/ 15672 w 58211"/>
                <a:gd name="connsiteY17" fmla="*/ 45226 h 49255"/>
                <a:gd name="connsiteX18" fmla="*/ 18359 w 58211"/>
                <a:gd name="connsiteY18" fmla="*/ 41196 h 49255"/>
                <a:gd name="connsiteX19" fmla="*/ 20150 w 58211"/>
                <a:gd name="connsiteY19" fmla="*/ 40300 h 49255"/>
                <a:gd name="connsiteX20" fmla="*/ 53734 w 58211"/>
                <a:gd name="connsiteY20" fmla="*/ 40300 h 49255"/>
                <a:gd name="connsiteX21" fmla="*/ 53734 w 58211"/>
                <a:gd name="connsiteY21" fmla="*/ 4478 h 49255"/>
                <a:gd name="connsiteX22" fmla="*/ 4478 w 58211"/>
                <a:gd name="connsiteY22" fmla="*/ 4478 h 49255"/>
                <a:gd name="connsiteX23" fmla="*/ 4478 w 58211"/>
                <a:gd name="connsiteY23" fmla="*/ 40300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211" h="49255">
                  <a:moveTo>
                    <a:pt x="15672" y="51495"/>
                  </a:moveTo>
                  <a:cubicBezTo>
                    <a:pt x="14777" y="51495"/>
                    <a:pt x="14329" y="51047"/>
                    <a:pt x="13881" y="50599"/>
                  </a:cubicBezTo>
                  <a:lnTo>
                    <a:pt x="9851" y="44778"/>
                  </a:lnTo>
                  <a:lnTo>
                    <a:pt x="2239" y="44778"/>
                  </a:lnTo>
                  <a:cubicBezTo>
                    <a:pt x="896" y="44778"/>
                    <a:pt x="0" y="43883"/>
                    <a:pt x="0" y="42539"/>
                  </a:cubicBezTo>
                  <a:lnTo>
                    <a:pt x="0" y="2239"/>
                  </a:lnTo>
                  <a:cubicBezTo>
                    <a:pt x="0" y="896"/>
                    <a:pt x="896" y="0"/>
                    <a:pt x="2239" y="0"/>
                  </a:cubicBezTo>
                  <a:lnTo>
                    <a:pt x="55973" y="0"/>
                  </a:lnTo>
                  <a:cubicBezTo>
                    <a:pt x="57316" y="0"/>
                    <a:pt x="58212" y="896"/>
                    <a:pt x="58212" y="2239"/>
                  </a:cubicBezTo>
                  <a:lnTo>
                    <a:pt x="58212" y="42539"/>
                  </a:lnTo>
                  <a:cubicBezTo>
                    <a:pt x="58212" y="43883"/>
                    <a:pt x="57316" y="44778"/>
                    <a:pt x="55973" y="44778"/>
                  </a:cubicBezTo>
                  <a:lnTo>
                    <a:pt x="21494" y="44778"/>
                  </a:lnTo>
                  <a:lnTo>
                    <a:pt x="17463" y="50599"/>
                  </a:lnTo>
                  <a:cubicBezTo>
                    <a:pt x="17016" y="51047"/>
                    <a:pt x="16568" y="51495"/>
                    <a:pt x="15672" y="51495"/>
                  </a:cubicBezTo>
                  <a:close/>
                  <a:moveTo>
                    <a:pt x="4478" y="40300"/>
                  </a:moveTo>
                  <a:lnTo>
                    <a:pt x="11195" y="40300"/>
                  </a:lnTo>
                  <a:cubicBezTo>
                    <a:pt x="12090" y="40300"/>
                    <a:pt x="12538" y="40748"/>
                    <a:pt x="12986" y="41196"/>
                  </a:cubicBezTo>
                  <a:lnTo>
                    <a:pt x="15672" y="45226"/>
                  </a:lnTo>
                  <a:lnTo>
                    <a:pt x="18359" y="41196"/>
                  </a:lnTo>
                  <a:cubicBezTo>
                    <a:pt x="18807" y="40748"/>
                    <a:pt x="19255" y="40300"/>
                    <a:pt x="20150" y="40300"/>
                  </a:cubicBezTo>
                  <a:lnTo>
                    <a:pt x="53734" y="40300"/>
                  </a:lnTo>
                  <a:lnTo>
                    <a:pt x="53734" y="4478"/>
                  </a:lnTo>
                  <a:lnTo>
                    <a:pt x="4478" y="4478"/>
                  </a:lnTo>
                  <a:lnTo>
                    <a:pt x="4478" y="40300"/>
                  </a:lnTo>
                  <a:close/>
                </a:path>
              </a:pathLst>
            </a:custGeom>
            <a:solidFill>
              <a:srgbClr val="231F20"/>
            </a:solidFill>
            <a:ln w="4474" cap="flat">
              <a:noFill/>
              <a:prstDash val="solid"/>
              <a:miter/>
            </a:ln>
          </p:spPr>
          <p:txBody>
            <a:bodyPr rtlCol="0" anchor="ctr"/>
            <a:lstStyle/>
            <a:p>
              <a:endParaRPr lang="en-US"/>
            </a:p>
          </p:txBody>
        </p:sp>
      </p:grpSp>
      <p:grpSp>
        <p:nvGrpSpPr>
          <p:cNvPr id="4035" name="Group 4034">
            <a:extLst>
              <a:ext uri="{FF2B5EF4-FFF2-40B4-BE49-F238E27FC236}">
                <a16:creationId xmlns:a16="http://schemas.microsoft.com/office/drawing/2014/main" id="{0A30603A-9E22-4551-9415-AE69B9D302A1}"/>
              </a:ext>
              <a:ext uri="{C183D7F6-B498-43B3-948B-1728B52AA6E4}">
                <adec:decorative xmlns:adec="http://schemas.microsoft.com/office/drawing/2017/decorative" val="1"/>
              </a:ext>
            </a:extLst>
          </p:cNvPr>
          <p:cNvGrpSpPr>
            <a:grpSpLocks noChangeAspect="1"/>
          </p:cNvGrpSpPr>
          <p:nvPr/>
        </p:nvGrpSpPr>
        <p:grpSpPr>
          <a:xfrm>
            <a:off x="2917257" y="2427244"/>
            <a:ext cx="152246" cy="111945"/>
            <a:chOff x="2958011" y="1691805"/>
            <a:chExt cx="152246" cy="111945"/>
          </a:xfrm>
        </p:grpSpPr>
        <p:sp>
          <p:nvSpPr>
            <p:cNvPr id="4036" name="Freeform: Shape 4035">
              <a:extLst>
                <a:ext uri="{FF2B5EF4-FFF2-40B4-BE49-F238E27FC236}">
                  <a16:creationId xmlns:a16="http://schemas.microsoft.com/office/drawing/2014/main" id="{175C0EA3-9FF8-4001-B938-E909418E6D2D}"/>
                </a:ext>
              </a:extLst>
            </p:cNvPr>
            <p:cNvSpPr/>
            <p:nvPr/>
          </p:nvSpPr>
          <p:spPr>
            <a:xfrm>
              <a:off x="2958011" y="1691805"/>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111"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37" name="Freeform: Shape 4036">
              <a:extLst>
                <a:ext uri="{FF2B5EF4-FFF2-40B4-BE49-F238E27FC236}">
                  <a16:creationId xmlns:a16="http://schemas.microsoft.com/office/drawing/2014/main" id="{2F795D5E-D18B-4C69-AF63-D84FA825E8CD}"/>
                </a:ext>
              </a:extLst>
            </p:cNvPr>
            <p:cNvSpPr/>
            <p:nvPr/>
          </p:nvSpPr>
          <p:spPr>
            <a:xfrm>
              <a:off x="2984878" y="1705239"/>
              <a:ext cx="98512" cy="71645"/>
            </a:xfrm>
            <a:custGeom>
              <a:avLst/>
              <a:gdLst>
                <a:gd name="connsiteX0" fmla="*/ 96273 w 98511"/>
                <a:gd name="connsiteY0" fmla="*/ 67167 h 71645"/>
                <a:gd name="connsiteX1" fmla="*/ 85079 w 98511"/>
                <a:gd name="connsiteY1" fmla="*/ 67167 h 71645"/>
                <a:gd name="connsiteX2" fmla="*/ 85079 w 98511"/>
                <a:gd name="connsiteY2" fmla="*/ 2239 h 71645"/>
                <a:gd name="connsiteX3" fmla="*/ 82840 w 98511"/>
                <a:gd name="connsiteY3" fmla="*/ 0 h 71645"/>
                <a:gd name="connsiteX4" fmla="*/ 69406 w 98511"/>
                <a:gd name="connsiteY4" fmla="*/ 0 h 71645"/>
                <a:gd name="connsiteX5" fmla="*/ 67167 w 98511"/>
                <a:gd name="connsiteY5" fmla="*/ 2239 h 71645"/>
                <a:gd name="connsiteX6" fmla="*/ 67167 w 98511"/>
                <a:gd name="connsiteY6" fmla="*/ 67167 h 71645"/>
                <a:gd name="connsiteX7" fmla="*/ 58212 w 98511"/>
                <a:gd name="connsiteY7" fmla="*/ 67167 h 71645"/>
                <a:gd name="connsiteX8" fmla="*/ 58212 w 98511"/>
                <a:gd name="connsiteY8" fmla="*/ 15672 h 71645"/>
                <a:gd name="connsiteX9" fmla="*/ 55973 w 98511"/>
                <a:gd name="connsiteY9" fmla="*/ 13433 h 71645"/>
                <a:gd name="connsiteX10" fmla="*/ 42539 w 98511"/>
                <a:gd name="connsiteY10" fmla="*/ 13433 h 71645"/>
                <a:gd name="connsiteX11" fmla="*/ 40300 w 98511"/>
                <a:gd name="connsiteY11" fmla="*/ 15672 h 71645"/>
                <a:gd name="connsiteX12" fmla="*/ 40300 w 98511"/>
                <a:gd name="connsiteY12" fmla="*/ 67167 h 71645"/>
                <a:gd name="connsiteX13" fmla="*/ 31345 w 98511"/>
                <a:gd name="connsiteY13" fmla="*/ 67167 h 71645"/>
                <a:gd name="connsiteX14" fmla="*/ 31345 w 98511"/>
                <a:gd name="connsiteY14" fmla="*/ 29106 h 71645"/>
                <a:gd name="connsiteX15" fmla="*/ 29106 w 98511"/>
                <a:gd name="connsiteY15" fmla="*/ 26867 h 71645"/>
                <a:gd name="connsiteX16" fmla="*/ 15672 w 98511"/>
                <a:gd name="connsiteY16" fmla="*/ 26867 h 71645"/>
                <a:gd name="connsiteX17" fmla="*/ 13433 w 98511"/>
                <a:gd name="connsiteY17" fmla="*/ 29106 h 71645"/>
                <a:gd name="connsiteX18" fmla="*/ 13433 w 98511"/>
                <a:gd name="connsiteY18" fmla="*/ 67167 h 71645"/>
                <a:gd name="connsiteX19" fmla="*/ 2239 w 98511"/>
                <a:gd name="connsiteY19" fmla="*/ 67167 h 71645"/>
                <a:gd name="connsiteX20" fmla="*/ 0 w 98511"/>
                <a:gd name="connsiteY20" fmla="*/ 69406 h 71645"/>
                <a:gd name="connsiteX21" fmla="*/ 2239 w 98511"/>
                <a:gd name="connsiteY21" fmla="*/ 71645 h 71645"/>
                <a:gd name="connsiteX22" fmla="*/ 15672 w 98511"/>
                <a:gd name="connsiteY22" fmla="*/ 71645 h 71645"/>
                <a:gd name="connsiteX23" fmla="*/ 29106 w 98511"/>
                <a:gd name="connsiteY23" fmla="*/ 71645 h 71645"/>
                <a:gd name="connsiteX24" fmla="*/ 42539 w 98511"/>
                <a:gd name="connsiteY24" fmla="*/ 71645 h 71645"/>
                <a:gd name="connsiteX25" fmla="*/ 55973 w 98511"/>
                <a:gd name="connsiteY25" fmla="*/ 71645 h 71645"/>
                <a:gd name="connsiteX26" fmla="*/ 69406 w 98511"/>
                <a:gd name="connsiteY26" fmla="*/ 71645 h 71645"/>
                <a:gd name="connsiteX27" fmla="*/ 82840 w 98511"/>
                <a:gd name="connsiteY27" fmla="*/ 71645 h 71645"/>
                <a:gd name="connsiteX28" fmla="*/ 96273 w 98511"/>
                <a:gd name="connsiteY28" fmla="*/ 71645 h 71645"/>
                <a:gd name="connsiteX29" fmla="*/ 98512 w 98511"/>
                <a:gd name="connsiteY29" fmla="*/ 69406 h 71645"/>
                <a:gd name="connsiteX30" fmla="*/ 96273 w 98511"/>
                <a:gd name="connsiteY30" fmla="*/ 67167 h 71645"/>
                <a:gd name="connsiteX31" fmla="*/ 17911 w 98511"/>
                <a:gd name="connsiteY31" fmla="*/ 67167 h 71645"/>
                <a:gd name="connsiteX32" fmla="*/ 17911 w 98511"/>
                <a:gd name="connsiteY32" fmla="*/ 31345 h 71645"/>
                <a:gd name="connsiteX33" fmla="*/ 26867 w 98511"/>
                <a:gd name="connsiteY33" fmla="*/ 31345 h 71645"/>
                <a:gd name="connsiteX34" fmla="*/ 26867 w 98511"/>
                <a:gd name="connsiteY34" fmla="*/ 67167 h 71645"/>
                <a:gd name="connsiteX35" fmla="*/ 17911 w 98511"/>
                <a:gd name="connsiteY35" fmla="*/ 67167 h 71645"/>
                <a:gd name="connsiteX36" fmla="*/ 44778 w 98511"/>
                <a:gd name="connsiteY36" fmla="*/ 67167 h 71645"/>
                <a:gd name="connsiteX37" fmla="*/ 44778 w 98511"/>
                <a:gd name="connsiteY37" fmla="*/ 17911 h 71645"/>
                <a:gd name="connsiteX38" fmla="*/ 53734 w 98511"/>
                <a:gd name="connsiteY38" fmla="*/ 17911 h 71645"/>
                <a:gd name="connsiteX39" fmla="*/ 53734 w 98511"/>
                <a:gd name="connsiteY39" fmla="*/ 67167 h 71645"/>
                <a:gd name="connsiteX40" fmla="*/ 44778 w 98511"/>
                <a:gd name="connsiteY40" fmla="*/ 67167 h 71645"/>
                <a:gd name="connsiteX41" fmla="*/ 71645 w 98511"/>
                <a:gd name="connsiteY41" fmla="*/ 67167 h 71645"/>
                <a:gd name="connsiteX42" fmla="*/ 71645 w 98511"/>
                <a:gd name="connsiteY42" fmla="*/ 4478 h 71645"/>
                <a:gd name="connsiteX43" fmla="*/ 80601 w 98511"/>
                <a:gd name="connsiteY43" fmla="*/ 4478 h 71645"/>
                <a:gd name="connsiteX44" fmla="*/ 80601 w 98511"/>
                <a:gd name="connsiteY44" fmla="*/ 67167 h 71645"/>
                <a:gd name="connsiteX45" fmla="*/ 71645 w 98511"/>
                <a:gd name="connsiteY45"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8511" h="71645">
                  <a:moveTo>
                    <a:pt x="96273" y="67167"/>
                  </a:moveTo>
                  <a:lnTo>
                    <a:pt x="85079" y="67167"/>
                  </a:lnTo>
                  <a:lnTo>
                    <a:pt x="85079" y="2239"/>
                  </a:lnTo>
                  <a:cubicBezTo>
                    <a:pt x="85079" y="896"/>
                    <a:pt x="84183" y="0"/>
                    <a:pt x="82840" y="0"/>
                  </a:cubicBezTo>
                  <a:lnTo>
                    <a:pt x="69406" y="0"/>
                  </a:lnTo>
                  <a:cubicBezTo>
                    <a:pt x="68063" y="0"/>
                    <a:pt x="67167" y="896"/>
                    <a:pt x="67167" y="2239"/>
                  </a:cubicBezTo>
                  <a:lnTo>
                    <a:pt x="67167" y="67167"/>
                  </a:lnTo>
                  <a:lnTo>
                    <a:pt x="58212" y="67167"/>
                  </a:lnTo>
                  <a:lnTo>
                    <a:pt x="58212" y="15672"/>
                  </a:lnTo>
                  <a:cubicBezTo>
                    <a:pt x="58212" y="14329"/>
                    <a:pt x="57316" y="13433"/>
                    <a:pt x="55973" y="13433"/>
                  </a:cubicBezTo>
                  <a:lnTo>
                    <a:pt x="42539" y="13433"/>
                  </a:lnTo>
                  <a:cubicBezTo>
                    <a:pt x="41196" y="13433"/>
                    <a:pt x="40300" y="14329"/>
                    <a:pt x="40300" y="15672"/>
                  </a:cubicBezTo>
                  <a:lnTo>
                    <a:pt x="40300" y="67167"/>
                  </a:lnTo>
                  <a:lnTo>
                    <a:pt x="31345" y="67167"/>
                  </a:lnTo>
                  <a:lnTo>
                    <a:pt x="31345" y="29106"/>
                  </a:lnTo>
                  <a:cubicBezTo>
                    <a:pt x="31345" y="27762"/>
                    <a:pt x="30449" y="26867"/>
                    <a:pt x="29106" y="26867"/>
                  </a:cubicBezTo>
                  <a:lnTo>
                    <a:pt x="15672" y="26867"/>
                  </a:lnTo>
                  <a:cubicBezTo>
                    <a:pt x="14329" y="26867"/>
                    <a:pt x="13433" y="27762"/>
                    <a:pt x="13433" y="29106"/>
                  </a:cubicBezTo>
                  <a:lnTo>
                    <a:pt x="13433" y="67167"/>
                  </a:lnTo>
                  <a:lnTo>
                    <a:pt x="2239" y="67167"/>
                  </a:lnTo>
                  <a:cubicBezTo>
                    <a:pt x="896" y="67167"/>
                    <a:pt x="0" y="68063"/>
                    <a:pt x="0" y="69406"/>
                  </a:cubicBezTo>
                  <a:cubicBezTo>
                    <a:pt x="0" y="70750"/>
                    <a:pt x="896" y="71645"/>
                    <a:pt x="2239" y="71645"/>
                  </a:cubicBezTo>
                  <a:lnTo>
                    <a:pt x="15672" y="71645"/>
                  </a:lnTo>
                  <a:lnTo>
                    <a:pt x="29106" y="71645"/>
                  </a:lnTo>
                  <a:lnTo>
                    <a:pt x="42539" y="71645"/>
                  </a:lnTo>
                  <a:lnTo>
                    <a:pt x="55973" y="71645"/>
                  </a:lnTo>
                  <a:lnTo>
                    <a:pt x="69406" y="71645"/>
                  </a:lnTo>
                  <a:lnTo>
                    <a:pt x="82840" y="71645"/>
                  </a:lnTo>
                  <a:lnTo>
                    <a:pt x="96273" y="71645"/>
                  </a:lnTo>
                  <a:cubicBezTo>
                    <a:pt x="97616" y="71645"/>
                    <a:pt x="98512" y="70750"/>
                    <a:pt x="98512" y="69406"/>
                  </a:cubicBezTo>
                  <a:cubicBezTo>
                    <a:pt x="98512" y="68063"/>
                    <a:pt x="97616" y="67167"/>
                    <a:pt x="96273" y="67167"/>
                  </a:cubicBezTo>
                  <a:close/>
                  <a:moveTo>
                    <a:pt x="17911" y="67167"/>
                  </a:moveTo>
                  <a:lnTo>
                    <a:pt x="17911" y="31345"/>
                  </a:lnTo>
                  <a:lnTo>
                    <a:pt x="26867" y="31345"/>
                  </a:lnTo>
                  <a:lnTo>
                    <a:pt x="26867" y="67167"/>
                  </a:lnTo>
                  <a:lnTo>
                    <a:pt x="17911" y="67167"/>
                  </a:lnTo>
                  <a:close/>
                  <a:moveTo>
                    <a:pt x="44778" y="67167"/>
                  </a:moveTo>
                  <a:lnTo>
                    <a:pt x="44778" y="17911"/>
                  </a:lnTo>
                  <a:lnTo>
                    <a:pt x="53734" y="17911"/>
                  </a:lnTo>
                  <a:lnTo>
                    <a:pt x="53734" y="67167"/>
                  </a:lnTo>
                  <a:lnTo>
                    <a:pt x="44778" y="67167"/>
                  </a:lnTo>
                  <a:close/>
                  <a:moveTo>
                    <a:pt x="71645" y="67167"/>
                  </a:moveTo>
                  <a:lnTo>
                    <a:pt x="71645" y="4478"/>
                  </a:lnTo>
                  <a:lnTo>
                    <a:pt x="80601" y="4478"/>
                  </a:lnTo>
                  <a:lnTo>
                    <a:pt x="80601" y="67167"/>
                  </a:lnTo>
                  <a:lnTo>
                    <a:pt x="71645" y="67167"/>
                  </a:lnTo>
                  <a:close/>
                </a:path>
              </a:pathLst>
            </a:custGeom>
            <a:solidFill>
              <a:srgbClr val="231F20"/>
            </a:solidFill>
            <a:ln w="4474" cap="flat">
              <a:noFill/>
              <a:prstDash val="solid"/>
              <a:miter/>
            </a:ln>
          </p:spPr>
          <p:txBody>
            <a:bodyPr rtlCol="0" anchor="ctr"/>
            <a:lstStyle/>
            <a:p>
              <a:endParaRPr lang="en-US"/>
            </a:p>
          </p:txBody>
        </p:sp>
      </p:grpSp>
      <p:grpSp>
        <p:nvGrpSpPr>
          <p:cNvPr id="4038" name="Group 4037">
            <a:extLst>
              <a:ext uri="{FF2B5EF4-FFF2-40B4-BE49-F238E27FC236}">
                <a16:creationId xmlns:a16="http://schemas.microsoft.com/office/drawing/2014/main" id="{8C0D7E7E-1779-46F1-8971-321ABB52C5E8}"/>
              </a:ext>
              <a:ext uri="{C183D7F6-B498-43B3-948B-1728B52AA6E4}">
                <adec:decorative xmlns:adec="http://schemas.microsoft.com/office/drawing/2017/decorative" val="1"/>
              </a:ext>
            </a:extLst>
          </p:cNvPr>
          <p:cNvGrpSpPr>
            <a:grpSpLocks noChangeAspect="1"/>
          </p:cNvGrpSpPr>
          <p:nvPr/>
        </p:nvGrpSpPr>
        <p:grpSpPr>
          <a:xfrm>
            <a:off x="3446983" y="2440678"/>
            <a:ext cx="152246" cy="111945"/>
            <a:chOff x="3487737" y="1705239"/>
            <a:chExt cx="152246" cy="111945"/>
          </a:xfrm>
        </p:grpSpPr>
        <p:sp>
          <p:nvSpPr>
            <p:cNvPr id="4039" name="Freeform: Shape 4038">
              <a:extLst>
                <a:ext uri="{FF2B5EF4-FFF2-40B4-BE49-F238E27FC236}">
                  <a16:creationId xmlns:a16="http://schemas.microsoft.com/office/drawing/2014/main" id="{E05807C5-66B3-4A75-BE03-C2F2FA43EA07}"/>
                </a:ext>
              </a:extLst>
            </p:cNvPr>
            <p:cNvSpPr/>
            <p:nvPr/>
          </p:nvSpPr>
          <p:spPr>
            <a:xfrm>
              <a:off x="3487737" y="1705239"/>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40" name="Freeform: Shape 4039">
              <a:extLst>
                <a:ext uri="{FF2B5EF4-FFF2-40B4-BE49-F238E27FC236}">
                  <a16:creationId xmlns:a16="http://schemas.microsoft.com/office/drawing/2014/main" id="{1080D06E-9B9E-4202-AFB6-6ED8D1226BB7}"/>
                </a:ext>
              </a:extLst>
            </p:cNvPr>
            <p:cNvSpPr/>
            <p:nvPr/>
          </p:nvSpPr>
          <p:spPr>
            <a:xfrm>
              <a:off x="3519529" y="1716881"/>
              <a:ext cx="85079" cy="40300"/>
            </a:xfrm>
            <a:custGeom>
              <a:avLst/>
              <a:gdLst>
                <a:gd name="connsiteX0" fmla="*/ 80601 w 85078"/>
                <a:gd name="connsiteY0" fmla="*/ 17911 h 40300"/>
                <a:gd name="connsiteX1" fmla="*/ 75675 w 85078"/>
                <a:gd name="connsiteY1" fmla="*/ 19255 h 40300"/>
                <a:gd name="connsiteX2" fmla="*/ 65824 w 85078"/>
                <a:gd name="connsiteY2" fmla="*/ 11195 h 40300"/>
                <a:gd name="connsiteX3" fmla="*/ 66720 w 85078"/>
                <a:gd name="connsiteY3" fmla="*/ 8060 h 40300"/>
                <a:gd name="connsiteX4" fmla="*/ 58212 w 85078"/>
                <a:gd name="connsiteY4" fmla="*/ 0 h 40300"/>
                <a:gd name="connsiteX5" fmla="*/ 50152 w 85078"/>
                <a:gd name="connsiteY5" fmla="*/ 8060 h 40300"/>
                <a:gd name="connsiteX6" fmla="*/ 51047 w 85078"/>
                <a:gd name="connsiteY6" fmla="*/ 12090 h 40300"/>
                <a:gd name="connsiteX7" fmla="*/ 34032 w 85078"/>
                <a:gd name="connsiteY7" fmla="*/ 29106 h 40300"/>
                <a:gd name="connsiteX8" fmla="*/ 30001 w 85078"/>
                <a:gd name="connsiteY8" fmla="*/ 28210 h 40300"/>
                <a:gd name="connsiteX9" fmla="*/ 25972 w 85078"/>
                <a:gd name="connsiteY9" fmla="*/ 29106 h 40300"/>
                <a:gd name="connsiteX10" fmla="*/ 15225 w 85078"/>
                <a:gd name="connsiteY10" fmla="*/ 18359 h 40300"/>
                <a:gd name="connsiteX11" fmla="*/ 16120 w 85078"/>
                <a:gd name="connsiteY11" fmla="*/ 14329 h 40300"/>
                <a:gd name="connsiteX12" fmla="*/ 8060 w 85078"/>
                <a:gd name="connsiteY12" fmla="*/ 6269 h 40300"/>
                <a:gd name="connsiteX13" fmla="*/ 0 w 85078"/>
                <a:gd name="connsiteY13" fmla="*/ 14329 h 40300"/>
                <a:gd name="connsiteX14" fmla="*/ 8060 w 85078"/>
                <a:gd name="connsiteY14" fmla="*/ 22389 h 40300"/>
                <a:gd name="connsiteX15" fmla="*/ 12090 w 85078"/>
                <a:gd name="connsiteY15" fmla="*/ 21494 h 40300"/>
                <a:gd name="connsiteX16" fmla="*/ 22837 w 85078"/>
                <a:gd name="connsiteY16" fmla="*/ 32240 h 40300"/>
                <a:gd name="connsiteX17" fmla="*/ 21941 w 85078"/>
                <a:gd name="connsiteY17" fmla="*/ 36270 h 40300"/>
                <a:gd name="connsiteX18" fmla="*/ 30001 w 85078"/>
                <a:gd name="connsiteY18" fmla="*/ 44330 h 40300"/>
                <a:gd name="connsiteX19" fmla="*/ 38061 w 85078"/>
                <a:gd name="connsiteY19" fmla="*/ 36270 h 40300"/>
                <a:gd name="connsiteX20" fmla="*/ 37166 w 85078"/>
                <a:gd name="connsiteY20" fmla="*/ 32240 h 40300"/>
                <a:gd name="connsiteX21" fmla="*/ 54182 w 85078"/>
                <a:gd name="connsiteY21" fmla="*/ 15225 h 40300"/>
                <a:gd name="connsiteX22" fmla="*/ 58212 w 85078"/>
                <a:gd name="connsiteY22" fmla="*/ 16120 h 40300"/>
                <a:gd name="connsiteX23" fmla="*/ 63137 w 85078"/>
                <a:gd name="connsiteY23" fmla="*/ 14777 h 40300"/>
                <a:gd name="connsiteX24" fmla="*/ 72989 w 85078"/>
                <a:gd name="connsiteY24" fmla="*/ 22837 h 40300"/>
                <a:gd name="connsiteX25" fmla="*/ 72093 w 85078"/>
                <a:gd name="connsiteY25" fmla="*/ 25971 h 40300"/>
                <a:gd name="connsiteX26" fmla="*/ 80153 w 85078"/>
                <a:gd name="connsiteY26" fmla="*/ 34031 h 40300"/>
                <a:gd name="connsiteX27" fmla="*/ 88213 w 85078"/>
                <a:gd name="connsiteY27" fmla="*/ 25971 h 40300"/>
                <a:gd name="connsiteX28" fmla="*/ 80601 w 85078"/>
                <a:gd name="connsiteY28" fmla="*/ 17911 h 40300"/>
                <a:gd name="connsiteX29" fmla="*/ 4478 w 85078"/>
                <a:gd name="connsiteY29" fmla="*/ 13881 h 40300"/>
                <a:gd name="connsiteX30" fmla="*/ 8060 w 85078"/>
                <a:gd name="connsiteY30" fmla="*/ 10299 h 40300"/>
                <a:gd name="connsiteX31" fmla="*/ 11642 w 85078"/>
                <a:gd name="connsiteY31" fmla="*/ 13881 h 40300"/>
                <a:gd name="connsiteX32" fmla="*/ 8060 w 85078"/>
                <a:gd name="connsiteY32" fmla="*/ 17464 h 40300"/>
                <a:gd name="connsiteX33" fmla="*/ 4478 w 85078"/>
                <a:gd name="connsiteY33" fmla="*/ 13881 h 40300"/>
                <a:gd name="connsiteX34" fmla="*/ 30449 w 85078"/>
                <a:gd name="connsiteY34" fmla="*/ 39853 h 40300"/>
                <a:gd name="connsiteX35" fmla="*/ 26867 w 85078"/>
                <a:gd name="connsiteY35" fmla="*/ 36270 h 40300"/>
                <a:gd name="connsiteX36" fmla="*/ 30449 w 85078"/>
                <a:gd name="connsiteY36" fmla="*/ 32688 h 40300"/>
                <a:gd name="connsiteX37" fmla="*/ 34032 w 85078"/>
                <a:gd name="connsiteY37" fmla="*/ 36270 h 40300"/>
                <a:gd name="connsiteX38" fmla="*/ 30449 w 85078"/>
                <a:gd name="connsiteY38" fmla="*/ 39853 h 40300"/>
                <a:gd name="connsiteX39" fmla="*/ 54629 w 85078"/>
                <a:gd name="connsiteY39" fmla="*/ 8060 h 40300"/>
                <a:gd name="connsiteX40" fmla="*/ 58212 w 85078"/>
                <a:gd name="connsiteY40" fmla="*/ 4478 h 40300"/>
                <a:gd name="connsiteX41" fmla="*/ 62242 w 85078"/>
                <a:gd name="connsiteY41" fmla="*/ 8060 h 40300"/>
                <a:gd name="connsiteX42" fmla="*/ 58212 w 85078"/>
                <a:gd name="connsiteY42" fmla="*/ 11642 h 40300"/>
                <a:gd name="connsiteX43" fmla="*/ 54629 w 85078"/>
                <a:gd name="connsiteY43" fmla="*/ 8060 h 40300"/>
                <a:gd name="connsiteX44" fmla="*/ 80601 w 85078"/>
                <a:gd name="connsiteY44" fmla="*/ 30001 h 40300"/>
                <a:gd name="connsiteX45" fmla="*/ 77019 w 85078"/>
                <a:gd name="connsiteY45" fmla="*/ 26419 h 40300"/>
                <a:gd name="connsiteX46" fmla="*/ 80601 w 85078"/>
                <a:gd name="connsiteY46" fmla="*/ 22389 h 40300"/>
                <a:gd name="connsiteX47" fmla="*/ 84183 w 85078"/>
                <a:gd name="connsiteY47" fmla="*/ 26419 h 40300"/>
                <a:gd name="connsiteX48" fmla="*/ 80601 w 85078"/>
                <a:gd name="connsiteY48" fmla="*/ 30001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5078" h="40300">
                  <a:moveTo>
                    <a:pt x="80601" y="17911"/>
                  </a:moveTo>
                  <a:cubicBezTo>
                    <a:pt x="78810" y="17911"/>
                    <a:pt x="77019" y="18359"/>
                    <a:pt x="75675" y="19255"/>
                  </a:cubicBezTo>
                  <a:lnTo>
                    <a:pt x="65824" y="11195"/>
                  </a:lnTo>
                  <a:cubicBezTo>
                    <a:pt x="66272" y="10299"/>
                    <a:pt x="66720" y="8956"/>
                    <a:pt x="66720" y="8060"/>
                  </a:cubicBezTo>
                  <a:cubicBezTo>
                    <a:pt x="66720" y="3582"/>
                    <a:pt x="63137" y="0"/>
                    <a:pt x="58212" y="0"/>
                  </a:cubicBezTo>
                  <a:cubicBezTo>
                    <a:pt x="53734" y="0"/>
                    <a:pt x="50152" y="3582"/>
                    <a:pt x="50152" y="8060"/>
                  </a:cubicBezTo>
                  <a:cubicBezTo>
                    <a:pt x="50152" y="9403"/>
                    <a:pt x="50600" y="10747"/>
                    <a:pt x="51047" y="12090"/>
                  </a:cubicBezTo>
                  <a:lnTo>
                    <a:pt x="34032" y="29106"/>
                  </a:lnTo>
                  <a:cubicBezTo>
                    <a:pt x="32688" y="28210"/>
                    <a:pt x="31345" y="28210"/>
                    <a:pt x="30001" y="28210"/>
                  </a:cubicBezTo>
                  <a:cubicBezTo>
                    <a:pt x="28658" y="28210"/>
                    <a:pt x="27315" y="28658"/>
                    <a:pt x="25972" y="29106"/>
                  </a:cubicBezTo>
                  <a:lnTo>
                    <a:pt x="15225" y="18359"/>
                  </a:lnTo>
                  <a:cubicBezTo>
                    <a:pt x="16120" y="17016"/>
                    <a:pt x="16120" y="15672"/>
                    <a:pt x="16120" y="14329"/>
                  </a:cubicBezTo>
                  <a:cubicBezTo>
                    <a:pt x="16120" y="9851"/>
                    <a:pt x="12538" y="6269"/>
                    <a:pt x="8060" y="6269"/>
                  </a:cubicBezTo>
                  <a:cubicBezTo>
                    <a:pt x="3582" y="6269"/>
                    <a:pt x="0" y="9851"/>
                    <a:pt x="0" y="14329"/>
                  </a:cubicBezTo>
                  <a:cubicBezTo>
                    <a:pt x="0" y="18807"/>
                    <a:pt x="3582" y="22389"/>
                    <a:pt x="8060" y="22389"/>
                  </a:cubicBezTo>
                  <a:cubicBezTo>
                    <a:pt x="9404" y="22389"/>
                    <a:pt x="10747" y="21941"/>
                    <a:pt x="12090" y="21494"/>
                  </a:cubicBezTo>
                  <a:lnTo>
                    <a:pt x="22837" y="32240"/>
                  </a:lnTo>
                  <a:cubicBezTo>
                    <a:pt x="21941" y="33584"/>
                    <a:pt x="21941" y="34927"/>
                    <a:pt x="21941" y="36270"/>
                  </a:cubicBezTo>
                  <a:cubicBezTo>
                    <a:pt x="21941" y="40748"/>
                    <a:pt x="25524" y="44330"/>
                    <a:pt x="30001" y="44330"/>
                  </a:cubicBezTo>
                  <a:cubicBezTo>
                    <a:pt x="34479" y="44330"/>
                    <a:pt x="38061" y="40748"/>
                    <a:pt x="38061" y="36270"/>
                  </a:cubicBezTo>
                  <a:cubicBezTo>
                    <a:pt x="38061" y="34927"/>
                    <a:pt x="37614" y="33584"/>
                    <a:pt x="37166" y="32240"/>
                  </a:cubicBezTo>
                  <a:lnTo>
                    <a:pt x="54182" y="15225"/>
                  </a:lnTo>
                  <a:cubicBezTo>
                    <a:pt x="55525" y="16120"/>
                    <a:pt x="56868" y="16120"/>
                    <a:pt x="58212" y="16120"/>
                  </a:cubicBezTo>
                  <a:cubicBezTo>
                    <a:pt x="60003" y="16120"/>
                    <a:pt x="61794" y="15672"/>
                    <a:pt x="63137" y="14777"/>
                  </a:cubicBezTo>
                  <a:lnTo>
                    <a:pt x="72989" y="22837"/>
                  </a:lnTo>
                  <a:cubicBezTo>
                    <a:pt x="72541" y="23732"/>
                    <a:pt x="72093" y="25076"/>
                    <a:pt x="72093" y="25971"/>
                  </a:cubicBezTo>
                  <a:cubicBezTo>
                    <a:pt x="72093" y="30449"/>
                    <a:pt x="75675" y="34031"/>
                    <a:pt x="80153" y="34031"/>
                  </a:cubicBezTo>
                  <a:cubicBezTo>
                    <a:pt x="84631" y="34031"/>
                    <a:pt x="88213" y="30449"/>
                    <a:pt x="88213" y="25971"/>
                  </a:cubicBezTo>
                  <a:cubicBezTo>
                    <a:pt x="88213" y="21494"/>
                    <a:pt x="85079" y="17911"/>
                    <a:pt x="80601" y="17911"/>
                  </a:cubicBezTo>
                  <a:close/>
                  <a:moveTo>
                    <a:pt x="4478" y="13881"/>
                  </a:moveTo>
                  <a:cubicBezTo>
                    <a:pt x="4478" y="11642"/>
                    <a:pt x="6269" y="10299"/>
                    <a:pt x="8060" y="10299"/>
                  </a:cubicBezTo>
                  <a:cubicBezTo>
                    <a:pt x="10299" y="10299"/>
                    <a:pt x="11642" y="12090"/>
                    <a:pt x="11642" y="13881"/>
                  </a:cubicBezTo>
                  <a:cubicBezTo>
                    <a:pt x="11642" y="16120"/>
                    <a:pt x="9851" y="17464"/>
                    <a:pt x="8060" y="17464"/>
                  </a:cubicBezTo>
                  <a:cubicBezTo>
                    <a:pt x="6269" y="17911"/>
                    <a:pt x="4478" y="16120"/>
                    <a:pt x="4478" y="13881"/>
                  </a:cubicBezTo>
                  <a:close/>
                  <a:moveTo>
                    <a:pt x="30449" y="39853"/>
                  </a:moveTo>
                  <a:cubicBezTo>
                    <a:pt x="28210" y="39853"/>
                    <a:pt x="26867" y="38061"/>
                    <a:pt x="26867" y="36270"/>
                  </a:cubicBezTo>
                  <a:cubicBezTo>
                    <a:pt x="26867" y="34031"/>
                    <a:pt x="28658" y="32688"/>
                    <a:pt x="30449" y="32688"/>
                  </a:cubicBezTo>
                  <a:cubicBezTo>
                    <a:pt x="32240" y="32688"/>
                    <a:pt x="34032" y="34479"/>
                    <a:pt x="34032" y="36270"/>
                  </a:cubicBezTo>
                  <a:cubicBezTo>
                    <a:pt x="34032" y="38061"/>
                    <a:pt x="32240" y="39853"/>
                    <a:pt x="30449" y="39853"/>
                  </a:cubicBezTo>
                  <a:close/>
                  <a:moveTo>
                    <a:pt x="54629" y="8060"/>
                  </a:moveTo>
                  <a:cubicBezTo>
                    <a:pt x="54629" y="5821"/>
                    <a:pt x="56421" y="4478"/>
                    <a:pt x="58212" y="4478"/>
                  </a:cubicBezTo>
                  <a:cubicBezTo>
                    <a:pt x="60451" y="4478"/>
                    <a:pt x="62242" y="6269"/>
                    <a:pt x="62242" y="8060"/>
                  </a:cubicBezTo>
                  <a:cubicBezTo>
                    <a:pt x="62242" y="9851"/>
                    <a:pt x="60451" y="11642"/>
                    <a:pt x="58212" y="11642"/>
                  </a:cubicBezTo>
                  <a:cubicBezTo>
                    <a:pt x="56421" y="11642"/>
                    <a:pt x="54629" y="9851"/>
                    <a:pt x="54629" y="8060"/>
                  </a:cubicBezTo>
                  <a:close/>
                  <a:moveTo>
                    <a:pt x="80601" y="30001"/>
                  </a:moveTo>
                  <a:cubicBezTo>
                    <a:pt x="78362" y="30001"/>
                    <a:pt x="77019" y="28210"/>
                    <a:pt x="77019" y="26419"/>
                  </a:cubicBezTo>
                  <a:cubicBezTo>
                    <a:pt x="77019" y="24180"/>
                    <a:pt x="78810" y="22389"/>
                    <a:pt x="80601" y="22389"/>
                  </a:cubicBezTo>
                  <a:cubicBezTo>
                    <a:pt x="82392" y="22389"/>
                    <a:pt x="84183" y="24180"/>
                    <a:pt x="84183" y="26419"/>
                  </a:cubicBezTo>
                  <a:cubicBezTo>
                    <a:pt x="84631" y="28210"/>
                    <a:pt x="82840" y="30001"/>
                    <a:pt x="80601" y="30001"/>
                  </a:cubicBezTo>
                  <a:close/>
                </a:path>
              </a:pathLst>
            </a:custGeom>
            <a:solidFill>
              <a:srgbClr val="231F20"/>
            </a:solidFill>
            <a:ln w="4474" cap="flat">
              <a:noFill/>
              <a:prstDash val="solid"/>
              <a:miter/>
            </a:ln>
          </p:spPr>
          <p:txBody>
            <a:bodyPr rtlCol="0" anchor="ctr"/>
            <a:lstStyle/>
            <a:p>
              <a:endParaRPr lang="en-US"/>
            </a:p>
          </p:txBody>
        </p:sp>
        <p:sp>
          <p:nvSpPr>
            <p:cNvPr id="4041" name="Freeform: Shape 4040">
              <a:extLst>
                <a:ext uri="{FF2B5EF4-FFF2-40B4-BE49-F238E27FC236}">
                  <a16:creationId xmlns:a16="http://schemas.microsoft.com/office/drawing/2014/main" id="{EFA8D658-808E-43DA-B1B2-43B9900C6DEE}"/>
                </a:ext>
              </a:extLst>
            </p:cNvPr>
            <p:cNvSpPr/>
            <p:nvPr/>
          </p:nvSpPr>
          <p:spPr>
            <a:xfrm>
              <a:off x="3514156" y="1745091"/>
              <a:ext cx="98512" cy="44778"/>
            </a:xfrm>
            <a:custGeom>
              <a:avLst/>
              <a:gdLst>
                <a:gd name="connsiteX0" fmla="*/ 96721 w 98511"/>
                <a:gd name="connsiteY0" fmla="*/ 12538 h 44778"/>
                <a:gd name="connsiteX1" fmla="*/ 94482 w 98511"/>
                <a:gd name="connsiteY1" fmla="*/ 14777 h 44778"/>
                <a:gd name="connsiteX2" fmla="*/ 94482 w 98511"/>
                <a:gd name="connsiteY2" fmla="*/ 40748 h 44778"/>
                <a:gd name="connsiteX3" fmla="*/ 65824 w 98511"/>
                <a:gd name="connsiteY3" fmla="*/ 40748 h 44778"/>
                <a:gd name="connsiteX4" fmla="*/ 65824 w 98511"/>
                <a:gd name="connsiteY4" fmla="*/ 2239 h 44778"/>
                <a:gd name="connsiteX5" fmla="*/ 63585 w 98511"/>
                <a:gd name="connsiteY5" fmla="*/ 0 h 44778"/>
                <a:gd name="connsiteX6" fmla="*/ 61346 w 98511"/>
                <a:gd name="connsiteY6" fmla="*/ 2239 h 44778"/>
                <a:gd name="connsiteX7" fmla="*/ 61346 w 98511"/>
                <a:gd name="connsiteY7" fmla="*/ 40748 h 44778"/>
                <a:gd name="connsiteX8" fmla="*/ 37614 w 98511"/>
                <a:gd name="connsiteY8" fmla="*/ 40748 h 44778"/>
                <a:gd name="connsiteX9" fmla="*/ 37614 w 98511"/>
                <a:gd name="connsiteY9" fmla="*/ 25076 h 44778"/>
                <a:gd name="connsiteX10" fmla="*/ 35375 w 98511"/>
                <a:gd name="connsiteY10" fmla="*/ 22837 h 44778"/>
                <a:gd name="connsiteX11" fmla="*/ 33136 w 98511"/>
                <a:gd name="connsiteY11" fmla="*/ 25076 h 44778"/>
                <a:gd name="connsiteX12" fmla="*/ 33136 w 98511"/>
                <a:gd name="connsiteY12" fmla="*/ 40748 h 44778"/>
                <a:gd name="connsiteX13" fmla="*/ 4478 w 98511"/>
                <a:gd name="connsiteY13" fmla="*/ 40748 h 44778"/>
                <a:gd name="connsiteX14" fmla="*/ 4478 w 98511"/>
                <a:gd name="connsiteY14" fmla="*/ 2687 h 44778"/>
                <a:gd name="connsiteX15" fmla="*/ 2239 w 98511"/>
                <a:gd name="connsiteY15" fmla="*/ 448 h 44778"/>
                <a:gd name="connsiteX16" fmla="*/ 0 w 98511"/>
                <a:gd name="connsiteY16" fmla="*/ 2687 h 44778"/>
                <a:gd name="connsiteX17" fmla="*/ 0 w 98511"/>
                <a:gd name="connsiteY17" fmla="*/ 42987 h 44778"/>
                <a:gd name="connsiteX18" fmla="*/ 2239 w 98511"/>
                <a:gd name="connsiteY18" fmla="*/ 45226 h 44778"/>
                <a:gd name="connsiteX19" fmla="*/ 96273 w 98511"/>
                <a:gd name="connsiteY19" fmla="*/ 45226 h 44778"/>
                <a:gd name="connsiteX20" fmla="*/ 98512 w 98511"/>
                <a:gd name="connsiteY20" fmla="*/ 42987 h 44778"/>
                <a:gd name="connsiteX21" fmla="*/ 98512 w 98511"/>
                <a:gd name="connsiteY21" fmla="*/ 14777 h 44778"/>
                <a:gd name="connsiteX22" fmla="*/ 96721 w 98511"/>
                <a:gd name="connsiteY22" fmla="*/ 1253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511" h="44778">
                  <a:moveTo>
                    <a:pt x="96721" y="12538"/>
                  </a:moveTo>
                  <a:cubicBezTo>
                    <a:pt x="95377" y="12538"/>
                    <a:pt x="94482" y="13433"/>
                    <a:pt x="94482" y="14777"/>
                  </a:cubicBezTo>
                  <a:lnTo>
                    <a:pt x="94482" y="40748"/>
                  </a:lnTo>
                  <a:lnTo>
                    <a:pt x="65824" y="40748"/>
                  </a:lnTo>
                  <a:lnTo>
                    <a:pt x="65824" y="2239"/>
                  </a:lnTo>
                  <a:cubicBezTo>
                    <a:pt x="65824" y="896"/>
                    <a:pt x="64928" y="0"/>
                    <a:pt x="63585" y="0"/>
                  </a:cubicBezTo>
                  <a:cubicBezTo>
                    <a:pt x="62242" y="0"/>
                    <a:pt x="61346" y="896"/>
                    <a:pt x="61346" y="2239"/>
                  </a:cubicBezTo>
                  <a:lnTo>
                    <a:pt x="61346" y="40748"/>
                  </a:lnTo>
                  <a:lnTo>
                    <a:pt x="37614" y="40748"/>
                  </a:lnTo>
                  <a:lnTo>
                    <a:pt x="37614" y="25076"/>
                  </a:lnTo>
                  <a:cubicBezTo>
                    <a:pt x="37614" y="23732"/>
                    <a:pt x="36718" y="22837"/>
                    <a:pt x="35375" y="22837"/>
                  </a:cubicBezTo>
                  <a:cubicBezTo>
                    <a:pt x="34031" y="22837"/>
                    <a:pt x="33136" y="23732"/>
                    <a:pt x="33136" y="25076"/>
                  </a:cubicBezTo>
                  <a:lnTo>
                    <a:pt x="33136" y="40748"/>
                  </a:lnTo>
                  <a:lnTo>
                    <a:pt x="4478" y="40748"/>
                  </a:lnTo>
                  <a:lnTo>
                    <a:pt x="4478" y="2687"/>
                  </a:lnTo>
                  <a:cubicBezTo>
                    <a:pt x="4478" y="1343"/>
                    <a:pt x="3582" y="448"/>
                    <a:pt x="2239" y="448"/>
                  </a:cubicBezTo>
                  <a:cubicBezTo>
                    <a:pt x="895" y="448"/>
                    <a:pt x="0" y="1343"/>
                    <a:pt x="0" y="2687"/>
                  </a:cubicBezTo>
                  <a:lnTo>
                    <a:pt x="0" y="42987"/>
                  </a:lnTo>
                  <a:cubicBezTo>
                    <a:pt x="0" y="44330"/>
                    <a:pt x="895" y="45226"/>
                    <a:pt x="2239" y="45226"/>
                  </a:cubicBezTo>
                  <a:lnTo>
                    <a:pt x="96273" y="45226"/>
                  </a:lnTo>
                  <a:cubicBezTo>
                    <a:pt x="97616" y="45226"/>
                    <a:pt x="98512" y="44330"/>
                    <a:pt x="98512" y="42987"/>
                  </a:cubicBezTo>
                  <a:lnTo>
                    <a:pt x="98512" y="14777"/>
                  </a:lnTo>
                  <a:cubicBezTo>
                    <a:pt x="98960" y="13433"/>
                    <a:pt x="98064" y="12538"/>
                    <a:pt x="96721" y="12538"/>
                  </a:cubicBezTo>
                  <a:close/>
                </a:path>
              </a:pathLst>
            </a:custGeom>
            <a:solidFill>
              <a:srgbClr val="231F20"/>
            </a:solidFill>
            <a:ln w="4474" cap="flat">
              <a:noFill/>
              <a:prstDash val="solid"/>
              <a:miter/>
            </a:ln>
          </p:spPr>
          <p:txBody>
            <a:bodyPr rtlCol="0" anchor="ctr"/>
            <a:lstStyle/>
            <a:p>
              <a:endParaRPr lang="en-US"/>
            </a:p>
          </p:txBody>
        </p:sp>
      </p:grpSp>
      <p:sp>
        <p:nvSpPr>
          <p:cNvPr id="4042" name="Freeform: Shape 4041">
            <a:extLst>
              <a:ext uri="{FF2B5EF4-FFF2-40B4-BE49-F238E27FC236}">
                <a16:creationId xmlns:a16="http://schemas.microsoft.com/office/drawing/2014/main" id="{D873102B-8F7A-488F-8D1D-F2D270684F80}"/>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sp>
        <p:nvSpPr>
          <p:cNvPr id="4043" name="Freeform: Shape 4042">
            <a:extLst>
              <a:ext uri="{FF2B5EF4-FFF2-40B4-BE49-F238E27FC236}">
                <a16:creationId xmlns:a16="http://schemas.microsoft.com/office/drawing/2014/main" id="{D3445859-395D-46C3-A03A-C13EED54EE87}"/>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grpSp>
        <p:nvGrpSpPr>
          <p:cNvPr id="4044" name="Group 4043">
            <a:extLst>
              <a:ext uri="{FF2B5EF4-FFF2-40B4-BE49-F238E27FC236}">
                <a16:creationId xmlns:a16="http://schemas.microsoft.com/office/drawing/2014/main" id="{D1375D80-AAF1-4E32-9F6D-72628F11EBFE}"/>
              </a:ext>
              <a:ext uri="{C183D7F6-B498-43B3-948B-1728B52AA6E4}">
                <adec:decorative xmlns:adec="http://schemas.microsoft.com/office/drawing/2017/decorative" val="1"/>
              </a:ext>
            </a:extLst>
          </p:cNvPr>
          <p:cNvGrpSpPr>
            <a:grpSpLocks noChangeAspect="1"/>
          </p:cNvGrpSpPr>
          <p:nvPr/>
        </p:nvGrpSpPr>
        <p:grpSpPr>
          <a:xfrm>
            <a:off x="3716995" y="2440678"/>
            <a:ext cx="152246" cy="111945"/>
            <a:chOff x="3757749" y="1705239"/>
            <a:chExt cx="152246" cy="111945"/>
          </a:xfrm>
        </p:grpSpPr>
        <p:sp>
          <p:nvSpPr>
            <p:cNvPr id="4045" name="Freeform: Shape 4044">
              <a:extLst>
                <a:ext uri="{FF2B5EF4-FFF2-40B4-BE49-F238E27FC236}">
                  <a16:creationId xmlns:a16="http://schemas.microsoft.com/office/drawing/2014/main" id="{B589ADE4-3094-47BB-BF40-AE563AB73179}"/>
                </a:ext>
              </a:extLst>
            </p:cNvPr>
            <p:cNvSpPr/>
            <p:nvPr/>
          </p:nvSpPr>
          <p:spPr>
            <a:xfrm>
              <a:off x="3757749" y="1705239"/>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046" name="Freeform: Shape 4045">
              <a:extLst>
                <a:ext uri="{FF2B5EF4-FFF2-40B4-BE49-F238E27FC236}">
                  <a16:creationId xmlns:a16="http://schemas.microsoft.com/office/drawing/2014/main" id="{5CFBDCFC-80E4-450B-839F-837FB10FC30D}"/>
                </a:ext>
              </a:extLst>
            </p:cNvPr>
            <p:cNvSpPr/>
            <p:nvPr/>
          </p:nvSpPr>
          <p:spPr>
            <a:xfrm>
              <a:off x="3784616" y="1718672"/>
              <a:ext cx="17911" cy="71645"/>
            </a:xfrm>
            <a:custGeom>
              <a:avLst/>
              <a:gdLst>
                <a:gd name="connsiteX0" fmla="*/ 15672 w 17911"/>
                <a:gd name="connsiteY0" fmla="*/ 26867 h 71645"/>
                <a:gd name="connsiteX1" fmla="*/ 11195 w 17911"/>
                <a:gd name="connsiteY1" fmla="*/ 26867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26867 h 71645"/>
                <a:gd name="connsiteX6" fmla="*/ 2239 w 17911"/>
                <a:gd name="connsiteY6" fmla="*/ 26867 h 71645"/>
                <a:gd name="connsiteX7" fmla="*/ 0 w 17911"/>
                <a:gd name="connsiteY7" fmla="*/ 29106 h 71645"/>
                <a:gd name="connsiteX8" fmla="*/ 0 w 17911"/>
                <a:gd name="connsiteY8" fmla="*/ 42539 h 71645"/>
                <a:gd name="connsiteX9" fmla="*/ 2239 w 17911"/>
                <a:gd name="connsiteY9" fmla="*/ 44778 h 71645"/>
                <a:gd name="connsiteX10" fmla="*/ 6717 w 17911"/>
                <a:gd name="connsiteY10" fmla="*/ 44778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44778 h 71645"/>
                <a:gd name="connsiteX15" fmla="*/ 15672 w 17911"/>
                <a:gd name="connsiteY15" fmla="*/ 44778 h 71645"/>
                <a:gd name="connsiteX16" fmla="*/ 17911 w 17911"/>
                <a:gd name="connsiteY16" fmla="*/ 42539 h 71645"/>
                <a:gd name="connsiteX17" fmla="*/ 17911 w 17911"/>
                <a:gd name="connsiteY17" fmla="*/ 29106 h 71645"/>
                <a:gd name="connsiteX18" fmla="*/ 15672 w 17911"/>
                <a:gd name="connsiteY18" fmla="*/ 26867 h 71645"/>
                <a:gd name="connsiteX19" fmla="*/ 13433 w 17911"/>
                <a:gd name="connsiteY19" fmla="*/ 40300 h 71645"/>
                <a:gd name="connsiteX20" fmla="*/ 4478 w 17911"/>
                <a:gd name="connsiteY20" fmla="*/ 40300 h 71645"/>
                <a:gd name="connsiteX21" fmla="*/ 4478 w 17911"/>
                <a:gd name="connsiteY21" fmla="*/ 31345 h 71645"/>
                <a:gd name="connsiteX22" fmla="*/ 8956 w 17911"/>
                <a:gd name="connsiteY22" fmla="*/ 31345 h 71645"/>
                <a:gd name="connsiteX23" fmla="*/ 8956 w 17911"/>
                <a:gd name="connsiteY23" fmla="*/ 31345 h 71645"/>
                <a:gd name="connsiteX24" fmla="*/ 8956 w 17911"/>
                <a:gd name="connsiteY24" fmla="*/ 31345 h 71645"/>
                <a:gd name="connsiteX25" fmla="*/ 13433 w 17911"/>
                <a:gd name="connsiteY25" fmla="*/ 31345 h 71645"/>
                <a:gd name="connsiteX26" fmla="*/ 13433 w 17911"/>
                <a:gd name="connsiteY26" fmla="*/ 40300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11" h="71645">
                  <a:moveTo>
                    <a:pt x="15672" y="26867"/>
                  </a:moveTo>
                  <a:lnTo>
                    <a:pt x="11195" y="26867"/>
                  </a:lnTo>
                  <a:lnTo>
                    <a:pt x="11195" y="2239"/>
                  </a:lnTo>
                  <a:cubicBezTo>
                    <a:pt x="11195" y="896"/>
                    <a:pt x="10299" y="0"/>
                    <a:pt x="8956" y="0"/>
                  </a:cubicBezTo>
                  <a:cubicBezTo>
                    <a:pt x="7612" y="0"/>
                    <a:pt x="6717" y="896"/>
                    <a:pt x="6717" y="2239"/>
                  </a:cubicBezTo>
                  <a:lnTo>
                    <a:pt x="6717" y="26867"/>
                  </a:lnTo>
                  <a:lnTo>
                    <a:pt x="2239" y="26867"/>
                  </a:lnTo>
                  <a:cubicBezTo>
                    <a:pt x="896" y="26867"/>
                    <a:pt x="0" y="27762"/>
                    <a:pt x="0" y="29106"/>
                  </a:cubicBezTo>
                  <a:lnTo>
                    <a:pt x="0" y="42539"/>
                  </a:lnTo>
                  <a:cubicBezTo>
                    <a:pt x="0" y="43883"/>
                    <a:pt x="896" y="44778"/>
                    <a:pt x="2239" y="44778"/>
                  </a:cubicBezTo>
                  <a:lnTo>
                    <a:pt x="6717" y="44778"/>
                  </a:lnTo>
                  <a:lnTo>
                    <a:pt x="6717" y="69406"/>
                  </a:lnTo>
                  <a:cubicBezTo>
                    <a:pt x="6717" y="70750"/>
                    <a:pt x="7612" y="71645"/>
                    <a:pt x="8956" y="71645"/>
                  </a:cubicBezTo>
                  <a:cubicBezTo>
                    <a:pt x="10299" y="71645"/>
                    <a:pt x="11195" y="70750"/>
                    <a:pt x="11195" y="69406"/>
                  </a:cubicBezTo>
                  <a:lnTo>
                    <a:pt x="11195" y="44778"/>
                  </a:lnTo>
                  <a:lnTo>
                    <a:pt x="15672" y="44778"/>
                  </a:lnTo>
                  <a:cubicBezTo>
                    <a:pt x="17016" y="44778"/>
                    <a:pt x="17911" y="43883"/>
                    <a:pt x="17911" y="42539"/>
                  </a:cubicBezTo>
                  <a:lnTo>
                    <a:pt x="17911" y="29106"/>
                  </a:lnTo>
                  <a:cubicBezTo>
                    <a:pt x="17911" y="27762"/>
                    <a:pt x="17016" y="26867"/>
                    <a:pt x="15672" y="26867"/>
                  </a:cubicBezTo>
                  <a:close/>
                  <a:moveTo>
                    <a:pt x="13433" y="40300"/>
                  </a:moveTo>
                  <a:lnTo>
                    <a:pt x="4478" y="40300"/>
                  </a:lnTo>
                  <a:lnTo>
                    <a:pt x="4478" y="31345"/>
                  </a:lnTo>
                  <a:lnTo>
                    <a:pt x="8956" y="31345"/>
                  </a:lnTo>
                  <a:cubicBezTo>
                    <a:pt x="8956" y="31345"/>
                    <a:pt x="8956" y="31345"/>
                    <a:pt x="8956" y="31345"/>
                  </a:cubicBezTo>
                  <a:cubicBezTo>
                    <a:pt x="8956" y="31345"/>
                    <a:pt x="8956" y="31345"/>
                    <a:pt x="8956" y="31345"/>
                  </a:cubicBezTo>
                  <a:lnTo>
                    <a:pt x="13433" y="31345"/>
                  </a:lnTo>
                  <a:lnTo>
                    <a:pt x="13433" y="40300"/>
                  </a:lnTo>
                  <a:close/>
                </a:path>
              </a:pathLst>
            </a:custGeom>
            <a:solidFill>
              <a:srgbClr val="231F20"/>
            </a:solidFill>
            <a:ln w="4474" cap="flat">
              <a:noFill/>
              <a:prstDash val="solid"/>
              <a:miter/>
            </a:ln>
          </p:spPr>
          <p:txBody>
            <a:bodyPr rtlCol="0" anchor="ctr"/>
            <a:lstStyle/>
            <a:p>
              <a:endParaRPr lang="en-US"/>
            </a:p>
          </p:txBody>
        </p:sp>
        <p:sp>
          <p:nvSpPr>
            <p:cNvPr id="4047" name="Freeform: Shape 4046">
              <a:extLst>
                <a:ext uri="{FF2B5EF4-FFF2-40B4-BE49-F238E27FC236}">
                  <a16:creationId xmlns:a16="http://schemas.microsoft.com/office/drawing/2014/main" id="{3DA21A4E-A3B8-403F-8371-51266063E354}"/>
                </a:ext>
              </a:extLst>
            </p:cNvPr>
            <p:cNvSpPr/>
            <p:nvPr/>
          </p:nvSpPr>
          <p:spPr>
            <a:xfrm>
              <a:off x="3811483" y="1718672"/>
              <a:ext cx="17911" cy="71645"/>
            </a:xfrm>
            <a:custGeom>
              <a:avLst/>
              <a:gdLst>
                <a:gd name="connsiteX0" fmla="*/ 15672 w 17911"/>
                <a:gd name="connsiteY0" fmla="*/ 40300 h 71645"/>
                <a:gd name="connsiteX1" fmla="*/ 11195 w 17911"/>
                <a:gd name="connsiteY1" fmla="*/ 40300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40300 h 71645"/>
                <a:gd name="connsiteX6" fmla="*/ 2239 w 17911"/>
                <a:gd name="connsiteY6" fmla="*/ 40300 h 71645"/>
                <a:gd name="connsiteX7" fmla="*/ 0 w 17911"/>
                <a:gd name="connsiteY7" fmla="*/ 42539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42539 h 71645"/>
                <a:gd name="connsiteX18" fmla="*/ 15672 w 17911"/>
                <a:gd name="connsiteY18" fmla="*/ 40300 h 71645"/>
                <a:gd name="connsiteX19" fmla="*/ 13433 w 17911"/>
                <a:gd name="connsiteY19" fmla="*/ 53734 h 71645"/>
                <a:gd name="connsiteX20" fmla="*/ 4478 w 17911"/>
                <a:gd name="connsiteY20" fmla="*/ 53734 h 71645"/>
                <a:gd name="connsiteX21" fmla="*/ 4478 w 17911"/>
                <a:gd name="connsiteY21" fmla="*/ 44778 h 71645"/>
                <a:gd name="connsiteX22" fmla="*/ 13433 w 17911"/>
                <a:gd name="connsiteY22" fmla="*/ 44778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40300"/>
                  </a:moveTo>
                  <a:lnTo>
                    <a:pt x="11195" y="40300"/>
                  </a:lnTo>
                  <a:lnTo>
                    <a:pt x="11195" y="2239"/>
                  </a:lnTo>
                  <a:cubicBezTo>
                    <a:pt x="11195" y="896"/>
                    <a:pt x="10299" y="0"/>
                    <a:pt x="8956" y="0"/>
                  </a:cubicBezTo>
                  <a:cubicBezTo>
                    <a:pt x="7612" y="0"/>
                    <a:pt x="6717" y="896"/>
                    <a:pt x="6717" y="2239"/>
                  </a:cubicBezTo>
                  <a:lnTo>
                    <a:pt x="6717" y="40300"/>
                  </a:lnTo>
                  <a:lnTo>
                    <a:pt x="2239" y="40300"/>
                  </a:lnTo>
                  <a:cubicBezTo>
                    <a:pt x="896" y="40300"/>
                    <a:pt x="0" y="41196"/>
                    <a:pt x="0" y="42539"/>
                  </a:cubicBezTo>
                  <a:lnTo>
                    <a:pt x="0" y="55973"/>
                  </a:lnTo>
                  <a:cubicBezTo>
                    <a:pt x="0" y="57316"/>
                    <a:pt x="896" y="58212"/>
                    <a:pt x="2239" y="58212"/>
                  </a:cubicBezTo>
                  <a:lnTo>
                    <a:pt x="6717" y="58212"/>
                  </a:lnTo>
                  <a:lnTo>
                    <a:pt x="6717" y="69406"/>
                  </a:lnTo>
                  <a:cubicBezTo>
                    <a:pt x="6717" y="70750"/>
                    <a:pt x="7612" y="71645"/>
                    <a:pt x="8956" y="71645"/>
                  </a:cubicBezTo>
                  <a:cubicBezTo>
                    <a:pt x="10299" y="71645"/>
                    <a:pt x="11195" y="70750"/>
                    <a:pt x="11195" y="69406"/>
                  </a:cubicBezTo>
                  <a:lnTo>
                    <a:pt x="11195" y="58212"/>
                  </a:lnTo>
                  <a:lnTo>
                    <a:pt x="15672" y="58212"/>
                  </a:lnTo>
                  <a:cubicBezTo>
                    <a:pt x="17016" y="58212"/>
                    <a:pt x="17911" y="57316"/>
                    <a:pt x="17911" y="55973"/>
                  </a:cubicBezTo>
                  <a:lnTo>
                    <a:pt x="17911" y="42539"/>
                  </a:lnTo>
                  <a:cubicBezTo>
                    <a:pt x="17911" y="41196"/>
                    <a:pt x="17016" y="40300"/>
                    <a:pt x="15672" y="40300"/>
                  </a:cubicBezTo>
                  <a:close/>
                  <a:moveTo>
                    <a:pt x="13433" y="53734"/>
                  </a:moveTo>
                  <a:lnTo>
                    <a:pt x="4478" y="53734"/>
                  </a:lnTo>
                  <a:lnTo>
                    <a:pt x="4478" y="44778"/>
                  </a:lnTo>
                  <a:lnTo>
                    <a:pt x="13433" y="44778"/>
                  </a:lnTo>
                  <a:lnTo>
                    <a:pt x="13433" y="53734"/>
                  </a:lnTo>
                  <a:close/>
                </a:path>
              </a:pathLst>
            </a:custGeom>
            <a:solidFill>
              <a:srgbClr val="231F20"/>
            </a:solidFill>
            <a:ln w="4474" cap="flat">
              <a:noFill/>
              <a:prstDash val="solid"/>
              <a:miter/>
            </a:ln>
          </p:spPr>
          <p:txBody>
            <a:bodyPr rtlCol="0" anchor="ctr"/>
            <a:lstStyle/>
            <a:p>
              <a:endParaRPr lang="en-US"/>
            </a:p>
          </p:txBody>
        </p:sp>
        <p:sp>
          <p:nvSpPr>
            <p:cNvPr id="4048" name="Freeform: Shape 4047">
              <a:extLst>
                <a:ext uri="{FF2B5EF4-FFF2-40B4-BE49-F238E27FC236}">
                  <a16:creationId xmlns:a16="http://schemas.microsoft.com/office/drawing/2014/main" id="{0BFB1E4F-3498-402A-B851-B803B33EA5EA}"/>
                </a:ext>
              </a:extLst>
            </p:cNvPr>
            <p:cNvSpPr/>
            <p:nvPr/>
          </p:nvSpPr>
          <p:spPr>
            <a:xfrm>
              <a:off x="3838350" y="1718672"/>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29106 h 71645"/>
                <a:gd name="connsiteX9" fmla="*/ 2239 w 17911"/>
                <a:gd name="connsiteY9" fmla="*/ 31345 h 71645"/>
                <a:gd name="connsiteX10" fmla="*/ 6717 w 17911"/>
                <a:gd name="connsiteY10" fmla="*/ 31345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31345 h 71645"/>
                <a:gd name="connsiteX15" fmla="*/ 15672 w 17911"/>
                <a:gd name="connsiteY15" fmla="*/ 31345 h 71645"/>
                <a:gd name="connsiteX16" fmla="*/ 17911 w 17911"/>
                <a:gd name="connsiteY16" fmla="*/ 29106 h 71645"/>
                <a:gd name="connsiteX17" fmla="*/ 17911 w 17911"/>
                <a:gd name="connsiteY17" fmla="*/ 15672 h 71645"/>
                <a:gd name="connsiteX18" fmla="*/ 15672 w 17911"/>
                <a:gd name="connsiteY18" fmla="*/ 13433 h 71645"/>
                <a:gd name="connsiteX19" fmla="*/ 13433 w 17911"/>
                <a:gd name="connsiteY19" fmla="*/ 26867 h 71645"/>
                <a:gd name="connsiteX20" fmla="*/ 8956 w 17911"/>
                <a:gd name="connsiteY20" fmla="*/ 26867 h 71645"/>
                <a:gd name="connsiteX21" fmla="*/ 8956 w 17911"/>
                <a:gd name="connsiteY21" fmla="*/ 26867 h 71645"/>
                <a:gd name="connsiteX22" fmla="*/ 8956 w 17911"/>
                <a:gd name="connsiteY22" fmla="*/ 26867 h 71645"/>
                <a:gd name="connsiteX23" fmla="*/ 4478 w 17911"/>
                <a:gd name="connsiteY23" fmla="*/ 26867 h 71645"/>
                <a:gd name="connsiteX24" fmla="*/ 4478 w 17911"/>
                <a:gd name="connsiteY24" fmla="*/ 17911 h 71645"/>
                <a:gd name="connsiteX25" fmla="*/ 13433 w 17911"/>
                <a:gd name="connsiteY25" fmla="*/ 17911 h 71645"/>
                <a:gd name="connsiteX26" fmla="*/ 13433 w 17911"/>
                <a:gd name="connsiteY26" fmla="*/ 268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11" h="71645">
                  <a:moveTo>
                    <a:pt x="15672" y="13433"/>
                  </a:moveTo>
                  <a:lnTo>
                    <a:pt x="11195" y="13433"/>
                  </a:lnTo>
                  <a:lnTo>
                    <a:pt x="11195" y="2239"/>
                  </a:lnTo>
                  <a:cubicBezTo>
                    <a:pt x="11195" y="896"/>
                    <a:pt x="10299" y="0"/>
                    <a:pt x="8956" y="0"/>
                  </a:cubicBezTo>
                  <a:cubicBezTo>
                    <a:pt x="7612" y="0"/>
                    <a:pt x="6717" y="896"/>
                    <a:pt x="6717" y="2239"/>
                  </a:cubicBezTo>
                  <a:lnTo>
                    <a:pt x="6717" y="13433"/>
                  </a:lnTo>
                  <a:lnTo>
                    <a:pt x="2239" y="13433"/>
                  </a:lnTo>
                  <a:cubicBezTo>
                    <a:pt x="896" y="13433"/>
                    <a:pt x="0" y="14329"/>
                    <a:pt x="0" y="15672"/>
                  </a:cubicBezTo>
                  <a:lnTo>
                    <a:pt x="0" y="29106"/>
                  </a:lnTo>
                  <a:cubicBezTo>
                    <a:pt x="0" y="30449"/>
                    <a:pt x="896" y="31345"/>
                    <a:pt x="2239" y="31345"/>
                  </a:cubicBezTo>
                  <a:lnTo>
                    <a:pt x="6717" y="31345"/>
                  </a:lnTo>
                  <a:lnTo>
                    <a:pt x="6717" y="69406"/>
                  </a:lnTo>
                  <a:cubicBezTo>
                    <a:pt x="6717" y="70750"/>
                    <a:pt x="7612" y="71645"/>
                    <a:pt x="8956" y="71645"/>
                  </a:cubicBezTo>
                  <a:cubicBezTo>
                    <a:pt x="10299" y="71645"/>
                    <a:pt x="11195" y="70750"/>
                    <a:pt x="11195" y="69406"/>
                  </a:cubicBezTo>
                  <a:lnTo>
                    <a:pt x="11195" y="31345"/>
                  </a:lnTo>
                  <a:lnTo>
                    <a:pt x="15672" y="31345"/>
                  </a:lnTo>
                  <a:cubicBezTo>
                    <a:pt x="17016" y="31345"/>
                    <a:pt x="17911" y="30449"/>
                    <a:pt x="17911" y="29106"/>
                  </a:cubicBezTo>
                  <a:lnTo>
                    <a:pt x="17911" y="15672"/>
                  </a:lnTo>
                  <a:cubicBezTo>
                    <a:pt x="17911" y="14329"/>
                    <a:pt x="17016" y="13433"/>
                    <a:pt x="15672" y="13433"/>
                  </a:cubicBezTo>
                  <a:close/>
                  <a:moveTo>
                    <a:pt x="13433" y="26867"/>
                  </a:moveTo>
                  <a:lnTo>
                    <a:pt x="8956" y="26867"/>
                  </a:lnTo>
                  <a:cubicBezTo>
                    <a:pt x="8956" y="26867"/>
                    <a:pt x="8956" y="26867"/>
                    <a:pt x="8956" y="26867"/>
                  </a:cubicBezTo>
                  <a:cubicBezTo>
                    <a:pt x="8956" y="26867"/>
                    <a:pt x="8956" y="26867"/>
                    <a:pt x="8956" y="26867"/>
                  </a:cubicBezTo>
                  <a:lnTo>
                    <a:pt x="4478" y="26867"/>
                  </a:lnTo>
                  <a:lnTo>
                    <a:pt x="4478" y="17911"/>
                  </a:lnTo>
                  <a:lnTo>
                    <a:pt x="13433" y="17911"/>
                  </a:lnTo>
                  <a:lnTo>
                    <a:pt x="13433" y="26867"/>
                  </a:lnTo>
                  <a:close/>
                </a:path>
              </a:pathLst>
            </a:custGeom>
            <a:solidFill>
              <a:srgbClr val="231F20"/>
            </a:solidFill>
            <a:ln w="4474" cap="flat">
              <a:noFill/>
              <a:prstDash val="solid"/>
              <a:miter/>
            </a:ln>
          </p:spPr>
          <p:txBody>
            <a:bodyPr rtlCol="0" anchor="ctr"/>
            <a:lstStyle/>
            <a:p>
              <a:endParaRPr lang="en-US"/>
            </a:p>
          </p:txBody>
        </p:sp>
        <p:sp>
          <p:nvSpPr>
            <p:cNvPr id="4049" name="Freeform: Shape 4048">
              <a:extLst>
                <a:ext uri="{FF2B5EF4-FFF2-40B4-BE49-F238E27FC236}">
                  <a16:creationId xmlns:a16="http://schemas.microsoft.com/office/drawing/2014/main" id="{6E12A1FF-0B3D-4ED2-B878-16C0349C9F92}"/>
                </a:ext>
              </a:extLst>
            </p:cNvPr>
            <p:cNvSpPr/>
            <p:nvPr/>
          </p:nvSpPr>
          <p:spPr>
            <a:xfrm>
              <a:off x="3865217" y="1718672"/>
              <a:ext cx="17911" cy="71645"/>
            </a:xfrm>
            <a:custGeom>
              <a:avLst/>
              <a:gdLst>
                <a:gd name="connsiteX0" fmla="*/ 15672 w 17911"/>
                <a:gd name="connsiteY0" fmla="*/ 26867 h 71645"/>
                <a:gd name="connsiteX1" fmla="*/ 11195 w 17911"/>
                <a:gd name="connsiteY1" fmla="*/ 26867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26867 h 71645"/>
                <a:gd name="connsiteX6" fmla="*/ 2239 w 17911"/>
                <a:gd name="connsiteY6" fmla="*/ 26867 h 71645"/>
                <a:gd name="connsiteX7" fmla="*/ 0 w 17911"/>
                <a:gd name="connsiteY7" fmla="*/ 29106 h 71645"/>
                <a:gd name="connsiteX8" fmla="*/ 0 w 17911"/>
                <a:gd name="connsiteY8" fmla="*/ 42539 h 71645"/>
                <a:gd name="connsiteX9" fmla="*/ 2239 w 17911"/>
                <a:gd name="connsiteY9" fmla="*/ 44778 h 71645"/>
                <a:gd name="connsiteX10" fmla="*/ 6717 w 17911"/>
                <a:gd name="connsiteY10" fmla="*/ 44778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44778 h 71645"/>
                <a:gd name="connsiteX15" fmla="*/ 15672 w 17911"/>
                <a:gd name="connsiteY15" fmla="*/ 44778 h 71645"/>
                <a:gd name="connsiteX16" fmla="*/ 17911 w 17911"/>
                <a:gd name="connsiteY16" fmla="*/ 42539 h 71645"/>
                <a:gd name="connsiteX17" fmla="*/ 17911 w 17911"/>
                <a:gd name="connsiteY17" fmla="*/ 29106 h 71645"/>
                <a:gd name="connsiteX18" fmla="*/ 15672 w 17911"/>
                <a:gd name="connsiteY18" fmla="*/ 26867 h 71645"/>
                <a:gd name="connsiteX19" fmla="*/ 13433 w 17911"/>
                <a:gd name="connsiteY19" fmla="*/ 40300 h 71645"/>
                <a:gd name="connsiteX20" fmla="*/ 4478 w 17911"/>
                <a:gd name="connsiteY20" fmla="*/ 40300 h 71645"/>
                <a:gd name="connsiteX21" fmla="*/ 4478 w 17911"/>
                <a:gd name="connsiteY21" fmla="*/ 31345 h 71645"/>
                <a:gd name="connsiteX22" fmla="*/ 13433 w 17911"/>
                <a:gd name="connsiteY22" fmla="*/ 31345 h 71645"/>
                <a:gd name="connsiteX23" fmla="*/ 13433 w 17911"/>
                <a:gd name="connsiteY23" fmla="*/ 40300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26867"/>
                  </a:moveTo>
                  <a:lnTo>
                    <a:pt x="11195" y="26867"/>
                  </a:lnTo>
                  <a:lnTo>
                    <a:pt x="11195" y="2239"/>
                  </a:lnTo>
                  <a:cubicBezTo>
                    <a:pt x="11195" y="896"/>
                    <a:pt x="10299" y="0"/>
                    <a:pt x="8956" y="0"/>
                  </a:cubicBezTo>
                  <a:cubicBezTo>
                    <a:pt x="7612" y="0"/>
                    <a:pt x="6717" y="896"/>
                    <a:pt x="6717" y="2239"/>
                  </a:cubicBezTo>
                  <a:lnTo>
                    <a:pt x="6717" y="26867"/>
                  </a:lnTo>
                  <a:lnTo>
                    <a:pt x="2239" y="26867"/>
                  </a:lnTo>
                  <a:cubicBezTo>
                    <a:pt x="896" y="26867"/>
                    <a:pt x="0" y="27762"/>
                    <a:pt x="0" y="29106"/>
                  </a:cubicBezTo>
                  <a:lnTo>
                    <a:pt x="0" y="42539"/>
                  </a:lnTo>
                  <a:cubicBezTo>
                    <a:pt x="0" y="43883"/>
                    <a:pt x="896" y="44778"/>
                    <a:pt x="2239" y="44778"/>
                  </a:cubicBezTo>
                  <a:lnTo>
                    <a:pt x="6717" y="44778"/>
                  </a:lnTo>
                  <a:lnTo>
                    <a:pt x="6717" y="69406"/>
                  </a:lnTo>
                  <a:cubicBezTo>
                    <a:pt x="6717" y="70750"/>
                    <a:pt x="7612" y="71645"/>
                    <a:pt x="8956" y="71645"/>
                  </a:cubicBezTo>
                  <a:cubicBezTo>
                    <a:pt x="10299" y="71645"/>
                    <a:pt x="11195" y="70750"/>
                    <a:pt x="11195" y="69406"/>
                  </a:cubicBezTo>
                  <a:lnTo>
                    <a:pt x="11195" y="44778"/>
                  </a:lnTo>
                  <a:lnTo>
                    <a:pt x="15672" y="44778"/>
                  </a:lnTo>
                  <a:cubicBezTo>
                    <a:pt x="17016" y="44778"/>
                    <a:pt x="17911" y="43883"/>
                    <a:pt x="17911" y="42539"/>
                  </a:cubicBezTo>
                  <a:lnTo>
                    <a:pt x="17911" y="29106"/>
                  </a:lnTo>
                  <a:cubicBezTo>
                    <a:pt x="17911" y="27762"/>
                    <a:pt x="17016" y="26867"/>
                    <a:pt x="15672" y="26867"/>
                  </a:cubicBezTo>
                  <a:close/>
                  <a:moveTo>
                    <a:pt x="13433" y="40300"/>
                  </a:moveTo>
                  <a:lnTo>
                    <a:pt x="4478" y="40300"/>
                  </a:lnTo>
                  <a:lnTo>
                    <a:pt x="4478" y="31345"/>
                  </a:lnTo>
                  <a:lnTo>
                    <a:pt x="13433" y="31345"/>
                  </a:lnTo>
                  <a:lnTo>
                    <a:pt x="13433" y="40300"/>
                  </a:lnTo>
                  <a:close/>
                </a:path>
              </a:pathLst>
            </a:custGeom>
            <a:solidFill>
              <a:srgbClr val="231F20"/>
            </a:solidFill>
            <a:ln w="4474" cap="flat">
              <a:noFill/>
              <a:prstDash val="solid"/>
              <a:miter/>
            </a:ln>
          </p:spPr>
          <p:txBody>
            <a:bodyPr rtlCol="0" anchor="ctr"/>
            <a:lstStyle/>
            <a:p>
              <a:endParaRPr lang="en-US"/>
            </a:p>
          </p:txBody>
        </p:sp>
      </p:grpSp>
      <p:sp>
        <p:nvSpPr>
          <p:cNvPr id="4050" name="Freeform: Shape 4049">
            <a:extLst>
              <a:ext uri="{FF2B5EF4-FFF2-40B4-BE49-F238E27FC236}">
                <a16:creationId xmlns:a16="http://schemas.microsoft.com/office/drawing/2014/main" id="{6015B511-A261-4E9F-98B4-92CD3E88ADF3}"/>
              </a:ext>
              <a:ext uri="{C183D7F6-B498-43B3-948B-1728B52AA6E4}">
                <adec:decorative xmlns:adec="http://schemas.microsoft.com/office/drawing/2017/decorative" val="1"/>
              </a:ext>
            </a:extLst>
          </p:cNvPr>
          <p:cNvSpPr>
            <a:spLocks noChangeAspect="1"/>
          </p:cNvSpPr>
          <p:nvPr/>
        </p:nvSpPr>
        <p:spPr>
          <a:xfrm>
            <a:off x="3990142" y="2443364"/>
            <a:ext cx="138812" cy="94034"/>
          </a:xfrm>
          <a:custGeom>
            <a:avLst/>
            <a:gdLst>
              <a:gd name="connsiteX0" fmla="*/ 102990 w 138812"/>
              <a:gd name="connsiteY0" fmla="*/ 95825 h 94034"/>
              <a:gd name="connsiteX1" fmla="*/ 29106 w 138812"/>
              <a:gd name="connsiteY1" fmla="*/ 95825 h 94034"/>
              <a:gd name="connsiteX2" fmla="*/ 0 w 138812"/>
              <a:gd name="connsiteY2" fmla="*/ 66720 h 94034"/>
              <a:gd name="connsiteX3" fmla="*/ 13433 w 138812"/>
              <a:gd name="connsiteY3" fmla="*/ 42092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02990 w 138812"/>
              <a:gd name="connsiteY8" fmla="*/ 95825 h 94034"/>
              <a:gd name="connsiteX9" fmla="*/ 55973 w 138812"/>
              <a:gd name="connsiteY9" fmla="*/ 4478 h 94034"/>
              <a:gd name="connsiteX10" fmla="*/ 17911 w 138812"/>
              <a:gd name="connsiteY10" fmla="*/ 42539 h 94034"/>
              <a:gd name="connsiteX11" fmla="*/ 17911 w 138812"/>
              <a:gd name="connsiteY11" fmla="*/ 43435 h 94034"/>
              <a:gd name="connsiteX12" fmla="*/ 17016 w 138812"/>
              <a:gd name="connsiteY12" fmla="*/ 45226 h 94034"/>
              <a:gd name="connsiteX13" fmla="*/ 4478 w 138812"/>
              <a:gd name="connsiteY13" fmla="*/ 66720 h 94034"/>
              <a:gd name="connsiteX14" fmla="*/ 29106 w 138812"/>
              <a:gd name="connsiteY14" fmla="*/ 91348 h 94034"/>
              <a:gd name="connsiteX15" fmla="*/ 102990 w 138812"/>
              <a:gd name="connsiteY15" fmla="*/ 91348 h 94034"/>
              <a:gd name="connsiteX16" fmla="*/ 134335 w 138812"/>
              <a:gd name="connsiteY16" fmla="*/ 60003 h 94034"/>
              <a:gd name="connsiteX17" fmla="*/ 102990 w 138812"/>
              <a:gd name="connsiteY17" fmla="*/ 28658 h 94034"/>
              <a:gd name="connsiteX18" fmla="*/ 94034 w 138812"/>
              <a:gd name="connsiteY18" fmla="*/ 30001 h 94034"/>
              <a:gd name="connsiteX19" fmla="*/ 91348 w 138812"/>
              <a:gd name="connsiteY19" fmla="*/ 28658 h 94034"/>
              <a:gd name="connsiteX20" fmla="*/ 55973 w 138812"/>
              <a:gd name="connsiteY20" fmla="*/ 4478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812" h="94034">
                <a:moveTo>
                  <a:pt x="102990" y="95825"/>
                </a:moveTo>
                <a:lnTo>
                  <a:pt x="29106" y="95825"/>
                </a:lnTo>
                <a:cubicBezTo>
                  <a:pt x="12986" y="95825"/>
                  <a:pt x="0" y="82840"/>
                  <a:pt x="0" y="66720"/>
                </a:cubicBezTo>
                <a:cubicBezTo>
                  <a:pt x="0" y="56868"/>
                  <a:pt x="4926" y="47465"/>
                  <a:pt x="13433" y="42092"/>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close/>
                <a:moveTo>
                  <a:pt x="55973" y="4478"/>
                </a:moveTo>
                <a:cubicBezTo>
                  <a:pt x="34927" y="4478"/>
                  <a:pt x="17911" y="21494"/>
                  <a:pt x="17911" y="42539"/>
                </a:cubicBezTo>
                <a:lnTo>
                  <a:pt x="17911" y="43435"/>
                </a:lnTo>
                <a:cubicBezTo>
                  <a:pt x="17911" y="44330"/>
                  <a:pt x="17464" y="44778"/>
                  <a:pt x="17016" y="45226"/>
                </a:cubicBezTo>
                <a:cubicBezTo>
                  <a:pt x="9404" y="49704"/>
                  <a:pt x="4478" y="57764"/>
                  <a:pt x="4478" y="66720"/>
                </a:cubicBezTo>
                <a:cubicBezTo>
                  <a:pt x="4478" y="80153"/>
                  <a:pt x="15672" y="91348"/>
                  <a:pt x="29106" y="91348"/>
                </a:cubicBezTo>
                <a:lnTo>
                  <a:pt x="102990" y="91348"/>
                </a:lnTo>
                <a:cubicBezTo>
                  <a:pt x="120453" y="91348"/>
                  <a:pt x="134335" y="77466"/>
                  <a:pt x="134335" y="60003"/>
                </a:cubicBezTo>
                <a:cubicBezTo>
                  <a:pt x="134335" y="42539"/>
                  <a:pt x="120453" y="28658"/>
                  <a:pt x="102990" y="28658"/>
                </a:cubicBezTo>
                <a:cubicBezTo>
                  <a:pt x="99855" y="28658"/>
                  <a:pt x="97169" y="29106"/>
                  <a:pt x="94034" y="30001"/>
                </a:cubicBezTo>
                <a:cubicBezTo>
                  <a:pt x="92691" y="30449"/>
                  <a:pt x="91795" y="29554"/>
                  <a:pt x="91348" y="28658"/>
                </a:cubicBezTo>
                <a:cubicBezTo>
                  <a:pt x="85974" y="13881"/>
                  <a:pt x="71645" y="4478"/>
                  <a:pt x="55973" y="4478"/>
                </a:cubicBezTo>
                <a:close/>
              </a:path>
            </a:pathLst>
          </a:custGeom>
          <a:solidFill>
            <a:srgbClr val="231F20"/>
          </a:solidFill>
          <a:ln w="4474" cap="flat">
            <a:noFill/>
            <a:prstDash val="solid"/>
            <a:miter/>
          </a:ln>
        </p:spPr>
        <p:txBody>
          <a:bodyPr rtlCol="0" anchor="ctr"/>
          <a:lstStyle/>
          <a:p>
            <a:endParaRPr lang="en-US"/>
          </a:p>
        </p:txBody>
      </p:sp>
      <p:grpSp>
        <p:nvGrpSpPr>
          <p:cNvPr id="4051" name="Group 4050">
            <a:extLst>
              <a:ext uri="{FF2B5EF4-FFF2-40B4-BE49-F238E27FC236}">
                <a16:creationId xmlns:a16="http://schemas.microsoft.com/office/drawing/2014/main" id="{9469654C-69F5-4879-A5B5-09D3E598A952}"/>
              </a:ext>
              <a:ext uri="{C183D7F6-B498-43B3-948B-1728B52AA6E4}">
                <adec:decorative xmlns:adec="http://schemas.microsoft.com/office/drawing/2017/decorative" val="1"/>
              </a:ext>
            </a:extLst>
          </p:cNvPr>
          <p:cNvGrpSpPr>
            <a:grpSpLocks noChangeAspect="1"/>
          </p:cNvGrpSpPr>
          <p:nvPr/>
        </p:nvGrpSpPr>
        <p:grpSpPr>
          <a:xfrm>
            <a:off x="4260602" y="2443364"/>
            <a:ext cx="138812" cy="108811"/>
            <a:chOff x="4301356" y="1707925"/>
            <a:chExt cx="138812" cy="108811"/>
          </a:xfrm>
        </p:grpSpPr>
        <p:sp>
          <p:nvSpPr>
            <p:cNvPr id="4052" name="Freeform: Shape 4051">
              <a:extLst>
                <a:ext uri="{FF2B5EF4-FFF2-40B4-BE49-F238E27FC236}">
                  <a16:creationId xmlns:a16="http://schemas.microsoft.com/office/drawing/2014/main" id="{A60F6046-E776-4518-A623-1A66FA35C7E3}"/>
                </a:ext>
              </a:extLst>
            </p:cNvPr>
            <p:cNvSpPr/>
            <p:nvPr/>
          </p:nvSpPr>
          <p:spPr>
            <a:xfrm>
              <a:off x="4301356" y="1707925"/>
              <a:ext cx="138812" cy="94034"/>
            </a:xfrm>
            <a:custGeom>
              <a:avLst/>
              <a:gdLst>
                <a:gd name="connsiteX0" fmla="*/ 89556 w 138812"/>
                <a:gd name="connsiteY0" fmla="*/ 95825 h 94034"/>
                <a:gd name="connsiteX1" fmla="*/ 87317 w 138812"/>
                <a:gd name="connsiteY1" fmla="*/ 93586 h 94034"/>
                <a:gd name="connsiteX2" fmla="*/ 89556 w 138812"/>
                <a:gd name="connsiteY2" fmla="*/ 91348 h 94034"/>
                <a:gd name="connsiteX3" fmla="*/ 102990 w 138812"/>
                <a:gd name="connsiteY3" fmla="*/ 91348 h 94034"/>
                <a:gd name="connsiteX4" fmla="*/ 134335 w 138812"/>
                <a:gd name="connsiteY4" fmla="*/ 60003 h 94034"/>
                <a:gd name="connsiteX5" fmla="*/ 102990 w 138812"/>
                <a:gd name="connsiteY5" fmla="*/ 28658 h 94034"/>
                <a:gd name="connsiteX6" fmla="*/ 94034 w 138812"/>
                <a:gd name="connsiteY6" fmla="*/ 30001 h 94034"/>
                <a:gd name="connsiteX7" fmla="*/ 91347 w 138812"/>
                <a:gd name="connsiteY7" fmla="*/ 28658 h 94034"/>
                <a:gd name="connsiteX8" fmla="*/ 55973 w 138812"/>
                <a:gd name="connsiteY8" fmla="*/ 4478 h 94034"/>
                <a:gd name="connsiteX9" fmla="*/ 17911 w 138812"/>
                <a:gd name="connsiteY9" fmla="*/ 42539 h 94034"/>
                <a:gd name="connsiteX10" fmla="*/ 17911 w 138812"/>
                <a:gd name="connsiteY10" fmla="*/ 43435 h 94034"/>
                <a:gd name="connsiteX11" fmla="*/ 17016 w 138812"/>
                <a:gd name="connsiteY11" fmla="*/ 45226 h 94034"/>
                <a:gd name="connsiteX12" fmla="*/ 4478 w 138812"/>
                <a:gd name="connsiteY12" fmla="*/ 66720 h 94034"/>
                <a:gd name="connsiteX13" fmla="*/ 29106 w 138812"/>
                <a:gd name="connsiteY13" fmla="*/ 91348 h 94034"/>
                <a:gd name="connsiteX14" fmla="*/ 49256 w 138812"/>
                <a:gd name="connsiteY14" fmla="*/ 91348 h 94034"/>
                <a:gd name="connsiteX15" fmla="*/ 51495 w 138812"/>
                <a:gd name="connsiteY15" fmla="*/ 93586 h 94034"/>
                <a:gd name="connsiteX16" fmla="*/ 49256 w 138812"/>
                <a:gd name="connsiteY16" fmla="*/ 95825 h 94034"/>
                <a:gd name="connsiteX17" fmla="*/ 49256 w 138812"/>
                <a:gd name="connsiteY17" fmla="*/ 95825 h 94034"/>
                <a:gd name="connsiteX18" fmla="*/ 29106 w 138812"/>
                <a:gd name="connsiteY18" fmla="*/ 95825 h 94034"/>
                <a:gd name="connsiteX19" fmla="*/ 0 w 138812"/>
                <a:gd name="connsiteY19" fmla="*/ 66720 h 94034"/>
                <a:gd name="connsiteX20" fmla="*/ 13433 w 138812"/>
                <a:gd name="connsiteY20" fmla="*/ 42092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 name="connsiteX26" fmla="*/ 89556 w 138812"/>
                <a:gd name="connsiteY26" fmla="*/ 95825 h 94034"/>
                <a:gd name="connsiteX27" fmla="*/ 89556 w 138812"/>
                <a:gd name="connsiteY27"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8812" h="94034">
                  <a:moveTo>
                    <a:pt x="89556" y="95825"/>
                  </a:moveTo>
                  <a:cubicBezTo>
                    <a:pt x="88213" y="95825"/>
                    <a:pt x="87317" y="94930"/>
                    <a:pt x="87317" y="93586"/>
                  </a:cubicBezTo>
                  <a:cubicBezTo>
                    <a:pt x="87317" y="92243"/>
                    <a:pt x="88213" y="91348"/>
                    <a:pt x="89556" y="91348"/>
                  </a:cubicBezTo>
                  <a:lnTo>
                    <a:pt x="102990" y="91348"/>
                  </a:lnTo>
                  <a:cubicBezTo>
                    <a:pt x="120453" y="91348"/>
                    <a:pt x="134335" y="77466"/>
                    <a:pt x="134335" y="60003"/>
                  </a:cubicBezTo>
                  <a:cubicBezTo>
                    <a:pt x="134335" y="42539"/>
                    <a:pt x="120453" y="28658"/>
                    <a:pt x="102990" y="28658"/>
                  </a:cubicBezTo>
                  <a:cubicBezTo>
                    <a:pt x="99855" y="28658"/>
                    <a:pt x="97169" y="29106"/>
                    <a:pt x="94034" y="30001"/>
                  </a:cubicBezTo>
                  <a:cubicBezTo>
                    <a:pt x="92691" y="30449"/>
                    <a:pt x="91795" y="29554"/>
                    <a:pt x="91347" y="28658"/>
                  </a:cubicBezTo>
                  <a:cubicBezTo>
                    <a:pt x="85526" y="14329"/>
                    <a:pt x="71645" y="4478"/>
                    <a:pt x="55973" y="4478"/>
                  </a:cubicBezTo>
                  <a:cubicBezTo>
                    <a:pt x="34927" y="4478"/>
                    <a:pt x="17911" y="21494"/>
                    <a:pt x="17911" y="42539"/>
                  </a:cubicBezTo>
                  <a:lnTo>
                    <a:pt x="17911" y="43435"/>
                  </a:lnTo>
                  <a:cubicBezTo>
                    <a:pt x="17911" y="44330"/>
                    <a:pt x="17463" y="44778"/>
                    <a:pt x="17016" y="45226"/>
                  </a:cubicBezTo>
                  <a:cubicBezTo>
                    <a:pt x="9403" y="49704"/>
                    <a:pt x="4478" y="57764"/>
                    <a:pt x="4478" y="66720"/>
                  </a:cubicBezTo>
                  <a:cubicBezTo>
                    <a:pt x="4478" y="80153"/>
                    <a:pt x="15672" y="91348"/>
                    <a:pt x="29106" y="91348"/>
                  </a:cubicBezTo>
                  <a:lnTo>
                    <a:pt x="49256" y="91348"/>
                  </a:lnTo>
                  <a:cubicBezTo>
                    <a:pt x="50599" y="91348"/>
                    <a:pt x="51495" y="92243"/>
                    <a:pt x="51495" y="93586"/>
                  </a:cubicBezTo>
                  <a:cubicBezTo>
                    <a:pt x="51495" y="94930"/>
                    <a:pt x="50599" y="95825"/>
                    <a:pt x="49256" y="95825"/>
                  </a:cubicBezTo>
                  <a:lnTo>
                    <a:pt x="49256" y="95825"/>
                  </a:lnTo>
                  <a:lnTo>
                    <a:pt x="29106" y="95825"/>
                  </a:lnTo>
                  <a:cubicBezTo>
                    <a:pt x="12986" y="95825"/>
                    <a:pt x="0" y="82840"/>
                    <a:pt x="0" y="66720"/>
                  </a:cubicBezTo>
                  <a:cubicBezTo>
                    <a:pt x="0" y="56868"/>
                    <a:pt x="4925" y="47465"/>
                    <a:pt x="13433" y="42092"/>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lnTo>
                    <a:pt x="89556" y="95825"/>
                  </a:lnTo>
                  <a:cubicBezTo>
                    <a:pt x="89556" y="95825"/>
                    <a:pt x="89556" y="95825"/>
                    <a:pt x="89556" y="95825"/>
                  </a:cubicBezTo>
                  <a:close/>
                </a:path>
              </a:pathLst>
            </a:custGeom>
            <a:solidFill>
              <a:srgbClr val="231F20"/>
            </a:solidFill>
            <a:ln w="4474" cap="flat">
              <a:noFill/>
              <a:prstDash val="solid"/>
              <a:miter/>
            </a:ln>
          </p:spPr>
          <p:txBody>
            <a:bodyPr rtlCol="0" anchor="ctr"/>
            <a:lstStyle/>
            <a:p>
              <a:endParaRPr lang="en-US"/>
            </a:p>
          </p:txBody>
        </p:sp>
        <p:sp>
          <p:nvSpPr>
            <p:cNvPr id="4053" name="Freeform: Shape 4052">
              <a:extLst>
                <a:ext uri="{FF2B5EF4-FFF2-40B4-BE49-F238E27FC236}">
                  <a16:creationId xmlns:a16="http://schemas.microsoft.com/office/drawing/2014/main" id="{3D3CCDE9-64F6-4034-A4BA-76502BDD39B9}"/>
                </a:ext>
              </a:extLst>
            </p:cNvPr>
            <p:cNvSpPr/>
            <p:nvPr/>
          </p:nvSpPr>
          <p:spPr>
            <a:xfrm>
              <a:off x="4362031" y="1771958"/>
              <a:ext cx="13433" cy="44778"/>
            </a:xfrm>
            <a:custGeom>
              <a:avLst/>
              <a:gdLst>
                <a:gd name="connsiteX0" fmla="*/ 16792 w 13433"/>
                <a:gd name="connsiteY0" fmla="*/ 34479 h 44778"/>
                <a:gd name="connsiteX1" fmla="*/ 13657 w 13433"/>
                <a:gd name="connsiteY1" fmla="*/ 34479 h 44778"/>
                <a:gd name="connsiteX2" fmla="*/ 10971 w 13433"/>
                <a:gd name="connsiteY2" fmla="*/ 37166 h 44778"/>
                <a:gd name="connsiteX3" fmla="*/ 10971 w 13433"/>
                <a:gd name="connsiteY3" fmla="*/ 2239 h 44778"/>
                <a:gd name="connsiteX4" fmla="*/ 8732 w 13433"/>
                <a:gd name="connsiteY4" fmla="*/ 0 h 44778"/>
                <a:gd name="connsiteX5" fmla="*/ 6493 w 13433"/>
                <a:gd name="connsiteY5" fmla="*/ 2239 h 44778"/>
                <a:gd name="connsiteX6" fmla="*/ 6493 w 13433"/>
                <a:gd name="connsiteY6" fmla="*/ 37166 h 44778"/>
                <a:gd name="connsiteX7" fmla="*/ 3806 w 13433"/>
                <a:gd name="connsiteY7" fmla="*/ 34479 h 44778"/>
                <a:gd name="connsiteX8" fmla="*/ 672 w 13433"/>
                <a:gd name="connsiteY8" fmla="*/ 34479 h 44778"/>
                <a:gd name="connsiteX9" fmla="*/ 672 w 13433"/>
                <a:gd name="connsiteY9" fmla="*/ 37614 h 44778"/>
                <a:gd name="connsiteX10" fmla="*/ 7388 w 13433"/>
                <a:gd name="connsiteY10" fmla="*/ 44330 h 44778"/>
                <a:gd name="connsiteX11" fmla="*/ 8284 w 13433"/>
                <a:gd name="connsiteY11" fmla="*/ 44778 h 44778"/>
                <a:gd name="connsiteX12" fmla="*/ 8284 w 13433"/>
                <a:gd name="connsiteY12" fmla="*/ 44778 h 44778"/>
                <a:gd name="connsiteX13" fmla="*/ 8284 w 13433"/>
                <a:gd name="connsiteY13" fmla="*/ 44778 h 44778"/>
                <a:gd name="connsiteX14" fmla="*/ 9179 w 13433"/>
                <a:gd name="connsiteY14" fmla="*/ 44778 h 44778"/>
                <a:gd name="connsiteX15" fmla="*/ 10075 w 13433"/>
                <a:gd name="connsiteY15" fmla="*/ 44778 h 44778"/>
                <a:gd name="connsiteX16" fmla="*/ 10971 w 13433"/>
                <a:gd name="connsiteY16" fmla="*/ 44330 h 44778"/>
                <a:gd name="connsiteX17" fmla="*/ 17687 w 13433"/>
                <a:gd name="connsiteY17" fmla="*/ 37614 h 44778"/>
                <a:gd name="connsiteX18" fmla="*/ 16792 w 13433"/>
                <a:gd name="connsiteY18" fmla="*/ 34479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33" h="44778">
                  <a:moveTo>
                    <a:pt x="16792" y="34479"/>
                  </a:moveTo>
                  <a:cubicBezTo>
                    <a:pt x="15896" y="33584"/>
                    <a:pt x="14553" y="33584"/>
                    <a:pt x="13657" y="34479"/>
                  </a:cubicBezTo>
                  <a:lnTo>
                    <a:pt x="10971" y="37166"/>
                  </a:lnTo>
                  <a:lnTo>
                    <a:pt x="10971" y="2239"/>
                  </a:lnTo>
                  <a:cubicBezTo>
                    <a:pt x="10971" y="896"/>
                    <a:pt x="10075" y="0"/>
                    <a:pt x="8732" y="0"/>
                  </a:cubicBezTo>
                  <a:cubicBezTo>
                    <a:pt x="7388" y="0"/>
                    <a:pt x="6493" y="896"/>
                    <a:pt x="6493" y="2239"/>
                  </a:cubicBezTo>
                  <a:lnTo>
                    <a:pt x="6493" y="37166"/>
                  </a:lnTo>
                  <a:lnTo>
                    <a:pt x="3806" y="34479"/>
                  </a:lnTo>
                  <a:cubicBezTo>
                    <a:pt x="2911" y="33584"/>
                    <a:pt x="1567" y="33584"/>
                    <a:pt x="672" y="34479"/>
                  </a:cubicBezTo>
                  <a:cubicBezTo>
                    <a:pt x="-224" y="35375"/>
                    <a:pt x="-224" y="36718"/>
                    <a:pt x="672" y="37614"/>
                  </a:cubicBezTo>
                  <a:lnTo>
                    <a:pt x="7388" y="44330"/>
                  </a:lnTo>
                  <a:cubicBezTo>
                    <a:pt x="7388" y="44330"/>
                    <a:pt x="7836" y="44778"/>
                    <a:pt x="8284" y="44778"/>
                  </a:cubicBezTo>
                  <a:cubicBezTo>
                    <a:pt x="8284" y="44778"/>
                    <a:pt x="8284" y="44778"/>
                    <a:pt x="8284" y="44778"/>
                  </a:cubicBezTo>
                  <a:cubicBezTo>
                    <a:pt x="8284" y="44778"/>
                    <a:pt x="8284" y="44778"/>
                    <a:pt x="8284" y="44778"/>
                  </a:cubicBezTo>
                  <a:cubicBezTo>
                    <a:pt x="8732" y="44778"/>
                    <a:pt x="8732" y="44778"/>
                    <a:pt x="9179" y="44778"/>
                  </a:cubicBezTo>
                  <a:cubicBezTo>
                    <a:pt x="9627" y="44778"/>
                    <a:pt x="9627" y="44778"/>
                    <a:pt x="10075" y="44778"/>
                  </a:cubicBezTo>
                  <a:cubicBezTo>
                    <a:pt x="10523" y="44778"/>
                    <a:pt x="10523" y="44330"/>
                    <a:pt x="10971" y="44330"/>
                  </a:cubicBezTo>
                  <a:lnTo>
                    <a:pt x="17687" y="37614"/>
                  </a:lnTo>
                  <a:cubicBezTo>
                    <a:pt x="17687" y="36718"/>
                    <a:pt x="17687" y="35375"/>
                    <a:pt x="16792" y="34479"/>
                  </a:cubicBezTo>
                  <a:close/>
                </a:path>
              </a:pathLst>
            </a:custGeom>
            <a:solidFill>
              <a:srgbClr val="231F20"/>
            </a:solidFill>
            <a:ln w="4474" cap="flat">
              <a:noFill/>
              <a:prstDash val="solid"/>
              <a:miter/>
            </a:ln>
          </p:spPr>
          <p:txBody>
            <a:bodyPr rtlCol="0" anchor="ctr"/>
            <a:lstStyle/>
            <a:p>
              <a:endParaRPr lang="en-US"/>
            </a:p>
          </p:txBody>
        </p:sp>
      </p:grpSp>
      <p:grpSp>
        <p:nvGrpSpPr>
          <p:cNvPr id="4054" name="Group 4053">
            <a:extLst>
              <a:ext uri="{FF2B5EF4-FFF2-40B4-BE49-F238E27FC236}">
                <a16:creationId xmlns:a16="http://schemas.microsoft.com/office/drawing/2014/main" id="{6C62BBB0-30F7-4BA5-A282-EF4BF9A587D1}"/>
              </a:ext>
              <a:ext uri="{C183D7F6-B498-43B3-948B-1728B52AA6E4}">
                <adec:decorative xmlns:adec="http://schemas.microsoft.com/office/drawing/2017/decorative" val="1"/>
              </a:ext>
            </a:extLst>
          </p:cNvPr>
          <p:cNvGrpSpPr>
            <a:grpSpLocks noChangeAspect="1"/>
          </p:cNvGrpSpPr>
          <p:nvPr/>
        </p:nvGrpSpPr>
        <p:grpSpPr>
          <a:xfrm>
            <a:off x="4519868" y="2443364"/>
            <a:ext cx="138812" cy="109259"/>
            <a:chOff x="4560622" y="1707925"/>
            <a:chExt cx="138812" cy="109259"/>
          </a:xfrm>
        </p:grpSpPr>
        <p:sp>
          <p:nvSpPr>
            <p:cNvPr id="4055" name="Freeform: Shape 4054">
              <a:extLst>
                <a:ext uri="{FF2B5EF4-FFF2-40B4-BE49-F238E27FC236}">
                  <a16:creationId xmlns:a16="http://schemas.microsoft.com/office/drawing/2014/main" id="{1C02BD07-26EF-416B-B221-6EBBBD052DCD}"/>
                </a:ext>
              </a:extLst>
            </p:cNvPr>
            <p:cNvSpPr/>
            <p:nvPr/>
          </p:nvSpPr>
          <p:spPr>
            <a:xfrm>
              <a:off x="4560622" y="1707925"/>
              <a:ext cx="138812" cy="94034"/>
            </a:xfrm>
            <a:custGeom>
              <a:avLst/>
              <a:gdLst>
                <a:gd name="connsiteX0" fmla="*/ 89556 w 138812"/>
                <a:gd name="connsiteY0" fmla="*/ 95825 h 94034"/>
                <a:gd name="connsiteX1" fmla="*/ 87317 w 138812"/>
                <a:gd name="connsiteY1" fmla="*/ 93586 h 94034"/>
                <a:gd name="connsiteX2" fmla="*/ 89556 w 138812"/>
                <a:gd name="connsiteY2" fmla="*/ 91348 h 94034"/>
                <a:gd name="connsiteX3" fmla="*/ 102990 w 138812"/>
                <a:gd name="connsiteY3" fmla="*/ 91348 h 94034"/>
                <a:gd name="connsiteX4" fmla="*/ 134335 w 138812"/>
                <a:gd name="connsiteY4" fmla="*/ 60003 h 94034"/>
                <a:gd name="connsiteX5" fmla="*/ 102990 w 138812"/>
                <a:gd name="connsiteY5" fmla="*/ 28658 h 94034"/>
                <a:gd name="connsiteX6" fmla="*/ 94034 w 138812"/>
                <a:gd name="connsiteY6" fmla="*/ 30001 h 94034"/>
                <a:gd name="connsiteX7" fmla="*/ 91348 w 138812"/>
                <a:gd name="connsiteY7" fmla="*/ 28658 h 94034"/>
                <a:gd name="connsiteX8" fmla="*/ 55973 w 138812"/>
                <a:gd name="connsiteY8" fmla="*/ 4478 h 94034"/>
                <a:gd name="connsiteX9" fmla="*/ 17911 w 138812"/>
                <a:gd name="connsiteY9" fmla="*/ 42539 h 94034"/>
                <a:gd name="connsiteX10" fmla="*/ 17911 w 138812"/>
                <a:gd name="connsiteY10" fmla="*/ 43435 h 94034"/>
                <a:gd name="connsiteX11" fmla="*/ 17016 w 138812"/>
                <a:gd name="connsiteY11" fmla="*/ 45226 h 94034"/>
                <a:gd name="connsiteX12" fmla="*/ 4478 w 138812"/>
                <a:gd name="connsiteY12" fmla="*/ 66720 h 94034"/>
                <a:gd name="connsiteX13" fmla="*/ 29106 w 138812"/>
                <a:gd name="connsiteY13" fmla="*/ 91348 h 94034"/>
                <a:gd name="connsiteX14" fmla="*/ 49256 w 138812"/>
                <a:gd name="connsiteY14" fmla="*/ 91348 h 94034"/>
                <a:gd name="connsiteX15" fmla="*/ 51495 w 138812"/>
                <a:gd name="connsiteY15" fmla="*/ 93586 h 94034"/>
                <a:gd name="connsiteX16" fmla="*/ 49256 w 138812"/>
                <a:gd name="connsiteY16" fmla="*/ 95825 h 94034"/>
                <a:gd name="connsiteX17" fmla="*/ 49256 w 138812"/>
                <a:gd name="connsiteY17" fmla="*/ 95825 h 94034"/>
                <a:gd name="connsiteX18" fmla="*/ 29106 w 138812"/>
                <a:gd name="connsiteY18" fmla="*/ 95825 h 94034"/>
                <a:gd name="connsiteX19" fmla="*/ 0 w 138812"/>
                <a:gd name="connsiteY19" fmla="*/ 66720 h 94034"/>
                <a:gd name="connsiteX20" fmla="*/ 13433 w 138812"/>
                <a:gd name="connsiteY20" fmla="*/ 42092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 name="connsiteX26" fmla="*/ 89556 w 138812"/>
                <a:gd name="connsiteY26" fmla="*/ 95825 h 94034"/>
                <a:gd name="connsiteX27" fmla="*/ 89556 w 138812"/>
                <a:gd name="connsiteY27"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8812" h="94034">
                  <a:moveTo>
                    <a:pt x="89556" y="95825"/>
                  </a:moveTo>
                  <a:cubicBezTo>
                    <a:pt x="88213" y="95825"/>
                    <a:pt x="87317" y="94930"/>
                    <a:pt x="87317" y="93586"/>
                  </a:cubicBezTo>
                  <a:cubicBezTo>
                    <a:pt x="87317" y="92243"/>
                    <a:pt x="88213" y="91348"/>
                    <a:pt x="89556" y="91348"/>
                  </a:cubicBezTo>
                  <a:lnTo>
                    <a:pt x="102990" y="91348"/>
                  </a:lnTo>
                  <a:cubicBezTo>
                    <a:pt x="120453" y="91348"/>
                    <a:pt x="134335" y="77466"/>
                    <a:pt x="134335" y="60003"/>
                  </a:cubicBezTo>
                  <a:cubicBezTo>
                    <a:pt x="134335" y="42539"/>
                    <a:pt x="120453" y="28658"/>
                    <a:pt x="102990" y="28658"/>
                  </a:cubicBezTo>
                  <a:cubicBezTo>
                    <a:pt x="99856" y="28658"/>
                    <a:pt x="97169" y="29106"/>
                    <a:pt x="94034" y="30001"/>
                  </a:cubicBezTo>
                  <a:cubicBezTo>
                    <a:pt x="92691" y="30449"/>
                    <a:pt x="91795" y="29554"/>
                    <a:pt x="91348" y="28658"/>
                  </a:cubicBezTo>
                  <a:cubicBezTo>
                    <a:pt x="85526" y="14329"/>
                    <a:pt x="71645" y="4478"/>
                    <a:pt x="55973" y="4478"/>
                  </a:cubicBezTo>
                  <a:cubicBezTo>
                    <a:pt x="34927" y="4478"/>
                    <a:pt x="17911" y="21494"/>
                    <a:pt x="17911" y="42539"/>
                  </a:cubicBezTo>
                  <a:lnTo>
                    <a:pt x="17911" y="43435"/>
                  </a:lnTo>
                  <a:cubicBezTo>
                    <a:pt x="17911" y="44330"/>
                    <a:pt x="17464" y="44778"/>
                    <a:pt x="17016" y="45226"/>
                  </a:cubicBezTo>
                  <a:cubicBezTo>
                    <a:pt x="9404" y="49704"/>
                    <a:pt x="4478" y="57764"/>
                    <a:pt x="4478" y="66720"/>
                  </a:cubicBezTo>
                  <a:cubicBezTo>
                    <a:pt x="4478" y="80153"/>
                    <a:pt x="15672" y="91348"/>
                    <a:pt x="29106" y="91348"/>
                  </a:cubicBezTo>
                  <a:lnTo>
                    <a:pt x="49256" y="91348"/>
                  </a:lnTo>
                  <a:cubicBezTo>
                    <a:pt x="50600" y="91348"/>
                    <a:pt x="51495" y="92243"/>
                    <a:pt x="51495" y="93586"/>
                  </a:cubicBezTo>
                  <a:cubicBezTo>
                    <a:pt x="51495" y="94930"/>
                    <a:pt x="50600" y="95825"/>
                    <a:pt x="49256" y="95825"/>
                  </a:cubicBezTo>
                  <a:lnTo>
                    <a:pt x="49256" y="95825"/>
                  </a:lnTo>
                  <a:lnTo>
                    <a:pt x="29106" y="95825"/>
                  </a:lnTo>
                  <a:cubicBezTo>
                    <a:pt x="12986" y="95825"/>
                    <a:pt x="0" y="82840"/>
                    <a:pt x="0" y="66720"/>
                  </a:cubicBezTo>
                  <a:cubicBezTo>
                    <a:pt x="0" y="56868"/>
                    <a:pt x="4926" y="47465"/>
                    <a:pt x="13433" y="42092"/>
                  </a:cubicBezTo>
                  <a:cubicBezTo>
                    <a:pt x="13433" y="18807"/>
                    <a:pt x="32688" y="0"/>
                    <a:pt x="55973" y="0"/>
                  </a:cubicBezTo>
                  <a:cubicBezTo>
                    <a:pt x="72541" y="0"/>
                    <a:pt x="88213" y="9851"/>
                    <a:pt x="94930" y="25076"/>
                  </a:cubicBezTo>
                  <a:cubicBezTo>
                    <a:pt x="97617" y="24628"/>
                    <a:pt x="100303" y="24180"/>
                    <a:pt x="102990" y="24180"/>
                  </a:cubicBezTo>
                  <a:cubicBezTo>
                    <a:pt x="122692" y="24180"/>
                    <a:pt x="138812" y="40300"/>
                    <a:pt x="138812" y="60003"/>
                  </a:cubicBezTo>
                  <a:cubicBezTo>
                    <a:pt x="138812" y="79705"/>
                    <a:pt x="122692" y="95825"/>
                    <a:pt x="102990" y="95825"/>
                  </a:cubicBezTo>
                  <a:lnTo>
                    <a:pt x="89556" y="95825"/>
                  </a:lnTo>
                  <a:cubicBezTo>
                    <a:pt x="89556" y="95825"/>
                    <a:pt x="89556" y="95825"/>
                    <a:pt x="89556" y="95825"/>
                  </a:cubicBezTo>
                  <a:close/>
                </a:path>
              </a:pathLst>
            </a:custGeom>
            <a:solidFill>
              <a:srgbClr val="231F20"/>
            </a:solidFill>
            <a:ln w="4474" cap="flat">
              <a:noFill/>
              <a:prstDash val="solid"/>
              <a:miter/>
            </a:ln>
          </p:spPr>
          <p:txBody>
            <a:bodyPr rtlCol="0" anchor="ctr"/>
            <a:lstStyle/>
            <a:p>
              <a:endParaRPr lang="en-US"/>
            </a:p>
          </p:txBody>
        </p:sp>
        <p:sp>
          <p:nvSpPr>
            <p:cNvPr id="4056" name="Freeform: Shape 4055">
              <a:extLst>
                <a:ext uri="{FF2B5EF4-FFF2-40B4-BE49-F238E27FC236}">
                  <a16:creationId xmlns:a16="http://schemas.microsoft.com/office/drawing/2014/main" id="{297B36CB-DBB5-4629-B1BB-557A80EF9B25}"/>
                </a:ext>
              </a:extLst>
            </p:cNvPr>
            <p:cNvSpPr/>
            <p:nvPr/>
          </p:nvSpPr>
          <p:spPr>
            <a:xfrm>
              <a:off x="4620849" y="1772406"/>
              <a:ext cx="17911" cy="44778"/>
            </a:xfrm>
            <a:custGeom>
              <a:avLst/>
              <a:gdLst>
                <a:gd name="connsiteX0" fmla="*/ 17687 w 17911"/>
                <a:gd name="connsiteY0" fmla="*/ 7164 h 44778"/>
                <a:gd name="connsiteX1" fmla="*/ 10971 w 17911"/>
                <a:gd name="connsiteY1" fmla="*/ 448 h 44778"/>
                <a:gd name="connsiteX2" fmla="*/ 10075 w 17911"/>
                <a:gd name="connsiteY2" fmla="*/ 0 h 44778"/>
                <a:gd name="connsiteX3" fmla="*/ 9627 w 17911"/>
                <a:gd name="connsiteY3" fmla="*/ 0 h 44778"/>
                <a:gd name="connsiteX4" fmla="*/ 8284 w 17911"/>
                <a:gd name="connsiteY4" fmla="*/ 0 h 44778"/>
                <a:gd name="connsiteX5" fmla="*/ 8284 w 17911"/>
                <a:gd name="connsiteY5" fmla="*/ 0 h 44778"/>
                <a:gd name="connsiteX6" fmla="*/ 8284 w 17911"/>
                <a:gd name="connsiteY6" fmla="*/ 0 h 44778"/>
                <a:gd name="connsiteX7" fmla="*/ 7388 w 17911"/>
                <a:gd name="connsiteY7" fmla="*/ 448 h 44778"/>
                <a:gd name="connsiteX8" fmla="*/ 672 w 17911"/>
                <a:gd name="connsiteY8" fmla="*/ 7164 h 44778"/>
                <a:gd name="connsiteX9" fmla="*/ 672 w 17911"/>
                <a:gd name="connsiteY9" fmla="*/ 10299 h 44778"/>
                <a:gd name="connsiteX10" fmla="*/ 2463 w 17911"/>
                <a:gd name="connsiteY10" fmla="*/ 10747 h 44778"/>
                <a:gd name="connsiteX11" fmla="*/ 4254 w 17911"/>
                <a:gd name="connsiteY11" fmla="*/ 10299 h 44778"/>
                <a:gd name="connsiteX12" fmla="*/ 6940 w 17911"/>
                <a:gd name="connsiteY12" fmla="*/ 7612 h 44778"/>
                <a:gd name="connsiteX13" fmla="*/ 6940 w 17911"/>
                <a:gd name="connsiteY13" fmla="*/ 42539 h 44778"/>
                <a:gd name="connsiteX14" fmla="*/ 9179 w 17911"/>
                <a:gd name="connsiteY14" fmla="*/ 44778 h 44778"/>
                <a:gd name="connsiteX15" fmla="*/ 11418 w 17911"/>
                <a:gd name="connsiteY15" fmla="*/ 42539 h 44778"/>
                <a:gd name="connsiteX16" fmla="*/ 11418 w 17911"/>
                <a:gd name="connsiteY16" fmla="*/ 7612 h 44778"/>
                <a:gd name="connsiteX17" fmla="*/ 14105 w 17911"/>
                <a:gd name="connsiteY17" fmla="*/ 10299 h 44778"/>
                <a:gd name="connsiteX18" fmla="*/ 17240 w 17911"/>
                <a:gd name="connsiteY18" fmla="*/ 10299 h 44778"/>
                <a:gd name="connsiteX19" fmla="*/ 17687 w 17911"/>
                <a:gd name="connsiteY19" fmla="*/ 7164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11" h="44778">
                  <a:moveTo>
                    <a:pt x="17687" y="7164"/>
                  </a:moveTo>
                  <a:lnTo>
                    <a:pt x="10971" y="448"/>
                  </a:lnTo>
                  <a:cubicBezTo>
                    <a:pt x="10523" y="0"/>
                    <a:pt x="10523" y="0"/>
                    <a:pt x="10075" y="0"/>
                  </a:cubicBezTo>
                  <a:cubicBezTo>
                    <a:pt x="10075" y="0"/>
                    <a:pt x="10075" y="0"/>
                    <a:pt x="9627" y="0"/>
                  </a:cubicBezTo>
                  <a:cubicBezTo>
                    <a:pt x="9179" y="0"/>
                    <a:pt x="8732" y="0"/>
                    <a:pt x="8284" y="0"/>
                  </a:cubicBezTo>
                  <a:cubicBezTo>
                    <a:pt x="8284" y="0"/>
                    <a:pt x="8284" y="0"/>
                    <a:pt x="8284" y="0"/>
                  </a:cubicBezTo>
                  <a:cubicBezTo>
                    <a:pt x="8284" y="0"/>
                    <a:pt x="8284" y="0"/>
                    <a:pt x="8284" y="0"/>
                  </a:cubicBezTo>
                  <a:cubicBezTo>
                    <a:pt x="7836" y="0"/>
                    <a:pt x="7836" y="448"/>
                    <a:pt x="7388" y="448"/>
                  </a:cubicBezTo>
                  <a:lnTo>
                    <a:pt x="672" y="7164"/>
                  </a:lnTo>
                  <a:cubicBezTo>
                    <a:pt x="-224" y="8060"/>
                    <a:pt x="-224" y="9403"/>
                    <a:pt x="672" y="10299"/>
                  </a:cubicBezTo>
                  <a:cubicBezTo>
                    <a:pt x="1119" y="10747"/>
                    <a:pt x="1567" y="10747"/>
                    <a:pt x="2463" y="10747"/>
                  </a:cubicBezTo>
                  <a:cubicBezTo>
                    <a:pt x="3358" y="10747"/>
                    <a:pt x="3806" y="10747"/>
                    <a:pt x="4254" y="10299"/>
                  </a:cubicBezTo>
                  <a:lnTo>
                    <a:pt x="6940" y="7612"/>
                  </a:lnTo>
                  <a:lnTo>
                    <a:pt x="6940" y="42539"/>
                  </a:lnTo>
                  <a:cubicBezTo>
                    <a:pt x="6940" y="43883"/>
                    <a:pt x="7836" y="44778"/>
                    <a:pt x="9179" y="44778"/>
                  </a:cubicBezTo>
                  <a:cubicBezTo>
                    <a:pt x="10523" y="44778"/>
                    <a:pt x="11418" y="43883"/>
                    <a:pt x="11418" y="42539"/>
                  </a:cubicBezTo>
                  <a:lnTo>
                    <a:pt x="11418" y="7612"/>
                  </a:lnTo>
                  <a:lnTo>
                    <a:pt x="14105" y="10299"/>
                  </a:lnTo>
                  <a:cubicBezTo>
                    <a:pt x="15001" y="11195"/>
                    <a:pt x="16344" y="11195"/>
                    <a:pt x="17240" y="10299"/>
                  </a:cubicBezTo>
                  <a:cubicBezTo>
                    <a:pt x="18583" y="9403"/>
                    <a:pt x="18583" y="8060"/>
                    <a:pt x="17687" y="7164"/>
                  </a:cubicBezTo>
                  <a:close/>
                </a:path>
              </a:pathLst>
            </a:custGeom>
            <a:solidFill>
              <a:srgbClr val="231F20"/>
            </a:solidFill>
            <a:ln w="4474" cap="flat">
              <a:noFill/>
              <a:prstDash val="solid"/>
              <a:miter/>
            </a:ln>
          </p:spPr>
          <p:txBody>
            <a:bodyPr rtlCol="0" anchor="ctr"/>
            <a:lstStyle/>
            <a:p>
              <a:endParaRPr lang="en-US"/>
            </a:p>
          </p:txBody>
        </p:sp>
      </p:grpSp>
      <p:grpSp>
        <p:nvGrpSpPr>
          <p:cNvPr id="4057" name="Group 4056">
            <a:extLst>
              <a:ext uri="{FF2B5EF4-FFF2-40B4-BE49-F238E27FC236}">
                <a16:creationId xmlns:a16="http://schemas.microsoft.com/office/drawing/2014/main" id="{6FD70E73-2727-4E17-84D1-46F07791DB38}"/>
              </a:ext>
              <a:ext uri="{C183D7F6-B498-43B3-948B-1728B52AA6E4}">
                <adec:decorative xmlns:adec="http://schemas.microsoft.com/office/drawing/2017/decorative" val="1"/>
              </a:ext>
            </a:extLst>
          </p:cNvPr>
          <p:cNvGrpSpPr>
            <a:grpSpLocks noChangeAspect="1"/>
          </p:cNvGrpSpPr>
          <p:nvPr/>
        </p:nvGrpSpPr>
        <p:grpSpPr>
          <a:xfrm>
            <a:off x="4789881" y="2443364"/>
            <a:ext cx="134335" cy="94706"/>
            <a:chOff x="4830635" y="1707925"/>
            <a:chExt cx="134335" cy="94706"/>
          </a:xfrm>
        </p:grpSpPr>
        <p:sp>
          <p:nvSpPr>
            <p:cNvPr id="4058" name="Freeform: Shape 4057">
              <a:extLst>
                <a:ext uri="{FF2B5EF4-FFF2-40B4-BE49-F238E27FC236}">
                  <a16:creationId xmlns:a16="http://schemas.microsoft.com/office/drawing/2014/main" id="{6A60D339-8428-4A5F-871A-40C75178D156}"/>
                </a:ext>
              </a:extLst>
            </p:cNvPr>
            <p:cNvSpPr/>
            <p:nvPr/>
          </p:nvSpPr>
          <p:spPr>
            <a:xfrm>
              <a:off x="4830635" y="1707925"/>
              <a:ext cx="134335" cy="94034"/>
            </a:xfrm>
            <a:custGeom>
              <a:avLst/>
              <a:gdLst>
                <a:gd name="connsiteX0" fmla="*/ 83287 w 134334"/>
                <a:gd name="connsiteY0" fmla="*/ 95825 h 94034"/>
                <a:gd name="connsiteX1" fmla="*/ 29106 w 134334"/>
                <a:gd name="connsiteY1" fmla="*/ 95825 h 94034"/>
                <a:gd name="connsiteX2" fmla="*/ 0 w 134334"/>
                <a:gd name="connsiteY2" fmla="*/ 66720 h 94034"/>
                <a:gd name="connsiteX3" fmla="*/ 13433 w 134334"/>
                <a:gd name="connsiteY3" fmla="*/ 42092 h 94034"/>
                <a:gd name="connsiteX4" fmla="*/ 55973 w 134334"/>
                <a:gd name="connsiteY4" fmla="*/ 0 h 94034"/>
                <a:gd name="connsiteX5" fmla="*/ 94930 w 134334"/>
                <a:gd name="connsiteY5" fmla="*/ 25076 h 94034"/>
                <a:gd name="connsiteX6" fmla="*/ 102990 w 134334"/>
                <a:gd name="connsiteY6" fmla="*/ 24180 h 94034"/>
                <a:gd name="connsiteX7" fmla="*/ 137917 w 134334"/>
                <a:gd name="connsiteY7" fmla="*/ 52838 h 94034"/>
                <a:gd name="connsiteX8" fmla="*/ 136126 w 134334"/>
                <a:gd name="connsiteY8" fmla="*/ 55525 h 94034"/>
                <a:gd name="connsiteX9" fmla="*/ 133439 w 134334"/>
                <a:gd name="connsiteY9" fmla="*/ 53734 h 94034"/>
                <a:gd name="connsiteX10" fmla="*/ 102542 w 134334"/>
                <a:gd name="connsiteY10" fmla="*/ 28658 h 94034"/>
                <a:gd name="connsiteX11" fmla="*/ 93586 w 134334"/>
                <a:gd name="connsiteY11" fmla="*/ 30001 h 94034"/>
                <a:gd name="connsiteX12" fmla="*/ 90900 w 134334"/>
                <a:gd name="connsiteY12" fmla="*/ 28658 h 94034"/>
                <a:gd name="connsiteX13" fmla="*/ 55525 w 134334"/>
                <a:gd name="connsiteY13" fmla="*/ 4478 h 94034"/>
                <a:gd name="connsiteX14" fmla="*/ 17463 w 134334"/>
                <a:gd name="connsiteY14" fmla="*/ 42539 h 94034"/>
                <a:gd name="connsiteX15" fmla="*/ 17463 w 134334"/>
                <a:gd name="connsiteY15" fmla="*/ 43435 h 94034"/>
                <a:gd name="connsiteX16" fmla="*/ 16568 w 134334"/>
                <a:gd name="connsiteY16" fmla="*/ 45226 h 94034"/>
                <a:gd name="connsiteX17" fmla="*/ 4030 w 134334"/>
                <a:gd name="connsiteY17" fmla="*/ 66720 h 94034"/>
                <a:gd name="connsiteX18" fmla="*/ 28658 w 134334"/>
                <a:gd name="connsiteY18" fmla="*/ 91348 h 94034"/>
                <a:gd name="connsiteX19" fmla="*/ 83287 w 134334"/>
                <a:gd name="connsiteY19" fmla="*/ 91348 h 94034"/>
                <a:gd name="connsiteX20" fmla="*/ 85526 w 134334"/>
                <a:gd name="connsiteY20" fmla="*/ 93586 h 94034"/>
                <a:gd name="connsiteX21" fmla="*/ 83287 w 134334"/>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4" h="94034">
                  <a:moveTo>
                    <a:pt x="83287" y="95825"/>
                  </a:moveTo>
                  <a:lnTo>
                    <a:pt x="29106" y="95825"/>
                  </a:lnTo>
                  <a:cubicBezTo>
                    <a:pt x="12986" y="95825"/>
                    <a:pt x="0" y="82840"/>
                    <a:pt x="0" y="66720"/>
                  </a:cubicBezTo>
                  <a:cubicBezTo>
                    <a:pt x="0" y="56868"/>
                    <a:pt x="4925" y="47465"/>
                    <a:pt x="13433" y="42092"/>
                  </a:cubicBezTo>
                  <a:cubicBezTo>
                    <a:pt x="13433" y="18807"/>
                    <a:pt x="32688" y="0"/>
                    <a:pt x="55973" y="0"/>
                  </a:cubicBezTo>
                  <a:cubicBezTo>
                    <a:pt x="72540" y="0"/>
                    <a:pt x="88213" y="9851"/>
                    <a:pt x="94930" y="25076"/>
                  </a:cubicBezTo>
                  <a:cubicBezTo>
                    <a:pt x="97616" y="24628"/>
                    <a:pt x="100303" y="24180"/>
                    <a:pt x="102990" y="24180"/>
                  </a:cubicBezTo>
                  <a:cubicBezTo>
                    <a:pt x="120005" y="24180"/>
                    <a:pt x="134782" y="36270"/>
                    <a:pt x="137917" y="52838"/>
                  </a:cubicBezTo>
                  <a:cubicBezTo>
                    <a:pt x="138364" y="54182"/>
                    <a:pt x="137469" y="55077"/>
                    <a:pt x="136126" y="55525"/>
                  </a:cubicBezTo>
                  <a:cubicBezTo>
                    <a:pt x="134782" y="55973"/>
                    <a:pt x="133887" y="55077"/>
                    <a:pt x="133439" y="53734"/>
                  </a:cubicBezTo>
                  <a:cubicBezTo>
                    <a:pt x="130304" y="39405"/>
                    <a:pt x="117767" y="28658"/>
                    <a:pt x="102542" y="28658"/>
                  </a:cubicBezTo>
                  <a:cubicBezTo>
                    <a:pt x="99407" y="28658"/>
                    <a:pt x="96721" y="29106"/>
                    <a:pt x="93586" y="30001"/>
                  </a:cubicBezTo>
                  <a:cubicBezTo>
                    <a:pt x="92243" y="30449"/>
                    <a:pt x="91347" y="29554"/>
                    <a:pt x="90900" y="28658"/>
                  </a:cubicBezTo>
                  <a:cubicBezTo>
                    <a:pt x="85079" y="14329"/>
                    <a:pt x="71197" y="4478"/>
                    <a:pt x="55525" y="4478"/>
                  </a:cubicBezTo>
                  <a:cubicBezTo>
                    <a:pt x="34479" y="4478"/>
                    <a:pt x="17463" y="21494"/>
                    <a:pt x="17463" y="42539"/>
                  </a:cubicBezTo>
                  <a:lnTo>
                    <a:pt x="17463" y="43435"/>
                  </a:lnTo>
                  <a:cubicBezTo>
                    <a:pt x="17463" y="44330"/>
                    <a:pt x="17016" y="44778"/>
                    <a:pt x="16568" y="45226"/>
                  </a:cubicBezTo>
                  <a:cubicBezTo>
                    <a:pt x="8956" y="49704"/>
                    <a:pt x="4030" y="57764"/>
                    <a:pt x="4030" y="66720"/>
                  </a:cubicBezTo>
                  <a:cubicBezTo>
                    <a:pt x="4030" y="80153"/>
                    <a:pt x="15224" y="91348"/>
                    <a:pt x="28658" y="91348"/>
                  </a:cubicBezTo>
                  <a:lnTo>
                    <a:pt x="83287" y="91348"/>
                  </a:lnTo>
                  <a:cubicBezTo>
                    <a:pt x="84631" y="91348"/>
                    <a:pt x="85526" y="92243"/>
                    <a:pt x="85526" y="93586"/>
                  </a:cubicBezTo>
                  <a:cubicBezTo>
                    <a:pt x="85526" y="94930"/>
                    <a:pt x="84183" y="95825"/>
                    <a:pt x="83287" y="95825"/>
                  </a:cubicBezTo>
                  <a:close/>
                </a:path>
              </a:pathLst>
            </a:custGeom>
            <a:solidFill>
              <a:srgbClr val="231F20"/>
            </a:solidFill>
            <a:ln w="4474" cap="flat">
              <a:noFill/>
              <a:prstDash val="solid"/>
              <a:miter/>
            </a:ln>
          </p:spPr>
          <p:txBody>
            <a:bodyPr rtlCol="0" anchor="ctr"/>
            <a:lstStyle/>
            <a:p>
              <a:endParaRPr lang="en-US"/>
            </a:p>
          </p:txBody>
        </p:sp>
        <p:sp>
          <p:nvSpPr>
            <p:cNvPr id="4059" name="Freeform: Shape 4058">
              <a:extLst>
                <a:ext uri="{FF2B5EF4-FFF2-40B4-BE49-F238E27FC236}">
                  <a16:creationId xmlns:a16="http://schemas.microsoft.com/office/drawing/2014/main" id="{F2DECDB8-5EAB-45A6-BDAF-4FF776D30CD4}"/>
                </a:ext>
              </a:extLst>
            </p:cNvPr>
            <p:cNvSpPr/>
            <p:nvPr/>
          </p:nvSpPr>
          <p:spPr>
            <a:xfrm>
              <a:off x="4928922" y="1775764"/>
              <a:ext cx="35823" cy="26867"/>
            </a:xfrm>
            <a:custGeom>
              <a:avLst/>
              <a:gdLst>
                <a:gd name="connsiteX0" fmla="*/ 11866 w 35822"/>
                <a:gd name="connsiteY0" fmla="*/ 29330 h 26866"/>
                <a:gd name="connsiteX1" fmla="*/ 10075 w 35822"/>
                <a:gd name="connsiteY1" fmla="*/ 28882 h 26866"/>
                <a:gd name="connsiteX2" fmla="*/ 672 w 35822"/>
                <a:gd name="connsiteY2" fmla="*/ 19478 h 26866"/>
                <a:gd name="connsiteX3" fmla="*/ 672 w 35822"/>
                <a:gd name="connsiteY3" fmla="*/ 16344 h 26866"/>
                <a:gd name="connsiteX4" fmla="*/ 3806 w 35822"/>
                <a:gd name="connsiteY4" fmla="*/ 16344 h 26866"/>
                <a:gd name="connsiteX5" fmla="*/ 11866 w 35822"/>
                <a:gd name="connsiteY5" fmla="*/ 24404 h 26866"/>
                <a:gd name="connsiteX6" fmla="*/ 35599 w 35822"/>
                <a:gd name="connsiteY6" fmla="*/ 672 h 26866"/>
                <a:gd name="connsiteX7" fmla="*/ 38733 w 35822"/>
                <a:gd name="connsiteY7" fmla="*/ 672 h 26866"/>
                <a:gd name="connsiteX8" fmla="*/ 38733 w 35822"/>
                <a:gd name="connsiteY8" fmla="*/ 3806 h 26866"/>
                <a:gd name="connsiteX9" fmla="*/ 13657 w 35822"/>
                <a:gd name="connsiteY9" fmla="*/ 28882 h 26866"/>
                <a:gd name="connsiteX10" fmla="*/ 11866 w 35822"/>
                <a:gd name="connsiteY10" fmla="*/ 29330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22" h="26866">
                  <a:moveTo>
                    <a:pt x="11866" y="29330"/>
                  </a:moveTo>
                  <a:cubicBezTo>
                    <a:pt x="11419" y="29330"/>
                    <a:pt x="10523" y="29330"/>
                    <a:pt x="10075" y="28882"/>
                  </a:cubicBezTo>
                  <a:lnTo>
                    <a:pt x="672" y="19478"/>
                  </a:lnTo>
                  <a:cubicBezTo>
                    <a:pt x="-224" y="18583"/>
                    <a:pt x="-224" y="17240"/>
                    <a:pt x="672" y="16344"/>
                  </a:cubicBezTo>
                  <a:cubicBezTo>
                    <a:pt x="1567" y="15448"/>
                    <a:pt x="2911" y="15448"/>
                    <a:pt x="3806" y="16344"/>
                  </a:cubicBezTo>
                  <a:lnTo>
                    <a:pt x="11866" y="24404"/>
                  </a:lnTo>
                  <a:lnTo>
                    <a:pt x="35599" y="672"/>
                  </a:lnTo>
                  <a:cubicBezTo>
                    <a:pt x="36494" y="-224"/>
                    <a:pt x="37838" y="-224"/>
                    <a:pt x="38733" y="672"/>
                  </a:cubicBezTo>
                  <a:cubicBezTo>
                    <a:pt x="39629" y="1567"/>
                    <a:pt x="39629" y="2911"/>
                    <a:pt x="38733" y="3806"/>
                  </a:cubicBezTo>
                  <a:lnTo>
                    <a:pt x="13657" y="28882"/>
                  </a:lnTo>
                  <a:cubicBezTo>
                    <a:pt x="12762" y="29330"/>
                    <a:pt x="12314" y="29330"/>
                    <a:pt x="11866" y="29330"/>
                  </a:cubicBezTo>
                  <a:close/>
                </a:path>
              </a:pathLst>
            </a:custGeom>
            <a:solidFill>
              <a:srgbClr val="231F20"/>
            </a:solidFill>
            <a:ln w="4474" cap="flat">
              <a:noFill/>
              <a:prstDash val="solid"/>
              <a:miter/>
            </a:ln>
          </p:spPr>
          <p:txBody>
            <a:bodyPr rtlCol="0" anchor="ctr"/>
            <a:lstStyle/>
            <a:p>
              <a:endParaRPr lang="en-US"/>
            </a:p>
          </p:txBody>
        </p:sp>
      </p:grpSp>
      <p:sp>
        <p:nvSpPr>
          <p:cNvPr id="4060" name="Freeform: Shape 4059">
            <a:extLst>
              <a:ext uri="{FF2B5EF4-FFF2-40B4-BE49-F238E27FC236}">
                <a16:creationId xmlns:a16="http://schemas.microsoft.com/office/drawing/2014/main" id="{051667E6-1BE1-4735-9C07-80D256A31825}"/>
              </a:ext>
              <a:ext uri="{C183D7F6-B498-43B3-948B-1728B52AA6E4}">
                <adec:decorative xmlns:adec="http://schemas.microsoft.com/office/drawing/2017/decorative" val="1"/>
              </a:ext>
            </a:extLst>
          </p:cNvPr>
          <p:cNvSpPr>
            <a:spLocks noChangeAspect="1"/>
          </p:cNvSpPr>
          <p:nvPr/>
        </p:nvSpPr>
        <p:spPr>
          <a:xfrm>
            <a:off x="538640" y="1729600"/>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61" name="Freeform: Shape 4060">
            <a:extLst>
              <a:ext uri="{FF2B5EF4-FFF2-40B4-BE49-F238E27FC236}">
                <a16:creationId xmlns:a16="http://schemas.microsoft.com/office/drawing/2014/main" id="{672A0D1F-D139-450A-AA57-D76322676662}"/>
              </a:ext>
              <a:ext uri="{C183D7F6-B498-43B3-948B-1728B52AA6E4}">
                <adec:decorative xmlns:adec="http://schemas.microsoft.com/office/drawing/2017/decorative" val="1"/>
              </a:ext>
            </a:extLst>
          </p:cNvPr>
          <p:cNvSpPr>
            <a:spLocks noChangeAspect="1"/>
          </p:cNvSpPr>
          <p:nvPr/>
        </p:nvSpPr>
        <p:spPr>
          <a:xfrm>
            <a:off x="2387531" y="1729600"/>
            <a:ext cx="147768" cy="125379"/>
          </a:xfrm>
          <a:custGeom>
            <a:avLst/>
            <a:gdLst>
              <a:gd name="connsiteX0" fmla="*/ 137917 w 147767"/>
              <a:gd name="connsiteY0" fmla="*/ 13433 h 125378"/>
              <a:gd name="connsiteX1" fmla="*/ 82392 w 147767"/>
              <a:gd name="connsiteY1" fmla="*/ 13433 h 125378"/>
              <a:gd name="connsiteX2" fmla="*/ 78362 w 147767"/>
              <a:gd name="connsiteY2" fmla="*/ 8956 h 125378"/>
              <a:gd name="connsiteX3" fmla="*/ 69854 w 147767"/>
              <a:gd name="connsiteY3" fmla="*/ 0 h 125378"/>
              <a:gd name="connsiteX4" fmla="*/ 26867 w 147767"/>
              <a:gd name="connsiteY4" fmla="*/ 0 h 125378"/>
              <a:gd name="connsiteX5" fmla="*/ 12538 w 147767"/>
              <a:gd name="connsiteY5" fmla="*/ 13433 h 125378"/>
              <a:gd name="connsiteX6" fmla="*/ 0 w 147767"/>
              <a:gd name="connsiteY6" fmla="*/ 29106 h 125378"/>
              <a:gd name="connsiteX7" fmla="*/ 0 w 147767"/>
              <a:gd name="connsiteY7" fmla="*/ 109707 h 125378"/>
              <a:gd name="connsiteX8" fmla="*/ 14329 w 147767"/>
              <a:gd name="connsiteY8" fmla="*/ 125379 h 125378"/>
              <a:gd name="connsiteX9" fmla="*/ 124036 w 147767"/>
              <a:gd name="connsiteY9" fmla="*/ 125379 h 125378"/>
              <a:gd name="connsiteX10" fmla="*/ 138365 w 147767"/>
              <a:gd name="connsiteY10" fmla="*/ 111945 h 125378"/>
              <a:gd name="connsiteX11" fmla="*/ 151798 w 147767"/>
              <a:gd name="connsiteY11" fmla="*/ 96273 h 125378"/>
              <a:gd name="connsiteX12" fmla="*/ 151798 w 147767"/>
              <a:gd name="connsiteY12" fmla="*/ 29106 h 125378"/>
              <a:gd name="connsiteX13" fmla="*/ 137917 w 147767"/>
              <a:gd name="connsiteY13" fmla="*/ 13433 h 125378"/>
              <a:gd name="connsiteX14" fmla="*/ 134335 w 147767"/>
              <a:gd name="connsiteY14" fmla="*/ 109707 h 125378"/>
              <a:gd name="connsiteX15" fmla="*/ 124483 w 147767"/>
              <a:gd name="connsiteY15" fmla="*/ 120901 h 125378"/>
              <a:gd name="connsiteX16" fmla="*/ 14777 w 147767"/>
              <a:gd name="connsiteY16" fmla="*/ 120901 h 125378"/>
              <a:gd name="connsiteX17" fmla="*/ 4926 w 147767"/>
              <a:gd name="connsiteY17" fmla="*/ 109707 h 125378"/>
              <a:gd name="connsiteX18" fmla="*/ 4926 w 147767"/>
              <a:gd name="connsiteY18" fmla="*/ 29106 h 125378"/>
              <a:gd name="connsiteX19" fmla="*/ 14777 w 147767"/>
              <a:gd name="connsiteY19" fmla="*/ 17911 h 125378"/>
              <a:gd name="connsiteX20" fmla="*/ 14777 w 147767"/>
              <a:gd name="connsiteY20" fmla="*/ 17911 h 125378"/>
              <a:gd name="connsiteX21" fmla="*/ 14777 w 147767"/>
              <a:gd name="connsiteY21" fmla="*/ 17911 h 125378"/>
              <a:gd name="connsiteX22" fmla="*/ 14777 w 147767"/>
              <a:gd name="connsiteY22" fmla="*/ 17911 h 125378"/>
              <a:gd name="connsiteX23" fmla="*/ 57316 w 147767"/>
              <a:gd name="connsiteY23" fmla="*/ 17911 h 125378"/>
              <a:gd name="connsiteX24" fmla="*/ 61346 w 147767"/>
              <a:gd name="connsiteY24" fmla="*/ 22389 h 125378"/>
              <a:gd name="connsiteX25" fmla="*/ 69854 w 147767"/>
              <a:gd name="connsiteY25" fmla="*/ 31345 h 125378"/>
              <a:gd name="connsiteX26" fmla="*/ 124931 w 147767"/>
              <a:gd name="connsiteY26" fmla="*/ 31345 h 125378"/>
              <a:gd name="connsiteX27" fmla="*/ 134782 w 147767"/>
              <a:gd name="connsiteY27" fmla="*/ 42539 h 125378"/>
              <a:gd name="connsiteX28" fmla="*/ 134782 w 147767"/>
              <a:gd name="connsiteY28" fmla="*/ 109707 h 125378"/>
              <a:gd name="connsiteX29" fmla="*/ 147768 w 147767"/>
              <a:gd name="connsiteY29" fmla="*/ 96273 h 125378"/>
              <a:gd name="connsiteX30" fmla="*/ 138812 w 147767"/>
              <a:gd name="connsiteY30" fmla="*/ 107468 h 125378"/>
              <a:gd name="connsiteX31" fmla="*/ 138812 w 147767"/>
              <a:gd name="connsiteY31" fmla="*/ 42539 h 125378"/>
              <a:gd name="connsiteX32" fmla="*/ 124483 w 147767"/>
              <a:gd name="connsiteY32" fmla="*/ 26867 h 125378"/>
              <a:gd name="connsiteX33" fmla="*/ 69406 w 147767"/>
              <a:gd name="connsiteY33" fmla="*/ 26867 h 125378"/>
              <a:gd name="connsiteX34" fmla="*/ 65376 w 147767"/>
              <a:gd name="connsiteY34" fmla="*/ 22389 h 125378"/>
              <a:gd name="connsiteX35" fmla="*/ 56868 w 147767"/>
              <a:gd name="connsiteY35" fmla="*/ 13433 h 125378"/>
              <a:gd name="connsiteX36" fmla="*/ 16568 w 147767"/>
              <a:gd name="connsiteY36" fmla="*/ 13433 h 125378"/>
              <a:gd name="connsiteX37" fmla="*/ 26419 w 147767"/>
              <a:gd name="connsiteY37" fmla="*/ 4478 h 125378"/>
              <a:gd name="connsiteX38" fmla="*/ 69406 w 147767"/>
              <a:gd name="connsiteY38" fmla="*/ 4478 h 125378"/>
              <a:gd name="connsiteX39" fmla="*/ 73436 w 147767"/>
              <a:gd name="connsiteY39" fmla="*/ 8956 h 125378"/>
              <a:gd name="connsiteX40" fmla="*/ 81944 w 147767"/>
              <a:gd name="connsiteY40" fmla="*/ 17911 h 125378"/>
              <a:gd name="connsiteX41" fmla="*/ 137469 w 147767"/>
              <a:gd name="connsiteY41" fmla="*/ 17911 h 125378"/>
              <a:gd name="connsiteX42" fmla="*/ 147768 w 147767"/>
              <a:gd name="connsiteY42" fmla="*/ 29106 h 125378"/>
              <a:gd name="connsiteX43" fmla="*/ 147768 w 147767"/>
              <a:gd name="connsiteY43" fmla="*/ 9627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7767" h="125378">
                <a:moveTo>
                  <a:pt x="137917" y="13433"/>
                </a:moveTo>
                <a:lnTo>
                  <a:pt x="82392" y="13433"/>
                </a:lnTo>
                <a:cubicBezTo>
                  <a:pt x="80153" y="13433"/>
                  <a:pt x="78362" y="11642"/>
                  <a:pt x="78362" y="8956"/>
                </a:cubicBezTo>
                <a:cubicBezTo>
                  <a:pt x="78362" y="4030"/>
                  <a:pt x="74780" y="0"/>
                  <a:pt x="69854" y="0"/>
                </a:cubicBezTo>
                <a:lnTo>
                  <a:pt x="26867" y="0"/>
                </a:lnTo>
                <a:cubicBezTo>
                  <a:pt x="19702" y="0"/>
                  <a:pt x="13433" y="5821"/>
                  <a:pt x="12538" y="13433"/>
                </a:cubicBezTo>
                <a:cubicBezTo>
                  <a:pt x="5373" y="14329"/>
                  <a:pt x="0" y="21046"/>
                  <a:pt x="0" y="29106"/>
                </a:cubicBezTo>
                <a:lnTo>
                  <a:pt x="0" y="109707"/>
                </a:lnTo>
                <a:cubicBezTo>
                  <a:pt x="0" y="118214"/>
                  <a:pt x="6269" y="125379"/>
                  <a:pt x="14329" y="125379"/>
                </a:cubicBezTo>
                <a:lnTo>
                  <a:pt x="124036" y="125379"/>
                </a:lnTo>
                <a:cubicBezTo>
                  <a:pt x="131200" y="125379"/>
                  <a:pt x="137469" y="119558"/>
                  <a:pt x="138365" y="111945"/>
                </a:cubicBezTo>
                <a:cubicBezTo>
                  <a:pt x="145977" y="111498"/>
                  <a:pt x="151798" y="104781"/>
                  <a:pt x="151798" y="96273"/>
                </a:cubicBezTo>
                <a:lnTo>
                  <a:pt x="151798" y="29106"/>
                </a:lnTo>
                <a:cubicBezTo>
                  <a:pt x="152246" y="20598"/>
                  <a:pt x="145977" y="13433"/>
                  <a:pt x="137917" y="13433"/>
                </a:cubicBezTo>
                <a:close/>
                <a:moveTo>
                  <a:pt x="134335" y="109707"/>
                </a:moveTo>
                <a:cubicBezTo>
                  <a:pt x="134335" y="115975"/>
                  <a:pt x="129857" y="120901"/>
                  <a:pt x="124483" y="120901"/>
                </a:cubicBezTo>
                <a:lnTo>
                  <a:pt x="14777" y="120901"/>
                </a:lnTo>
                <a:cubicBezTo>
                  <a:pt x="9403" y="120901"/>
                  <a:pt x="4926" y="115975"/>
                  <a:pt x="4926" y="109707"/>
                </a:cubicBezTo>
                <a:lnTo>
                  <a:pt x="4926" y="29106"/>
                </a:lnTo>
                <a:cubicBezTo>
                  <a:pt x="4926" y="22837"/>
                  <a:pt x="9403" y="17911"/>
                  <a:pt x="14777" y="17911"/>
                </a:cubicBezTo>
                <a:lnTo>
                  <a:pt x="14777" y="17911"/>
                </a:lnTo>
                <a:cubicBezTo>
                  <a:pt x="14777" y="17911"/>
                  <a:pt x="14777" y="17911"/>
                  <a:pt x="14777" y="17911"/>
                </a:cubicBezTo>
                <a:cubicBezTo>
                  <a:pt x="14777" y="17911"/>
                  <a:pt x="14777" y="17911"/>
                  <a:pt x="14777" y="17911"/>
                </a:cubicBezTo>
                <a:lnTo>
                  <a:pt x="57316" y="17911"/>
                </a:lnTo>
                <a:cubicBezTo>
                  <a:pt x="59555" y="17911"/>
                  <a:pt x="61346" y="19702"/>
                  <a:pt x="61346" y="22389"/>
                </a:cubicBezTo>
                <a:cubicBezTo>
                  <a:pt x="61346" y="27315"/>
                  <a:pt x="64928" y="31345"/>
                  <a:pt x="69854" y="31345"/>
                </a:cubicBezTo>
                <a:lnTo>
                  <a:pt x="124931" y="31345"/>
                </a:lnTo>
                <a:cubicBezTo>
                  <a:pt x="130305" y="31345"/>
                  <a:pt x="134782" y="36270"/>
                  <a:pt x="134782" y="42539"/>
                </a:cubicBezTo>
                <a:lnTo>
                  <a:pt x="134782" y="109707"/>
                </a:lnTo>
                <a:close/>
                <a:moveTo>
                  <a:pt x="147768" y="96273"/>
                </a:moveTo>
                <a:cubicBezTo>
                  <a:pt x="147768" y="102094"/>
                  <a:pt x="143738" y="106572"/>
                  <a:pt x="138812" y="107468"/>
                </a:cubicBezTo>
                <a:lnTo>
                  <a:pt x="138812" y="42539"/>
                </a:lnTo>
                <a:cubicBezTo>
                  <a:pt x="138812" y="34031"/>
                  <a:pt x="132543" y="26867"/>
                  <a:pt x="124483" y="26867"/>
                </a:cubicBezTo>
                <a:lnTo>
                  <a:pt x="69406" y="26867"/>
                </a:lnTo>
                <a:cubicBezTo>
                  <a:pt x="67167" y="26867"/>
                  <a:pt x="65376" y="25076"/>
                  <a:pt x="65376" y="22389"/>
                </a:cubicBezTo>
                <a:cubicBezTo>
                  <a:pt x="65376" y="17463"/>
                  <a:pt x="61794" y="13433"/>
                  <a:pt x="56868" y="13433"/>
                </a:cubicBezTo>
                <a:lnTo>
                  <a:pt x="16568" y="13433"/>
                </a:lnTo>
                <a:cubicBezTo>
                  <a:pt x="17463" y="8508"/>
                  <a:pt x="21494" y="4478"/>
                  <a:pt x="26419" y="4478"/>
                </a:cubicBezTo>
                <a:lnTo>
                  <a:pt x="69406" y="4478"/>
                </a:lnTo>
                <a:cubicBezTo>
                  <a:pt x="71645" y="4478"/>
                  <a:pt x="73436" y="6269"/>
                  <a:pt x="73436" y="8956"/>
                </a:cubicBezTo>
                <a:cubicBezTo>
                  <a:pt x="73436" y="13881"/>
                  <a:pt x="77019" y="17911"/>
                  <a:pt x="81944" y="17911"/>
                </a:cubicBezTo>
                <a:lnTo>
                  <a:pt x="137469" y="17911"/>
                </a:lnTo>
                <a:cubicBezTo>
                  <a:pt x="142842" y="17911"/>
                  <a:pt x="147768" y="22837"/>
                  <a:pt x="147768" y="29106"/>
                </a:cubicBezTo>
                <a:lnTo>
                  <a:pt x="147768" y="96273"/>
                </a:lnTo>
                <a:close/>
              </a:path>
            </a:pathLst>
          </a:custGeom>
          <a:solidFill>
            <a:srgbClr val="231F20"/>
          </a:solidFill>
          <a:ln w="4474" cap="flat">
            <a:noFill/>
            <a:prstDash val="solid"/>
            <a:miter/>
          </a:ln>
        </p:spPr>
        <p:txBody>
          <a:bodyPr rtlCol="0" anchor="ctr"/>
          <a:lstStyle/>
          <a:p>
            <a:endParaRPr lang="en-US"/>
          </a:p>
        </p:txBody>
      </p:sp>
      <p:grpSp>
        <p:nvGrpSpPr>
          <p:cNvPr id="4062" name="Group 4061">
            <a:extLst>
              <a:ext uri="{FF2B5EF4-FFF2-40B4-BE49-F238E27FC236}">
                <a16:creationId xmlns:a16="http://schemas.microsoft.com/office/drawing/2014/main" id="{CD89A76D-0576-493A-ACC0-C44019F16C4B}"/>
              </a:ext>
              <a:ext uri="{C183D7F6-B498-43B3-948B-1728B52AA6E4}">
                <adec:decorative xmlns:adec="http://schemas.microsoft.com/office/drawing/2017/decorative" val="1"/>
              </a:ext>
            </a:extLst>
          </p:cNvPr>
          <p:cNvGrpSpPr>
            <a:grpSpLocks noChangeAspect="1"/>
          </p:cNvGrpSpPr>
          <p:nvPr/>
        </p:nvGrpSpPr>
        <p:grpSpPr>
          <a:xfrm>
            <a:off x="1598092" y="1729600"/>
            <a:ext cx="152246" cy="111945"/>
            <a:chOff x="1638846" y="994161"/>
            <a:chExt cx="152246" cy="111945"/>
          </a:xfrm>
        </p:grpSpPr>
        <p:sp>
          <p:nvSpPr>
            <p:cNvPr id="4063" name="Freeform: Shape 4062">
              <a:extLst>
                <a:ext uri="{FF2B5EF4-FFF2-40B4-BE49-F238E27FC236}">
                  <a16:creationId xmlns:a16="http://schemas.microsoft.com/office/drawing/2014/main" id="{0F92D7E7-63E4-40F4-B0D6-F246737D9F92}"/>
                </a:ext>
              </a:extLst>
            </p:cNvPr>
            <p:cNvSpPr/>
            <p:nvPr/>
          </p:nvSpPr>
          <p:spPr>
            <a:xfrm>
              <a:off x="1638846"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4" y="111945"/>
                    <a:pt x="0" y="104781"/>
                    <a:pt x="0" y="96273"/>
                  </a:cubicBezTo>
                  <a:lnTo>
                    <a:pt x="0" y="15672"/>
                  </a:lnTo>
                  <a:cubicBezTo>
                    <a:pt x="0" y="7165"/>
                    <a:pt x="7164"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064" name="Freeform: Shape 4063">
              <a:extLst>
                <a:ext uri="{FF2B5EF4-FFF2-40B4-BE49-F238E27FC236}">
                  <a16:creationId xmlns:a16="http://schemas.microsoft.com/office/drawing/2014/main" id="{C51AE893-6829-42F6-8F5A-110422987D65}"/>
                </a:ext>
              </a:extLst>
            </p:cNvPr>
            <p:cNvSpPr/>
            <p:nvPr/>
          </p:nvSpPr>
          <p:spPr>
            <a:xfrm>
              <a:off x="1686087" y="1034686"/>
              <a:ext cx="62689" cy="40300"/>
            </a:xfrm>
            <a:custGeom>
              <a:avLst/>
              <a:gdLst>
                <a:gd name="connsiteX0" fmla="*/ 22165 w 62689"/>
                <a:gd name="connsiteY0" fmla="*/ 44106 h 40300"/>
                <a:gd name="connsiteX1" fmla="*/ 20822 w 62689"/>
                <a:gd name="connsiteY1" fmla="*/ 43659 h 40300"/>
                <a:gd name="connsiteX2" fmla="*/ 672 w 62689"/>
                <a:gd name="connsiteY2" fmla="*/ 23956 h 40300"/>
                <a:gd name="connsiteX3" fmla="*/ 672 w 62689"/>
                <a:gd name="connsiteY3" fmla="*/ 20822 h 40300"/>
                <a:gd name="connsiteX4" fmla="*/ 3806 w 62689"/>
                <a:gd name="connsiteY4" fmla="*/ 20822 h 40300"/>
                <a:gd name="connsiteX5" fmla="*/ 22613 w 62689"/>
                <a:gd name="connsiteY5" fmla="*/ 39181 h 40300"/>
                <a:gd name="connsiteX6" fmla="*/ 61122 w 62689"/>
                <a:gd name="connsiteY6" fmla="*/ 672 h 40300"/>
                <a:gd name="connsiteX7" fmla="*/ 64257 w 62689"/>
                <a:gd name="connsiteY7" fmla="*/ 672 h 40300"/>
                <a:gd name="connsiteX8" fmla="*/ 64257 w 62689"/>
                <a:gd name="connsiteY8" fmla="*/ 3806 h 40300"/>
                <a:gd name="connsiteX9" fmla="*/ 23956 w 62689"/>
                <a:gd name="connsiteY9" fmla="*/ 44106 h 40300"/>
                <a:gd name="connsiteX10" fmla="*/ 22165 w 62689"/>
                <a:gd name="connsiteY10" fmla="*/ 44106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689" h="40300">
                  <a:moveTo>
                    <a:pt x="22165" y="44106"/>
                  </a:moveTo>
                  <a:cubicBezTo>
                    <a:pt x="21717" y="44106"/>
                    <a:pt x="20822" y="44106"/>
                    <a:pt x="20822" y="43659"/>
                  </a:cubicBezTo>
                  <a:lnTo>
                    <a:pt x="672" y="23956"/>
                  </a:lnTo>
                  <a:cubicBezTo>
                    <a:pt x="-224" y="23061"/>
                    <a:pt x="-224" y="21717"/>
                    <a:pt x="672" y="20822"/>
                  </a:cubicBezTo>
                  <a:cubicBezTo>
                    <a:pt x="1567" y="19926"/>
                    <a:pt x="2911" y="19926"/>
                    <a:pt x="3806" y="20822"/>
                  </a:cubicBezTo>
                  <a:lnTo>
                    <a:pt x="22613" y="39181"/>
                  </a:lnTo>
                  <a:lnTo>
                    <a:pt x="61122" y="672"/>
                  </a:lnTo>
                  <a:cubicBezTo>
                    <a:pt x="62018" y="-224"/>
                    <a:pt x="63361" y="-224"/>
                    <a:pt x="64257" y="672"/>
                  </a:cubicBezTo>
                  <a:cubicBezTo>
                    <a:pt x="65152" y="1567"/>
                    <a:pt x="65152" y="2911"/>
                    <a:pt x="64257" y="3806"/>
                  </a:cubicBezTo>
                  <a:lnTo>
                    <a:pt x="23956" y="44106"/>
                  </a:lnTo>
                  <a:cubicBezTo>
                    <a:pt x="23508" y="44106"/>
                    <a:pt x="23061" y="44106"/>
                    <a:pt x="22165" y="44106"/>
                  </a:cubicBezTo>
                  <a:close/>
                </a:path>
              </a:pathLst>
            </a:custGeom>
            <a:solidFill>
              <a:srgbClr val="231F20"/>
            </a:solidFill>
            <a:ln w="4474" cap="flat">
              <a:noFill/>
              <a:prstDash val="solid"/>
              <a:miter/>
            </a:ln>
          </p:spPr>
          <p:txBody>
            <a:bodyPr rtlCol="0" anchor="ctr"/>
            <a:lstStyle/>
            <a:p>
              <a:endParaRPr lang="en-US"/>
            </a:p>
          </p:txBody>
        </p:sp>
      </p:grpSp>
      <p:grpSp>
        <p:nvGrpSpPr>
          <p:cNvPr id="4065" name="Group 4064">
            <a:extLst>
              <a:ext uri="{FF2B5EF4-FFF2-40B4-BE49-F238E27FC236}">
                <a16:creationId xmlns:a16="http://schemas.microsoft.com/office/drawing/2014/main" id="{5B1254EA-E582-4DFD-BC48-ECD1892BF359}"/>
              </a:ext>
              <a:ext uri="{C183D7F6-B498-43B3-948B-1728B52AA6E4}">
                <adec:decorative xmlns:adec="http://schemas.microsoft.com/office/drawing/2017/decorative" val="1"/>
              </a:ext>
            </a:extLst>
          </p:cNvPr>
          <p:cNvGrpSpPr>
            <a:grpSpLocks noChangeAspect="1"/>
          </p:cNvGrpSpPr>
          <p:nvPr/>
        </p:nvGrpSpPr>
        <p:grpSpPr>
          <a:xfrm>
            <a:off x="3716995" y="1716615"/>
            <a:ext cx="152246" cy="138364"/>
            <a:chOff x="3757749" y="981176"/>
            <a:chExt cx="152246" cy="138364"/>
          </a:xfrm>
        </p:grpSpPr>
        <p:sp>
          <p:nvSpPr>
            <p:cNvPr id="4066" name="Freeform: Shape 4065">
              <a:extLst>
                <a:ext uri="{FF2B5EF4-FFF2-40B4-BE49-F238E27FC236}">
                  <a16:creationId xmlns:a16="http://schemas.microsoft.com/office/drawing/2014/main" id="{FAD1DF2F-2FB9-4961-B5BE-CC28511DB796}"/>
                </a:ext>
              </a:extLst>
            </p:cNvPr>
            <p:cNvSpPr/>
            <p:nvPr/>
          </p:nvSpPr>
          <p:spPr>
            <a:xfrm>
              <a:off x="3757749" y="1007595"/>
              <a:ext cx="152246" cy="111945"/>
            </a:xfrm>
            <a:custGeom>
              <a:avLst/>
              <a:gdLst>
                <a:gd name="connsiteX0" fmla="*/ 151798 w 152245"/>
                <a:gd name="connsiteY0" fmla="*/ 41196 h 111945"/>
                <a:gd name="connsiteX1" fmla="*/ 111498 w 152245"/>
                <a:gd name="connsiteY1" fmla="*/ 896 h 111945"/>
                <a:gd name="connsiteX2" fmla="*/ 109707 w 152245"/>
                <a:gd name="connsiteY2" fmla="*/ 0 h 111945"/>
                <a:gd name="connsiteX3" fmla="*/ 90452 w 152245"/>
                <a:gd name="connsiteY3" fmla="*/ 0 h 111945"/>
                <a:gd name="connsiteX4" fmla="*/ 88213 w 152245"/>
                <a:gd name="connsiteY4" fmla="*/ 2239 h 111945"/>
                <a:gd name="connsiteX5" fmla="*/ 88213 w 152245"/>
                <a:gd name="connsiteY5" fmla="*/ 13433 h 111945"/>
                <a:gd name="connsiteX6" fmla="*/ 90452 w 152245"/>
                <a:gd name="connsiteY6" fmla="*/ 15672 h 111945"/>
                <a:gd name="connsiteX7" fmla="*/ 92691 w 152245"/>
                <a:gd name="connsiteY7" fmla="*/ 13433 h 111945"/>
                <a:gd name="connsiteX8" fmla="*/ 92691 w 152245"/>
                <a:gd name="connsiteY8" fmla="*/ 4478 h 111945"/>
                <a:gd name="connsiteX9" fmla="*/ 108811 w 152245"/>
                <a:gd name="connsiteY9" fmla="*/ 4478 h 111945"/>
                <a:gd name="connsiteX10" fmla="*/ 144633 w 152245"/>
                <a:gd name="connsiteY10" fmla="*/ 40300 h 111945"/>
                <a:gd name="connsiteX11" fmla="*/ 123588 w 152245"/>
                <a:gd name="connsiteY11" fmla="*/ 40300 h 111945"/>
                <a:gd name="connsiteX12" fmla="*/ 107468 w 152245"/>
                <a:gd name="connsiteY12" fmla="*/ 56420 h 111945"/>
                <a:gd name="connsiteX13" fmla="*/ 107468 w 152245"/>
                <a:gd name="connsiteY13" fmla="*/ 67167 h 111945"/>
                <a:gd name="connsiteX14" fmla="*/ 44778 w 152245"/>
                <a:gd name="connsiteY14" fmla="*/ 67167 h 111945"/>
                <a:gd name="connsiteX15" fmla="*/ 44778 w 152245"/>
                <a:gd name="connsiteY15" fmla="*/ 56420 h 111945"/>
                <a:gd name="connsiteX16" fmla="*/ 28658 w 152245"/>
                <a:gd name="connsiteY16" fmla="*/ 40300 h 111945"/>
                <a:gd name="connsiteX17" fmla="*/ 7612 w 152245"/>
                <a:gd name="connsiteY17" fmla="*/ 40300 h 111945"/>
                <a:gd name="connsiteX18" fmla="*/ 43435 w 152245"/>
                <a:gd name="connsiteY18" fmla="*/ 4478 h 111945"/>
                <a:gd name="connsiteX19" fmla="*/ 60003 w 152245"/>
                <a:gd name="connsiteY19" fmla="*/ 4478 h 111945"/>
                <a:gd name="connsiteX20" fmla="*/ 60003 w 152245"/>
                <a:gd name="connsiteY20" fmla="*/ 13433 h 111945"/>
                <a:gd name="connsiteX21" fmla="*/ 62242 w 152245"/>
                <a:gd name="connsiteY21" fmla="*/ 15672 h 111945"/>
                <a:gd name="connsiteX22" fmla="*/ 64481 w 152245"/>
                <a:gd name="connsiteY22" fmla="*/ 13433 h 111945"/>
                <a:gd name="connsiteX23" fmla="*/ 64481 w 152245"/>
                <a:gd name="connsiteY23" fmla="*/ 2239 h 111945"/>
                <a:gd name="connsiteX24" fmla="*/ 62242 w 152245"/>
                <a:gd name="connsiteY24" fmla="*/ 0 h 111945"/>
                <a:gd name="connsiteX25" fmla="*/ 42539 w 152245"/>
                <a:gd name="connsiteY25" fmla="*/ 0 h 111945"/>
                <a:gd name="connsiteX26" fmla="*/ 40748 w 152245"/>
                <a:gd name="connsiteY26" fmla="*/ 448 h 111945"/>
                <a:gd name="connsiteX27" fmla="*/ 448 w 152245"/>
                <a:gd name="connsiteY27" fmla="*/ 40748 h 111945"/>
                <a:gd name="connsiteX28" fmla="*/ 0 w 152245"/>
                <a:gd name="connsiteY28" fmla="*/ 42539 h 111945"/>
                <a:gd name="connsiteX29" fmla="*/ 0 w 152245"/>
                <a:gd name="connsiteY29" fmla="*/ 95825 h 111945"/>
                <a:gd name="connsiteX30" fmla="*/ 16120 w 152245"/>
                <a:gd name="connsiteY30" fmla="*/ 111945 h 111945"/>
                <a:gd name="connsiteX31" fmla="*/ 135678 w 152245"/>
                <a:gd name="connsiteY31" fmla="*/ 111945 h 111945"/>
                <a:gd name="connsiteX32" fmla="*/ 151798 w 152245"/>
                <a:gd name="connsiteY32" fmla="*/ 95825 h 111945"/>
                <a:gd name="connsiteX33" fmla="*/ 151798 w 152245"/>
                <a:gd name="connsiteY33" fmla="*/ 42539 h 111945"/>
                <a:gd name="connsiteX34" fmla="*/ 151798 w 152245"/>
                <a:gd name="connsiteY34" fmla="*/ 41196 h 111945"/>
                <a:gd name="connsiteX35" fmla="*/ 136126 w 152245"/>
                <a:gd name="connsiteY35" fmla="*/ 107468 h 111945"/>
                <a:gd name="connsiteX36" fmla="*/ 16568 w 152245"/>
                <a:gd name="connsiteY36" fmla="*/ 107468 h 111945"/>
                <a:gd name="connsiteX37" fmla="*/ 4926 w 152245"/>
                <a:gd name="connsiteY37" fmla="*/ 95825 h 111945"/>
                <a:gd name="connsiteX38" fmla="*/ 4926 w 152245"/>
                <a:gd name="connsiteY38" fmla="*/ 44778 h 111945"/>
                <a:gd name="connsiteX39" fmla="*/ 29106 w 152245"/>
                <a:gd name="connsiteY39" fmla="*/ 44778 h 111945"/>
                <a:gd name="connsiteX40" fmla="*/ 40748 w 152245"/>
                <a:gd name="connsiteY40" fmla="*/ 56420 h 111945"/>
                <a:gd name="connsiteX41" fmla="*/ 40748 w 152245"/>
                <a:gd name="connsiteY41" fmla="*/ 69406 h 111945"/>
                <a:gd name="connsiteX42" fmla="*/ 42987 w 152245"/>
                <a:gd name="connsiteY42" fmla="*/ 71645 h 111945"/>
                <a:gd name="connsiteX43" fmla="*/ 110154 w 152245"/>
                <a:gd name="connsiteY43" fmla="*/ 71645 h 111945"/>
                <a:gd name="connsiteX44" fmla="*/ 112393 w 152245"/>
                <a:gd name="connsiteY44" fmla="*/ 69406 h 111945"/>
                <a:gd name="connsiteX45" fmla="*/ 112393 w 152245"/>
                <a:gd name="connsiteY45" fmla="*/ 56420 h 111945"/>
                <a:gd name="connsiteX46" fmla="*/ 124036 w 152245"/>
                <a:gd name="connsiteY46" fmla="*/ 44778 h 111945"/>
                <a:gd name="connsiteX47" fmla="*/ 148216 w 152245"/>
                <a:gd name="connsiteY47" fmla="*/ 44778 h 111945"/>
                <a:gd name="connsiteX48" fmla="*/ 148216 w 152245"/>
                <a:gd name="connsiteY48" fmla="*/ 95825 h 111945"/>
                <a:gd name="connsiteX49" fmla="*/ 136126 w 152245"/>
                <a:gd name="connsiteY49"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245" h="111945">
                  <a:moveTo>
                    <a:pt x="151798" y="41196"/>
                  </a:moveTo>
                  <a:lnTo>
                    <a:pt x="111498" y="896"/>
                  </a:lnTo>
                  <a:cubicBezTo>
                    <a:pt x="111050" y="0"/>
                    <a:pt x="110602" y="0"/>
                    <a:pt x="109707" y="0"/>
                  </a:cubicBezTo>
                  <a:lnTo>
                    <a:pt x="90452" y="0"/>
                  </a:lnTo>
                  <a:cubicBezTo>
                    <a:pt x="89109" y="0"/>
                    <a:pt x="88213" y="896"/>
                    <a:pt x="88213" y="2239"/>
                  </a:cubicBezTo>
                  <a:lnTo>
                    <a:pt x="88213" y="13433"/>
                  </a:lnTo>
                  <a:cubicBezTo>
                    <a:pt x="88213" y="14777"/>
                    <a:pt x="89109" y="15672"/>
                    <a:pt x="90452" y="15672"/>
                  </a:cubicBezTo>
                  <a:cubicBezTo>
                    <a:pt x="91795" y="15672"/>
                    <a:pt x="92691" y="14777"/>
                    <a:pt x="92691" y="13433"/>
                  </a:cubicBezTo>
                  <a:lnTo>
                    <a:pt x="92691" y="4478"/>
                  </a:lnTo>
                  <a:lnTo>
                    <a:pt x="108811" y="4478"/>
                  </a:lnTo>
                  <a:lnTo>
                    <a:pt x="144633" y="40300"/>
                  </a:lnTo>
                  <a:lnTo>
                    <a:pt x="123588" y="40300"/>
                  </a:lnTo>
                  <a:cubicBezTo>
                    <a:pt x="114632" y="40300"/>
                    <a:pt x="107468" y="47465"/>
                    <a:pt x="107468" y="56420"/>
                  </a:cubicBezTo>
                  <a:lnTo>
                    <a:pt x="107468" y="67167"/>
                  </a:lnTo>
                  <a:lnTo>
                    <a:pt x="44778" y="67167"/>
                  </a:lnTo>
                  <a:lnTo>
                    <a:pt x="44778" y="56420"/>
                  </a:lnTo>
                  <a:cubicBezTo>
                    <a:pt x="44778" y="47465"/>
                    <a:pt x="37614" y="40300"/>
                    <a:pt x="28658" y="40300"/>
                  </a:cubicBezTo>
                  <a:lnTo>
                    <a:pt x="7612" y="40300"/>
                  </a:lnTo>
                  <a:lnTo>
                    <a:pt x="43435" y="4478"/>
                  </a:lnTo>
                  <a:lnTo>
                    <a:pt x="60003" y="4478"/>
                  </a:lnTo>
                  <a:lnTo>
                    <a:pt x="60003" y="13433"/>
                  </a:lnTo>
                  <a:cubicBezTo>
                    <a:pt x="60003" y="14777"/>
                    <a:pt x="60898" y="15672"/>
                    <a:pt x="62242" y="15672"/>
                  </a:cubicBezTo>
                  <a:cubicBezTo>
                    <a:pt x="63137" y="15672"/>
                    <a:pt x="64481" y="14777"/>
                    <a:pt x="64481" y="13433"/>
                  </a:cubicBezTo>
                  <a:lnTo>
                    <a:pt x="64481" y="2239"/>
                  </a:lnTo>
                  <a:cubicBezTo>
                    <a:pt x="64481" y="896"/>
                    <a:pt x="63585" y="0"/>
                    <a:pt x="62242" y="0"/>
                  </a:cubicBezTo>
                  <a:lnTo>
                    <a:pt x="42539" y="0"/>
                  </a:lnTo>
                  <a:cubicBezTo>
                    <a:pt x="42092" y="0"/>
                    <a:pt x="41196" y="448"/>
                    <a:pt x="40748" y="448"/>
                  </a:cubicBezTo>
                  <a:lnTo>
                    <a:pt x="448" y="40748"/>
                  </a:lnTo>
                  <a:cubicBezTo>
                    <a:pt x="0" y="41196"/>
                    <a:pt x="0" y="41644"/>
                    <a:pt x="0" y="42539"/>
                  </a:cubicBezTo>
                  <a:lnTo>
                    <a:pt x="0" y="95825"/>
                  </a:lnTo>
                  <a:cubicBezTo>
                    <a:pt x="0" y="104781"/>
                    <a:pt x="7165" y="111945"/>
                    <a:pt x="16120" y="111945"/>
                  </a:cubicBezTo>
                  <a:lnTo>
                    <a:pt x="135678" y="111945"/>
                  </a:lnTo>
                  <a:cubicBezTo>
                    <a:pt x="144633" y="111945"/>
                    <a:pt x="151798" y="104781"/>
                    <a:pt x="151798" y="95825"/>
                  </a:cubicBezTo>
                  <a:lnTo>
                    <a:pt x="151798" y="42539"/>
                  </a:lnTo>
                  <a:cubicBezTo>
                    <a:pt x="152694" y="42091"/>
                    <a:pt x="152246" y="41196"/>
                    <a:pt x="151798" y="41196"/>
                  </a:cubicBezTo>
                  <a:close/>
                  <a:moveTo>
                    <a:pt x="136126" y="107468"/>
                  </a:moveTo>
                  <a:lnTo>
                    <a:pt x="16568" y="107468"/>
                  </a:lnTo>
                  <a:cubicBezTo>
                    <a:pt x="9851" y="107468"/>
                    <a:pt x="4926" y="102094"/>
                    <a:pt x="4926" y="95825"/>
                  </a:cubicBezTo>
                  <a:lnTo>
                    <a:pt x="4926" y="44778"/>
                  </a:lnTo>
                  <a:lnTo>
                    <a:pt x="29106" y="44778"/>
                  </a:lnTo>
                  <a:cubicBezTo>
                    <a:pt x="35375" y="44778"/>
                    <a:pt x="40748" y="50152"/>
                    <a:pt x="40748" y="56420"/>
                  </a:cubicBezTo>
                  <a:lnTo>
                    <a:pt x="40748" y="69406"/>
                  </a:lnTo>
                  <a:cubicBezTo>
                    <a:pt x="40748" y="70750"/>
                    <a:pt x="41644" y="71645"/>
                    <a:pt x="42987" y="71645"/>
                  </a:cubicBezTo>
                  <a:lnTo>
                    <a:pt x="110154" y="71645"/>
                  </a:lnTo>
                  <a:cubicBezTo>
                    <a:pt x="111498" y="71645"/>
                    <a:pt x="112393" y="70750"/>
                    <a:pt x="112393" y="69406"/>
                  </a:cubicBezTo>
                  <a:lnTo>
                    <a:pt x="112393" y="56420"/>
                  </a:lnTo>
                  <a:cubicBezTo>
                    <a:pt x="112393" y="50152"/>
                    <a:pt x="117767" y="44778"/>
                    <a:pt x="124036" y="44778"/>
                  </a:cubicBezTo>
                  <a:lnTo>
                    <a:pt x="148216" y="44778"/>
                  </a:lnTo>
                  <a:lnTo>
                    <a:pt x="148216" y="95825"/>
                  </a:lnTo>
                  <a:cubicBezTo>
                    <a:pt x="148216" y="102094"/>
                    <a:pt x="142843" y="107468"/>
                    <a:pt x="136126" y="107468"/>
                  </a:cubicBezTo>
                  <a:close/>
                </a:path>
              </a:pathLst>
            </a:custGeom>
            <a:solidFill>
              <a:srgbClr val="231F20"/>
            </a:solidFill>
            <a:ln w="4474" cap="flat">
              <a:noFill/>
              <a:prstDash val="solid"/>
              <a:miter/>
            </a:ln>
          </p:spPr>
          <p:txBody>
            <a:bodyPr rtlCol="0" anchor="ctr"/>
            <a:lstStyle/>
            <a:p>
              <a:endParaRPr lang="en-US"/>
            </a:p>
          </p:txBody>
        </p:sp>
        <p:sp>
          <p:nvSpPr>
            <p:cNvPr id="4067" name="Freeform: Shape 4066">
              <a:extLst>
                <a:ext uri="{FF2B5EF4-FFF2-40B4-BE49-F238E27FC236}">
                  <a16:creationId xmlns:a16="http://schemas.microsoft.com/office/drawing/2014/main" id="{7FFB005F-27FF-4DDD-9FC2-F2E610CF4D54}"/>
                </a:ext>
              </a:extLst>
            </p:cNvPr>
            <p:cNvSpPr/>
            <p:nvPr/>
          </p:nvSpPr>
          <p:spPr>
            <a:xfrm>
              <a:off x="3816185" y="981176"/>
              <a:ext cx="35823" cy="80601"/>
            </a:xfrm>
            <a:custGeom>
              <a:avLst/>
              <a:gdLst>
                <a:gd name="connsiteX0" fmla="*/ 35151 w 35822"/>
                <a:gd name="connsiteY0" fmla="*/ 16120 h 80600"/>
                <a:gd name="connsiteX1" fmla="*/ 19479 w 35822"/>
                <a:gd name="connsiteY1" fmla="*/ 448 h 80600"/>
                <a:gd name="connsiteX2" fmla="*/ 18583 w 35822"/>
                <a:gd name="connsiteY2" fmla="*/ 0 h 80600"/>
                <a:gd name="connsiteX3" fmla="*/ 18583 w 35822"/>
                <a:gd name="connsiteY3" fmla="*/ 0 h 80600"/>
                <a:gd name="connsiteX4" fmla="*/ 18583 w 35822"/>
                <a:gd name="connsiteY4" fmla="*/ 0 h 80600"/>
                <a:gd name="connsiteX5" fmla="*/ 17240 w 35822"/>
                <a:gd name="connsiteY5" fmla="*/ 0 h 80600"/>
                <a:gd name="connsiteX6" fmla="*/ 16792 w 35822"/>
                <a:gd name="connsiteY6" fmla="*/ 0 h 80600"/>
                <a:gd name="connsiteX7" fmla="*/ 15896 w 35822"/>
                <a:gd name="connsiteY7" fmla="*/ 448 h 80600"/>
                <a:gd name="connsiteX8" fmla="*/ 672 w 35822"/>
                <a:gd name="connsiteY8" fmla="*/ 16120 h 80600"/>
                <a:gd name="connsiteX9" fmla="*/ 672 w 35822"/>
                <a:gd name="connsiteY9" fmla="*/ 19255 h 80600"/>
                <a:gd name="connsiteX10" fmla="*/ 3806 w 35822"/>
                <a:gd name="connsiteY10" fmla="*/ 19255 h 80600"/>
                <a:gd name="connsiteX11" fmla="*/ 15448 w 35822"/>
                <a:gd name="connsiteY11" fmla="*/ 7612 h 80600"/>
                <a:gd name="connsiteX12" fmla="*/ 15448 w 35822"/>
                <a:gd name="connsiteY12" fmla="*/ 80153 h 80600"/>
                <a:gd name="connsiteX13" fmla="*/ 17687 w 35822"/>
                <a:gd name="connsiteY13" fmla="*/ 82392 h 80600"/>
                <a:gd name="connsiteX14" fmla="*/ 19926 w 35822"/>
                <a:gd name="connsiteY14" fmla="*/ 80153 h 80600"/>
                <a:gd name="connsiteX15" fmla="*/ 19926 w 35822"/>
                <a:gd name="connsiteY15" fmla="*/ 7165 h 80600"/>
                <a:gd name="connsiteX16" fmla="*/ 31569 w 35822"/>
                <a:gd name="connsiteY16" fmla="*/ 18807 h 80600"/>
                <a:gd name="connsiteX17" fmla="*/ 33360 w 35822"/>
                <a:gd name="connsiteY17" fmla="*/ 19255 h 80600"/>
                <a:gd name="connsiteX18" fmla="*/ 35151 w 35822"/>
                <a:gd name="connsiteY18" fmla="*/ 18807 h 80600"/>
                <a:gd name="connsiteX19" fmla="*/ 35151 w 35822"/>
                <a:gd name="connsiteY19" fmla="*/ 1612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22" h="80600">
                  <a:moveTo>
                    <a:pt x="35151" y="16120"/>
                  </a:moveTo>
                  <a:lnTo>
                    <a:pt x="19479" y="448"/>
                  </a:lnTo>
                  <a:cubicBezTo>
                    <a:pt x="19479" y="448"/>
                    <a:pt x="19031" y="0"/>
                    <a:pt x="18583" y="0"/>
                  </a:cubicBezTo>
                  <a:cubicBezTo>
                    <a:pt x="18583" y="0"/>
                    <a:pt x="18583" y="0"/>
                    <a:pt x="18583" y="0"/>
                  </a:cubicBezTo>
                  <a:cubicBezTo>
                    <a:pt x="18583" y="0"/>
                    <a:pt x="18583" y="0"/>
                    <a:pt x="18583" y="0"/>
                  </a:cubicBezTo>
                  <a:cubicBezTo>
                    <a:pt x="18135" y="0"/>
                    <a:pt x="17687" y="0"/>
                    <a:pt x="17240" y="0"/>
                  </a:cubicBezTo>
                  <a:cubicBezTo>
                    <a:pt x="17240" y="0"/>
                    <a:pt x="17240" y="0"/>
                    <a:pt x="16792" y="0"/>
                  </a:cubicBezTo>
                  <a:cubicBezTo>
                    <a:pt x="16344" y="0"/>
                    <a:pt x="15896" y="448"/>
                    <a:pt x="15896" y="448"/>
                  </a:cubicBezTo>
                  <a:lnTo>
                    <a:pt x="672" y="16120"/>
                  </a:lnTo>
                  <a:cubicBezTo>
                    <a:pt x="-224" y="17016"/>
                    <a:pt x="-224" y="18359"/>
                    <a:pt x="672" y="19255"/>
                  </a:cubicBezTo>
                  <a:cubicBezTo>
                    <a:pt x="1567" y="20150"/>
                    <a:pt x="2911" y="20150"/>
                    <a:pt x="3806" y="19255"/>
                  </a:cubicBezTo>
                  <a:lnTo>
                    <a:pt x="15448" y="7612"/>
                  </a:lnTo>
                  <a:lnTo>
                    <a:pt x="15448" y="80153"/>
                  </a:lnTo>
                  <a:cubicBezTo>
                    <a:pt x="15448" y="81496"/>
                    <a:pt x="16344" y="82392"/>
                    <a:pt x="17687" y="82392"/>
                  </a:cubicBezTo>
                  <a:cubicBezTo>
                    <a:pt x="19031" y="82392"/>
                    <a:pt x="19926" y="81496"/>
                    <a:pt x="19926" y="80153"/>
                  </a:cubicBezTo>
                  <a:lnTo>
                    <a:pt x="19926" y="7165"/>
                  </a:lnTo>
                  <a:lnTo>
                    <a:pt x="31569" y="18807"/>
                  </a:lnTo>
                  <a:cubicBezTo>
                    <a:pt x="32016" y="19255"/>
                    <a:pt x="32464" y="19255"/>
                    <a:pt x="33360" y="19255"/>
                  </a:cubicBezTo>
                  <a:cubicBezTo>
                    <a:pt x="34255" y="19255"/>
                    <a:pt x="34703" y="19255"/>
                    <a:pt x="35151" y="18807"/>
                  </a:cubicBezTo>
                  <a:cubicBezTo>
                    <a:pt x="36047" y="18359"/>
                    <a:pt x="36047" y="16568"/>
                    <a:pt x="35151" y="16120"/>
                  </a:cubicBezTo>
                  <a:close/>
                </a:path>
              </a:pathLst>
            </a:custGeom>
            <a:solidFill>
              <a:srgbClr val="231F20"/>
            </a:solidFill>
            <a:ln w="4474" cap="flat">
              <a:noFill/>
              <a:prstDash val="solid"/>
              <a:miter/>
            </a:ln>
          </p:spPr>
          <p:txBody>
            <a:bodyPr rtlCol="0" anchor="ctr"/>
            <a:lstStyle/>
            <a:p>
              <a:endParaRPr lang="en-US"/>
            </a:p>
          </p:txBody>
        </p:sp>
      </p:grpSp>
      <p:grpSp>
        <p:nvGrpSpPr>
          <p:cNvPr id="4068" name="Group 4067">
            <a:extLst>
              <a:ext uri="{FF2B5EF4-FFF2-40B4-BE49-F238E27FC236}">
                <a16:creationId xmlns:a16="http://schemas.microsoft.com/office/drawing/2014/main" id="{BA92ECC2-E0FE-4B27-A3BA-E8AE900DCD51}"/>
              </a:ext>
              <a:ext uri="{C183D7F6-B498-43B3-948B-1728B52AA6E4}">
                <adec:decorative xmlns:adec="http://schemas.microsoft.com/office/drawing/2017/decorative" val="1"/>
              </a:ext>
            </a:extLst>
          </p:cNvPr>
          <p:cNvGrpSpPr>
            <a:grpSpLocks noChangeAspect="1"/>
          </p:cNvGrpSpPr>
          <p:nvPr/>
        </p:nvGrpSpPr>
        <p:grpSpPr>
          <a:xfrm>
            <a:off x="4506434" y="1716167"/>
            <a:ext cx="152246" cy="152246"/>
            <a:chOff x="4547188" y="980728"/>
            <a:chExt cx="152246" cy="152246"/>
          </a:xfrm>
        </p:grpSpPr>
        <p:sp>
          <p:nvSpPr>
            <p:cNvPr id="4069" name="Freeform: Shape 4068">
              <a:extLst>
                <a:ext uri="{FF2B5EF4-FFF2-40B4-BE49-F238E27FC236}">
                  <a16:creationId xmlns:a16="http://schemas.microsoft.com/office/drawing/2014/main" id="{D7D51C7C-38D8-4451-9321-F81060D09E4A}"/>
                </a:ext>
              </a:extLst>
            </p:cNvPr>
            <p:cNvSpPr/>
            <p:nvPr/>
          </p:nvSpPr>
          <p:spPr>
            <a:xfrm>
              <a:off x="4547188" y="980728"/>
              <a:ext cx="152246" cy="152246"/>
            </a:xfrm>
            <a:custGeom>
              <a:avLst/>
              <a:gdLst>
                <a:gd name="connsiteX0" fmla="*/ 145529 w 152245"/>
                <a:gd name="connsiteY0" fmla="*/ 17911 h 152245"/>
                <a:gd name="connsiteX1" fmla="*/ 125379 w 152245"/>
                <a:gd name="connsiteY1" fmla="*/ 17911 h 152245"/>
                <a:gd name="connsiteX2" fmla="*/ 125379 w 152245"/>
                <a:gd name="connsiteY2" fmla="*/ 6717 h 152245"/>
                <a:gd name="connsiteX3" fmla="*/ 118662 w 152245"/>
                <a:gd name="connsiteY3" fmla="*/ 0 h 152245"/>
                <a:gd name="connsiteX4" fmla="*/ 6717 w 152245"/>
                <a:gd name="connsiteY4" fmla="*/ 0 h 152245"/>
                <a:gd name="connsiteX5" fmla="*/ 0 w 152245"/>
                <a:gd name="connsiteY5" fmla="*/ 6717 h 152245"/>
                <a:gd name="connsiteX6" fmla="*/ 0 w 152245"/>
                <a:gd name="connsiteY6" fmla="*/ 132096 h 152245"/>
                <a:gd name="connsiteX7" fmla="*/ 6717 w 152245"/>
                <a:gd name="connsiteY7" fmla="*/ 138812 h 152245"/>
                <a:gd name="connsiteX8" fmla="*/ 26867 w 152245"/>
                <a:gd name="connsiteY8" fmla="*/ 138812 h 152245"/>
                <a:gd name="connsiteX9" fmla="*/ 26867 w 152245"/>
                <a:gd name="connsiteY9" fmla="*/ 145529 h 152245"/>
                <a:gd name="connsiteX10" fmla="*/ 33584 w 152245"/>
                <a:gd name="connsiteY10" fmla="*/ 152246 h 152245"/>
                <a:gd name="connsiteX11" fmla="*/ 145529 w 152245"/>
                <a:gd name="connsiteY11" fmla="*/ 152246 h 152245"/>
                <a:gd name="connsiteX12" fmla="*/ 152246 w 152245"/>
                <a:gd name="connsiteY12" fmla="*/ 145529 h 152245"/>
                <a:gd name="connsiteX13" fmla="*/ 152246 w 152245"/>
                <a:gd name="connsiteY13" fmla="*/ 24628 h 152245"/>
                <a:gd name="connsiteX14" fmla="*/ 145529 w 152245"/>
                <a:gd name="connsiteY14" fmla="*/ 17911 h 152245"/>
                <a:gd name="connsiteX15" fmla="*/ 4478 w 152245"/>
                <a:gd name="connsiteY15" fmla="*/ 132096 h 152245"/>
                <a:gd name="connsiteX16" fmla="*/ 4478 w 152245"/>
                <a:gd name="connsiteY16" fmla="*/ 6717 h 152245"/>
                <a:gd name="connsiteX17" fmla="*/ 6717 w 152245"/>
                <a:gd name="connsiteY17" fmla="*/ 4478 h 152245"/>
                <a:gd name="connsiteX18" fmla="*/ 118662 w 152245"/>
                <a:gd name="connsiteY18" fmla="*/ 4478 h 152245"/>
                <a:gd name="connsiteX19" fmla="*/ 120901 w 152245"/>
                <a:gd name="connsiteY19" fmla="*/ 6717 h 152245"/>
                <a:gd name="connsiteX20" fmla="*/ 120901 w 152245"/>
                <a:gd name="connsiteY20" fmla="*/ 132096 h 152245"/>
                <a:gd name="connsiteX21" fmla="*/ 118662 w 152245"/>
                <a:gd name="connsiteY21" fmla="*/ 134335 h 152245"/>
                <a:gd name="connsiteX22" fmla="*/ 6717 w 152245"/>
                <a:gd name="connsiteY22" fmla="*/ 134335 h 152245"/>
                <a:gd name="connsiteX23" fmla="*/ 4478 w 152245"/>
                <a:gd name="connsiteY23" fmla="*/ 132096 h 152245"/>
                <a:gd name="connsiteX24" fmla="*/ 147768 w 152245"/>
                <a:gd name="connsiteY24" fmla="*/ 145529 h 152245"/>
                <a:gd name="connsiteX25" fmla="*/ 145529 w 152245"/>
                <a:gd name="connsiteY25" fmla="*/ 147768 h 152245"/>
                <a:gd name="connsiteX26" fmla="*/ 33584 w 152245"/>
                <a:gd name="connsiteY26" fmla="*/ 147768 h 152245"/>
                <a:gd name="connsiteX27" fmla="*/ 31345 w 152245"/>
                <a:gd name="connsiteY27" fmla="*/ 145529 h 152245"/>
                <a:gd name="connsiteX28" fmla="*/ 31345 w 152245"/>
                <a:gd name="connsiteY28" fmla="*/ 138812 h 152245"/>
                <a:gd name="connsiteX29" fmla="*/ 118662 w 152245"/>
                <a:gd name="connsiteY29" fmla="*/ 138812 h 152245"/>
                <a:gd name="connsiteX30" fmla="*/ 125379 w 152245"/>
                <a:gd name="connsiteY30" fmla="*/ 132096 h 152245"/>
                <a:gd name="connsiteX31" fmla="*/ 125379 w 152245"/>
                <a:gd name="connsiteY31" fmla="*/ 22389 h 152245"/>
                <a:gd name="connsiteX32" fmla="*/ 145529 w 152245"/>
                <a:gd name="connsiteY32" fmla="*/ 22389 h 152245"/>
                <a:gd name="connsiteX33" fmla="*/ 147768 w 152245"/>
                <a:gd name="connsiteY33" fmla="*/ 24628 h 152245"/>
                <a:gd name="connsiteX34" fmla="*/ 147768 w 152245"/>
                <a:gd name="connsiteY34" fmla="*/ 14552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245" h="152245">
                  <a:moveTo>
                    <a:pt x="145529" y="17911"/>
                  </a:moveTo>
                  <a:lnTo>
                    <a:pt x="125379" y="17911"/>
                  </a:lnTo>
                  <a:lnTo>
                    <a:pt x="125379" y="6717"/>
                  </a:lnTo>
                  <a:cubicBezTo>
                    <a:pt x="125379" y="3134"/>
                    <a:pt x="122245" y="0"/>
                    <a:pt x="118662" y="0"/>
                  </a:cubicBezTo>
                  <a:lnTo>
                    <a:pt x="6717" y="0"/>
                  </a:lnTo>
                  <a:cubicBezTo>
                    <a:pt x="3135" y="0"/>
                    <a:pt x="0" y="3134"/>
                    <a:pt x="0" y="6717"/>
                  </a:cubicBezTo>
                  <a:lnTo>
                    <a:pt x="0" y="132096"/>
                  </a:lnTo>
                  <a:cubicBezTo>
                    <a:pt x="0" y="135678"/>
                    <a:pt x="3135" y="138812"/>
                    <a:pt x="6717" y="138812"/>
                  </a:cubicBezTo>
                  <a:lnTo>
                    <a:pt x="26867" y="138812"/>
                  </a:lnTo>
                  <a:lnTo>
                    <a:pt x="26867" y="145529"/>
                  </a:lnTo>
                  <a:cubicBezTo>
                    <a:pt x="26867" y="149111"/>
                    <a:pt x="30001" y="152246"/>
                    <a:pt x="33584" y="152246"/>
                  </a:cubicBezTo>
                  <a:lnTo>
                    <a:pt x="145529" y="152246"/>
                  </a:lnTo>
                  <a:cubicBezTo>
                    <a:pt x="149112" y="152246"/>
                    <a:pt x="152246" y="149111"/>
                    <a:pt x="152246" y="145529"/>
                  </a:cubicBezTo>
                  <a:lnTo>
                    <a:pt x="152246" y="24628"/>
                  </a:lnTo>
                  <a:cubicBezTo>
                    <a:pt x="152246" y="20598"/>
                    <a:pt x="149559" y="17911"/>
                    <a:pt x="145529" y="17911"/>
                  </a:cubicBezTo>
                  <a:close/>
                  <a:moveTo>
                    <a:pt x="4478" y="132096"/>
                  </a:moveTo>
                  <a:lnTo>
                    <a:pt x="4478" y="6717"/>
                  </a:lnTo>
                  <a:cubicBezTo>
                    <a:pt x="4478" y="5373"/>
                    <a:pt x="5373" y="4478"/>
                    <a:pt x="6717" y="4478"/>
                  </a:cubicBezTo>
                  <a:lnTo>
                    <a:pt x="118662" y="4478"/>
                  </a:lnTo>
                  <a:cubicBezTo>
                    <a:pt x="120006" y="4478"/>
                    <a:pt x="120901" y="5373"/>
                    <a:pt x="120901" y="6717"/>
                  </a:cubicBezTo>
                  <a:lnTo>
                    <a:pt x="120901" y="132096"/>
                  </a:lnTo>
                  <a:cubicBezTo>
                    <a:pt x="120901" y="133439"/>
                    <a:pt x="120006" y="134335"/>
                    <a:pt x="118662" y="134335"/>
                  </a:cubicBezTo>
                  <a:lnTo>
                    <a:pt x="6717" y="134335"/>
                  </a:lnTo>
                  <a:cubicBezTo>
                    <a:pt x="5821" y="134335"/>
                    <a:pt x="4478" y="133439"/>
                    <a:pt x="4478" y="132096"/>
                  </a:cubicBezTo>
                  <a:close/>
                  <a:moveTo>
                    <a:pt x="147768" y="145529"/>
                  </a:moveTo>
                  <a:cubicBezTo>
                    <a:pt x="147768" y="146872"/>
                    <a:pt x="146873" y="147768"/>
                    <a:pt x="145529" y="147768"/>
                  </a:cubicBezTo>
                  <a:lnTo>
                    <a:pt x="33584" y="147768"/>
                  </a:lnTo>
                  <a:cubicBezTo>
                    <a:pt x="32240" y="147768"/>
                    <a:pt x="31345" y="146872"/>
                    <a:pt x="31345" y="145529"/>
                  </a:cubicBezTo>
                  <a:lnTo>
                    <a:pt x="31345" y="138812"/>
                  </a:lnTo>
                  <a:lnTo>
                    <a:pt x="118662" y="138812"/>
                  </a:lnTo>
                  <a:cubicBezTo>
                    <a:pt x="122245" y="138812"/>
                    <a:pt x="125379" y="135678"/>
                    <a:pt x="125379" y="132096"/>
                  </a:cubicBezTo>
                  <a:lnTo>
                    <a:pt x="125379" y="22389"/>
                  </a:lnTo>
                  <a:lnTo>
                    <a:pt x="145529" y="22389"/>
                  </a:lnTo>
                  <a:cubicBezTo>
                    <a:pt x="146873" y="22389"/>
                    <a:pt x="147768" y="23285"/>
                    <a:pt x="147768" y="24628"/>
                  </a:cubicBezTo>
                  <a:lnTo>
                    <a:pt x="147768" y="145529"/>
                  </a:lnTo>
                  <a:close/>
                </a:path>
              </a:pathLst>
            </a:custGeom>
            <a:solidFill>
              <a:srgbClr val="231F20"/>
            </a:solidFill>
            <a:ln w="4474" cap="flat">
              <a:noFill/>
              <a:prstDash val="solid"/>
              <a:miter/>
            </a:ln>
          </p:spPr>
          <p:txBody>
            <a:bodyPr rtlCol="0" anchor="ctr"/>
            <a:lstStyle/>
            <a:p>
              <a:endParaRPr lang="en-US"/>
            </a:p>
          </p:txBody>
        </p:sp>
        <p:sp>
          <p:nvSpPr>
            <p:cNvPr id="4070" name="Freeform: Shape 4069">
              <a:extLst>
                <a:ext uri="{FF2B5EF4-FFF2-40B4-BE49-F238E27FC236}">
                  <a16:creationId xmlns:a16="http://schemas.microsoft.com/office/drawing/2014/main" id="{CAD32FC3-FA60-4A25-BF67-F433A55E046C}"/>
                </a:ext>
              </a:extLst>
            </p:cNvPr>
            <p:cNvSpPr/>
            <p:nvPr/>
          </p:nvSpPr>
          <p:spPr>
            <a:xfrm>
              <a:off x="4564652" y="1007595"/>
              <a:ext cx="85079" cy="4478"/>
            </a:xfrm>
            <a:custGeom>
              <a:avLst/>
              <a:gdLst>
                <a:gd name="connsiteX0" fmla="*/ 85526 w 85078"/>
                <a:gd name="connsiteY0" fmla="*/ 4478 h 4477"/>
                <a:gd name="connsiteX1" fmla="*/ 2239 w 85078"/>
                <a:gd name="connsiteY1" fmla="*/ 4478 h 4477"/>
                <a:gd name="connsiteX2" fmla="*/ 0 w 85078"/>
                <a:gd name="connsiteY2" fmla="*/ 2239 h 4477"/>
                <a:gd name="connsiteX3" fmla="*/ 2239 w 85078"/>
                <a:gd name="connsiteY3" fmla="*/ 0 h 4477"/>
                <a:gd name="connsiteX4" fmla="*/ 85526 w 85078"/>
                <a:gd name="connsiteY4" fmla="*/ 0 h 4477"/>
                <a:gd name="connsiteX5" fmla="*/ 87765 w 85078"/>
                <a:gd name="connsiteY5" fmla="*/ 2239 h 4477"/>
                <a:gd name="connsiteX6" fmla="*/ 85526 w 850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8" h="4477">
                  <a:moveTo>
                    <a:pt x="85526" y="4478"/>
                  </a:moveTo>
                  <a:lnTo>
                    <a:pt x="2239" y="4478"/>
                  </a:lnTo>
                  <a:cubicBezTo>
                    <a:pt x="896" y="4478"/>
                    <a:pt x="0" y="3582"/>
                    <a:pt x="0" y="2239"/>
                  </a:cubicBezTo>
                  <a:cubicBezTo>
                    <a:pt x="0" y="896"/>
                    <a:pt x="896" y="0"/>
                    <a:pt x="2239" y="0"/>
                  </a:cubicBezTo>
                  <a:lnTo>
                    <a:pt x="85526" y="0"/>
                  </a:lnTo>
                  <a:cubicBezTo>
                    <a:pt x="86870" y="0"/>
                    <a:pt x="87765" y="896"/>
                    <a:pt x="87765" y="2239"/>
                  </a:cubicBezTo>
                  <a:cubicBezTo>
                    <a:pt x="87765" y="3582"/>
                    <a:pt x="86870" y="4478"/>
                    <a:pt x="85526" y="4478"/>
                  </a:cubicBezTo>
                  <a:close/>
                </a:path>
              </a:pathLst>
            </a:custGeom>
            <a:solidFill>
              <a:srgbClr val="231F20"/>
            </a:solidFill>
            <a:ln w="4474" cap="flat">
              <a:noFill/>
              <a:prstDash val="solid"/>
              <a:miter/>
            </a:ln>
          </p:spPr>
          <p:txBody>
            <a:bodyPr rtlCol="0" anchor="ctr"/>
            <a:lstStyle/>
            <a:p>
              <a:endParaRPr lang="en-US"/>
            </a:p>
          </p:txBody>
        </p:sp>
        <p:sp>
          <p:nvSpPr>
            <p:cNvPr id="4071" name="Freeform: Shape 4070">
              <a:extLst>
                <a:ext uri="{FF2B5EF4-FFF2-40B4-BE49-F238E27FC236}">
                  <a16:creationId xmlns:a16="http://schemas.microsoft.com/office/drawing/2014/main" id="{A4BC6558-6064-4975-A27C-42FD7DABDE7A}"/>
                </a:ext>
              </a:extLst>
            </p:cNvPr>
            <p:cNvSpPr/>
            <p:nvPr/>
          </p:nvSpPr>
          <p:spPr>
            <a:xfrm>
              <a:off x="4564652" y="1061329"/>
              <a:ext cx="85079" cy="4478"/>
            </a:xfrm>
            <a:custGeom>
              <a:avLst/>
              <a:gdLst>
                <a:gd name="connsiteX0" fmla="*/ 85526 w 85078"/>
                <a:gd name="connsiteY0" fmla="*/ 4478 h 4477"/>
                <a:gd name="connsiteX1" fmla="*/ 2239 w 85078"/>
                <a:gd name="connsiteY1" fmla="*/ 4478 h 4477"/>
                <a:gd name="connsiteX2" fmla="*/ 0 w 85078"/>
                <a:gd name="connsiteY2" fmla="*/ 2239 h 4477"/>
                <a:gd name="connsiteX3" fmla="*/ 2239 w 85078"/>
                <a:gd name="connsiteY3" fmla="*/ 0 h 4477"/>
                <a:gd name="connsiteX4" fmla="*/ 85526 w 85078"/>
                <a:gd name="connsiteY4" fmla="*/ 0 h 4477"/>
                <a:gd name="connsiteX5" fmla="*/ 87765 w 85078"/>
                <a:gd name="connsiteY5" fmla="*/ 2239 h 4477"/>
                <a:gd name="connsiteX6" fmla="*/ 85526 w 850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8" h="4477">
                  <a:moveTo>
                    <a:pt x="85526" y="4478"/>
                  </a:moveTo>
                  <a:lnTo>
                    <a:pt x="2239" y="4478"/>
                  </a:lnTo>
                  <a:cubicBezTo>
                    <a:pt x="896" y="4478"/>
                    <a:pt x="0" y="3582"/>
                    <a:pt x="0" y="2239"/>
                  </a:cubicBezTo>
                  <a:cubicBezTo>
                    <a:pt x="0" y="896"/>
                    <a:pt x="896" y="0"/>
                    <a:pt x="2239" y="0"/>
                  </a:cubicBezTo>
                  <a:lnTo>
                    <a:pt x="85526" y="0"/>
                  </a:lnTo>
                  <a:cubicBezTo>
                    <a:pt x="86870" y="0"/>
                    <a:pt x="87765" y="896"/>
                    <a:pt x="87765" y="2239"/>
                  </a:cubicBezTo>
                  <a:cubicBezTo>
                    <a:pt x="87765" y="3582"/>
                    <a:pt x="86870" y="4478"/>
                    <a:pt x="85526" y="4478"/>
                  </a:cubicBezTo>
                  <a:close/>
                </a:path>
              </a:pathLst>
            </a:custGeom>
            <a:solidFill>
              <a:srgbClr val="231F20"/>
            </a:solidFill>
            <a:ln w="4474" cap="flat">
              <a:noFill/>
              <a:prstDash val="solid"/>
              <a:miter/>
            </a:ln>
          </p:spPr>
          <p:txBody>
            <a:bodyPr rtlCol="0" anchor="ctr"/>
            <a:lstStyle/>
            <a:p>
              <a:endParaRPr lang="en-US"/>
            </a:p>
          </p:txBody>
        </p:sp>
        <p:sp>
          <p:nvSpPr>
            <p:cNvPr id="4072" name="Freeform: Shape 4071">
              <a:extLst>
                <a:ext uri="{FF2B5EF4-FFF2-40B4-BE49-F238E27FC236}">
                  <a16:creationId xmlns:a16="http://schemas.microsoft.com/office/drawing/2014/main" id="{7E12084C-DEC0-4689-ACD6-93CC54221633}"/>
                </a:ext>
              </a:extLst>
            </p:cNvPr>
            <p:cNvSpPr/>
            <p:nvPr/>
          </p:nvSpPr>
          <p:spPr>
            <a:xfrm>
              <a:off x="4564652" y="1034462"/>
              <a:ext cx="67167" cy="4478"/>
            </a:xfrm>
            <a:custGeom>
              <a:avLst/>
              <a:gdLst>
                <a:gd name="connsiteX0" fmla="*/ 67615 w 67167"/>
                <a:gd name="connsiteY0" fmla="*/ 4478 h 4477"/>
                <a:gd name="connsiteX1" fmla="*/ 2239 w 67167"/>
                <a:gd name="connsiteY1" fmla="*/ 4478 h 4477"/>
                <a:gd name="connsiteX2" fmla="*/ 0 w 67167"/>
                <a:gd name="connsiteY2" fmla="*/ 2239 h 4477"/>
                <a:gd name="connsiteX3" fmla="*/ 2239 w 67167"/>
                <a:gd name="connsiteY3" fmla="*/ 0 h 4477"/>
                <a:gd name="connsiteX4" fmla="*/ 67615 w 67167"/>
                <a:gd name="connsiteY4" fmla="*/ 0 h 4477"/>
                <a:gd name="connsiteX5" fmla="*/ 69854 w 67167"/>
                <a:gd name="connsiteY5" fmla="*/ 2239 h 4477"/>
                <a:gd name="connsiteX6" fmla="*/ 67615 w 67167"/>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67" h="4477">
                  <a:moveTo>
                    <a:pt x="67615" y="4478"/>
                  </a:moveTo>
                  <a:lnTo>
                    <a:pt x="2239" y="4478"/>
                  </a:lnTo>
                  <a:cubicBezTo>
                    <a:pt x="896" y="4478"/>
                    <a:pt x="0" y="3582"/>
                    <a:pt x="0" y="2239"/>
                  </a:cubicBezTo>
                  <a:cubicBezTo>
                    <a:pt x="0" y="896"/>
                    <a:pt x="896" y="0"/>
                    <a:pt x="2239" y="0"/>
                  </a:cubicBezTo>
                  <a:lnTo>
                    <a:pt x="67615" y="0"/>
                  </a:lnTo>
                  <a:cubicBezTo>
                    <a:pt x="68959" y="0"/>
                    <a:pt x="69854" y="896"/>
                    <a:pt x="69854" y="2239"/>
                  </a:cubicBezTo>
                  <a:cubicBezTo>
                    <a:pt x="69854" y="3582"/>
                    <a:pt x="68959" y="4478"/>
                    <a:pt x="67615" y="4478"/>
                  </a:cubicBezTo>
                  <a:close/>
                </a:path>
              </a:pathLst>
            </a:custGeom>
            <a:solidFill>
              <a:srgbClr val="231F20"/>
            </a:solidFill>
            <a:ln w="4474" cap="flat">
              <a:noFill/>
              <a:prstDash val="solid"/>
              <a:miter/>
            </a:ln>
          </p:spPr>
          <p:txBody>
            <a:bodyPr rtlCol="0" anchor="ctr"/>
            <a:lstStyle/>
            <a:p>
              <a:endParaRPr lang="en-US"/>
            </a:p>
          </p:txBody>
        </p:sp>
      </p:grpSp>
      <p:sp>
        <p:nvSpPr>
          <p:cNvPr id="4073" name="Freeform: Shape 4072">
            <a:extLst>
              <a:ext uri="{FF2B5EF4-FFF2-40B4-BE49-F238E27FC236}">
                <a16:creationId xmlns:a16="http://schemas.microsoft.com/office/drawing/2014/main" id="{AD0AEB59-8E80-48BC-8EDB-65BB0FEB5B38}"/>
              </a:ext>
              <a:ext uri="{C183D7F6-B498-43B3-948B-1728B52AA6E4}">
                <adec:decorative xmlns:adec="http://schemas.microsoft.com/office/drawing/2017/decorative" val="1"/>
              </a:ext>
            </a:extLst>
          </p:cNvPr>
          <p:cNvSpPr>
            <a:spLocks noChangeAspect="1"/>
          </p:cNvSpPr>
          <p:nvPr/>
        </p:nvSpPr>
        <p:spPr>
          <a:xfrm>
            <a:off x="4776895" y="1729600"/>
            <a:ext cx="152246" cy="138812"/>
          </a:xfrm>
          <a:custGeom>
            <a:avLst/>
            <a:gdLst>
              <a:gd name="connsiteX0" fmla="*/ 38509 w 152245"/>
              <a:gd name="connsiteY0" fmla="*/ 138812 h 138812"/>
              <a:gd name="connsiteX1" fmla="*/ 0 w 152245"/>
              <a:gd name="connsiteY1" fmla="*/ 100303 h 138812"/>
              <a:gd name="connsiteX2" fmla="*/ 11195 w 152245"/>
              <a:gd name="connsiteY2" fmla="*/ 72988 h 138812"/>
              <a:gd name="connsiteX3" fmla="*/ 53734 w 152245"/>
              <a:gd name="connsiteY3" fmla="*/ 30449 h 138812"/>
              <a:gd name="connsiteX4" fmla="*/ 56868 w 152245"/>
              <a:gd name="connsiteY4" fmla="*/ 30449 h 138812"/>
              <a:gd name="connsiteX5" fmla="*/ 56868 w 152245"/>
              <a:gd name="connsiteY5" fmla="*/ 33584 h 138812"/>
              <a:gd name="connsiteX6" fmla="*/ 14329 w 152245"/>
              <a:gd name="connsiteY6" fmla="*/ 76123 h 138812"/>
              <a:gd name="connsiteX7" fmla="*/ 4478 w 152245"/>
              <a:gd name="connsiteY7" fmla="*/ 100303 h 138812"/>
              <a:gd name="connsiteX8" fmla="*/ 38509 w 152245"/>
              <a:gd name="connsiteY8" fmla="*/ 134335 h 138812"/>
              <a:gd name="connsiteX9" fmla="*/ 62689 w 152245"/>
              <a:gd name="connsiteY9" fmla="*/ 124483 h 138812"/>
              <a:gd name="connsiteX10" fmla="*/ 140604 w 152245"/>
              <a:gd name="connsiteY10" fmla="*/ 47017 h 138812"/>
              <a:gd name="connsiteX11" fmla="*/ 147768 w 152245"/>
              <a:gd name="connsiteY11" fmla="*/ 29554 h 138812"/>
              <a:gd name="connsiteX12" fmla="*/ 122692 w 152245"/>
              <a:gd name="connsiteY12" fmla="*/ 4478 h 138812"/>
              <a:gd name="connsiteX13" fmla="*/ 105229 w 152245"/>
              <a:gd name="connsiteY13" fmla="*/ 11642 h 138812"/>
              <a:gd name="connsiteX14" fmla="*/ 28658 w 152245"/>
              <a:gd name="connsiteY14" fmla="*/ 87765 h 138812"/>
              <a:gd name="connsiteX15" fmla="*/ 24180 w 152245"/>
              <a:gd name="connsiteY15" fmla="*/ 98960 h 138812"/>
              <a:gd name="connsiteX16" fmla="*/ 40300 w 152245"/>
              <a:gd name="connsiteY16" fmla="*/ 114632 h 138812"/>
              <a:gd name="connsiteX17" fmla="*/ 51495 w 152245"/>
              <a:gd name="connsiteY17" fmla="*/ 110154 h 138812"/>
              <a:gd name="connsiteX18" fmla="*/ 93139 w 152245"/>
              <a:gd name="connsiteY18" fmla="*/ 68958 h 138812"/>
              <a:gd name="connsiteX19" fmla="*/ 96273 w 152245"/>
              <a:gd name="connsiteY19" fmla="*/ 68958 h 138812"/>
              <a:gd name="connsiteX20" fmla="*/ 96273 w 152245"/>
              <a:gd name="connsiteY20" fmla="*/ 72093 h 138812"/>
              <a:gd name="connsiteX21" fmla="*/ 54629 w 152245"/>
              <a:gd name="connsiteY21" fmla="*/ 113289 h 138812"/>
              <a:gd name="connsiteX22" fmla="*/ 40300 w 152245"/>
              <a:gd name="connsiteY22" fmla="*/ 119110 h 138812"/>
              <a:gd name="connsiteX23" fmla="*/ 19703 w 152245"/>
              <a:gd name="connsiteY23" fmla="*/ 98960 h 138812"/>
              <a:gd name="connsiteX24" fmla="*/ 25524 w 152245"/>
              <a:gd name="connsiteY24" fmla="*/ 84631 h 138812"/>
              <a:gd name="connsiteX25" fmla="*/ 102094 w 152245"/>
              <a:gd name="connsiteY25" fmla="*/ 8508 h 138812"/>
              <a:gd name="connsiteX26" fmla="*/ 123140 w 152245"/>
              <a:gd name="connsiteY26" fmla="*/ 0 h 138812"/>
              <a:gd name="connsiteX27" fmla="*/ 152693 w 152245"/>
              <a:gd name="connsiteY27" fmla="*/ 29554 h 138812"/>
              <a:gd name="connsiteX28" fmla="*/ 144186 w 152245"/>
              <a:gd name="connsiteY28" fmla="*/ 50152 h 138812"/>
              <a:gd name="connsiteX29" fmla="*/ 66272 w 152245"/>
              <a:gd name="connsiteY29" fmla="*/ 127618 h 138812"/>
              <a:gd name="connsiteX30" fmla="*/ 38509 w 152245"/>
              <a:gd name="connsiteY30" fmla="*/ 138812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245" h="138812">
                <a:moveTo>
                  <a:pt x="38509" y="138812"/>
                </a:moveTo>
                <a:cubicBezTo>
                  <a:pt x="17464" y="138812"/>
                  <a:pt x="0" y="121797"/>
                  <a:pt x="0" y="100303"/>
                </a:cubicBezTo>
                <a:cubicBezTo>
                  <a:pt x="0" y="90004"/>
                  <a:pt x="4030" y="80601"/>
                  <a:pt x="11195" y="72988"/>
                </a:cubicBezTo>
                <a:lnTo>
                  <a:pt x="53734" y="30449"/>
                </a:lnTo>
                <a:cubicBezTo>
                  <a:pt x="54629" y="29554"/>
                  <a:pt x="55973" y="29554"/>
                  <a:pt x="56868" y="30449"/>
                </a:cubicBezTo>
                <a:cubicBezTo>
                  <a:pt x="57764" y="31345"/>
                  <a:pt x="57764" y="32688"/>
                  <a:pt x="56868" y="33584"/>
                </a:cubicBezTo>
                <a:lnTo>
                  <a:pt x="14329" y="76123"/>
                </a:lnTo>
                <a:cubicBezTo>
                  <a:pt x="8060" y="82392"/>
                  <a:pt x="4478" y="90900"/>
                  <a:pt x="4478" y="100303"/>
                </a:cubicBezTo>
                <a:cubicBezTo>
                  <a:pt x="4478" y="119110"/>
                  <a:pt x="19703" y="134335"/>
                  <a:pt x="38509" y="134335"/>
                </a:cubicBezTo>
                <a:cubicBezTo>
                  <a:pt x="47465" y="134335"/>
                  <a:pt x="55973" y="130752"/>
                  <a:pt x="62689" y="124483"/>
                </a:cubicBezTo>
                <a:lnTo>
                  <a:pt x="140604" y="47017"/>
                </a:lnTo>
                <a:cubicBezTo>
                  <a:pt x="145529" y="42091"/>
                  <a:pt x="147768" y="36270"/>
                  <a:pt x="147768" y="29554"/>
                </a:cubicBezTo>
                <a:cubicBezTo>
                  <a:pt x="147768" y="15672"/>
                  <a:pt x="136573" y="4478"/>
                  <a:pt x="122692" y="4478"/>
                </a:cubicBezTo>
                <a:cubicBezTo>
                  <a:pt x="115976" y="4478"/>
                  <a:pt x="109707" y="7165"/>
                  <a:pt x="105229" y="11642"/>
                </a:cubicBezTo>
                <a:lnTo>
                  <a:pt x="28658" y="87765"/>
                </a:lnTo>
                <a:cubicBezTo>
                  <a:pt x="25524" y="90900"/>
                  <a:pt x="24180" y="94930"/>
                  <a:pt x="24180" y="98960"/>
                </a:cubicBezTo>
                <a:cubicBezTo>
                  <a:pt x="24180" y="107915"/>
                  <a:pt x="31345" y="114632"/>
                  <a:pt x="40300" y="114632"/>
                </a:cubicBezTo>
                <a:cubicBezTo>
                  <a:pt x="44778" y="114632"/>
                  <a:pt x="48360" y="112841"/>
                  <a:pt x="51495" y="110154"/>
                </a:cubicBezTo>
                <a:lnTo>
                  <a:pt x="93139" y="68958"/>
                </a:lnTo>
                <a:cubicBezTo>
                  <a:pt x="94034" y="68063"/>
                  <a:pt x="95377" y="68063"/>
                  <a:pt x="96273" y="68958"/>
                </a:cubicBezTo>
                <a:cubicBezTo>
                  <a:pt x="97169" y="69854"/>
                  <a:pt x="97169" y="71197"/>
                  <a:pt x="96273" y="72093"/>
                </a:cubicBezTo>
                <a:lnTo>
                  <a:pt x="54629" y="113289"/>
                </a:lnTo>
                <a:cubicBezTo>
                  <a:pt x="50599" y="117319"/>
                  <a:pt x="45674" y="119110"/>
                  <a:pt x="40300" y="119110"/>
                </a:cubicBezTo>
                <a:cubicBezTo>
                  <a:pt x="29106" y="119110"/>
                  <a:pt x="19703" y="110154"/>
                  <a:pt x="19703" y="98960"/>
                </a:cubicBezTo>
                <a:cubicBezTo>
                  <a:pt x="19703" y="93586"/>
                  <a:pt x="21941" y="88213"/>
                  <a:pt x="25524" y="84631"/>
                </a:cubicBezTo>
                <a:lnTo>
                  <a:pt x="102094" y="8508"/>
                </a:lnTo>
                <a:cubicBezTo>
                  <a:pt x="107468" y="3134"/>
                  <a:pt x="115080" y="0"/>
                  <a:pt x="123140" y="0"/>
                </a:cubicBezTo>
                <a:cubicBezTo>
                  <a:pt x="139260" y="0"/>
                  <a:pt x="152693" y="12986"/>
                  <a:pt x="152693" y="29554"/>
                </a:cubicBezTo>
                <a:cubicBezTo>
                  <a:pt x="152693" y="37614"/>
                  <a:pt x="149559" y="44778"/>
                  <a:pt x="144186" y="50152"/>
                </a:cubicBezTo>
                <a:lnTo>
                  <a:pt x="66272" y="127618"/>
                </a:lnTo>
                <a:cubicBezTo>
                  <a:pt x="58212" y="134782"/>
                  <a:pt x="48808" y="138812"/>
                  <a:pt x="38509" y="138812"/>
                </a:cubicBezTo>
                <a:close/>
              </a:path>
            </a:pathLst>
          </a:custGeom>
          <a:solidFill>
            <a:srgbClr val="231F20"/>
          </a:solidFill>
          <a:ln w="4474" cap="flat">
            <a:noFill/>
            <a:prstDash val="solid"/>
            <a:miter/>
          </a:ln>
        </p:spPr>
        <p:txBody>
          <a:bodyPr rtlCol="0" anchor="ctr"/>
          <a:lstStyle/>
          <a:p>
            <a:endParaRPr lang="en-US"/>
          </a:p>
        </p:txBody>
      </p:sp>
      <p:sp>
        <p:nvSpPr>
          <p:cNvPr id="4074" name="Freeform: Shape 4073">
            <a:extLst>
              <a:ext uri="{FF2B5EF4-FFF2-40B4-BE49-F238E27FC236}">
                <a16:creationId xmlns:a16="http://schemas.microsoft.com/office/drawing/2014/main" id="{A43FF89E-B06F-41CF-933F-475EFB27A710}"/>
              </a:ext>
              <a:ext uri="{C183D7F6-B498-43B3-948B-1728B52AA6E4}">
                <adec:decorative xmlns:adec="http://schemas.microsoft.com/office/drawing/2017/decorative" val="1"/>
              </a:ext>
            </a:extLst>
          </p:cNvPr>
          <p:cNvSpPr>
            <a:spLocks noChangeAspect="1"/>
          </p:cNvSpPr>
          <p:nvPr/>
        </p:nvSpPr>
        <p:spPr>
          <a:xfrm>
            <a:off x="2657544" y="1729600"/>
            <a:ext cx="152246" cy="138812"/>
          </a:xfrm>
          <a:custGeom>
            <a:avLst/>
            <a:gdLst>
              <a:gd name="connsiteX0" fmla="*/ 138812 w 152245"/>
              <a:gd name="connsiteY0" fmla="*/ 40748 h 138812"/>
              <a:gd name="connsiteX1" fmla="*/ 138812 w 152245"/>
              <a:gd name="connsiteY1" fmla="*/ 15672 h 138812"/>
              <a:gd name="connsiteX2" fmla="*/ 123140 w 152245"/>
              <a:gd name="connsiteY2" fmla="*/ 0 h 138812"/>
              <a:gd name="connsiteX3" fmla="*/ 29106 w 152245"/>
              <a:gd name="connsiteY3" fmla="*/ 0 h 138812"/>
              <a:gd name="connsiteX4" fmla="*/ 13433 w 152245"/>
              <a:gd name="connsiteY4" fmla="*/ 15672 h 138812"/>
              <a:gd name="connsiteX5" fmla="*/ 13433 w 152245"/>
              <a:gd name="connsiteY5" fmla="*/ 26867 h 138812"/>
              <a:gd name="connsiteX6" fmla="*/ 0 w 152245"/>
              <a:gd name="connsiteY6" fmla="*/ 42539 h 138812"/>
              <a:gd name="connsiteX7" fmla="*/ 0 w 152245"/>
              <a:gd name="connsiteY7" fmla="*/ 123140 h 138812"/>
              <a:gd name="connsiteX8" fmla="*/ 15672 w 152245"/>
              <a:gd name="connsiteY8" fmla="*/ 138812 h 138812"/>
              <a:gd name="connsiteX9" fmla="*/ 136573 w 152245"/>
              <a:gd name="connsiteY9" fmla="*/ 138812 h 138812"/>
              <a:gd name="connsiteX10" fmla="*/ 152246 w 152245"/>
              <a:gd name="connsiteY10" fmla="*/ 123140 h 138812"/>
              <a:gd name="connsiteX11" fmla="*/ 152246 w 152245"/>
              <a:gd name="connsiteY11" fmla="*/ 55973 h 138812"/>
              <a:gd name="connsiteX12" fmla="*/ 138812 w 152245"/>
              <a:gd name="connsiteY12" fmla="*/ 40748 h 138812"/>
              <a:gd name="connsiteX13" fmla="*/ 29106 w 152245"/>
              <a:gd name="connsiteY13" fmla="*/ 4478 h 138812"/>
              <a:gd name="connsiteX14" fmla="*/ 123140 w 152245"/>
              <a:gd name="connsiteY14" fmla="*/ 4478 h 138812"/>
              <a:gd name="connsiteX15" fmla="*/ 134335 w 152245"/>
              <a:gd name="connsiteY15" fmla="*/ 15672 h 138812"/>
              <a:gd name="connsiteX16" fmla="*/ 134335 w 152245"/>
              <a:gd name="connsiteY16" fmla="*/ 40300 h 138812"/>
              <a:gd name="connsiteX17" fmla="*/ 76123 w 152245"/>
              <a:gd name="connsiteY17" fmla="*/ 40300 h 138812"/>
              <a:gd name="connsiteX18" fmla="*/ 71645 w 152245"/>
              <a:gd name="connsiteY18" fmla="*/ 35823 h 138812"/>
              <a:gd name="connsiteX19" fmla="*/ 62689 w 152245"/>
              <a:gd name="connsiteY19" fmla="*/ 26867 h 138812"/>
              <a:gd name="connsiteX20" fmla="*/ 17911 w 152245"/>
              <a:gd name="connsiteY20" fmla="*/ 26867 h 138812"/>
              <a:gd name="connsiteX21" fmla="*/ 17911 w 152245"/>
              <a:gd name="connsiteY21" fmla="*/ 15672 h 138812"/>
              <a:gd name="connsiteX22" fmla="*/ 29106 w 152245"/>
              <a:gd name="connsiteY22" fmla="*/ 4478 h 138812"/>
              <a:gd name="connsiteX23" fmla="*/ 147768 w 152245"/>
              <a:gd name="connsiteY23" fmla="*/ 123140 h 138812"/>
              <a:gd name="connsiteX24" fmla="*/ 136573 w 152245"/>
              <a:gd name="connsiteY24" fmla="*/ 134335 h 138812"/>
              <a:gd name="connsiteX25" fmla="*/ 15672 w 152245"/>
              <a:gd name="connsiteY25" fmla="*/ 134335 h 138812"/>
              <a:gd name="connsiteX26" fmla="*/ 4478 w 152245"/>
              <a:gd name="connsiteY26" fmla="*/ 123140 h 138812"/>
              <a:gd name="connsiteX27" fmla="*/ 4478 w 152245"/>
              <a:gd name="connsiteY27" fmla="*/ 42539 h 138812"/>
              <a:gd name="connsiteX28" fmla="*/ 15672 w 152245"/>
              <a:gd name="connsiteY28" fmla="*/ 31345 h 138812"/>
              <a:gd name="connsiteX29" fmla="*/ 62689 w 152245"/>
              <a:gd name="connsiteY29" fmla="*/ 31345 h 138812"/>
              <a:gd name="connsiteX30" fmla="*/ 67167 w 152245"/>
              <a:gd name="connsiteY30" fmla="*/ 35823 h 138812"/>
              <a:gd name="connsiteX31" fmla="*/ 76123 w 152245"/>
              <a:gd name="connsiteY31" fmla="*/ 44778 h 138812"/>
              <a:gd name="connsiteX32" fmla="*/ 136573 w 152245"/>
              <a:gd name="connsiteY32" fmla="*/ 44778 h 138812"/>
              <a:gd name="connsiteX33" fmla="*/ 147768 w 152245"/>
              <a:gd name="connsiteY33" fmla="*/ 55973 h 138812"/>
              <a:gd name="connsiteX34" fmla="*/ 147768 w 152245"/>
              <a:gd name="connsiteY34" fmla="*/ 12314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245" h="138812">
                <a:moveTo>
                  <a:pt x="138812" y="40748"/>
                </a:moveTo>
                <a:lnTo>
                  <a:pt x="138812" y="15672"/>
                </a:lnTo>
                <a:cubicBezTo>
                  <a:pt x="138812" y="7165"/>
                  <a:pt x="131648" y="0"/>
                  <a:pt x="123140" y="0"/>
                </a:cubicBezTo>
                <a:lnTo>
                  <a:pt x="29106" y="0"/>
                </a:lnTo>
                <a:cubicBezTo>
                  <a:pt x="20598" y="0"/>
                  <a:pt x="13433" y="7165"/>
                  <a:pt x="13433" y="15672"/>
                </a:cubicBezTo>
                <a:lnTo>
                  <a:pt x="13433" y="26867"/>
                </a:lnTo>
                <a:cubicBezTo>
                  <a:pt x="5821" y="27762"/>
                  <a:pt x="0" y="34479"/>
                  <a:pt x="0" y="42539"/>
                </a:cubicBezTo>
                <a:lnTo>
                  <a:pt x="0" y="123140"/>
                </a:lnTo>
                <a:cubicBezTo>
                  <a:pt x="0" y="131648"/>
                  <a:pt x="7164" y="138812"/>
                  <a:pt x="15672" y="138812"/>
                </a:cubicBezTo>
                <a:lnTo>
                  <a:pt x="136573" y="138812"/>
                </a:lnTo>
                <a:cubicBezTo>
                  <a:pt x="145081" y="138812"/>
                  <a:pt x="152246" y="131648"/>
                  <a:pt x="152246" y="123140"/>
                </a:cubicBezTo>
                <a:lnTo>
                  <a:pt x="152246" y="55973"/>
                </a:lnTo>
                <a:cubicBezTo>
                  <a:pt x="152246" y="47913"/>
                  <a:pt x="146425" y="41644"/>
                  <a:pt x="138812" y="40748"/>
                </a:cubicBezTo>
                <a:close/>
                <a:moveTo>
                  <a:pt x="29106" y="4478"/>
                </a:moveTo>
                <a:lnTo>
                  <a:pt x="123140" y="4478"/>
                </a:lnTo>
                <a:cubicBezTo>
                  <a:pt x="129409" y="4478"/>
                  <a:pt x="134335" y="9403"/>
                  <a:pt x="134335" y="15672"/>
                </a:cubicBezTo>
                <a:lnTo>
                  <a:pt x="134335" y="40300"/>
                </a:lnTo>
                <a:lnTo>
                  <a:pt x="76123" y="40300"/>
                </a:lnTo>
                <a:cubicBezTo>
                  <a:pt x="73436" y="40300"/>
                  <a:pt x="71645" y="38509"/>
                  <a:pt x="71645" y="35823"/>
                </a:cubicBezTo>
                <a:cubicBezTo>
                  <a:pt x="71645" y="30897"/>
                  <a:pt x="67615" y="26867"/>
                  <a:pt x="62689" y="26867"/>
                </a:cubicBezTo>
                <a:lnTo>
                  <a:pt x="17911" y="26867"/>
                </a:lnTo>
                <a:lnTo>
                  <a:pt x="17911" y="15672"/>
                </a:lnTo>
                <a:cubicBezTo>
                  <a:pt x="17911" y="9403"/>
                  <a:pt x="23285" y="4478"/>
                  <a:pt x="29106" y="4478"/>
                </a:cubicBezTo>
                <a:close/>
                <a:moveTo>
                  <a:pt x="147768" y="123140"/>
                </a:moveTo>
                <a:cubicBezTo>
                  <a:pt x="147768" y="129409"/>
                  <a:pt x="142842" y="134335"/>
                  <a:pt x="136573" y="134335"/>
                </a:cubicBezTo>
                <a:lnTo>
                  <a:pt x="15672" y="134335"/>
                </a:lnTo>
                <a:cubicBezTo>
                  <a:pt x="9403" y="134335"/>
                  <a:pt x="4478" y="129409"/>
                  <a:pt x="4478" y="123140"/>
                </a:cubicBezTo>
                <a:lnTo>
                  <a:pt x="4478" y="42539"/>
                </a:lnTo>
                <a:cubicBezTo>
                  <a:pt x="4478" y="36270"/>
                  <a:pt x="9403" y="31345"/>
                  <a:pt x="15672" y="31345"/>
                </a:cubicBezTo>
                <a:lnTo>
                  <a:pt x="62689" y="31345"/>
                </a:lnTo>
                <a:cubicBezTo>
                  <a:pt x="65376" y="31345"/>
                  <a:pt x="67167" y="33136"/>
                  <a:pt x="67167" y="35823"/>
                </a:cubicBezTo>
                <a:cubicBezTo>
                  <a:pt x="67167" y="40748"/>
                  <a:pt x="71197" y="44778"/>
                  <a:pt x="76123" y="44778"/>
                </a:cubicBezTo>
                <a:lnTo>
                  <a:pt x="136573" y="44778"/>
                </a:lnTo>
                <a:cubicBezTo>
                  <a:pt x="142842" y="44778"/>
                  <a:pt x="147768" y="49704"/>
                  <a:pt x="147768" y="55973"/>
                </a:cubicBezTo>
                <a:lnTo>
                  <a:pt x="147768" y="123140"/>
                </a:lnTo>
                <a:close/>
              </a:path>
            </a:pathLst>
          </a:custGeom>
          <a:solidFill>
            <a:srgbClr val="231F20"/>
          </a:solidFill>
          <a:ln w="4474" cap="flat">
            <a:noFill/>
            <a:prstDash val="solid"/>
            <a:miter/>
          </a:ln>
        </p:spPr>
        <p:txBody>
          <a:bodyPr rtlCol="0" anchor="ctr"/>
          <a:lstStyle/>
          <a:p>
            <a:endParaRPr lang="en-US"/>
          </a:p>
        </p:txBody>
      </p:sp>
      <p:sp>
        <p:nvSpPr>
          <p:cNvPr id="4075" name="Freeform: Shape 4074">
            <a:extLst>
              <a:ext uri="{FF2B5EF4-FFF2-40B4-BE49-F238E27FC236}">
                <a16:creationId xmlns:a16="http://schemas.microsoft.com/office/drawing/2014/main" id="{A75C96BF-7967-4EEC-A510-9250436AF094}"/>
              </a:ext>
              <a:ext uri="{C183D7F6-B498-43B3-948B-1728B52AA6E4}">
                <adec:decorative xmlns:adec="http://schemas.microsoft.com/office/drawing/2017/decorative" val="1"/>
              </a:ext>
            </a:extLst>
          </p:cNvPr>
          <p:cNvSpPr>
            <a:spLocks noChangeAspect="1"/>
          </p:cNvSpPr>
          <p:nvPr/>
        </p:nvSpPr>
        <p:spPr>
          <a:xfrm>
            <a:off x="4247169" y="1729600"/>
            <a:ext cx="152246" cy="125379"/>
          </a:xfrm>
          <a:custGeom>
            <a:avLst/>
            <a:gdLst>
              <a:gd name="connsiteX0" fmla="*/ 136573 w 152245"/>
              <a:gd name="connsiteY0" fmla="*/ 0 h 125378"/>
              <a:gd name="connsiteX1" fmla="*/ 15672 w 152245"/>
              <a:gd name="connsiteY1" fmla="*/ 0 h 125378"/>
              <a:gd name="connsiteX2" fmla="*/ 0 w 152245"/>
              <a:gd name="connsiteY2" fmla="*/ 15672 h 125378"/>
              <a:gd name="connsiteX3" fmla="*/ 0 w 152245"/>
              <a:gd name="connsiteY3" fmla="*/ 17016 h 125378"/>
              <a:gd name="connsiteX4" fmla="*/ 0 w 152245"/>
              <a:gd name="connsiteY4" fmla="*/ 109707 h 125378"/>
              <a:gd name="connsiteX5" fmla="*/ 15672 w 152245"/>
              <a:gd name="connsiteY5" fmla="*/ 125379 h 125378"/>
              <a:gd name="connsiteX6" fmla="*/ 136573 w 152245"/>
              <a:gd name="connsiteY6" fmla="*/ 125379 h 125378"/>
              <a:gd name="connsiteX7" fmla="*/ 152246 w 152245"/>
              <a:gd name="connsiteY7" fmla="*/ 109707 h 125378"/>
              <a:gd name="connsiteX8" fmla="*/ 152246 w 152245"/>
              <a:gd name="connsiteY8" fmla="*/ 15672 h 125378"/>
              <a:gd name="connsiteX9" fmla="*/ 136573 w 152245"/>
              <a:gd name="connsiteY9" fmla="*/ 0 h 125378"/>
              <a:gd name="connsiteX10" fmla="*/ 15672 w 152245"/>
              <a:gd name="connsiteY10" fmla="*/ 4478 h 125378"/>
              <a:gd name="connsiteX11" fmla="*/ 136573 w 152245"/>
              <a:gd name="connsiteY11" fmla="*/ 4478 h 125378"/>
              <a:gd name="connsiteX12" fmla="*/ 147768 w 152245"/>
              <a:gd name="connsiteY12" fmla="*/ 15225 h 125378"/>
              <a:gd name="connsiteX13" fmla="*/ 83735 w 152245"/>
              <a:gd name="connsiteY13" fmla="*/ 65824 h 125378"/>
              <a:gd name="connsiteX14" fmla="*/ 68958 w 152245"/>
              <a:gd name="connsiteY14" fmla="*/ 65824 h 125378"/>
              <a:gd name="connsiteX15" fmla="*/ 4478 w 152245"/>
              <a:gd name="connsiteY15" fmla="*/ 15225 h 125378"/>
              <a:gd name="connsiteX16" fmla="*/ 15672 w 152245"/>
              <a:gd name="connsiteY16" fmla="*/ 4478 h 125378"/>
              <a:gd name="connsiteX17" fmla="*/ 136573 w 152245"/>
              <a:gd name="connsiteY17" fmla="*/ 120901 h 125378"/>
              <a:gd name="connsiteX18" fmla="*/ 15672 w 152245"/>
              <a:gd name="connsiteY18" fmla="*/ 120901 h 125378"/>
              <a:gd name="connsiteX19" fmla="*/ 4478 w 152245"/>
              <a:gd name="connsiteY19" fmla="*/ 109707 h 125378"/>
              <a:gd name="connsiteX20" fmla="*/ 4478 w 152245"/>
              <a:gd name="connsiteY20" fmla="*/ 21046 h 125378"/>
              <a:gd name="connsiteX21" fmla="*/ 65824 w 152245"/>
              <a:gd name="connsiteY21" fmla="*/ 69406 h 125378"/>
              <a:gd name="connsiteX22" fmla="*/ 76123 w 152245"/>
              <a:gd name="connsiteY22" fmla="*/ 72541 h 125378"/>
              <a:gd name="connsiteX23" fmla="*/ 86422 w 152245"/>
              <a:gd name="connsiteY23" fmla="*/ 68958 h 125378"/>
              <a:gd name="connsiteX24" fmla="*/ 147768 w 152245"/>
              <a:gd name="connsiteY24" fmla="*/ 20598 h 125378"/>
              <a:gd name="connsiteX25" fmla="*/ 147768 w 152245"/>
              <a:gd name="connsiteY25" fmla="*/ 109259 h 125378"/>
              <a:gd name="connsiteX26" fmla="*/ 136573 w 152245"/>
              <a:gd name="connsiteY26"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245" h="125378">
                <a:moveTo>
                  <a:pt x="136573" y="0"/>
                </a:moveTo>
                <a:lnTo>
                  <a:pt x="15672" y="0"/>
                </a:lnTo>
                <a:cubicBezTo>
                  <a:pt x="7164" y="0"/>
                  <a:pt x="0" y="6717"/>
                  <a:pt x="0" y="15672"/>
                </a:cubicBezTo>
                <a:cubicBezTo>
                  <a:pt x="0" y="16120"/>
                  <a:pt x="0" y="16568"/>
                  <a:pt x="0" y="17016"/>
                </a:cubicBezTo>
                <a:lnTo>
                  <a:pt x="0" y="109707"/>
                </a:lnTo>
                <a:cubicBezTo>
                  <a:pt x="0" y="118214"/>
                  <a:pt x="7164" y="125379"/>
                  <a:pt x="15672" y="125379"/>
                </a:cubicBezTo>
                <a:lnTo>
                  <a:pt x="136573" y="125379"/>
                </a:lnTo>
                <a:cubicBezTo>
                  <a:pt x="145081" y="125379"/>
                  <a:pt x="152246" y="118214"/>
                  <a:pt x="152246" y="109707"/>
                </a:cubicBezTo>
                <a:lnTo>
                  <a:pt x="152246" y="15672"/>
                </a:lnTo>
                <a:cubicBezTo>
                  <a:pt x="152246" y="7165"/>
                  <a:pt x="145081" y="0"/>
                  <a:pt x="136573" y="0"/>
                </a:cubicBezTo>
                <a:close/>
                <a:moveTo>
                  <a:pt x="15672" y="4478"/>
                </a:moveTo>
                <a:lnTo>
                  <a:pt x="136573" y="4478"/>
                </a:lnTo>
                <a:cubicBezTo>
                  <a:pt x="142395" y="4478"/>
                  <a:pt x="147320" y="9403"/>
                  <a:pt x="147768" y="15225"/>
                </a:cubicBezTo>
                <a:lnTo>
                  <a:pt x="83735" y="65824"/>
                </a:lnTo>
                <a:cubicBezTo>
                  <a:pt x="79257" y="68958"/>
                  <a:pt x="72988" y="68958"/>
                  <a:pt x="68958" y="65824"/>
                </a:cubicBezTo>
                <a:lnTo>
                  <a:pt x="4478" y="15225"/>
                </a:lnTo>
                <a:cubicBezTo>
                  <a:pt x="4478" y="9403"/>
                  <a:pt x="9403" y="4478"/>
                  <a:pt x="15672" y="4478"/>
                </a:cubicBezTo>
                <a:close/>
                <a:moveTo>
                  <a:pt x="136573" y="120901"/>
                </a:moveTo>
                <a:lnTo>
                  <a:pt x="15672" y="120901"/>
                </a:lnTo>
                <a:cubicBezTo>
                  <a:pt x="9403" y="120901"/>
                  <a:pt x="4478" y="115975"/>
                  <a:pt x="4478" y="109707"/>
                </a:cubicBezTo>
                <a:lnTo>
                  <a:pt x="4478" y="21046"/>
                </a:lnTo>
                <a:lnTo>
                  <a:pt x="65824" y="69406"/>
                </a:lnTo>
                <a:cubicBezTo>
                  <a:pt x="68958" y="71645"/>
                  <a:pt x="72093" y="72541"/>
                  <a:pt x="76123" y="72541"/>
                </a:cubicBezTo>
                <a:cubicBezTo>
                  <a:pt x="79705" y="72541"/>
                  <a:pt x="83287" y="71197"/>
                  <a:pt x="86422" y="68958"/>
                </a:cubicBezTo>
                <a:lnTo>
                  <a:pt x="147768" y="20598"/>
                </a:lnTo>
                <a:lnTo>
                  <a:pt x="147768" y="109259"/>
                </a:lnTo>
                <a:cubicBezTo>
                  <a:pt x="147768" y="115975"/>
                  <a:pt x="142395" y="120901"/>
                  <a:pt x="136573" y="120901"/>
                </a:cubicBezTo>
                <a:close/>
              </a:path>
            </a:pathLst>
          </a:custGeom>
          <a:solidFill>
            <a:srgbClr val="231F20"/>
          </a:solidFill>
          <a:ln w="4474" cap="flat">
            <a:noFill/>
            <a:prstDash val="solid"/>
            <a:miter/>
          </a:ln>
        </p:spPr>
        <p:txBody>
          <a:bodyPr rtlCol="0" anchor="ctr"/>
          <a:lstStyle/>
          <a:p>
            <a:endParaRPr lang="en-US"/>
          </a:p>
        </p:txBody>
      </p:sp>
      <p:grpSp>
        <p:nvGrpSpPr>
          <p:cNvPr id="4076" name="Group 4075">
            <a:extLst>
              <a:ext uri="{FF2B5EF4-FFF2-40B4-BE49-F238E27FC236}">
                <a16:creationId xmlns:a16="http://schemas.microsoft.com/office/drawing/2014/main" id="{9E9C60E2-1626-4067-99CD-F40247C1A14D}"/>
              </a:ext>
              <a:ext uri="{C183D7F6-B498-43B3-948B-1728B52AA6E4}">
                <adec:decorative xmlns:adec="http://schemas.microsoft.com/office/drawing/2017/decorative" val="1"/>
              </a:ext>
            </a:extLst>
          </p:cNvPr>
          <p:cNvGrpSpPr>
            <a:grpSpLocks noChangeAspect="1"/>
          </p:cNvGrpSpPr>
          <p:nvPr/>
        </p:nvGrpSpPr>
        <p:grpSpPr>
          <a:xfrm>
            <a:off x="5569469" y="1716167"/>
            <a:ext cx="125379" cy="152246"/>
            <a:chOff x="5610223" y="980728"/>
            <a:chExt cx="125379" cy="152246"/>
          </a:xfrm>
        </p:grpSpPr>
        <p:sp>
          <p:nvSpPr>
            <p:cNvPr id="4077" name="Freeform: Shape 4076">
              <a:extLst>
                <a:ext uri="{FF2B5EF4-FFF2-40B4-BE49-F238E27FC236}">
                  <a16:creationId xmlns:a16="http://schemas.microsoft.com/office/drawing/2014/main" id="{50A340C4-C881-4C58-A327-A16BE54D2FA0}"/>
                </a:ext>
              </a:extLst>
            </p:cNvPr>
            <p:cNvSpPr/>
            <p:nvPr/>
          </p:nvSpPr>
          <p:spPr>
            <a:xfrm>
              <a:off x="5610223" y="980728"/>
              <a:ext cx="125379" cy="152246"/>
            </a:xfrm>
            <a:custGeom>
              <a:avLst/>
              <a:gdLst>
                <a:gd name="connsiteX0" fmla="*/ 121796 w 125378"/>
                <a:gd name="connsiteY0" fmla="*/ 54629 h 152245"/>
                <a:gd name="connsiteX1" fmla="*/ 121349 w 125378"/>
                <a:gd name="connsiteY1" fmla="*/ 54182 h 152245"/>
                <a:gd name="connsiteX2" fmla="*/ 120453 w 125378"/>
                <a:gd name="connsiteY2" fmla="*/ 52838 h 152245"/>
                <a:gd name="connsiteX3" fmla="*/ 71645 w 125378"/>
                <a:gd name="connsiteY3" fmla="*/ 4478 h 152245"/>
                <a:gd name="connsiteX4" fmla="*/ 71197 w 125378"/>
                <a:gd name="connsiteY4" fmla="*/ 4030 h 152245"/>
                <a:gd name="connsiteX5" fmla="*/ 70750 w 125378"/>
                <a:gd name="connsiteY5" fmla="*/ 3582 h 152245"/>
                <a:gd name="connsiteX6" fmla="*/ 60898 w 125378"/>
                <a:gd name="connsiteY6" fmla="*/ 0 h 152245"/>
                <a:gd name="connsiteX7" fmla="*/ 11195 w 125378"/>
                <a:gd name="connsiteY7" fmla="*/ 0 h 152245"/>
                <a:gd name="connsiteX8" fmla="*/ 0 w 125378"/>
                <a:gd name="connsiteY8" fmla="*/ 11195 h 152245"/>
                <a:gd name="connsiteX9" fmla="*/ 0 w 125378"/>
                <a:gd name="connsiteY9" fmla="*/ 141499 h 152245"/>
                <a:gd name="connsiteX10" fmla="*/ 11195 w 125378"/>
                <a:gd name="connsiteY10" fmla="*/ 152694 h 152245"/>
                <a:gd name="connsiteX11" fmla="*/ 114184 w 125378"/>
                <a:gd name="connsiteY11" fmla="*/ 152694 h 152245"/>
                <a:gd name="connsiteX12" fmla="*/ 125379 w 125378"/>
                <a:gd name="connsiteY12" fmla="*/ 141499 h 152245"/>
                <a:gd name="connsiteX13" fmla="*/ 125379 w 125378"/>
                <a:gd name="connsiteY13" fmla="*/ 64033 h 152245"/>
                <a:gd name="connsiteX14" fmla="*/ 121796 w 125378"/>
                <a:gd name="connsiteY14" fmla="*/ 54629 h 152245"/>
                <a:gd name="connsiteX15" fmla="*/ 114632 w 125378"/>
                <a:gd name="connsiteY15" fmla="*/ 53734 h 152245"/>
                <a:gd name="connsiteX16" fmla="*/ 82392 w 125378"/>
                <a:gd name="connsiteY16" fmla="*/ 53734 h 152245"/>
                <a:gd name="connsiteX17" fmla="*/ 71197 w 125378"/>
                <a:gd name="connsiteY17" fmla="*/ 42539 h 152245"/>
                <a:gd name="connsiteX18" fmla="*/ 71197 w 125378"/>
                <a:gd name="connsiteY18" fmla="*/ 10747 h 152245"/>
                <a:gd name="connsiteX19" fmla="*/ 114632 w 125378"/>
                <a:gd name="connsiteY19" fmla="*/ 53734 h 152245"/>
                <a:gd name="connsiteX20" fmla="*/ 120453 w 125378"/>
                <a:gd name="connsiteY20" fmla="*/ 141499 h 152245"/>
                <a:gd name="connsiteX21" fmla="*/ 113737 w 125378"/>
                <a:gd name="connsiteY21" fmla="*/ 148216 h 152245"/>
                <a:gd name="connsiteX22" fmla="*/ 10747 w 125378"/>
                <a:gd name="connsiteY22" fmla="*/ 148216 h 152245"/>
                <a:gd name="connsiteX23" fmla="*/ 4030 w 125378"/>
                <a:gd name="connsiteY23" fmla="*/ 141499 h 152245"/>
                <a:gd name="connsiteX24" fmla="*/ 4030 w 125378"/>
                <a:gd name="connsiteY24" fmla="*/ 11195 h 152245"/>
                <a:gd name="connsiteX25" fmla="*/ 10747 w 125378"/>
                <a:gd name="connsiteY25" fmla="*/ 4478 h 152245"/>
                <a:gd name="connsiteX26" fmla="*/ 60451 w 125378"/>
                <a:gd name="connsiteY26" fmla="*/ 4478 h 152245"/>
                <a:gd name="connsiteX27" fmla="*/ 66720 w 125378"/>
                <a:gd name="connsiteY27" fmla="*/ 6717 h 152245"/>
                <a:gd name="connsiteX28" fmla="*/ 66720 w 125378"/>
                <a:gd name="connsiteY28" fmla="*/ 42539 h 152245"/>
                <a:gd name="connsiteX29" fmla="*/ 82392 w 125378"/>
                <a:gd name="connsiteY29" fmla="*/ 58212 h 152245"/>
                <a:gd name="connsiteX30" fmla="*/ 118662 w 125378"/>
                <a:gd name="connsiteY30" fmla="*/ 58212 h 152245"/>
                <a:gd name="connsiteX31" fmla="*/ 120453 w 125378"/>
                <a:gd name="connsiteY31" fmla="*/ 64033 h 152245"/>
                <a:gd name="connsiteX32" fmla="*/ 120453 w 125378"/>
                <a:gd name="connsiteY32" fmla="*/ 14149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378" h="152245">
                  <a:moveTo>
                    <a:pt x="121796" y="54629"/>
                  </a:moveTo>
                  <a:cubicBezTo>
                    <a:pt x="121796" y="54629"/>
                    <a:pt x="121349" y="54182"/>
                    <a:pt x="121349" y="54182"/>
                  </a:cubicBezTo>
                  <a:cubicBezTo>
                    <a:pt x="120901" y="53734"/>
                    <a:pt x="120453" y="53286"/>
                    <a:pt x="120453" y="52838"/>
                  </a:cubicBezTo>
                  <a:lnTo>
                    <a:pt x="71645" y="4478"/>
                  </a:lnTo>
                  <a:cubicBezTo>
                    <a:pt x="71645" y="4478"/>
                    <a:pt x="71197" y="4030"/>
                    <a:pt x="71197" y="4030"/>
                  </a:cubicBezTo>
                  <a:cubicBezTo>
                    <a:pt x="71197" y="4030"/>
                    <a:pt x="70750" y="3582"/>
                    <a:pt x="70750" y="3582"/>
                  </a:cubicBezTo>
                  <a:cubicBezTo>
                    <a:pt x="68063" y="1343"/>
                    <a:pt x="64481" y="0"/>
                    <a:pt x="60898" y="0"/>
                  </a:cubicBezTo>
                  <a:lnTo>
                    <a:pt x="11195" y="0"/>
                  </a:lnTo>
                  <a:cubicBezTo>
                    <a:pt x="4925" y="0"/>
                    <a:pt x="0" y="4926"/>
                    <a:pt x="0" y="11195"/>
                  </a:cubicBezTo>
                  <a:lnTo>
                    <a:pt x="0" y="141499"/>
                  </a:lnTo>
                  <a:cubicBezTo>
                    <a:pt x="0" y="147768"/>
                    <a:pt x="4925" y="152694"/>
                    <a:pt x="11195" y="152694"/>
                  </a:cubicBezTo>
                  <a:lnTo>
                    <a:pt x="114184" y="152694"/>
                  </a:lnTo>
                  <a:cubicBezTo>
                    <a:pt x="120453" y="152694"/>
                    <a:pt x="125379" y="147768"/>
                    <a:pt x="125379" y="141499"/>
                  </a:cubicBezTo>
                  <a:lnTo>
                    <a:pt x="125379" y="64033"/>
                  </a:lnTo>
                  <a:cubicBezTo>
                    <a:pt x="124931" y="60898"/>
                    <a:pt x="124035" y="57316"/>
                    <a:pt x="121796" y="54629"/>
                  </a:cubicBezTo>
                  <a:close/>
                  <a:moveTo>
                    <a:pt x="114632" y="53734"/>
                  </a:moveTo>
                  <a:lnTo>
                    <a:pt x="82392" y="53734"/>
                  </a:lnTo>
                  <a:cubicBezTo>
                    <a:pt x="76123" y="53734"/>
                    <a:pt x="71197" y="48808"/>
                    <a:pt x="71197" y="42539"/>
                  </a:cubicBezTo>
                  <a:lnTo>
                    <a:pt x="71197" y="10747"/>
                  </a:lnTo>
                  <a:lnTo>
                    <a:pt x="114632" y="53734"/>
                  </a:lnTo>
                  <a:close/>
                  <a:moveTo>
                    <a:pt x="120453" y="141499"/>
                  </a:moveTo>
                  <a:cubicBezTo>
                    <a:pt x="120453" y="145081"/>
                    <a:pt x="117319" y="148216"/>
                    <a:pt x="113737" y="148216"/>
                  </a:cubicBezTo>
                  <a:lnTo>
                    <a:pt x="10747" y="148216"/>
                  </a:lnTo>
                  <a:cubicBezTo>
                    <a:pt x="7164" y="148216"/>
                    <a:pt x="4030" y="145081"/>
                    <a:pt x="4030" y="141499"/>
                  </a:cubicBezTo>
                  <a:lnTo>
                    <a:pt x="4030" y="11195"/>
                  </a:lnTo>
                  <a:cubicBezTo>
                    <a:pt x="4030" y="7612"/>
                    <a:pt x="7164" y="4478"/>
                    <a:pt x="10747" y="4478"/>
                  </a:cubicBezTo>
                  <a:lnTo>
                    <a:pt x="60451" y="4478"/>
                  </a:lnTo>
                  <a:cubicBezTo>
                    <a:pt x="62689" y="4478"/>
                    <a:pt x="64928" y="5373"/>
                    <a:pt x="66720" y="6717"/>
                  </a:cubicBezTo>
                  <a:lnTo>
                    <a:pt x="66720" y="42539"/>
                  </a:lnTo>
                  <a:cubicBezTo>
                    <a:pt x="66720" y="51047"/>
                    <a:pt x="73884" y="58212"/>
                    <a:pt x="82392" y="58212"/>
                  </a:cubicBezTo>
                  <a:lnTo>
                    <a:pt x="118662" y="58212"/>
                  </a:lnTo>
                  <a:cubicBezTo>
                    <a:pt x="119558" y="60003"/>
                    <a:pt x="120453" y="62242"/>
                    <a:pt x="120453" y="64033"/>
                  </a:cubicBezTo>
                  <a:lnTo>
                    <a:pt x="120453" y="141499"/>
                  </a:lnTo>
                  <a:close/>
                </a:path>
              </a:pathLst>
            </a:custGeom>
            <a:solidFill>
              <a:srgbClr val="231F20"/>
            </a:solidFill>
            <a:ln w="4474" cap="flat">
              <a:noFill/>
              <a:prstDash val="solid"/>
              <a:miter/>
            </a:ln>
          </p:spPr>
          <p:txBody>
            <a:bodyPr rtlCol="0" anchor="ctr"/>
            <a:lstStyle/>
            <a:p>
              <a:endParaRPr lang="en-US"/>
            </a:p>
          </p:txBody>
        </p:sp>
        <p:sp>
          <p:nvSpPr>
            <p:cNvPr id="4078" name="Freeform: Shape 4077">
              <a:extLst>
                <a:ext uri="{FF2B5EF4-FFF2-40B4-BE49-F238E27FC236}">
                  <a16:creationId xmlns:a16="http://schemas.microsoft.com/office/drawing/2014/main" id="{09D4B429-1B69-47E3-9B18-93BE4A74EB03}"/>
                </a:ext>
              </a:extLst>
            </p:cNvPr>
            <p:cNvSpPr/>
            <p:nvPr/>
          </p:nvSpPr>
          <p:spPr>
            <a:xfrm>
              <a:off x="5638545" y="1038492"/>
              <a:ext cx="67167" cy="62689"/>
            </a:xfrm>
            <a:custGeom>
              <a:avLst/>
              <a:gdLst>
                <a:gd name="connsiteX0" fmla="*/ 67951 w 67167"/>
                <a:gd name="connsiteY0" fmla="*/ 52838 h 62689"/>
                <a:gd name="connsiteX1" fmla="*/ 57204 w 67167"/>
                <a:gd name="connsiteY1" fmla="*/ 35375 h 62689"/>
                <a:gd name="connsiteX2" fmla="*/ 59443 w 67167"/>
                <a:gd name="connsiteY2" fmla="*/ 25076 h 62689"/>
                <a:gd name="connsiteX3" fmla="*/ 34367 w 67167"/>
                <a:gd name="connsiteY3" fmla="*/ 0 h 62689"/>
                <a:gd name="connsiteX4" fmla="*/ 9291 w 67167"/>
                <a:gd name="connsiteY4" fmla="*/ 25076 h 62689"/>
                <a:gd name="connsiteX5" fmla="*/ 11530 w 67167"/>
                <a:gd name="connsiteY5" fmla="*/ 35375 h 62689"/>
                <a:gd name="connsiteX6" fmla="*/ 336 w 67167"/>
                <a:gd name="connsiteY6" fmla="*/ 53286 h 62689"/>
                <a:gd name="connsiteX7" fmla="*/ 336 w 67167"/>
                <a:gd name="connsiteY7" fmla="*/ 55525 h 62689"/>
                <a:gd name="connsiteX8" fmla="*/ 2127 w 67167"/>
                <a:gd name="connsiteY8" fmla="*/ 56868 h 62689"/>
                <a:gd name="connsiteX9" fmla="*/ 11978 w 67167"/>
                <a:gd name="connsiteY9" fmla="*/ 56868 h 62689"/>
                <a:gd name="connsiteX10" fmla="*/ 17799 w 67167"/>
                <a:gd name="connsiteY10" fmla="*/ 65376 h 62689"/>
                <a:gd name="connsiteX11" fmla="*/ 19590 w 67167"/>
                <a:gd name="connsiteY11" fmla="*/ 66272 h 62689"/>
                <a:gd name="connsiteX12" fmla="*/ 19590 w 67167"/>
                <a:gd name="connsiteY12" fmla="*/ 66272 h 62689"/>
                <a:gd name="connsiteX13" fmla="*/ 21381 w 67167"/>
                <a:gd name="connsiteY13" fmla="*/ 65376 h 62689"/>
                <a:gd name="connsiteX14" fmla="*/ 30785 w 67167"/>
                <a:gd name="connsiteY14" fmla="*/ 50152 h 62689"/>
                <a:gd name="connsiteX15" fmla="*/ 33472 w 67167"/>
                <a:gd name="connsiteY15" fmla="*/ 50152 h 62689"/>
                <a:gd name="connsiteX16" fmla="*/ 36158 w 67167"/>
                <a:gd name="connsiteY16" fmla="*/ 50152 h 62689"/>
                <a:gd name="connsiteX17" fmla="*/ 45562 w 67167"/>
                <a:gd name="connsiteY17" fmla="*/ 65376 h 62689"/>
                <a:gd name="connsiteX18" fmla="*/ 47353 w 67167"/>
                <a:gd name="connsiteY18" fmla="*/ 66272 h 62689"/>
                <a:gd name="connsiteX19" fmla="*/ 47353 w 67167"/>
                <a:gd name="connsiteY19" fmla="*/ 66272 h 62689"/>
                <a:gd name="connsiteX20" fmla="*/ 49144 w 67167"/>
                <a:gd name="connsiteY20" fmla="*/ 65376 h 62689"/>
                <a:gd name="connsiteX21" fmla="*/ 54965 w 67167"/>
                <a:gd name="connsiteY21" fmla="*/ 56868 h 62689"/>
                <a:gd name="connsiteX22" fmla="*/ 64816 w 67167"/>
                <a:gd name="connsiteY22" fmla="*/ 56868 h 62689"/>
                <a:gd name="connsiteX23" fmla="*/ 66607 w 67167"/>
                <a:gd name="connsiteY23" fmla="*/ 55525 h 62689"/>
                <a:gd name="connsiteX24" fmla="*/ 67951 w 67167"/>
                <a:gd name="connsiteY24" fmla="*/ 52838 h 62689"/>
                <a:gd name="connsiteX25" fmla="*/ 20038 w 67167"/>
                <a:gd name="connsiteY25" fmla="*/ 59555 h 62689"/>
                <a:gd name="connsiteX26" fmla="*/ 15112 w 67167"/>
                <a:gd name="connsiteY26" fmla="*/ 52838 h 62689"/>
                <a:gd name="connsiteX27" fmla="*/ 13322 w 67167"/>
                <a:gd name="connsiteY27" fmla="*/ 51943 h 62689"/>
                <a:gd name="connsiteX28" fmla="*/ 6157 w 67167"/>
                <a:gd name="connsiteY28" fmla="*/ 51943 h 62689"/>
                <a:gd name="connsiteX29" fmla="*/ 13769 w 67167"/>
                <a:gd name="connsiteY29" fmla="*/ 39853 h 62689"/>
                <a:gd name="connsiteX30" fmla="*/ 26755 w 67167"/>
                <a:gd name="connsiteY30" fmla="*/ 49256 h 62689"/>
                <a:gd name="connsiteX31" fmla="*/ 20038 w 67167"/>
                <a:gd name="connsiteY31" fmla="*/ 59555 h 62689"/>
                <a:gd name="connsiteX32" fmla="*/ 13769 w 67167"/>
                <a:gd name="connsiteY32" fmla="*/ 25076 h 62689"/>
                <a:gd name="connsiteX33" fmla="*/ 34367 w 67167"/>
                <a:gd name="connsiteY33" fmla="*/ 4478 h 62689"/>
                <a:gd name="connsiteX34" fmla="*/ 54965 w 67167"/>
                <a:gd name="connsiteY34" fmla="*/ 25076 h 62689"/>
                <a:gd name="connsiteX35" fmla="*/ 34367 w 67167"/>
                <a:gd name="connsiteY35" fmla="*/ 45674 h 62689"/>
                <a:gd name="connsiteX36" fmla="*/ 13769 w 67167"/>
                <a:gd name="connsiteY36" fmla="*/ 25076 h 62689"/>
                <a:gd name="connsiteX37" fmla="*/ 54965 w 67167"/>
                <a:gd name="connsiteY37" fmla="*/ 51943 h 62689"/>
                <a:gd name="connsiteX38" fmla="*/ 53174 w 67167"/>
                <a:gd name="connsiteY38" fmla="*/ 52838 h 62689"/>
                <a:gd name="connsiteX39" fmla="*/ 48248 w 67167"/>
                <a:gd name="connsiteY39" fmla="*/ 59555 h 62689"/>
                <a:gd name="connsiteX40" fmla="*/ 41531 w 67167"/>
                <a:gd name="connsiteY40" fmla="*/ 48808 h 62689"/>
                <a:gd name="connsiteX41" fmla="*/ 54517 w 67167"/>
                <a:gd name="connsiteY41" fmla="*/ 39405 h 62689"/>
                <a:gd name="connsiteX42" fmla="*/ 62129 w 67167"/>
                <a:gd name="connsiteY42" fmla="*/ 51495 h 62689"/>
                <a:gd name="connsiteX43" fmla="*/ 54965 w 67167"/>
                <a:gd name="connsiteY43" fmla="*/ 51495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7167" h="62689">
                  <a:moveTo>
                    <a:pt x="67951" y="52838"/>
                  </a:moveTo>
                  <a:lnTo>
                    <a:pt x="57204" y="35375"/>
                  </a:lnTo>
                  <a:cubicBezTo>
                    <a:pt x="58547" y="32240"/>
                    <a:pt x="59443" y="28658"/>
                    <a:pt x="59443" y="25076"/>
                  </a:cubicBezTo>
                  <a:cubicBezTo>
                    <a:pt x="59443" y="11195"/>
                    <a:pt x="48248" y="0"/>
                    <a:pt x="34367" y="0"/>
                  </a:cubicBezTo>
                  <a:cubicBezTo>
                    <a:pt x="20486" y="0"/>
                    <a:pt x="9291" y="11195"/>
                    <a:pt x="9291" y="25076"/>
                  </a:cubicBezTo>
                  <a:cubicBezTo>
                    <a:pt x="9291" y="28658"/>
                    <a:pt x="10187" y="32240"/>
                    <a:pt x="11530" y="35375"/>
                  </a:cubicBezTo>
                  <a:lnTo>
                    <a:pt x="336" y="53286"/>
                  </a:lnTo>
                  <a:cubicBezTo>
                    <a:pt x="-112" y="54182"/>
                    <a:pt x="-112" y="54629"/>
                    <a:pt x="336" y="55525"/>
                  </a:cubicBezTo>
                  <a:cubicBezTo>
                    <a:pt x="783" y="56420"/>
                    <a:pt x="1679" y="56868"/>
                    <a:pt x="2127" y="56868"/>
                  </a:cubicBezTo>
                  <a:lnTo>
                    <a:pt x="11978" y="56868"/>
                  </a:lnTo>
                  <a:lnTo>
                    <a:pt x="17799" y="65376"/>
                  </a:lnTo>
                  <a:cubicBezTo>
                    <a:pt x="18247" y="65824"/>
                    <a:pt x="18695" y="66272"/>
                    <a:pt x="19590" y="66272"/>
                  </a:cubicBezTo>
                  <a:cubicBezTo>
                    <a:pt x="19590" y="66272"/>
                    <a:pt x="19590" y="66272"/>
                    <a:pt x="19590" y="66272"/>
                  </a:cubicBezTo>
                  <a:cubicBezTo>
                    <a:pt x="20486" y="66272"/>
                    <a:pt x="20934" y="65824"/>
                    <a:pt x="21381" y="65376"/>
                  </a:cubicBezTo>
                  <a:lnTo>
                    <a:pt x="30785" y="50152"/>
                  </a:lnTo>
                  <a:cubicBezTo>
                    <a:pt x="31680" y="50152"/>
                    <a:pt x="32576" y="50152"/>
                    <a:pt x="33472" y="50152"/>
                  </a:cubicBezTo>
                  <a:cubicBezTo>
                    <a:pt x="34367" y="50152"/>
                    <a:pt x="35262" y="50152"/>
                    <a:pt x="36158" y="50152"/>
                  </a:cubicBezTo>
                  <a:lnTo>
                    <a:pt x="45562" y="65376"/>
                  </a:lnTo>
                  <a:cubicBezTo>
                    <a:pt x="46009" y="65824"/>
                    <a:pt x="46457" y="66272"/>
                    <a:pt x="47353" y="66272"/>
                  </a:cubicBezTo>
                  <a:cubicBezTo>
                    <a:pt x="47353" y="66272"/>
                    <a:pt x="47353" y="66272"/>
                    <a:pt x="47353" y="66272"/>
                  </a:cubicBezTo>
                  <a:cubicBezTo>
                    <a:pt x="48248" y="66272"/>
                    <a:pt x="48696" y="65824"/>
                    <a:pt x="49144" y="65376"/>
                  </a:cubicBezTo>
                  <a:lnTo>
                    <a:pt x="54965" y="56868"/>
                  </a:lnTo>
                  <a:lnTo>
                    <a:pt x="64816" y="56868"/>
                  </a:lnTo>
                  <a:cubicBezTo>
                    <a:pt x="65712" y="56868"/>
                    <a:pt x="66159" y="56420"/>
                    <a:pt x="66607" y="55525"/>
                  </a:cubicBezTo>
                  <a:cubicBezTo>
                    <a:pt x="68398" y="54629"/>
                    <a:pt x="68398" y="53734"/>
                    <a:pt x="67951" y="52838"/>
                  </a:cubicBezTo>
                  <a:close/>
                  <a:moveTo>
                    <a:pt x="20038" y="59555"/>
                  </a:moveTo>
                  <a:lnTo>
                    <a:pt x="15112" y="52838"/>
                  </a:lnTo>
                  <a:cubicBezTo>
                    <a:pt x="14665" y="52390"/>
                    <a:pt x="14217" y="51943"/>
                    <a:pt x="13322" y="51943"/>
                  </a:cubicBezTo>
                  <a:lnTo>
                    <a:pt x="6157" y="51943"/>
                  </a:lnTo>
                  <a:lnTo>
                    <a:pt x="13769" y="39853"/>
                  </a:lnTo>
                  <a:cubicBezTo>
                    <a:pt x="16903" y="44330"/>
                    <a:pt x="21381" y="47465"/>
                    <a:pt x="26755" y="49256"/>
                  </a:cubicBezTo>
                  <a:lnTo>
                    <a:pt x="20038" y="59555"/>
                  </a:lnTo>
                  <a:close/>
                  <a:moveTo>
                    <a:pt x="13769" y="25076"/>
                  </a:moveTo>
                  <a:cubicBezTo>
                    <a:pt x="13769" y="13881"/>
                    <a:pt x="23173" y="4478"/>
                    <a:pt x="34367" y="4478"/>
                  </a:cubicBezTo>
                  <a:cubicBezTo>
                    <a:pt x="45562" y="4478"/>
                    <a:pt x="54965" y="13881"/>
                    <a:pt x="54965" y="25076"/>
                  </a:cubicBezTo>
                  <a:cubicBezTo>
                    <a:pt x="54965" y="36270"/>
                    <a:pt x="45562" y="45674"/>
                    <a:pt x="34367" y="45674"/>
                  </a:cubicBezTo>
                  <a:cubicBezTo>
                    <a:pt x="23173" y="45674"/>
                    <a:pt x="13769" y="36270"/>
                    <a:pt x="13769" y="25076"/>
                  </a:cubicBezTo>
                  <a:close/>
                  <a:moveTo>
                    <a:pt x="54965" y="51943"/>
                  </a:moveTo>
                  <a:cubicBezTo>
                    <a:pt x="54070" y="51943"/>
                    <a:pt x="53622" y="52390"/>
                    <a:pt x="53174" y="52838"/>
                  </a:cubicBezTo>
                  <a:lnTo>
                    <a:pt x="48248" y="59555"/>
                  </a:lnTo>
                  <a:lnTo>
                    <a:pt x="41531" y="48808"/>
                  </a:lnTo>
                  <a:cubicBezTo>
                    <a:pt x="46905" y="47017"/>
                    <a:pt x="51383" y="43883"/>
                    <a:pt x="54517" y="39405"/>
                  </a:cubicBezTo>
                  <a:lnTo>
                    <a:pt x="62129" y="51495"/>
                  </a:lnTo>
                  <a:lnTo>
                    <a:pt x="54965" y="51495"/>
                  </a:lnTo>
                  <a:close/>
                </a:path>
              </a:pathLst>
            </a:custGeom>
            <a:solidFill>
              <a:srgbClr val="231F20"/>
            </a:solidFill>
            <a:ln w="4474" cap="flat">
              <a:noFill/>
              <a:prstDash val="solid"/>
              <a:miter/>
            </a:ln>
          </p:spPr>
          <p:txBody>
            <a:bodyPr rtlCol="0" anchor="ctr"/>
            <a:lstStyle/>
            <a:p>
              <a:endParaRPr lang="en-US"/>
            </a:p>
          </p:txBody>
        </p:sp>
      </p:grpSp>
      <p:sp>
        <p:nvSpPr>
          <p:cNvPr id="4079" name="Freeform: Shape 4078">
            <a:extLst>
              <a:ext uri="{FF2B5EF4-FFF2-40B4-BE49-F238E27FC236}">
                <a16:creationId xmlns:a16="http://schemas.microsoft.com/office/drawing/2014/main" id="{1E1FCE6B-B63F-4F47-A135-AF5BC90768EA}"/>
              </a:ext>
              <a:ext uri="{C183D7F6-B498-43B3-948B-1728B52AA6E4}">
                <adec:decorative xmlns:adec="http://schemas.microsoft.com/office/drawing/2017/decorative" val="1"/>
              </a:ext>
            </a:extLst>
          </p:cNvPr>
          <p:cNvSpPr>
            <a:spLocks noChangeAspect="1"/>
          </p:cNvSpPr>
          <p:nvPr/>
        </p:nvSpPr>
        <p:spPr>
          <a:xfrm>
            <a:off x="5050042" y="1716167"/>
            <a:ext cx="125379" cy="152246"/>
          </a:xfrm>
          <a:custGeom>
            <a:avLst/>
            <a:gdLst>
              <a:gd name="connsiteX0" fmla="*/ 121796 w 125378"/>
              <a:gd name="connsiteY0" fmla="*/ 54629 h 152245"/>
              <a:gd name="connsiteX1" fmla="*/ 121349 w 125378"/>
              <a:gd name="connsiteY1" fmla="*/ 54182 h 152245"/>
              <a:gd name="connsiteX2" fmla="*/ 120453 w 125378"/>
              <a:gd name="connsiteY2" fmla="*/ 52838 h 152245"/>
              <a:gd name="connsiteX3" fmla="*/ 71645 w 125378"/>
              <a:gd name="connsiteY3" fmla="*/ 4478 h 152245"/>
              <a:gd name="connsiteX4" fmla="*/ 71197 w 125378"/>
              <a:gd name="connsiteY4" fmla="*/ 4030 h 152245"/>
              <a:gd name="connsiteX5" fmla="*/ 70749 w 125378"/>
              <a:gd name="connsiteY5" fmla="*/ 3582 h 152245"/>
              <a:gd name="connsiteX6" fmla="*/ 60898 w 125378"/>
              <a:gd name="connsiteY6" fmla="*/ 0 h 152245"/>
              <a:gd name="connsiteX7" fmla="*/ 11195 w 125378"/>
              <a:gd name="connsiteY7" fmla="*/ 0 h 152245"/>
              <a:gd name="connsiteX8" fmla="*/ 0 w 125378"/>
              <a:gd name="connsiteY8" fmla="*/ 11195 h 152245"/>
              <a:gd name="connsiteX9" fmla="*/ 0 w 125378"/>
              <a:gd name="connsiteY9" fmla="*/ 141499 h 152245"/>
              <a:gd name="connsiteX10" fmla="*/ 11195 w 125378"/>
              <a:gd name="connsiteY10" fmla="*/ 152694 h 152245"/>
              <a:gd name="connsiteX11" fmla="*/ 114184 w 125378"/>
              <a:gd name="connsiteY11" fmla="*/ 152694 h 152245"/>
              <a:gd name="connsiteX12" fmla="*/ 125379 w 125378"/>
              <a:gd name="connsiteY12" fmla="*/ 141499 h 152245"/>
              <a:gd name="connsiteX13" fmla="*/ 125379 w 125378"/>
              <a:gd name="connsiteY13" fmla="*/ 64033 h 152245"/>
              <a:gd name="connsiteX14" fmla="*/ 121796 w 125378"/>
              <a:gd name="connsiteY14" fmla="*/ 54629 h 152245"/>
              <a:gd name="connsiteX15" fmla="*/ 115080 w 125378"/>
              <a:gd name="connsiteY15" fmla="*/ 53734 h 152245"/>
              <a:gd name="connsiteX16" fmla="*/ 82840 w 125378"/>
              <a:gd name="connsiteY16" fmla="*/ 53734 h 152245"/>
              <a:gd name="connsiteX17" fmla="*/ 71645 w 125378"/>
              <a:gd name="connsiteY17" fmla="*/ 42539 h 152245"/>
              <a:gd name="connsiteX18" fmla="*/ 71645 w 125378"/>
              <a:gd name="connsiteY18" fmla="*/ 10747 h 152245"/>
              <a:gd name="connsiteX19" fmla="*/ 115080 w 125378"/>
              <a:gd name="connsiteY19" fmla="*/ 53734 h 152245"/>
              <a:gd name="connsiteX20" fmla="*/ 120453 w 125378"/>
              <a:gd name="connsiteY20" fmla="*/ 141499 h 152245"/>
              <a:gd name="connsiteX21" fmla="*/ 113737 w 125378"/>
              <a:gd name="connsiteY21" fmla="*/ 148216 h 152245"/>
              <a:gd name="connsiteX22" fmla="*/ 10747 w 125378"/>
              <a:gd name="connsiteY22" fmla="*/ 148216 h 152245"/>
              <a:gd name="connsiteX23" fmla="*/ 4030 w 125378"/>
              <a:gd name="connsiteY23" fmla="*/ 141499 h 152245"/>
              <a:gd name="connsiteX24" fmla="*/ 4030 w 125378"/>
              <a:gd name="connsiteY24" fmla="*/ 11195 h 152245"/>
              <a:gd name="connsiteX25" fmla="*/ 10747 w 125378"/>
              <a:gd name="connsiteY25" fmla="*/ 4478 h 152245"/>
              <a:gd name="connsiteX26" fmla="*/ 60451 w 125378"/>
              <a:gd name="connsiteY26" fmla="*/ 4478 h 152245"/>
              <a:gd name="connsiteX27" fmla="*/ 66720 w 125378"/>
              <a:gd name="connsiteY27" fmla="*/ 6717 h 152245"/>
              <a:gd name="connsiteX28" fmla="*/ 66720 w 125378"/>
              <a:gd name="connsiteY28" fmla="*/ 42539 h 152245"/>
              <a:gd name="connsiteX29" fmla="*/ 82392 w 125378"/>
              <a:gd name="connsiteY29" fmla="*/ 58212 h 152245"/>
              <a:gd name="connsiteX30" fmla="*/ 118662 w 125378"/>
              <a:gd name="connsiteY30" fmla="*/ 58212 h 152245"/>
              <a:gd name="connsiteX31" fmla="*/ 120453 w 125378"/>
              <a:gd name="connsiteY31" fmla="*/ 64033 h 152245"/>
              <a:gd name="connsiteX32" fmla="*/ 120453 w 125378"/>
              <a:gd name="connsiteY32" fmla="*/ 14149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378" h="152245">
                <a:moveTo>
                  <a:pt x="121796" y="54629"/>
                </a:moveTo>
                <a:cubicBezTo>
                  <a:pt x="121796" y="54629"/>
                  <a:pt x="121349" y="54182"/>
                  <a:pt x="121349" y="54182"/>
                </a:cubicBezTo>
                <a:cubicBezTo>
                  <a:pt x="120901" y="53734"/>
                  <a:pt x="120453" y="53286"/>
                  <a:pt x="120453" y="52838"/>
                </a:cubicBezTo>
                <a:lnTo>
                  <a:pt x="71645" y="4478"/>
                </a:lnTo>
                <a:cubicBezTo>
                  <a:pt x="71645" y="4478"/>
                  <a:pt x="71197" y="4030"/>
                  <a:pt x="71197" y="4030"/>
                </a:cubicBezTo>
                <a:cubicBezTo>
                  <a:pt x="71197" y="4030"/>
                  <a:pt x="70749" y="3582"/>
                  <a:pt x="70749" y="3582"/>
                </a:cubicBezTo>
                <a:cubicBezTo>
                  <a:pt x="68063" y="1343"/>
                  <a:pt x="64481" y="0"/>
                  <a:pt x="60898" y="0"/>
                </a:cubicBezTo>
                <a:lnTo>
                  <a:pt x="11195" y="0"/>
                </a:lnTo>
                <a:cubicBezTo>
                  <a:pt x="4925" y="0"/>
                  <a:pt x="0" y="4926"/>
                  <a:pt x="0" y="11195"/>
                </a:cubicBezTo>
                <a:lnTo>
                  <a:pt x="0" y="141499"/>
                </a:lnTo>
                <a:cubicBezTo>
                  <a:pt x="0" y="147768"/>
                  <a:pt x="4925" y="152694"/>
                  <a:pt x="11195" y="152694"/>
                </a:cubicBezTo>
                <a:lnTo>
                  <a:pt x="114184" y="152694"/>
                </a:lnTo>
                <a:cubicBezTo>
                  <a:pt x="120453" y="152694"/>
                  <a:pt x="125379" y="147768"/>
                  <a:pt x="125379" y="141499"/>
                </a:cubicBezTo>
                <a:lnTo>
                  <a:pt x="125379" y="64033"/>
                </a:lnTo>
                <a:cubicBezTo>
                  <a:pt x="124931" y="60898"/>
                  <a:pt x="124035" y="57316"/>
                  <a:pt x="121796" y="54629"/>
                </a:cubicBezTo>
                <a:close/>
                <a:moveTo>
                  <a:pt x="115080" y="53734"/>
                </a:moveTo>
                <a:lnTo>
                  <a:pt x="82840" y="53734"/>
                </a:lnTo>
                <a:cubicBezTo>
                  <a:pt x="76571" y="53734"/>
                  <a:pt x="71645" y="48808"/>
                  <a:pt x="71645" y="42539"/>
                </a:cubicBezTo>
                <a:lnTo>
                  <a:pt x="71645" y="10747"/>
                </a:lnTo>
                <a:lnTo>
                  <a:pt x="115080" y="53734"/>
                </a:lnTo>
                <a:close/>
                <a:moveTo>
                  <a:pt x="120453" y="141499"/>
                </a:moveTo>
                <a:cubicBezTo>
                  <a:pt x="120453" y="145081"/>
                  <a:pt x="117319" y="148216"/>
                  <a:pt x="113737" y="148216"/>
                </a:cubicBezTo>
                <a:lnTo>
                  <a:pt x="10747" y="148216"/>
                </a:lnTo>
                <a:cubicBezTo>
                  <a:pt x="7164" y="148216"/>
                  <a:pt x="4030" y="145081"/>
                  <a:pt x="4030" y="141499"/>
                </a:cubicBezTo>
                <a:lnTo>
                  <a:pt x="4030" y="11195"/>
                </a:lnTo>
                <a:cubicBezTo>
                  <a:pt x="4030" y="7612"/>
                  <a:pt x="7164" y="4478"/>
                  <a:pt x="10747" y="4478"/>
                </a:cubicBezTo>
                <a:lnTo>
                  <a:pt x="60451" y="4478"/>
                </a:lnTo>
                <a:cubicBezTo>
                  <a:pt x="62689" y="4478"/>
                  <a:pt x="64928" y="5373"/>
                  <a:pt x="66720" y="6717"/>
                </a:cubicBezTo>
                <a:lnTo>
                  <a:pt x="66720" y="42539"/>
                </a:lnTo>
                <a:cubicBezTo>
                  <a:pt x="66720" y="51047"/>
                  <a:pt x="73884" y="58212"/>
                  <a:pt x="82392" y="58212"/>
                </a:cubicBezTo>
                <a:lnTo>
                  <a:pt x="118662" y="58212"/>
                </a:lnTo>
                <a:cubicBezTo>
                  <a:pt x="119558" y="60003"/>
                  <a:pt x="120453" y="62242"/>
                  <a:pt x="120453" y="64033"/>
                </a:cubicBezTo>
                <a:lnTo>
                  <a:pt x="120453" y="141499"/>
                </a:lnTo>
                <a:close/>
              </a:path>
            </a:pathLst>
          </a:custGeom>
          <a:solidFill>
            <a:srgbClr val="231F20"/>
          </a:solidFill>
          <a:ln w="4474" cap="flat">
            <a:noFill/>
            <a:prstDash val="solid"/>
            <a:miter/>
          </a:ln>
        </p:spPr>
        <p:txBody>
          <a:bodyPr rtlCol="0" anchor="ctr"/>
          <a:lstStyle/>
          <a:p>
            <a:endParaRPr lang="en-US"/>
          </a:p>
        </p:txBody>
      </p:sp>
      <p:grpSp>
        <p:nvGrpSpPr>
          <p:cNvPr id="4080" name="Group 4079">
            <a:extLst>
              <a:ext uri="{FF2B5EF4-FFF2-40B4-BE49-F238E27FC236}">
                <a16:creationId xmlns:a16="http://schemas.microsoft.com/office/drawing/2014/main" id="{CFB2A8A5-6F57-4CE5-A7D1-F72E9FE7707D}"/>
              </a:ext>
              <a:ext uri="{C183D7F6-B498-43B3-948B-1728B52AA6E4}">
                <adec:decorative xmlns:adec="http://schemas.microsoft.com/office/drawing/2017/decorative" val="1"/>
              </a:ext>
            </a:extLst>
          </p:cNvPr>
          <p:cNvGrpSpPr>
            <a:grpSpLocks noChangeAspect="1"/>
          </p:cNvGrpSpPr>
          <p:nvPr/>
        </p:nvGrpSpPr>
        <p:grpSpPr>
          <a:xfrm>
            <a:off x="5309755" y="1716167"/>
            <a:ext cx="125379" cy="152246"/>
            <a:chOff x="5350509" y="980728"/>
            <a:chExt cx="125379" cy="152246"/>
          </a:xfrm>
        </p:grpSpPr>
        <p:sp>
          <p:nvSpPr>
            <p:cNvPr id="4081" name="Freeform: Shape 4080">
              <a:extLst>
                <a:ext uri="{FF2B5EF4-FFF2-40B4-BE49-F238E27FC236}">
                  <a16:creationId xmlns:a16="http://schemas.microsoft.com/office/drawing/2014/main" id="{11CC1530-731A-43BA-8C49-89BF7CC7B3C0}"/>
                </a:ext>
              </a:extLst>
            </p:cNvPr>
            <p:cNvSpPr/>
            <p:nvPr/>
          </p:nvSpPr>
          <p:spPr>
            <a:xfrm>
              <a:off x="5350509" y="980728"/>
              <a:ext cx="125379" cy="152246"/>
            </a:xfrm>
            <a:custGeom>
              <a:avLst/>
              <a:gdLst>
                <a:gd name="connsiteX0" fmla="*/ 121796 w 125378"/>
                <a:gd name="connsiteY0" fmla="*/ 54629 h 152245"/>
                <a:gd name="connsiteX1" fmla="*/ 121349 w 125378"/>
                <a:gd name="connsiteY1" fmla="*/ 54182 h 152245"/>
                <a:gd name="connsiteX2" fmla="*/ 120453 w 125378"/>
                <a:gd name="connsiteY2" fmla="*/ 52838 h 152245"/>
                <a:gd name="connsiteX3" fmla="*/ 71645 w 125378"/>
                <a:gd name="connsiteY3" fmla="*/ 4478 h 152245"/>
                <a:gd name="connsiteX4" fmla="*/ 71197 w 125378"/>
                <a:gd name="connsiteY4" fmla="*/ 4030 h 152245"/>
                <a:gd name="connsiteX5" fmla="*/ 70750 w 125378"/>
                <a:gd name="connsiteY5" fmla="*/ 3582 h 152245"/>
                <a:gd name="connsiteX6" fmla="*/ 60898 w 125378"/>
                <a:gd name="connsiteY6" fmla="*/ 0 h 152245"/>
                <a:gd name="connsiteX7" fmla="*/ 11195 w 125378"/>
                <a:gd name="connsiteY7" fmla="*/ 0 h 152245"/>
                <a:gd name="connsiteX8" fmla="*/ 0 w 125378"/>
                <a:gd name="connsiteY8" fmla="*/ 11195 h 152245"/>
                <a:gd name="connsiteX9" fmla="*/ 0 w 125378"/>
                <a:gd name="connsiteY9" fmla="*/ 141499 h 152245"/>
                <a:gd name="connsiteX10" fmla="*/ 11195 w 125378"/>
                <a:gd name="connsiteY10" fmla="*/ 152694 h 152245"/>
                <a:gd name="connsiteX11" fmla="*/ 114184 w 125378"/>
                <a:gd name="connsiteY11" fmla="*/ 152694 h 152245"/>
                <a:gd name="connsiteX12" fmla="*/ 125379 w 125378"/>
                <a:gd name="connsiteY12" fmla="*/ 141499 h 152245"/>
                <a:gd name="connsiteX13" fmla="*/ 125379 w 125378"/>
                <a:gd name="connsiteY13" fmla="*/ 64033 h 152245"/>
                <a:gd name="connsiteX14" fmla="*/ 121796 w 125378"/>
                <a:gd name="connsiteY14" fmla="*/ 54629 h 152245"/>
                <a:gd name="connsiteX15" fmla="*/ 114632 w 125378"/>
                <a:gd name="connsiteY15" fmla="*/ 53734 h 152245"/>
                <a:gd name="connsiteX16" fmla="*/ 82392 w 125378"/>
                <a:gd name="connsiteY16" fmla="*/ 53734 h 152245"/>
                <a:gd name="connsiteX17" fmla="*/ 71197 w 125378"/>
                <a:gd name="connsiteY17" fmla="*/ 42539 h 152245"/>
                <a:gd name="connsiteX18" fmla="*/ 71197 w 125378"/>
                <a:gd name="connsiteY18" fmla="*/ 10747 h 152245"/>
                <a:gd name="connsiteX19" fmla="*/ 114632 w 125378"/>
                <a:gd name="connsiteY19" fmla="*/ 53734 h 152245"/>
                <a:gd name="connsiteX20" fmla="*/ 120453 w 125378"/>
                <a:gd name="connsiteY20" fmla="*/ 141499 h 152245"/>
                <a:gd name="connsiteX21" fmla="*/ 113737 w 125378"/>
                <a:gd name="connsiteY21" fmla="*/ 148216 h 152245"/>
                <a:gd name="connsiteX22" fmla="*/ 10747 w 125378"/>
                <a:gd name="connsiteY22" fmla="*/ 148216 h 152245"/>
                <a:gd name="connsiteX23" fmla="*/ 4030 w 125378"/>
                <a:gd name="connsiteY23" fmla="*/ 141499 h 152245"/>
                <a:gd name="connsiteX24" fmla="*/ 4030 w 125378"/>
                <a:gd name="connsiteY24" fmla="*/ 11195 h 152245"/>
                <a:gd name="connsiteX25" fmla="*/ 10747 w 125378"/>
                <a:gd name="connsiteY25" fmla="*/ 4478 h 152245"/>
                <a:gd name="connsiteX26" fmla="*/ 60451 w 125378"/>
                <a:gd name="connsiteY26" fmla="*/ 4478 h 152245"/>
                <a:gd name="connsiteX27" fmla="*/ 66720 w 125378"/>
                <a:gd name="connsiteY27" fmla="*/ 6717 h 152245"/>
                <a:gd name="connsiteX28" fmla="*/ 66720 w 125378"/>
                <a:gd name="connsiteY28" fmla="*/ 42539 h 152245"/>
                <a:gd name="connsiteX29" fmla="*/ 82392 w 125378"/>
                <a:gd name="connsiteY29" fmla="*/ 58212 h 152245"/>
                <a:gd name="connsiteX30" fmla="*/ 118662 w 125378"/>
                <a:gd name="connsiteY30" fmla="*/ 58212 h 152245"/>
                <a:gd name="connsiteX31" fmla="*/ 120453 w 125378"/>
                <a:gd name="connsiteY31" fmla="*/ 64033 h 152245"/>
                <a:gd name="connsiteX32" fmla="*/ 120453 w 125378"/>
                <a:gd name="connsiteY32" fmla="*/ 141499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378" h="152245">
                  <a:moveTo>
                    <a:pt x="121796" y="54629"/>
                  </a:moveTo>
                  <a:cubicBezTo>
                    <a:pt x="121796" y="54629"/>
                    <a:pt x="121349" y="54182"/>
                    <a:pt x="121349" y="54182"/>
                  </a:cubicBezTo>
                  <a:cubicBezTo>
                    <a:pt x="120901" y="53734"/>
                    <a:pt x="120453" y="53286"/>
                    <a:pt x="120453" y="52838"/>
                  </a:cubicBezTo>
                  <a:lnTo>
                    <a:pt x="71645" y="4478"/>
                  </a:lnTo>
                  <a:cubicBezTo>
                    <a:pt x="71645" y="4478"/>
                    <a:pt x="71197" y="4030"/>
                    <a:pt x="71197" y="4030"/>
                  </a:cubicBezTo>
                  <a:cubicBezTo>
                    <a:pt x="71197" y="4030"/>
                    <a:pt x="70750" y="3582"/>
                    <a:pt x="70750" y="3582"/>
                  </a:cubicBezTo>
                  <a:cubicBezTo>
                    <a:pt x="68063" y="1343"/>
                    <a:pt x="64481" y="0"/>
                    <a:pt x="60898" y="0"/>
                  </a:cubicBezTo>
                  <a:lnTo>
                    <a:pt x="11195" y="0"/>
                  </a:lnTo>
                  <a:cubicBezTo>
                    <a:pt x="4925" y="0"/>
                    <a:pt x="0" y="4926"/>
                    <a:pt x="0" y="11195"/>
                  </a:cubicBezTo>
                  <a:lnTo>
                    <a:pt x="0" y="141499"/>
                  </a:lnTo>
                  <a:cubicBezTo>
                    <a:pt x="0" y="147768"/>
                    <a:pt x="4925" y="152694"/>
                    <a:pt x="11195" y="152694"/>
                  </a:cubicBezTo>
                  <a:lnTo>
                    <a:pt x="114184" y="152694"/>
                  </a:lnTo>
                  <a:cubicBezTo>
                    <a:pt x="120453" y="152694"/>
                    <a:pt x="125379" y="147768"/>
                    <a:pt x="125379" y="141499"/>
                  </a:cubicBezTo>
                  <a:lnTo>
                    <a:pt x="125379" y="64033"/>
                  </a:lnTo>
                  <a:cubicBezTo>
                    <a:pt x="124931" y="60898"/>
                    <a:pt x="124035" y="57316"/>
                    <a:pt x="121796" y="54629"/>
                  </a:cubicBezTo>
                  <a:close/>
                  <a:moveTo>
                    <a:pt x="114632" y="53734"/>
                  </a:moveTo>
                  <a:lnTo>
                    <a:pt x="82392" y="53734"/>
                  </a:lnTo>
                  <a:cubicBezTo>
                    <a:pt x="76123" y="53734"/>
                    <a:pt x="71197" y="48808"/>
                    <a:pt x="71197" y="42539"/>
                  </a:cubicBezTo>
                  <a:lnTo>
                    <a:pt x="71197" y="10747"/>
                  </a:lnTo>
                  <a:lnTo>
                    <a:pt x="114632" y="53734"/>
                  </a:lnTo>
                  <a:close/>
                  <a:moveTo>
                    <a:pt x="120453" y="141499"/>
                  </a:moveTo>
                  <a:cubicBezTo>
                    <a:pt x="120453" y="145081"/>
                    <a:pt x="117319" y="148216"/>
                    <a:pt x="113737" y="148216"/>
                  </a:cubicBezTo>
                  <a:lnTo>
                    <a:pt x="10747" y="148216"/>
                  </a:lnTo>
                  <a:cubicBezTo>
                    <a:pt x="7164" y="148216"/>
                    <a:pt x="4030" y="145081"/>
                    <a:pt x="4030" y="141499"/>
                  </a:cubicBezTo>
                  <a:lnTo>
                    <a:pt x="4030" y="11195"/>
                  </a:lnTo>
                  <a:cubicBezTo>
                    <a:pt x="4030" y="7612"/>
                    <a:pt x="7164" y="4478"/>
                    <a:pt x="10747" y="4478"/>
                  </a:cubicBezTo>
                  <a:lnTo>
                    <a:pt x="60451" y="4478"/>
                  </a:lnTo>
                  <a:cubicBezTo>
                    <a:pt x="62689" y="4478"/>
                    <a:pt x="64928" y="5373"/>
                    <a:pt x="66720" y="6717"/>
                  </a:cubicBezTo>
                  <a:lnTo>
                    <a:pt x="66720" y="42539"/>
                  </a:lnTo>
                  <a:cubicBezTo>
                    <a:pt x="66720" y="51047"/>
                    <a:pt x="73884" y="58212"/>
                    <a:pt x="82392" y="58212"/>
                  </a:cubicBezTo>
                  <a:lnTo>
                    <a:pt x="118662" y="58212"/>
                  </a:lnTo>
                  <a:cubicBezTo>
                    <a:pt x="119558" y="60003"/>
                    <a:pt x="120453" y="62242"/>
                    <a:pt x="120453" y="64033"/>
                  </a:cubicBezTo>
                  <a:lnTo>
                    <a:pt x="120453" y="141499"/>
                  </a:lnTo>
                  <a:close/>
                </a:path>
              </a:pathLst>
            </a:custGeom>
            <a:solidFill>
              <a:srgbClr val="231F20"/>
            </a:solidFill>
            <a:ln w="4474" cap="flat">
              <a:noFill/>
              <a:prstDash val="solid"/>
              <a:miter/>
            </a:ln>
          </p:spPr>
          <p:txBody>
            <a:bodyPr rtlCol="0" anchor="ctr"/>
            <a:lstStyle/>
            <a:p>
              <a:endParaRPr lang="en-US"/>
            </a:p>
          </p:txBody>
        </p:sp>
        <p:sp>
          <p:nvSpPr>
            <p:cNvPr id="4082" name="Freeform: Shape 4081">
              <a:extLst>
                <a:ext uri="{FF2B5EF4-FFF2-40B4-BE49-F238E27FC236}">
                  <a16:creationId xmlns:a16="http://schemas.microsoft.com/office/drawing/2014/main" id="{3866A183-C950-42E9-A5A1-83D79DD36830}"/>
                </a:ext>
              </a:extLst>
            </p:cNvPr>
            <p:cNvSpPr/>
            <p:nvPr/>
          </p:nvSpPr>
          <p:spPr>
            <a:xfrm>
              <a:off x="5363943" y="1047895"/>
              <a:ext cx="71645" cy="4478"/>
            </a:xfrm>
            <a:custGeom>
              <a:avLst/>
              <a:gdLst>
                <a:gd name="connsiteX0" fmla="*/ 69406 w 71645"/>
                <a:gd name="connsiteY0" fmla="*/ 4478 h 4477"/>
                <a:gd name="connsiteX1" fmla="*/ 2239 w 71645"/>
                <a:gd name="connsiteY1" fmla="*/ 4478 h 4477"/>
                <a:gd name="connsiteX2" fmla="*/ 0 w 71645"/>
                <a:gd name="connsiteY2" fmla="*/ 2239 h 4477"/>
                <a:gd name="connsiteX3" fmla="*/ 2239 w 71645"/>
                <a:gd name="connsiteY3" fmla="*/ 0 h 4477"/>
                <a:gd name="connsiteX4" fmla="*/ 69406 w 71645"/>
                <a:gd name="connsiteY4" fmla="*/ 0 h 4477"/>
                <a:gd name="connsiteX5" fmla="*/ 71645 w 71645"/>
                <a:gd name="connsiteY5" fmla="*/ 2239 h 4477"/>
                <a:gd name="connsiteX6" fmla="*/ 69406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69406" y="4478"/>
                  </a:moveTo>
                  <a:lnTo>
                    <a:pt x="2239" y="4478"/>
                  </a:lnTo>
                  <a:cubicBezTo>
                    <a:pt x="895" y="4478"/>
                    <a:pt x="0" y="3582"/>
                    <a:pt x="0" y="2239"/>
                  </a:cubicBezTo>
                  <a:cubicBezTo>
                    <a:pt x="0" y="896"/>
                    <a:pt x="895" y="0"/>
                    <a:pt x="2239" y="0"/>
                  </a:cubicBezTo>
                  <a:lnTo>
                    <a:pt x="69406" y="0"/>
                  </a:lnTo>
                  <a:cubicBezTo>
                    <a:pt x="70750" y="0"/>
                    <a:pt x="71645" y="896"/>
                    <a:pt x="71645" y="2239"/>
                  </a:cubicBezTo>
                  <a:cubicBezTo>
                    <a:pt x="71645" y="3582"/>
                    <a:pt x="70750" y="4478"/>
                    <a:pt x="69406" y="4478"/>
                  </a:cubicBezTo>
                  <a:close/>
                </a:path>
              </a:pathLst>
            </a:custGeom>
            <a:solidFill>
              <a:srgbClr val="231F20"/>
            </a:solidFill>
            <a:ln w="4474" cap="flat">
              <a:noFill/>
              <a:prstDash val="solid"/>
              <a:miter/>
            </a:ln>
          </p:spPr>
          <p:txBody>
            <a:bodyPr rtlCol="0" anchor="ctr"/>
            <a:lstStyle/>
            <a:p>
              <a:endParaRPr lang="en-US"/>
            </a:p>
          </p:txBody>
        </p:sp>
        <p:sp>
          <p:nvSpPr>
            <p:cNvPr id="4083" name="Freeform: Shape 4082">
              <a:extLst>
                <a:ext uri="{FF2B5EF4-FFF2-40B4-BE49-F238E27FC236}">
                  <a16:creationId xmlns:a16="http://schemas.microsoft.com/office/drawing/2014/main" id="{AABE1D0F-D900-40CB-AD27-F2CE725925A9}"/>
                </a:ext>
              </a:extLst>
            </p:cNvPr>
            <p:cNvSpPr/>
            <p:nvPr/>
          </p:nvSpPr>
          <p:spPr>
            <a:xfrm>
              <a:off x="5363943" y="1101629"/>
              <a:ext cx="71645" cy="4478"/>
            </a:xfrm>
            <a:custGeom>
              <a:avLst/>
              <a:gdLst>
                <a:gd name="connsiteX0" fmla="*/ 69406 w 71645"/>
                <a:gd name="connsiteY0" fmla="*/ 4478 h 4477"/>
                <a:gd name="connsiteX1" fmla="*/ 2239 w 71645"/>
                <a:gd name="connsiteY1" fmla="*/ 4478 h 4477"/>
                <a:gd name="connsiteX2" fmla="*/ 0 w 71645"/>
                <a:gd name="connsiteY2" fmla="*/ 2239 h 4477"/>
                <a:gd name="connsiteX3" fmla="*/ 2239 w 71645"/>
                <a:gd name="connsiteY3" fmla="*/ 0 h 4477"/>
                <a:gd name="connsiteX4" fmla="*/ 69406 w 71645"/>
                <a:gd name="connsiteY4" fmla="*/ 0 h 4477"/>
                <a:gd name="connsiteX5" fmla="*/ 71645 w 71645"/>
                <a:gd name="connsiteY5" fmla="*/ 2239 h 4477"/>
                <a:gd name="connsiteX6" fmla="*/ 69406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69406" y="4478"/>
                  </a:moveTo>
                  <a:lnTo>
                    <a:pt x="2239" y="4478"/>
                  </a:lnTo>
                  <a:cubicBezTo>
                    <a:pt x="895" y="4478"/>
                    <a:pt x="0" y="3582"/>
                    <a:pt x="0" y="2239"/>
                  </a:cubicBezTo>
                  <a:cubicBezTo>
                    <a:pt x="0" y="896"/>
                    <a:pt x="895" y="0"/>
                    <a:pt x="2239" y="0"/>
                  </a:cubicBezTo>
                  <a:lnTo>
                    <a:pt x="69406" y="0"/>
                  </a:lnTo>
                  <a:cubicBezTo>
                    <a:pt x="70750" y="0"/>
                    <a:pt x="71645" y="896"/>
                    <a:pt x="71645" y="2239"/>
                  </a:cubicBezTo>
                  <a:cubicBezTo>
                    <a:pt x="71645" y="3582"/>
                    <a:pt x="70750" y="4478"/>
                    <a:pt x="69406" y="4478"/>
                  </a:cubicBezTo>
                  <a:close/>
                </a:path>
              </a:pathLst>
            </a:custGeom>
            <a:solidFill>
              <a:srgbClr val="231F20"/>
            </a:solidFill>
            <a:ln w="4474" cap="flat">
              <a:noFill/>
              <a:prstDash val="solid"/>
              <a:miter/>
            </a:ln>
          </p:spPr>
          <p:txBody>
            <a:bodyPr rtlCol="0" anchor="ctr"/>
            <a:lstStyle/>
            <a:p>
              <a:endParaRPr lang="en-US"/>
            </a:p>
          </p:txBody>
        </p:sp>
        <p:sp>
          <p:nvSpPr>
            <p:cNvPr id="4084" name="Freeform: Shape 4083">
              <a:extLst>
                <a:ext uri="{FF2B5EF4-FFF2-40B4-BE49-F238E27FC236}">
                  <a16:creationId xmlns:a16="http://schemas.microsoft.com/office/drawing/2014/main" id="{2C3387BA-C3AC-4BEC-A4A1-BF86EA590DA8}"/>
                </a:ext>
              </a:extLst>
            </p:cNvPr>
            <p:cNvSpPr/>
            <p:nvPr/>
          </p:nvSpPr>
          <p:spPr>
            <a:xfrm>
              <a:off x="5363495" y="1074762"/>
              <a:ext cx="53734" cy="4478"/>
            </a:xfrm>
            <a:custGeom>
              <a:avLst/>
              <a:gdLst>
                <a:gd name="connsiteX0" fmla="*/ 54629 w 53733"/>
                <a:gd name="connsiteY0" fmla="*/ 4478 h 4477"/>
                <a:gd name="connsiteX1" fmla="*/ 2239 w 53733"/>
                <a:gd name="connsiteY1" fmla="*/ 4478 h 4477"/>
                <a:gd name="connsiteX2" fmla="*/ 0 w 53733"/>
                <a:gd name="connsiteY2" fmla="*/ 2239 h 4477"/>
                <a:gd name="connsiteX3" fmla="*/ 2239 w 53733"/>
                <a:gd name="connsiteY3" fmla="*/ 0 h 4477"/>
                <a:gd name="connsiteX4" fmla="*/ 54629 w 53733"/>
                <a:gd name="connsiteY4" fmla="*/ 0 h 4477"/>
                <a:gd name="connsiteX5" fmla="*/ 56868 w 53733"/>
                <a:gd name="connsiteY5" fmla="*/ 2239 h 4477"/>
                <a:gd name="connsiteX6" fmla="*/ 54629 w 537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33" h="4477">
                  <a:moveTo>
                    <a:pt x="54629" y="4478"/>
                  </a:moveTo>
                  <a:lnTo>
                    <a:pt x="2239" y="4478"/>
                  </a:lnTo>
                  <a:cubicBezTo>
                    <a:pt x="895" y="4478"/>
                    <a:pt x="0" y="3582"/>
                    <a:pt x="0" y="2239"/>
                  </a:cubicBezTo>
                  <a:cubicBezTo>
                    <a:pt x="0" y="896"/>
                    <a:pt x="895" y="0"/>
                    <a:pt x="2239" y="0"/>
                  </a:cubicBezTo>
                  <a:lnTo>
                    <a:pt x="54629" y="0"/>
                  </a:lnTo>
                  <a:cubicBezTo>
                    <a:pt x="55973" y="0"/>
                    <a:pt x="56868" y="896"/>
                    <a:pt x="56868" y="2239"/>
                  </a:cubicBezTo>
                  <a:cubicBezTo>
                    <a:pt x="56868" y="3582"/>
                    <a:pt x="55973" y="4478"/>
                    <a:pt x="54629" y="4478"/>
                  </a:cubicBezTo>
                  <a:close/>
                </a:path>
              </a:pathLst>
            </a:custGeom>
            <a:solidFill>
              <a:srgbClr val="231F20"/>
            </a:solidFill>
            <a:ln w="4474" cap="flat">
              <a:noFill/>
              <a:prstDash val="solid"/>
              <a:miter/>
            </a:ln>
          </p:spPr>
          <p:txBody>
            <a:bodyPr rtlCol="0" anchor="ctr"/>
            <a:lstStyle/>
            <a:p>
              <a:endParaRPr lang="en-US"/>
            </a:p>
          </p:txBody>
        </p:sp>
      </p:grpSp>
      <p:grpSp>
        <p:nvGrpSpPr>
          <p:cNvPr id="4085" name="Group 4084">
            <a:extLst>
              <a:ext uri="{FF2B5EF4-FFF2-40B4-BE49-F238E27FC236}">
                <a16:creationId xmlns:a16="http://schemas.microsoft.com/office/drawing/2014/main" id="{360A324B-D9B0-4881-BFB3-CCEE38307C39}"/>
              </a:ext>
              <a:ext uri="{C183D7F6-B498-43B3-948B-1728B52AA6E4}">
                <adec:decorative xmlns:adec="http://schemas.microsoft.com/office/drawing/2017/decorative" val="1"/>
              </a:ext>
            </a:extLst>
          </p:cNvPr>
          <p:cNvGrpSpPr>
            <a:grpSpLocks noChangeAspect="1"/>
          </p:cNvGrpSpPr>
          <p:nvPr/>
        </p:nvGrpSpPr>
        <p:grpSpPr>
          <a:xfrm>
            <a:off x="3193090" y="1716615"/>
            <a:ext cx="152246" cy="124930"/>
            <a:chOff x="3233844" y="981176"/>
            <a:chExt cx="152246" cy="124930"/>
          </a:xfrm>
        </p:grpSpPr>
        <p:sp>
          <p:nvSpPr>
            <p:cNvPr id="4086" name="Freeform: Shape 4085">
              <a:extLst>
                <a:ext uri="{FF2B5EF4-FFF2-40B4-BE49-F238E27FC236}">
                  <a16:creationId xmlns:a16="http://schemas.microsoft.com/office/drawing/2014/main" id="{E2333C9D-70A4-497C-B571-0EA2AD9F248E}"/>
                </a:ext>
              </a:extLst>
            </p:cNvPr>
            <p:cNvSpPr/>
            <p:nvPr/>
          </p:nvSpPr>
          <p:spPr>
            <a:xfrm>
              <a:off x="3233844"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82840 w 152245"/>
                <a:gd name="connsiteY8" fmla="*/ 13433 h 111945"/>
                <a:gd name="connsiteX9" fmla="*/ 85079 w 152245"/>
                <a:gd name="connsiteY9" fmla="*/ 15672 h 111945"/>
                <a:gd name="connsiteX10" fmla="*/ 82840 w 152245"/>
                <a:gd name="connsiteY10" fmla="*/ 17911 h 111945"/>
                <a:gd name="connsiteX11" fmla="*/ 76123 w 152245"/>
                <a:gd name="connsiteY11" fmla="*/ 17911 h 111945"/>
                <a:gd name="connsiteX12" fmla="*/ 67167 w 152245"/>
                <a:gd name="connsiteY12" fmla="*/ 8956 h 111945"/>
                <a:gd name="connsiteX13" fmla="*/ 62689 w 152245"/>
                <a:gd name="connsiteY13" fmla="*/ 4478 h 111945"/>
                <a:gd name="connsiteX14" fmla="*/ 15672 w 152245"/>
                <a:gd name="connsiteY14" fmla="*/ 4478 h 111945"/>
                <a:gd name="connsiteX15" fmla="*/ 4478 w 152245"/>
                <a:gd name="connsiteY15" fmla="*/ 15672 h 111945"/>
                <a:gd name="connsiteX16" fmla="*/ 4478 w 152245"/>
                <a:gd name="connsiteY16" fmla="*/ 96273 h 111945"/>
                <a:gd name="connsiteX17" fmla="*/ 15672 w 152245"/>
                <a:gd name="connsiteY17" fmla="*/ 107468 h 111945"/>
                <a:gd name="connsiteX18" fmla="*/ 136573 w 152245"/>
                <a:gd name="connsiteY18" fmla="*/ 107468 h 111945"/>
                <a:gd name="connsiteX19" fmla="*/ 147768 w 152245"/>
                <a:gd name="connsiteY19" fmla="*/ 96273 h 111945"/>
                <a:gd name="connsiteX20" fmla="*/ 147768 w 152245"/>
                <a:gd name="connsiteY20" fmla="*/ 29106 h 111945"/>
                <a:gd name="connsiteX21" fmla="*/ 136573 w 152245"/>
                <a:gd name="connsiteY21" fmla="*/ 17911 h 111945"/>
                <a:gd name="connsiteX22" fmla="*/ 123140 w 152245"/>
                <a:gd name="connsiteY22" fmla="*/ 17911 h 111945"/>
                <a:gd name="connsiteX23" fmla="*/ 120901 w 152245"/>
                <a:gd name="connsiteY23" fmla="*/ 15672 h 111945"/>
                <a:gd name="connsiteX24" fmla="*/ 123140 w 152245"/>
                <a:gd name="connsiteY24" fmla="*/ 13433 h 111945"/>
                <a:gd name="connsiteX25" fmla="*/ 136573 w 152245"/>
                <a:gd name="connsiteY25" fmla="*/ 13433 h 111945"/>
                <a:gd name="connsiteX26" fmla="*/ 152246 w 152245"/>
                <a:gd name="connsiteY26" fmla="*/ 29106 h 111945"/>
                <a:gd name="connsiteX27" fmla="*/ 152246 w 152245"/>
                <a:gd name="connsiteY27" fmla="*/ 96273 h 111945"/>
                <a:gd name="connsiteX28" fmla="*/ 136573 w 152245"/>
                <a:gd name="connsiteY28" fmla="*/ 11194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82840" y="13433"/>
                  </a:lnTo>
                  <a:cubicBezTo>
                    <a:pt x="84183" y="13433"/>
                    <a:pt x="85079" y="14329"/>
                    <a:pt x="85079" y="15672"/>
                  </a:cubicBezTo>
                  <a:cubicBezTo>
                    <a:pt x="85079" y="17016"/>
                    <a:pt x="84183" y="17911"/>
                    <a:pt x="82840" y="17911"/>
                  </a:cubicBezTo>
                  <a:lnTo>
                    <a:pt x="76123" y="17911"/>
                  </a:lnTo>
                  <a:cubicBezTo>
                    <a:pt x="71197" y="17911"/>
                    <a:pt x="67167" y="13881"/>
                    <a:pt x="67167" y="8956"/>
                  </a:cubicBezTo>
                  <a:cubicBezTo>
                    <a:pt x="67167" y="6269"/>
                    <a:pt x="65376" y="4478"/>
                    <a:pt x="62689" y="4478"/>
                  </a:cubicBezTo>
                  <a:lnTo>
                    <a:pt x="15672" y="4478"/>
                  </a:lnTo>
                  <a:cubicBezTo>
                    <a:pt x="9404" y="4478"/>
                    <a:pt x="4478" y="9403"/>
                    <a:pt x="4478" y="15672"/>
                  </a:cubicBezTo>
                  <a:lnTo>
                    <a:pt x="4478" y="96273"/>
                  </a:lnTo>
                  <a:cubicBezTo>
                    <a:pt x="4478" y="102542"/>
                    <a:pt x="9404" y="107468"/>
                    <a:pt x="15672" y="107468"/>
                  </a:cubicBezTo>
                  <a:lnTo>
                    <a:pt x="136573" y="107468"/>
                  </a:lnTo>
                  <a:cubicBezTo>
                    <a:pt x="142843" y="107468"/>
                    <a:pt x="147768" y="102542"/>
                    <a:pt x="147768" y="96273"/>
                  </a:cubicBezTo>
                  <a:lnTo>
                    <a:pt x="147768" y="29106"/>
                  </a:lnTo>
                  <a:cubicBezTo>
                    <a:pt x="147768" y="22837"/>
                    <a:pt x="142843" y="17911"/>
                    <a:pt x="136573" y="17911"/>
                  </a:cubicBezTo>
                  <a:lnTo>
                    <a:pt x="123140" y="17911"/>
                  </a:lnTo>
                  <a:cubicBezTo>
                    <a:pt x="121797" y="17911"/>
                    <a:pt x="120901" y="17016"/>
                    <a:pt x="120901" y="15672"/>
                  </a:cubicBezTo>
                  <a:cubicBezTo>
                    <a:pt x="120901" y="14329"/>
                    <a:pt x="121797" y="13433"/>
                    <a:pt x="123140" y="13433"/>
                  </a:cubicBezTo>
                  <a:lnTo>
                    <a:pt x="136573" y="13433"/>
                  </a:lnTo>
                  <a:cubicBezTo>
                    <a:pt x="145081" y="13433"/>
                    <a:pt x="152246" y="20598"/>
                    <a:pt x="152246" y="29106"/>
                  </a:cubicBezTo>
                  <a:lnTo>
                    <a:pt x="152246" y="96273"/>
                  </a:lnTo>
                  <a:cubicBezTo>
                    <a:pt x="152246" y="105229"/>
                    <a:pt x="145081" y="111945"/>
                    <a:pt x="136573" y="111945"/>
                  </a:cubicBezTo>
                  <a:close/>
                </a:path>
              </a:pathLst>
            </a:custGeom>
            <a:solidFill>
              <a:srgbClr val="231F20"/>
            </a:solidFill>
            <a:ln w="4474" cap="flat">
              <a:noFill/>
              <a:prstDash val="solid"/>
              <a:miter/>
            </a:ln>
          </p:spPr>
          <p:txBody>
            <a:bodyPr rtlCol="0" anchor="ctr"/>
            <a:lstStyle/>
            <a:p>
              <a:endParaRPr lang="en-US"/>
            </a:p>
          </p:txBody>
        </p:sp>
        <p:sp>
          <p:nvSpPr>
            <p:cNvPr id="4087" name="Freeform: Shape 4086">
              <a:extLst>
                <a:ext uri="{FF2B5EF4-FFF2-40B4-BE49-F238E27FC236}">
                  <a16:creationId xmlns:a16="http://schemas.microsoft.com/office/drawing/2014/main" id="{FDE4DD0B-613C-43D4-89F8-68FA963B3986}"/>
                </a:ext>
              </a:extLst>
            </p:cNvPr>
            <p:cNvSpPr/>
            <p:nvPr/>
          </p:nvSpPr>
          <p:spPr>
            <a:xfrm>
              <a:off x="3318251" y="981176"/>
              <a:ext cx="35823" cy="98512"/>
            </a:xfrm>
            <a:custGeom>
              <a:avLst/>
              <a:gdLst>
                <a:gd name="connsiteX0" fmla="*/ 35599 w 35822"/>
                <a:gd name="connsiteY0" fmla="*/ 16120 h 98511"/>
                <a:gd name="connsiteX1" fmla="*/ 19926 w 35822"/>
                <a:gd name="connsiteY1" fmla="*/ 448 h 98511"/>
                <a:gd name="connsiteX2" fmla="*/ 19031 w 35822"/>
                <a:gd name="connsiteY2" fmla="*/ 0 h 98511"/>
                <a:gd name="connsiteX3" fmla="*/ 19031 w 35822"/>
                <a:gd name="connsiteY3" fmla="*/ 0 h 98511"/>
                <a:gd name="connsiteX4" fmla="*/ 19031 w 35822"/>
                <a:gd name="connsiteY4" fmla="*/ 0 h 98511"/>
                <a:gd name="connsiteX5" fmla="*/ 17687 w 35822"/>
                <a:gd name="connsiteY5" fmla="*/ 0 h 98511"/>
                <a:gd name="connsiteX6" fmla="*/ 17240 w 35822"/>
                <a:gd name="connsiteY6" fmla="*/ 0 h 98511"/>
                <a:gd name="connsiteX7" fmla="*/ 16344 w 35822"/>
                <a:gd name="connsiteY7" fmla="*/ 448 h 98511"/>
                <a:gd name="connsiteX8" fmla="*/ 672 w 35822"/>
                <a:gd name="connsiteY8" fmla="*/ 16120 h 98511"/>
                <a:gd name="connsiteX9" fmla="*/ 672 w 35822"/>
                <a:gd name="connsiteY9" fmla="*/ 19255 h 98511"/>
                <a:gd name="connsiteX10" fmla="*/ 3806 w 35822"/>
                <a:gd name="connsiteY10" fmla="*/ 19255 h 98511"/>
                <a:gd name="connsiteX11" fmla="*/ 15448 w 35822"/>
                <a:gd name="connsiteY11" fmla="*/ 7612 h 98511"/>
                <a:gd name="connsiteX12" fmla="*/ 15448 w 35822"/>
                <a:gd name="connsiteY12" fmla="*/ 96273 h 98511"/>
                <a:gd name="connsiteX13" fmla="*/ 17687 w 35822"/>
                <a:gd name="connsiteY13" fmla="*/ 98512 h 98511"/>
                <a:gd name="connsiteX14" fmla="*/ 19926 w 35822"/>
                <a:gd name="connsiteY14" fmla="*/ 96273 h 98511"/>
                <a:gd name="connsiteX15" fmla="*/ 19926 w 35822"/>
                <a:gd name="connsiteY15" fmla="*/ 7612 h 98511"/>
                <a:gd name="connsiteX16" fmla="*/ 31569 w 35822"/>
                <a:gd name="connsiteY16" fmla="*/ 19255 h 98511"/>
                <a:gd name="connsiteX17" fmla="*/ 33360 w 35822"/>
                <a:gd name="connsiteY17" fmla="*/ 19702 h 98511"/>
                <a:gd name="connsiteX18" fmla="*/ 35151 w 35822"/>
                <a:gd name="connsiteY18" fmla="*/ 19255 h 98511"/>
                <a:gd name="connsiteX19" fmla="*/ 35599 w 35822"/>
                <a:gd name="connsiteY19" fmla="*/ 1612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22" h="98511">
                  <a:moveTo>
                    <a:pt x="35599" y="16120"/>
                  </a:moveTo>
                  <a:lnTo>
                    <a:pt x="19926" y="448"/>
                  </a:lnTo>
                  <a:cubicBezTo>
                    <a:pt x="19926" y="448"/>
                    <a:pt x="19479" y="0"/>
                    <a:pt x="19031" y="0"/>
                  </a:cubicBezTo>
                  <a:cubicBezTo>
                    <a:pt x="19031" y="0"/>
                    <a:pt x="19031" y="0"/>
                    <a:pt x="19031" y="0"/>
                  </a:cubicBezTo>
                  <a:cubicBezTo>
                    <a:pt x="19031" y="0"/>
                    <a:pt x="19031" y="0"/>
                    <a:pt x="19031" y="0"/>
                  </a:cubicBezTo>
                  <a:cubicBezTo>
                    <a:pt x="18583" y="0"/>
                    <a:pt x="18135" y="0"/>
                    <a:pt x="17687" y="0"/>
                  </a:cubicBezTo>
                  <a:cubicBezTo>
                    <a:pt x="17687" y="0"/>
                    <a:pt x="17687" y="0"/>
                    <a:pt x="17240" y="0"/>
                  </a:cubicBezTo>
                  <a:cubicBezTo>
                    <a:pt x="16792" y="0"/>
                    <a:pt x="16344" y="448"/>
                    <a:pt x="16344" y="448"/>
                  </a:cubicBezTo>
                  <a:lnTo>
                    <a:pt x="672" y="16120"/>
                  </a:lnTo>
                  <a:cubicBezTo>
                    <a:pt x="-224" y="17016"/>
                    <a:pt x="-224" y="18359"/>
                    <a:pt x="672" y="19255"/>
                  </a:cubicBezTo>
                  <a:cubicBezTo>
                    <a:pt x="1567" y="20150"/>
                    <a:pt x="2911" y="20150"/>
                    <a:pt x="3806" y="19255"/>
                  </a:cubicBezTo>
                  <a:lnTo>
                    <a:pt x="15448" y="7612"/>
                  </a:lnTo>
                  <a:lnTo>
                    <a:pt x="15448" y="96273"/>
                  </a:lnTo>
                  <a:cubicBezTo>
                    <a:pt x="15448" y="97616"/>
                    <a:pt x="16344" y="98512"/>
                    <a:pt x="17687" y="98512"/>
                  </a:cubicBezTo>
                  <a:cubicBezTo>
                    <a:pt x="19031" y="98512"/>
                    <a:pt x="19926" y="97616"/>
                    <a:pt x="19926" y="96273"/>
                  </a:cubicBezTo>
                  <a:lnTo>
                    <a:pt x="19926" y="7612"/>
                  </a:lnTo>
                  <a:lnTo>
                    <a:pt x="31569" y="19255"/>
                  </a:lnTo>
                  <a:cubicBezTo>
                    <a:pt x="32016" y="19702"/>
                    <a:pt x="32464" y="19702"/>
                    <a:pt x="33360" y="19702"/>
                  </a:cubicBezTo>
                  <a:cubicBezTo>
                    <a:pt x="34255" y="19702"/>
                    <a:pt x="34703" y="19702"/>
                    <a:pt x="35151" y="19255"/>
                  </a:cubicBezTo>
                  <a:cubicBezTo>
                    <a:pt x="36494" y="18359"/>
                    <a:pt x="36494" y="17016"/>
                    <a:pt x="35599" y="16120"/>
                  </a:cubicBezTo>
                  <a:close/>
                </a:path>
              </a:pathLst>
            </a:custGeom>
            <a:solidFill>
              <a:srgbClr val="231F20"/>
            </a:solidFill>
            <a:ln w="4474" cap="flat">
              <a:noFill/>
              <a:prstDash val="solid"/>
              <a:miter/>
            </a:ln>
          </p:spPr>
          <p:txBody>
            <a:bodyPr rtlCol="0" anchor="ctr"/>
            <a:lstStyle/>
            <a:p>
              <a:endParaRPr lang="en-US"/>
            </a:p>
          </p:txBody>
        </p:sp>
      </p:grpSp>
      <p:grpSp>
        <p:nvGrpSpPr>
          <p:cNvPr id="4088" name="Group 4087">
            <a:extLst>
              <a:ext uri="{FF2B5EF4-FFF2-40B4-BE49-F238E27FC236}">
                <a16:creationId xmlns:a16="http://schemas.microsoft.com/office/drawing/2014/main" id="{6A4A47BE-97CA-4728-8217-23D59F66EDA2}"/>
              </a:ext>
              <a:ext uri="{C183D7F6-B498-43B3-948B-1728B52AA6E4}">
                <adec:decorative xmlns:adec="http://schemas.microsoft.com/office/drawing/2017/decorative" val="1"/>
              </a:ext>
            </a:extLst>
          </p:cNvPr>
          <p:cNvGrpSpPr>
            <a:grpSpLocks noChangeAspect="1"/>
          </p:cNvGrpSpPr>
          <p:nvPr/>
        </p:nvGrpSpPr>
        <p:grpSpPr>
          <a:xfrm>
            <a:off x="3446983" y="1716167"/>
            <a:ext cx="152246" cy="125378"/>
            <a:chOff x="3487737" y="980728"/>
            <a:chExt cx="152246" cy="125378"/>
          </a:xfrm>
        </p:grpSpPr>
        <p:sp>
          <p:nvSpPr>
            <p:cNvPr id="4089" name="Freeform: Shape 4088">
              <a:extLst>
                <a:ext uri="{FF2B5EF4-FFF2-40B4-BE49-F238E27FC236}">
                  <a16:creationId xmlns:a16="http://schemas.microsoft.com/office/drawing/2014/main" id="{9D5CADC5-A32A-4DB0-BAE5-4AD836884F92}"/>
                </a:ext>
              </a:extLst>
            </p:cNvPr>
            <p:cNvSpPr/>
            <p:nvPr/>
          </p:nvSpPr>
          <p:spPr>
            <a:xfrm>
              <a:off x="3487737"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96273 w 152245"/>
                <a:gd name="connsiteY8" fmla="*/ 13433 h 111945"/>
                <a:gd name="connsiteX9" fmla="*/ 98512 w 152245"/>
                <a:gd name="connsiteY9" fmla="*/ 15672 h 111945"/>
                <a:gd name="connsiteX10" fmla="*/ 96273 w 152245"/>
                <a:gd name="connsiteY10" fmla="*/ 17911 h 111945"/>
                <a:gd name="connsiteX11" fmla="*/ 76123 w 152245"/>
                <a:gd name="connsiteY11" fmla="*/ 17911 h 111945"/>
                <a:gd name="connsiteX12" fmla="*/ 67167 w 152245"/>
                <a:gd name="connsiteY12" fmla="*/ 8956 h 111945"/>
                <a:gd name="connsiteX13" fmla="*/ 62689 w 152245"/>
                <a:gd name="connsiteY13" fmla="*/ 4478 h 111945"/>
                <a:gd name="connsiteX14" fmla="*/ 15672 w 152245"/>
                <a:gd name="connsiteY14" fmla="*/ 4478 h 111945"/>
                <a:gd name="connsiteX15" fmla="*/ 4478 w 152245"/>
                <a:gd name="connsiteY15" fmla="*/ 15672 h 111945"/>
                <a:gd name="connsiteX16" fmla="*/ 4478 w 152245"/>
                <a:gd name="connsiteY16" fmla="*/ 96273 h 111945"/>
                <a:gd name="connsiteX17" fmla="*/ 15672 w 152245"/>
                <a:gd name="connsiteY17" fmla="*/ 107468 h 111945"/>
                <a:gd name="connsiteX18" fmla="*/ 136573 w 152245"/>
                <a:gd name="connsiteY18" fmla="*/ 107468 h 111945"/>
                <a:gd name="connsiteX19" fmla="*/ 147768 w 152245"/>
                <a:gd name="connsiteY19" fmla="*/ 96273 h 111945"/>
                <a:gd name="connsiteX20" fmla="*/ 147768 w 152245"/>
                <a:gd name="connsiteY20" fmla="*/ 29106 h 111945"/>
                <a:gd name="connsiteX21" fmla="*/ 136573 w 152245"/>
                <a:gd name="connsiteY21" fmla="*/ 18359 h 111945"/>
                <a:gd name="connsiteX22" fmla="*/ 123140 w 152245"/>
                <a:gd name="connsiteY22" fmla="*/ 18359 h 111945"/>
                <a:gd name="connsiteX23" fmla="*/ 120901 w 152245"/>
                <a:gd name="connsiteY23" fmla="*/ 16120 h 111945"/>
                <a:gd name="connsiteX24" fmla="*/ 123140 w 152245"/>
                <a:gd name="connsiteY24" fmla="*/ 13433 h 111945"/>
                <a:gd name="connsiteX25" fmla="*/ 136573 w 152245"/>
                <a:gd name="connsiteY25" fmla="*/ 13433 h 111945"/>
                <a:gd name="connsiteX26" fmla="*/ 152246 w 152245"/>
                <a:gd name="connsiteY26" fmla="*/ 28658 h 111945"/>
                <a:gd name="connsiteX27" fmla="*/ 152246 w 152245"/>
                <a:gd name="connsiteY27" fmla="*/ 95825 h 111945"/>
                <a:gd name="connsiteX28" fmla="*/ 136573 w 152245"/>
                <a:gd name="connsiteY28" fmla="*/ 11194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245" h="111945">
                  <a:moveTo>
                    <a:pt x="136573" y="111945"/>
                  </a:moveTo>
                  <a:lnTo>
                    <a:pt x="15672" y="111945"/>
                  </a:lnTo>
                  <a:cubicBezTo>
                    <a:pt x="7164" y="111945"/>
                    <a:pt x="0" y="104781"/>
                    <a:pt x="0" y="96273"/>
                  </a:cubicBezTo>
                  <a:lnTo>
                    <a:pt x="0" y="15672"/>
                  </a:lnTo>
                  <a:cubicBezTo>
                    <a:pt x="0" y="7165"/>
                    <a:pt x="7164" y="0"/>
                    <a:pt x="15672" y="0"/>
                  </a:cubicBezTo>
                  <a:lnTo>
                    <a:pt x="62689" y="0"/>
                  </a:lnTo>
                  <a:cubicBezTo>
                    <a:pt x="67615" y="0"/>
                    <a:pt x="71645" y="4030"/>
                    <a:pt x="71645" y="8956"/>
                  </a:cubicBezTo>
                  <a:cubicBezTo>
                    <a:pt x="71645" y="11642"/>
                    <a:pt x="73436" y="13433"/>
                    <a:pt x="76123" y="13433"/>
                  </a:cubicBezTo>
                  <a:lnTo>
                    <a:pt x="96273" y="13433"/>
                  </a:lnTo>
                  <a:cubicBezTo>
                    <a:pt x="97616" y="13433"/>
                    <a:pt x="98512" y="14329"/>
                    <a:pt x="98512" y="15672"/>
                  </a:cubicBezTo>
                  <a:cubicBezTo>
                    <a:pt x="98512" y="17016"/>
                    <a:pt x="97616" y="17911"/>
                    <a:pt x="96273" y="17911"/>
                  </a:cubicBezTo>
                  <a:lnTo>
                    <a:pt x="76123" y="17911"/>
                  </a:lnTo>
                  <a:cubicBezTo>
                    <a:pt x="71197" y="17911"/>
                    <a:pt x="67167" y="13881"/>
                    <a:pt x="67167" y="8956"/>
                  </a:cubicBezTo>
                  <a:cubicBezTo>
                    <a:pt x="67167" y="6269"/>
                    <a:pt x="65376" y="4478"/>
                    <a:pt x="62689" y="4478"/>
                  </a:cubicBezTo>
                  <a:lnTo>
                    <a:pt x="15672" y="4478"/>
                  </a:lnTo>
                  <a:cubicBezTo>
                    <a:pt x="9403" y="4478"/>
                    <a:pt x="4478" y="9403"/>
                    <a:pt x="4478" y="15672"/>
                  </a:cubicBezTo>
                  <a:lnTo>
                    <a:pt x="4478" y="96273"/>
                  </a:lnTo>
                  <a:cubicBezTo>
                    <a:pt x="4478" y="102542"/>
                    <a:pt x="9403" y="107468"/>
                    <a:pt x="15672" y="107468"/>
                  </a:cubicBezTo>
                  <a:lnTo>
                    <a:pt x="136573" y="107468"/>
                  </a:lnTo>
                  <a:cubicBezTo>
                    <a:pt x="142843" y="107468"/>
                    <a:pt x="147768" y="102542"/>
                    <a:pt x="147768" y="96273"/>
                  </a:cubicBezTo>
                  <a:lnTo>
                    <a:pt x="147768" y="29106"/>
                  </a:lnTo>
                  <a:cubicBezTo>
                    <a:pt x="147768" y="22837"/>
                    <a:pt x="142843" y="18359"/>
                    <a:pt x="136573" y="18359"/>
                  </a:cubicBezTo>
                  <a:lnTo>
                    <a:pt x="123140" y="18359"/>
                  </a:lnTo>
                  <a:cubicBezTo>
                    <a:pt x="121797" y="18359"/>
                    <a:pt x="120901" y="17463"/>
                    <a:pt x="120901" y="16120"/>
                  </a:cubicBezTo>
                  <a:cubicBezTo>
                    <a:pt x="120901" y="14777"/>
                    <a:pt x="122244" y="13433"/>
                    <a:pt x="123140" y="13433"/>
                  </a:cubicBezTo>
                  <a:lnTo>
                    <a:pt x="136573" y="13433"/>
                  </a:lnTo>
                  <a:cubicBezTo>
                    <a:pt x="145529" y="13433"/>
                    <a:pt x="152246" y="20150"/>
                    <a:pt x="152246" y="28658"/>
                  </a:cubicBezTo>
                  <a:lnTo>
                    <a:pt x="152246" y="95825"/>
                  </a:lnTo>
                  <a:cubicBezTo>
                    <a:pt x="152246" y="104781"/>
                    <a:pt x="145529" y="111945"/>
                    <a:pt x="136573" y="111945"/>
                  </a:cubicBezTo>
                  <a:close/>
                </a:path>
              </a:pathLst>
            </a:custGeom>
            <a:solidFill>
              <a:srgbClr val="231F20"/>
            </a:solidFill>
            <a:ln w="4474" cap="flat">
              <a:noFill/>
              <a:prstDash val="solid"/>
              <a:miter/>
            </a:ln>
          </p:spPr>
          <p:txBody>
            <a:bodyPr rtlCol="0" anchor="ctr"/>
            <a:lstStyle/>
            <a:p>
              <a:endParaRPr lang="en-US"/>
            </a:p>
          </p:txBody>
        </p:sp>
        <p:sp>
          <p:nvSpPr>
            <p:cNvPr id="4090" name="Freeform: Shape 4089">
              <a:extLst>
                <a:ext uri="{FF2B5EF4-FFF2-40B4-BE49-F238E27FC236}">
                  <a16:creationId xmlns:a16="http://schemas.microsoft.com/office/drawing/2014/main" id="{14996CDE-C4F6-4619-848B-82290610C1AC}"/>
                </a:ext>
              </a:extLst>
            </p:cNvPr>
            <p:cNvSpPr/>
            <p:nvPr/>
          </p:nvSpPr>
          <p:spPr>
            <a:xfrm>
              <a:off x="3580204" y="980728"/>
              <a:ext cx="31345" cy="98512"/>
            </a:xfrm>
            <a:custGeom>
              <a:avLst/>
              <a:gdLst>
                <a:gd name="connsiteX0" fmla="*/ 34703 w 31344"/>
                <a:gd name="connsiteY0" fmla="*/ 79257 h 98511"/>
                <a:gd name="connsiteX1" fmla="*/ 31569 w 31344"/>
                <a:gd name="connsiteY1" fmla="*/ 79257 h 98511"/>
                <a:gd name="connsiteX2" fmla="*/ 19926 w 31344"/>
                <a:gd name="connsiteY2" fmla="*/ 90900 h 98511"/>
                <a:gd name="connsiteX3" fmla="*/ 19926 w 31344"/>
                <a:gd name="connsiteY3" fmla="*/ 2239 h 98511"/>
                <a:gd name="connsiteX4" fmla="*/ 17687 w 31344"/>
                <a:gd name="connsiteY4" fmla="*/ 0 h 98511"/>
                <a:gd name="connsiteX5" fmla="*/ 15448 w 31344"/>
                <a:gd name="connsiteY5" fmla="*/ 2239 h 98511"/>
                <a:gd name="connsiteX6" fmla="*/ 15448 w 31344"/>
                <a:gd name="connsiteY6" fmla="*/ 90900 h 98511"/>
                <a:gd name="connsiteX7" fmla="*/ 3806 w 31344"/>
                <a:gd name="connsiteY7" fmla="*/ 79257 h 98511"/>
                <a:gd name="connsiteX8" fmla="*/ 672 w 31344"/>
                <a:gd name="connsiteY8" fmla="*/ 79257 h 98511"/>
                <a:gd name="connsiteX9" fmla="*/ 672 w 31344"/>
                <a:gd name="connsiteY9" fmla="*/ 82392 h 98511"/>
                <a:gd name="connsiteX10" fmla="*/ 16344 w 31344"/>
                <a:gd name="connsiteY10" fmla="*/ 98064 h 98511"/>
                <a:gd name="connsiteX11" fmla="*/ 17240 w 31344"/>
                <a:gd name="connsiteY11" fmla="*/ 98512 h 98511"/>
                <a:gd name="connsiteX12" fmla="*/ 17240 w 31344"/>
                <a:gd name="connsiteY12" fmla="*/ 98512 h 98511"/>
                <a:gd name="connsiteX13" fmla="*/ 17240 w 31344"/>
                <a:gd name="connsiteY13" fmla="*/ 98512 h 98511"/>
                <a:gd name="connsiteX14" fmla="*/ 18135 w 31344"/>
                <a:gd name="connsiteY14" fmla="*/ 98512 h 98511"/>
                <a:gd name="connsiteX15" fmla="*/ 19031 w 31344"/>
                <a:gd name="connsiteY15" fmla="*/ 98512 h 98511"/>
                <a:gd name="connsiteX16" fmla="*/ 19926 w 31344"/>
                <a:gd name="connsiteY16" fmla="*/ 98064 h 98511"/>
                <a:gd name="connsiteX17" fmla="*/ 35599 w 31344"/>
                <a:gd name="connsiteY17" fmla="*/ 82392 h 98511"/>
                <a:gd name="connsiteX18" fmla="*/ 34703 w 31344"/>
                <a:gd name="connsiteY18" fmla="*/ 79257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98511">
                  <a:moveTo>
                    <a:pt x="34703" y="79257"/>
                  </a:moveTo>
                  <a:cubicBezTo>
                    <a:pt x="33808" y="78362"/>
                    <a:pt x="32464" y="78362"/>
                    <a:pt x="31569" y="79257"/>
                  </a:cubicBezTo>
                  <a:lnTo>
                    <a:pt x="19926" y="90900"/>
                  </a:lnTo>
                  <a:lnTo>
                    <a:pt x="19926" y="2239"/>
                  </a:lnTo>
                  <a:cubicBezTo>
                    <a:pt x="19926" y="896"/>
                    <a:pt x="19031" y="0"/>
                    <a:pt x="17687" y="0"/>
                  </a:cubicBezTo>
                  <a:cubicBezTo>
                    <a:pt x="16344" y="0"/>
                    <a:pt x="15448" y="896"/>
                    <a:pt x="15448" y="2239"/>
                  </a:cubicBezTo>
                  <a:lnTo>
                    <a:pt x="15448" y="90900"/>
                  </a:lnTo>
                  <a:lnTo>
                    <a:pt x="3806" y="79257"/>
                  </a:lnTo>
                  <a:cubicBezTo>
                    <a:pt x="2911" y="78362"/>
                    <a:pt x="1567" y="78362"/>
                    <a:pt x="672" y="79257"/>
                  </a:cubicBezTo>
                  <a:cubicBezTo>
                    <a:pt x="-224" y="80153"/>
                    <a:pt x="-224" y="81496"/>
                    <a:pt x="672" y="82392"/>
                  </a:cubicBezTo>
                  <a:lnTo>
                    <a:pt x="16344" y="98064"/>
                  </a:lnTo>
                  <a:cubicBezTo>
                    <a:pt x="16344" y="98064"/>
                    <a:pt x="16792" y="98512"/>
                    <a:pt x="17240" y="98512"/>
                  </a:cubicBezTo>
                  <a:cubicBezTo>
                    <a:pt x="17240" y="98512"/>
                    <a:pt x="17240" y="98512"/>
                    <a:pt x="17240" y="98512"/>
                  </a:cubicBezTo>
                  <a:cubicBezTo>
                    <a:pt x="17240" y="98512"/>
                    <a:pt x="17240" y="98512"/>
                    <a:pt x="17240" y="98512"/>
                  </a:cubicBezTo>
                  <a:cubicBezTo>
                    <a:pt x="17687" y="98512"/>
                    <a:pt x="17687" y="98512"/>
                    <a:pt x="18135" y="98512"/>
                  </a:cubicBezTo>
                  <a:cubicBezTo>
                    <a:pt x="18583" y="98512"/>
                    <a:pt x="18583" y="98512"/>
                    <a:pt x="19031" y="98512"/>
                  </a:cubicBezTo>
                  <a:cubicBezTo>
                    <a:pt x="19479" y="98512"/>
                    <a:pt x="19479" y="98064"/>
                    <a:pt x="19926" y="98064"/>
                  </a:cubicBezTo>
                  <a:lnTo>
                    <a:pt x="35599" y="82392"/>
                  </a:lnTo>
                  <a:cubicBezTo>
                    <a:pt x="35599" y="81496"/>
                    <a:pt x="35599" y="79705"/>
                    <a:pt x="34703" y="79257"/>
                  </a:cubicBezTo>
                  <a:close/>
                </a:path>
              </a:pathLst>
            </a:custGeom>
            <a:solidFill>
              <a:srgbClr val="231F20"/>
            </a:solidFill>
            <a:ln w="4474" cap="flat">
              <a:noFill/>
              <a:prstDash val="solid"/>
              <a:miter/>
            </a:ln>
          </p:spPr>
          <p:txBody>
            <a:bodyPr rtlCol="0" anchor="ctr"/>
            <a:lstStyle/>
            <a:p>
              <a:endParaRPr lang="en-US"/>
            </a:p>
          </p:txBody>
        </p:sp>
      </p:grpSp>
      <p:grpSp>
        <p:nvGrpSpPr>
          <p:cNvPr id="4091" name="Group 4090">
            <a:extLst>
              <a:ext uri="{FF2B5EF4-FFF2-40B4-BE49-F238E27FC236}">
                <a16:creationId xmlns:a16="http://schemas.microsoft.com/office/drawing/2014/main" id="{00832452-6C71-4622-AFF1-5D4A533EE7D0}"/>
              </a:ext>
              <a:ext uri="{C183D7F6-B498-43B3-948B-1728B52AA6E4}">
                <adec:decorative xmlns:adec="http://schemas.microsoft.com/office/drawing/2017/decorative" val="1"/>
              </a:ext>
            </a:extLst>
          </p:cNvPr>
          <p:cNvGrpSpPr>
            <a:grpSpLocks noChangeAspect="1"/>
          </p:cNvGrpSpPr>
          <p:nvPr/>
        </p:nvGrpSpPr>
        <p:grpSpPr>
          <a:xfrm>
            <a:off x="2917257" y="1729600"/>
            <a:ext cx="152246" cy="138812"/>
            <a:chOff x="2958011" y="994161"/>
            <a:chExt cx="152246" cy="138812"/>
          </a:xfrm>
        </p:grpSpPr>
        <p:sp>
          <p:nvSpPr>
            <p:cNvPr id="4092" name="Freeform: Shape 4091">
              <a:extLst>
                <a:ext uri="{FF2B5EF4-FFF2-40B4-BE49-F238E27FC236}">
                  <a16:creationId xmlns:a16="http://schemas.microsoft.com/office/drawing/2014/main" id="{18E9291D-C364-4780-8A67-40BFDD4DE103}"/>
                </a:ext>
              </a:extLst>
            </p:cNvPr>
            <p:cNvSpPr/>
            <p:nvPr/>
          </p:nvSpPr>
          <p:spPr>
            <a:xfrm>
              <a:off x="2958011" y="994161"/>
              <a:ext cx="152246" cy="138812"/>
            </a:xfrm>
            <a:custGeom>
              <a:avLst/>
              <a:gdLst>
                <a:gd name="connsiteX0" fmla="*/ 136573 w 152245"/>
                <a:gd name="connsiteY0" fmla="*/ 40300 h 138812"/>
                <a:gd name="connsiteX1" fmla="*/ 125379 w 152245"/>
                <a:gd name="connsiteY1" fmla="*/ 40300 h 138812"/>
                <a:gd name="connsiteX2" fmla="*/ 125379 w 152245"/>
                <a:gd name="connsiteY2" fmla="*/ 29106 h 138812"/>
                <a:gd name="connsiteX3" fmla="*/ 109707 w 152245"/>
                <a:gd name="connsiteY3" fmla="*/ 13433 h 138812"/>
                <a:gd name="connsiteX4" fmla="*/ 76123 w 152245"/>
                <a:gd name="connsiteY4" fmla="*/ 13433 h 138812"/>
                <a:gd name="connsiteX5" fmla="*/ 71645 w 152245"/>
                <a:gd name="connsiteY5" fmla="*/ 8956 h 138812"/>
                <a:gd name="connsiteX6" fmla="*/ 62689 w 152245"/>
                <a:gd name="connsiteY6" fmla="*/ 0 h 138812"/>
                <a:gd name="connsiteX7" fmla="*/ 15672 w 152245"/>
                <a:gd name="connsiteY7" fmla="*/ 0 h 138812"/>
                <a:gd name="connsiteX8" fmla="*/ 0 w 152245"/>
                <a:gd name="connsiteY8" fmla="*/ 15672 h 138812"/>
                <a:gd name="connsiteX9" fmla="*/ 0 w 152245"/>
                <a:gd name="connsiteY9" fmla="*/ 96273 h 138812"/>
                <a:gd name="connsiteX10" fmla="*/ 15672 w 152245"/>
                <a:gd name="connsiteY10" fmla="*/ 111945 h 138812"/>
                <a:gd name="connsiteX11" fmla="*/ 26867 w 152245"/>
                <a:gd name="connsiteY11" fmla="*/ 111945 h 138812"/>
                <a:gd name="connsiteX12" fmla="*/ 26867 w 152245"/>
                <a:gd name="connsiteY12" fmla="*/ 123140 h 138812"/>
                <a:gd name="connsiteX13" fmla="*/ 42539 w 152245"/>
                <a:gd name="connsiteY13" fmla="*/ 138812 h 138812"/>
                <a:gd name="connsiteX14" fmla="*/ 136573 w 152245"/>
                <a:gd name="connsiteY14" fmla="*/ 138812 h 138812"/>
                <a:gd name="connsiteX15" fmla="*/ 152246 w 152245"/>
                <a:gd name="connsiteY15" fmla="*/ 123140 h 138812"/>
                <a:gd name="connsiteX16" fmla="*/ 152246 w 152245"/>
                <a:gd name="connsiteY16" fmla="*/ 55973 h 138812"/>
                <a:gd name="connsiteX17" fmla="*/ 136573 w 152245"/>
                <a:gd name="connsiteY17" fmla="*/ 40300 h 138812"/>
                <a:gd name="connsiteX18" fmla="*/ 15672 w 152245"/>
                <a:gd name="connsiteY18" fmla="*/ 107468 h 138812"/>
                <a:gd name="connsiteX19" fmla="*/ 4478 w 152245"/>
                <a:gd name="connsiteY19" fmla="*/ 96273 h 138812"/>
                <a:gd name="connsiteX20" fmla="*/ 4478 w 152245"/>
                <a:gd name="connsiteY20" fmla="*/ 15672 h 138812"/>
                <a:gd name="connsiteX21" fmla="*/ 15672 w 152245"/>
                <a:gd name="connsiteY21" fmla="*/ 4478 h 138812"/>
                <a:gd name="connsiteX22" fmla="*/ 62689 w 152245"/>
                <a:gd name="connsiteY22" fmla="*/ 4478 h 138812"/>
                <a:gd name="connsiteX23" fmla="*/ 67167 w 152245"/>
                <a:gd name="connsiteY23" fmla="*/ 8956 h 138812"/>
                <a:gd name="connsiteX24" fmla="*/ 76123 w 152245"/>
                <a:gd name="connsiteY24" fmla="*/ 17911 h 138812"/>
                <a:gd name="connsiteX25" fmla="*/ 109707 w 152245"/>
                <a:gd name="connsiteY25" fmla="*/ 17911 h 138812"/>
                <a:gd name="connsiteX26" fmla="*/ 120901 w 152245"/>
                <a:gd name="connsiteY26" fmla="*/ 29106 h 138812"/>
                <a:gd name="connsiteX27" fmla="*/ 120901 w 152245"/>
                <a:gd name="connsiteY27" fmla="*/ 40300 h 138812"/>
                <a:gd name="connsiteX28" fmla="*/ 102990 w 152245"/>
                <a:gd name="connsiteY28" fmla="*/ 40300 h 138812"/>
                <a:gd name="connsiteX29" fmla="*/ 98512 w 152245"/>
                <a:gd name="connsiteY29" fmla="*/ 35823 h 138812"/>
                <a:gd name="connsiteX30" fmla="*/ 89556 w 152245"/>
                <a:gd name="connsiteY30" fmla="*/ 26867 h 138812"/>
                <a:gd name="connsiteX31" fmla="*/ 42539 w 152245"/>
                <a:gd name="connsiteY31" fmla="*/ 26867 h 138812"/>
                <a:gd name="connsiteX32" fmla="*/ 26867 w 152245"/>
                <a:gd name="connsiteY32" fmla="*/ 42539 h 138812"/>
                <a:gd name="connsiteX33" fmla="*/ 26867 w 152245"/>
                <a:gd name="connsiteY33" fmla="*/ 107468 h 138812"/>
                <a:gd name="connsiteX34" fmla="*/ 15672 w 152245"/>
                <a:gd name="connsiteY34" fmla="*/ 107468 h 138812"/>
                <a:gd name="connsiteX35" fmla="*/ 147768 w 152245"/>
                <a:gd name="connsiteY35" fmla="*/ 123140 h 138812"/>
                <a:gd name="connsiteX36" fmla="*/ 136573 w 152245"/>
                <a:gd name="connsiteY36" fmla="*/ 134335 h 138812"/>
                <a:gd name="connsiteX37" fmla="*/ 42539 w 152245"/>
                <a:gd name="connsiteY37" fmla="*/ 134335 h 138812"/>
                <a:gd name="connsiteX38" fmla="*/ 31345 w 152245"/>
                <a:gd name="connsiteY38" fmla="*/ 123140 h 138812"/>
                <a:gd name="connsiteX39" fmla="*/ 31345 w 152245"/>
                <a:gd name="connsiteY39" fmla="*/ 42539 h 138812"/>
                <a:gd name="connsiteX40" fmla="*/ 42539 w 152245"/>
                <a:gd name="connsiteY40" fmla="*/ 31345 h 138812"/>
                <a:gd name="connsiteX41" fmla="*/ 89556 w 152245"/>
                <a:gd name="connsiteY41" fmla="*/ 31345 h 138812"/>
                <a:gd name="connsiteX42" fmla="*/ 94034 w 152245"/>
                <a:gd name="connsiteY42" fmla="*/ 35823 h 138812"/>
                <a:gd name="connsiteX43" fmla="*/ 102990 w 152245"/>
                <a:gd name="connsiteY43" fmla="*/ 44778 h 138812"/>
                <a:gd name="connsiteX44" fmla="*/ 136573 w 152245"/>
                <a:gd name="connsiteY44" fmla="*/ 44778 h 138812"/>
                <a:gd name="connsiteX45" fmla="*/ 147768 w 152245"/>
                <a:gd name="connsiteY45" fmla="*/ 55973 h 138812"/>
                <a:gd name="connsiteX46" fmla="*/ 147768 w 152245"/>
                <a:gd name="connsiteY46" fmla="*/ 12314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52245" h="138812">
                  <a:moveTo>
                    <a:pt x="136573" y="40300"/>
                  </a:moveTo>
                  <a:lnTo>
                    <a:pt x="125379" y="40300"/>
                  </a:lnTo>
                  <a:lnTo>
                    <a:pt x="125379" y="29106"/>
                  </a:lnTo>
                  <a:cubicBezTo>
                    <a:pt x="125379" y="20598"/>
                    <a:pt x="118214" y="13433"/>
                    <a:pt x="109707" y="13433"/>
                  </a:cubicBezTo>
                  <a:lnTo>
                    <a:pt x="76123" y="13433"/>
                  </a:lnTo>
                  <a:cubicBezTo>
                    <a:pt x="73436" y="13433"/>
                    <a:pt x="71645" y="11642"/>
                    <a:pt x="71645" y="8956"/>
                  </a:cubicBezTo>
                  <a:cubicBezTo>
                    <a:pt x="71645" y="4030"/>
                    <a:pt x="67615" y="0"/>
                    <a:pt x="62689" y="0"/>
                  </a:cubicBezTo>
                  <a:lnTo>
                    <a:pt x="15672" y="0"/>
                  </a:lnTo>
                  <a:cubicBezTo>
                    <a:pt x="7164" y="0"/>
                    <a:pt x="0" y="7165"/>
                    <a:pt x="0" y="15672"/>
                  </a:cubicBezTo>
                  <a:lnTo>
                    <a:pt x="0" y="96273"/>
                  </a:lnTo>
                  <a:cubicBezTo>
                    <a:pt x="0" y="104781"/>
                    <a:pt x="7164" y="111945"/>
                    <a:pt x="15672" y="111945"/>
                  </a:cubicBezTo>
                  <a:lnTo>
                    <a:pt x="26867" y="111945"/>
                  </a:lnTo>
                  <a:lnTo>
                    <a:pt x="26867" y="123140"/>
                  </a:lnTo>
                  <a:cubicBezTo>
                    <a:pt x="26867" y="131648"/>
                    <a:pt x="34031" y="138812"/>
                    <a:pt x="42539" y="138812"/>
                  </a:cubicBezTo>
                  <a:lnTo>
                    <a:pt x="136573" y="138812"/>
                  </a:lnTo>
                  <a:cubicBezTo>
                    <a:pt x="145081" y="138812"/>
                    <a:pt x="152246" y="131648"/>
                    <a:pt x="152246" y="123140"/>
                  </a:cubicBezTo>
                  <a:lnTo>
                    <a:pt x="152246" y="55973"/>
                  </a:lnTo>
                  <a:cubicBezTo>
                    <a:pt x="152246" y="47465"/>
                    <a:pt x="145529" y="40300"/>
                    <a:pt x="136573" y="40300"/>
                  </a:cubicBezTo>
                  <a:close/>
                  <a:moveTo>
                    <a:pt x="15672" y="107468"/>
                  </a:moveTo>
                  <a:cubicBezTo>
                    <a:pt x="9403" y="107468"/>
                    <a:pt x="4478" y="102542"/>
                    <a:pt x="4478" y="96273"/>
                  </a:cubicBezTo>
                  <a:lnTo>
                    <a:pt x="4478" y="15672"/>
                  </a:lnTo>
                  <a:cubicBezTo>
                    <a:pt x="4478" y="9403"/>
                    <a:pt x="9403" y="4478"/>
                    <a:pt x="15672" y="4478"/>
                  </a:cubicBezTo>
                  <a:lnTo>
                    <a:pt x="62689" y="4478"/>
                  </a:lnTo>
                  <a:cubicBezTo>
                    <a:pt x="65376" y="4478"/>
                    <a:pt x="67167" y="6269"/>
                    <a:pt x="67167" y="8956"/>
                  </a:cubicBezTo>
                  <a:cubicBezTo>
                    <a:pt x="67167" y="13881"/>
                    <a:pt x="71197" y="17911"/>
                    <a:pt x="76123" y="17911"/>
                  </a:cubicBezTo>
                  <a:lnTo>
                    <a:pt x="109707" y="17911"/>
                  </a:lnTo>
                  <a:cubicBezTo>
                    <a:pt x="115975" y="17911"/>
                    <a:pt x="120901" y="22837"/>
                    <a:pt x="120901" y="29106"/>
                  </a:cubicBezTo>
                  <a:lnTo>
                    <a:pt x="120901" y="40300"/>
                  </a:lnTo>
                  <a:lnTo>
                    <a:pt x="102990" y="40300"/>
                  </a:lnTo>
                  <a:cubicBezTo>
                    <a:pt x="100303" y="40300"/>
                    <a:pt x="98512" y="38509"/>
                    <a:pt x="98512" y="35823"/>
                  </a:cubicBezTo>
                  <a:cubicBezTo>
                    <a:pt x="98512" y="30897"/>
                    <a:pt x="94482" y="26867"/>
                    <a:pt x="89556" y="26867"/>
                  </a:cubicBezTo>
                  <a:lnTo>
                    <a:pt x="42539" y="26867"/>
                  </a:lnTo>
                  <a:cubicBezTo>
                    <a:pt x="34031" y="26867"/>
                    <a:pt x="26867" y="34031"/>
                    <a:pt x="26867" y="42539"/>
                  </a:cubicBezTo>
                  <a:lnTo>
                    <a:pt x="26867" y="107468"/>
                  </a:lnTo>
                  <a:lnTo>
                    <a:pt x="15672" y="107468"/>
                  </a:lnTo>
                  <a:close/>
                  <a:moveTo>
                    <a:pt x="147768" y="123140"/>
                  </a:moveTo>
                  <a:cubicBezTo>
                    <a:pt x="147768" y="129409"/>
                    <a:pt x="142842" y="134335"/>
                    <a:pt x="136573" y="134335"/>
                  </a:cubicBezTo>
                  <a:lnTo>
                    <a:pt x="42539" y="134335"/>
                  </a:lnTo>
                  <a:cubicBezTo>
                    <a:pt x="36270" y="134335"/>
                    <a:pt x="31345" y="129409"/>
                    <a:pt x="31345" y="123140"/>
                  </a:cubicBezTo>
                  <a:lnTo>
                    <a:pt x="31345" y="42539"/>
                  </a:lnTo>
                  <a:cubicBezTo>
                    <a:pt x="31345" y="36270"/>
                    <a:pt x="36270" y="31345"/>
                    <a:pt x="42539" y="31345"/>
                  </a:cubicBezTo>
                  <a:lnTo>
                    <a:pt x="89556" y="31345"/>
                  </a:lnTo>
                  <a:cubicBezTo>
                    <a:pt x="92243" y="31345"/>
                    <a:pt x="94034" y="33136"/>
                    <a:pt x="94034" y="35823"/>
                  </a:cubicBezTo>
                  <a:cubicBezTo>
                    <a:pt x="94034" y="40748"/>
                    <a:pt x="98064" y="44778"/>
                    <a:pt x="102990" y="44778"/>
                  </a:cubicBezTo>
                  <a:lnTo>
                    <a:pt x="136573" y="44778"/>
                  </a:lnTo>
                  <a:cubicBezTo>
                    <a:pt x="142842" y="44778"/>
                    <a:pt x="147768" y="49704"/>
                    <a:pt x="147768" y="55973"/>
                  </a:cubicBezTo>
                  <a:lnTo>
                    <a:pt x="147768" y="123140"/>
                  </a:lnTo>
                  <a:close/>
                </a:path>
              </a:pathLst>
            </a:custGeom>
            <a:solidFill>
              <a:srgbClr val="231F20"/>
            </a:solidFill>
            <a:ln w="4474" cap="flat">
              <a:noFill/>
              <a:prstDash val="solid"/>
              <a:miter/>
            </a:ln>
          </p:spPr>
          <p:txBody>
            <a:bodyPr rtlCol="0" anchor="ctr"/>
            <a:lstStyle/>
            <a:p>
              <a:endParaRPr lang="en-US"/>
            </a:p>
          </p:txBody>
        </p:sp>
        <p:sp>
          <p:nvSpPr>
            <p:cNvPr id="4093" name="Freeform: Shape 4092">
              <a:extLst>
                <a:ext uri="{FF2B5EF4-FFF2-40B4-BE49-F238E27FC236}">
                  <a16:creationId xmlns:a16="http://schemas.microsoft.com/office/drawing/2014/main" id="{37EE52C5-3E90-4BF1-B185-DB1D0526CC2D}"/>
                </a:ext>
              </a:extLst>
            </p:cNvPr>
            <p:cNvSpPr/>
            <p:nvPr/>
          </p:nvSpPr>
          <p:spPr>
            <a:xfrm>
              <a:off x="3018685" y="1061553"/>
              <a:ext cx="62689" cy="44778"/>
            </a:xfrm>
            <a:custGeom>
              <a:avLst/>
              <a:gdLst>
                <a:gd name="connsiteX0" fmla="*/ 22613 w 62689"/>
                <a:gd name="connsiteY0" fmla="*/ 45450 h 44778"/>
                <a:gd name="connsiteX1" fmla="*/ 672 w 62689"/>
                <a:gd name="connsiteY1" fmla="*/ 23956 h 44778"/>
                <a:gd name="connsiteX2" fmla="*/ 672 w 62689"/>
                <a:gd name="connsiteY2" fmla="*/ 20822 h 44778"/>
                <a:gd name="connsiteX3" fmla="*/ 3806 w 62689"/>
                <a:gd name="connsiteY3" fmla="*/ 20822 h 44778"/>
                <a:gd name="connsiteX4" fmla="*/ 22613 w 62689"/>
                <a:gd name="connsiteY4" fmla="*/ 39181 h 44778"/>
                <a:gd name="connsiteX5" fmla="*/ 61122 w 62689"/>
                <a:gd name="connsiteY5" fmla="*/ 672 h 44778"/>
                <a:gd name="connsiteX6" fmla="*/ 64257 w 62689"/>
                <a:gd name="connsiteY6" fmla="*/ 672 h 44778"/>
                <a:gd name="connsiteX7" fmla="*/ 64257 w 62689"/>
                <a:gd name="connsiteY7" fmla="*/ 3806 h 44778"/>
                <a:gd name="connsiteX8" fmla="*/ 22613 w 62689"/>
                <a:gd name="connsiteY8" fmla="*/ 4545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689" h="44778">
                  <a:moveTo>
                    <a:pt x="22613" y="45450"/>
                  </a:moveTo>
                  <a:lnTo>
                    <a:pt x="672" y="23956"/>
                  </a:lnTo>
                  <a:cubicBezTo>
                    <a:pt x="-224" y="23061"/>
                    <a:pt x="-224" y="21717"/>
                    <a:pt x="672" y="20822"/>
                  </a:cubicBezTo>
                  <a:cubicBezTo>
                    <a:pt x="1567" y="19926"/>
                    <a:pt x="2911" y="19926"/>
                    <a:pt x="3806" y="20822"/>
                  </a:cubicBezTo>
                  <a:lnTo>
                    <a:pt x="22613" y="39181"/>
                  </a:lnTo>
                  <a:lnTo>
                    <a:pt x="61122" y="672"/>
                  </a:lnTo>
                  <a:cubicBezTo>
                    <a:pt x="62018" y="-224"/>
                    <a:pt x="63361" y="-224"/>
                    <a:pt x="64257" y="672"/>
                  </a:cubicBezTo>
                  <a:cubicBezTo>
                    <a:pt x="65152" y="1567"/>
                    <a:pt x="65152" y="2911"/>
                    <a:pt x="64257" y="3806"/>
                  </a:cubicBezTo>
                  <a:lnTo>
                    <a:pt x="22613" y="45450"/>
                  </a:lnTo>
                  <a:close/>
                </a:path>
              </a:pathLst>
            </a:custGeom>
            <a:solidFill>
              <a:srgbClr val="231F20"/>
            </a:solidFill>
            <a:ln w="4474" cap="flat">
              <a:noFill/>
              <a:prstDash val="solid"/>
              <a:miter/>
            </a:ln>
          </p:spPr>
          <p:txBody>
            <a:bodyPr rtlCol="0" anchor="ctr"/>
            <a:lstStyle/>
            <a:p>
              <a:endParaRPr lang="en-US"/>
            </a:p>
          </p:txBody>
        </p:sp>
      </p:grpSp>
      <p:grpSp>
        <p:nvGrpSpPr>
          <p:cNvPr id="4094" name="Group 4093">
            <a:extLst>
              <a:ext uri="{FF2B5EF4-FFF2-40B4-BE49-F238E27FC236}">
                <a16:creationId xmlns:a16="http://schemas.microsoft.com/office/drawing/2014/main" id="{C7813E57-D41A-4F72-B903-45D1996B585E}"/>
              </a:ext>
              <a:ext uri="{C183D7F6-B498-43B3-948B-1728B52AA6E4}">
                <adec:decorative xmlns:adec="http://schemas.microsoft.com/office/drawing/2017/decorative" val="1"/>
              </a:ext>
            </a:extLst>
          </p:cNvPr>
          <p:cNvGrpSpPr>
            <a:grpSpLocks noChangeAspect="1"/>
          </p:cNvGrpSpPr>
          <p:nvPr/>
        </p:nvGrpSpPr>
        <p:grpSpPr>
          <a:xfrm>
            <a:off x="5050489" y="2443364"/>
            <a:ext cx="136398" cy="109259"/>
            <a:chOff x="5091243" y="1707925"/>
            <a:chExt cx="136398" cy="109259"/>
          </a:xfrm>
        </p:grpSpPr>
        <p:sp>
          <p:nvSpPr>
            <p:cNvPr id="4095" name="Freeform: Shape 4094">
              <a:extLst>
                <a:ext uri="{FF2B5EF4-FFF2-40B4-BE49-F238E27FC236}">
                  <a16:creationId xmlns:a16="http://schemas.microsoft.com/office/drawing/2014/main" id="{9D3FCCD6-4C67-47C4-8407-1691B429EDFD}"/>
                </a:ext>
              </a:extLst>
            </p:cNvPr>
            <p:cNvSpPr/>
            <p:nvPr/>
          </p:nvSpPr>
          <p:spPr>
            <a:xfrm>
              <a:off x="5091243" y="1707925"/>
              <a:ext cx="134335" cy="94034"/>
            </a:xfrm>
            <a:custGeom>
              <a:avLst/>
              <a:gdLst>
                <a:gd name="connsiteX0" fmla="*/ 68959 w 134334"/>
                <a:gd name="connsiteY0" fmla="*/ 95825 h 94034"/>
                <a:gd name="connsiteX1" fmla="*/ 29106 w 134334"/>
                <a:gd name="connsiteY1" fmla="*/ 95825 h 94034"/>
                <a:gd name="connsiteX2" fmla="*/ 0 w 134334"/>
                <a:gd name="connsiteY2" fmla="*/ 66720 h 94034"/>
                <a:gd name="connsiteX3" fmla="*/ 13433 w 134334"/>
                <a:gd name="connsiteY3" fmla="*/ 42092 h 94034"/>
                <a:gd name="connsiteX4" fmla="*/ 55973 w 134334"/>
                <a:gd name="connsiteY4" fmla="*/ 0 h 94034"/>
                <a:gd name="connsiteX5" fmla="*/ 94930 w 134334"/>
                <a:gd name="connsiteY5" fmla="*/ 25076 h 94034"/>
                <a:gd name="connsiteX6" fmla="*/ 102990 w 134334"/>
                <a:gd name="connsiteY6" fmla="*/ 24180 h 94034"/>
                <a:gd name="connsiteX7" fmla="*/ 135678 w 134334"/>
                <a:gd name="connsiteY7" fmla="*/ 45674 h 94034"/>
                <a:gd name="connsiteX8" fmla="*/ 134335 w 134334"/>
                <a:gd name="connsiteY8" fmla="*/ 48808 h 94034"/>
                <a:gd name="connsiteX9" fmla="*/ 131200 w 134334"/>
                <a:gd name="connsiteY9" fmla="*/ 47465 h 94034"/>
                <a:gd name="connsiteX10" fmla="*/ 102542 w 134334"/>
                <a:gd name="connsiteY10" fmla="*/ 28658 h 94034"/>
                <a:gd name="connsiteX11" fmla="*/ 93587 w 134334"/>
                <a:gd name="connsiteY11" fmla="*/ 30001 h 94034"/>
                <a:gd name="connsiteX12" fmla="*/ 90900 w 134334"/>
                <a:gd name="connsiteY12" fmla="*/ 28658 h 94034"/>
                <a:gd name="connsiteX13" fmla="*/ 55525 w 134334"/>
                <a:gd name="connsiteY13" fmla="*/ 4478 h 94034"/>
                <a:gd name="connsiteX14" fmla="*/ 17464 w 134334"/>
                <a:gd name="connsiteY14" fmla="*/ 42539 h 94034"/>
                <a:gd name="connsiteX15" fmla="*/ 17464 w 134334"/>
                <a:gd name="connsiteY15" fmla="*/ 43435 h 94034"/>
                <a:gd name="connsiteX16" fmla="*/ 16568 w 134334"/>
                <a:gd name="connsiteY16" fmla="*/ 45226 h 94034"/>
                <a:gd name="connsiteX17" fmla="*/ 4030 w 134334"/>
                <a:gd name="connsiteY17" fmla="*/ 66720 h 94034"/>
                <a:gd name="connsiteX18" fmla="*/ 28658 w 134334"/>
                <a:gd name="connsiteY18" fmla="*/ 91348 h 94034"/>
                <a:gd name="connsiteX19" fmla="*/ 68511 w 134334"/>
                <a:gd name="connsiteY19" fmla="*/ 91348 h 94034"/>
                <a:gd name="connsiteX20" fmla="*/ 70750 w 134334"/>
                <a:gd name="connsiteY20" fmla="*/ 93586 h 94034"/>
                <a:gd name="connsiteX21" fmla="*/ 68959 w 134334"/>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4" h="94034">
                  <a:moveTo>
                    <a:pt x="68959" y="95825"/>
                  </a:moveTo>
                  <a:lnTo>
                    <a:pt x="29106" y="95825"/>
                  </a:lnTo>
                  <a:cubicBezTo>
                    <a:pt x="12986" y="95825"/>
                    <a:pt x="0" y="82840"/>
                    <a:pt x="0" y="66720"/>
                  </a:cubicBezTo>
                  <a:cubicBezTo>
                    <a:pt x="0" y="56868"/>
                    <a:pt x="4926" y="47465"/>
                    <a:pt x="13433" y="42092"/>
                  </a:cubicBezTo>
                  <a:cubicBezTo>
                    <a:pt x="13433" y="18807"/>
                    <a:pt x="32688" y="0"/>
                    <a:pt x="55973" y="0"/>
                  </a:cubicBezTo>
                  <a:cubicBezTo>
                    <a:pt x="72541" y="0"/>
                    <a:pt x="88213" y="9851"/>
                    <a:pt x="94930" y="25076"/>
                  </a:cubicBezTo>
                  <a:cubicBezTo>
                    <a:pt x="97617" y="24628"/>
                    <a:pt x="100303" y="24180"/>
                    <a:pt x="102990" y="24180"/>
                  </a:cubicBezTo>
                  <a:cubicBezTo>
                    <a:pt x="117319" y="24180"/>
                    <a:pt x="130304" y="32688"/>
                    <a:pt x="135678" y="45674"/>
                  </a:cubicBezTo>
                  <a:cubicBezTo>
                    <a:pt x="136126" y="47017"/>
                    <a:pt x="135678" y="47913"/>
                    <a:pt x="134335" y="48808"/>
                  </a:cubicBezTo>
                  <a:cubicBezTo>
                    <a:pt x="132992" y="49256"/>
                    <a:pt x="132096" y="48808"/>
                    <a:pt x="131200" y="47465"/>
                  </a:cubicBezTo>
                  <a:cubicBezTo>
                    <a:pt x="126275" y="35823"/>
                    <a:pt x="115080" y="28658"/>
                    <a:pt x="102542" y="28658"/>
                  </a:cubicBezTo>
                  <a:cubicBezTo>
                    <a:pt x="99408" y="28658"/>
                    <a:pt x="96721" y="29106"/>
                    <a:pt x="93587" y="30001"/>
                  </a:cubicBezTo>
                  <a:cubicBezTo>
                    <a:pt x="92243" y="30449"/>
                    <a:pt x="91348" y="29554"/>
                    <a:pt x="90900" y="28658"/>
                  </a:cubicBezTo>
                  <a:cubicBezTo>
                    <a:pt x="85079" y="14329"/>
                    <a:pt x="71197" y="4478"/>
                    <a:pt x="55525" y="4478"/>
                  </a:cubicBezTo>
                  <a:cubicBezTo>
                    <a:pt x="34479" y="4478"/>
                    <a:pt x="17464" y="21494"/>
                    <a:pt x="17464" y="42539"/>
                  </a:cubicBezTo>
                  <a:lnTo>
                    <a:pt x="17464" y="43435"/>
                  </a:lnTo>
                  <a:cubicBezTo>
                    <a:pt x="17464" y="44330"/>
                    <a:pt x="17016" y="44778"/>
                    <a:pt x="16568" y="45226"/>
                  </a:cubicBezTo>
                  <a:cubicBezTo>
                    <a:pt x="8956" y="49704"/>
                    <a:pt x="4030" y="57764"/>
                    <a:pt x="4030" y="66720"/>
                  </a:cubicBezTo>
                  <a:cubicBezTo>
                    <a:pt x="4030" y="80153"/>
                    <a:pt x="15225" y="91348"/>
                    <a:pt x="28658" y="91348"/>
                  </a:cubicBezTo>
                  <a:lnTo>
                    <a:pt x="68511" y="91348"/>
                  </a:lnTo>
                  <a:cubicBezTo>
                    <a:pt x="69854" y="91348"/>
                    <a:pt x="70750" y="92243"/>
                    <a:pt x="70750" y="93586"/>
                  </a:cubicBezTo>
                  <a:cubicBezTo>
                    <a:pt x="70750" y="94930"/>
                    <a:pt x="69854" y="95825"/>
                    <a:pt x="68959" y="95825"/>
                  </a:cubicBezTo>
                  <a:close/>
                </a:path>
              </a:pathLst>
            </a:custGeom>
            <a:solidFill>
              <a:srgbClr val="231F20"/>
            </a:solidFill>
            <a:ln w="4474" cap="flat">
              <a:noFill/>
              <a:prstDash val="solid"/>
              <a:miter/>
            </a:ln>
          </p:spPr>
          <p:txBody>
            <a:bodyPr rtlCol="0" anchor="ctr"/>
            <a:lstStyle/>
            <a:p>
              <a:endParaRPr lang="en-US"/>
            </a:p>
          </p:txBody>
        </p:sp>
        <p:sp>
          <p:nvSpPr>
            <p:cNvPr id="4096" name="Freeform: Shape 4095">
              <a:extLst>
                <a:ext uri="{FF2B5EF4-FFF2-40B4-BE49-F238E27FC236}">
                  <a16:creationId xmlns:a16="http://schemas.microsoft.com/office/drawing/2014/main" id="{2C32D704-1313-4DE1-88CA-89C6E079AF5C}"/>
                </a:ext>
              </a:extLst>
            </p:cNvPr>
            <p:cNvSpPr/>
            <p:nvPr/>
          </p:nvSpPr>
          <p:spPr>
            <a:xfrm>
              <a:off x="5173907" y="1754495"/>
              <a:ext cx="53734" cy="62689"/>
            </a:xfrm>
            <a:custGeom>
              <a:avLst/>
              <a:gdLst>
                <a:gd name="connsiteX0" fmla="*/ 26595 w 53733"/>
                <a:gd name="connsiteY0" fmla="*/ 4478 h 62689"/>
                <a:gd name="connsiteX1" fmla="*/ 5549 w 53733"/>
                <a:gd name="connsiteY1" fmla="*/ 13433 h 62689"/>
                <a:gd name="connsiteX2" fmla="*/ 5549 w 53733"/>
                <a:gd name="connsiteY2" fmla="*/ 2239 h 62689"/>
                <a:gd name="connsiteX3" fmla="*/ 3310 w 53733"/>
                <a:gd name="connsiteY3" fmla="*/ 0 h 62689"/>
                <a:gd name="connsiteX4" fmla="*/ 1072 w 53733"/>
                <a:gd name="connsiteY4" fmla="*/ 2239 h 62689"/>
                <a:gd name="connsiteX5" fmla="*/ 1072 w 53733"/>
                <a:gd name="connsiteY5" fmla="*/ 20150 h 62689"/>
                <a:gd name="connsiteX6" fmla="*/ 1072 w 53733"/>
                <a:gd name="connsiteY6" fmla="*/ 20598 h 62689"/>
                <a:gd name="connsiteX7" fmla="*/ 1072 w 53733"/>
                <a:gd name="connsiteY7" fmla="*/ 21046 h 62689"/>
                <a:gd name="connsiteX8" fmla="*/ 1072 w 53733"/>
                <a:gd name="connsiteY8" fmla="*/ 21494 h 62689"/>
                <a:gd name="connsiteX9" fmla="*/ 1072 w 53733"/>
                <a:gd name="connsiteY9" fmla="*/ 21941 h 62689"/>
                <a:gd name="connsiteX10" fmla="*/ 1519 w 53733"/>
                <a:gd name="connsiteY10" fmla="*/ 22389 h 62689"/>
                <a:gd name="connsiteX11" fmla="*/ 1519 w 53733"/>
                <a:gd name="connsiteY11" fmla="*/ 22389 h 62689"/>
                <a:gd name="connsiteX12" fmla="*/ 1519 w 53733"/>
                <a:gd name="connsiteY12" fmla="*/ 22389 h 62689"/>
                <a:gd name="connsiteX13" fmla="*/ 1967 w 53733"/>
                <a:gd name="connsiteY13" fmla="*/ 22389 h 62689"/>
                <a:gd name="connsiteX14" fmla="*/ 2415 w 53733"/>
                <a:gd name="connsiteY14" fmla="*/ 22389 h 62689"/>
                <a:gd name="connsiteX15" fmla="*/ 2415 w 53733"/>
                <a:gd name="connsiteY15" fmla="*/ 22389 h 62689"/>
                <a:gd name="connsiteX16" fmla="*/ 20773 w 53733"/>
                <a:gd name="connsiteY16" fmla="*/ 22389 h 62689"/>
                <a:gd name="connsiteX17" fmla="*/ 23012 w 53733"/>
                <a:gd name="connsiteY17" fmla="*/ 20150 h 62689"/>
                <a:gd name="connsiteX18" fmla="*/ 20773 w 53733"/>
                <a:gd name="connsiteY18" fmla="*/ 17911 h 62689"/>
                <a:gd name="connsiteX19" fmla="*/ 6892 w 53733"/>
                <a:gd name="connsiteY19" fmla="*/ 17911 h 62689"/>
                <a:gd name="connsiteX20" fmla="*/ 25700 w 53733"/>
                <a:gd name="connsiteY20" fmla="*/ 8956 h 62689"/>
                <a:gd name="connsiteX21" fmla="*/ 50328 w 53733"/>
                <a:gd name="connsiteY21" fmla="*/ 33584 h 62689"/>
                <a:gd name="connsiteX22" fmla="*/ 25700 w 53733"/>
                <a:gd name="connsiteY22" fmla="*/ 58212 h 62689"/>
                <a:gd name="connsiteX23" fmla="*/ 4206 w 53733"/>
                <a:gd name="connsiteY23" fmla="*/ 45674 h 62689"/>
                <a:gd name="connsiteX24" fmla="*/ 1072 w 53733"/>
                <a:gd name="connsiteY24" fmla="*/ 44778 h 62689"/>
                <a:gd name="connsiteX25" fmla="*/ 176 w 53733"/>
                <a:gd name="connsiteY25" fmla="*/ 47913 h 62689"/>
                <a:gd name="connsiteX26" fmla="*/ 25251 w 53733"/>
                <a:gd name="connsiteY26" fmla="*/ 62689 h 62689"/>
                <a:gd name="connsiteX27" fmla="*/ 54357 w 53733"/>
                <a:gd name="connsiteY27" fmla="*/ 33584 h 62689"/>
                <a:gd name="connsiteX28" fmla="*/ 26595 w 53733"/>
                <a:gd name="connsiteY28" fmla="*/ 4478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3733" h="62689">
                  <a:moveTo>
                    <a:pt x="26595" y="4478"/>
                  </a:moveTo>
                  <a:cubicBezTo>
                    <a:pt x="18535" y="4478"/>
                    <a:pt x="10922" y="8060"/>
                    <a:pt x="5549" y="13433"/>
                  </a:cubicBezTo>
                  <a:lnTo>
                    <a:pt x="5549" y="2239"/>
                  </a:lnTo>
                  <a:cubicBezTo>
                    <a:pt x="5549" y="896"/>
                    <a:pt x="4653" y="0"/>
                    <a:pt x="3310" y="0"/>
                  </a:cubicBezTo>
                  <a:cubicBezTo>
                    <a:pt x="1967" y="0"/>
                    <a:pt x="1072" y="896"/>
                    <a:pt x="1072" y="2239"/>
                  </a:cubicBezTo>
                  <a:lnTo>
                    <a:pt x="1072" y="20150"/>
                  </a:lnTo>
                  <a:cubicBezTo>
                    <a:pt x="1072" y="20150"/>
                    <a:pt x="1072" y="20150"/>
                    <a:pt x="1072" y="20598"/>
                  </a:cubicBezTo>
                  <a:cubicBezTo>
                    <a:pt x="1072" y="20598"/>
                    <a:pt x="1072" y="21046"/>
                    <a:pt x="1072" y="21046"/>
                  </a:cubicBezTo>
                  <a:cubicBezTo>
                    <a:pt x="1072" y="21046"/>
                    <a:pt x="1072" y="21494"/>
                    <a:pt x="1072" y="21494"/>
                  </a:cubicBezTo>
                  <a:cubicBezTo>
                    <a:pt x="1072" y="21494"/>
                    <a:pt x="1072" y="21494"/>
                    <a:pt x="1072" y="21941"/>
                  </a:cubicBezTo>
                  <a:cubicBezTo>
                    <a:pt x="1072" y="21941"/>
                    <a:pt x="1519" y="22389"/>
                    <a:pt x="1519" y="22389"/>
                  </a:cubicBezTo>
                  <a:cubicBezTo>
                    <a:pt x="1519" y="22389"/>
                    <a:pt x="1519" y="22389"/>
                    <a:pt x="1519" y="22389"/>
                  </a:cubicBezTo>
                  <a:cubicBezTo>
                    <a:pt x="1519" y="22389"/>
                    <a:pt x="1519" y="22389"/>
                    <a:pt x="1519" y="22389"/>
                  </a:cubicBezTo>
                  <a:cubicBezTo>
                    <a:pt x="1519" y="22389"/>
                    <a:pt x="1967" y="22389"/>
                    <a:pt x="1967" y="22389"/>
                  </a:cubicBezTo>
                  <a:cubicBezTo>
                    <a:pt x="1967" y="22389"/>
                    <a:pt x="2415" y="22389"/>
                    <a:pt x="2415" y="22389"/>
                  </a:cubicBezTo>
                  <a:cubicBezTo>
                    <a:pt x="2415" y="22389"/>
                    <a:pt x="2415" y="22389"/>
                    <a:pt x="2415" y="22389"/>
                  </a:cubicBezTo>
                  <a:lnTo>
                    <a:pt x="20773" y="22389"/>
                  </a:lnTo>
                  <a:cubicBezTo>
                    <a:pt x="22117" y="22389"/>
                    <a:pt x="23012" y="21494"/>
                    <a:pt x="23012" y="20150"/>
                  </a:cubicBezTo>
                  <a:cubicBezTo>
                    <a:pt x="23012" y="18807"/>
                    <a:pt x="22117" y="17911"/>
                    <a:pt x="20773" y="17911"/>
                  </a:cubicBezTo>
                  <a:lnTo>
                    <a:pt x="6892" y="17911"/>
                  </a:lnTo>
                  <a:cubicBezTo>
                    <a:pt x="11370" y="12538"/>
                    <a:pt x="18535" y="8956"/>
                    <a:pt x="25700" y="8956"/>
                  </a:cubicBezTo>
                  <a:cubicBezTo>
                    <a:pt x="39133" y="8956"/>
                    <a:pt x="50328" y="20150"/>
                    <a:pt x="50328" y="33584"/>
                  </a:cubicBezTo>
                  <a:cubicBezTo>
                    <a:pt x="50328" y="47017"/>
                    <a:pt x="39133" y="58212"/>
                    <a:pt x="25700" y="58212"/>
                  </a:cubicBezTo>
                  <a:cubicBezTo>
                    <a:pt x="16744" y="58212"/>
                    <a:pt x="8684" y="53286"/>
                    <a:pt x="4206" y="45674"/>
                  </a:cubicBezTo>
                  <a:cubicBezTo>
                    <a:pt x="3758" y="44778"/>
                    <a:pt x="2415" y="44330"/>
                    <a:pt x="1072" y="44778"/>
                  </a:cubicBezTo>
                  <a:cubicBezTo>
                    <a:pt x="176" y="45226"/>
                    <a:pt x="-272" y="46569"/>
                    <a:pt x="176" y="47913"/>
                  </a:cubicBezTo>
                  <a:cubicBezTo>
                    <a:pt x="5549" y="56868"/>
                    <a:pt x="14953" y="62689"/>
                    <a:pt x="25251" y="62689"/>
                  </a:cubicBezTo>
                  <a:cubicBezTo>
                    <a:pt x="41372" y="62689"/>
                    <a:pt x="54357" y="49704"/>
                    <a:pt x="54357" y="33584"/>
                  </a:cubicBezTo>
                  <a:cubicBezTo>
                    <a:pt x="55701" y="17463"/>
                    <a:pt x="42267" y="4478"/>
                    <a:pt x="26595" y="4478"/>
                  </a:cubicBezTo>
                  <a:close/>
                </a:path>
              </a:pathLst>
            </a:custGeom>
            <a:solidFill>
              <a:srgbClr val="231F20"/>
            </a:solidFill>
            <a:ln w="4474" cap="flat">
              <a:noFill/>
              <a:prstDash val="solid"/>
              <a:miter/>
            </a:ln>
          </p:spPr>
          <p:txBody>
            <a:bodyPr rtlCol="0" anchor="ctr"/>
            <a:lstStyle/>
            <a:p>
              <a:endParaRPr lang="en-US"/>
            </a:p>
          </p:txBody>
        </p:sp>
      </p:grpSp>
      <p:grpSp>
        <p:nvGrpSpPr>
          <p:cNvPr id="4097" name="Group 4096">
            <a:extLst>
              <a:ext uri="{FF2B5EF4-FFF2-40B4-BE49-F238E27FC236}">
                <a16:creationId xmlns:a16="http://schemas.microsoft.com/office/drawing/2014/main" id="{99D9B19F-22B1-4E8A-A0AD-A5E64E8D370D}"/>
              </a:ext>
              <a:ext uri="{C183D7F6-B498-43B3-948B-1728B52AA6E4}">
                <adec:decorative xmlns:adec="http://schemas.microsoft.com/office/drawing/2017/decorative" val="1"/>
              </a:ext>
            </a:extLst>
          </p:cNvPr>
          <p:cNvGrpSpPr>
            <a:grpSpLocks noChangeAspect="1"/>
          </p:cNvGrpSpPr>
          <p:nvPr/>
        </p:nvGrpSpPr>
        <p:grpSpPr>
          <a:xfrm>
            <a:off x="5309755" y="2443364"/>
            <a:ext cx="142377" cy="105230"/>
            <a:chOff x="5350509" y="1707925"/>
            <a:chExt cx="142377" cy="105230"/>
          </a:xfrm>
        </p:grpSpPr>
        <p:sp>
          <p:nvSpPr>
            <p:cNvPr id="4098" name="Freeform: Shape 4097">
              <a:extLst>
                <a:ext uri="{FF2B5EF4-FFF2-40B4-BE49-F238E27FC236}">
                  <a16:creationId xmlns:a16="http://schemas.microsoft.com/office/drawing/2014/main" id="{C66AC6D5-939E-41D1-9B09-D1169840D7A2}"/>
                </a:ext>
              </a:extLst>
            </p:cNvPr>
            <p:cNvSpPr/>
            <p:nvPr/>
          </p:nvSpPr>
          <p:spPr>
            <a:xfrm>
              <a:off x="5350509" y="1707925"/>
              <a:ext cx="134335" cy="94034"/>
            </a:xfrm>
            <a:custGeom>
              <a:avLst/>
              <a:gdLst>
                <a:gd name="connsiteX0" fmla="*/ 62242 w 134334"/>
                <a:gd name="connsiteY0" fmla="*/ 95825 h 94034"/>
                <a:gd name="connsiteX1" fmla="*/ 29106 w 134334"/>
                <a:gd name="connsiteY1" fmla="*/ 95825 h 94034"/>
                <a:gd name="connsiteX2" fmla="*/ 0 w 134334"/>
                <a:gd name="connsiteY2" fmla="*/ 66720 h 94034"/>
                <a:gd name="connsiteX3" fmla="*/ 13433 w 134334"/>
                <a:gd name="connsiteY3" fmla="*/ 42092 h 94034"/>
                <a:gd name="connsiteX4" fmla="*/ 55973 w 134334"/>
                <a:gd name="connsiteY4" fmla="*/ 0 h 94034"/>
                <a:gd name="connsiteX5" fmla="*/ 94930 w 134334"/>
                <a:gd name="connsiteY5" fmla="*/ 25076 h 94034"/>
                <a:gd name="connsiteX6" fmla="*/ 102990 w 134334"/>
                <a:gd name="connsiteY6" fmla="*/ 24180 h 94034"/>
                <a:gd name="connsiteX7" fmla="*/ 135678 w 134334"/>
                <a:gd name="connsiteY7" fmla="*/ 45674 h 94034"/>
                <a:gd name="connsiteX8" fmla="*/ 134335 w 134334"/>
                <a:gd name="connsiteY8" fmla="*/ 48808 h 94034"/>
                <a:gd name="connsiteX9" fmla="*/ 131200 w 134334"/>
                <a:gd name="connsiteY9" fmla="*/ 47465 h 94034"/>
                <a:gd name="connsiteX10" fmla="*/ 102542 w 134334"/>
                <a:gd name="connsiteY10" fmla="*/ 28658 h 94034"/>
                <a:gd name="connsiteX11" fmla="*/ 93587 w 134334"/>
                <a:gd name="connsiteY11" fmla="*/ 30001 h 94034"/>
                <a:gd name="connsiteX12" fmla="*/ 90900 w 134334"/>
                <a:gd name="connsiteY12" fmla="*/ 28658 h 94034"/>
                <a:gd name="connsiteX13" fmla="*/ 55525 w 134334"/>
                <a:gd name="connsiteY13" fmla="*/ 4478 h 94034"/>
                <a:gd name="connsiteX14" fmla="*/ 17464 w 134334"/>
                <a:gd name="connsiteY14" fmla="*/ 42539 h 94034"/>
                <a:gd name="connsiteX15" fmla="*/ 17464 w 134334"/>
                <a:gd name="connsiteY15" fmla="*/ 43435 h 94034"/>
                <a:gd name="connsiteX16" fmla="*/ 16568 w 134334"/>
                <a:gd name="connsiteY16" fmla="*/ 45226 h 94034"/>
                <a:gd name="connsiteX17" fmla="*/ 4030 w 134334"/>
                <a:gd name="connsiteY17" fmla="*/ 66720 h 94034"/>
                <a:gd name="connsiteX18" fmla="*/ 28658 w 134334"/>
                <a:gd name="connsiteY18" fmla="*/ 91348 h 94034"/>
                <a:gd name="connsiteX19" fmla="*/ 61794 w 134334"/>
                <a:gd name="connsiteY19" fmla="*/ 91348 h 94034"/>
                <a:gd name="connsiteX20" fmla="*/ 64033 w 134334"/>
                <a:gd name="connsiteY20" fmla="*/ 93586 h 94034"/>
                <a:gd name="connsiteX21" fmla="*/ 62242 w 134334"/>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4" h="94034">
                  <a:moveTo>
                    <a:pt x="62242" y="95825"/>
                  </a:moveTo>
                  <a:lnTo>
                    <a:pt x="29106" y="95825"/>
                  </a:lnTo>
                  <a:cubicBezTo>
                    <a:pt x="12986" y="95825"/>
                    <a:pt x="0" y="82840"/>
                    <a:pt x="0" y="66720"/>
                  </a:cubicBezTo>
                  <a:cubicBezTo>
                    <a:pt x="0" y="56868"/>
                    <a:pt x="4925" y="47465"/>
                    <a:pt x="13433" y="42092"/>
                  </a:cubicBezTo>
                  <a:cubicBezTo>
                    <a:pt x="13433" y="18807"/>
                    <a:pt x="32688" y="0"/>
                    <a:pt x="55973" y="0"/>
                  </a:cubicBezTo>
                  <a:cubicBezTo>
                    <a:pt x="72540" y="0"/>
                    <a:pt x="88213" y="9851"/>
                    <a:pt x="94930" y="25076"/>
                  </a:cubicBezTo>
                  <a:cubicBezTo>
                    <a:pt x="97617" y="24628"/>
                    <a:pt x="100303" y="24180"/>
                    <a:pt x="102990" y="24180"/>
                  </a:cubicBezTo>
                  <a:cubicBezTo>
                    <a:pt x="117319" y="24180"/>
                    <a:pt x="130304" y="32688"/>
                    <a:pt x="135678" y="45674"/>
                  </a:cubicBezTo>
                  <a:cubicBezTo>
                    <a:pt x="136126" y="47017"/>
                    <a:pt x="135678" y="47913"/>
                    <a:pt x="134335" y="48808"/>
                  </a:cubicBezTo>
                  <a:cubicBezTo>
                    <a:pt x="132991" y="49256"/>
                    <a:pt x="132096" y="48808"/>
                    <a:pt x="131200" y="47465"/>
                  </a:cubicBezTo>
                  <a:cubicBezTo>
                    <a:pt x="126274" y="35823"/>
                    <a:pt x="115080" y="28658"/>
                    <a:pt x="102542" y="28658"/>
                  </a:cubicBezTo>
                  <a:cubicBezTo>
                    <a:pt x="99407" y="28658"/>
                    <a:pt x="96721" y="29106"/>
                    <a:pt x="93587" y="30001"/>
                  </a:cubicBezTo>
                  <a:cubicBezTo>
                    <a:pt x="92243" y="30449"/>
                    <a:pt x="91348" y="29554"/>
                    <a:pt x="90900" y="28658"/>
                  </a:cubicBezTo>
                  <a:cubicBezTo>
                    <a:pt x="85079" y="14329"/>
                    <a:pt x="71197" y="4478"/>
                    <a:pt x="55525" y="4478"/>
                  </a:cubicBezTo>
                  <a:cubicBezTo>
                    <a:pt x="34479" y="4478"/>
                    <a:pt x="17464" y="21494"/>
                    <a:pt x="17464" y="42539"/>
                  </a:cubicBezTo>
                  <a:lnTo>
                    <a:pt x="17464" y="43435"/>
                  </a:lnTo>
                  <a:cubicBezTo>
                    <a:pt x="17464" y="44330"/>
                    <a:pt x="17016" y="44778"/>
                    <a:pt x="16568" y="45226"/>
                  </a:cubicBezTo>
                  <a:cubicBezTo>
                    <a:pt x="8956" y="49704"/>
                    <a:pt x="4030" y="57764"/>
                    <a:pt x="4030" y="66720"/>
                  </a:cubicBezTo>
                  <a:cubicBezTo>
                    <a:pt x="4030" y="80153"/>
                    <a:pt x="15225" y="91348"/>
                    <a:pt x="28658" y="91348"/>
                  </a:cubicBezTo>
                  <a:lnTo>
                    <a:pt x="61794" y="91348"/>
                  </a:lnTo>
                  <a:cubicBezTo>
                    <a:pt x="63137" y="91348"/>
                    <a:pt x="64033" y="92243"/>
                    <a:pt x="64033" y="93586"/>
                  </a:cubicBezTo>
                  <a:cubicBezTo>
                    <a:pt x="64033" y="94930"/>
                    <a:pt x="63585" y="95825"/>
                    <a:pt x="62242" y="95825"/>
                  </a:cubicBezTo>
                  <a:close/>
                </a:path>
              </a:pathLst>
            </a:custGeom>
            <a:solidFill>
              <a:srgbClr val="231F20"/>
            </a:solidFill>
            <a:ln w="4474" cap="flat">
              <a:noFill/>
              <a:prstDash val="solid"/>
              <a:miter/>
            </a:ln>
          </p:spPr>
          <p:txBody>
            <a:bodyPr rtlCol="0" anchor="ctr"/>
            <a:lstStyle/>
            <a:p>
              <a:endParaRPr lang="en-US"/>
            </a:p>
          </p:txBody>
        </p:sp>
        <p:sp>
          <p:nvSpPr>
            <p:cNvPr id="4099" name="Freeform: Shape 4098">
              <a:extLst>
                <a:ext uri="{FF2B5EF4-FFF2-40B4-BE49-F238E27FC236}">
                  <a16:creationId xmlns:a16="http://schemas.microsoft.com/office/drawing/2014/main" id="{BBE66793-49F8-4413-909D-34C2FE7C969A}"/>
                </a:ext>
              </a:extLst>
            </p:cNvPr>
            <p:cNvSpPr/>
            <p:nvPr/>
          </p:nvSpPr>
          <p:spPr>
            <a:xfrm>
              <a:off x="5423778" y="1758973"/>
              <a:ext cx="49256" cy="44778"/>
            </a:xfrm>
            <a:custGeom>
              <a:avLst/>
              <a:gdLst>
                <a:gd name="connsiteX0" fmla="*/ 51663 w 49255"/>
                <a:gd name="connsiteY0" fmla="*/ 4478 h 44778"/>
                <a:gd name="connsiteX1" fmla="*/ 35990 w 49255"/>
                <a:gd name="connsiteY1" fmla="*/ 0 h 44778"/>
                <a:gd name="connsiteX2" fmla="*/ 6885 w 49255"/>
                <a:gd name="connsiteY2" fmla="*/ 29106 h 44778"/>
                <a:gd name="connsiteX3" fmla="*/ 8676 w 49255"/>
                <a:gd name="connsiteY3" fmla="*/ 38957 h 44778"/>
                <a:gd name="connsiteX4" fmla="*/ 3302 w 49255"/>
                <a:gd name="connsiteY4" fmla="*/ 36718 h 44778"/>
                <a:gd name="connsiteX5" fmla="*/ 168 w 49255"/>
                <a:gd name="connsiteY5" fmla="*/ 38061 h 44778"/>
                <a:gd name="connsiteX6" fmla="*/ 1511 w 49255"/>
                <a:gd name="connsiteY6" fmla="*/ 41196 h 44778"/>
                <a:gd name="connsiteX7" fmla="*/ 11810 w 49255"/>
                <a:gd name="connsiteY7" fmla="*/ 45674 h 44778"/>
                <a:gd name="connsiteX8" fmla="*/ 12705 w 49255"/>
                <a:gd name="connsiteY8" fmla="*/ 45674 h 44778"/>
                <a:gd name="connsiteX9" fmla="*/ 14944 w 49255"/>
                <a:gd name="connsiteY9" fmla="*/ 44330 h 44778"/>
                <a:gd name="connsiteX10" fmla="*/ 14944 w 49255"/>
                <a:gd name="connsiteY10" fmla="*/ 44330 h 44778"/>
                <a:gd name="connsiteX11" fmla="*/ 14944 w 49255"/>
                <a:gd name="connsiteY11" fmla="*/ 44330 h 44778"/>
                <a:gd name="connsiteX12" fmla="*/ 21213 w 49255"/>
                <a:gd name="connsiteY12" fmla="*/ 34927 h 44778"/>
                <a:gd name="connsiteX13" fmla="*/ 20766 w 49255"/>
                <a:gd name="connsiteY13" fmla="*/ 31792 h 44778"/>
                <a:gd name="connsiteX14" fmla="*/ 17631 w 49255"/>
                <a:gd name="connsiteY14" fmla="*/ 32240 h 44778"/>
                <a:gd name="connsiteX15" fmla="*/ 13601 w 49255"/>
                <a:gd name="connsiteY15" fmla="*/ 38061 h 44778"/>
                <a:gd name="connsiteX16" fmla="*/ 11810 w 49255"/>
                <a:gd name="connsiteY16" fmla="*/ 29106 h 44778"/>
                <a:gd name="connsiteX17" fmla="*/ 36438 w 49255"/>
                <a:gd name="connsiteY17" fmla="*/ 4478 h 44778"/>
                <a:gd name="connsiteX18" fmla="*/ 49424 w 49255"/>
                <a:gd name="connsiteY18" fmla="*/ 8508 h 44778"/>
                <a:gd name="connsiteX19" fmla="*/ 52558 w 49255"/>
                <a:gd name="connsiteY19" fmla="*/ 7612 h 44778"/>
                <a:gd name="connsiteX20" fmla="*/ 51663 w 49255"/>
                <a:gd name="connsiteY20"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255" h="44778">
                  <a:moveTo>
                    <a:pt x="51663" y="4478"/>
                  </a:moveTo>
                  <a:cubicBezTo>
                    <a:pt x="47185" y="1343"/>
                    <a:pt x="41811" y="0"/>
                    <a:pt x="35990" y="0"/>
                  </a:cubicBezTo>
                  <a:cubicBezTo>
                    <a:pt x="19870" y="0"/>
                    <a:pt x="6885" y="12986"/>
                    <a:pt x="6885" y="29106"/>
                  </a:cubicBezTo>
                  <a:cubicBezTo>
                    <a:pt x="6885" y="32688"/>
                    <a:pt x="7332" y="35823"/>
                    <a:pt x="8676" y="38957"/>
                  </a:cubicBezTo>
                  <a:lnTo>
                    <a:pt x="3302" y="36718"/>
                  </a:lnTo>
                  <a:cubicBezTo>
                    <a:pt x="1959" y="36270"/>
                    <a:pt x="1063" y="36718"/>
                    <a:pt x="168" y="38061"/>
                  </a:cubicBezTo>
                  <a:cubicBezTo>
                    <a:pt x="-280" y="39405"/>
                    <a:pt x="168" y="40300"/>
                    <a:pt x="1511" y="41196"/>
                  </a:cubicBezTo>
                  <a:lnTo>
                    <a:pt x="11810" y="45674"/>
                  </a:lnTo>
                  <a:cubicBezTo>
                    <a:pt x="12258" y="45674"/>
                    <a:pt x="12258" y="45674"/>
                    <a:pt x="12705" y="45674"/>
                  </a:cubicBezTo>
                  <a:cubicBezTo>
                    <a:pt x="13601" y="45674"/>
                    <a:pt x="14497" y="45226"/>
                    <a:pt x="14944" y="44330"/>
                  </a:cubicBezTo>
                  <a:cubicBezTo>
                    <a:pt x="14944" y="44330"/>
                    <a:pt x="14944" y="44330"/>
                    <a:pt x="14944" y="44330"/>
                  </a:cubicBezTo>
                  <a:cubicBezTo>
                    <a:pt x="14944" y="44330"/>
                    <a:pt x="14944" y="44330"/>
                    <a:pt x="14944" y="44330"/>
                  </a:cubicBezTo>
                  <a:lnTo>
                    <a:pt x="21213" y="34927"/>
                  </a:lnTo>
                  <a:cubicBezTo>
                    <a:pt x="22109" y="34031"/>
                    <a:pt x="21661" y="32688"/>
                    <a:pt x="20766" y="31792"/>
                  </a:cubicBezTo>
                  <a:cubicBezTo>
                    <a:pt x="19870" y="30897"/>
                    <a:pt x="18527" y="31345"/>
                    <a:pt x="17631" y="32240"/>
                  </a:cubicBezTo>
                  <a:lnTo>
                    <a:pt x="13601" y="38061"/>
                  </a:lnTo>
                  <a:cubicBezTo>
                    <a:pt x="12258" y="35375"/>
                    <a:pt x="11810" y="32240"/>
                    <a:pt x="11810" y="29106"/>
                  </a:cubicBezTo>
                  <a:cubicBezTo>
                    <a:pt x="11810" y="15672"/>
                    <a:pt x="23005" y="4478"/>
                    <a:pt x="36438" y="4478"/>
                  </a:cubicBezTo>
                  <a:cubicBezTo>
                    <a:pt x="40916" y="4478"/>
                    <a:pt x="45841" y="5821"/>
                    <a:pt x="49424" y="8508"/>
                  </a:cubicBezTo>
                  <a:cubicBezTo>
                    <a:pt x="50319" y="8956"/>
                    <a:pt x="51663" y="8956"/>
                    <a:pt x="52558" y="7612"/>
                  </a:cubicBezTo>
                  <a:cubicBezTo>
                    <a:pt x="53006" y="6269"/>
                    <a:pt x="53006" y="4926"/>
                    <a:pt x="51663" y="4478"/>
                  </a:cubicBezTo>
                  <a:close/>
                </a:path>
              </a:pathLst>
            </a:custGeom>
            <a:solidFill>
              <a:srgbClr val="231F20"/>
            </a:solidFill>
            <a:ln w="4474" cap="flat">
              <a:noFill/>
              <a:prstDash val="solid"/>
              <a:miter/>
            </a:ln>
          </p:spPr>
          <p:txBody>
            <a:bodyPr rtlCol="0" anchor="ctr"/>
            <a:lstStyle/>
            <a:p>
              <a:endParaRPr lang="en-US"/>
            </a:p>
          </p:txBody>
        </p:sp>
        <p:sp>
          <p:nvSpPr>
            <p:cNvPr id="4100" name="Freeform: Shape 4099">
              <a:extLst>
                <a:ext uri="{FF2B5EF4-FFF2-40B4-BE49-F238E27FC236}">
                  <a16:creationId xmlns:a16="http://schemas.microsoft.com/office/drawing/2014/main" id="{0FD74284-5CCB-43AB-B2D0-3F22D571AD2C}"/>
                </a:ext>
              </a:extLst>
            </p:cNvPr>
            <p:cNvSpPr/>
            <p:nvPr/>
          </p:nvSpPr>
          <p:spPr>
            <a:xfrm>
              <a:off x="5443630" y="1777332"/>
              <a:ext cx="49256" cy="35823"/>
            </a:xfrm>
            <a:custGeom>
              <a:avLst/>
              <a:gdLst>
                <a:gd name="connsiteX0" fmla="*/ 51961 w 49255"/>
                <a:gd name="connsiteY0" fmla="*/ 7165 h 35822"/>
                <a:gd name="connsiteX1" fmla="*/ 43005 w 49255"/>
                <a:gd name="connsiteY1" fmla="*/ 448 h 35822"/>
                <a:gd name="connsiteX2" fmla="*/ 42109 w 49255"/>
                <a:gd name="connsiteY2" fmla="*/ 0 h 35822"/>
                <a:gd name="connsiteX3" fmla="*/ 42109 w 49255"/>
                <a:gd name="connsiteY3" fmla="*/ 0 h 35822"/>
                <a:gd name="connsiteX4" fmla="*/ 42109 w 49255"/>
                <a:gd name="connsiteY4" fmla="*/ 0 h 35822"/>
                <a:gd name="connsiteX5" fmla="*/ 41214 w 49255"/>
                <a:gd name="connsiteY5" fmla="*/ 0 h 35822"/>
                <a:gd name="connsiteX6" fmla="*/ 40766 w 49255"/>
                <a:gd name="connsiteY6" fmla="*/ 0 h 35822"/>
                <a:gd name="connsiteX7" fmla="*/ 39871 w 49255"/>
                <a:gd name="connsiteY7" fmla="*/ 448 h 35822"/>
                <a:gd name="connsiteX8" fmla="*/ 39871 w 49255"/>
                <a:gd name="connsiteY8" fmla="*/ 448 h 35822"/>
                <a:gd name="connsiteX9" fmla="*/ 39871 w 49255"/>
                <a:gd name="connsiteY9" fmla="*/ 448 h 35822"/>
                <a:gd name="connsiteX10" fmla="*/ 34050 w 49255"/>
                <a:gd name="connsiteY10" fmla="*/ 8956 h 35822"/>
                <a:gd name="connsiteX11" fmla="*/ 34497 w 49255"/>
                <a:gd name="connsiteY11" fmla="*/ 12090 h 35822"/>
                <a:gd name="connsiteX12" fmla="*/ 37632 w 49255"/>
                <a:gd name="connsiteY12" fmla="*/ 11642 h 35822"/>
                <a:gd name="connsiteX13" fmla="*/ 40766 w 49255"/>
                <a:gd name="connsiteY13" fmla="*/ 7165 h 35822"/>
                <a:gd name="connsiteX14" fmla="*/ 40766 w 49255"/>
                <a:gd name="connsiteY14" fmla="*/ 10299 h 35822"/>
                <a:gd name="connsiteX15" fmla="*/ 16138 w 49255"/>
                <a:gd name="connsiteY15" fmla="*/ 34927 h 35822"/>
                <a:gd name="connsiteX16" fmla="*/ 3600 w 49255"/>
                <a:gd name="connsiteY16" fmla="*/ 31793 h 35822"/>
                <a:gd name="connsiteX17" fmla="*/ 466 w 49255"/>
                <a:gd name="connsiteY17" fmla="*/ 32688 h 35822"/>
                <a:gd name="connsiteX18" fmla="*/ 1361 w 49255"/>
                <a:gd name="connsiteY18" fmla="*/ 35823 h 35822"/>
                <a:gd name="connsiteX19" fmla="*/ 16138 w 49255"/>
                <a:gd name="connsiteY19" fmla="*/ 39853 h 35822"/>
                <a:gd name="connsiteX20" fmla="*/ 45244 w 49255"/>
                <a:gd name="connsiteY20" fmla="*/ 10747 h 35822"/>
                <a:gd name="connsiteX21" fmla="*/ 44797 w 49255"/>
                <a:gd name="connsiteY21" fmla="*/ 7612 h 35822"/>
                <a:gd name="connsiteX22" fmla="*/ 48826 w 49255"/>
                <a:gd name="connsiteY22" fmla="*/ 10747 h 35822"/>
                <a:gd name="connsiteX23" fmla="*/ 50170 w 49255"/>
                <a:gd name="connsiteY23" fmla="*/ 11195 h 35822"/>
                <a:gd name="connsiteX24" fmla="*/ 51961 w 49255"/>
                <a:gd name="connsiteY24" fmla="*/ 10299 h 35822"/>
                <a:gd name="connsiteX25" fmla="*/ 51961 w 49255"/>
                <a:gd name="connsiteY25" fmla="*/ 716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255" h="35822">
                  <a:moveTo>
                    <a:pt x="51961" y="7165"/>
                  </a:moveTo>
                  <a:lnTo>
                    <a:pt x="43005" y="448"/>
                  </a:lnTo>
                  <a:cubicBezTo>
                    <a:pt x="42558" y="448"/>
                    <a:pt x="42558" y="0"/>
                    <a:pt x="42109" y="0"/>
                  </a:cubicBezTo>
                  <a:cubicBezTo>
                    <a:pt x="42109" y="0"/>
                    <a:pt x="42109" y="0"/>
                    <a:pt x="42109" y="0"/>
                  </a:cubicBezTo>
                  <a:cubicBezTo>
                    <a:pt x="42109" y="0"/>
                    <a:pt x="42109" y="0"/>
                    <a:pt x="42109" y="0"/>
                  </a:cubicBezTo>
                  <a:cubicBezTo>
                    <a:pt x="41662" y="0"/>
                    <a:pt x="41662" y="0"/>
                    <a:pt x="41214" y="0"/>
                  </a:cubicBezTo>
                  <a:cubicBezTo>
                    <a:pt x="41214" y="0"/>
                    <a:pt x="41214" y="0"/>
                    <a:pt x="40766" y="0"/>
                  </a:cubicBezTo>
                  <a:cubicBezTo>
                    <a:pt x="40319" y="0"/>
                    <a:pt x="40319" y="448"/>
                    <a:pt x="39871" y="448"/>
                  </a:cubicBezTo>
                  <a:cubicBezTo>
                    <a:pt x="39871" y="448"/>
                    <a:pt x="39871" y="448"/>
                    <a:pt x="39871" y="448"/>
                  </a:cubicBezTo>
                  <a:cubicBezTo>
                    <a:pt x="39871" y="448"/>
                    <a:pt x="39871" y="448"/>
                    <a:pt x="39871" y="448"/>
                  </a:cubicBezTo>
                  <a:lnTo>
                    <a:pt x="34050" y="8956"/>
                  </a:lnTo>
                  <a:cubicBezTo>
                    <a:pt x="33154" y="9851"/>
                    <a:pt x="33602" y="11195"/>
                    <a:pt x="34497" y="12090"/>
                  </a:cubicBezTo>
                  <a:cubicBezTo>
                    <a:pt x="35393" y="12986"/>
                    <a:pt x="36736" y="12538"/>
                    <a:pt x="37632" y="11642"/>
                  </a:cubicBezTo>
                  <a:lnTo>
                    <a:pt x="40766" y="7165"/>
                  </a:lnTo>
                  <a:cubicBezTo>
                    <a:pt x="40766" y="8060"/>
                    <a:pt x="40766" y="9403"/>
                    <a:pt x="40766" y="10299"/>
                  </a:cubicBezTo>
                  <a:cubicBezTo>
                    <a:pt x="40766" y="23732"/>
                    <a:pt x="29572" y="34927"/>
                    <a:pt x="16138" y="34927"/>
                  </a:cubicBezTo>
                  <a:cubicBezTo>
                    <a:pt x="11661" y="34927"/>
                    <a:pt x="7630" y="33584"/>
                    <a:pt x="3600" y="31793"/>
                  </a:cubicBezTo>
                  <a:cubicBezTo>
                    <a:pt x="2705" y="31345"/>
                    <a:pt x="1361" y="31345"/>
                    <a:pt x="466" y="32688"/>
                  </a:cubicBezTo>
                  <a:cubicBezTo>
                    <a:pt x="-430" y="34031"/>
                    <a:pt x="18" y="34927"/>
                    <a:pt x="1361" y="35823"/>
                  </a:cubicBezTo>
                  <a:cubicBezTo>
                    <a:pt x="5839" y="38509"/>
                    <a:pt x="10765" y="39853"/>
                    <a:pt x="16138" y="39853"/>
                  </a:cubicBezTo>
                  <a:cubicBezTo>
                    <a:pt x="32258" y="39853"/>
                    <a:pt x="45244" y="26867"/>
                    <a:pt x="45244" y="10747"/>
                  </a:cubicBezTo>
                  <a:cubicBezTo>
                    <a:pt x="45244" y="9851"/>
                    <a:pt x="45244" y="8508"/>
                    <a:pt x="44797" y="7612"/>
                  </a:cubicBezTo>
                  <a:lnTo>
                    <a:pt x="48826" y="10747"/>
                  </a:lnTo>
                  <a:cubicBezTo>
                    <a:pt x="49274" y="11195"/>
                    <a:pt x="49722" y="11195"/>
                    <a:pt x="50170" y="11195"/>
                  </a:cubicBezTo>
                  <a:cubicBezTo>
                    <a:pt x="51065" y="11195"/>
                    <a:pt x="51513" y="10747"/>
                    <a:pt x="51961" y="10299"/>
                  </a:cubicBezTo>
                  <a:cubicBezTo>
                    <a:pt x="53304" y="9403"/>
                    <a:pt x="53304" y="7612"/>
                    <a:pt x="51961" y="7165"/>
                  </a:cubicBezTo>
                  <a:close/>
                </a:path>
              </a:pathLst>
            </a:custGeom>
            <a:solidFill>
              <a:srgbClr val="231F20"/>
            </a:solidFill>
            <a:ln w="4474" cap="flat">
              <a:noFill/>
              <a:prstDash val="solid"/>
              <a:miter/>
            </a:ln>
          </p:spPr>
          <p:txBody>
            <a:bodyPr rtlCol="0" anchor="ctr"/>
            <a:lstStyle/>
            <a:p>
              <a:endParaRPr lang="en-US"/>
            </a:p>
          </p:txBody>
        </p:sp>
      </p:grpSp>
      <p:grpSp>
        <p:nvGrpSpPr>
          <p:cNvPr id="4101" name="Group 4100">
            <a:extLst>
              <a:ext uri="{FF2B5EF4-FFF2-40B4-BE49-F238E27FC236}">
                <a16:creationId xmlns:a16="http://schemas.microsoft.com/office/drawing/2014/main" id="{AF068731-8732-4B97-87A5-12BD3495B97A}"/>
              </a:ext>
              <a:ext uri="{C183D7F6-B498-43B3-948B-1728B52AA6E4}">
                <adec:decorative xmlns:adec="http://schemas.microsoft.com/office/drawing/2017/decorative" val="1"/>
              </a:ext>
            </a:extLst>
          </p:cNvPr>
          <p:cNvGrpSpPr>
            <a:grpSpLocks noChangeAspect="1"/>
          </p:cNvGrpSpPr>
          <p:nvPr/>
        </p:nvGrpSpPr>
        <p:grpSpPr>
          <a:xfrm>
            <a:off x="811787" y="2753229"/>
            <a:ext cx="138812" cy="100304"/>
            <a:chOff x="852541" y="2017790"/>
            <a:chExt cx="138812" cy="100304"/>
          </a:xfrm>
        </p:grpSpPr>
        <p:sp>
          <p:nvSpPr>
            <p:cNvPr id="4102" name="Freeform: Shape 4101">
              <a:extLst>
                <a:ext uri="{FF2B5EF4-FFF2-40B4-BE49-F238E27FC236}">
                  <a16:creationId xmlns:a16="http://schemas.microsoft.com/office/drawing/2014/main" id="{45A9F0C0-CD13-436A-AFCB-E61C5053805B}"/>
                </a:ext>
              </a:extLst>
            </p:cNvPr>
            <p:cNvSpPr/>
            <p:nvPr/>
          </p:nvSpPr>
          <p:spPr>
            <a:xfrm>
              <a:off x="852541" y="2017790"/>
              <a:ext cx="138812" cy="94034"/>
            </a:xfrm>
            <a:custGeom>
              <a:avLst/>
              <a:gdLst>
                <a:gd name="connsiteX0" fmla="*/ 69406 w 138812"/>
                <a:gd name="connsiteY0" fmla="*/ 95825 h 94034"/>
                <a:gd name="connsiteX1" fmla="*/ 29106 w 138812"/>
                <a:gd name="connsiteY1" fmla="*/ 95825 h 94034"/>
                <a:gd name="connsiteX2" fmla="*/ 0 w 138812"/>
                <a:gd name="connsiteY2" fmla="*/ 66719 h 94034"/>
                <a:gd name="connsiteX3" fmla="*/ 13433 w 138812"/>
                <a:gd name="connsiteY3" fmla="*/ 42091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36573 w 138812"/>
                <a:gd name="connsiteY8" fmla="*/ 62242 h 94034"/>
                <a:gd name="connsiteX9" fmla="*/ 134335 w 138812"/>
                <a:gd name="connsiteY9" fmla="*/ 60003 h 94034"/>
                <a:gd name="connsiteX10" fmla="*/ 102990 w 138812"/>
                <a:gd name="connsiteY10" fmla="*/ 28658 h 94034"/>
                <a:gd name="connsiteX11" fmla="*/ 94034 w 138812"/>
                <a:gd name="connsiteY11" fmla="*/ 30001 h 94034"/>
                <a:gd name="connsiteX12" fmla="*/ 91347 w 138812"/>
                <a:gd name="connsiteY12" fmla="*/ 28658 h 94034"/>
                <a:gd name="connsiteX13" fmla="*/ 55973 w 138812"/>
                <a:gd name="connsiteY13" fmla="*/ 4478 h 94034"/>
                <a:gd name="connsiteX14" fmla="*/ 17911 w 138812"/>
                <a:gd name="connsiteY14" fmla="*/ 42539 h 94034"/>
                <a:gd name="connsiteX15" fmla="*/ 17911 w 138812"/>
                <a:gd name="connsiteY15" fmla="*/ 43435 h 94034"/>
                <a:gd name="connsiteX16" fmla="*/ 17016 w 138812"/>
                <a:gd name="connsiteY16" fmla="*/ 45226 h 94034"/>
                <a:gd name="connsiteX17" fmla="*/ 4478 w 138812"/>
                <a:gd name="connsiteY17" fmla="*/ 66719 h 94034"/>
                <a:gd name="connsiteX18" fmla="*/ 29106 w 138812"/>
                <a:gd name="connsiteY18" fmla="*/ 91347 h 94034"/>
                <a:gd name="connsiteX19" fmla="*/ 69406 w 138812"/>
                <a:gd name="connsiteY19" fmla="*/ 91347 h 94034"/>
                <a:gd name="connsiteX20" fmla="*/ 71645 w 138812"/>
                <a:gd name="connsiteY20" fmla="*/ 93586 h 94034"/>
                <a:gd name="connsiteX21" fmla="*/ 69406 w 138812"/>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812" h="94034">
                  <a:moveTo>
                    <a:pt x="69406" y="95825"/>
                  </a:move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61346"/>
                    <a:pt x="137917" y="62242"/>
                    <a:pt x="136573" y="62242"/>
                  </a:cubicBezTo>
                  <a:cubicBezTo>
                    <a:pt x="135230" y="62242"/>
                    <a:pt x="134335" y="60898"/>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69406" y="91347"/>
                  </a:lnTo>
                  <a:cubicBezTo>
                    <a:pt x="70750" y="91347"/>
                    <a:pt x="71645" y="92243"/>
                    <a:pt x="71645" y="93586"/>
                  </a:cubicBezTo>
                  <a:cubicBezTo>
                    <a:pt x="71645" y="94930"/>
                    <a:pt x="70750" y="95825"/>
                    <a:pt x="69406" y="95825"/>
                  </a:cubicBezTo>
                  <a:close/>
                </a:path>
              </a:pathLst>
            </a:custGeom>
            <a:solidFill>
              <a:srgbClr val="231F20"/>
            </a:solidFill>
            <a:ln w="4474" cap="flat">
              <a:noFill/>
              <a:prstDash val="solid"/>
              <a:miter/>
            </a:ln>
          </p:spPr>
          <p:txBody>
            <a:bodyPr rtlCol="0" anchor="ctr"/>
            <a:lstStyle/>
            <a:p>
              <a:endParaRPr lang="en-US"/>
            </a:p>
          </p:txBody>
        </p:sp>
        <p:sp>
          <p:nvSpPr>
            <p:cNvPr id="4103" name="Freeform: Shape 4102">
              <a:extLst>
                <a:ext uri="{FF2B5EF4-FFF2-40B4-BE49-F238E27FC236}">
                  <a16:creationId xmlns:a16="http://schemas.microsoft.com/office/drawing/2014/main" id="{D5D06DB3-3A17-49C0-902B-97F647391851}"/>
                </a:ext>
              </a:extLst>
            </p:cNvPr>
            <p:cNvSpPr/>
            <p:nvPr/>
          </p:nvSpPr>
          <p:spPr>
            <a:xfrm>
              <a:off x="933142" y="2068838"/>
              <a:ext cx="49256" cy="49256"/>
            </a:xfrm>
            <a:custGeom>
              <a:avLst/>
              <a:gdLst>
                <a:gd name="connsiteX0" fmla="*/ 50599 w 49255"/>
                <a:gd name="connsiteY0" fmla="*/ 47465 h 49255"/>
                <a:gd name="connsiteX1" fmla="*/ 38957 w 49255"/>
                <a:gd name="connsiteY1" fmla="*/ 37166 h 49255"/>
                <a:gd name="connsiteX2" fmla="*/ 44778 w 49255"/>
                <a:gd name="connsiteY2" fmla="*/ 22389 h 49255"/>
                <a:gd name="connsiteX3" fmla="*/ 22389 w 49255"/>
                <a:gd name="connsiteY3" fmla="*/ 0 h 49255"/>
                <a:gd name="connsiteX4" fmla="*/ 0 w 49255"/>
                <a:gd name="connsiteY4" fmla="*/ 22389 h 49255"/>
                <a:gd name="connsiteX5" fmla="*/ 22389 w 49255"/>
                <a:gd name="connsiteY5" fmla="*/ 44778 h 49255"/>
                <a:gd name="connsiteX6" fmla="*/ 35823 w 49255"/>
                <a:gd name="connsiteY6" fmla="*/ 40300 h 49255"/>
                <a:gd name="connsiteX7" fmla="*/ 47913 w 49255"/>
                <a:gd name="connsiteY7" fmla="*/ 51047 h 49255"/>
                <a:gd name="connsiteX8" fmla="*/ 50599 w 49255"/>
                <a:gd name="connsiteY8" fmla="*/ 47465 h 49255"/>
                <a:gd name="connsiteX9" fmla="*/ 4478 w 49255"/>
                <a:gd name="connsiteY9" fmla="*/ 22389 h 49255"/>
                <a:gd name="connsiteX10" fmla="*/ 22389 w 49255"/>
                <a:gd name="connsiteY10" fmla="*/ 4478 h 49255"/>
                <a:gd name="connsiteX11" fmla="*/ 40300 w 49255"/>
                <a:gd name="connsiteY11" fmla="*/ 22389 h 49255"/>
                <a:gd name="connsiteX12" fmla="*/ 22389 w 49255"/>
                <a:gd name="connsiteY12" fmla="*/ 40300 h 49255"/>
                <a:gd name="connsiteX13" fmla="*/ 4478 w 49255"/>
                <a:gd name="connsiteY13" fmla="*/ 22389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49255">
                  <a:moveTo>
                    <a:pt x="50599" y="47465"/>
                  </a:moveTo>
                  <a:lnTo>
                    <a:pt x="38957" y="37166"/>
                  </a:lnTo>
                  <a:cubicBezTo>
                    <a:pt x="42539" y="33136"/>
                    <a:pt x="44778" y="28210"/>
                    <a:pt x="44778" y="22389"/>
                  </a:cubicBezTo>
                  <a:cubicBezTo>
                    <a:pt x="44778" y="9851"/>
                    <a:pt x="34927" y="0"/>
                    <a:pt x="22389" y="0"/>
                  </a:cubicBezTo>
                  <a:cubicBezTo>
                    <a:pt x="9851" y="0"/>
                    <a:pt x="0" y="9851"/>
                    <a:pt x="0" y="22389"/>
                  </a:cubicBezTo>
                  <a:cubicBezTo>
                    <a:pt x="0" y="34927"/>
                    <a:pt x="9851" y="44778"/>
                    <a:pt x="22389" y="44778"/>
                  </a:cubicBezTo>
                  <a:cubicBezTo>
                    <a:pt x="27315" y="44778"/>
                    <a:pt x="31793" y="42987"/>
                    <a:pt x="35823" y="40300"/>
                  </a:cubicBezTo>
                  <a:lnTo>
                    <a:pt x="47913" y="51047"/>
                  </a:lnTo>
                  <a:lnTo>
                    <a:pt x="50599" y="47465"/>
                  </a:lnTo>
                  <a:close/>
                  <a:moveTo>
                    <a:pt x="4478" y="22389"/>
                  </a:moveTo>
                  <a:cubicBezTo>
                    <a:pt x="4478" y="12538"/>
                    <a:pt x="12538" y="4478"/>
                    <a:pt x="22389" y="4478"/>
                  </a:cubicBezTo>
                  <a:cubicBezTo>
                    <a:pt x="32240" y="4478"/>
                    <a:pt x="40300" y="12538"/>
                    <a:pt x="40300" y="22389"/>
                  </a:cubicBezTo>
                  <a:cubicBezTo>
                    <a:pt x="40300" y="32240"/>
                    <a:pt x="32240" y="40300"/>
                    <a:pt x="22389" y="40300"/>
                  </a:cubicBezTo>
                  <a:cubicBezTo>
                    <a:pt x="12538" y="40300"/>
                    <a:pt x="4478" y="32240"/>
                    <a:pt x="4478" y="22389"/>
                  </a:cubicBezTo>
                  <a:close/>
                </a:path>
              </a:pathLst>
            </a:custGeom>
            <a:solidFill>
              <a:srgbClr val="231F20"/>
            </a:solidFill>
            <a:ln w="4474" cap="flat">
              <a:noFill/>
              <a:prstDash val="solid"/>
              <a:miter/>
            </a:ln>
          </p:spPr>
          <p:txBody>
            <a:bodyPr rtlCol="0" anchor="ctr"/>
            <a:lstStyle/>
            <a:p>
              <a:endParaRPr lang="en-US"/>
            </a:p>
          </p:txBody>
        </p:sp>
      </p:grpSp>
      <p:sp>
        <p:nvSpPr>
          <p:cNvPr id="4104" name="Freeform: Shape 4103">
            <a:extLst>
              <a:ext uri="{FF2B5EF4-FFF2-40B4-BE49-F238E27FC236}">
                <a16:creationId xmlns:a16="http://schemas.microsoft.com/office/drawing/2014/main" id="{F8329828-244D-4B0C-8253-CFC3528E5F04}"/>
              </a:ext>
              <a:ext uri="{C183D7F6-B498-43B3-948B-1728B52AA6E4}">
                <adec:decorative xmlns:adec="http://schemas.microsoft.com/office/drawing/2017/decorative" val="1"/>
              </a:ext>
            </a:extLst>
          </p:cNvPr>
          <p:cNvSpPr>
            <a:spLocks noChangeAspect="1"/>
          </p:cNvSpPr>
          <p:nvPr/>
        </p:nvSpPr>
        <p:spPr>
          <a:xfrm>
            <a:off x="1341513" y="2753229"/>
            <a:ext cx="138812" cy="94034"/>
          </a:xfrm>
          <a:custGeom>
            <a:avLst/>
            <a:gdLst>
              <a:gd name="connsiteX0" fmla="*/ 102990 w 138812"/>
              <a:gd name="connsiteY0" fmla="*/ 95825 h 94034"/>
              <a:gd name="connsiteX1" fmla="*/ 96273 w 138812"/>
              <a:gd name="connsiteY1" fmla="*/ 95825 h 94034"/>
              <a:gd name="connsiteX2" fmla="*/ 94034 w 138812"/>
              <a:gd name="connsiteY2" fmla="*/ 93586 h 94034"/>
              <a:gd name="connsiteX3" fmla="*/ 96273 w 138812"/>
              <a:gd name="connsiteY3" fmla="*/ 91347 h 94034"/>
              <a:gd name="connsiteX4" fmla="*/ 102990 w 138812"/>
              <a:gd name="connsiteY4" fmla="*/ 91347 h 94034"/>
              <a:gd name="connsiteX5" fmla="*/ 134335 w 138812"/>
              <a:gd name="connsiteY5" fmla="*/ 60003 h 94034"/>
              <a:gd name="connsiteX6" fmla="*/ 102990 w 138812"/>
              <a:gd name="connsiteY6" fmla="*/ 28658 h 94034"/>
              <a:gd name="connsiteX7" fmla="*/ 94034 w 138812"/>
              <a:gd name="connsiteY7" fmla="*/ 30001 h 94034"/>
              <a:gd name="connsiteX8" fmla="*/ 91347 w 138812"/>
              <a:gd name="connsiteY8" fmla="*/ 28658 h 94034"/>
              <a:gd name="connsiteX9" fmla="*/ 55973 w 138812"/>
              <a:gd name="connsiteY9" fmla="*/ 4478 h 94034"/>
              <a:gd name="connsiteX10" fmla="*/ 17911 w 138812"/>
              <a:gd name="connsiteY10" fmla="*/ 42539 h 94034"/>
              <a:gd name="connsiteX11" fmla="*/ 17911 w 138812"/>
              <a:gd name="connsiteY11" fmla="*/ 43435 h 94034"/>
              <a:gd name="connsiteX12" fmla="*/ 17016 w 138812"/>
              <a:gd name="connsiteY12" fmla="*/ 45226 h 94034"/>
              <a:gd name="connsiteX13" fmla="*/ 4478 w 138812"/>
              <a:gd name="connsiteY13" fmla="*/ 66719 h 94034"/>
              <a:gd name="connsiteX14" fmla="*/ 29106 w 138812"/>
              <a:gd name="connsiteY14" fmla="*/ 91347 h 94034"/>
              <a:gd name="connsiteX15" fmla="*/ 55973 w 138812"/>
              <a:gd name="connsiteY15" fmla="*/ 91347 h 94034"/>
              <a:gd name="connsiteX16" fmla="*/ 58212 w 138812"/>
              <a:gd name="connsiteY16" fmla="*/ 93586 h 94034"/>
              <a:gd name="connsiteX17" fmla="*/ 55973 w 138812"/>
              <a:gd name="connsiteY17" fmla="*/ 95825 h 94034"/>
              <a:gd name="connsiteX18" fmla="*/ 29106 w 138812"/>
              <a:gd name="connsiteY18" fmla="*/ 95825 h 94034"/>
              <a:gd name="connsiteX19" fmla="*/ 0 w 138812"/>
              <a:gd name="connsiteY19" fmla="*/ 66719 h 94034"/>
              <a:gd name="connsiteX20" fmla="*/ 13433 w 138812"/>
              <a:gd name="connsiteY20" fmla="*/ 42091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8812" h="94034">
                <a:moveTo>
                  <a:pt x="102990" y="95825"/>
                </a:moveTo>
                <a:lnTo>
                  <a:pt x="96273" y="95825"/>
                </a:lnTo>
                <a:cubicBezTo>
                  <a:pt x="94930" y="95825"/>
                  <a:pt x="94034" y="94930"/>
                  <a:pt x="94034" y="93586"/>
                </a:cubicBezTo>
                <a:cubicBezTo>
                  <a:pt x="94034" y="92243"/>
                  <a:pt x="94930" y="91347"/>
                  <a:pt x="96273" y="91347"/>
                </a:cubicBezTo>
                <a:lnTo>
                  <a:pt x="102990" y="91347"/>
                </a:lnTo>
                <a:cubicBezTo>
                  <a:pt x="120453" y="91347"/>
                  <a:pt x="134335" y="77466"/>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55973" y="91347"/>
                </a:lnTo>
                <a:cubicBezTo>
                  <a:pt x="57316" y="91347"/>
                  <a:pt x="58212" y="92243"/>
                  <a:pt x="58212" y="93586"/>
                </a:cubicBezTo>
                <a:cubicBezTo>
                  <a:pt x="58212" y="94930"/>
                  <a:pt x="57316" y="95825"/>
                  <a:pt x="55973" y="95825"/>
                </a:cubicBez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close/>
              </a:path>
            </a:pathLst>
          </a:custGeom>
          <a:solidFill>
            <a:srgbClr val="231F20"/>
          </a:solidFill>
          <a:ln w="4474" cap="flat">
            <a:noFill/>
            <a:prstDash val="solid"/>
            <a:miter/>
          </a:ln>
        </p:spPr>
        <p:txBody>
          <a:bodyPr rtlCol="0" anchor="ctr"/>
          <a:lstStyle/>
          <a:p>
            <a:endParaRPr lang="en-US"/>
          </a:p>
        </p:txBody>
      </p:sp>
      <p:grpSp>
        <p:nvGrpSpPr>
          <p:cNvPr id="4105" name="Group 4104">
            <a:extLst>
              <a:ext uri="{FF2B5EF4-FFF2-40B4-BE49-F238E27FC236}">
                <a16:creationId xmlns:a16="http://schemas.microsoft.com/office/drawing/2014/main" id="{44575A0B-46D0-4053-B01F-0FCC58ED3151}"/>
              </a:ext>
              <a:ext uri="{C183D7F6-B498-43B3-948B-1728B52AA6E4}">
                <adec:decorative xmlns:adec="http://schemas.microsoft.com/office/drawing/2017/decorative" val="1"/>
              </a:ext>
            </a:extLst>
          </p:cNvPr>
          <p:cNvGrpSpPr>
            <a:grpSpLocks noChangeAspect="1"/>
          </p:cNvGrpSpPr>
          <p:nvPr/>
        </p:nvGrpSpPr>
        <p:grpSpPr>
          <a:xfrm>
            <a:off x="1601226" y="2753229"/>
            <a:ext cx="134335" cy="109259"/>
            <a:chOff x="1641980" y="2017790"/>
            <a:chExt cx="134335" cy="109259"/>
          </a:xfrm>
        </p:grpSpPr>
        <p:sp>
          <p:nvSpPr>
            <p:cNvPr id="4106" name="Freeform: Shape 4105">
              <a:extLst>
                <a:ext uri="{FF2B5EF4-FFF2-40B4-BE49-F238E27FC236}">
                  <a16:creationId xmlns:a16="http://schemas.microsoft.com/office/drawing/2014/main" id="{E317BBC6-9B95-44A2-8ED8-A4559627C9DB}"/>
                </a:ext>
              </a:extLst>
            </p:cNvPr>
            <p:cNvSpPr/>
            <p:nvPr/>
          </p:nvSpPr>
          <p:spPr>
            <a:xfrm>
              <a:off x="1641980" y="2017790"/>
              <a:ext cx="134335" cy="94034"/>
            </a:xfrm>
            <a:custGeom>
              <a:avLst/>
              <a:gdLst>
                <a:gd name="connsiteX0" fmla="*/ 46122 w 134334"/>
                <a:gd name="connsiteY0" fmla="*/ 95825 h 94034"/>
                <a:gd name="connsiteX1" fmla="*/ 46122 w 134334"/>
                <a:gd name="connsiteY1" fmla="*/ 95825 h 94034"/>
                <a:gd name="connsiteX2" fmla="*/ 29106 w 134334"/>
                <a:gd name="connsiteY2" fmla="*/ 95825 h 94034"/>
                <a:gd name="connsiteX3" fmla="*/ 0 w 134334"/>
                <a:gd name="connsiteY3" fmla="*/ 66719 h 94034"/>
                <a:gd name="connsiteX4" fmla="*/ 13433 w 134334"/>
                <a:gd name="connsiteY4" fmla="*/ 42091 h 94034"/>
                <a:gd name="connsiteX5" fmla="*/ 55973 w 134334"/>
                <a:gd name="connsiteY5" fmla="*/ 0 h 94034"/>
                <a:gd name="connsiteX6" fmla="*/ 94930 w 134334"/>
                <a:gd name="connsiteY6" fmla="*/ 25076 h 94034"/>
                <a:gd name="connsiteX7" fmla="*/ 102990 w 134334"/>
                <a:gd name="connsiteY7" fmla="*/ 24180 h 94034"/>
                <a:gd name="connsiteX8" fmla="*/ 138812 w 134334"/>
                <a:gd name="connsiteY8" fmla="*/ 60003 h 94034"/>
                <a:gd name="connsiteX9" fmla="*/ 114184 w 134334"/>
                <a:gd name="connsiteY9" fmla="*/ 94034 h 94034"/>
                <a:gd name="connsiteX10" fmla="*/ 111498 w 134334"/>
                <a:gd name="connsiteY10" fmla="*/ 92691 h 94034"/>
                <a:gd name="connsiteX11" fmla="*/ 112841 w 134334"/>
                <a:gd name="connsiteY11" fmla="*/ 90004 h 94034"/>
                <a:gd name="connsiteX12" fmla="*/ 134334 w 134334"/>
                <a:gd name="connsiteY12" fmla="*/ 60003 h 94034"/>
                <a:gd name="connsiteX13" fmla="*/ 102990 w 134334"/>
                <a:gd name="connsiteY13" fmla="*/ 28658 h 94034"/>
                <a:gd name="connsiteX14" fmla="*/ 94034 w 134334"/>
                <a:gd name="connsiteY14" fmla="*/ 30001 h 94034"/>
                <a:gd name="connsiteX15" fmla="*/ 91348 w 134334"/>
                <a:gd name="connsiteY15" fmla="*/ 28658 h 94034"/>
                <a:gd name="connsiteX16" fmla="*/ 55973 w 134334"/>
                <a:gd name="connsiteY16" fmla="*/ 4478 h 94034"/>
                <a:gd name="connsiteX17" fmla="*/ 17911 w 134334"/>
                <a:gd name="connsiteY17" fmla="*/ 42539 h 94034"/>
                <a:gd name="connsiteX18" fmla="*/ 17911 w 134334"/>
                <a:gd name="connsiteY18" fmla="*/ 43435 h 94034"/>
                <a:gd name="connsiteX19" fmla="*/ 17016 w 134334"/>
                <a:gd name="connsiteY19" fmla="*/ 45226 h 94034"/>
                <a:gd name="connsiteX20" fmla="*/ 4478 w 134334"/>
                <a:gd name="connsiteY20" fmla="*/ 66719 h 94034"/>
                <a:gd name="connsiteX21" fmla="*/ 29106 w 134334"/>
                <a:gd name="connsiteY21" fmla="*/ 91347 h 94034"/>
                <a:gd name="connsiteX22" fmla="*/ 46122 w 134334"/>
                <a:gd name="connsiteY22" fmla="*/ 91347 h 94034"/>
                <a:gd name="connsiteX23" fmla="*/ 48360 w 134334"/>
                <a:gd name="connsiteY23" fmla="*/ 93586 h 94034"/>
                <a:gd name="connsiteX24" fmla="*/ 46122 w 134334"/>
                <a:gd name="connsiteY24"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334" h="94034">
                  <a:moveTo>
                    <a:pt x="46122" y="95825"/>
                  </a:moveTo>
                  <a:cubicBezTo>
                    <a:pt x="46122" y="95825"/>
                    <a:pt x="46122" y="95825"/>
                    <a:pt x="46122" y="95825"/>
                  </a:cubicBez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5675"/>
                    <a:pt x="128961" y="89109"/>
                    <a:pt x="114184" y="94034"/>
                  </a:cubicBezTo>
                  <a:cubicBezTo>
                    <a:pt x="112841" y="94482"/>
                    <a:pt x="111945" y="93586"/>
                    <a:pt x="111498" y="92691"/>
                  </a:cubicBezTo>
                  <a:cubicBezTo>
                    <a:pt x="111050" y="91795"/>
                    <a:pt x="111945" y="90452"/>
                    <a:pt x="112841" y="90004"/>
                  </a:cubicBezTo>
                  <a:cubicBezTo>
                    <a:pt x="125827" y="85974"/>
                    <a:pt x="134334" y="73884"/>
                    <a:pt x="134334" y="60003"/>
                  </a:cubicBezTo>
                  <a:cubicBezTo>
                    <a:pt x="134334" y="42539"/>
                    <a:pt x="120453" y="28658"/>
                    <a:pt x="102990" y="28658"/>
                  </a:cubicBezTo>
                  <a:cubicBezTo>
                    <a:pt x="99855" y="28658"/>
                    <a:pt x="97169" y="29106"/>
                    <a:pt x="94034" y="30001"/>
                  </a:cubicBezTo>
                  <a:cubicBezTo>
                    <a:pt x="93139" y="30449"/>
                    <a:pt x="91795" y="29554"/>
                    <a:pt x="91348"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46122" y="91347"/>
                  </a:lnTo>
                  <a:cubicBezTo>
                    <a:pt x="47465" y="91347"/>
                    <a:pt x="48360" y="92243"/>
                    <a:pt x="48360" y="93586"/>
                  </a:cubicBezTo>
                  <a:cubicBezTo>
                    <a:pt x="48360" y="94482"/>
                    <a:pt x="47465" y="95825"/>
                    <a:pt x="46122" y="95825"/>
                  </a:cubicBezTo>
                  <a:close/>
                </a:path>
              </a:pathLst>
            </a:custGeom>
            <a:solidFill>
              <a:srgbClr val="231F20"/>
            </a:solidFill>
            <a:ln w="4474" cap="flat">
              <a:noFill/>
              <a:prstDash val="solid"/>
              <a:miter/>
            </a:ln>
          </p:spPr>
          <p:txBody>
            <a:bodyPr rtlCol="0" anchor="ctr"/>
            <a:lstStyle/>
            <a:p>
              <a:endParaRPr lang="en-US"/>
            </a:p>
          </p:txBody>
        </p:sp>
        <p:sp>
          <p:nvSpPr>
            <p:cNvPr id="4107" name="Freeform: Shape 4106">
              <a:extLst>
                <a:ext uri="{FF2B5EF4-FFF2-40B4-BE49-F238E27FC236}">
                  <a16:creationId xmlns:a16="http://schemas.microsoft.com/office/drawing/2014/main" id="{2C32BBC1-EBDF-4EF7-9048-720FF8257F12}"/>
                </a:ext>
              </a:extLst>
            </p:cNvPr>
            <p:cNvSpPr/>
            <p:nvPr/>
          </p:nvSpPr>
          <p:spPr>
            <a:xfrm>
              <a:off x="1699968" y="2081823"/>
              <a:ext cx="13433" cy="44778"/>
            </a:xfrm>
            <a:custGeom>
              <a:avLst/>
              <a:gdLst>
                <a:gd name="connsiteX0" fmla="*/ 16792 w 13433"/>
                <a:gd name="connsiteY0" fmla="*/ 34479 h 44778"/>
                <a:gd name="connsiteX1" fmla="*/ 13657 w 13433"/>
                <a:gd name="connsiteY1" fmla="*/ 34479 h 44778"/>
                <a:gd name="connsiteX2" fmla="*/ 10971 w 13433"/>
                <a:gd name="connsiteY2" fmla="*/ 37166 h 44778"/>
                <a:gd name="connsiteX3" fmla="*/ 10971 w 13433"/>
                <a:gd name="connsiteY3" fmla="*/ 2239 h 44778"/>
                <a:gd name="connsiteX4" fmla="*/ 8732 w 13433"/>
                <a:gd name="connsiteY4" fmla="*/ 0 h 44778"/>
                <a:gd name="connsiteX5" fmla="*/ 6493 w 13433"/>
                <a:gd name="connsiteY5" fmla="*/ 2239 h 44778"/>
                <a:gd name="connsiteX6" fmla="*/ 6493 w 13433"/>
                <a:gd name="connsiteY6" fmla="*/ 37166 h 44778"/>
                <a:gd name="connsiteX7" fmla="*/ 3806 w 13433"/>
                <a:gd name="connsiteY7" fmla="*/ 34479 h 44778"/>
                <a:gd name="connsiteX8" fmla="*/ 672 w 13433"/>
                <a:gd name="connsiteY8" fmla="*/ 34479 h 44778"/>
                <a:gd name="connsiteX9" fmla="*/ 672 w 13433"/>
                <a:gd name="connsiteY9" fmla="*/ 37614 h 44778"/>
                <a:gd name="connsiteX10" fmla="*/ 7388 w 13433"/>
                <a:gd name="connsiteY10" fmla="*/ 44330 h 44778"/>
                <a:gd name="connsiteX11" fmla="*/ 8284 w 13433"/>
                <a:gd name="connsiteY11" fmla="*/ 44778 h 44778"/>
                <a:gd name="connsiteX12" fmla="*/ 8284 w 13433"/>
                <a:gd name="connsiteY12" fmla="*/ 44778 h 44778"/>
                <a:gd name="connsiteX13" fmla="*/ 8284 w 13433"/>
                <a:gd name="connsiteY13" fmla="*/ 44778 h 44778"/>
                <a:gd name="connsiteX14" fmla="*/ 9180 w 13433"/>
                <a:gd name="connsiteY14" fmla="*/ 44778 h 44778"/>
                <a:gd name="connsiteX15" fmla="*/ 9180 w 13433"/>
                <a:gd name="connsiteY15" fmla="*/ 44778 h 44778"/>
                <a:gd name="connsiteX16" fmla="*/ 9180 w 13433"/>
                <a:gd name="connsiteY16" fmla="*/ 44778 h 44778"/>
                <a:gd name="connsiteX17" fmla="*/ 9180 w 13433"/>
                <a:gd name="connsiteY17" fmla="*/ 44778 h 44778"/>
                <a:gd name="connsiteX18" fmla="*/ 10075 w 13433"/>
                <a:gd name="connsiteY18" fmla="*/ 44778 h 44778"/>
                <a:gd name="connsiteX19" fmla="*/ 10971 w 13433"/>
                <a:gd name="connsiteY19" fmla="*/ 44330 h 44778"/>
                <a:gd name="connsiteX20" fmla="*/ 17687 w 13433"/>
                <a:gd name="connsiteY20" fmla="*/ 37614 h 44778"/>
                <a:gd name="connsiteX21" fmla="*/ 16792 w 13433"/>
                <a:gd name="connsiteY21" fmla="*/ 34479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33" h="44778">
                  <a:moveTo>
                    <a:pt x="16792" y="34479"/>
                  </a:moveTo>
                  <a:cubicBezTo>
                    <a:pt x="15896" y="33584"/>
                    <a:pt x="14553" y="33584"/>
                    <a:pt x="13657" y="34479"/>
                  </a:cubicBezTo>
                  <a:lnTo>
                    <a:pt x="10971" y="37166"/>
                  </a:lnTo>
                  <a:lnTo>
                    <a:pt x="10971" y="2239"/>
                  </a:lnTo>
                  <a:cubicBezTo>
                    <a:pt x="10971" y="896"/>
                    <a:pt x="10075" y="0"/>
                    <a:pt x="8732" y="0"/>
                  </a:cubicBezTo>
                  <a:cubicBezTo>
                    <a:pt x="7388" y="0"/>
                    <a:pt x="6493" y="896"/>
                    <a:pt x="6493" y="2239"/>
                  </a:cubicBezTo>
                  <a:lnTo>
                    <a:pt x="6493" y="37166"/>
                  </a:lnTo>
                  <a:lnTo>
                    <a:pt x="3806" y="34479"/>
                  </a:lnTo>
                  <a:cubicBezTo>
                    <a:pt x="2911" y="33584"/>
                    <a:pt x="1567" y="33584"/>
                    <a:pt x="672" y="34479"/>
                  </a:cubicBezTo>
                  <a:cubicBezTo>
                    <a:pt x="-224" y="35375"/>
                    <a:pt x="-224" y="36718"/>
                    <a:pt x="672" y="37614"/>
                  </a:cubicBezTo>
                  <a:lnTo>
                    <a:pt x="7388" y="44330"/>
                  </a:lnTo>
                  <a:cubicBezTo>
                    <a:pt x="7388" y="44330"/>
                    <a:pt x="7836" y="44778"/>
                    <a:pt x="8284" y="44778"/>
                  </a:cubicBezTo>
                  <a:cubicBezTo>
                    <a:pt x="8284" y="44778"/>
                    <a:pt x="8284" y="44778"/>
                    <a:pt x="8284" y="44778"/>
                  </a:cubicBezTo>
                  <a:cubicBezTo>
                    <a:pt x="8284" y="44778"/>
                    <a:pt x="8284" y="44778"/>
                    <a:pt x="8284" y="44778"/>
                  </a:cubicBezTo>
                  <a:cubicBezTo>
                    <a:pt x="8732" y="44778"/>
                    <a:pt x="8732" y="44778"/>
                    <a:pt x="9180" y="44778"/>
                  </a:cubicBezTo>
                  <a:cubicBezTo>
                    <a:pt x="9180" y="44778"/>
                    <a:pt x="9180" y="44778"/>
                    <a:pt x="9180" y="44778"/>
                  </a:cubicBezTo>
                  <a:lnTo>
                    <a:pt x="9180" y="44778"/>
                  </a:lnTo>
                  <a:lnTo>
                    <a:pt x="9180" y="44778"/>
                  </a:lnTo>
                  <a:cubicBezTo>
                    <a:pt x="9627" y="44778"/>
                    <a:pt x="9627" y="44778"/>
                    <a:pt x="10075" y="44778"/>
                  </a:cubicBezTo>
                  <a:cubicBezTo>
                    <a:pt x="10523" y="44778"/>
                    <a:pt x="10523" y="44330"/>
                    <a:pt x="10971" y="44330"/>
                  </a:cubicBezTo>
                  <a:lnTo>
                    <a:pt x="17687" y="37614"/>
                  </a:lnTo>
                  <a:cubicBezTo>
                    <a:pt x="17687" y="36718"/>
                    <a:pt x="17687" y="35375"/>
                    <a:pt x="16792" y="34479"/>
                  </a:cubicBezTo>
                  <a:close/>
                </a:path>
              </a:pathLst>
            </a:custGeom>
            <a:solidFill>
              <a:srgbClr val="231F20"/>
            </a:solidFill>
            <a:ln w="4474" cap="flat">
              <a:noFill/>
              <a:prstDash val="solid"/>
              <a:miter/>
            </a:ln>
          </p:spPr>
          <p:txBody>
            <a:bodyPr rtlCol="0" anchor="ctr"/>
            <a:lstStyle/>
            <a:p>
              <a:endParaRPr lang="en-US"/>
            </a:p>
          </p:txBody>
        </p:sp>
        <p:sp>
          <p:nvSpPr>
            <p:cNvPr id="4108" name="Freeform: Shape 4107">
              <a:extLst>
                <a:ext uri="{FF2B5EF4-FFF2-40B4-BE49-F238E27FC236}">
                  <a16:creationId xmlns:a16="http://schemas.microsoft.com/office/drawing/2014/main" id="{3C3D8482-78EB-4FE4-8828-096505467770}"/>
                </a:ext>
              </a:extLst>
            </p:cNvPr>
            <p:cNvSpPr/>
            <p:nvPr/>
          </p:nvSpPr>
          <p:spPr>
            <a:xfrm>
              <a:off x="1725939" y="2082271"/>
              <a:ext cx="17911" cy="44778"/>
            </a:xfrm>
            <a:custGeom>
              <a:avLst/>
              <a:gdLst>
                <a:gd name="connsiteX0" fmla="*/ 17687 w 17911"/>
                <a:gd name="connsiteY0" fmla="*/ 7165 h 44778"/>
                <a:gd name="connsiteX1" fmla="*/ 10971 w 17911"/>
                <a:gd name="connsiteY1" fmla="*/ 448 h 44778"/>
                <a:gd name="connsiteX2" fmla="*/ 10075 w 17911"/>
                <a:gd name="connsiteY2" fmla="*/ 0 h 44778"/>
                <a:gd name="connsiteX3" fmla="*/ 9627 w 17911"/>
                <a:gd name="connsiteY3" fmla="*/ 0 h 44778"/>
                <a:gd name="connsiteX4" fmla="*/ 8284 w 17911"/>
                <a:gd name="connsiteY4" fmla="*/ 0 h 44778"/>
                <a:gd name="connsiteX5" fmla="*/ 8284 w 17911"/>
                <a:gd name="connsiteY5" fmla="*/ 0 h 44778"/>
                <a:gd name="connsiteX6" fmla="*/ 8284 w 17911"/>
                <a:gd name="connsiteY6" fmla="*/ 0 h 44778"/>
                <a:gd name="connsiteX7" fmla="*/ 7388 w 17911"/>
                <a:gd name="connsiteY7" fmla="*/ 448 h 44778"/>
                <a:gd name="connsiteX8" fmla="*/ 672 w 17911"/>
                <a:gd name="connsiteY8" fmla="*/ 7165 h 44778"/>
                <a:gd name="connsiteX9" fmla="*/ 672 w 17911"/>
                <a:gd name="connsiteY9" fmla="*/ 10299 h 44778"/>
                <a:gd name="connsiteX10" fmla="*/ 2463 w 17911"/>
                <a:gd name="connsiteY10" fmla="*/ 10747 h 44778"/>
                <a:gd name="connsiteX11" fmla="*/ 4254 w 17911"/>
                <a:gd name="connsiteY11" fmla="*/ 10299 h 44778"/>
                <a:gd name="connsiteX12" fmla="*/ 6941 w 17911"/>
                <a:gd name="connsiteY12" fmla="*/ 7612 h 44778"/>
                <a:gd name="connsiteX13" fmla="*/ 6941 w 17911"/>
                <a:gd name="connsiteY13" fmla="*/ 42539 h 44778"/>
                <a:gd name="connsiteX14" fmla="*/ 9180 w 17911"/>
                <a:gd name="connsiteY14" fmla="*/ 44778 h 44778"/>
                <a:gd name="connsiteX15" fmla="*/ 11418 w 17911"/>
                <a:gd name="connsiteY15" fmla="*/ 42539 h 44778"/>
                <a:gd name="connsiteX16" fmla="*/ 11418 w 17911"/>
                <a:gd name="connsiteY16" fmla="*/ 7612 h 44778"/>
                <a:gd name="connsiteX17" fmla="*/ 14105 w 17911"/>
                <a:gd name="connsiteY17" fmla="*/ 10299 h 44778"/>
                <a:gd name="connsiteX18" fmla="*/ 17240 w 17911"/>
                <a:gd name="connsiteY18" fmla="*/ 10299 h 44778"/>
                <a:gd name="connsiteX19" fmla="*/ 17687 w 17911"/>
                <a:gd name="connsiteY19" fmla="*/ 7165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11" h="44778">
                  <a:moveTo>
                    <a:pt x="17687" y="7165"/>
                  </a:moveTo>
                  <a:lnTo>
                    <a:pt x="10971" y="448"/>
                  </a:lnTo>
                  <a:cubicBezTo>
                    <a:pt x="10523" y="0"/>
                    <a:pt x="10523" y="0"/>
                    <a:pt x="10075" y="0"/>
                  </a:cubicBezTo>
                  <a:cubicBezTo>
                    <a:pt x="10075" y="0"/>
                    <a:pt x="10075" y="0"/>
                    <a:pt x="9627" y="0"/>
                  </a:cubicBezTo>
                  <a:cubicBezTo>
                    <a:pt x="9180" y="0"/>
                    <a:pt x="8732" y="0"/>
                    <a:pt x="8284" y="0"/>
                  </a:cubicBezTo>
                  <a:cubicBezTo>
                    <a:pt x="8284" y="0"/>
                    <a:pt x="8284" y="0"/>
                    <a:pt x="8284" y="0"/>
                  </a:cubicBezTo>
                  <a:cubicBezTo>
                    <a:pt x="8284" y="0"/>
                    <a:pt x="8284" y="0"/>
                    <a:pt x="8284" y="0"/>
                  </a:cubicBezTo>
                  <a:cubicBezTo>
                    <a:pt x="7836" y="0"/>
                    <a:pt x="7836" y="448"/>
                    <a:pt x="7388" y="448"/>
                  </a:cubicBezTo>
                  <a:lnTo>
                    <a:pt x="672" y="7165"/>
                  </a:lnTo>
                  <a:cubicBezTo>
                    <a:pt x="-224" y="8060"/>
                    <a:pt x="-224" y="9403"/>
                    <a:pt x="672" y="10299"/>
                  </a:cubicBezTo>
                  <a:cubicBezTo>
                    <a:pt x="1119" y="10747"/>
                    <a:pt x="1567" y="10747"/>
                    <a:pt x="2463" y="10747"/>
                  </a:cubicBezTo>
                  <a:cubicBezTo>
                    <a:pt x="3358" y="10747"/>
                    <a:pt x="3806" y="10747"/>
                    <a:pt x="4254" y="10299"/>
                  </a:cubicBezTo>
                  <a:lnTo>
                    <a:pt x="6941" y="7612"/>
                  </a:lnTo>
                  <a:lnTo>
                    <a:pt x="6941" y="42539"/>
                  </a:lnTo>
                  <a:cubicBezTo>
                    <a:pt x="6941" y="43883"/>
                    <a:pt x="7836" y="44778"/>
                    <a:pt x="9180" y="44778"/>
                  </a:cubicBezTo>
                  <a:cubicBezTo>
                    <a:pt x="10523" y="44778"/>
                    <a:pt x="11418" y="43883"/>
                    <a:pt x="11418" y="42539"/>
                  </a:cubicBezTo>
                  <a:lnTo>
                    <a:pt x="11418" y="7612"/>
                  </a:lnTo>
                  <a:lnTo>
                    <a:pt x="14105" y="10299"/>
                  </a:lnTo>
                  <a:cubicBezTo>
                    <a:pt x="15001" y="11195"/>
                    <a:pt x="16344" y="11195"/>
                    <a:pt x="17240" y="10299"/>
                  </a:cubicBezTo>
                  <a:cubicBezTo>
                    <a:pt x="18583" y="9403"/>
                    <a:pt x="18583" y="8060"/>
                    <a:pt x="17687" y="7165"/>
                  </a:cubicBezTo>
                  <a:close/>
                </a:path>
              </a:pathLst>
            </a:custGeom>
            <a:solidFill>
              <a:srgbClr val="231F20"/>
            </a:solidFill>
            <a:ln w="4474" cap="flat">
              <a:noFill/>
              <a:prstDash val="solid"/>
              <a:miter/>
            </a:ln>
          </p:spPr>
          <p:txBody>
            <a:bodyPr rtlCol="0" anchor="ctr"/>
            <a:lstStyle/>
            <a:p>
              <a:endParaRPr lang="en-US"/>
            </a:p>
          </p:txBody>
        </p:sp>
      </p:grpSp>
      <p:grpSp>
        <p:nvGrpSpPr>
          <p:cNvPr id="4109" name="Group 4108">
            <a:extLst>
              <a:ext uri="{FF2B5EF4-FFF2-40B4-BE49-F238E27FC236}">
                <a16:creationId xmlns:a16="http://schemas.microsoft.com/office/drawing/2014/main" id="{4FF3EB85-F91C-4A8D-9027-A0D9EF17A1D2}"/>
              </a:ext>
              <a:ext uri="{C183D7F6-B498-43B3-948B-1728B52AA6E4}">
                <adec:decorative xmlns:adec="http://schemas.microsoft.com/office/drawing/2017/decorative" val="1"/>
              </a:ext>
            </a:extLst>
          </p:cNvPr>
          <p:cNvGrpSpPr>
            <a:grpSpLocks noChangeAspect="1"/>
          </p:cNvGrpSpPr>
          <p:nvPr/>
        </p:nvGrpSpPr>
        <p:grpSpPr>
          <a:xfrm>
            <a:off x="1871239" y="2753229"/>
            <a:ext cx="138812" cy="105005"/>
            <a:chOff x="1911993" y="2017790"/>
            <a:chExt cx="138812" cy="105005"/>
          </a:xfrm>
        </p:grpSpPr>
        <p:sp>
          <p:nvSpPr>
            <p:cNvPr id="4110" name="Freeform: Shape 4109">
              <a:extLst>
                <a:ext uri="{FF2B5EF4-FFF2-40B4-BE49-F238E27FC236}">
                  <a16:creationId xmlns:a16="http://schemas.microsoft.com/office/drawing/2014/main" id="{7EC335DF-A41E-427A-A2A8-AEC5204734B7}"/>
                </a:ext>
              </a:extLst>
            </p:cNvPr>
            <p:cNvSpPr/>
            <p:nvPr/>
          </p:nvSpPr>
          <p:spPr>
            <a:xfrm>
              <a:off x="1911993" y="2017790"/>
              <a:ext cx="138812" cy="94034"/>
            </a:xfrm>
            <a:custGeom>
              <a:avLst/>
              <a:gdLst>
                <a:gd name="connsiteX0" fmla="*/ 102990 w 138812"/>
                <a:gd name="connsiteY0" fmla="*/ 95825 h 94034"/>
                <a:gd name="connsiteX1" fmla="*/ 96273 w 138812"/>
                <a:gd name="connsiteY1" fmla="*/ 95825 h 94034"/>
                <a:gd name="connsiteX2" fmla="*/ 94034 w 138812"/>
                <a:gd name="connsiteY2" fmla="*/ 93586 h 94034"/>
                <a:gd name="connsiteX3" fmla="*/ 96273 w 138812"/>
                <a:gd name="connsiteY3" fmla="*/ 91347 h 94034"/>
                <a:gd name="connsiteX4" fmla="*/ 102990 w 138812"/>
                <a:gd name="connsiteY4" fmla="*/ 91347 h 94034"/>
                <a:gd name="connsiteX5" fmla="*/ 134335 w 138812"/>
                <a:gd name="connsiteY5" fmla="*/ 60003 h 94034"/>
                <a:gd name="connsiteX6" fmla="*/ 102990 w 138812"/>
                <a:gd name="connsiteY6" fmla="*/ 28658 h 94034"/>
                <a:gd name="connsiteX7" fmla="*/ 94034 w 138812"/>
                <a:gd name="connsiteY7" fmla="*/ 30001 h 94034"/>
                <a:gd name="connsiteX8" fmla="*/ 91347 w 138812"/>
                <a:gd name="connsiteY8" fmla="*/ 28658 h 94034"/>
                <a:gd name="connsiteX9" fmla="*/ 55973 w 138812"/>
                <a:gd name="connsiteY9" fmla="*/ 4478 h 94034"/>
                <a:gd name="connsiteX10" fmla="*/ 17911 w 138812"/>
                <a:gd name="connsiteY10" fmla="*/ 42539 h 94034"/>
                <a:gd name="connsiteX11" fmla="*/ 17911 w 138812"/>
                <a:gd name="connsiteY11" fmla="*/ 43435 h 94034"/>
                <a:gd name="connsiteX12" fmla="*/ 17016 w 138812"/>
                <a:gd name="connsiteY12" fmla="*/ 45226 h 94034"/>
                <a:gd name="connsiteX13" fmla="*/ 4478 w 138812"/>
                <a:gd name="connsiteY13" fmla="*/ 66719 h 94034"/>
                <a:gd name="connsiteX14" fmla="*/ 29106 w 138812"/>
                <a:gd name="connsiteY14" fmla="*/ 91347 h 94034"/>
                <a:gd name="connsiteX15" fmla="*/ 42539 w 138812"/>
                <a:gd name="connsiteY15" fmla="*/ 91347 h 94034"/>
                <a:gd name="connsiteX16" fmla="*/ 44778 w 138812"/>
                <a:gd name="connsiteY16" fmla="*/ 93586 h 94034"/>
                <a:gd name="connsiteX17" fmla="*/ 42539 w 138812"/>
                <a:gd name="connsiteY17" fmla="*/ 95825 h 94034"/>
                <a:gd name="connsiteX18" fmla="*/ 29106 w 138812"/>
                <a:gd name="connsiteY18" fmla="*/ 95825 h 94034"/>
                <a:gd name="connsiteX19" fmla="*/ 0 w 138812"/>
                <a:gd name="connsiteY19" fmla="*/ 66719 h 94034"/>
                <a:gd name="connsiteX20" fmla="*/ 13433 w 138812"/>
                <a:gd name="connsiteY20" fmla="*/ 42091 h 94034"/>
                <a:gd name="connsiteX21" fmla="*/ 55973 w 138812"/>
                <a:gd name="connsiteY21" fmla="*/ 0 h 94034"/>
                <a:gd name="connsiteX22" fmla="*/ 94930 w 138812"/>
                <a:gd name="connsiteY22" fmla="*/ 25076 h 94034"/>
                <a:gd name="connsiteX23" fmla="*/ 102990 w 138812"/>
                <a:gd name="connsiteY23" fmla="*/ 24180 h 94034"/>
                <a:gd name="connsiteX24" fmla="*/ 138812 w 138812"/>
                <a:gd name="connsiteY24" fmla="*/ 60003 h 94034"/>
                <a:gd name="connsiteX25" fmla="*/ 102990 w 138812"/>
                <a:gd name="connsiteY25"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8812" h="94034">
                  <a:moveTo>
                    <a:pt x="102990" y="95825"/>
                  </a:moveTo>
                  <a:lnTo>
                    <a:pt x="96273" y="95825"/>
                  </a:lnTo>
                  <a:cubicBezTo>
                    <a:pt x="94930" y="95825"/>
                    <a:pt x="94034" y="94930"/>
                    <a:pt x="94034" y="93586"/>
                  </a:cubicBezTo>
                  <a:cubicBezTo>
                    <a:pt x="94034" y="92243"/>
                    <a:pt x="94930" y="91347"/>
                    <a:pt x="96273" y="91347"/>
                  </a:cubicBezTo>
                  <a:lnTo>
                    <a:pt x="102990" y="91347"/>
                  </a:lnTo>
                  <a:cubicBezTo>
                    <a:pt x="120453" y="91347"/>
                    <a:pt x="134335" y="77466"/>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42539" y="91347"/>
                  </a:lnTo>
                  <a:cubicBezTo>
                    <a:pt x="43883" y="91347"/>
                    <a:pt x="44778" y="92243"/>
                    <a:pt x="44778" y="93586"/>
                  </a:cubicBezTo>
                  <a:cubicBezTo>
                    <a:pt x="44778" y="94930"/>
                    <a:pt x="43883" y="95825"/>
                    <a:pt x="42539" y="95825"/>
                  </a:cubicBez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79705"/>
                    <a:pt x="122692" y="95825"/>
                    <a:pt x="102990" y="95825"/>
                  </a:cubicBezTo>
                  <a:close/>
                </a:path>
              </a:pathLst>
            </a:custGeom>
            <a:solidFill>
              <a:srgbClr val="231F20"/>
            </a:solidFill>
            <a:ln w="4474" cap="flat">
              <a:noFill/>
              <a:prstDash val="solid"/>
              <a:miter/>
            </a:ln>
          </p:spPr>
          <p:txBody>
            <a:bodyPr rtlCol="0" anchor="ctr"/>
            <a:lstStyle/>
            <a:p>
              <a:endParaRPr lang="en-US"/>
            </a:p>
          </p:txBody>
        </p:sp>
        <p:sp>
          <p:nvSpPr>
            <p:cNvPr id="4111" name="Freeform: Shape 4110">
              <a:extLst>
                <a:ext uri="{FF2B5EF4-FFF2-40B4-BE49-F238E27FC236}">
                  <a16:creationId xmlns:a16="http://schemas.microsoft.com/office/drawing/2014/main" id="{2F548E7F-A8F0-4F5F-BA74-3D5486CD989B}"/>
                </a:ext>
              </a:extLst>
            </p:cNvPr>
            <p:cNvSpPr/>
            <p:nvPr/>
          </p:nvSpPr>
          <p:spPr>
            <a:xfrm>
              <a:off x="1965950" y="2095928"/>
              <a:ext cx="31345" cy="26867"/>
            </a:xfrm>
            <a:custGeom>
              <a:avLst/>
              <a:gdLst>
                <a:gd name="connsiteX0" fmla="*/ 18583 w 31344"/>
                <a:gd name="connsiteY0" fmla="*/ 15448 h 26866"/>
                <a:gd name="connsiteX1" fmla="*/ 30225 w 31344"/>
                <a:gd name="connsiteY1" fmla="*/ 3806 h 26866"/>
                <a:gd name="connsiteX2" fmla="*/ 30225 w 31344"/>
                <a:gd name="connsiteY2" fmla="*/ 672 h 26866"/>
                <a:gd name="connsiteX3" fmla="*/ 27091 w 31344"/>
                <a:gd name="connsiteY3" fmla="*/ 672 h 26866"/>
                <a:gd name="connsiteX4" fmla="*/ 15448 w 31344"/>
                <a:gd name="connsiteY4" fmla="*/ 12314 h 26866"/>
                <a:gd name="connsiteX5" fmla="*/ 3806 w 31344"/>
                <a:gd name="connsiteY5" fmla="*/ 672 h 26866"/>
                <a:gd name="connsiteX6" fmla="*/ 672 w 31344"/>
                <a:gd name="connsiteY6" fmla="*/ 672 h 26866"/>
                <a:gd name="connsiteX7" fmla="*/ 672 w 31344"/>
                <a:gd name="connsiteY7" fmla="*/ 3806 h 26866"/>
                <a:gd name="connsiteX8" fmla="*/ 12314 w 31344"/>
                <a:gd name="connsiteY8" fmla="*/ 15448 h 26866"/>
                <a:gd name="connsiteX9" fmla="*/ 672 w 31344"/>
                <a:gd name="connsiteY9" fmla="*/ 27091 h 26866"/>
                <a:gd name="connsiteX10" fmla="*/ 672 w 31344"/>
                <a:gd name="connsiteY10" fmla="*/ 30225 h 26866"/>
                <a:gd name="connsiteX11" fmla="*/ 2463 w 31344"/>
                <a:gd name="connsiteY11" fmla="*/ 30673 h 26866"/>
                <a:gd name="connsiteX12" fmla="*/ 4254 w 31344"/>
                <a:gd name="connsiteY12" fmla="*/ 30225 h 26866"/>
                <a:gd name="connsiteX13" fmla="*/ 15896 w 31344"/>
                <a:gd name="connsiteY13" fmla="*/ 18583 h 26866"/>
                <a:gd name="connsiteX14" fmla="*/ 27539 w 31344"/>
                <a:gd name="connsiteY14" fmla="*/ 30225 h 26866"/>
                <a:gd name="connsiteX15" fmla="*/ 29330 w 31344"/>
                <a:gd name="connsiteY15" fmla="*/ 30673 h 26866"/>
                <a:gd name="connsiteX16" fmla="*/ 31121 w 31344"/>
                <a:gd name="connsiteY16" fmla="*/ 30225 h 26866"/>
                <a:gd name="connsiteX17" fmla="*/ 31121 w 31344"/>
                <a:gd name="connsiteY17" fmla="*/ 27091 h 26866"/>
                <a:gd name="connsiteX18" fmla="*/ 18583 w 31344"/>
                <a:gd name="connsiteY18" fmla="*/ 15448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26866">
                  <a:moveTo>
                    <a:pt x="18583" y="15448"/>
                  </a:moveTo>
                  <a:lnTo>
                    <a:pt x="30225" y="3806"/>
                  </a:lnTo>
                  <a:cubicBezTo>
                    <a:pt x="31121" y="2911"/>
                    <a:pt x="31121" y="1567"/>
                    <a:pt x="30225" y="672"/>
                  </a:cubicBezTo>
                  <a:cubicBezTo>
                    <a:pt x="29330" y="-224"/>
                    <a:pt x="27986" y="-224"/>
                    <a:pt x="27091" y="672"/>
                  </a:cubicBezTo>
                  <a:lnTo>
                    <a:pt x="15448" y="12314"/>
                  </a:lnTo>
                  <a:lnTo>
                    <a:pt x="3806" y="672"/>
                  </a:lnTo>
                  <a:cubicBezTo>
                    <a:pt x="2911" y="-224"/>
                    <a:pt x="1567" y="-224"/>
                    <a:pt x="672" y="672"/>
                  </a:cubicBezTo>
                  <a:cubicBezTo>
                    <a:pt x="-224" y="1567"/>
                    <a:pt x="-224" y="2911"/>
                    <a:pt x="672" y="3806"/>
                  </a:cubicBezTo>
                  <a:lnTo>
                    <a:pt x="12314" y="15448"/>
                  </a:lnTo>
                  <a:lnTo>
                    <a:pt x="672" y="27091"/>
                  </a:lnTo>
                  <a:cubicBezTo>
                    <a:pt x="-224" y="27986"/>
                    <a:pt x="-224" y="29330"/>
                    <a:pt x="672" y="30225"/>
                  </a:cubicBezTo>
                  <a:cubicBezTo>
                    <a:pt x="1119" y="30673"/>
                    <a:pt x="1567" y="30673"/>
                    <a:pt x="2463" y="30673"/>
                  </a:cubicBezTo>
                  <a:cubicBezTo>
                    <a:pt x="3358" y="30673"/>
                    <a:pt x="3806" y="30673"/>
                    <a:pt x="4254" y="30225"/>
                  </a:cubicBezTo>
                  <a:lnTo>
                    <a:pt x="15896" y="18583"/>
                  </a:lnTo>
                  <a:lnTo>
                    <a:pt x="27539" y="30225"/>
                  </a:lnTo>
                  <a:cubicBezTo>
                    <a:pt x="27986" y="30673"/>
                    <a:pt x="28434" y="30673"/>
                    <a:pt x="29330" y="30673"/>
                  </a:cubicBezTo>
                  <a:cubicBezTo>
                    <a:pt x="30225" y="30673"/>
                    <a:pt x="30673" y="30673"/>
                    <a:pt x="31121" y="30225"/>
                  </a:cubicBezTo>
                  <a:cubicBezTo>
                    <a:pt x="32016" y="29330"/>
                    <a:pt x="32016" y="27986"/>
                    <a:pt x="31121" y="27091"/>
                  </a:cubicBezTo>
                  <a:lnTo>
                    <a:pt x="18583" y="15448"/>
                  </a:lnTo>
                  <a:close/>
                </a:path>
              </a:pathLst>
            </a:custGeom>
            <a:solidFill>
              <a:srgbClr val="231F20"/>
            </a:solidFill>
            <a:ln w="4474" cap="flat">
              <a:noFill/>
              <a:prstDash val="solid"/>
              <a:miter/>
            </a:ln>
          </p:spPr>
          <p:txBody>
            <a:bodyPr rtlCol="0" anchor="ctr"/>
            <a:lstStyle/>
            <a:p>
              <a:endParaRPr lang="en-US"/>
            </a:p>
          </p:txBody>
        </p:sp>
      </p:grpSp>
      <p:grpSp>
        <p:nvGrpSpPr>
          <p:cNvPr id="4112" name="Group 4111">
            <a:extLst>
              <a:ext uri="{FF2B5EF4-FFF2-40B4-BE49-F238E27FC236}">
                <a16:creationId xmlns:a16="http://schemas.microsoft.com/office/drawing/2014/main" id="{42F81F93-005F-4575-A347-7E857C2FD40C}"/>
              </a:ext>
              <a:ext uri="{C183D7F6-B498-43B3-948B-1728B52AA6E4}">
                <adec:decorative xmlns:adec="http://schemas.microsoft.com/office/drawing/2017/decorative" val="1"/>
              </a:ext>
            </a:extLst>
          </p:cNvPr>
          <p:cNvGrpSpPr>
            <a:grpSpLocks noChangeAspect="1"/>
          </p:cNvGrpSpPr>
          <p:nvPr/>
        </p:nvGrpSpPr>
        <p:grpSpPr>
          <a:xfrm>
            <a:off x="2141251" y="2737109"/>
            <a:ext cx="125379" cy="138813"/>
            <a:chOff x="2182005" y="2001670"/>
            <a:chExt cx="125379" cy="138813"/>
          </a:xfrm>
        </p:grpSpPr>
        <p:sp>
          <p:nvSpPr>
            <p:cNvPr id="4113" name="Freeform: Shape 4112">
              <a:extLst>
                <a:ext uri="{FF2B5EF4-FFF2-40B4-BE49-F238E27FC236}">
                  <a16:creationId xmlns:a16="http://schemas.microsoft.com/office/drawing/2014/main" id="{C6B9E82E-B597-4217-8CD1-4FB540DEACD1}"/>
                </a:ext>
              </a:extLst>
            </p:cNvPr>
            <p:cNvSpPr/>
            <p:nvPr/>
          </p:nvSpPr>
          <p:spPr>
            <a:xfrm>
              <a:off x="2182005" y="2001670"/>
              <a:ext cx="71645" cy="58212"/>
            </a:xfrm>
            <a:custGeom>
              <a:avLst/>
              <a:gdLst>
                <a:gd name="connsiteX0" fmla="*/ 64928 w 71645"/>
                <a:gd name="connsiteY0" fmla="*/ 0 h 58211"/>
                <a:gd name="connsiteX1" fmla="*/ 6717 w 71645"/>
                <a:gd name="connsiteY1" fmla="*/ 0 h 58211"/>
                <a:gd name="connsiteX2" fmla="*/ 0 w 71645"/>
                <a:gd name="connsiteY2" fmla="*/ 6717 h 58211"/>
                <a:gd name="connsiteX3" fmla="*/ 0 w 71645"/>
                <a:gd name="connsiteY3" fmla="*/ 38061 h 58211"/>
                <a:gd name="connsiteX4" fmla="*/ 6717 w 71645"/>
                <a:gd name="connsiteY4" fmla="*/ 44778 h 58211"/>
                <a:gd name="connsiteX5" fmla="*/ 33584 w 71645"/>
                <a:gd name="connsiteY5" fmla="*/ 44778 h 58211"/>
                <a:gd name="connsiteX6" fmla="*/ 33584 w 71645"/>
                <a:gd name="connsiteY6" fmla="*/ 53734 h 58211"/>
                <a:gd name="connsiteX7" fmla="*/ 20598 w 71645"/>
                <a:gd name="connsiteY7" fmla="*/ 53734 h 58211"/>
                <a:gd name="connsiteX8" fmla="*/ 18359 w 71645"/>
                <a:gd name="connsiteY8" fmla="*/ 55973 h 58211"/>
                <a:gd name="connsiteX9" fmla="*/ 20598 w 71645"/>
                <a:gd name="connsiteY9" fmla="*/ 58212 h 58211"/>
                <a:gd name="connsiteX10" fmla="*/ 51047 w 71645"/>
                <a:gd name="connsiteY10" fmla="*/ 58212 h 58211"/>
                <a:gd name="connsiteX11" fmla="*/ 53286 w 71645"/>
                <a:gd name="connsiteY11" fmla="*/ 55973 h 58211"/>
                <a:gd name="connsiteX12" fmla="*/ 51047 w 71645"/>
                <a:gd name="connsiteY12" fmla="*/ 53734 h 58211"/>
                <a:gd name="connsiteX13" fmla="*/ 38061 w 71645"/>
                <a:gd name="connsiteY13" fmla="*/ 53734 h 58211"/>
                <a:gd name="connsiteX14" fmla="*/ 38061 w 71645"/>
                <a:gd name="connsiteY14" fmla="*/ 44778 h 58211"/>
                <a:gd name="connsiteX15" fmla="*/ 64928 w 71645"/>
                <a:gd name="connsiteY15" fmla="*/ 44778 h 58211"/>
                <a:gd name="connsiteX16" fmla="*/ 71645 w 71645"/>
                <a:gd name="connsiteY16" fmla="*/ 38061 h 58211"/>
                <a:gd name="connsiteX17" fmla="*/ 71645 w 71645"/>
                <a:gd name="connsiteY17" fmla="*/ 6717 h 58211"/>
                <a:gd name="connsiteX18" fmla="*/ 64928 w 71645"/>
                <a:gd name="connsiteY18" fmla="*/ 0 h 58211"/>
                <a:gd name="connsiteX19" fmla="*/ 67167 w 71645"/>
                <a:gd name="connsiteY19" fmla="*/ 38061 h 58211"/>
                <a:gd name="connsiteX20" fmla="*/ 64928 w 71645"/>
                <a:gd name="connsiteY20" fmla="*/ 40300 h 58211"/>
                <a:gd name="connsiteX21" fmla="*/ 6717 w 71645"/>
                <a:gd name="connsiteY21" fmla="*/ 40300 h 58211"/>
                <a:gd name="connsiteX22" fmla="*/ 4478 w 71645"/>
                <a:gd name="connsiteY22" fmla="*/ 38061 h 58211"/>
                <a:gd name="connsiteX23" fmla="*/ 4478 w 71645"/>
                <a:gd name="connsiteY23" fmla="*/ 6717 h 58211"/>
                <a:gd name="connsiteX24" fmla="*/ 6717 w 71645"/>
                <a:gd name="connsiteY24" fmla="*/ 4478 h 58211"/>
                <a:gd name="connsiteX25" fmla="*/ 64928 w 71645"/>
                <a:gd name="connsiteY25" fmla="*/ 4478 h 58211"/>
                <a:gd name="connsiteX26" fmla="*/ 67167 w 71645"/>
                <a:gd name="connsiteY26" fmla="*/ 6717 h 58211"/>
                <a:gd name="connsiteX27" fmla="*/ 67167 w 71645"/>
                <a:gd name="connsiteY27" fmla="*/ 3806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645" h="58211">
                  <a:moveTo>
                    <a:pt x="64928" y="0"/>
                  </a:moveTo>
                  <a:lnTo>
                    <a:pt x="6717" y="0"/>
                  </a:lnTo>
                  <a:cubicBezTo>
                    <a:pt x="3135" y="0"/>
                    <a:pt x="0" y="3134"/>
                    <a:pt x="0" y="6717"/>
                  </a:cubicBezTo>
                  <a:lnTo>
                    <a:pt x="0" y="38061"/>
                  </a:lnTo>
                  <a:cubicBezTo>
                    <a:pt x="0" y="41644"/>
                    <a:pt x="3135" y="44778"/>
                    <a:pt x="6717" y="44778"/>
                  </a:cubicBezTo>
                  <a:lnTo>
                    <a:pt x="33584" y="44778"/>
                  </a:lnTo>
                  <a:lnTo>
                    <a:pt x="33584" y="53734"/>
                  </a:lnTo>
                  <a:lnTo>
                    <a:pt x="20598" y="53734"/>
                  </a:lnTo>
                  <a:cubicBezTo>
                    <a:pt x="19255" y="53734"/>
                    <a:pt x="18359" y="54629"/>
                    <a:pt x="18359" y="55973"/>
                  </a:cubicBezTo>
                  <a:cubicBezTo>
                    <a:pt x="18359" y="57316"/>
                    <a:pt x="19255" y="58212"/>
                    <a:pt x="20598" y="58212"/>
                  </a:cubicBezTo>
                  <a:lnTo>
                    <a:pt x="51047" y="58212"/>
                  </a:lnTo>
                  <a:cubicBezTo>
                    <a:pt x="52391" y="58212"/>
                    <a:pt x="53286" y="57316"/>
                    <a:pt x="53286" y="55973"/>
                  </a:cubicBezTo>
                  <a:cubicBezTo>
                    <a:pt x="53286" y="54629"/>
                    <a:pt x="52391" y="53734"/>
                    <a:pt x="51047" y="53734"/>
                  </a:cubicBezTo>
                  <a:lnTo>
                    <a:pt x="38061" y="53734"/>
                  </a:lnTo>
                  <a:lnTo>
                    <a:pt x="38061" y="44778"/>
                  </a:lnTo>
                  <a:lnTo>
                    <a:pt x="64928" y="44778"/>
                  </a:lnTo>
                  <a:cubicBezTo>
                    <a:pt x="68511" y="44778"/>
                    <a:pt x="71645" y="41644"/>
                    <a:pt x="71645" y="38061"/>
                  </a:cubicBezTo>
                  <a:lnTo>
                    <a:pt x="71645" y="6717"/>
                  </a:lnTo>
                  <a:cubicBezTo>
                    <a:pt x="71645" y="2687"/>
                    <a:pt x="68958" y="0"/>
                    <a:pt x="64928" y="0"/>
                  </a:cubicBezTo>
                  <a:close/>
                  <a:moveTo>
                    <a:pt x="67167" y="38061"/>
                  </a:moveTo>
                  <a:cubicBezTo>
                    <a:pt x="67167" y="39405"/>
                    <a:pt x="66272" y="40300"/>
                    <a:pt x="64928" y="40300"/>
                  </a:cubicBezTo>
                  <a:lnTo>
                    <a:pt x="6717" y="40300"/>
                  </a:lnTo>
                  <a:cubicBezTo>
                    <a:pt x="5373" y="40300"/>
                    <a:pt x="4478" y="39405"/>
                    <a:pt x="4478" y="38061"/>
                  </a:cubicBezTo>
                  <a:lnTo>
                    <a:pt x="4478" y="6717"/>
                  </a:lnTo>
                  <a:cubicBezTo>
                    <a:pt x="4478" y="5373"/>
                    <a:pt x="5373" y="4478"/>
                    <a:pt x="6717" y="4478"/>
                  </a:cubicBezTo>
                  <a:lnTo>
                    <a:pt x="64928" y="4478"/>
                  </a:lnTo>
                  <a:cubicBezTo>
                    <a:pt x="66272" y="4478"/>
                    <a:pt x="67167" y="5373"/>
                    <a:pt x="67167" y="6717"/>
                  </a:cubicBezTo>
                  <a:lnTo>
                    <a:pt x="67167" y="38061"/>
                  </a:lnTo>
                  <a:close/>
                </a:path>
              </a:pathLst>
            </a:custGeom>
            <a:solidFill>
              <a:srgbClr val="231F20"/>
            </a:solidFill>
            <a:ln w="4474" cap="flat">
              <a:noFill/>
              <a:prstDash val="solid"/>
              <a:miter/>
            </a:ln>
          </p:spPr>
          <p:txBody>
            <a:bodyPr rtlCol="0" anchor="ctr"/>
            <a:lstStyle/>
            <a:p>
              <a:endParaRPr lang="en-US"/>
            </a:p>
          </p:txBody>
        </p:sp>
        <p:sp>
          <p:nvSpPr>
            <p:cNvPr id="4114" name="Freeform: Shape 4113">
              <a:extLst>
                <a:ext uri="{FF2B5EF4-FFF2-40B4-BE49-F238E27FC236}">
                  <a16:creationId xmlns:a16="http://schemas.microsoft.com/office/drawing/2014/main" id="{02C4B6DE-F332-401E-BC10-5D8C0F2AEB6B}"/>
                </a:ext>
              </a:extLst>
            </p:cNvPr>
            <p:cNvSpPr/>
            <p:nvPr/>
          </p:nvSpPr>
          <p:spPr>
            <a:xfrm>
              <a:off x="2235739" y="2082271"/>
              <a:ext cx="71645" cy="58212"/>
            </a:xfrm>
            <a:custGeom>
              <a:avLst/>
              <a:gdLst>
                <a:gd name="connsiteX0" fmla="*/ 64928 w 71645"/>
                <a:gd name="connsiteY0" fmla="*/ 0 h 58211"/>
                <a:gd name="connsiteX1" fmla="*/ 6717 w 71645"/>
                <a:gd name="connsiteY1" fmla="*/ 0 h 58211"/>
                <a:gd name="connsiteX2" fmla="*/ 0 w 71645"/>
                <a:gd name="connsiteY2" fmla="*/ 6717 h 58211"/>
                <a:gd name="connsiteX3" fmla="*/ 0 w 71645"/>
                <a:gd name="connsiteY3" fmla="*/ 38061 h 58211"/>
                <a:gd name="connsiteX4" fmla="*/ 6717 w 71645"/>
                <a:gd name="connsiteY4" fmla="*/ 44778 h 58211"/>
                <a:gd name="connsiteX5" fmla="*/ 33584 w 71645"/>
                <a:gd name="connsiteY5" fmla="*/ 44778 h 58211"/>
                <a:gd name="connsiteX6" fmla="*/ 33584 w 71645"/>
                <a:gd name="connsiteY6" fmla="*/ 53734 h 58211"/>
                <a:gd name="connsiteX7" fmla="*/ 20598 w 71645"/>
                <a:gd name="connsiteY7" fmla="*/ 53734 h 58211"/>
                <a:gd name="connsiteX8" fmla="*/ 18359 w 71645"/>
                <a:gd name="connsiteY8" fmla="*/ 55973 h 58211"/>
                <a:gd name="connsiteX9" fmla="*/ 20598 w 71645"/>
                <a:gd name="connsiteY9" fmla="*/ 58212 h 58211"/>
                <a:gd name="connsiteX10" fmla="*/ 51047 w 71645"/>
                <a:gd name="connsiteY10" fmla="*/ 58212 h 58211"/>
                <a:gd name="connsiteX11" fmla="*/ 53286 w 71645"/>
                <a:gd name="connsiteY11" fmla="*/ 55973 h 58211"/>
                <a:gd name="connsiteX12" fmla="*/ 51047 w 71645"/>
                <a:gd name="connsiteY12" fmla="*/ 53734 h 58211"/>
                <a:gd name="connsiteX13" fmla="*/ 38061 w 71645"/>
                <a:gd name="connsiteY13" fmla="*/ 53734 h 58211"/>
                <a:gd name="connsiteX14" fmla="*/ 38061 w 71645"/>
                <a:gd name="connsiteY14" fmla="*/ 44778 h 58211"/>
                <a:gd name="connsiteX15" fmla="*/ 64928 w 71645"/>
                <a:gd name="connsiteY15" fmla="*/ 44778 h 58211"/>
                <a:gd name="connsiteX16" fmla="*/ 71645 w 71645"/>
                <a:gd name="connsiteY16" fmla="*/ 38061 h 58211"/>
                <a:gd name="connsiteX17" fmla="*/ 71645 w 71645"/>
                <a:gd name="connsiteY17" fmla="*/ 6717 h 58211"/>
                <a:gd name="connsiteX18" fmla="*/ 64928 w 71645"/>
                <a:gd name="connsiteY18" fmla="*/ 0 h 58211"/>
                <a:gd name="connsiteX19" fmla="*/ 67167 w 71645"/>
                <a:gd name="connsiteY19" fmla="*/ 38061 h 58211"/>
                <a:gd name="connsiteX20" fmla="*/ 64928 w 71645"/>
                <a:gd name="connsiteY20" fmla="*/ 40300 h 58211"/>
                <a:gd name="connsiteX21" fmla="*/ 6717 w 71645"/>
                <a:gd name="connsiteY21" fmla="*/ 40300 h 58211"/>
                <a:gd name="connsiteX22" fmla="*/ 4478 w 71645"/>
                <a:gd name="connsiteY22" fmla="*/ 38061 h 58211"/>
                <a:gd name="connsiteX23" fmla="*/ 4478 w 71645"/>
                <a:gd name="connsiteY23" fmla="*/ 6717 h 58211"/>
                <a:gd name="connsiteX24" fmla="*/ 6717 w 71645"/>
                <a:gd name="connsiteY24" fmla="*/ 4478 h 58211"/>
                <a:gd name="connsiteX25" fmla="*/ 64928 w 71645"/>
                <a:gd name="connsiteY25" fmla="*/ 4478 h 58211"/>
                <a:gd name="connsiteX26" fmla="*/ 67167 w 71645"/>
                <a:gd name="connsiteY26" fmla="*/ 6717 h 58211"/>
                <a:gd name="connsiteX27" fmla="*/ 67167 w 71645"/>
                <a:gd name="connsiteY27" fmla="*/ 3806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645" h="58211">
                  <a:moveTo>
                    <a:pt x="64928" y="0"/>
                  </a:moveTo>
                  <a:lnTo>
                    <a:pt x="6717" y="0"/>
                  </a:lnTo>
                  <a:cubicBezTo>
                    <a:pt x="3135" y="0"/>
                    <a:pt x="0" y="3134"/>
                    <a:pt x="0" y="6717"/>
                  </a:cubicBezTo>
                  <a:lnTo>
                    <a:pt x="0" y="38061"/>
                  </a:lnTo>
                  <a:cubicBezTo>
                    <a:pt x="0" y="41644"/>
                    <a:pt x="3135" y="44778"/>
                    <a:pt x="6717" y="44778"/>
                  </a:cubicBezTo>
                  <a:lnTo>
                    <a:pt x="33584" y="44778"/>
                  </a:lnTo>
                  <a:lnTo>
                    <a:pt x="33584" y="53734"/>
                  </a:lnTo>
                  <a:lnTo>
                    <a:pt x="20598" y="53734"/>
                  </a:lnTo>
                  <a:cubicBezTo>
                    <a:pt x="19255" y="53734"/>
                    <a:pt x="18359" y="54629"/>
                    <a:pt x="18359" y="55973"/>
                  </a:cubicBezTo>
                  <a:cubicBezTo>
                    <a:pt x="18359" y="57316"/>
                    <a:pt x="19255" y="58212"/>
                    <a:pt x="20598" y="58212"/>
                  </a:cubicBezTo>
                  <a:lnTo>
                    <a:pt x="51047" y="58212"/>
                  </a:lnTo>
                  <a:cubicBezTo>
                    <a:pt x="52391" y="58212"/>
                    <a:pt x="53286" y="57316"/>
                    <a:pt x="53286" y="55973"/>
                  </a:cubicBezTo>
                  <a:cubicBezTo>
                    <a:pt x="53286" y="54629"/>
                    <a:pt x="52391" y="53734"/>
                    <a:pt x="51047" y="53734"/>
                  </a:cubicBezTo>
                  <a:lnTo>
                    <a:pt x="38061" y="53734"/>
                  </a:lnTo>
                  <a:lnTo>
                    <a:pt x="38061" y="44778"/>
                  </a:lnTo>
                  <a:lnTo>
                    <a:pt x="64928" y="44778"/>
                  </a:lnTo>
                  <a:cubicBezTo>
                    <a:pt x="68511" y="44778"/>
                    <a:pt x="71645" y="41644"/>
                    <a:pt x="71645" y="38061"/>
                  </a:cubicBezTo>
                  <a:lnTo>
                    <a:pt x="71645" y="6717"/>
                  </a:lnTo>
                  <a:cubicBezTo>
                    <a:pt x="71645" y="2687"/>
                    <a:pt x="68958" y="0"/>
                    <a:pt x="64928" y="0"/>
                  </a:cubicBezTo>
                  <a:close/>
                  <a:moveTo>
                    <a:pt x="67167" y="38061"/>
                  </a:moveTo>
                  <a:cubicBezTo>
                    <a:pt x="67167" y="39405"/>
                    <a:pt x="66272" y="40300"/>
                    <a:pt x="64928" y="40300"/>
                  </a:cubicBezTo>
                  <a:lnTo>
                    <a:pt x="6717" y="40300"/>
                  </a:lnTo>
                  <a:cubicBezTo>
                    <a:pt x="5373" y="40300"/>
                    <a:pt x="4478" y="39405"/>
                    <a:pt x="4478" y="38061"/>
                  </a:cubicBezTo>
                  <a:lnTo>
                    <a:pt x="4478" y="6717"/>
                  </a:lnTo>
                  <a:cubicBezTo>
                    <a:pt x="4478" y="5373"/>
                    <a:pt x="5373" y="4478"/>
                    <a:pt x="6717" y="4478"/>
                  </a:cubicBezTo>
                  <a:lnTo>
                    <a:pt x="64928" y="4478"/>
                  </a:lnTo>
                  <a:cubicBezTo>
                    <a:pt x="66272" y="4478"/>
                    <a:pt x="67167" y="5373"/>
                    <a:pt x="67167" y="6717"/>
                  </a:cubicBezTo>
                  <a:lnTo>
                    <a:pt x="67167" y="38061"/>
                  </a:lnTo>
                  <a:close/>
                </a:path>
              </a:pathLst>
            </a:custGeom>
            <a:solidFill>
              <a:srgbClr val="231F20"/>
            </a:solidFill>
            <a:ln w="4474" cap="flat">
              <a:noFill/>
              <a:prstDash val="solid"/>
              <a:miter/>
            </a:ln>
          </p:spPr>
          <p:txBody>
            <a:bodyPr rtlCol="0" anchor="ctr"/>
            <a:lstStyle/>
            <a:p>
              <a:endParaRPr lang="en-US"/>
            </a:p>
          </p:txBody>
        </p:sp>
        <p:sp>
          <p:nvSpPr>
            <p:cNvPr id="4115" name="Freeform: Shape 4114">
              <a:extLst>
                <a:ext uri="{FF2B5EF4-FFF2-40B4-BE49-F238E27FC236}">
                  <a16:creationId xmlns:a16="http://schemas.microsoft.com/office/drawing/2014/main" id="{4D1EED2C-FD8D-40C4-8E16-10ED341C3BB0}"/>
                </a:ext>
              </a:extLst>
            </p:cNvPr>
            <p:cNvSpPr/>
            <p:nvPr/>
          </p:nvSpPr>
          <p:spPr>
            <a:xfrm>
              <a:off x="2182005" y="2082271"/>
              <a:ext cx="44778" cy="44778"/>
            </a:xfrm>
            <a:custGeom>
              <a:avLst/>
              <a:gdLst>
                <a:gd name="connsiteX0" fmla="*/ 42539 w 44778"/>
                <a:gd name="connsiteY0" fmla="*/ 44778 h 44778"/>
                <a:gd name="connsiteX1" fmla="*/ 2239 w 44778"/>
                <a:gd name="connsiteY1" fmla="*/ 44778 h 44778"/>
                <a:gd name="connsiteX2" fmla="*/ 0 w 44778"/>
                <a:gd name="connsiteY2" fmla="*/ 42539 h 44778"/>
                <a:gd name="connsiteX3" fmla="*/ 0 w 44778"/>
                <a:gd name="connsiteY3" fmla="*/ 2239 h 44778"/>
                <a:gd name="connsiteX4" fmla="*/ 2239 w 44778"/>
                <a:gd name="connsiteY4" fmla="*/ 0 h 44778"/>
                <a:gd name="connsiteX5" fmla="*/ 4478 w 44778"/>
                <a:gd name="connsiteY5" fmla="*/ 2239 h 44778"/>
                <a:gd name="connsiteX6" fmla="*/ 4478 w 44778"/>
                <a:gd name="connsiteY6" fmla="*/ 40300 h 44778"/>
                <a:gd name="connsiteX7" fmla="*/ 42539 w 44778"/>
                <a:gd name="connsiteY7" fmla="*/ 40300 h 44778"/>
                <a:gd name="connsiteX8" fmla="*/ 44778 w 44778"/>
                <a:gd name="connsiteY8" fmla="*/ 42539 h 44778"/>
                <a:gd name="connsiteX9" fmla="*/ 42539 w 44778"/>
                <a:gd name="connsiteY9"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42539" y="44778"/>
                  </a:moveTo>
                  <a:lnTo>
                    <a:pt x="2239" y="44778"/>
                  </a:lnTo>
                  <a:cubicBezTo>
                    <a:pt x="896" y="44778"/>
                    <a:pt x="0" y="43883"/>
                    <a:pt x="0" y="42539"/>
                  </a:cubicBezTo>
                  <a:lnTo>
                    <a:pt x="0" y="2239"/>
                  </a:lnTo>
                  <a:cubicBezTo>
                    <a:pt x="0" y="896"/>
                    <a:pt x="896" y="0"/>
                    <a:pt x="2239" y="0"/>
                  </a:cubicBezTo>
                  <a:cubicBezTo>
                    <a:pt x="3582" y="0"/>
                    <a:pt x="4478" y="896"/>
                    <a:pt x="4478" y="2239"/>
                  </a:cubicBezTo>
                  <a:lnTo>
                    <a:pt x="4478" y="40300"/>
                  </a:lnTo>
                  <a:lnTo>
                    <a:pt x="42539" y="40300"/>
                  </a:lnTo>
                  <a:cubicBezTo>
                    <a:pt x="43883" y="40300"/>
                    <a:pt x="44778" y="41196"/>
                    <a:pt x="44778" y="42539"/>
                  </a:cubicBezTo>
                  <a:cubicBezTo>
                    <a:pt x="44778" y="43883"/>
                    <a:pt x="43883" y="44778"/>
                    <a:pt x="42539" y="44778"/>
                  </a:cubicBezTo>
                  <a:close/>
                </a:path>
              </a:pathLst>
            </a:custGeom>
            <a:solidFill>
              <a:srgbClr val="231F20"/>
            </a:solidFill>
            <a:ln w="4474" cap="flat">
              <a:noFill/>
              <a:prstDash val="solid"/>
              <a:miter/>
            </a:ln>
          </p:spPr>
          <p:txBody>
            <a:bodyPr rtlCol="0" anchor="ctr"/>
            <a:lstStyle/>
            <a:p>
              <a:endParaRPr lang="en-US"/>
            </a:p>
          </p:txBody>
        </p:sp>
        <p:sp>
          <p:nvSpPr>
            <p:cNvPr id="4116" name="Freeform: Shape 4115">
              <a:extLst>
                <a:ext uri="{FF2B5EF4-FFF2-40B4-BE49-F238E27FC236}">
                  <a16:creationId xmlns:a16="http://schemas.microsoft.com/office/drawing/2014/main" id="{7B55A24A-DDB0-4192-9D28-52866DFB9DAC}"/>
                </a:ext>
              </a:extLst>
            </p:cNvPr>
            <p:cNvSpPr/>
            <p:nvPr/>
          </p:nvSpPr>
          <p:spPr>
            <a:xfrm>
              <a:off x="2262606" y="2001670"/>
              <a:ext cx="44778" cy="44778"/>
            </a:xfrm>
            <a:custGeom>
              <a:avLst/>
              <a:gdLst>
                <a:gd name="connsiteX0" fmla="*/ 42539 w 44778"/>
                <a:gd name="connsiteY0" fmla="*/ 44778 h 44778"/>
                <a:gd name="connsiteX1" fmla="*/ 40300 w 44778"/>
                <a:gd name="connsiteY1" fmla="*/ 42539 h 44778"/>
                <a:gd name="connsiteX2" fmla="*/ 40300 w 44778"/>
                <a:gd name="connsiteY2" fmla="*/ 4478 h 44778"/>
                <a:gd name="connsiteX3" fmla="*/ 2239 w 44778"/>
                <a:gd name="connsiteY3" fmla="*/ 4478 h 44778"/>
                <a:gd name="connsiteX4" fmla="*/ 0 w 44778"/>
                <a:gd name="connsiteY4" fmla="*/ 2239 h 44778"/>
                <a:gd name="connsiteX5" fmla="*/ 2239 w 44778"/>
                <a:gd name="connsiteY5" fmla="*/ 0 h 44778"/>
                <a:gd name="connsiteX6" fmla="*/ 42539 w 44778"/>
                <a:gd name="connsiteY6" fmla="*/ 0 h 44778"/>
                <a:gd name="connsiteX7" fmla="*/ 44778 w 44778"/>
                <a:gd name="connsiteY7" fmla="*/ 2239 h 44778"/>
                <a:gd name="connsiteX8" fmla="*/ 44778 w 44778"/>
                <a:gd name="connsiteY8" fmla="*/ 42539 h 44778"/>
                <a:gd name="connsiteX9" fmla="*/ 42539 w 44778"/>
                <a:gd name="connsiteY9"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42539" y="44778"/>
                  </a:moveTo>
                  <a:cubicBezTo>
                    <a:pt x="41196" y="44778"/>
                    <a:pt x="40300" y="43883"/>
                    <a:pt x="40300" y="42539"/>
                  </a:cubicBezTo>
                  <a:lnTo>
                    <a:pt x="40300" y="4478"/>
                  </a:lnTo>
                  <a:lnTo>
                    <a:pt x="2239" y="4478"/>
                  </a:lnTo>
                  <a:cubicBezTo>
                    <a:pt x="896" y="4478"/>
                    <a:pt x="0" y="3582"/>
                    <a:pt x="0" y="2239"/>
                  </a:cubicBezTo>
                  <a:cubicBezTo>
                    <a:pt x="0" y="896"/>
                    <a:pt x="896" y="0"/>
                    <a:pt x="2239" y="0"/>
                  </a:cubicBezTo>
                  <a:lnTo>
                    <a:pt x="42539" y="0"/>
                  </a:lnTo>
                  <a:cubicBezTo>
                    <a:pt x="43883" y="0"/>
                    <a:pt x="44778" y="896"/>
                    <a:pt x="44778" y="2239"/>
                  </a:cubicBezTo>
                  <a:lnTo>
                    <a:pt x="44778" y="42539"/>
                  </a:lnTo>
                  <a:cubicBezTo>
                    <a:pt x="44778" y="43883"/>
                    <a:pt x="43883" y="44778"/>
                    <a:pt x="42539" y="44778"/>
                  </a:cubicBezTo>
                  <a:close/>
                </a:path>
              </a:pathLst>
            </a:custGeom>
            <a:solidFill>
              <a:srgbClr val="231F20"/>
            </a:solidFill>
            <a:ln w="4474" cap="flat">
              <a:noFill/>
              <a:prstDash val="solid"/>
              <a:miter/>
            </a:ln>
          </p:spPr>
          <p:txBody>
            <a:bodyPr rtlCol="0" anchor="ctr"/>
            <a:lstStyle/>
            <a:p>
              <a:endParaRPr lang="en-US"/>
            </a:p>
          </p:txBody>
        </p:sp>
      </p:grpSp>
      <p:grpSp>
        <p:nvGrpSpPr>
          <p:cNvPr id="4117" name="Group 4116">
            <a:extLst>
              <a:ext uri="{FF2B5EF4-FFF2-40B4-BE49-F238E27FC236}">
                <a16:creationId xmlns:a16="http://schemas.microsoft.com/office/drawing/2014/main" id="{77E3188B-776D-442D-A198-52A4321D7C64}"/>
              </a:ext>
              <a:ext uri="{C183D7F6-B498-43B3-948B-1728B52AA6E4}">
                <adec:decorative xmlns:adec="http://schemas.microsoft.com/office/drawing/2017/decorative" val="1"/>
              </a:ext>
            </a:extLst>
          </p:cNvPr>
          <p:cNvGrpSpPr>
            <a:grpSpLocks noChangeAspect="1"/>
          </p:cNvGrpSpPr>
          <p:nvPr/>
        </p:nvGrpSpPr>
        <p:grpSpPr>
          <a:xfrm>
            <a:off x="2387531" y="2723676"/>
            <a:ext cx="152246" cy="152246"/>
            <a:chOff x="2428285" y="1988237"/>
            <a:chExt cx="152246" cy="152246"/>
          </a:xfrm>
        </p:grpSpPr>
        <p:sp>
          <p:nvSpPr>
            <p:cNvPr id="4118" name="Freeform: Shape 4117">
              <a:extLst>
                <a:ext uri="{FF2B5EF4-FFF2-40B4-BE49-F238E27FC236}">
                  <a16:creationId xmlns:a16="http://schemas.microsoft.com/office/drawing/2014/main" id="{2A7C9C70-6D51-4162-9B69-2B79E1377096}"/>
                </a:ext>
              </a:extLst>
            </p:cNvPr>
            <p:cNvSpPr/>
            <p:nvPr/>
          </p:nvSpPr>
          <p:spPr>
            <a:xfrm>
              <a:off x="2428285" y="1988237"/>
              <a:ext cx="58212" cy="98512"/>
            </a:xfrm>
            <a:custGeom>
              <a:avLst/>
              <a:gdLst>
                <a:gd name="connsiteX0" fmla="*/ 42539 w 58211"/>
                <a:gd name="connsiteY0" fmla="*/ 0 h 98511"/>
                <a:gd name="connsiteX1" fmla="*/ 15672 w 58211"/>
                <a:gd name="connsiteY1" fmla="*/ 0 h 98511"/>
                <a:gd name="connsiteX2" fmla="*/ 0 w 58211"/>
                <a:gd name="connsiteY2" fmla="*/ 15672 h 98511"/>
                <a:gd name="connsiteX3" fmla="*/ 0 w 58211"/>
                <a:gd name="connsiteY3" fmla="*/ 82840 h 98511"/>
                <a:gd name="connsiteX4" fmla="*/ 15672 w 58211"/>
                <a:gd name="connsiteY4" fmla="*/ 98512 h 98511"/>
                <a:gd name="connsiteX5" fmla="*/ 42539 w 58211"/>
                <a:gd name="connsiteY5" fmla="*/ 98512 h 98511"/>
                <a:gd name="connsiteX6" fmla="*/ 58212 w 58211"/>
                <a:gd name="connsiteY6" fmla="*/ 82840 h 98511"/>
                <a:gd name="connsiteX7" fmla="*/ 58212 w 58211"/>
                <a:gd name="connsiteY7" fmla="*/ 15672 h 98511"/>
                <a:gd name="connsiteX8" fmla="*/ 42539 w 58211"/>
                <a:gd name="connsiteY8" fmla="*/ 0 h 98511"/>
                <a:gd name="connsiteX9" fmla="*/ 53734 w 58211"/>
                <a:gd name="connsiteY9" fmla="*/ 82840 h 98511"/>
                <a:gd name="connsiteX10" fmla="*/ 42539 w 58211"/>
                <a:gd name="connsiteY10" fmla="*/ 94034 h 98511"/>
                <a:gd name="connsiteX11" fmla="*/ 15672 w 58211"/>
                <a:gd name="connsiteY11" fmla="*/ 94034 h 98511"/>
                <a:gd name="connsiteX12" fmla="*/ 4478 w 58211"/>
                <a:gd name="connsiteY12" fmla="*/ 82840 h 98511"/>
                <a:gd name="connsiteX13" fmla="*/ 4478 w 58211"/>
                <a:gd name="connsiteY13" fmla="*/ 15672 h 98511"/>
                <a:gd name="connsiteX14" fmla="*/ 15672 w 58211"/>
                <a:gd name="connsiteY14" fmla="*/ 4478 h 98511"/>
                <a:gd name="connsiteX15" fmla="*/ 21494 w 58211"/>
                <a:gd name="connsiteY15" fmla="*/ 4478 h 98511"/>
                <a:gd name="connsiteX16" fmla="*/ 23733 w 58211"/>
                <a:gd name="connsiteY16" fmla="*/ 6269 h 98511"/>
                <a:gd name="connsiteX17" fmla="*/ 34479 w 58211"/>
                <a:gd name="connsiteY17" fmla="*/ 6269 h 98511"/>
                <a:gd name="connsiteX18" fmla="*/ 36718 w 58211"/>
                <a:gd name="connsiteY18" fmla="*/ 4478 h 98511"/>
                <a:gd name="connsiteX19" fmla="*/ 42539 w 58211"/>
                <a:gd name="connsiteY19" fmla="*/ 4478 h 98511"/>
                <a:gd name="connsiteX20" fmla="*/ 53734 w 58211"/>
                <a:gd name="connsiteY20" fmla="*/ 15672 h 98511"/>
                <a:gd name="connsiteX21" fmla="*/ 53734 w 58211"/>
                <a:gd name="connsiteY21" fmla="*/ 8284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11" h="98511">
                  <a:moveTo>
                    <a:pt x="42539" y="0"/>
                  </a:moveTo>
                  <a:lnTo>
                    <a:pt x="15672" y="0"/>
                  </a:lnTo>
                  <a:cubicBezTo>
                    <a:pt x="7165" y="0"/>
                    <a:pt x="0" y="7165"/>
                    <a:pt x="0" y="15672"/>
                  </a:cubicBezTo>
                  <a:lnTo>
                    <a:pt x="0" y="82840"/>
                  </a:lnTo>
                  <a:cubicBezTo>
                    <a:pt x="0" y="91347"/>
                    <a:pt x="7165" y="98512"/>
                    <a:pt x="15672" y="98512"/>
                  </a:cubicBezTo>
                  <a:lnTo>
                    <a:pt x="42539" y="98512"/>
                  </a:lnTo>
                  <a:cubicBezTo>
                    <a:pt x="51047" y="98512"/>
                    <a:pt x="58212" y="91347"/>
                    <a:pt x="58212" y="82840"/>
                  </a:cubicBezTo>
                  <a:lnTo>
                    <a:pt x="58212" y="15672"/>
                  </a:lnTo>
                  <a:cubicBezTo>
                    <a:pt x="58212" y="6717"/>
                    <a:pt x="51047" y="0"/>
                    <a:pt x="42539" y="0"/>
                  </a:cubicBezTo>
                  <a:close/>
                  <a:moveTo>
                    <a:pt x="53734" y="82840"/>
                  </a:moveTo>
                  <a:cubicBezTo>
                    <a:pt x="53734" y="89109"/>
                    <a:pt x="48808" y="94034"/>
                    <a:pt x="42539" y="94034"/>
                  </a:cubicBezTo>
                  <a:lnTo>
                    <a:pt x="15672" y="94034"/>
                  </a:lnTo>
                  <a:cubicBezTo>
                    <a:pt x="9403" y="94034"/>
                    <a:pt x="4478" y="89109"/>
                    <a:pt x="4478" y="82840"/>
                  </a:cubicBezTo>
                  <a:lnTo>
                    <a:pt x="4478" y="15672"/>
                  </a:lnTo>
                  <a:cubicBezTo>
                    <a:pt x="4478" y="9403"/>
                    <a:pt x="9403" y="4478"/>
                    <a:pt x="15672" y="4478"/>
                  </a:cubicBezTo>
                  <a:lnTo>
                    <a:pt x="21494" y="4478"/>
                  </a:lnTo>
                  <a:cubicBezTo>
                    <a:pt x="21941" y="5373"/>
                    <a:pt x="22389" y="6269"/>
                    <a:pt x="23733" y="6269"/>
                  </a:cubicBezTo>
                  <a:lnTo>
                    <a:pt x="34479" y="6269"/>
                  </a:lnTo>
                  <a:cubicBezTo>
                    <a:pt x="35375" y="6269"/>
                    <a:pt x="36270" y="5373"/>
                    <a:pt x="36718" y="4478"/>
                  </a:cubicBezTo>
                  <a:lnTo>
                    <a:pt x="42539" y="4478"/>
                  </a:lnTo>
                  <a:cubicBezTo>
                    <a:pt x="48808" y="4478"/>
                    <a:pt x="53734" y="9403"/>
                    <a:pt x="53734" y="15672"/>
                  </a:cubicBezTo>
                  <a:lnTo>
                    <a:pt x="53734" y="82840"/>
                  </a:lnTo>
                  <a:close/>
                </a:path>
              </a:pathLst>
            </a:custGeom>
            <a:solidFill>
              <a:srgbClr val="231F20"/>
            </a:solidFill>
            <a:ln w="4474" cap="flat">
              <a:noFill/>
              <a:prstDash val="solid"/>
              <a:miter/>
            </a:ln>
          </p:spPr>
          <p:txBody>
            <a:bodyPr rtlCol="0" anchor="ctr"/>
            <a:lstStyle/>
            <a:p>
              <a:endParaRPr lang="en-US"/>
            </a:p>
          </p:txBody>
        </p:sp>
        <p:sp>
          <p:nvSpPr>
            <p:cNvPr id="4119" name="Freeform: Shape 4118">
              <a:extLst>
                <a:ext uri="{FF2B5EF4-FFF2-40B4-BE49-F238E27FC236}">
                  <a16:creationId xmlns:a16="http://schemas.microsoft.com/office/drawing/2014/main" id="{D4096DA8-22E5-4D23-8524-888D82BCB80F}"/>
                </a:ext>
              </a:extLst>
            </p:cNvPr>
            <p:cNvSpPr/>
            <p:nvPr/>
          </p:nvSpPr>
          <p:spPr>
            <a:xfrm>
              <a:off x="2452017" y="2068390"/>
              <a:ext cx="8956" cy="8956"/>
            </a:xfrm>
            <a:custGeom>
              <a:avLst/>
              <a:gdLst>
                <a:gd name="connsiteX0" fmla="*/ 10747 w 8955"/>
                <a:gd name="connsiteY0" fmla="*/ 5373 h 8955"/>
                <a:gd name="connsiteX1" fmla="*/ 5373 w 8955"/>
                <a:gd name="connsiteY1" fmla="*/ 10747 h 8955"/>
                <a:gd name="connsiteX2" fmla="*/ 0 w 8955"/>
                <a:gd name="connsiteY2" fmla="*/ 5373 h 8955"/>
                <a:gd name="connsiteX3" fmla="*/ 5373 w 8955"/>
                <a:gd name="connsiteY3" fmla="*/ 0 h 8955"/>
                <a:gd name="connsiteX4" fmla="*/ 10747 w 8955"/>
                <a:gd name="connsiteY4" fmla="*/ 5373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0747" y="5373"/>
                  </a:moveTo>
                  <a:cubicBezTo>
                    <a:pt x="10747" y="8341"/>
                    <a:pt x="8341" y="10747"/>
                    <a:pt x="5373" y="10747"/>
                  </a:cubicBezTo>
                  <a:cubicBezTo>
                    <a:pt x="2406" y="10747"/>
                    <a:pt x="0" y="8341"/>
                    <a:pt x="0" y="5373"/>
                  </a:cubicBezTo>
                  <a:cubicBezTo>
                    <a:pt x="0" y="2406"/>
                    <a:pt x="2406" y="0"/>
                    <a:pt x="5373" y="0"/>
                  </a:cubicBezTo>
                  <a:cubicBezTo>
                    <a:pt x="8341" y="0"/>
                    <a:pt x="10747" y="2406"/>
                    <a:pt x="10747" y="5373"/>
                  </a:cubicBezTo>
                  <a:close/>
                </a:path>
              </a:pathLst>
            </a:custGeom>
            <a:solidFill>
              <a:srgbClr val="231F20"/>
            </a:solidFill>
            <a:ln w="4474" cap="flat">
              <a:noFill/>
              <a:prstDash val="solid"/>
              <a:miter/>
            </a:ln>
          </p:spPr>
          <p:txBody>
            <a:bodyPr rtlCol="0" anchor="ctr"/>
            <a:lstStyle/>
            <a:p>
              <a:endParaRPr lang="en-US"/>
            </a:p>
          </p:txBody>
        </p:sp>
        <p:sp>
          <p:nvSpPr>
            <p:cNvPr id="4120" name="Freeform: Shape 4119">
              <a:extLst>
                <a:ext uri="{FF2B5EF4-FFF2-40B4-BE49-F238E27FC236}">
                  <a16:creationId xmlns:a16="http://schemas.microsoft.com/office/drawing/2014/main" id="{C75E392E-52ED-4F28-972C-FE58E33A08DD}"/>
                </a:ext>
              </a:extLst>
            </p:cNvPr>
            <p:cNvSpPr/>
            <p:nvPr/>
          </p:nvSpPr>
          <p:spPr>
            <a:xfrm>
              <a:off x="2522319" y="2041971"/>
              <a:ext cx="58212" cy="98512"/>
            </a:xfrm>
            <a:custGeom>
              <a:avLst/>
              <a:gdLst>
                <a:gd name="connsiteX0" fmla="*/ 42539 w 58211"/>
                <a:gd name="connsiteY0" fmla="*/ 0 h 98511"/>
                <a:gd name="connsiteX1" fmla="*/ 15672 w 58211"/>
                <a:gd name="connsiteY1" fmla="*/ 0 h 98511"/>
                <a:gd name="connsiteX2" fmla="*/ 0 w 58211"/>
                <a:gd name="connsiteY2" fmla="*/ 15672 h 98511"/>
                <a:gd name="connsiteX3" fmla="*/ 0 w 58211"/>
                <a:gd name="connsiteY3" fmla="*/ 82840 h 98511"/>
                <a:gd name="connsiteX4" fmla="*/ 15672 w 58211"/>
                <a:gd name="connsiteY4" fmla="*/ 98512 h 98511"/>
                <a:gd name="connsiteX5" fmla="*/ 42539 w 58211"/>
                <a:gd name="connsiteY5" fmla="*/ 98512 h 98511"/>
                <a:gd name="connsiteX6" fmla="*/ 58212 w 58211"/>
                <a:gd name="connsiteY6" fmla="*/ 82840 h 98511"/>
                <a:gd name="connsiteX7" fmla="*/ 58212 w 58211"/>
                <a:gd name="connsiteY7" fmla="*/ 15672 h 98511"/>
                <a:gd name="connsiteX8" fmla="*/ 42539 w 58211"/>
                <a:gd name="connsiteY8" fmla="*/ 0 h 98511"/>
                <a:gd name="connsiteX9" fmla="*/ 53734 w 58211"/>
                <a:gd name="connsiteY9" fmla="*/ 82840 h 98511"/>
                <a:gd name="connsiteX10" fmla="*/ 42539 w 58211"/>
                <a:gd name="connsiteY10" fmla="*/ 94034 h 98511"/>
                <a:gd name="connsiteX11" fmla="*/ 15672 w 58211"/>
                <a:gd name="connsiteY11" fmla="*/ 94034 h 98511"/>
                <a:gd name="connsiteX12" fmla="*/ 4478 w 58211"/>
                <a:gd name="connsiteY12" fmla="*/ 82840 h 98511"/>
                <a:gd name="connsiteX13" fmla="*/ 4478 w 58211"/>
                <a:gd name="connsiteY13" fmla="*/ 15672 h 98511"/>
                <a:gd name="connsiteX14" fmla="*/ 15672 w 58211"/>
                <a:gd name="connsiteY14" fmla="*/ 4478 h 98511"/>
                <a:gd name="connsiteX15" fmla="*/ 21494 w 58211"/>
                <a:gd name="connsiteY15" fmla="*/ 4478 h 98511"/>
                <a:gd name="connsiteX16" fmla="*/ 23733 w 58211"/>
                <a:gd name="connsiteY16" fmla="*/ 6269 h 98511"/>
                <a:gd name="connsiteX17" fmla="*/ 34479 w 58211"/>
                <a:gd name="connsiteY17" fmla="*/ 6269 h 98511"/>
                <a:gd name="connsiteX18" fmla="*/ 36718 w 58211"/>
                <a:gd name="connsiteY18" fmla="*/ 4478 h 98511"/>
                <a:gd name="connsiteX19" fmla="*/ 42539 w 58211"/>
                <a:gd name="connsiteY19" fmla="*/ 4478 h 98511"/>
                <a:gd name="connsiteX20" fmla="*/ 53734 w 58211"/>
                <a:gd name="connsiteY20" fmla="*/ 15672 h 98511"/>
                <a:gd name="connsiteX21" fmla="*/ 53734 w 58211"/>
                <a:gd name="connsiteY21" fmla="*/ 8284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11" h="98511">
                  <a:moveTo>
                    <a:pt x="42539" y="0"/>
                  </a:moveTo>
                  <a:lnTo>
                    <a:pt x="15672" y="0"/>
                  </a:lnTo>
                  <a:cubicBezTo>
                    <a:pt x="7165" y="0"/>
                    <a:pt x="0" y="7165"/>
                    <a:pt x="0" y="15672"/>
                  </a:cubicBezTo>
                  <a:lnTo>
                    <a:pt x="0" y="82840"/>
                  </a:lnTo>
                  <a:cubicBezTo>
                    <a:pt x="0" y="91347"/>
                    <a:pt x="7165" y="98512"/>
                    <a:pt x="15672" y="98512"/>
                  </a:cubicBezTo>
                  <a:lnTo>
                    <a:pt x="42539" y="98512"/>
                  </a:lnTo>
                  <a:cubicBezTo>
                    <a:pt x="51047" y="98512"/>
                    <a:pt x="58212" y="91347"/>
                    <a:pt x="58212" y="82840"/>
                  </a:cubicBezTo>
                  <a:lnTo>
                    <a:pt x="58212" y="15672"/>
                  </a:lnTo>
                  <a:cubicBezTo>
                    <a:pt x="58212" y="6717"/>
                    <a:pt x="51047" y="0"/>
                    <a:pt x="42539" y="0"/>
                  </a:cubicBezTo>
                  <a:close/>
                  <a:moveTo>
                    <a:pt x="53734" y="82840"/>
                  </a:moveTo>
                  <a:cubicBezTo>
                    <a:pt x="53734" y="89109"/>
                    <a:pt x="48808" y="94034"/>
                    <a:pt x="42539" y="94034"/>
                  </a:cubicBezTo>
                  <a:lnTo>
                    <a:pt x="15672" y="94034"/>
                  </a:lnTo>
                  <a:cubicBezTo>
                    <a:pt x="9403" y="94034"/>
                    <a:pt x="4478" y="89109"/>
                    <a:pt x="4478" y="82840"/>
                  </a:cubicBezTo>
                  <a:lnTo>
                    <a:pt x="4478" y="15672"/>
                  </a:lnTo>
                  <a:cubicBezTo>
                    <a:pt x="4478" y="9403"/>
                    <a:pt x="9403" y="4478"/>
                    <a:pt x="15672" y="4478"/>
                  </a:cubicBezTo>
                  <a:lnTo>
                    <a:pt x="21494" y="4478"/>
                  </a:lnTo>
                  <a:cubicBezTo>
                    <a:pt x="21941" y="5373"/>
                    <a:pt x="22389" y="6269"/>
                    <a:pt x="23733" y="6269"/>
                  </a:cubicBezTo>
                  <a:lnTo>
                    <a:pt x="34479" y="6269"/>
                  </a:lnTo>
                  <a:cubicBezTo>
                    <a:pt x="35375" y="6269"/>
                    <a:pt x="36270" y="5373"/>
                    <a:pt x="36718" y="4478"/>
                  </a:cubicBezTo>
                  <a:lnTo>
                    <a:pt x="42539" y="4478"/>
                  </a:lnTo>
                  <a:cubicBezTo>
                    <a:pt x="48808" y="4478"/>
                    <a:pt x="53734" y="9403"/>
                    <a:pt x="53734" y="15672"/>
                  </a:cubicBezTo>
                  <a:lnTo>
                    <a:pt x="53734" y="82840"/>
                  </a:lnTo>
                  <a:close/>
                </a:path>
              </a:pathLst>
            </a:custGeom>
            <a:solidFill>
              <a:srgbClr val="231F20"/>
            </a:solidFill>
            <a:ln w="4474" cap="flat">
              <a:noFill/>
              <a:prstDash val="solid"/>
              <a:miter/>
            </a:ln>
          </p:spPr>
          <p:txBody>
            <a:bodyPr rtlCol="0" anchor="ctr"/>
            <a:lstStyle/>
            <a:p>
              <a:endParaRPr lang="en-US"/>
            </a:p>
          </p:txBody>
        </p:sp>
        <p:sp>
          <p:nvSpPr>
            <p:cNvPr id="4121" name="Freeform: Shape 4120">
              <a:extLst>
                <a:ext uri="{FF2B5EF4-FFF2-40B4-BE49-F238E27FC236}">
                  <a16:creationId xmlns:a16="http://schemas.microsoft.com/office/drawing/2014/main" id="{4D7F79AC-C4D4-4A7B-AC0D-290BBAE32E62}"/>
                </a:ext>
              </a:extLst>
            </p:cNvPr>
            <p:cNvSpPr/>
            <p:nvPr/>
          </p:nvSpPr>
          <p:spPr>
            <a:xfrm>
              <a:off x="2546052" y="2122124"/>
              <a:ext cx="8956" cy="8956"/>
            </a:xfrm>
            <a:custGeom>
              <a:avLst/>
              <a:gdLst>
                <a:gd name="connsiteX0" fmla="*/ 10747 w 8955"/>
                <a:gd name="connsiteY0" fmla="*/ 5373 h 8955"/>
                <a:gd name="connsiteX1" fmla="*/ 5373 w 8955"/>
                <a:gd name="connsiteY1" fmla="*/ 10747 h 8955"/>
                <a:gd name="connsiteX2" fmla="*/ 0 w 8955"/>
                <a:gd name="connsiteY2" fmla="*/ 5373 h 8955"/>
                <a:gd name="connsiteX3" fmla="*/ 5373 w 8955"/>
                <a:gd name="connsiteY3" fmla="*/ 0 h 8955"/>
                <a:gd name="connsiteX4" fmla="*/ 10747 w 8955"/>
                <a:gd name="connsiteY4" fmla="*/ 5373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0747" y="5373"/>
                  </a:moveTo>
                  <a:cubicBezTo>
                    <a:pt x="10747" y="8341"/>
                    <a:pt x="8341" y="10747"/>
                    <a:pt x="5373" y="10747"/>
                  </a:cubicBezTo>
                  <a:cubicBezTo>
                    <a:pt x="2406" y="10747"/>
                    <a:pt x="0" y="8341"/>
                    <a:pt x="0" y="5373"/>
                  </a:cubicBezTo>
                  <a:cubicBezTo>
                    <a:pt x="0" y="2406"/>
                    <a:pt x="2406" y="0"/>
                    <a:pt x="5373" y="0"/>
                  </a:cubicBezTo>
                  <a:cubicBezTo>
                    <a:pt x="8341" y="0"/>
                    <a:pt x="10747" y="2406"/>
                    <a:pt x="10747" y="5373"/>
                  </a:cubicBezTo>
                  <a:close/>
                </a:path>
              </a:pathLst>
            </a:custGeom>
            <a:solidFill>
              <a:srgbClr val="231F20"/>
            </a:solidFill>
            <a:ln w="4474" cap="flat">
              <a:noFill/>
              <a:prstDash val="solid"/>
              <a:miter/>
            </a:ln>
          </p:spPr>
          <p:txBody>
            <a:bodyPr rtlCol="0" anchor="ctr"/>
            <a:lstStyle/>
            <a:p>
              <a:endParaRPr lang="en-US"/>
            </a:p>
          </p:txBody>
        </p:sp>
        <p:sp>
          <p:nvSpPr>
            <p:cNvPr id="4122" name="Freeform: Shape 4121">
              <a:extLst>
                <a:ext uri="{FF2B5EF4-FFF2-40B4-BE49-F238E27FC236}">
                  <a16:creationId xmlns:a16="http://schemas.microsoft.com/office/drawing/2014/main" id="{5400ED8D-A70C-4629-9498-784FFF26072C}"/>
                </a:ext>
              </a:extLst>
            </p:cNvPr>
            <p:cNvSpPr/>
            <p:nvPr/>
          </p:nvSpPr>
          <p:spPr>
            <a:xfrm>
              <a:off x="2495452" y="2001670"/>
              <a:ext cx="31345" cy="31345"/>
            </a:xfrm>
            <a:custGeom>
              <a:avLst/>
              <a:gdLst>
                <a:gd name="connsiteX0" fmla="*/ 29106 w 31344"/>
                <a:gd name="connsiteY0" fmla="*/ 31345 h 31344"/>
                <a:gd name="connsiteX1" fmla="*/ 26867 w 31344"/>
                <a:gd name="connsiteY1" fmla="*/ 29106 h 31344"/>
                <a:gd name="connsiteX2" fmla="*/ 26867 w 31344"/>
                <a:gd name="connsiteY2" fmla="*/ 15672 h 31344"/>
                <a:gd name="connsiteX3" fmla="*/ 15672 w 31344"/>
                <a:gd name="connsiteY3" fmla="*/ 4478 h 31344"/>
                <a:gd name="connsiteX4" fmla="*/ 2239 w 31344"/>
                <a:gd name="connsiteY4" fmla="*/ 4478 h 31344"/>
                <a:gd name="connsiteX5" fmla="*/ 0 w 31344"/>
                <a:gd name="connsiteY5" fmla="*/ 2239 h 31344"/>
                <a:gd name="connsiteX6" fmla="*/ 2239 w 31344"/>
                <a:gd name="connsiteY6" fmla="*/ 0 h 31344"/>
                <a:gd name="connsiteX7" fmla="*/ 15672 w 31344"/>
                <a:gd name="connsiteY7" fmla="*/ 0 h 31344"/>
                <a:gd name="connsiteX8" fmla="*/ 31345 w 31344"/>
                <a:gd name="connsiteY8" fmla="*/ 15672 h 31344"/>
                <a:gd name="connsiteX9" fmla="*/ 31345 w 31344"/>
                <a:gd name="connsiteY9" fmla="*/ 29106 h 31344"/>
                <a:gd name="connsiteX10" fmla="*/ 29106 w 31344"/>
                <a:gd name="connsiteY10"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44" h="31344">
                  <a:moveTo>
                    <a:pt x="29106" y="31345"/>
                  </a:moveTo>
                  <a:cubicBezTo>
                    <a:pt x="27763" y="31345"/>
                    <a:pt x="26867" y="30449"/>
                    <a:pt x="26867" y="29106"/>
                  </a:cubicBezTo>
                  <a:lnTo>
                    <a:pt x="26867" y="15672"/>
                  </a:lnTo>
                  <a:cubicBezTo>
                    <a:pt x="26867" y="9403"/>
                    <a:pt x="21941" y="4478"/>
                    <a:pt x="15672" y="4478"/>
                  </a:cubicBezTo>
                  <a:lnTo>
                    <a:pt x="2239" y="4478"/>
                  </a:lnTo>
                  <a:cubicBezTo>
                    <a:pt x="896" y="4478"/>
                    <a:pt x="0" y="3582"/>
                    <a:pt x="0" y="2239"/>
                  </a:cubicBezTo>
                  <a:cubicBezTo>
                    <a:pt x="0" y="896"/>
                    <a:pt x="896" y="0"/>
                    <a:pt x="2239" y="0"/>
                  </a:cubicBezTo>
                  <a:lnTo>
                    <a:pt x="15672" y="0"/>
                  </a:lnTo>
                  <a:cubicBezTo>
                    <a:pt x="24180" y="0"/>
                    <a:pt x="31345" y="7165"/>
                    <a:pt x="31345" y="15672"/>
                  </a:cubicBezTo>
                  <a:lnTo>
                    <a:pt x="31345" y="29106"/>
                  </a:lnTo>
                  <a:cubicBezTo>
                    <a:pt x="31345" y="30001"/>
                    <a:pt x="30449" y="31345"/>
                    <a:pt x="29106" y="31345"/>
                  </a:cubicBezTo>
                  <a:close/>
                </a:path>
              </a:pathLst>
            </a:custGeom>
            <a:solidFill>
              <a:srgbClr val="231F20"/>
            </a:solidFill>
            <a:ln w="4474" cap="flat">
              <a:noFill/>
              <a:prstDash val="solid"/>
              <a:miter/>
            </a:ln>
          </p:spPr>
          <p:txBody>
            <a:bodyPr rtlCol="0" anchor="ctr"/>
            <a:lstStyle/>
            <a:p>
              <a:endParaRPr lang="en-US"/>
            </a:p>
          </p:txBody>
        </p:sp>
        <p:sp>
          <p:nvSpPr>
            <p:cNvPr id="4123" name="Freeform: Shape 4122">
              <a:extLst>
                <a:ext uri="{FF2B5EF4-FFF2-40B4-BE49-F238E27FC236}">
                  <a16:creationId xmlns:a16="http://schemas.microsoft.com/office/drawing/2014/main" id="{5C9E13CD-4345-42DD-9082-4FAF06AD7010}"/>
                </a:ext>
              </a:extLst>
            </p:cNvPr>
            <p:cNvSpPr/>
            <p:nvPr/>
          </p:nvSpPr>
          <p:spPr>
            <a:xfrm>
              <a:off x="2482019" y="2095704"/>
              <a:ext cx="31345" cy="31345"/>
            </a:xfrm>
            <a:custGeom>
              <a:avLst/>
              <a:gdLst>
                <a:gd name="connsiteX0" fmla="*/ 29106 w 31344"/>
                <a:gd name="connsiteY0" fmla="*/ 31345 h 31344"/>
                <a:gd name="connsiteX1" fmla="*/ 15672 w 31344"/>
                <a:gd name="connsiteY1" fmla="*/ 31345 h 31344"/>
                <a:gd name="connsiteX2" fmla="*/ 0 w 31344"/>
                <a:gd name="connsiteY2" fmla="*/ 15672 h 31344"/>
                <a:gd name="connsiteX3" fmla="*/ 0 w 31344"/>
                <a:gd name="connsiteY3" fmla="*/ 2239 h 31344"/>
                <a:gd name="connsiteX4" fmla="*/ 2239 w 31344"/>
                <a:gd name="connsiteY4" fmla="*/ 0 h 31344"/>
                <a:gd name="connsiteX5" fmla="*/ 4478 w 31344"/>
                <a:gd name="connsiteY5" fmla="*/ 2239 h 31344"/>
                <a:gd name="connsiteX6" fmla="*/ 4478 w 31344"/>
                <a:gd name="connsiteY6" fmla="*/ 15672 h 31344"/>
                <a:gd name="connsiteX7" fmla="*/ 15672 w 31344"/>
                <a:gd name="connsiteY7" fmla="*/ 26867 h 31344"/>
                <a:gd name="connsiteX8" fmla="*/ 29106 w 31344"/>
                <a:gd name="connsiteY8" fmla="*/ 26867 h 31344"/>
                <a:gd name="connsiteX9" fmla="*/ 31345 w 31344"/>
                <a:gd name="connsiteY9" fmla="*/ 29106 h 31344"/>
                <a:gd name="connsiteX10" fmla="*/ 29106 w 31344"/>
                <a:gd name="connsiteY10"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44" h="31344">
                  <a:moveTo>
                    <a:pt x="29106" y="31345"/>
                  </a:moveTo>
                  <a:lnTo>
                    <a:pt x="15672" y="31345"/>
                  </a:lnTo>
                  <a:cubicBezTo>
                    <a:pt x="7165" y="31345"/>
                    <a:pt x="0" y="24180"/>
                    <a:pt x="0" y="15672"/>
                  </a:cubicBezTo>
                  <a:lnTo>
                    <a:pt x="0" y="2239"/>
                  </a:lnTo>
                  <a:cubicBezTo>
                    <a:pt x="0" y="896"/>
                    <a:pt x="896" y="0"/>
                    <a:pt x="2239" y="0"/>
                  </a:cubicBezTo>
                  <a:cubicBezTo>
                    <a:pt x="3582" y="0"/>
                    <a:pt x="4478" y="896"/>
                    <a:pt x="4478" y="2239"/>
                  </a:cubicBezTo>
                  <a:lnTo>
                    <a:pt x="4478" y="15672"/>
                  </a:lnTo>
                  <a:cubicBezTo>
                    <a:pt x="4478" y="21941"/>
                    <a:pt x="9403" y="26867"/>
                    <a:pt x="15672" y="26867"/>
                  </a:cubicBezTo>
                  <a:lnTo>
                    <a:pt x="29106" y="26867"/>
                  </a:lnTo>
                  <a:cubicBezTo>
                    <a:pt x="30449" y="26867"/>
                    <a:pt x="31345" y="27762"/>
                    <a:pt x="31345" y="29106"/>
                  </a:cubicBez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grpSp>
      <p:grpSp>
        <p:nvGrpSpPr>
          <p:cNvPr id="4124" name="Group 4123">
            <a:extLst>
              <a:ext uri="{FF2B5EF4-FFF2-40B4-BE49-F238E27FC236}">
                <a16:creationId xmlns:a16="http://schemas.microsoft.com/office/drawing/2014/main" id="{D8AC7EB2-791F-499F-B803-52718F0AB340}"/>
              </a:ext>
              <a:ext uri="{C183D7F6-B498-43B3-948B-1728B52AA6E4}">
                <adec:decorative xmlns:adec="http://schemas.microsoft.com/office/drawing/2017/decorative" val="1"/>
              </a:ext>
            </a:extLst>
          </p:cNvPr>
          <p:cNvGrpSpPr>
            <a:grpSpLocks noChangeAspect="1"/>
          </p:cNvGrpSpPr>
          <p:nvPr/>
        </p:nvGrpSpPr>
        <p:grpSpPr>
          <a:xfrm>
            <a:off x="2657544" y="2723676"/>
            <a:ext cx="152245" cy="150006"/>
            <a:chOff x="2698298" y="1988237"/>
            <a:chExt cx="152245" cy="150006"/>
          </a:xfrm>
        </p:grpSpPr>
        <p:sp>
          <p:nvSpPr>
            <p:cNvPr id="4125" name="Freeform: Shape 4124">
              <a:extLst>
                <a:ext uri="{FF2B5EF4-FFF2-40B4-BE49-F238E27FC236}">
                  <a16:creationId xmlns:a16="http://schemas.microsoft.com/office/drawing/2014/main" id="{EC90AAAF-2A19-4A69-9810-6A000641392A}"/>
                </a:ext>
              </a:extLst>
            </p:cNvPr>
            <p:cNvSpPr/>
            <p:nvPr/>
          </p:nvSpPr>
          <p:spPr>
            <a:xfrm>
              <a:off x="2698298" y="1988237"/>
              <a:ext cx="98512" cy="62689"/>
            </a:xfrm>
            <a:custGeom>
              <a:avLst/>
              <a:gdLst>
                <a:gd name="connsiteX0" fmla="*/ 96273 w 98511"/>
                <a:gd name="connsiteY0" fmla="*/ 53734 h 62689"/>
                <a:gd name="connsiteX1" fmla="*/ 91795 w 98511"/>
                <a:gd name="connsiteY1" fmla="*/ 53734 h 62689"/>
                <a:gd name="connsiteX2" fmla="*/ 91795 w 98511"/>
                <a:gd name="connsiteY2" fmla="*/ 6717 h 62689"/>
                <a:gd name="connsiteX3" fmla="*/ 85079 w 98511"/>
                <a:gd name="connsiteY3" fmla="*/ 0 h 62689"/>
                <a:gd name="connsiteX4" fmla="*/ 13433 w 98511"/>
                <a:gd name="connsiteY4" fmla="*/ 0 h 62689"/>
                <a:gd name="connsiteX5" fmla="*/ 6717 w 98511"/>
                <a:gd name="connsiteY5" fmla="*/ 6717 h 62689"/>
                <a:gd name="connsiteX6" fmla="*/ 6717 w 98511"/>
                <a:gd name="connsiteY6" fmla="*/ 53734 h 62689"/>
                <a:gd name="connsiteX7" fmla="*/ 2239 w 98511"/>
                <a:gd name="connsiteY7" fmla="*/ 53734 h 62689"/>
                <a:gd name="connsiteX8" fmla="*/ 0 w 98511"/>
                <a:gd name="connsiteY8" fmla="*/ 55973 h 62689"/>
                <a:gd name="connsiteX9" fmla="*/ 8956 w 98511"/>
                <a:gd name="connsiteY9" fmla="*/ 64928 h 62689"/>
                <a:gd name="connsiteX10" fmla="*/ 89556 w 98511"/>
                <a:gd name="connsiteY10" fmla="*/ 64928 h 62689"/>
                <a:gd name="connsiteX11" fmla="*/ 98512 w 98511"/>
                <a:gd name="connsiteY11" fmla="*/ 55973 h 62689"/>
                <a:gd name="connsiteX12" fmla="*/ 96273 w 98511"/>
                <a:gd name="connsiteY12" fmla="*/ 53734 h 62689"/>
                <a:gd name="connsiteX13" fmla="*/ 11195 w 98511"/>
                <a:gd name="connsiteY13" fmla="*/ 6717 h 62689"/>
                <a:gd name="connsiteX14" fmla="*/ 13433 w 98511"/>
                <a:gd name="connsiteY14" fmla="*/ 4478 h 62689"/>
                <a:gd name="connsiteX15" fmla="*/ 85079 w 98511"/>
                <a:gd name="connsiteY15" fmla="*/ 4478 h 62689"/>
                <a:gd name="connsiteX16" fmla="*/ 87317 w 98511"/>
                <a:gd name="connsiteY16" fmla="*/ 6717 h 62689"/>
                <a:gd name="connsiteX17" fmla="*/ 87317 w 98511"/>
                <a:gd name="connsiteY17" fmla="*/ 53734 h 62689"/>
                <a:gd name="connsiteX18" fmla="*/ 83735 w 98511"/>
                <a:gd name="connsiteY18" fmla="*/ 53734 h 62689"/>
                <a:gd name="connsiteX19" fmla="*/ 83735 w 98511"/>
                <a:gd name="connsiteY19" fmla="*/ 51495 h 62689"/>
                <a:gd name="connsiteX20" fmla="*/ 79257 w 98511"/>
                <a:gd name="connsiteY20" fmla="*/ 51495 h 62689"/>
                <a:gd name="connsiteX21" fmla="*/ 79257 w 98511"/>
                <a:gd name="connsiteY21" fmla="*/ 53734 h 62689"/>
                <a:gd name="connsiteX22" fmla="*/ 75675 w 98511"/>
                <a:gd name="connsiteY22" fmla="*/ 53734 h 62689"/>
                <a:gd name="connsiteX23" fmla="*/ 75675 w 98511"/>
                <a:gd name="connsiteY23" fmla="*/ 51495 h 62689"/>
                <a:gd name="connsiteX24" fmla="*/ 71197 w 98511"/>
                <a:gd name="connsiteY24" fmla="*/ 51495 h 62689"/>
                <a:gd name="connsiteX25" fmla="*/ 71197 w 98511"/>
                <a:gd name="connsiteY25" fmla="*/ 53734 h 62689"/>
                <a:gd name="connsiteX26" fmla="*/ 67615 w 98511"/>
                <a:gd name="connsiteY26" fmla="*/ 53734 h 62689"/>
                <a:gd name="connsiteX27" fmla="*/ 67615 w 98511"/>
                <a:gd name="connsiteY27" fmla="*/ 51495 h 62689"/>
                <a:gd name="connsiteX28" fmla="*/ 63137 w 98511"/>
                <a:gd name="connsiteY28" fmla="*/ 51495 h 62689"/>
                <a:gd name="connsiteX29" fmla="*/ 63137 w 98511"/>
                <a:gd name="connsiteY29" fmla="*/ 53734 h 62689"/>
                <a:gd name="connsiteX30" fmla="*/ 11195 w 98511"/>
                <a:gd name="connsiteY30" fmla="*/ 53734 h 62689"/>
                <a:gd name="connsiteX31" fmla="*/ 11195 w 98511"/>
                <a:gd name="connsiteY31" fmla="*/ 6717 h 62689"/>
                <a:gd name="connsiteX32" fmla="*/ 89556 w 98511"/>
                <a:gd name="connsiteY32" fmla="*/ 60451 h 62689"/>
                <a:gd name="connsiteX33" fmla="*/ 8956 w 98511"/>
                <a:gd name="connsiteY33" fmla="*/ 60451 h 62689"/>
                <a:gd name="connsiteX34" fmla="*/ 4925 w 98511"/>
                <a:gd name="connsiteY34" fmla="*/ 58212 h 62689"/>
                <a:gd name="connsiteX35" fmla="*/ 93586 w 98511"/>
                <a:gd name="connsiteY35" fmla="*/ 58212 h 62689"/>
                <a:gd name="connsiteX36" fmla="*/ 89556 w 98511"/>
                <a:gd name="connsiteY36" fmla="*/ 60451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8511" h="62689">
                  <a:moveTo>
                    <a:pt x="96273" y="53734"/>
                  </a:moveTo>
                  <a:lnTo>
                    <a:pt x="91795" y="53734"/>
                  </a:lnTo>
                  <a:lnTo>
                    <a:pt x="91795" y="6717"/>
                  </a:lnTo>
                  <a:cubicBezTo>
                    <a:pt x="91795" y="3134"/>
                    <a:pt x="88661" y="0"/>
                    <a:pt x="85079" y="0"/>
                  </a:cubicBezTo>
                  <a:lnTo>
                    <a:pt x="13433" y="0"/>
                  </a:lnTo>
                  <a:cubicBezTo>
                    <a:pt x="9851" y="0"/>
                    <a:pt x="6717" y="3134"/>
                    <a:pt x="6717" y="6717"/>
                  </a:cubicBezTo>
                  <a:lnTo>
                    <a:pt x="6717" y="53734"/>
                  </a:lnTo>
                  <a:lnTo>
                    <a:pt x="2239" y="53734"/>
                  </a:lnTo>
                  <a:cubicBezTo>
                    <a:pt x="895" y="53734"/>
                    <a:pt x="0" y="54629"/>
                    <a:pt x="0" y="55973"/>
                  </a:cubicBezTo>
                  <a:cubicBezTo>
                    <a:pt x="0" y="60898"/>
                    <a:pt x="4030" y="64928"/>
                    <a:pt x="8956" y="64928"/>
                  </a:cubicBezTo>
                  <a:lnTo>
                    <a:pt x="89556" y="64928"/>
                  </a:lnTo>
                  <a:cubicBezTo>
                    <a:pt x="94482" y="64928"/>
                    <a:pt x="98512" y="60898"/>
                    <a:pt x="98512" y="55973"/>
                  </a:cubicBezTo>
                  <a:cubicBezTo>
                    <a:pt x="98512" y="54629"/>
                    <a:pt x="97616" y="53734"/>
                    <a:pt x="96273" y="53734"/>
                  </a:cubicBezTo>
                  <a:close/>
                  <a:moveTo>
                    <a:pt x="11195" y="6717"/>
                  </a:moveTo>
                  <a:cubicBezTo>
                    <a:pt x="11195" y="5373"/>
                    <a:pt x="12090" y="4478"/>
                    <a:pt x="13433" y="4478"/>
                  </a:cubicBezTo>
                  <a:lnTo>
                    <a:pt x="85079" y="4478"/>
                  </a:lnTo>
                  <a:cubicBezTo>
                    <a:pt x="86422" y="4478"/>
                    <a:pt x="87317" y="5373"/>
                    <a:pt x="87317" y="6717"/>
                  </a:cubicBezTo>
                  <a:lnTo>
                    <a:pt x="87317" y="53734"/>
                  </a:lnTo>
                  <a:lnTo>
                    <a:pt x="83735" y="53734"/>
                  </a:lnTo>
                  <a:lnTo>
                    <a:pt x="83735" y="51495"/>
                  </a:lnTo>
                  <a:lnTo>
                    <a:pt x="79257" y="51495"/>
                  </a:lnTo>
                  <a:lnTo>
                    <a:pt x="79257" y="53734"/>
                  </a:lnTo>
                  <a:lnTo>
                    <a:pt x="75675" y="53734"/>
                  </a:lnTo>
                  <a:lnTo>
                    <a:pt x="75675" y="51495"/>
                  </a:lnTo>
                  <a:lnTo>
                    <a:pt x="71197" y="51495"/>
                  </a:lnTo>
                  <a:lnTo>
                    <a:pt x="71197" y="53734"/>
                  </a:lnTo>
                  <a:lnTo>
                    <a:pt x="67615" y="53734"/>
                  </a:lnTo>
                  <a:lnTo>
                    <a:pt x="67615" y="51495"/>
                  </a:lnTo>
                  <a:lnTo>
                    <a:pt x="63137" y="51495"/>
                  </a:lnTo>
                  <a:lnTo>
                    <a:pt x="63137" y="53734"/>
                  </a:lnTo>
                  <a:lnTo>
                    <a:pt x="11195" y="53734"/>
                  </a:lnTo>
                  <a:lnTo>
                    <a:pt x="11195" y="6717"/>
                  </a:lnTo>
                  <a:close/>
                  <a:moveTo>
                    <a:pt x="89556" y="60451"/>
                  </a:moveTo>
                  <a:lnTo>
                    <a:pt x="8956" y="60451"/>
                  </a:lnTo>
                  <a:cubicBezTo>
                    <a:pt x="7164" y="60451"/>
                    <a:pt x="5821" y="59555"/>
                    <a:pt x="4925" y="58212"/>
                  </a:cubicBezTo>
                  <a:lnTo>
                    <a:pt x="93586" y="58212"/>
                  </a:lnTo>
                  <a:cubicBezTo>
                    <a:pt x="92691" y="59555"/>
                    <a:pt x="91347" y="60451"/>
                    <a:pt x="89556" y="60451"/>
                  </a:cubicBezTo>
                  <a:close/>
                </a:path>
              </a:pathLst>
            </a:custGeom>
            <a:solidFill>
              <a:srgbClr val="231F20"/>
            </a:solidFill>
            <a:ln w="4474" cap="flat">
              <a:noFill/>
              <a:prstDash val="solid"/>
              <a:miter/>
            </a:ln>
          </p:spPr>
          <p:txBody>
            <a:bodyPr rtlCol="0" anchor="ctr"/>
            <a:lstStyle/>
            <a:p>
              <a:endParaRPr lang="en-US"/>
            </a:p>
          </p:txBody>
        </p:sp>
        <p:sp>
          <p:nvSpPr>
            <p:cNvPr id="4126" name="Freeform: Shape 4125">
              <a:extLst>
                <a:ext uri="{FF2B5EF4-FFF2-40B4-BE49-F238E27FC236}">
                  <a16:creationId xmlns:a16="http://schemas.microsoft.com/office/drawing/2014/main" id="{2C39D0AD-DBE7-4E84-9D87-3FEDCB1CE626}"/>
                </a:ext>
              </a:extLst>
            </p:cNvPr>
            <p:cNvSpPr/>
            <p:nvPr/>
          </p:nvSpPr>
          <p:spPr>
            <a:xfrm>
              <a:off x="2752031" y="2075554"/>
              <a:ext cx="98512" cy="62689"/>
            </a:xfrm>
            <a:custGeom>
              <a:avLst/>
              <a:gdLst>
                <a:gd name="connsiteX0" fmla="*/ 96273 w 98511"/>
                <a:gd name="connsiteY0" fmla="*/ 53734 h 62689"/>
                <a:gd name="connsiteX1" fmla="*/ 91795 w 98511"/>
                <a:gd name="connsiteY1" fmla="*/ 53734 h 62689"/>
                <a:gd name="connsiteX2" fmla="*/ 91795 w 98511"/>
                <a:gd name="connsiteY2" fmla="*/ 6717 h 62689"/>
                <a:gd name="connsiteX3" fmla="*/ 85079 w 98511"/>
                <a:gd name="connsiteY3" fmla="*/ 0 h 62689"/>
                <a:gd name="connsiteX4" fmla="*/ 13433 w 98511"/>
                <a:gd name="connsiteY4" fmla="*/ 0 h 62689"/>
                <a:gd name="connsiteX5" fmla="*/ 6717 w 98511"/>
                <a:gd name="connsiteY5" fmla="*/ 6717 h 62689"/>
                <a:gd name="connsiteX6" fmla="*/ 6717 w 98511"/>
                <a:gd name="connsiteY6" fmla="*/ 53734 h 62689"/>
                <a:gd name="connsiteX7" fmla="*/ 2239 w 98511"/>
                <a:gd name="connsiteY7" fmla="*/ 53734 h 62689"/>
                <a:gd name="connsiteX8" fmla="*/ 0 w 98511"/>
                <a:gd name="connsiteY8" fmla="*/ 55973 h 62689"/>
                <a:gd name="connsiteX9" fmla="*/ 8956 w 98511"/>
                <a:gd name="connsiteY9" fmla="*/ 64928 h 62689"/>
                <a:gd name="connsiteX10" fmla="*/ 89556 w 98511"/>
                <a:gd name="connsiteY10" fmla="*/ 64928 h 62689"/>
                <a:gd name="connsiteX11" fmla="*/ 98512 w 98511"/>
                <a:gd name="connsiteY11" fmla="*/ 55973 h 62689"/>
                <a:gd name="connsiteX12" fmla="*/ 96273 w 98511"/>
                <a:gd name="connsiteY12" fmla="*/ 53734 h 62689"/>
                <a:gd name="connsiteX13" fmla="*/ 11195 w 98511"/>
                <a:gd name="connsiteY13" fmla="*/ 6717 h 62689"/>
                <a:gd name="connsiteX14" fmla="*/ 13433 w 98511"/>
                <a:gd name="connsiteY14" fmla="*/ 4478 h 62689"/>
                <a:gd name="connsiteX15" fmla="*/ 85079 w 98511"/>
                <a:gd name="connsiteY15" fmla="*/ 4478 h 62689"/>
                <a:gd name="connsiteX16" fmla="*/ 87317 w 98511"/>
                <a:gd name="connsiteY16" fmla="*/ 6717 h 62689"/>
                <a:gd name="connsiteX17" fmla="*/ 87317 w 98511"/>
                <a:gd name="connsiteY17" fmla="*/ 53734 h 62689"/>
                <a:gd name="connsiteX18" fmla="*/ 83735 w 98511"/>
                <a:gd name="connsiteY18" fmla="*/ 53734 h 62689"/>
                <a:gd name="connsiteX19" fmla="*/ 83735 w 98511"/>
                <a:gd name="connsiteY19" fmla="*/ 52391 h 62689"/>
                <a:gd name="connsiteX20" fmla="*/ 79257 w 98511"/>
                <a:gd name="connsiteY20" fmla="*/ 52391 h 62689"/>
                <a:gd name="connsiteX21" fmla="*/ 79257 w 98511"/>
                <a:gd name="connsiteY21" fmla="*/ 53734 h 62689"/>
                <a:gd name="connsiteX22" fmla="*/ 75675 w 98511"/>
                <a:gd name="connsiteY22" fmla="*/ 53734 h 62689"/>
                <a:gd name="connsiteX23" fmla="*/ 75675 w 98511"/>
                <a:gd name="connsiteY23" fmla="*/ 52391 h 62689"/>
                <a:gd name="connsiteX24" fmla="*/ 71197 w 98511"/>
                <a:gd name="connsiteY24" fmla="*/ 52391 h 62689"/>
                <a:gd name="connsiteX25" fmla="*/ 71197 w 98511"/>
                <a:gd name="connsiteY25" fmla="*/ 53734 h 62689"/>
                <a:gd name="connsiteX26" fmla="*/ 67615 w 98511"/>
                <a:gd name="connsiteY26" fmla="*/ 53734 h 62689"/>
                <a:gd name="connsiteX27" fmla="*/ 67615 w 98511"/>
                <a:gd name="connsiteY27" fmla="*/ 52391 h 62689"/>
                <a:gd name="connsiteX28" fmla="*/ 63137 w 98511"/>
                <a:gd name="connsiteY28" fmla="*/ 52391 h 62689"/>
                <a:gd name="connsiteX29" fmla="*/ 63137 w 98511"/>
                <a:gd name="connsiteY29" fmla="*/ 53734 h 62689"/>
                <a:gd name="connsiteX30" fmla="*/ 11195 w 98511"/>
                <a:gd name="connsiteY30" fmla="*/ 53734 h 62689"/>
                <a:gd name="connsiteX31" fmla="*/ 11195 w 98511"/>
                <a:gd name="connsiteY31" fmla="*/ 6717 h 62689"/>
                <a:gd name="connsiteX32" fmla="*/ 89556 w 98511"/>
                <a:gd name="connsiteY32" fmla="*/ 60451 h 62689"/>
                <a:gd name="connsiteX33" fmla="*/ 8956 w 98511"/>
                <a:gd name="connsiteY33" fmla="*/ 60451 h 62689"/>
                <a:gd name="connsiteX34" fmla="*/ 4925 w 98511"/>
                <a:gd name="connsiteY34" fmla="*/ 58212 h 62689"/>
                <a:gd name="connsiteX35" fmla="*/ 93139 w 98511"/>
                <a:gd name="connsiteY35" fmla="*/ 58212 h 62689"/>
                <a:gd name="connsiteX36" fmla="*/ 89556 w 98511"/>
                <a:gd name="connsiteY36" fmla="*/ 60451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8511" h="62689">
                  <a:moveTo>
                    <a:pt x="96273" y="53734"/>
                  </a:moveTo>
                  <a:lnTo>
                    <a:pt x="91795" y="53734"/>
                  </a:lnTo>
                  <a:lnTo>
                    <a:pt x="91795" y="6717"/>
                  </a:lnTo>
                  <a:cubicBezTo>
                    <a:pt x="91795" y="3134"/>
                    <a:pt x="88661" y="0"/>
                    <a:pt x="85079" y="0"/>
                  </a:cubicBezTo>
                  <a:lnTo>
                    <a:pt x="13433" y="0"/>
                  </a:lnTo>
                  <a:cubicBezTo>
                    <a:pt x="9851" y="0"/>
                    <a:pt x="6717" y="3134"/>
                    <a:pt x="6717" y="6717"/>
                  </a:cubicBezTo>
                  <a:lnTo>
                    <a:pt x="6717" y="53734"/>
                  </a:lnTo>
                  <a:lnTo>
                    <a:pt x="2239" y="53734"/>
                  </a:lnTo>
                  <a:cubicBezTo>
                    <a:pt x="895" y="53734"/>
                    <a:pt x="0" y="54629"/>
                    <a:pt x="0" y="55973"/>
                  </a:cubicBezTo>
                  <a:cubicBezTo>
                    <a:pt x="0" y="60898"/>
                    <a:pt x="4030" y="64928"/>
                    <a:pt x="8956" y="64928"/>
                  </a:cubicBezTo>
                  <a:lnTo>
                    <a:pt x="89556" y="64928"/>
                  </a:lnTo>
                  <a:cubicBezTo>
                    <a:pt x="94482" y="64928"/>
                    <a:pt x="98512" y="60898"/>
                    <a:pt x="98512" y="55973"/>
                  </a:cubicBezTo>
                  <a:cubicBezTo>
                    <a:pt x="98512" y="54629"/>
                    <a:pt x="97616" y="53734"/>
                    <a:pt x="96273" y="53734"/>
                  </a:cubicBezTo>
                  <a:close/>
                  <a:moveTo>
                    <a:pt x="11195" y="6717"/>
                  </a:moveTo>
                  <a:cubicBezTo>
                    <a:pt x="11195" y="5373"/>
                    <a:pt x="12090" y="4478"/>
                    <a:pt x="13433" y="4478"/>
                  </a:cubicBezTo>
                  <a:lnTo>
                    <a:pt x="85079" y="4478"/>
                  </a:lnTo>
                  <a:cubicBezTo>
                    <a:pt x="86422" y="4478"/>
                    <a:pt x="87317" y="5373"/>
                    <a:pt x="87317" y="6717"/>
                  </a:cubicBezTo>
                  <a:lnTo>
                    <a:pt x="87317" y="53734"/>
                  </a:lnTo>
                  <a:lnTo>
                    <a:pt x="83735" y="53734"/>
                  </a:lnTo>
                  <a:lnTo>
                    <a:pt x="83735" y="52391"/>
                  </a:lnTo>
                  <a:lnTo>
                    <a:pt x="79257" y="52391"/>
                  </a:lnTo>
                  <a:lnTo>
                    <a:pt x="79257" y="53734"/>
                  </a:lnTo>
                  <a:lnTo>
                    <a:pt x="75675" y="53734"/>
                  </a:lnTo>
                  <a:lnTo>
                    <a:pt x="75675" y="52391"/>
                  </a:lnTo>
                  <a:lnTo>
                    <a:pt x="71197" y="52391"/>
                  </a:lnTo>
                  <a:lnTo>
                    <a:pt x="71197" y="53734"/>
                  </a:lnTo>
                  <a:lnTo>
                    <a:pt x="67615" y="53734"/>
                  </a:lnTo>
                  <a:lnTo>
                    <a:pt x="67615" y="52391"/>
                  </a:lnTo>
                  <a:lnTo>
                    <a:pt x="63137" y="52391"/>
                  </a:lnTo>
                  <a:lnTo>
                    <a:pt x="63137" y="53734"/>
                  </a:lnTo>
                  <a:lnTo>
                    <a:pt x="11195" y="53734"/>
                  </a:lnTo>
                  <a:lnTo>
                    <a:pt x="11195" y="6717"/>
                  </a:lnTo>
                  <a:close/>
                  <a:moveTo>
                    <a:pt x="89556" y="60451"/>
                  </a:moveTo>
                  <a:lnTo>
                    <a:pt x="8956" y="60451"/>
                  </a:lnTo>
                  <a:cubicBezTo>
                    <a:pt x="7164" y="60451"/>
                    <a:pt x="5821" y="59555"/>
                    <a:pt x="4925" y="58212"/>
                  </a:cubicBezTo>
                  <a:lnTo>
                    <a:pt x="93139" y="58212"/>
                  </a:lnTo>
                  <a:cubicBezTo>
                    <a:pt x="92691" y="59555"/>
                    <a:pt x="91347" y="60451"/>
                    <a:pt x="89556" y="60451"/>
                  </a:cubicBezTo>
                  <a:close/>
                </a:path>
              </a:pathLst>
            </a:custGeom>
            <a:solidFill>
              <a:srgbClr val="231F20"/>
            </a:solidFill>
            <a:ln w="4474" cap="flat">
              <a:noFill/>
              <a:prstDash val="solid"/>
              <a:miter/>
            </a:ln>
          </p:spPr>
          <p:txBody>
            <a:bodyPr rtlCol="0" anchor="ctr"/>
            <a:lstStyle/>
            <a:p>
              <a:endParaRPr lang="en-US"/>
            </a:p>
          </p:txBody>
        </p:sp>
        <p:sp>
          <p:nvSpPr>
            <p:cNvPr id="4127" name="Freeform: Shape 4126">
              <a:extLst>
                <a:ext uri="{FF2B5EF4-FFF2-40B4-BE49-F238E27FC236}">
                  <a16:creationId xmlns:a16="http://schemas.microsoft.com/office/drawing/2014/main" id="{96E9A8A0-A10C-4A1A-9F2A-FBD219B95689}"/>
                </a:ext>
              </a:extLst>
            </p:cNvPr>
            <p:cNvSpPr/>
            <p:nvPr/>
          </p:nvSpPr>
          <p:spPr>
            <a:xfrm>
              <a:off x="2698298" y="2082271"/>
              <a:ext cx="44778" cy="44778"/>
            </a:xfrm>
            <a:custGeom>
              <a:avLst/>
              <a:gdLst>
                <a:gd name="connsiteX0" fmla="*/ 42539 w 44778"/>
                <a:gd name="connsiteY0" fmla="*/ 44778 h 44778"/>
                <a:gd name="connsiteX1" fmla="*/ 15672 w 44778"/>
                <a:gd name="connsiteY1" fmla="*/ 44778 h 44778"/>
                <a:gd name="connsiteX2" fmla="*/ 0 w 44778"/>
                <a:gd name="connsiteY2" fmla="*/ 29106 h 44778"/>
                <a:gd name="connsiteX3" fmla="*/ 0 w 44778"/>
                <a:gd name="connsiteY3" fmla="*/ 2239 h 44778"/>
                <a:gd name="connsiteX4" fmla="*/ 2239 w 44778"/>
                <a:gd name="connsiteY4" fmla="*/ 0 h 44778"/>
                <a:gd name="connsiteX5" fmla="*/ 4478 w 44778"/>
                <a:gd name="connsiteY5" fmla="*/ 2239 h 44778"/>
                <a:gd name="connsiteX6" fmla="*/ 4478 w 44778"/>
                <a:gd name="connsiteY6" fmla="*/ 29106 h 44778"/>
                <a:gd name="connsiteX7" fmla="*/ 15672 w 44778"/>
                <a:gd name="connsiteY7" fmla="*/ 40300 h 44778"/>
                <a:gd name="connsiteX8" fmla="*/ 42539 w 44778"/>
                <a:gd name="connsiteY8" fmla="*/ 40300 h 44778"/>
                <a:gd name="connsiteX9" fmla="*/ 44778 w 44778"/>
                <a:gd name="connsiteY9" fmla="*/ 42539 h 44778"/>
                <a:gd name="connsiteX10" fmla="*/ 42539 w 44778"/>
                <a:gd name="connsiteY10"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78" h="44778">
                  <a:moveTo>
                    <a:pt x="42539" y="44778"/>
                  </a:moveTo>
                  <a:lnTo>
                    <a:pt x="15672" y="44778"/>
                  </a:lnTo>
                  <a:cubicBezTo>
                    <a:pt x="7164" y="44778"/>
                    <a:pt x="0" y="37614"/>
                    <a:pt x="0" y="29106"/>
                  </a:cubicBezTo>
                  <a:lnTo>
                    <a:pt x="0" y="2239"/>
                  </a:lnTo>
                  <a:cubicBezTo>
                    <a:pt x="0" y="896"/>
                    <a:pt x="895" y="0"/>
                    <a:pt x="2239" y="0"/>
                  </a:cubicBezTo>
                  <a:cubicBezTo>
                    <a:pt x="3582" y="0"/>
                    <a:pt x="4478" y="896"/>
                    <a:pt x="4478" y="2239"/>
                  </a:cubicBezTo>
                  <a:lnTo>
                    <a:pt x="4478" y="29106"/>
                  </a:lnTo>
                  <a:cubicBezTo>
                    <a:pt x="4478" y="35375"/>
                    <a:pt x="9403" y="40300"/>
                    <a:pt x="15672" y="40300"/>
                  </a:cubicBezTo>
                  <a:lnTo>
                    <a:pt x="42539" y="40300"/>
                  </a:lnTo>
                  <a:cubicBezTo>
                    <a:pt x="43883" y="40300"/>
                    <a:pt x="44778" y="41196"/>
                    <a:pt x="44778" y="42539"/>
                  </a:cubicBezTo>
                  <a:cubicBezTo>
                    <a:pt x="44778" y="43883"/>
                    <a:pt x="43883" y="44778"/>
                    <a:pt x="42539" y="44778"/>
                  </a:cubicBezTo>
                  <a:close/>
                </a:path>
              </a:pathLst>
            </a:custGeom>
            <a:solidFill>
              <a:srgbClr val="231F20"/>
            </a:solidFill>
            <a:ln w="4474" cap="flat">
              <a:noFill/>
              <a:prstDash val="solid"/>
              <a:miter/>
            </a:ln>
          </p:spPr>
          <p:txBody>
            <a:bodyPr rtlCol="0" anchor="ctr"/>
            <a:lstStyle/>
            <a:p>
              <a:endParaRPr lang="en-US"/>
            </a:p>
          </p:txBody>
        </p:sp>
        <p:sp>
          <p:nvSpPr>
            <p:cNvPr id="4128" name="Freeform: Shape 4127">
              <a:extLst>
                <a:ext uri="{FF2B5EF4-FFF2-40B4-BE49-F238E27FC236}">
                  <a16:creationId xmlns:a16="http://schemas.microsoft.com/office/drawing/2014/main" id="{13D5250C-93B3-45ED-B74D-37AEF8FE1A34}"/>
                </a:ext>
              </a:extLst>
            </p:cNvPr>
            <p:cNvSpPr/>
            <p:nvPr/>
          </p:nvSpPr>
          <p:spPr>
            <a:xfrm>
              <a:off x="2805765" y="2001670"/>
              <a:ext cx="44778" cy="44778"/>
            </a:xfrm>
            <a:custGeom>
              <a:avLst/>
              <a:gdLst>
                <a:gd name="connsiteX0" fmla="*/ 42539 w 44778"/>
                <a:gd name="connsiteY0" fmla="*/ 44778 h 44778"/>
                <a:gd name="connsiteX1" fmla="*/ 40300 w 44778"/>
                <a:gd name="connsiteY1" fmla="*/ 42539 h 44778"/>
                <a:gd name="connsiteX2" fmla="*/ 40300 w 44778"/>
                <a:gd name="connsiteY2" fmla="*/ 15672 h 44778"/>
                <a:gd name="connsiteX3" fmla="*/ 29106 w 44778"/>
                <a:gd name="connsiteY3" fmla="*/ 4478 h 44778"/>
                <a:gd name="connsiteX4" fmla="*/ 2239 w 44778"/>
                <a:gd name="connsiteY4" fmla="*/ 4478 h 44778"/>
                <a:gd name="connsiteX5" fmla="*/ 0 w 44778"/>
                <a:gd name="connsiteY5" fmla="*/ 2239 h 44778"/>
                <a:gd name="connsiteX6" fmla="*/ 2239 w 44778"/>
                <a:gd name="connsiteY6" fmla="*/ 0 h 44778"/>
                <a:gd name="connsiteX7" fmla="*/ 29106 w 44778"/>
                <a:gd name="connsiteY7" fmla="*/ 0 h 44778"/>
                <a:gd name="connsiteX8" fmla="*/ 44778 w 44778"/>
                <a:gd name="connsiteY8" fmla="*/ 15672 h 44778"/>
                <a:gd name="connsiteX9" fmla="*/ 44778 w 44778"/>
                <a:gd name="connsiteY9" fmla="*/ 42539 h 44778"/>
                <a:gd name="connsiteX10" fmla="*/ 42539 w 44778"/>
                <a:gd name="connsiteY10"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78" h="44778">
                  <a:moveTo>
                    <a:pt x="42539" y="44778"/>
                  </a:moveTo>
                  <a:cubicBezTo>
                    <a:pt x="41196" y="44778"/>
                    <a:pt x="40300" y="43883"/>
                    <a:pt x="40300" y="42539"/>
                  </a:cubicBezTo>
                  <a:lnTo>
                    <a:pt x="40300" y="15672"/>
                  </a:lnTo>
                  <a:cubicBezTo>
                    <a:pt x="40300" y="9403"/>
                    <a:pt x="35375" y="4478"/>
                    <a:pt x="29106" y="4478"/>
                  </a:cubicBezTo>
                  <a:lnTo>
                    <a:pt x="2239" y="4478"/>
                  </a:lnTo>
                  <a:cubicBezTo>
                    <a:pt x="895" y="4478"/>
                    <a:pt x="0" y="3582"/>
                    <a:pt x="0" y="2239"/>
                  </a:cubicBezTo>
                  <a:cubicBezTo>
                    <a:pt x="0" y="896"/>
                    <a:pt x="895" y="0"/>
                    <a:pt x="2239" y="0"/>
                  </a:cubicBezTo>
                  <a:lnTo>
                    <a:pt x="29106" y="0"/>
                  </a:lnTo>
                  <a:cubicBezTo>
                    <a:pt x="37614" y="0"/>
                    <a:pt x="44778" y="7165"/>
                    <a:pt x="44778" y="15672"/>
                  </a:cubicBezTo>
                  <a:lnTo>
                    <a:pt x="44778" y="42539"/>
                  </a:lnTo>
                  <a:cubicBezTo>
                    <a:pt x="44778" y="43435"/>
                    <a:pt x="43883" y="44778"/>
                    <a:pt x="42539" y="44778"/>
                  </a:cubicBezTo>
                  <a:close/>
                </a:path>
              </a:pathLst>
            </a:custGeom>
            <a:solidFill>
              <a:srgbClr val="231F20"/>
            </a:solidFill>
            <a:ln w="4474" cap="flat">
              <a:noFill/>
              <a:prstDash val="solid"/>
              <a:miter/>
            </a:ln>
          </p:spPr>
          <p:txBody>
            <a:bodyPr rtlCol="0" anchor="ctr"/>
            <a:lstStyle/>
            <a:p>
              <a:endParaRPr lang="en-US"/>
            </a:p>
          </p:txBody>
        </p:sp>
      </p:grpSp>
      <p:sp>
        <p:nvSpPr>
          <p:cNvPr id="4129" name="Freeform: Shape 4128">
            <a:extLst>
              <a:ext uri="{FF2B5EF4-FFF2-40B4-BE49-F238E27FC236}">
                <a16:creationId xmlns:a16="http://schemas.microsoft.com/office/drawing/2014/main" id="{51EEBF0E-0D23-4590-8260-2981B38584CC}"/>
              </a:ext>
              <a:ext uri="{C183D7F6-B498-43B3-948B-1728B52AA6E4}">
                <adec:decorative xmlns:adec="http://schemas.microsoft.com/office/drawing/2017/decorative" val="1"/>
              </a:ext>
            </a:extLst>
          </p:cNvPr>
          <p:cNvSpPr>
            <a:spLocks noChangeAspect="1"/>
          </p:cNvSpPr>
          <p:nvPr/>
        </p:nvSpPr>
        <p:spPr>
          <a:xfrm>
            <a:off x="2930690" y="2723676"/>
            <a:ext cx="125379" cy="152246"/>
          </a:xfrm>
          <a:custGeom>
            <a:avLst/>
            <a:gdLst>
              <a:gd name="connsiteX0" fmla="*/ 109707 w 125378"/>
              <a:gd name="connsiteY0" fmla="*/ 98512 h 152245"/>
              <a:gd name="connsiteX1" fmla="*/ 125379 w 125378"/>
              <a:gd name="connsiteY1" fmla="*/ 82840 h 152245"/>
              <a:gd name="connsiteX2" fmla="*/ 125379 w 125378"/>
              <a:gd name="connsiteY2" fmla="*/ 29106 h 152245"/>
              <a:gd name="connsiteX3" fmla="*/ 109707 w 125378"/>
              <a:gd name="connsiteY3" fmla="*/ 13433 h 152245"/>
              <a:gd name="connsiteX4" fmla="*/ 61794 w 125378"/>
              <a:gd name="connsiteY4" fmla="*/ 13433 h 152245"/>
              <a:gd name="connsiteX5" fmla="*/ 53734 w 125378"/>
              <a:gd name="connsiteY5" fmla="*/ 10299 h 152245"/>
              <a:gd name="connsiteX6" fmla="*/ 48360 w 125378"/>
              <a:gd name="connsiteY6" fmla="*/ 4478 h 152245"/>
              <a:gd name="connsiteX7" fmla="*/ 37166 w 125378"/>
              <a:gd name="connsiteY7" fmla="*/ 0 h 152245"/>
              <a:gd name="connsiteX8" fmla="*/ 15672 w 125378"/>
              <a:gd name="connsiteY8" fmla="*/ 0 h 152245"/>
              <a:gd name="connsiteX9" fmla="*/ 0 w 125378"/>
              <a:gd name="connsiteY9" fmla="*/ 15672 h 152245"/>
              <a:gd name="connsiteX10" fmla="*/ 0 w 125378"/>
              <a:gd name="connsiteY10" fmla="*/ 82840 h 152245"/>
              <a:gd name="connsiteX11" fmla="*/ 15672 w 125378"/>
              <a:gd name="connsiteY11" fmla="*/ 98512 h 152245"/>
              <a:gd name="connsiteX12" fmla="*/ 60451 w 125378"/>
              <a:gd name="connsiteY12" fmla="*/ 98512 h 152245"/>
              <a:gd name="connsiteX13" fmla="*/ 60451 w 125378"/>
              <a:gd name="connsiteY13" fmla="*/ 107915 h 152245"/>
              <a:gd name="connsiteX14" fmla="*/ 40748 w 125378"/>
              <a:gd name="connsiteY14" fmla="*/ 127618 h 152245"/>
              <a:gd name="connsiteX15" fmla="*/ 2239 w 125378"/>
              <a:gd name="connsiteY15" fmla="*/ 127618 h 152245"/>
              <a:gd name="connsiteX16" fmla="*/ 0 w 125378"/>
              <a:gd name="connsiteY16" fmla="*/ 129857 h 152245"/>
              <a:gd name="connsiteX17" fmla="*/ 2239 w 125378"/>
              <a:gd name="connsiteY17" fmla="*/ 132096 h 152245"/>
              <a:gd name="connsiteX18" fmla="*/ 40748 w 125378"/>
              <a:gd name="connsiteY18" fmla="*/ 132096 h 152245"/>
              <a:gd name="connsiteX19" fmla="*/ 62689 w 125378"/>
              <a:gd name="connsiteY19" fmla="*/ 152246 h 152245"/>
              <a:gd name="connsiteX20" fmla="*/ 84631 w 125378"/>
              <a:gd name="connsiteY20" fmla="*/ 132096 h 152245"/>
              <a:gd name="connsiteX21" fmla="*/ 123140 w 125378"/>
              <a:gd name="connsiteY21" fmla="*/ 132096 h 152245"/>
              <a:gd name="connsiteX22" fmla="*/ 125379 w 125378"/>
              <a:gd name="connsiteY22" fmla="*/ 129857 h 152245"/>
              <a:gd name="connsiteX23" fmla="*/ 123140 w 125378"/>
              <a:gd name="connsiteY23" fmla="*/ 127618 h 152245"/>
              <a:gd name="connsiteX24" fmla="*/ 84631 w 125378"/>
              <a:gd name="connsiteY24" fmla="*/ 127618 h 152245"/>
              <a:gd name="connsiteX25" fmla="*/ 64928 w 125378"/>
              <a:gd name="connsiteY25" fmla="*/ 107915 h 152245"/>
              <a:gd name="connsiteX26" fmla="*/ 64928 w 125378"/>
              <a:gd name="connsiteY26" fmla="*/ 98512 h 152245"/>
              <a:gd name="connsiteX27" fmla="*/ 109707 w 125378"/>
              <a:gd name="connsiteY27" fmla="*/ 98512 h 152245"/>
              <a:gd name="connsiteX28" fmla="*/ 80601 w 125378"/>
              <a:gd name="connsiteY28" fmla="*/ 129857 h 152245"/>
              <a:gd name="connsiteX29" fmla="*/ 62689 w 125378"/>
              <a:gd name="connsiteY29" fmla="*/ 147768 h 152245"/>
              <a:gd name="connsiteX30" fmla="*/ 44778 w 125378"/>
              <a:gd name="connsiteY30" fmla="*/ 129857 h 152245"/>
              <a:gd name="connsiteX31" fmla="*/ 44778 w 125378"/>
              <a:gd name="connsiteY31" fmla="*/ 129857 h 152245"/>
              <a:gd name="connsiteX32" fmla="*/ 44778 w 125378"/>
              <a:gd name="connsiteY32" fmla="*/ 129857 h 152245"/>
              <a:gd name="connsiteX33" fmla="*/ 62689 w 125378"/>
              <a:gd name="connsiteY33" fmla="*/ 111945 h 152245"/>
              <a:gd name="connsiteX34" fmla="*/ 80601 w 125378"/>
              <a:gd name="connsiteY34" fmla="*/ 129857 h 152245"/>
              <a:gd name="connsiteX35" fmla="*/ 4478 w 125378"/>
              <a:gd name="connsiteY35" fmla="*/ 82840 h 152245"/>
              <a:gd name="connsiteX36" fmla="*/ 4478 w 125378"/>
              <a:gd name="connsiteY36" fmla="*/ 15672 h 152245"/>
              <a:gd name="connsiteX37" fmla="*/ 15672 w 125378"/>
              <a:gd name="connsiteY37" fmla="*/ 4478 h 152245"/>
              <a:gd name="connsiteX38" fmla="*/ 37166 w 125378"/>
              <a:gd name="connsiteY38" fmla="*/ 4478 h 152245"/>
              <a:gd name="connsiteX39" fmla="*/ 45226 w 125378"/>
              <a:gd name="connsiteY39" fmla="*/ 7612 h 152245"/>
              <a:gd name="connsiteX40" fmla="*/ 50599 w 125378"/>
              <a:gd name="connsiteY40" fmla="*/ 12986 h 152245"/>
              <a:gd name="connsiteX41" fmla="*/ 61794 w 125378"/>
              <a:gd name="connsiteY41" fmla="*/ 17463 h 152245"/>
              <a:gd name="connsiteX42" fmla="*/ 110154 w 125378"/>
              <a:gd name="connsiteY42" fmla="*/ 17463 h 152245"/>
              <a:gd name="connsiteX43" fmla="*/ 121349 w 125378"/>
              <a:gd name="connsiteY43" fmla="*/ 28658 h 152245"/>
              <a:gd name="connsiteX44" fmla="*/ 121349 w 125378"/>
              <a:gd name="connsiteY44" fmla="*/ 82392 h 152245"/>
              <a:gd name="connsiteX45" fmla="*/ 110154 w 125378"/>
              <a:gd name="connsiteY45" fmla="*/ 93586 h 152245"/>
              <a:gd name="connsiteX46" fmla="*/ 16120 w 125378"/>
              <a:gd name="connsiteY46" fmla="*/ 93586 h 152245"/>
              <a:gd name="connsiteX47" fmla="*/ 4478 w 125378"/>
              <a:gd name="connsiteY47" fmla="*/ 8284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378" h="152245">
                <a:moveTo>
                  <a:pt x="109707" y="98512"/>
                </a:moveTo>
                <a:cubicBezTo>
                  <a:pt x="118214" y="98512"/>
                  <a:pt x="125379" y="91347"/>
                  <a:pt x="125379" y="82840"/>
                </a:cubicBezTo>
                <a:lnTo>
                  <a:pt x="125379" y="29106"/>
                </a:lnTo>
                <a:cubicBezTo>
                  <a:pt x="125379" y="20598"/>
                  <a:pt x="118214" y="13433"/>
                  <a:pt x="109707" y="13433"/>
                </a:cubicBezTo>
                <a:lnTo>
                  <a:pt x="61794" y="13433"/>
                </a:lnTo>
                <a:cubicBezTo>
                  <a:pt x="58659" y="13433"/>
                  <a:pt x="55973" y="12090"/>
                  <a:pt x="53734" y="10299"/>
                </a:cubicBezTo>
                <a:lnTo>
                  <a:pt x="48360" y="4478"/>
                </a:lnTo>
                <a:cubicBezTo>
                  <a:pt x="45226" y="1343"/>
                  <a:pt x="41644" y="0"/>
                  <a:pt x="37166" y="0"/>
                </a:cubicBezTo>
                <a:lnTo>
                  <a:pt x="15672" y="0"/>
                </a:lnTo>
                <a:cubicBezTo>
                  <a:pt x="7164" y="0"/>
                  <a:pt x="0" y="7165"/>
                  <a:pt x="0" y="15672"/>
                </a:cubicBezTo>
                <a:lnTo>
                  <a:pt x="0" y="82840"/>
                </a:lnTo>
                <a:cubicBezTo>
                  <a:pt x="0" y="91347"/>
                  <a:pt x="7164" y="98512"/>
                  <a:pt x="15672" y="98512"/>
                </a:cubicBezTo>
                <a:lnTo>
                  <a:pt x="60451" y="98512"/>
                </a:lnTo>
                <a:lnTo>
                  <a:pt x="60451" y="107915"/>
                </a:lnTo>
                <a:cubicBezTo>
                  <a:pt x="49704" y="108811"/>
                  <a:pt x="41644" y="117319"/>
                  <a:pt x="40748" y="127618"/>
                </a:cubicBezTo>
                <a:lnTo>
                  <a:pt x="2239" y="127618"/>
                </a:lnTo>
                <a:cubicBezTo>
                  <a:pt x="896" y="127618"/>
                  <a:pt x="0" y="128513"/>
                  <a:pt x="0" y="129857"/>
                </a:cubicBezTo>
                <a:cubicBezTo>
                  <a:pt x="0" y="131200"/>
                  <a:pt x="896" y="132096"/>
                  <a:pt x="2239" y="132096"/>
                </a:cubicBezTo>
                <a:lnTo>
                  <a:pt x="40748" y="132096"/>
                </a:lnTo>
                <a:cubicBezTo>
                  <a:pt x="42091" y="143290"/>
                  <a:pt x="51495" y="152246"/>
                  <a:pt x="62689" y="152246"/>
                </a:cubicBezTo>
                <a:cubicBezTo>
                  <a:pt x="73884" y="152246"/>
                  <a:pt x="83735" y="143290"/>
                  <a:pt x="84631" y="132096"/>
                </a:cubicBezTo>
                <a:lnTo>
                  <a:pt x="123140" y="132096"/>
                </a:lnTo>
                <a:cubicBezTo>
                  <a:pt x="124483" y="132096"/>
                  <a:pt x="125379" y="131200"/>
                  <a:pt x="125379" y="129857"/>
                </a:cubicBezTo>
                <a:cubicBezTo>
                  <a:pt x="125379" y="128513"/>
                  <a:pt x="124483" y="127618"/>
                  <a:pt x="123140" y="127618"/>
                </a:cubicBezTo>
                <a:lnTo>
                  <a:pt x="84631" y="127618"/>
                </a:lnTo>
                <a:cubicBezTo>
                  <a:pt x="83735" y="116871"/>
                  <a:pt x="75227" y="108811"/>
                  <a:pt x="64928" y="107915"/>
                </a:cubicBezTo>
                <a:lnTo>
                  <a:pt x="64928" y="98512"/>
                </a:lnTo>
                <a:lnTo>
                  <a:pt x="109707" y="98512"/>
                </a:lnTo>
                <a:close/>
                <a:moveTo>
                  <a:pt x="80601" y="129857"/>
                </a:moveTo>
                <a:cubicBezTo>
                  <a:pt x="80601" y="139708"/>
                  <a:pt x="72541" y="147768"/>
                  <a:pt x="62689" y="147768"/>
                </a:cubicBezTo>
                <a:cubicBezTo>
                  <a:pt x="52838" y="147768"/>
                  <a:pt x="44778" y="139708"/>
                  <a:pt x="44778" y="129857"/>
                </a:cubicBezTo>
                <a:cubicBezTo>
                  <a:pt x="44778" y="129857"/>
                  <a:pt x="44778" y="129857"/>
                  <a:pt x="44778" y="129857"/>
                </a:cubicBezTo>
                <a:cubicBezTo>
                  <a:pt x="44778" y="129857"/>
                  <a:pt x="44778" y="129857"/>
                  <a:pt x="44778" y="129857"/>
                </a:cubicBezTo>
                <a:cubicBezTo>
                  <a:pt x="44778" y="120006"/>
                  <a:pt x="52838" y="111945"/>
                  <a:pt x="62689" y="111945"/>
                </a:cubicBezTo>
                <a:cubicBezTo>
                  <a:pt x="72541" y="111945"/>
                  <a:pt x="80601" y="120006"/>
                  <a:pt x="80601" y="129857"/>
                </a:cubicBezTo>
                <a:close/>
                <a:moveTo>
                  <a:pt x="4478" y="82840"/>
                </a:moveTo>
                <a:lnTo>
                  <a:pt x="4478" y="15672"/>
                </a:lnTo>
                <a:cubicBezTo>
                  <a:pt x="4478" y="9403"/>
                  <a:pt x="9403" y="4478"/>
                  <a:pt x="15672" y="4478"/>
                </a:cubicBezTo>
                <a:lnTo>
                  <a:pt x="37166" y="4478"/>
                </a:lnTo>
                <a:cubicBezTo>
                  <a:pt x="40300" y="4478"/>
                  <a:pt x="42987" y="5821"/>
                  <a:pt x="45226" y="7612"/>
                </a:cubicBezTo>
                <a:lnTo>
                  <a:pt x="50599" y="12986"/>
                </a:lnTo>
                <a:cubicBezTo>
                  <a:pt x="53734" y="16120"/>
                  <a:pt x="57316" y="17463"/>
                  <a:pt x="61794" y="17463"/>
                </a:cubicBezTo>
                <a:lnTo>
                  <a:pt x="110154" y="17463"/>
                </a:lnTo>
                <a:cubicBezTo>
                  <a:pt x="116423" y="17463"/>
                  <a:pt x="121349" y="22389"/>
                  <a:pt x="121349" y="28658"/>
                </a:cubicBezTo>
                <a:lnTo>
                  <a:pt x="121349" y="82392"/>
                </a:lnTo>
                <a:cubicBezTo>
                  <a:pt x="121349" y="88661"/>
                  <a:pt x="116423" y="93586"/>
                  <a:pt x="110154" y="93586"/>
                </a:cubicBezTo>
                <a:lnTo>
                  <a:pt x="16120" y="93586"/>
                </a:lnTo>
                <a:cubicBezTo>
                  <a:pt x="9403" y="94034"/>
                  <a:pt x="4478" y="88661"/>
                  <a:pt x="4478" y="82840"/>
                </a:cubicBezTo>
                <a:close/>
              </a:path>
            </a:pathLst>
          </a:custGeom>
          <a:solidFill>
            <a:srgbClr val="231F20"/>
          </a:solidFill>
          <a:ln w="4474" cap="flat">
            <a:noFill/>
            <a:prstDash val="solid"/>
            <a:miter/>
          </a:ln>
        </p:spPr>
        <p:txBody>
          <a:bodyPr rtlCol="0" anchor="ctr"/>
          <a:lstStyle/>
          <a:p>
            <a:endParaRPr lang="en-US"/>
          </a:p>
        </p:txBody>
      </p:sp>
      <p:grpSp>
        <p:nvGrpSpPr>
          <p:cNvPr id="4130" name="Group 4129">
            <a:extLst>
              <a:ext uri="{FF2B5EF4-FFF2-40B4-BE49-F238E27FC236}">
                <a16:creationId xmlns:a16="http://schemas.microsoft.com/office/drawing/2014/main" id="{353A6423-B427-41FF-9932-D3113F064E44}"/>
              </a:ext>
              <a:ext uri="{C183D7F6-B498-43B3-948B-1728B52AA6E4}">
                <adec:decorative xmlns:adec="http://schemas.microsoft.com/office/drawing/2017/decorative" val="1"/>
              </a:ext>
            </a:extLst>
          </p:cNvPr>
          <p:cNvGrpSpPr>
            <a:grpSpLocks noChangeAspect="1"/>
          </p:cNvGrpSpPr>
          <p:nvPr/>
        </p:nvGrpSpPr>
        <p:grpSpPr>
          <a:xfrm>
            <a:off x="3188165" y="2710242"/>
            <a:ext cx="147768" cy="165680"/>
            <a:chOff x="3228919" y="1974803"/>
            <a:chExt cx="147768" cy="165680"/>
          </a:xfrm>
        </p:grpSpPr>
        <p:sp>
          <p:nvSpPr>
            <p:cNvPr id="4131" name="Freeform: Shape 4130">
              <a:extLst>
                <a:ext uri="{FF2B5EF4-FFF2-40B4-BE49-F238E27FC236}">
                  <a16:creationId xmlns:a16="http://schemas.microsoft.com/office/drawing/2014/main" id="{02E98E0F-6562-4B82-814B-8D002EA7104B}"/>
                </a:ext>
              </a:extLst>
            </p:cNvPr>
            <p:cNvSpPr/>
            <p:nvPr/>
          </p:nvSpPr>
          <p:spPr>
            <a:xfrm>
              <a:off x="3228919" y="2055404"/>
              <a:ext cx="147768" cy="85079"/>
            </a:xfrm>
            <a:custGeom>
              <a:avLst/>
              <a:gdLst>
                <a:gd name="connsiteX0" fmla="*/ 142395 w 147767"/>
                <a:gd name="connsiteY0" fmla="*/ 53734 h 85078"/>
                <a:gd name="connsiteX1" fmla="*/ 133887 w 147767"/>
                <a:gd name="connsiteY1" fmla="*/ 60451 h 85078"/>
                <a:gd name="connsiteX2" fmla="*/ 97616 w 147767"/>
                <a:gd name="connsiteY2" fmla="*/ 60451 h 85078"/>
                <a:gd name="connsiteX3" fmla="*/ 77914 w 147767"/>
                <a:gd name="connsiteY3" fmla="*/ 40748 h 85078"/>
                <a:gd name="connsiteX4" fmla="*/ 77914 w 147767"/>
                <a:gd name="connsiteY4" fmla="*/ 31345 h 85078"/>
                <a:gd name="connsiteX5" fmla="*/ 136126 w 147767"/>
                <a:gd name="connsiteY5" fmla="*/ 31345 h 85078"/>
                <a:gd name="connsiteX6" fmla="*/ 138364 w 147767"/>
                <a:gd name="connsiteY6" fmla="*/ 29106 h 85078"/>
                <a:gd name="connsiteX7" fmla="*/ 138364 w 147767"/>
                <a:gd name="connsiteY7" fmla="*/ 2239 h 85078"/>
                <a:gd name="connsiteX8" fmla="*/ 136126 w 147767"/>
                <a:gd name="connsiteY8" fmla="*/ 0 h 85078"/>
                <a:gd name="connsiteX9" fmla="*/ 15224 w 147767"/>
                <a:gd name="connsiteY9" fmla="*/ 0 h 85078"/>
                <a:gd name="connsiteX10" fmla="*/ 12986 w 147767"/>
                <a:gd name="connsiteY10" fmla="*/ 2239 h 85078"/>
                <a:gd name="connsiteX11" fmla="*/ 12986 w 147767"/>
                <a:gd name="connsiteY11" fmla="*/ 29106 h 85078"/>
                <a:gd name="connsiteX12" fmla="*/ 15224 w 147767"/>
                <a:gd name="connsiteY12" fmla="*/ 31345 h 85078"/>
                <a:gd name="connsiteX13" fmla="*/ 73436 w 147767"/>
                <a:gd name="connsiteY13" fmla="*/ 31345 h 85078"/>
                <a:gd name="connsiteX14" fmla="*/ 73436 w 147767"/>
                <a:gd name="connsiteY14" fmla="*/ 40748 h 85078"/>
                <a:gd name="connsiteX15" fmla="*/ 53734 w 147767"/>
                <a:gd name="connsiteY15" fmla="*/ 60451 h 85078"/>
                <a:gd name="connsiteX16" fmla="*/ 17463 w 147767"/>
                <a:gd name="connsiteY16" fmla="*/ 60451 h 85078"/>
                <a:gd name="connsiteX17" fmla="*/ 8956 w 147767"/>
                <a:gd name="connsiteY17" fmla="*/ 53734 h 85078"/>
                <a:gd name="connsiteX18" fmla="*/ 0 w 147767"/>
                <a:gd name="connsiteY18" fmla="*/ 62689 h 85078"/>
                <a:gd name="connsiteX19" fmla="*/ 8956 w 147767"/>
                <a:gd name="connsiteY19" fmla="*/ 71645 h 85078"/>
                <a:gd name="connsiteX20" fmla="*/ 17463 w 147767"/>
                <a:gd name="connsiteY20" fmla="*/ 64928 h 85078"/>
                <a:gd name="connsiteX21" fmla="*/ 53734 w 147767"/>
                <a:gd name="connsiteY21" fmla="*/ 64928 h 85078"/>
                <a:gd name="connsiteX22" fmla="*/ 75675 w 147767"/>
                <a:gd name="connsiteY22" fmla="*/ 85079 h 85078"/>
                <a:gd name="connsiteX23" fmla="*/ 97616 w 147767"/>
                <a:gd name="connsiteY23" fmla="*/ 64928 h 85078"/>
                <a:gd name="connsiteX24" fmla="*/ 133887 w 147767"/>
                <a:gd name="connsiteY24" fmla="*/ 64928 h 85078"/>
                <a:gd name="connsiteX25" fmla="*/ 142395 w 147767"/>
                <a:gd name="connsiteY25" fmla="*/ 71645 h 85078"/>
                <a:gd name="connsiteX26" fmla="*/ 151350 w 147767"/>
                <a:gd name="connsiteY26" fmla="*/ 62689 h 85078"/>
                <a:gd name="connsiteX27" fmla="*/ 142395 w 147767"/>
                <a:gd name="connsiteY27" fmla="*/ 53734 h 85078"/>
                <a:gd name="connsiteX28" fmla="*/ 17016 w 147767"/>
                <a:gd name="connsiteY28" fmla="*/ 4478 h 85078"/>
                <a:gd name="connsiteX29" fmla="*/ 133439 w 147767"/>
                <a:gd name="connsiteY29" fmla="*/ 4478 h 85078"/>
                <a:gd name="connsiteX30" fmla="*/ 133439 w 147767"/>
                <a:gd name="connsiteY30" fmla="*/ 26867 h 85078"/>
                <a:gd name="connsiteX31" fmla="*/ 17016 w 147767"/>
                <a:gd name="connsiteY31" fmla="*/ 26867 h 85078"/>
                <a:gd name="connsiteX32" fmla="*/ 17016 w 147767"/>
                <a:gd name="connsiteY32" fmla="*/ 4478 h 85078"/>
                <a:gd name="connsiteX33" fmla="*/ 8060 w 147767"/>
                <a:gd name="connsiteY33" fmla="*/ 67167 h 85078"/>
                <a:gd name="connsiteX34" fmla="*/ 3582 w 147767"/>
                <a:gd name="connsiteY34" fmla="*/ 62689 h 85078"/>
                <a:gd name="connsiteX35" fmla="*/ 8060 w 147767"/>
                <a:gd name="connsiteY35" fmla="*/ 58212 h 85078"/>
                <a:gd name="connsiteX36" fmla="*/ 12538 w 147767"/>
                <a:gd name="connsiteY36" fmla="*/ 62689 h 85078"/>
                <a:gd name="connsiteX37" fmla="*/ 8060 w 147767"/>
                <a:gd name="connsiteY37" fmla="*/ 67167 h 85078"/>
                <a:gd name="connsiteX38" fmla="*/ 75227 w 147767"/>
                <a:gd name="connsiteY38" fmla="*/ 80601 h 85078"/>
                <a:gd name="connsiteX39" fmla="*/ 57316 w 147767"/>
                <a:gd name="connsiteY39" fmla="*/ 62689 h 85078"/>
                <a:gd name="connsiteX40" fmla="*/ 57316 w 147767"/>
                <a:gd name="connsiteY40" fmla="*/ 62689 h 85078"/>
                <a:gd name="connsiteX41" fmla="*/ 57316 w 147767"/>
                <a:gd name="connsiteY41" fmla="*/ 62689 h 85078"/>
                <a:gd name="connsiteX42" fmla="*/ 75227 w 147767"/>
                <a:gd name="connsiteY42" fmla="*/ 44778 h 85078"/>
                <a:gd name="connsiteX43" fmla="*/ 93139 w 147767"/>
                <a:gd name="connsiteY43" fmla="*/ 62689 h 85078"/>
                <a:gd name="connsiteX44" fmla="*/ 75227 w 147767"/>
                <a:gd name="connsiteY44" fmla="*/ 80601 h 85078"/>
                <a:gd name="connsiteX45" fmla="*/ 142395 w 147767"/>
                <a:gd name="connsiteY45" fmla="*/ 67167 h 85078"/>
                <a:gd name="connsiteX46" fmla="*/ 137917 w 147767"/>
                <a:gd name="connsiteY46" fmla="*/ 62689 h 85078"/>
                <a:gd name="connsiteX47" fmla="*/ 142395 w 147767"/>
                <a:gd name="connsiteY47" fmla="*/ 58212 h 85078"/>
                <a:gd name="connsiteX48" fmla="*/ 146872 w 147767"/>
                <a:gd name="connsiteY48" fmla="*/ 62689 h 85078"/>
                <a:gd name="connsiteX49" fmla="*/ 142395 w 147767"/>
                <a:gd name="connsiteY49" fmla="*/ 67167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47767" h="85078">
                  <a:moveTo>
                    <a:pt x="142395" y="53734"/>
                  </a:moveTo>
                  <a:cubicBezTo>
                    <a:pt x="138364" y="53734"/>
                    <a:pt x="134782" y="56421"/>
                    <a:pt x="133887" y="60451"/>
                  </a:cubicBezTo>
                  <a:lnTo>
                    <a:pt x="97616" y="60451"/>
                  </a:lnTo>
                  <a:cubicBezTo>
                    <a:pt x="96721" y="49704"/>
                    <a:pt x="88213" y="41644"/>
                    <a:pt x="77914" y="40748"/>
                  </a:cubicBezTo>
                  <a:lnTo>
                    <a:pt x="77914" y="31345"/>
                  </a:lnTo>
                  <a:lnTo>
                    <a:pt x="136126" y="31345"/>
                  </a:lnTo>
                  <a:cubicBezTo>
                    <a:pt x="137469" y="31345"/>
                    <a:pt x="138364" y="30449"/>
                    <a:pt x="138364" y="29106"/>
                  </a:cubicBezTo>
                  <a:lnTo>
                    <a:pt x="138364" y="2239"/>
                  </a:lnTo>
                  <a:cubicBezTo>
                    <a:pt x="138364" y="896"/>
                    <a:pt x="137469" y="0"/>
                    <a:pt x="136126" y="0"/>
                  </a:cubicBezTo>
                  <a:lnTo>
                    <a:pt x="15224" y="0"/>
                  </a:lnTo>
                  <a:cubicBezTo>
                    <a:pt x="13881" y="0"/>
                    <a:pt x="12986" y="896"/>
                    <a:pt x="12986" y="2239"/>
                  </a:cubicBezTo>
                  <a:lnTo>
                    <a:pt x="12986" y="29106"/>
                  </a:lnTo>
                  <a:cubicBezTo>
                    <a:pt x="12986" y="30449"/>
                    <a:pt x="13881" y="31345"/>
                    <a:pt x="15224" y="31345"/>
                  </a:cubicBezTo>
                  <a:lnTo>
                    <a:pt x="73436" y="31345"/>
                  </a:lnTo>
                  <a:lnTo>
                    <a:pt x="73436" y="40748"/>
                  </a:lnTo>
                  <a:cubicBezTo>
                    <a:pt x="62689" y="41644"/>
                    <a:pt x="54629" y="50152"/>
                    <a:pt x="53734" y="60451"/>
                  </a:cubicBezTo>
                  <a:lnTo>
                    <a:pt x="17463" y="60451"/>
                  </a:lnTo>
                  <a:cubicBezTo>
                    <a:pt x="16568" y="56421"/>
                    <a:pt x="12986" y="53734"/>
                    <a:pt x="8956" y="53734"/>
                  </a:cubicBezTo>
                  <a:cubicBezTo>
                    <a:pt x="4030" y="53734"/>
                    <a:pt x="0" y="57764"/>
                    <a:pt x="0" y="62689"/>
                  </a:cubicBezTo>
                  <a:cubicBezTo>
                    <a:pt x="0" y="67615"/>
                    <a:pt x="4030" y="71645"/>
                    <a:pt x="8956" y="71645"/>
                  </a:cubicBezTo>
                  <a:cubicBezTo>
                    <a:pt x="12986" y="71645"/>
                    <a:pt x="16568" y="68958"/>
                    <a:pt x="17463" y="64928"/>
                  </a:cubicBezTo>
                  <a:lnTo>
                    <a:pt x="53734" y="64928"/>
                  </a:lnTo>
                  <a:cubicBezTo>
                    <a:pt x="55077" y="76123"/>
                    <a:pt x="64480" y="85079"/>
                    <a:pt x="75675" y="85079"/>
                  </a:cubicBezTo>
                  <a:cubicBezTo>
                    <a:pt x="87317" y="85079"/>
                    <a:pt x="96721" y="76123"/>
                    <a:pt x="97616" y="64928"/>
                  </a:cubicBezTo>
                  <a:lnTo>
                    <a:pt x="133887" y="64928"/>
                  </a:lnTo>
                  <a:cubicBezTo>
                    <a:pt x="134782" y="68958"/>
                    <a:pt x="138364" y="71645"/>
                    <a:pt x="142395" y="71645"/>
                  </a:cubicBezTo>
                  <a:cubicBezTo>
                    <a:pt x="147320" y="71645"/>
                    <a:pt x="151350" y="67615"/>
                    <a:pt x="151350" y="62689"/>
                  </a:cubicBezTo>
                  <a:cubicBezTo>
                    <a:pt x="151350" y="57764"/>
                    <a:pt x="147320" y="53734"/>
                    <a:pt x="142395" y="53734"/>
                  </a:cubicBezTo>
                  <a:close/>
                  <a:moveTo>
                    <a:pt x="17016" y="4478"/>
                  </a:moveTo>
                  <a:lnTo>
                    <a:pt x="133439" y="4478"/>
                  </a:lnTo>
                  <a:lnTo>
                    <a:pt x="133439" y="26867"/>
                  </a:lnTo>
                  <a:lnTo>
                    <a:pt x="17016" y="26867"/>
                  </a:lnTo>
                  <a:lnTo>
                    <a:pt x="17016" y="4478"/>
                  </a:lnTo>
                  <a:close/>
                  <a:moveTo>
                    <a:pt x="8060" y="67167"/>
                  </a:moveTo>
                  <a:cubicBezTo>
                    <a:pt x="5373" y="67167"/>
                    <a:pt x="3582" y="65376"/>
                    <a:pt x="3582" y="62689"/>
                  </a:cubicBezTo>
                  <a:cubicBezTo>
                    <a:pt x="3582" y="60003"/>
                    <a:pt x="5373" y="58212"/>
                    <a:pt x="8060" y="58212"/>
                  </a:cubicBezTo>
                  <a:cubicBezTo>
                    <a:pt x="10747" y="58212"/>
                    <a:pt x="12538" y="60003"/>
                    <a:pt x="12538" y="62689"/>
                  </a:cubicBezTo>
                  <a:cubicBezTo>
                    <a:pt x="12538" y="65376"/>
                    <a:pt x="10747" y="67167"/>
                    <a:pt x="8060" y="67167"/>
                  </a:cubicBezTo>
                  <a:close/>
                  <a:moveTo>
                    <a:pt x="75227" y="80601"/>
                  </a:moveTo>
                  <a:cubicBezTo>
                    <a:pt x="65376" y="80601"/>
                    <a:pt x="57316" y="72541"/>
                    <a:pt x="57316" y="62689"/>
                  </a:cubicBezTo>
                  <a:cubicBezTo>
                    <a:pt x="57316" y="62689"/>
                    <a:pt x="57316" y="62689"/>
                    <a:pt x="57316" y="62689"/>
                  </a:cubicBezTo>
                  <a:cubicBezTo>
                    <a:pt x="57316" y="62689"/>
                    <a:pt x="57316" y="62689"/>
                    <a:pt x="57316" y="62689"/>
                  </a:cubicBezTo>
                  <a:cubicBezTo>
                    <a:pt x="57316" y="52838"/>
                    <a:pt x="65376" y="44778"/>
                    <a:pt x="75227" y="44778"/>
                  </a:cubicBezTo>
                  <a:cubicBezTo>
                    <a:pt x="85079" y="44778"/>
                    <a:pt x="93139" y="52838"/>
                    <a:pt x="93139" y="62689"/>
                  </a:cubicBezTo>
                  <a:cubicBezTo>
                    <a:pt x="93139" y="72541"/>
                    <a:pt x="85079" y="80601"/>
                    <a:pt x="75227" y="80601"/>
                  </a:cubicBezTo>
                  <a:close/>
                  <a:moveTo>
                    <a:pt x="142395" y="67167"/>
                  </a:moveTo>
                  <a:cubicBezTo>
                    <a:pt x="139708" y="67167"/>
                    <a:pt x="137917" y="65376"/>
                    <a:pt x="137917" y="62689"/>
                  </a:cubicBezTo>
                  <a:cubicBezTo>
                    <a:pt x="137917" y="60003"/>
                    <a:pt x="139708" y="58212"/>
                    <a:pt x="142395" y="58212"/>
                  </a:cubicBezTo>
                  <a:cubicBezTo>
                    <a:pt x="145081" y="58212"/>
                    <a:pt x="146872" y="60003"/>
                    <a:pt x="146872" y="62689"/>
                  </a:cubicBezTo>
                  <a:cubicBezTo>
                    <a:pt x="146872" y="65376"/>
                    <a:pt x="145081" y="67167"/>
                    <a:pt x="142395" y="67167"/>
                  </a:cubicBezTo>
                  <a:close/>
                </a:path>
              </a:pathLst>
            </a:custGeom>
            <a:solidFill>
              <a:srgbClr val="231F20"/>
            </a:solidFill>
            <a:ln w="4474" cap="flat">
              <a:noFill/>
              <a:prstDash val="solid"/>
              <a:miter/>
            </a:ln>
          </p:spPr>
          <p:txBody>
            <a:bodyPr rtlCol="0" anchor="ctr"/>
            <a:lstStyle/>
            <a:p>
              <a:endParaRPr lang="en-US"/>
            </a:p>
          </p:txBody>
        </p:sp>
        <p:sp>
          <p:nvSpPr>
            <p:cNvPr id="4132" name="Freeform: Shape 4131">
              <a:extLst>
                <a:ext uri="{FF2B5EF4-FFF2-40B4-BE49-F238E27FC236}">
                  <a16:creationId xmlns:a16="http://schemas.microsoft.com/office/drawing/2014/main" id="{C2D401B1-4AF6-4CFB-AB17-66CEA9DDDEB7}"/>
                </a:ext>
              </a:extLst>
            </p:cNvPr>
            <p:cNvSpPr/>
            <p:nvPr/>
          </p:nvSpPr>
          <p:spPr>
            <a:xfrm>
              <a:off x="3254890" y="2068838"/>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133" name="Freeform: Shape 4132">
              <a:extLst>
                <a:ext uri="{FF2B5EF4-FFF2-40B4-BE49-F238E27FC236}">
                  <a16:creationId xmlns:a16="http://schemas.microsoft.com/office/drawing/2014/main" id="{F350E055-CC7D-4110-9FBD-A8FDD8E3B23E}"/>
                </a:ext>
              </a:extLst>
            </p:cNvPr>
            <p:cNvSpPr/>
            <p:nvPr/>
          </p:nvSpPr>
          <p:spPr>
            <a:xfrm>
              <a:off x="3309520" y="2068838"/>
              <a:ext cx="40300" cy="4478"/>
            </a:xfrm>
            <a:custGeom>
              <a:avLst/>
              <a:gdLst>
                <a:gd name="connsiteX0" fmla="*/ 41644 w 40300"/>
                <a:gd name="connsiteY0" fmla="*/ 4478 h 4477"/>
                <a:gd name="connsiteX1" fmla="*/ 2239 w 40300"/>
                <a:gd name="connsiteY1" fmla="*/ 4478 h 4477"/>
                <a:gd name="connsiteX2" fmla="*/ 0 w 40300"/>
                <a:gd name="connsiteY2" fmla="*/ 2239 h 4477"/>
                <a:gd name="connsiteX3" fmla="*/ 2239 w 40300"/>
                <a:gd name="connsiteY3" fmla="*/ 0 h 4477"/>
                <a:gd name="connsiteX4" fmla="*/ 41644 w 40300"/>
                <a:gd name="connsiteY4" fmla="*/ 0 h 4477"/>
                <a:gd name="connsiteX5" fmla="*/ 43883 w 40300"/>
                <a:gd name="connsiteY5" fmla="*/ 2239 h 4477"/>
                <a:gd name="connsiteX6" fmla="*/ 41644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41644" y="4478"/>
                  </a:moveTo>
                  <a:lnTo>
                    <a:pt x="2239" y="4478"/>
                  </a:lnTo>
                  <a:cubicBezTo>
                    <a:pt x="896" y="4478"/>
                    <a:pt x="0" y="3582"/>
                    <a:pt x="0" y="2239"/>
                  </a:cubicBezTo>
                  <a:cubicBezTo>
                    <a:pt x="0" y="896"/>
                    <a:pt x="896" y="0"/>
                    <a:pt x="2239" y="0"/>
                  </a:cubicBezTo>
                  <a:lnTo>
                    <a:pt x="41644" y="0"/>
                  </a:lnTo>
                  <a:cubicBezTo>
                    <a:pt x="42987" y="0"/>
                    <a:pt x="43883" y="896"/>
                    <a:pt x="43883" y="2239"/>
                  </a:cubicBezTo>
                  <a:cubicBezTo>
                    <a:pt x="43883" y="3582"/>
                    <a:pt x="42987" y="4478"/>
                    <a:pt x="41644" y="4478"/>
                  </a:cubicBezTo>
                  <a:close/>
                </a:path>
              </a:pathLst>
            </a:custGeom>
            <a:solidFill>
              <a:srgbClr val="231F20"/>
            </a:solidFill>
            <a:ln w="4474" cap="flat">
              <a:noFill/>
              <a:prstDash val="solid"/>
              <a:miter/>
            </a:ln>
          </p:spPr>
          <p:txBody>
            <a:bodyPr rtlCol="0" anchor="ctr"/>
            <a:lstStyle/>
            <a:p>
              <a:endParaRPr lang="en-US"/>
            </a:p>
          </p:txBody>
        </p:sp>
        <p:sp>
          <p:nvSpPr>
            <p:cNvPr id="4134" name="Freeform: Shape 4133">
              <a:extLst>
                <a:ext uri="{FF2B5EF4-FFF2-40B4-BE49-F238E27FC236}">
                  <a16:creationId xmlns:a16="http://schemas.microsoft.com/office/drawing/2014/main" id="{A39C2BC5-4142-4FC1-BA50-AD2E88E1BD27}"/>
                </a:ext>
              </a:extLst>
            </p:cNvPr>
            <p:cNvSpPr/>
            <p:nvPr/>
          </p:nvSpPr>
          <p:spPr>
            <a:xfrm>
              <a:off x="3241457" y="2015104"/>
              <a:ext cx="125379" cy="31345"/>
            </a:xfrm>
            <a:custGeom>
              <a:avLst/>
              <a:gdLst>
                <a:gd name="connsiteX0" fmla="*/ 123140 w 125378"/>
                <a:gd name="connsiteY0" fmla="*/ 31345 h 31344"/>
                <a:gd name="connsiteX1" fmla="*/ 2239 w 125378"/>
                <a:gd name="connsiteY1" fmla="*/ 31345 h 31344"/>
                <a:gd name="connsiteX2" fmla="*/ 0 w 125378"/>
                <a:gd name="connsiteY2" fmla="*/ 29106 h 31344"/>
                <a:gd name="connsiteX3" fmla="*/ 0 w 125378"/>
                <a:gd name="connsiteY3" fmla="*/ 2239 h 31344"/>
                <a:gd name="connsiteX4" fmla="*/ 2239 w 125378"/>
                <a:gd name="connsiteY4" fmla="*/ 0 h 31344"/>
                <a:gd name="connsiteX5" fmla="*/ 123140 w 125378"/>
                <a:gd name="connsiteY5" fmla="*/ 0 h 31344"/>
                <a:gd name="connsiteX6" fmla="*/ 125379 w 125378"/>
                <a:gd name="connsiteY6" fmla="*/ 2239 h 31344"/>
                <a:gd name="connsiteX7" fmla="*/ 125379 w 125378"/>
                <a:gd name="connsiteY7" fmla="*/ 29106 h 31344"/>
                <a:gd name="connsiteX8" fmla="*/ 123140 w 125378"/>
                <a:gd name="connsiteY8" fmla="*/ 31345 h 31344"/>
                <a:gd name="connsiteX9" fmla="*/ 4478 w 125378"/>
                <a:gd name="connsiteY9" fmla="*/ 26867 h 31344"/>
                <a:gd name="connsiteX10" fmla="*/ 120901 w 125378"/>
                <a:gd name="connsiteY10" fmla="*/ 26867 h 31344"/>
                <a:gd name="connsiteX11" fmla="*/ 120901 w 125378"/>
                <a:gd name="connsiteY11" fmla="*/ 4478 h 31344"/>
                <a:gd name="connsiteX12" fmla="*/ 4478 w 125378"/>
                <a:gd name="connsiteY12" fmla="*/ 4478 h 31344"/>
                <a:gd name="connsiteX13" fmla="*/ 4478 w 125378"/>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31344">
                  <a:moveTo>
                    <a:pt x="123140" y="31345"/>
                  </a:moveTo>
                  <a:lnTo>
                    <a:pt x="2239" y="31345"/>
                  </a:lnTo>
                  <a:cubicBezTo>
                    <a:pt x="896" y="31345"/>
                    <a:pt x="0" y="30449"/>
                    <a:pt x="0" y="29106"/>
                  </a:cubicBezTo>
                  <a:lnTo>
                    <a:pt x="0" y="2239"/>
                  </a:lnTo>
                  <a:cubicBezTo>
                    <a:pt x="0" y="896"/>
                    <a:pt x="896" y="0"/>
                    <a:pt x="2239" y="0"/>
                  </a:cubicBezTo>
                  <a:lnTo>
                    <a:pt x="123140" y="0"/>
                  </a:lnTo>
                  <a:cubicBezTo>
                    <a:pt x="124483" y="0"/>
                    <a:pt x="125379" y="896"/>
                    <a:pt x="125379" y="2239"/>
                  </a:cubicBezTo>
                  <a:lnTo>
                    <a:pt x="125379" y="29106"/>
                  </a:lnTo>
                  <a:cubicBezTo>
                    <a:pt x="125379" y="30001"/>
                    <a:pt x="124483" y="31345"/>
                    <a:pt x="123140" y="31345"/>
                  </a:cubicBezTo>
                  <a:close/>
                  <a:moveTo>
                    <a:pt x="4478" y="26867"/>
                  </a:moveTo>
                  <a:lnTo>
                    <a:pt x="120901" y="26867"/>
                  </a:lnTo>
                  <a:lnTo>
                    <a:pt x="120901"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135" name="Freeform: Shape 4134">
              <a:extLst>
                <a:ext uri="{FF2B5EF4-FFF2-40B4-BE49-F238E27FC236}">
                  <a16:creationId xmlns:a16="http://schemas.microsoft.com/office/drawing/2014/main" id="{75A5CD63-F381-4784-9C7D-051BBE38C6BE}"/>
                </a:ext>
              </a:extLst>
            </p:cNvPr>
            <p:cNvSpPr/>
            <p:nvPr/>
          </p:nvSpPr>
          <p:spPr>
            <a:xfrm>
              <a:off x="3254890" y="2028537"/>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136" name="Freeform: Shape 4135">
              <a:extLst>
                <a:ext uri="{FF2B5EF4-FFF2-40B4-BE49-F238E27FC236}">
                  <a16:creationId xmlns:a16="http://schemas.microsoft.com/office/drawing/2014/main" id="{39EFD27F-D8B1-4AA1-99C2-FB2B139447DB}"/>
                </a:ext>
              </a:extLst>
            </p:cNvPr>
            <p:cNvSpPr/>
            <p:nvPr/>
          </p:nvSpPr>
          <p:spPr>
            <a:xfrm>
              <a:off x="3309520" y="2028537"/>
              <a:ext cx="40300" cy="4478"/>
            </a:xfrm>
            <a:custGeom>
              <a:avLst/>
              <a:gdLst>
                <a:gd name="connsiteX0" fmla="*/ 41644 w 40300"/>
                <a:gd name="connsiteY0" fmla="*/ 4478 h 4477"/>
                <a:gd name="connsiteX1" fmla="*/ 2239 w 40300"/>
                <a:gd name="connsiteY1" fmla="*/ 4478 h 4477"/>
                <a:gd name="connsiteX2" fmla="*/ 0 w 40300"/>
                <a:gd name="connsiteY2" fmla="*/ 2239 h 4477"/>
                <a:gd name="connsiteX3" fmla="*/ 2239 w 40300"/>
                <a:gd name="connsiteY3" fmla="*/ 0 h 4477"/>
                <a:gd name="connsiteX4" fmla="*/ 41644 w 40300"/>
                <a:gd name="connsiteY4" fmla="*/ 0 h 4477"/>
                <a:gd name="connsiteX5" fmla="*/ 43883 w 40300"/>
                <a:gd name="connsiteY5" fmla="*/ 2239 h 4477"/>
                <a:gd name="connsiteX6" fmla="*/ 41644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41644" y="4478"/>
                  </a:moveTo>
                  <a:lnTo>
                    <a:pt x="2239" y="4478"/>
                  </a:lnTo>
                  <a:cubicBezTo>
                    <a:pt x="896" y="4478"/>
                    <a:pt x="0" y="3582"/>
                    <a:pt x="0" y="2239"/>
                  </a:cubicBezTo>
                  <a:cubicBezTo>
                    <a:pt x="0" y="896"/>
                    <a:pt x="896" y="0"/>
                    <a:pt x="2239" y="0"/>
                  </a:cubicBezTo>
                  <a:lnTo>
                    <a:pt x="41644" y="0"/>
                  </a:lnTo>
                  <a:cubicBezTo>
                    <a:pt x="42987" y="0"/>
                    <a:pt x="43883" y="896"/>
                    <a:pt x="43883" y="2239"/>
                  </a:cubicBezTo>
                  <a:cubicBezTo>
                    <a:pt x="43883" y="3582"/>
                    <a:pt x="42987" y="4478"/>
                    <a:pt x="41644" y="4478"/>
                  </a:cubicBezTo>
                  <a:close/>
                </a:path>
              </a:pathLst>
            </a:custGeom>
            <a:solidFill>
              <a:srgbClr val="231F20"/>
            </a:solidFill>
            <a:ln w="4474" cap="flat">
              <a:noFill/>
              <a:prstDash val="solid"/>
              <a:miter/>
            </a:ln>
          </p:spPr>
          <p:txBody>
            <a:bodyPr rtlCol="0" anchor="ctr"/>
            <a:lstStyle/>
            <a:p>
              <a:endParaRPr lang="en-US"/>
            </a:p>
          </p:txBody>
        </p:sp>
        <p:sp>
          <p:nvSpPr>
            <p:cNvPr id="4137" name="Freeform: Shape 4136">
              <a:extLst>
                <a:ext uri="{FF2B5EF4-FFF2-40B4-BE49-F238E27FC236}">
                  <a16:creationId xmlns:a16="http://schemas.microsoft.com/office/drawing/2014/main" id="{806A306D-CE66-4CA1-9F28-B8B1A36CC686}"/>
                </a:ext>
              </a:extLst>
            </p:cNvPr>
            <p:cNvSpPr/>
            <p:nvPr/>
          </p:nvSpPr>
          <p:spPr>
            <a:xfrm>
              <a:off x="3241457" y="1974803"/>
              <a:ext cx="125379" cy="31345"/>
            </a:xfrm>
            <a:custGeom>
              <a:avLst/>
              <a:gdLst>
                <a:gd name="connsiteX0" fmla="*/ 123140 w 125378"/>
                <a:gd name="connsiteY0" fmla="*/ 31345 h 31344"/>
                <a:gd name="connsiteX1" fmla="*/ 2239 w 125378"/>
                <a:gd name="connsiteY1" fmla="*/ 31345 h 31344"/>
                <a:gd name="connsiteX2" fmla="*/ 0 w 125378"/>
                <a:gd name="connsiteY2" fmla="*/ 29106 h 31344"/>
                <a:gd name="connsiteX3" fmla="*/ 0 w 125378"/>
                <a:gd name="connsiteY3" fmla="*/ 2239 h 31344"/>
                <a:gd name="connsiteX4" fmla="*/ 2239 w 125378"/>
                <a:gd name="connsiteY4" fmla="*/ 0 h 31344"/>
                <a:gd name="connsiteX5" fmla="*/ 123140 w 125378"/>
                <a:gd name="connsiteY5" fmla="*/ 0 h 31344"/>
                <a:gd name="connsiteX6" fmla="*/ 125379 w 125378"/>
                <a:gd name="connsiteY6" fmla="*/ 2239 h 31344"/>
                <a:gd name="connsiteX7" fmla="*/ 125379 w 125378"/>
                <a:gd name="connsiteY7" fmla="*/ 29106 h 31344"/>
                <a:gd name="connsiteX8" fmla="*/ 123140 w 125378"/>
                <a:gd name="connsiteY8" fmla="*/ 31345 h 31344"/>
                <a:gd name="connsiteX9" fmla="*/ 4478 w 125378"/>
                <a:gd name="connsiteY9" fmla="*/ 26867 h 31344"/>
                <a:gd name="connsiteX10" fmla="*/ 120901 w 125378"/>
                <a:gd name="connsiteY10" fmla="*/ 26867 h 31344"/>
                <a:gd name="connsiteX11" fmla="*/ 120901 w 125378"/>
                <a:gd name="connsiteY11" fmla="*/ 4478 h 31344"/>
                <a:gd name="connsiteX12" fmla="*/ 4478 w 125378"/>
                <a:gd name="connsiteY12" fmla="*/ 4478 h 31344"/>
                <a:gd name="connsiteX13" fmla="*/ 4478 w 125378"/>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31344">
                  <a:moveTo>
                    <a:pt x="123140" y="31345"/>
                  </a:moveTo>
                  <a:lnTo>
                    <a:pt x="2239" y="31345"/>
                  </a:lnTo>
                  <a:cubicBezTo>
                    <a:pt x="896" y="31345"/>
                    <a:pt x="0" y="30449"/>
                    <a:pt x="0" y="29106"/>
                  </a:cubicBezTo>
                  <a:lnTo>
                    <a:pt x="0" y="2239"/>
                  </a:lnTo>
                  <a:cubicBezTo>
                    <a:pt x="0" y="896"/>
                    <a:pt x="896" y="0"/>
                    <a:pt x="2239" y="0"/>
                  </a:cubicBezTo>
                  <a:lnTo>
                    <a:pt x="123140" y="0"/>
                  </a:lnTo>
                  <a:cubicBezTo>
                    <a:pt x="124483" y="0"/>
                    <a:pt x="125379" y="896"/>
                    <a:pt x="125379" y="2239"/>
                  </a:cubicBezTo>
                  <a:lnTo>
                    <a:pt x="125379" y="29106"/>
                  </a:lnTo>
                  <a:cubicBezTo>
                    <a:pt x="125379" y="30001"/>
                    <a:pt x="124483" y="31345"/>
                    <a:pt x="123140" y="31345"/>
                  </a:cubicBezTo>
                  <a:close/>
                  <a:moveTo>
                    <a:pt x="4478" y="26867"/>
                  </a:moveTo>
                  <a:lnTo>
                    <a:pt x="120901" y="26867"/>
                  </a:lnTo>
                  <a:lnTo>
                    <a:pt x="120901"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138" name="Freeform: Shape 4137">
              <a:extLst>
                <a:ext uri="{FF2B5EF4-FFF2-40B4-BE49-F238E27FC236}">
                  <a16:creationId xmlns:a16="http://schemas.microsoft.com/office/drawing/2014/main" id="{89E09812-A042-4002-9F95-2D3319ADF616}"/>
                </a:ext>
              </a:extLst>
            </p:cNvPr>
            <p:cNvSpPr/>
            <p:nvPr/>
          </p:nvSpPr>
          <p:spPr>
            <a:xfrm>
              <a:off x="3254890" y="1988237"/>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139" name="Freeform: Shape 4138">
              <a:extLst>
                <a:ext uri="{FF2B5EF4-FFF2-40B4-BE49-F238E27FC236}">
                  <a16:creationId xmlns:a16="http://schemas.microsoft.com/office/drawing/2014/main" id="{FB1F9402-7EE4-4678-8A15-8A9214F29C7A}"/>
                </a:ext>
              </a:extLst>
            </p:cNvPr>
            <p:cNvSpPr/>
            <p:nvPr/>
          </p:nvSpPr>
          <p:spPr>
            <a:xfrm>
              <a:off x="3309520" y="1988237"/>
              <a:ext cx="40300" cy="4478"/>
            </a:xfrm>
            <a:custGeom>
              <a:avLst/>
              <a:gdLst>
                <a:gd name="connsiteX0" fmla="*/ 41644 w 40300"/>
                <a:gd name="connsiteY0" fmla="*/ 4478 h 4477"/>
                <a:gd name="connsiteX1" fmla="*/ 2239 w 40300"/>
                <a:gd name="connsiteY1" fmla="*/ 4478 h 4477"/>
                <a:gd name="connsiteX2" fmla="*/ 0 w 40300"/>
                <a:gd name="connsiteY2" fmla="*/ 2239 h 4477"/>
                <a:gd name="connsiteX3" fmla="*/ 2239 w 40300"/>
                <a:gd name="connsiteY3" fmla="*/ 0 h 4477"/>
                <a:gd name="connsiteX4" fmla="*/ 41644 w 40300"/>
                <a:gd name="connsiteY4" fmla="*/ 0 h 4477"/>
                <a:gd name="connsiteX5" fmla="*/ 43883 w 40300"/>
                <a:gd name="connsiteY5" fmla="*/ 2239 h 4477"/>
                <a:gd name="connsiteX6" fmla="*/ 41644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41644" y="4478"/>
                  </a:moveTo>
                  <a:lnTo>
                    <a:pt x="2239" y="4478"/>
                  </a:lnTo>
                  <a:cubicBezTo>
                    <a:pt x="896" y="4478"/>
                    <a:pt x="0" y="3582"/>
                    <a:pt x="0" y="2239"/>
                  </a:cubicBezTo>
                  <a:cubicBezTo>
                    <a:pt x="0" y="896"/>
                    <a:pt x="896" y="0"/>
                    <a:pt x="2239" y="0"/>
                  </a:cubicBezTo>
                  <a:lnTo>
                    <a:pt x="41644" y="0"/>
                  </a:lnTo>
                  <a:cubicBezTo>
                    <a:pt x="42987" y="0"/>
                    <a:pt x="43883" y="896"/>
                    <a:pt x="43883" y="2239"/>
                  </a:cubicBezTo>
                  <a:cubicBezTo>
                    <a:pt x="43883" y="3582"/>
                    <a:pt x="42987" y="4478"/>
                    <a:pt x="41644" y="4478"/>
                  </a:cubicBezTo>
                  <a:close/>
                </a:path>
              </a:pathLst>
            </a:custGeom>
            <a:solidFill>
              <a:srgbClr val="231F20"/>
            </a:solidFill>
            <a:ln w="4474" cap="flat">
              <a:noFill/>
              <a:prstDash val="solid"/>
              <a:miter/>
            </a:ln>
          </p:spPr>
          <p:txBody>
            <a:bodyPr rtlCol="0" anchor="ctr"/>
            <a:lstStyle/>
            <a:p>
              <a:endParaRPr lang="en-US"/>
            </a:p>
          </p:txBody>
        </p:sp>
      </p:grpSp>
      <p:sp>
        <p:nvSpPr>
          <p:cNvPr id="4140" name="Freeform: Shape 4139">
            <a:extLst>
              <a:ext uri="{FF2B5EF4-FFF2-40B4-BE49-F238E27FC236}">
                <a16:creationId xmlns:a16="http://schemas.microsoft.com/office/drawing/2014/main" id="{43A76D85-334B-4352-AFB8-CC6CEFE5939B}"/>
              </a:ext>
              <a:ext uri="{C183D7F6-B498-43B3-948B-1728B52AA6E4}">
                <adec:decorative xmlns:adec="http://schemas.microsoft.com/office/drawing/2017/decorative" val="1"/>
              </a:ext>
            </a:extLst>
          </p:cNvPr>
          <p:cNvSpPr>
            <a:spLocks noChangeAspect="1"/>
          </p:cNvSpPr>
          <p:nvPr/>
        </p:nvSpPr>
        <p:spPr>
          <a:xfrm>
            <a:off x="3451461" y="2726363"/>
            <a:ext cx="138812" cy="147768"/>
          </a:xfrm>
          <a:custGeom>
            <a:avLst/>
            <a:gdLst>
              <a:gd name="connsiteX0" fmla="*/ 132096 w 138812"/>
              <a:gd name="connsiteY0" fmla="*/ 124931 h 147767"/>
              <a:gd name="connsiteX1" fmla="*/ 93587 w 138812"/>
              <a:gd name="connsiteY1" fmla="*/ 124931 h 147767"/>
              <a:gd name="connsiteX2" fmla="*/ 73884 w 138812"/>
              <a:gd name="connsiteY2" fmla="*/ 105229 h 147767"/>
              <a:gd name="connsiteX3" fmla="*/ 73884 w 138812"/>
              <a:gd name="connsiteY3" fmla="*/ 95825 h 147767"/>
              <a:gd name="connsiteX4" fmla="*/ 102990 w 138812"/>
              <a:gd name="connsiteY4" fmla="*/ 95825 h 147767"/>
              <a:gd name="connsiteX5" fmla="*/ 138812 w 138812"/>
              <a:gd name="connsiteY5" fmla="*/ 60003 h 147767"/>
              <a:gd name="connsiteX6" fmla="*/ 102990 w 138812"/>
              <a:gd name="connsiteY6" fmla="*/ 24180 h 147767"/>
              <a:gd name="connsiteX7" fmla="*/ 94930 w 138812"/>
              <a:gd name="connsiteY7" fmla="*/ 25076 h 147767"/>
              <a:gd name="connsiteX8" fmla="*/ 55973 w 138812"/>
              <a:gd name="connsiteY8" fmla="*/ 0 h 147767"/>
              <a:gd name="connsiteX9" fmla="*/ 13433 w 138812"/>
              <a:gd name="connsiteY9" fmla="*/ 42091 h 147767"/>
              <a:gd name="connsiteX10" fmla="*/ 0 w 138812"/>
              <a:gd name="connsiteY10" fmla="*/ 66719 h 147767"/>
              <a:gd name="connsiteX11" fmla="*/ 29106 w 138812"/>
              <a:gd name="connsiteY11" fmla="*/ 95825 h 147767"/>
              <a:gd name="connsiteX12" fmla="*/ 69406 w 138812"/>
              <a:gd name="connsiteY12" fmla="*/ 95825 h 147767"/>
              <a:gd name="connsiteX13" fmla="*/ 69406 w 138812"/>
              <a:gd name="connsiteY13" fmla="*/ 105229 h 147767"/>
              <a:gd name="connsiteX14" fmla="*/ 49704 w 138812"/>
              <a:gd name="connsiteY14" fmla="*/ 124931 h 147767"/>
              <a:gd name="connsiteX15" fmla="*/ 11195 w 138812"/>
              <a:gd name="connsiteY15" fmla="*/ 124931 h 147767"/>
              <a:gd name="connsiteX16" fmla="*/ 8956 w 138812"/>
              <a:gd name="connsiteY16" fmla="*/ 127170 h 147767"/>
              <a:gd name="connsiteX17" fmla="*/ 11195 w 138812"/>
              <a:gd name="connsiteY17" fmla="*/ 129409 h 147767"/>
              <a:gd name="connsiteX18" fmla="*/ 49704 w 138812"/>
              <a:gd name="connsiteY18" fmla="*/ 129409 h 147767"/>
              <a:gd name="connsiteX19" fmla="*/ 71645 w 138812"/>
              <a:gd name="connsiteY19" fmla="*/ 149559 h 147767"/>
              <a:gd name="connsiteX20" fmla="*/ 93587 w 138812"/>
              <a:gd name="connsiteY20" fmla="*/ 129409 h 147767"/>
              <a:gd name="connsiteX21" fmla="*/ 132096 w 138812"/>
              <a:gd name="connsiteY21" fmla="*/ 129409 h 147767"/>
              <a:gd name="connsiteX22" fmla="*/ 134335 w 138812"/>
              <a:gd name="connsiteY22" fmla="*/ 127170 h 147767"/>
              <a:gd name="connsiteX23" fmla="*/ 132096 w 138812"/>
              <a:gd name="connsiteY23" fmla="*/ 124931 h 147767"/>
              <a:gd name="connsiteX24" fmla="*/ 4478 w 138812"/>
              <a:gd name="connsiteY24" fmla="*/ 66719 h 147767"/>
              <a:gd name="connsiteX25" fmla="*/ 17016 w 138812"/>
              <a:gd name="connsiteY25" fmla="*/ 45226 h 147767"/>
              <a:gd name="connsiteX26" fmla="*/ 17911 w 138812"/>
              <a:gd name="connsiteY26" fmla="*/ 43435 h 147767"/>
              <a:gd name="connsiteX27" fmla="*/ 17911 w 138812"/>
              <a:gd name="connsiteY27" fmla="*/ 42091 h 147767"/>
              <a:gd name="connsiteX28" fmla="*/ 55973 w 138812"/>
              <a:gd name="connsiteY28" fmla="*/ 4030 h 147767"/>
              <a:gd name="connsiteX29" fmla="*/ 91348 w 138812"/>
              <a:gd name="connsiteY29" fmla="*/ 28210 h 147767"/>
              <a:gd name="connsiteX30" fmla="*/ 94034 w 138812"/>
              <a:gd name="connsiteY30" fmla="*/ 29554 h 147767"/>
              <a:gd name="connsiteX31" fmla="*/ 102990 w 138812"/>
              <a:gd name="connsiteY31" fmla="*/ 28210 h 147767"/>
              <a:gd name="connsiteX32" fmla="*/ 134335 w 138812"/>
              <a:gd name="connsiteY32" fmla="*/ 59555 h 147767"/>
              <a:gd name="connsiteX33" fmla="*/ 102990 w 138812"/>
              <a:gd name="connsiteY33" fmla="*/ 90900 h 147767"/>
              <a:gd name="connsiteX34" fmla="*/ 29106 w 138812"/>
              <a:gd name="connsiteY34" fmla="*/ 90900 h 147767"/>
              <a:gd name="connsiteX35" fmla="*/ 4478 w 138812"/>
              <a:gd name="connsiteY35" fmla="*/ 66719 h 147767"/>
              <a:gd name="connsiteX36" fmla="*/ 71645 w 138812"/>
              <a:gd name="connsiteY36" fmla="*/ 145081 h 147767"/>
              <a:gd name="connsiteX37" fmla="*/ 53734 w 138812"/>
              <a:gd name="connsiteY37" fmla="*/ 127170 h 147767"/>
              <a:gd name="connsiteX38" fmla="*/ 53734 w 138812"/>
              <a:gd name="connsiteY38" fmla="*/ 127170 h 147767"/>
              <a:gd name="connsiteX39" fmla="*/ 53734 w 138812"/>
              <a:gd name="connsiteY39" fmla="*/ 127170 h 147767"/>
              <a:gd name="connsiteX40" fmla="*/ 71645 w 138812"/>
              <a:gd name="connsiteY40" fmla="*/ 109259 h 147767"/>
              <a:gd name="connsiteX41" fmla="*/ 89556 w 138812"/>
              <a:gd name="connsiteY41" fmla="*/ 127170 h 147767"/>
              <a:gd name="connsiteX42" fmla="*/ 71645 w 138812"/>
              <a:gd name="connsiteY42" fmla="*/ 145081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8812" h="147767">
                <a:moveTo>
                  <a:pt x="132096" y="124931"/>
                </a:moveTo>
                <a:lnTo>
                  <a:pt x="93587" y="124931"/>
                </a:lnTo>
                <a:cubicBezTo>
                  <a:pt x="92691" y="114184"/>
                  <a:pt x="84183" y="106124"/>
                  <a:pt x="73884" y="105229"/>
                </a:cubicBezTo>
                <a:lnTo>
                  <a:pt x="73884" y="95825"/>
                </a:lnTo>
                <a:lnTo>
                  <a:pt x="102990" y="95825"/>
                </a:lnTo>
                <a:cubicBezTo>
                  <a:pt x="122692" y="95825"/>
                  <a:pt x="138812" y="79705"/>
                  <a:pt x="138812" y="60003"/>
                </a:cubicBezTo>
                <a:cubicBezTo>
                  <a:pt x="138812" y="40300"/>
                  <a:pt x="122692" y="24180"/>
                  <a:pt x="102990" y="24180"/>
                </a:cubicBezTo>
                <a:cubicBezTo>
                  <a:pt x="100303" y="24180"/>
                  <a:pt x="97616" y="24628"/>
                  <a:pt x="94930" y="25076"/>
                </a:cubicBezTo>
                <a:cubicBezTo>
                  <a:pt x="88213" y="9851"/>
                  <a:pt x="72988" y="0"/>
                  <a:pt x="55973" y="0"/>
                </a:cubicBezTo>
                <a:cubicBezTo>
                  <a:pt x="32688" y="0"/>
                  <a:pt x="13433" y="18807"/>
                  <a:pt x="13433" y="42091"/>
                </a:cubicBezTo>
                <a:cubicBezTo>
                  <a:pt x="4925" y="47465"/>
                  <a:pt x="0" y="56868"/>
                  <a:pt x="0" y="66719"/>
                </a:cubicBezTo>
                <a:cubicBezTo>
                  <a:pt x="0" y="82840"/>
                  <a:pt x="12986" y="95825"/>
                  <a:pt x="29106" y="95825"/>
                </a:cubicBezTo>
                <a:lnTo>
                  <a:pt x="69406" y="95825"/>
                </a:lnTo>
                <a:lnTo>
                  <a:pt x="69406" y="105229"/>
                </a:lnTo>
                <a:cubicBezTo>
                  <a:pt x="58659" y="106124"/>
                  <a:pt x="50599" y="114632"/>
                  <a:pt x="49704" y="124931"/>
                </a:cubicBezTo>
                <a:lnTo>
                  <a:pt x="11195" y="124931"/>
                </a:lnTo>
                <a:cubicBezTo>
                  <a:pt x="9851" y="124931"/>
                  <a:pt x="8956" y="125827"/>
                  <a:pt x="8956" y="127170"/>
                </a:cubicBezTo>
                <a:cubicBezTo>
                  <a:pt x="8956" y="128513"/>
                  <a:pt x="9851" y="129409"/>
                  <a:pt x="11195" y="129409"/>
                </a:cubicBezTo>
                <a:lnTo>
                  <a:pt x="49704" y="129409"/>
                </a:lnTo>
                <a:cubicBezTo>
                  <a:pt x="51047" y="140603"/>
                  <a:pt x="60451" y="149559"/>
                  <a:pt x="71645" y="149559"/>
                </a:cubicBezTo>
                <a:cubicBezTo>
                  <a:pt x="83287" y="149559"/>
                  <a:pt x="92691" y="140603"/>
                  <a:pt x="93587" y="129409"/>
                </a:cubicBezTo>
                <a:lnTo>
                  <a:pt x="132096" y="129409"/>
                </a:lnTo>
                <a:cubicBezTo>
                  <a:pt x="133439" y="129409"/>
                  <a:pt x="134335" y="128513"/>
                  <a:pt x="134335" y="127170"/>
                </a:cubicBezTo>
                <a:cubicBezTo>
                  <a:pt x="134335" y="125827"/>
                  <a:pt x="133439" y="124931"/>
                  <a:pt x="132096" y="124931"/>
                </a:cubicBezTo>
                <a:close/>
                <a:moveTo>
                  <a:pt x="4478" y="66719"/>
                </a:moveTo>
                <a:cubicBezTo>
                  <a:pt x="4478" y="58212"/>
                  <a:pt x="9403" y="49704"/>
                  <a:pt x="17016" y="45226"/>
                </a:cubicBezTo>
                <a:cubicBezTo>
                  <a:pt x="17911" y="44778"/>
                  <a:pt x="17911" y="43883"/>
                  <a:pt x="17911" y="43435"/>
                </a:cubicBezTo>
                <a:lnTo>
                  <a:pt x="17911" y="42091"/>
                </a:lnTo>
                <a:cubicBezTo>
                  <a:pt x="17911" y="21046"/>
                  <a:pt x="34927" y="4030"/>
                  <a:pt x="55973" y="4030"/>
                </a:cubicBezTo>
                <a:cubicBezTo>
                  <a:pt x="71645" y="4030"/>
                  <a:pt x="85974" y="13881"/>
                  <a:pt x="91348" y="28210"/>
                </a:cubicBezTo>
                <a:cubicBezTo>
                  <a:pt x="91795" y="29106"/>
                  <a:pt x="93139" y="30001"/>
                  <a:pt x="94034" y="29554"/>
                </a:cubicBezTo>
                <a:cubicBezTo>
                  <a:pt x="96721" y="28658"/>
                  <a:pt x="99855" y="28210"/>
                  <a:pt x="102990" y="28210"/>
                </a:cubicBezTo>
                <a:cubicBezTo>
                  <a:pt x="120453" y="28210"/>
                  <a:pt x="134335" y="42091"/>
                  <a:pt x="134335" y="59555"/>
                </a:cubicBezTo>
                <a:cubicBezTo>
                  <a:pt x="134335" y="77018"/>
                  <a:pt x="120453" y="90900"/>
                  <a:pt x="102990" y="90900"/>
                </a:cubicBezTo>
                <a:lnTo>
                  <a:pt x="29106" y="90900"/>
                </a:lnTo>
                <a:cubicBezTo>
                  <a:pt x="15672" y="91347"/>
                  <a:pt x="4478" y="80153"/>
                  <a:pt x="4478" y="66719"/>
                </a:cubicBezTo>
                <a:close/>
                <a:moveTo>
                  <a:pt x="71645" y="145081"/>
                </a:moveTo>
                <a:cubicBezTo>
                  <a:pt x="61794" y="145081"/>
                  <a:pt x="53734" y="137021"/>
                  <a:pt x="53734" y="127170"/>
                </a:cubicBezTo>
                <a:cubicBezTo>
                  <a:pt x="53734" y="127170"/>
                  <a:pt x="53734" y="127170"/>
                  <a:pt x="53734" y="127170"/>
                </a:cubicBezTo>
                <a:cubicBezTo>
                  <a:pt x="53734" y="127170"/>
                  <a:pt x="53734" y="127170"/>
                  <a:pt x="53734" y="127170"/>
                </a:cubicBezTo>
                <a:cubicBezTo>
                  <a:pt x="53734" y="117319"/>
                  <a:pt x="61794" y="109259"/>
                  <a:pt x="71645" y="109259"/>
                </a:cubicBezTo>
                <a:cubicBezTo>
                  <a:pt x="81496" y="109259"/>
                  <a:pt x="89556" y="117319"/>
                  <a:pt x="89556" y="127170"/>
                </a:cubicBezTo>
                <a:cubicBezTo>
                  <a:pt x="89556" y="137021"/>
                  <a:pt x="81496" y="145081"/>
                  <a:pt x="71645" y="145081"/>
                </a:cubicBezTo>
                <a:close/>
              </a:path>
            </a:pathLst>
          </a:custGeom>
          <a:solidFill>
            <a:srgbClr val="231F20"/>
          </a:solidFill>
          <a:ln w="4474" cap="flat">
            <a:noFill/>
            <a:prstDash val="solid"/>
            <a:miter/>
          </a:ln>
        </p:spPr>
        <p:txBody>
          <a:bodyPr rtlCol="0" anchor="ctr"/>
          <a:lstStyle/>
          <a:p>
            <a:endParaRPr lang="en-US"/>
          </a:p>
        </p:txBody>
      </p:sp>
      <p:sp>
        <p:nvSpPr>
          <p:cNvPr id="4141" name="Freeform: Shape 4140">
            <a:extLst>
              <a:ext uri="{FF2B5EF4-FFF2-40B4-BE49-F238E27FC236}">
                <a16:creationId xmlns:a16="http://schemas.microsoft.com/office/drawing/2014/main" id="{8F7447AD-DEA5-4D8D-A552-28AAB0301099}"/>
              </a:ext>
              <a:ext uri="{C183D7F6-B498-43B3-948B-1728B52AA6E4}">
                <adec:decorative xmlns:adec="http://schemas.microsoft.com/office/drawing/2017/decorative" val="1"/>
              </a:ext>
            </a:extLst>
          </p:cNvPr>
          <p:cNvSpPr>
            <a:spLocks noChangeAspect="1"/>
          </p:cNvSpPr>
          <p:nvPr/>
        </p:nvSpPr>
        <p:spPr>
          <a:xfrm>
            <a:off x="4273812" y="2722892"/>
            <a:ext cx="71645" cy="152246"/>
          </a:xfrm>
          <a:custGeom>
            <a:avLst/>
            <a:gdLst>
              <a:gd name="connsiteX0" fmla="*/ 35599 w 71645"/>
              <a:gd name="connsiteY0" fmla="*/ 76459 h 152245"/>
              <a:gd name="connsiteX1" fmla="*/ 70974 w 71645"/>
              <a:gd name="connsiteY1" fmla="*/ 44666 h 152245"/>
              <a:gd name="connsiteX2" fmla="*/ 71869 w 71645"/>
              <a:gd name="connsiteY2" fmla="*/ 42875 h 152245"/>
              <a:gd name="connsiteX3" fmla="*/ 71421 w 71645"/>
              <a:gd name="connsiteY3" fmla="*/ 41084 h 152245"/>
              <a:gd name="connsiteX4" fmla="*/ 31121 w 71645"/>
              <a:gd name="connsiteY4" fmla="*/ 784 h 152245"/>
              <a:gd name="connsiteX5" fmla="*/ 30225 w 71645"/>
              <a:gd name="connsiteY5" fmla="*/ 336 h 152245"/>
              <a:gd name="connsiteX6" fmla="*/ 28434 w 71645"/>
              <a:gd name="connsiteY6" fmla="*/ 336 h 152245"/>
              <a:gd name="connsiteX7" fmla="*/ 27091 w 71645"/>
              <a:gd name="connsiteY7" fmla="*/ 1679 h 152245"/>
              <a:gd name="connsiteX8" fmla="*/ 27091 w 71645"/>
              <a:gd name="connsiteY8" fmla="*/ 2575 h 152245"/>
              <a:gd name="connsiteX9" fmla="*/ 27091 w 71645"/>
              <a:gd name="connsiteY9" fmla="*/ 68399 h 152245"/>
              <a:gd name="connsiteX10" fmla="*/ 3806 w 71645"/>
              <a:gd name="connsiteY10" fmla="*/ 47801 h 152245"/>
              <a:gd name="connsiteX11" fmla="*/ 672 w 71645"/>
              <a:gd name="connsiteY11" fmla="*/ 47801 h 152245"/>
              <a:gd name="connsiteX12" fmla="*/ 672 w 71645"/>
              <a:gd name="connsiteY12" fmla="*/ 50935 h 152245"/>
              <a:gd name="connsiteX13" fmla="*/ 26643 w 71645"/>
              <a:gd name="connsiteY13" fmla="*/ 74220 h 152245"/>
              <a:gd name="connsiteX14" fmla="*/ 26643 w 71645"/>
              <a:gd name="connsiteY14" fmla="*/ 77802 h 152245"/>
              <a:gd name="connsiteX15" fmla="*/ 672 w 71645"/>
              <a:gd name="connsiteY15" fmla="*/ 101535 h 152245"/>
              <a:gd name="connsiteX16" fmla="*/ 672 w 71645"/>
              <a:gd name="connsiteY16" fmla="*/ 104669 h 152245"/>
              <a:gd name="connsiteX17" fmla="*/ 2463 w 71645"/>
              <a:gd name="connsiteY17" fmla="*/ 105565 h 152245"/>
              <a:gd name="connsiteX18" fmla="*/ 3806 w 71645"/>
              <a:gd name="connsiteY18" fmla="*/ 105117 h 152245"/>
              <a:gd name="connsiteX19" fmla="*/ 27091 w 71645"/>
              <a:gd name="connsiteY19" fmla="*/ 84519 h 152245"/>
              <a:gd name="connsiteX20" fmla="*/ 27091 w 71645"/>
              <a:gd name="connsiteY20" fmla="*/ 150790 h 152245"/>
              <a:gd name="connsiteX21" fmla="*/ 29330 w 71645"/>
              <a:gd name="connsiteY21" fmla="*/ 153029 h 152245"/>
              <a:gd name="connsiteX22" fmla="*/ 31569 w 71645"/>
              <a:gd name="connsiteY22" fmla="*/ 151238 h 152245"/>
              <a:gd name="connsiteX23" fmla="*/ 71421 w 71645"/>
              <a:gd name="connsiteY23" fmla="*/ 111386 h 152245"/>
              <a:gd name="connsiteX24" fmla="*/ 71869 w 71645"/>
              <a:gd name="connsiteY24" fmla="*/ 109595 h 152245"/>
              <a:gd name="connsiteX25" fmla="*/ 70974 w 71645"/>
              <a:gd name="connsiteY25" fmla="*/ 107803 h 152245"/>
              <a:gd name="connsiteX26" fmla="*/ 35599 w 71645"/>
              <a:gd name="connsiteY26" fmla="*/ 76459 h 152245"/>
              <a:gd name="connsiteX27" fmla="*/ 31569 w 71645"/>
              <a:gd name="connsiteY27" fmla="*/ 8396 h 152245"/>
              <a:gd name="connsiteX28" fmla="*/ 66496 w 71645"/>
              <a:gd name="connsiteY28" fmla="*/ 43323 h 152245"/>
              <a:gd name="connsiteX29" fmla="*/ 32464 w 71645"/>
              <a:gd name="connsiteY29" fmla="*/ 73772 h 152245"/>
              <a:gd name="connsiteX30" fmla="*/ 31569 w 71645"/>
              <a:gd name="connsiteY30" fmla="*/ 72877 h 152245"/>
              <a:gd name="connsiteX31" fmla="*/ 31569 w 71645"/>
              <a:gd name="connsiteY31" fmla="*/ 8396 h 152245"/>
              <a:gd name="connsiteX32" fmla="*/ 31569 w 71645"/>
              <a:gd name="connsiteY32" fmla="*/ 144522 h 152245"/>
              <a:gd name="connsiteX33" fmla="*/ 31569 w 71645"/>
              <a:gd name="connsiteY33" fmla="*/ 80489 h 152245"/>
              <a:gd name="connsiteX34" fmla="*/ 32464 w 71645"/>
              <a:gd name="connsiteY34" fmla="*/ 79593 h 152245"/>
              <a:gd name="connsiteX35" fmla="*/ 66496 w 71645"/>
              <a:gd name="connsiteY35" fmla="*/ 109595 h 152245"/>
              <a:gd name="connsiteX36" fmla="*/ 31569 w 71645"/>
              <a:gd name="connsiteY36" fmla="*/ 14452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645" h="152245">
                <a:moveTo>
                  <a:pt x="35599" y="76459"/>
                </a:moveTo>
                <a:lnTo>
                  <a:pt x="70974" y="44666"/>
                </a:lnTo>
                <a:cubicBezTo>
                  <a:pt x="71421" y="44218"/>
                  <a:pt x="71869" y="43771"/>
                  <a:pt x="71869" y="42875"/>
                </a:cubicBezTo>
                <a:cubicBezTo>
                  <a:pt x="71869" y="42427"/>
                  <a:pt x="71869" y="41532"/>
                  <a:pt x="71421" y="41084"/>
                </a:cubicBezTo>
                <a:lnTo>
                  <a:pt x="31121" y="784"/>
                </a:lnTo>
                <a:cubicBezTo>
                  <a:pt x="31121" y="784"/>
                  <a:pt x="30673" y="336"/>
                  <a:pt x="30225" y="336"/>
                </a:cubicBezTo>
                <a:cubicBezTo>
                  <a:pt x="29778" y="-112"/>
                  <a:pt x="28882" y="-112"/>
                  <a:pt x="28434" y="336"/>
                </a:cubicBezTo>
                <a:cubicBezTo>
                  <a:pt x="27987" y="784"/>
                  <a:pt x="27539" y="784"/>
                  <a:pt x="27091" y="1679"/>
                </a:cubicBezTo>
                <a:cubicBezTo>
                  <a:pt x="27091" y="2127"/>
                  <a:pt x="27091" y="2127"/>
                  <a:pt x="27091" y="2575"/>
                </a:cubicBezTo>
                <a:lnTo>
                  <a:pt x="27091" y="68399"/>
                </a:lnTo>
                <a:lnTo>
                  <a:pt x="3806" y="47801"/>
                </a:lnTo>
                <a:cubicBezTo>
                  <a:pt x="2911" y="46905"/>
                  <a:pt x="1567" y="46905"/>
                  <a:pt x="672" y="47801"/>
                </a:cubicBezTo>
                <a:cubicBezTo>
                  <a:pt x="-224" y="48696"/>
                  <a:pt x="-224" y="50040"/>
                  <a:pt x="672" y="50935"/>
                </a:cubicBezTo>
                <a:lnTo>
                  <a:pt x="26643" y="74220"/>
                </a:lnTo>
                <a:lnTo>
                  <a:pt x="26643" y="77802"/>
                </a:lnTo>
                <a:lnTo>
                  <a:pt x="672" y="101535"/>
                </a:lnTo>
                <a:cubicBezTo>
                  <a:pt x="-224" y="102430"/>
                  <a:pt x="-224" y="103773"/>
                  <a:pt x="672" y="104669"/>
                </a:cubicBezTo>
                <a:cubicBezTo>
                  <a:pt x="1120" y="105117"/>
                  <a:pt x="1567" y="105565"/>
                  <a:pt x="2463" y="105565"/>
                </a:cubicBezTo>
                <a:cubicBezTo>
                  <a:pt x="2911" y="105565"/>
                  <a:pt x="3359" y="105565"/>
                  <a:pt x="3806" y="105117"/>
                </a:cubicBezTo>
                <a:lnTo>
                  <a:pt x="27091" y="84519"/>
                </a:lnTo>
                <a:lnTo>
                  <a:pt x="27091" y="150790"/>
                </a:lnTo>
                <a:cubicBezTo>
                  <a:pt x="27091" y="152134"/>
                  <a:pt x="27987" y="153029"/>
                  <a:pt x="29330" y="153029"/>
                </a:cubicBezTo>
                <a:cubicBezTo>
                  <a:pt x="30673" y="153029"/>
                  <a:pt x="31569" y="152134"/>
                  <a:pt x="31569" y="151238"/>
                </a:cubicBezTo>
                <a:lnTo>
                  <a:pt x="71421" y="111386"/>
                </a:lnTo>
                <a:cubicBezTo>
                  <a:pt x="71869" y="110938"/>
                  <a:pt x="72317" y="110490"/>
                  <a:pt x="71869" y="109595"/>
                </a:cubicBezTo>
                <a:cubicBezTo>
                  <a:pt x="71421" y="108699"/>
                  <a:pt x="71421" y="108251"/>
                  <a:pt x="70974" y="107803"/>
                </a:cubicBezTo>
                <a:lnTo>
                  <a:pt x="35599" y="76459"/>
                </a:lnTo>
                <a:close/>
                <a:moveTo>
                  <a:pt x="31569" y="8396"/>
                </a:moveTo>
                <a:lnTo>
                  <a:pt x="66496" y="43323"/>
                </a:lnTo>
                <a:lnTo>
                  <a:pt x="32464" y="73772"/>
                </a:lnTo>
                <a:lnTo>
                  <a:pt x="31569" y="72877"/>
                </a:lnTo>
                <a:lnTo>
                  <a:pt x="31569" y="8396"/>
                </a:lnTo>
                <a:close/>
                <a:moveTo>
                  <a:pt x="31569" y="144522"/>
                </a:moveTo>
                <a:lnTo>
                  <a:pt x="31569" y="80489"/>
                </a:lnTo>
                <a:lnTo>
                  <a:pt x="32464" y="79593"/>
                </a:lnTo>
                <a:lnTo>
                  <a:pt x="66496" y="109595"/>
                </a:lnTo>
                <a:lnTo>
                  <a:pt x="31569" y="144522"/>
                </a:lnTo>
                <a:close/>
              </a:path>
            </a:pathLst>
          </a:custGeom>
          <a:solidFill>
            <a:srgbClr val="231F20"/>
          </a:solidFill>
          <a:ln w="4474" cap="flat">
            <a:noFill/>
            <a:prstDash val="solid"/>
            <a:miter/>
          </a:ln>
        </p:spPr>
        <p:txBody>
          <a:bodyPr rtlCol="0" anchor="ctr"/>
          <a:lstStyle/>
          <a:p>
            <a:endParaRPr lang="en-US"/>
          </a:p>
        </p:txBody>
      </p:sp>
      <p:grpSp>
        <p:nvGrpSpPr>
          <p:cNvPr id="4142" name="Group 4141">
            <a:extLst>
              <a:ext uri="{FF2B5EF4-FFF2-40B4-BE49-F238E27FC236}">
                <a16:creationId xmlns:a16="http://schemas.microsoft.com/office/drawing/2014/main" id="{2F5D5BC5-1263-4073-8D3E-B3A536275448}"/>
              </a:ext>
              <a:ext uri="{C183D7F6-B498-43B3-948B-1728B52AA6E4}">
                <adec:decorative xmlns:adec="http://schemas.microsoft.com/office/drawing/2017/decorative" val="1"/>
              </a:ext>
            </a:extLst>
          </p:cNvPr>
          <p:cNvGrpSpPr>
            <a:grpSpLocks noChangeAspect="1"/>
          </p:cNvGrpSpPr>
          <p:nvPr/>
        </p:nvGrpSpPr>
        <p:grpSpPr>
          <a:xfrm>
            <a:off x="4533749" y="2737557"/>
            <a:ext cx="98512" cy="111498"/>
            <a:chOff x="4574503" y="2002118"/>
            <a:chExt cx="98512" cy="111498"/>
          </a:xfrm>
        </p:grpSpPr>
        <p:sp>
          <p:nvSpPr>
            <p:cNvPr id="4143" name="Freeform: Shape 4142">
              <a:extLst>
                <a:ext uri="{FF2B5EF4-FFF2-40B4-BE49-F238E27FC236}">
                  <a16:creationId xmlns:a16="http://schemas.microsoft.com/office/drawing/2014/main" id="{2EAC1134-BD14-4BCE-86D7-F4C3000DEA5B}"/>
                </a:ext>
              </a:extLst>
            </p:cNvPr>
            <p:cNvSpPr/>
            <p:nvPr/>
          </p:nvSpPr>
          <p:spPr>
            <a:xfrm>
              <a:off x="4587041" y="2068838"/>
              <a:ext cx="71645" cy="44778"/>
            </a:xfrm>
            <a:custGeom>
              <a:avLst/>
              <a:gdLst>
                <a:gd name="connsiteX0" fmla="*/ 71197 w 71645"/>
                <a:gd name="connsiteY0" fmla="*/ 40300 h 44778"/>
                <a:gd name="connsiteX1" fmla="*/ 38957 w 71645"/>
                <a:gd name="connsiteY1" fmla="*/ 40300 h 44778"/>
                <a:gd name="connsiteX2" fmla="*/ 38957 w 71645"/>
                <a:gd name="connsiteY2" fmla="*/ 2239 h 44778"/>
                <a:gd name="connsiteX3" fmla="*/ 36718 w 71645"/>
                <a:gd name="connsiteY3" fmla="*/ 0 h 44778"/>
                <a:gd name="connsiteX4" fmla="*/ 34479 w 71645"/>
                <a:gd name="connsiteY4" fmla="*/ 2239 h 44778"/>
                <a:gd name="connsiteX5" fmla="*/ 34479 w 71645"/>
                <a:gd name="connsiteY5" fmla="*/ 40300 h 44778"/>
                <a:gd name="connsiteX6" fmla="*/ 2239 w 71645"/>
                <a:gd name="connsiteY6" fmla="*/ 40300 h 44778"/>
                <a:gd name="connsiteX7" fmla="*/ 0 w 71645"/>
                <a:gd name="connsiteY7" fmla="*/ 42539 h 44778"/>
                <a:gd name="connsiteX8" fmla="*/ 2239 w 71645"/>
                <a:gd name="connsiteY8" fmla="*/ 44778 h 44778"/>
                <a:gd name="connsiteX9" fmla="*/ 71197 w 71645"/>
                <a:gd name="connsiteY9" fmla="*/ 44778 h 44778"/>
                <a:gd name="connsiteX10" fmla="*/ 73436 w 71645"/>
                <a:gd name="connsiteY10" fmla="*/ 42539 h 44778"/>
                <a:gd name="connsiteX11" fmla="*/ 71197 w 71645"/>
                <a:gd name="connsiteY11" fmla="*/ 4030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645" h="44778">
                  <a:moveTo>
                    <a:pt x="71197" y="40300"/>
                  </a:moveTo>
                  <a:lnTo>
                    <a:pt x="38957" y="40300"/>
                  </a:lnTo>
                  <a:lnTo>
                    <a:pt x="38957" y="2239"/>
                  </a:lnTo>
                  <a:cubicBezTo>
                    <a:pt x="38957" y="896"/>
                    <a:pt x="38061" y="0"/>
                    <a:pt x="36718" y="0"/>
                  </a:cubicBezTo>
                  <a:cubicBezTo>
                    <a:pt x="35375" y="0"/>
                    <a:pt x="34479" y="896"/>
                    <a:pt x="34479" y="2239"/>
                  </a:cubicBezTo>
                  <a:lnTo>
                    <a:pt x="34479" y="40300"/>
                  </a:lnTo>
                  <a:lnTo>
                    <a:pt x="2239" y="40300"/>
                  </a:lnTo>
                  <a:cubicBezTo>
                    <a:pt x="896" y="40300"/>
                    <a:pt x="0" y="41196"/>
                    <a:pt x="0" y="42539"/>
                  </a:cubicBezTo>
                  <a:cubicBezTo>
                    <a:pt x="0" y="43883"/>
                    <a:pt x="896" y="44778"/>
                    <a:pt x="2239" y="44778"/>
                  </a:cubicBezTo>
                  <a:lnTo>
                    <a:pt x="71197" y="44778"/>
                  </a:lnTo>
                  <a:cubicBezTo>
                    <a:pt x="72541" y="44778"/>
                    <a:pt x="73436" y="43883"/>
                    <a:pt x="73436" y="42539"/>
                  </a:cubicBezTo>
                  <a:cubicBezTo>
                    <a:pt x="73436" y="41196"/>
                    <a:pt x="72093" y="40300"/>
                    <a:pt x="71197" y="40300"/>
                  </a:cubicBezTo>
                  <a:close/>
                </a:path>
              </a:pathLst>
            </a:custGeom>
            <a:solidFill>
              <a:srgbClr val="231F20"/>
            </a:solidFill>
            <a:ln w="4474" cap="flat">
              <a:noFill/>
              <a:prstDash val="solid"/>
              <a:miter/>
            </a:ln>
          </p:spPr>
          <p:txBody>
            <a:bodyPr rtlCol="0" anchor="ctr"/>
            <a:lstStyle/>
            <a:p>
              <a:endParaRPr lang="en-US"/>
            </a:p>
          </p:txBody>
        </p:sp>
        <p:sp>
          <p:nvSpPr>
            <p:cNvPr id="4144" name="Freeform: Shape 4143">
              <a:extLst>
                <a:ext uri="{FF2B5EF4-FFF2-40B4-BE49-F238E27FC236}">
                  <a16:creationId xmlns:a16="http://schemas.microsoft.com/office/drawing/2014/main" id="{DBD5E9CC-A3C1-409A-9E27-3A4BCD7BE8C8}"/>
                </a:ext>
              </a:extLst>
            </p:cNvPr>
            <p:cNvSpPr/>
            <p:nvPr/>
          </p:nvSpPr>
          <p:spPr>
            <a:xfrm>
              <a:off x="4607639" y="2035254"/>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5" y="31345"/>
                    <a:pt x="0" y="24180"/>
                    <a:pt x="0" y="15672"/>
                  </a:cubicBezTo>
                  <a:cubicBezTo>
                    <a:pt x="0" y="7165"/>
                    <a:pt x="7165" y="0"/>
                    <a:pt x="15672" y="0"/>
                  </a:cubicBezTo>
                  <a:cubicBezTo>
                    <a:pt x="24180" y="0"/>
                    <a:pt x="31345" y="7165"/>
                    <a:pt x="31345" y="15672"/>
                  </a:cubicBezTo>
                  <a:cubicBezTo>
                    <a:pt x="31345" y="24180"/>
                    <a:pt x="24628" y="31345"/>
                    <a:pt x="15672" y="31345"/>
                  </a:cubicBezTo>
                  <a:close/>
                  <a:moveTo>
                    <a:pt x="15672" y="4478"/>
                  </a:moveTo>
                  <a:cubicBezTo>
                    <a:pt x="9404" y="4478"/>
                    <a:pt x="4478" y="9403"/>
                    <a:pt x="4478" y="15672"/>
                  </a:cubicBezTo>
                  <a:cubicBezTo>
                    <a:pt x="4478" y="21941"/>
                    <a:pt x="9404" y="26867"/>
                    <a:pt x="15672" y="26867"/>
                  </a:cubicBezTo>
                  <a:cubicBezTo>
                    <a:pt x="21941" y="26867"/>
                    <a:pt x="26867" y="21941"/>
                    <a:pt x="26867" y="15672"/>
                  </a:cubicBezTo>
                  <a:cubicBezTo>
                    <a:pt x="26867" y="9403"/>
                    <a:pt x="21941" y="4478"/>
                    <a:pt x="15672" y="4478"/>
                  </a:cubicBezTo>
                  <a:close/>
                </a:path>
              </a:pathLst>
            </a:custGeom>
            <a:solidFill>
              <a:srgbClr val="231F20"/>
            </a:solidFill>
            <a:ln w="4474" cap="flat">
              <a:noFill/>
              <a:prstDash val="solid"/>
              <a:miter/>
            </a:ln>
          </p:spPr>
          <p:txBody>
            <a:bodyPr rtlCol="0" anchor="ctr"/>
            <a:lstStyle/>
            <a:p>
              <a:endParaRPr lang="en-US"/>
            </a:p>
          </p:txBody>
        </p:sp>
        <p:sp>
          <p:nvSpPr>
            <p:cNvPr id="4145" name="Freeform: Shape 4144">
              <a:extLst>
                <a:ext uri="{FF2B5EF4-FFF2-40B4-BE49-F238E27FC236}">
                  <a16:creationId xmlns:a16="http://schemas.microsoft.com/office/drawing/2014/main" id="{D37AB89C-F06B-4DD6-A231-8881707E8264}"/>
                </a:ext>
              </a:extLst>
            </p:cNvPr>
            <p:cNvSpPr/>
            <p:nvPr/>
          </p:nvSpPr>
          <p:spPr>
            <a:xfrm>
              <a:off x="4590623" y="2017790"/>
              <a:ext cx="62689" cy="58212"/>
            </a:xfrm>
            <a:custGeom>
              <a:avLst/>
              <a:gdLst>
                <a:gd name="connsiteX0" fmla="*/ 51047 w 62689"/>
                <a:gd name="connsiteY0" fmla="*/ 59107 h 58211"/>
                <a:gd name="connsiteX1" fmla="*/ 49256 w 62689"/>
                <a:gd name="connsiteY1" fmla="*/ 58212 h 58211"/>
                <a:gd name="connsiteX2" fmla="*/ 49704 w 62689"/>
                <a:gd name="connsiteY2" fmla="*/ 55077 h 58211"/>
                <a:gd name="connsiteX3" fmla="*/ 60898 w 62689"/>
                <a:gd name="connsiteY3" fmla="*/ 32688 h 58211"/>
                <a:gd name="connsiteX4" fmla="*/ 32688 w 62689"/>
                <a:gd name="connsiteY4" fmla="*/ 4478 h 58211"/>
                <a:gd name="connsiteX5" fmla="*/ 4478 w 62689"/>
                <a:gd name="connsiteY5" fmla="*/ 32688 h 58211"/>
                <a:gd name="connsiteX6" fmla="*/ 15672 w 62689"/>
                <a:gd name="connsiteY6" fmla="*/ 55077 h 58211"/>
                <a:gd name="connsiteX7" fmla="*/ 16120 w 62689"/>
                <a:gd name="connsiteY7" fmla="*/ 58212 h 58211"/>
                <a:gd name="connsiteX8" fmla="*/ 12986 w 62689"/>
                <a:gd name="connsiteY8" fmla="*/ 58659 h 58211"/>
                <a:gd name="connsiteX9" fmla="*/ 0 w 62689"/>
                <a:gd name="connsiteY9" fmla="*/ 32688 h 58211"/>
                <a:gd name="connsiteX10" fmla="*/ 32688 w 62689"/>
                <a:gd name="connsiteY10" fmla="*/ 0 h 58211"/>
                <a:gd name="connsiteX11" fmla="*/ 65376 w 62689"/>
                <a:gd name="connsiteY11" fmla="*/ 32688 h 58211"/>
                <a:gd name="connsiteX12" fmla="*/ 52391 w 62689"/>
                <a:gd name="connsiteY12" fmla="*/ 58659 h 58211"/>
                <a:gd name="connsiteX13" fmla="*/ 51047 w 62689"/>
                <a:gd name="connsiteY13" fmla="*/ 5910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689" h="58211">
                  <a:moveTo>
                    <a:pt x="51047" y="59107"/>
                  </a:moveTo>
                  <a:cubicBezTo>
                    <a:pt x="50152" y="59107"/>
                    <a:pt x="49704" y="58659"/>
                    <a:pt x="49256" y="58212"/>
                  </a:cubicBezTo>
                  <a:cubicBezTo>
                    <a:pt x="48360" y="57316"/>
                    <a:pt x="48808" y="55973"/>
                    <a:pt x="49704" y="55077"/>
                  </a:cubicBezTo>
                  <a:cubicBezTo>
                    <a:pt x="56868" y="49704"/>
                    <a:pt x="60898" y="41644"/>
                    <a:pt x="60898" y="32688"/>
                  </a:cubicBezTo>
                  <a:cubicBezTo>
                    <a:pt x="60898" y="17463"/>
                    <a:pt x="48360" y="4478"/>
                    <a:pt x="32688" y="4478"/>
                  </a:cubicBezTo>
                  <a:cubicBezTo>
                    <a:pt x="17016" y="4478"/>
                    <a:pt x="4478" y="17016"/>
                    <a:pt x="4478" y="32688"/>
                  </a:cubicBezTo>
                  <a:cubicBezTo>
                    <a:pt x="4478" y="41644"/>
                    <a:pt x="8508" y="49704"/>
                    <a:pt x="15672" y="55077"/>
                  </a:cubicBezTo>
                  <a:cubicBezTo>
                    <a:pt x="16568" y="55973"/>
                    <a:pt x="17016" y="57316"/>
                    <a:pt x="16120" y="58212"/>
                  </a:cubicBezTo>
                  <a:cubicBezTo>
                    <a:pt x="15225" y="59107"/>
                    <a:pt x="13881" y="59555"/>
                    <a:pt x="12986" y="58659"/>
                  </a:cubicBezTo>
                  <a:cubicBezTo>
                    <a:pt x="4926" y="52390"/>
                    <a:pt x="0" y="42987"/>
                    <a:pt x="0" y="32688"/>
                  </a:cubicBezTo>
                  <a:cubicBezTo>
                    <a:pt x="0" y="14777"/>
                    <a:pt x="14777" y="0"/>
                    <a:pt x="32688" y="0"/>
                  </a:cubicBezTo>
                  <a:cubicBezTo>
                    <a:pt x="50599" y="0"/>
                    <a:pt x="65376" y="14777"/>
                    <a:pt x="65376" y="32688"/>
                  </a:cubicBezTo>
                  <a:cubicBezTo>
                    <a:pt x="65376" y="42987"/>
                    <a:pt x="60451" y="52390"/>
                    <a:pt x="52391" y="58659"/>
                  </a:cubicBezTo>
                  <a:cubicBezTo>
                    <a:pt x="51943" y="59107"/>
                    <a:pt x="51495" y="59107"/>
                    <a:pt x="51047" y="59107"/>
                  </a:cubicBezTo>
                  <a:close/>
                </a:path>
              </a:pathLst>
            </a:custGeom>
            <a:solidFill>
              <a:srgbClr val="231F20"/>
            </a:solidFill>
            <a:ln w="4474" cap="flat">
              <a:noFill/>
              <a:prstDash val="solid"/>
              <a:miter/>
            </a:ln>
          </p:spPr>
          <p:txBody>
            <a:bodyPr rtlCol="0" anchor="ctr"/>
            <a:lstStyle/>
            <a:p>
              <a:endParaRPr lang="en-US"/>
            </a:p>
          </p:txBody>
        </p:sp>
        <p:sp>
          <p:nvSpPr>
            <p:cNvPr id="4146" name="Freeform: Shape 4145">
              <a:extLst>
                <a:ext uri="{FF2B5EF4-FFF2-40B4-BE49-F238E27FC236}">
                  <a16:creationId xmlns:a16="http://schemas.microsoft.com/office/drawing/2014/main" id="{3ED7DC6D-EEED-45E3-91AF-A2B99A091AC5}"/>
                </a:ext>
              </a:extLst>
            </p:cNvPr>
            <p:cNvSpPr/>
            <p:nvPr/>
          </p:nvSpPr>
          <p:spPr>
            <a:xfrm>
              <a:off x="4574503" y="2002118"/>
              <a:ext cx="98512" cy="89556"/>
            </a:xfrm>
            <a:custGeom>
              <a:avLst/>
              <a:gdLst>
                <a:gd name="connsiteX0" fmla="*/ 29106 w 98511"/>
                <a:gd name="connsiteY0" fmla="*/ 93586 h 89556"/>
                <a:gd name="connsiteX1" fmla="*/ 28210 w 98511"/>
                <a:gd name="connsiteY1" fmla="*/ 93586 h 89556"/>
                <a:gd name="connsiteX2" fmla="*/ 0 w 98511"/>
                <a:gd name="connsiteY2" fmla="*/ 49256 h 89556"/>
                <a:gd name="connsiteX3" fmla="*/ 49256 w 98511"/>
                <a:gd name="connsiteY3" fmla="*/ 0 h 89556"/>
                <a:gd name="connsiteX4" fmla="*/ 98512 w 98511"/>
                <a:gd name="connsiteY4" fmla="*/ 49256 h 89556"/>
                <a:gd name="connsiteX5" fmla="*/ 70302 w 98511"/>
                <a:gd name="connsiteY5" fmla="*/ 93586 h 89556"/>
                <a:gd name="connsiteX6" fmla="*/ 67167 w 98511"/>
                <a:gd name="connsiteY6" fmla="*/ 92691 h 89556"/>
                <a:gd name="connsiteX7" fmla="*/ 68063 w 98511"/>
                <a:gd name="connsiteY7" fmla="*/ 89556 h 89556"/>
                <a:gd name="connsiteX8" fmla="*/ 93586 w 98511"/>
                <a:gd name="connsiteY8" fmla="*/ 49256 h 89556"/>
                <a:gd name="connsiteX9" fmla="*/ 48808 w 98511"/>
                <a:gd name="connsiteY9" fmla="*/ 4478 h 89556"/>
                <a:gd name="connsiteX10" fmla="*/ 4030 w 98511"/>
                <a:gd name="connsiteY10" fmla="*/ 49256 h 89556"/>
                <a:gd name="connsiteX11" fmla="*/ 29553 w 98511"/>
                <a:gd name="connsiteY11" fmla="*/ 89556 h 89556"/>
                <a:gd name="connsiteX12" fmla="*/ 30449 w 98511"/>
                <a:gd name="connsiteY12" fmla="*/ 92691 h 89556"/>
                <a:gd name="connsiteX13" fmla="*/ 29106 w 98511"/>
                <a:gd name="connsiteY13" fmla="*/ 93586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511" h="89556">
                  <a:moveTo>
                    <a:pt x="29106" y="93586"/>
                  </a:moveTo>
                  <a:cubicBezTo>
                    <a:pt x="28658" y="93586"/>
                    <a:pt x="28658" y="93586"/>
                    <a:pt x="28210" y="93586"/>
                  </a:cubicBezTo>
                  <a:cubicBezTo>
                    <a:pt x="11195" y="85526"/>
                    <a:pt x="0" y="68063"/>
                    <a:pt x="0" y="49256"/>
                  </a:cubicBezTo>
                  <a:cubicBezTo>
                    <a:pt x="0" y="21941"/>
                    <a:pt x="21941" y="0"/>
                    <a:pt x="49256" y="0"/>
                  </a:cubicBezTo>
                  <a:cubicBezTo>
                    <a:pt x="76571" y="0"/>
                    <a:pt x="98512" y="21941"/>
                    <a:pt x="98512" y="49256"/>
                  </a:cubicBezTo>
                  <a:cubicBezTo>
                    <a:pt x="98512" y="68063"/>
                    <a:pt x="87317" y="85526"/>
                    <a:pt x="70302" y="93586"/>
                  </a:cubicBezTo>
                  <a:cubicBezTo>
                    <a:pt x="69406" y="94034"/>
                    <a:pt x="68063" y="93586"/>
                    <a:pt x="67167" y="92691"/>
                  </a:cubicBezTo>
                  <a:cubicBezTo>
                    <a:pt x="66719" y="91795"/>
                    <a:pt x="67167" y="90452"/>
                    <a:pt x="68063" y="89556"/>
                  </a:cubicBezTo>
                  <a:cubicBezTo>
                    <a:pt x="83735" y="82392"/>
                    <a:pt x="93586" y="66272"/>
                    <a:pt x="93586" y="49256"/>
                  </a:cubicBezTo>
                  <a:cubicBezTo>
                    <a:pt x="93586" y="24628"/>
                    <a:pt x="73436" y="4478"/>
                    <a:pt x="48808" y="4478"/>
                  </a:cubicBezTo>
                  <a:cubicBezTo>
                    <a:pt x="24180" y="4478"/>
                    <a:pt x="4030" y="24628"/>
                    <a:pt x="4030" y="49256"/>
                  </a:cubicBezTo>
                  <a:cubicBezTo>
                    <a:pt x="4030" y="66272"/>
                    <a:pt x="13881" y="82392"/>
                    <a:pt x="29553" y="89556"/>
                  </a:cubicBezTo>
                  <a:cubicBezTo>
                    <a:pt x="30449" y="90004"/>
                    <a:pt x="31345" y="91347"/>
                    <a:pt x="30449" y="92691"/>
                  </a:cubicBezTo>
                  <a:cubicBezTo>
                    <a:pt x="30449" y="93139"/>
                    <a:pt x="29553" y="93586"/>
                    <a:pt x="29106" y="93586"/>
                  </a:cubicBezTo>
                  <a:close/>
                </a:path>
              </a:pathLst>
            </a:custGeom>
            <a:solidFill>
              <a:srgbClr val="231F20"/>
            </a:solidFill>
            <a:ln w="4474" cap="flat">
              <a:noFill/>
              <a:prstDash val="solid"/>
              <a:miter/>
            </a:ln>
          </p:spPr>
          <p:txBody>
            <a:bodyPr rtlCol="0" anchor="ctr"/>
            <a:lstStyle/>
            <a:p>
              <a:endParaRPr lang="en-US"/>
            </a:p>
          </p:txBody>
        </p:sp>
      </p:grpSp>
      <p:grpSp>
        <p:nvGrpSpPr>
          <p:cNvPr id="4147" name="Group 4146">
            <a:extLst>
              <a:ext uri="{FF2B5EF4-FFF2-40B4-BE49-F238E27FC236}">
                <a16:creationId xmlns:a16="http://schemas.microsoft.com/office/drawing/2014/main" id="{C9A6B594-2B21-4C95-9D9A-F29C525D8100}"/>
              </a:ext>
              <a:ext uri="{C183D7F6-B498-43B3-948B-1728B52AA6E4}">
                <adec:decorative xmlns:adec="http://schemas.microsoft.com/office/drawing/2017/decorative" val="1"/>
              </a:ext>
            </a:extLst>
          </p:cNvPr>
          <p:cNvGrpSpPr>
            <a:grpSpLocks noChangeAspect="1"/>
          </p:cNvGrpSpPr>
          <p:nvPr/>
        </p:nvGrpSpPr>
        <p:grpSpPr>
          <a:xfrm>
            <a:off x="5056311" y="2753453"/>
            <a:ext cx="109482" cy="104670"/>
            <a:chOff x="5097065" y="2018014"/>
            <a:chExt cx="109482" cy="104670"/>
          </a:xfrm>
        </p:grpSpPr>
        <p:sp>
          <p:nvSpPr>
            <p:cNvPr id="4148" name="Freeform: Shape 4147">
              <a:extLst>
                <a:ext uri="{FF2B5EF4-FFF2-40B4-BE49-F238E27FC236}">
                  <a16:creationId xmlns:a16="http://schemas.microsoft.com/office/drawing/2014/main" id="{8766D25B-D06F-4306-B52A-55AA62394431}"/>
                </a:ext>
              </a:extLst>
            </p:cNvPr>
            <p:cNvSpPr/>
            <p:nvPr/>
          </p:nvSpPr>
          <p:spPr>
            <a:xfrm>
              <a:off x="5123932" y="2036373"/>
              <a:ext cx="8956" cy="40300"/>
            </a:xfrm>
            <a:custGeom>
              <a:avLst/>
              <a:gdLst>
                <a:gd name="connsiteX0" fmla="*/ 10299 w 8955"/>
                <a:gd name="connsiteY0" fmla="*/ 42315 h 40300"/>
                <a:gd name="connsiteX1" fmla="*/ 8508 w 8955"/>
                <a:gd name="connsiteY1" fmla="*/ 41868 h 40300"/>
                <a:gd name="connsiteX2" fmla="*/ 0 w 8955"/>
                <a:gd name="connsiteY2" fmla="*/ 21270 h 40300"/>
                <a:gd name="connsiteX3" fmla="*/ 8508 w 8955"/>
                <a:gd name="connsiteY3" fmla="*/ 672 h 40300"/>
                <a:gd name="connsiteX4" fmla="*/ 11642 w 8955"/>
                <a:gd name="connsiteY4" fmla="*/ 672 h 40300"/>
                <a:gd name="connsiteX5" fmla="*/ 11642 w 8955"/>
                <a:gd name="connsiteY5" fmla="*/ 3806 h 40300"/>
                <a:gd name="connsiteX6" fmla="*/ 4478 w 8955"/>
                <a:gd name="connsiteY6" fmla="*/ 21270 h 40300"/>
                <a:gd name="connsiteX7" fmla="*/ 11642 w 8955"/>
                <a:gd name="connsiteY7" fmla="*/ 38733 h 40300"/>
                <a:gd name="connsiteX8" fmla="*/ 11642 w 8955"/>
                <a:gd name="connsiteY8" fmla="*/ 41868 h 40300"/>
                <a:gd name="connsiteX9" fmla="*/ 10299 w 8955"/>
                <a:gd name="connsiteY9" fmla="*/ 4231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40300">
                  <a:moveTo>
                    <a:pt x="10299" y="42315"/>
                  </a:moveTo>
                  <a:cubicBezTo>
                    <a:pt x="9851" y="42315"/>
                    <a:pt x="8956" y="42315"/>
                    <a:pt x="8508" y="41868"/>
                  </a:cubicBezTo>
                  <a:cubicBezTo>
                    <a:pt x="3134" y="36494"/>
                    <a:pt x="0" y="28882"/>
                    <a:pt x="0" y="21270"/>
                  </a:cubicBezTo>
                  <a:cubicBezTo>
                    <a:pt x="0" y="13657"/>
                    <a:pt x="3134" y="6045"/>
                    <a:pt x="8508" y="672"/>
                  </a:cubicBezTo>
                  <a:cubicBezTo>
                    <a:pt x="9403" y="-224"/>
                    <a:pt x="10747" y="-224"/>
                    <a:pt x="11642" y="672"/>
                  </a:cubicBezTo>
                  <a:cubicBezTo>
                    <a:pt x="12538" y="1567"/>
                    <a:pt x="12538" y="2911"/>
                    <a:pt x="11642" y="3806"/>
                  </a:cubicBezTo>
                  <a:cubicBezTo>
                    <a:pt x="7164" y="8284"/>
                    <a:pt x="4478" y="14553"/>
                    <a:pt x="4478" y="21270"/>
                  </a:cubicBezTo>
                  <a:cubicBezTo>
                    <a:pt x="4478" y="27986"/>
                    <a:pt x="7164" y="33808"/>
                    <a:pt x="11642" y="38733"/>
                  </a:cubicBezTo>
                  <a:cubicBezTo>
                    <a:pt x="12538" y="39629"/>
                    <a:pt x="12538" y="40972"/>
                    <a:pt x="11642" y="41868"/>
                  </a:cubicBezTo>
                  <a:cubicBezTo>
                    <a:pt x="11642" y="42315"/>
                    <a:pt x="10747" y="42315"/>
                    <a:pt x="10299" y="42315"/>
                  </a:cubicBezTo>
                  <a:close/>
                </a:path>
              </a:pathLst>
            </a:custGeom>
            <a:solidFill>
              <a:srgbClr val="231F20"/>
            </a:solidFill>
            <a:ln w="4474" cap="flat">
              <a:noFill/>
              <a:prstDash val="solid"/>
              <a:miter/>
            </a:ln>
          </p:spPr>
          <p:txBody>
            <a:bodyPr rtlCol="0" anchor="ctr"/>
            <a:lstStyle/>
            <a:p>
              <a:endParaRPr lang="en-US"/>
            </a:p>
          </p:txBody>
        </p:sp>
        <p:sp>
          <p:nvSpPr>
            <p:cNvPr id="4149" name="Freeform: Shape 4148">
              <a:extLst>
                <a:ext uri="{FF2B5EF4-FFF2-40B4-BE49-F238E27FC236}">
                  <a16:creationId xmlns:a16="http://schemas.microsoft.com/office/drawing/2014/main" id="{B33873EB-1890-4F55-8D81-093308F1DE8E}"/>
                </a:ext>
              </a:extLst>
            </p:cNvPr>
            <p:cNvSpPr/>
            <p:nvPr/>
          </p:nvSpPr>
          <p:spPr>
            <a:xfrm>
              <a:off x="5169829" y="2036373"/>
              <a:ext cx="8956" cy="40300"/>
            </a:xfrm>
            <a:custGeom>
              <a:avLst/>
              <a:gdLst>
                <a:gd name="connsiteX0" fmla="*/ 2463 w 8955"/>
                <a:gd name="connsiteY0" fmla="*/ 42315 h 40300"/>
                <a:gd name="connsiteX1" fmla="*/ 672 w 8955"/>
                <a:gd name="connsiteY1" fmla="*/ 41868 h 40300"/>
                <a:gd name="connsiteX2" fmla="*/ 672 w 8955"/>
                <a:gd name="connsiteY2" fmla="*/ 38733 h 40300"/>
                <a:gd name="connsiteX3" fmla="*/ 7836 w 8955"/>
                <a:gd name="connsiteY3" fmla="*/ 21270 h 40300"/>
                <a:gd name="connsiteX4" fmla="*/ 672 w 8955"/>
                <a:gd name="connsiteY4" fmla="*/ 3806 h 40300"/>
                <a:gd name="connsiteX5" fmla="*/ 672 w 8955"/>
                <a:gd name="connsiteY5" fmla="*/ 672 h 40300"/>
                <a:gd name="connsiteX6" fmla="*/ 3806 w 8955"/>
                <a:gd name="connsiteY6" fmla="*/ 672 h 40300"/>
                <a:gd name="connsiteX7" fmla="*/ 12314 w 8955"/>
                <a:gd name="connsiteY7" fmla="*/ 21270 h 40300"/>
                <a:gd name="connsiteX8" fmla="*/ 3806 w 8955"/>
                <a:gd name="connsiteY8" fmla="*/ 41868 h 40300"/>
                <a:gd name="connsiteX9" fmla="*/ 2463 w 8955"/>
                <a:gd name="connsiteY9" fmla="*/ 4231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40300">
                  <a:moveTo>
                    <a:pt x="2463" y="42315"/>
                  </a:moveTo>
                  <a:cubicBezTo>
                    <a:pt x="2015" y="42315"/>
                    <a:pt x="1120" y="42315"/>
                    <a:pt x="672" y="41868"/>
                  </a:cubicBezTo>
                  <a:cubicBezTo>
                    <a:pt x="-224" y="40972"/>
                    <a:pt x="-224" y="39629"/>
                    <a:pt x="672" y="38733"/>
                  </a:cubicBezTo>
                  <a:cubicBezTo>
                    <a:pt x="5150" y="34255"/>
                    <a:pt x="7836" y="27986"/>
                    <a:pt x="7836" y="21270"/>
                  </a:cubicBezTo>
                  <a:cubicBezTo>
                    <a:pt x="7836" y="14553"/>
                    <a:pt x="5150" y="8732"/>
                    <a:pt x="672" y="3806"/>
                  </a:cubicBezTo>
                  <a:cubicBezTo>
                    <a:pt x="-224" y="2911"/>
                    <a:pt x="-224" y="1567"/>
                    <a:pt x="672" y="672"/>
                  </a:cubicBezTo>
                  <a:cubicBezTo>
                    <a:pt x="1567" y="-224"/>
                    <a:pt x="2911" y="-224"/>
                    <a:pt x="3806" y="672"/>
                  </a:cubicBezTo>
                  <a:cubicBezTo>
                    <a:pt x="9179" y="6045"/>
                    <a:pt x="12314" y="13657"/>
                    <a:pt x="12314" y="21270"/>
                  </a:cubicBezTo>
                  <a:cubicBezTo>
                    <a:pt x="12314" y="28882"/>
                    <a:pt x="9179" y="36494"/>
                    <a:pt x="3806" y="41868"/>
                  </a:cubicBezTo>
                  <a:cubicBezTo>
                    <a:pt x="3806" y="42315"/>
                    <a:pt x="2911" y="42315"/>
                    <a:pt x="2463" y="42315"/>
                  </a:cubicBezTo>
                  <a:close/>
                </a:path>
              </a:pathLst>
            </a:custGeom>
            <a:solidFill>
              <a:srgbClr val="231F20"/>
            </a:solidFill>
            <a:ln w="4474" cap="flat">
              <a:noFill/>
              <a:prstDash val="solid"/>
              <a:miter/>
            </a:ln>
          </p:spPr>
          <p:txBody>
            <a:bodyPr rtlCol="0" anchor="ctr"/>
            <a:lstStyle/>
            <a:p>
              <a:endParaRPr lang="en-US"/>
            </a:p>
          </p:txBody>
        </p:sp>
        <p:sp>
          <p:nvSpPr>
            <p:cNvPr id="4150" name="Freeform: Shape 4149">
              <a:extLst>
                <a:ext uri="{FF2B5EF4-FFF2-40B4-BE49-F238E27FC236}">
                  <a16:creationId xmlns:a16="http://schemas.microsoft.com/office/drawing/2014/main" id="{070B1510-E8B1-4F96-9DF7-AF851D12D81F}"/>
                </a:ext>
              </a:extLst>
            </p:cNvPr>
            <p:cNvSpPr/>
            <p:nvPr/>
          </p:nvSpPr>
          <p:spPr>
            <a:xfrm>
              <a:off x="5179232" y="2026970"/>
              <a:ext cx="13433" cy="58212"/>
            </a:xfrm>
            <a:custGeom>
              <a:avLst/>
              <a:gdLst>
                <a:gd name="connsiteX0" fmla="*/ 2463 w 13433"/>
                <a:gd name="connsiteY0" fmla="*/ 61122 h 58211"/>
                <a:gd name="connsiteX1" fmla="*/ 672 w 13433"/>
                <a:gd name="connsiteY1" fmla="*/ 60674 h 58211"/>
                <a:gd name="connsiteX2" fmla="*/ 672 w 13433"/>
                <a:gd name="connsiteY2" fmla="*/ 57540 h 58211"/>
                <a:gd name="connsiteX3" fmla="*/ 11866 w 13433"/>
                <a:gd name="connsiteY3" fmla="*/ 30673 h 58211"/>
                <a:gd name="connsiteX4" fmla="*/ 672 w 13433"/>
                <a:gd name="connsiteY4" fmla="*/ 3806 h 58211"/>
                <a:gd name="connsiteX5" fmla="*/ 672 w 13433"/>
                <a:gd name="connsiteY5" fmla="*/ 672 h 58211"/>
                <a:gd name="connsiteX6" fmla="*/ 3806 w 13433"/>
                <a:gd name="connsiteY6" fmla="*/ 672 h 58211"/>
                <a:gd name="connsiteX7" fmla="*/ 16344 w 13433"/>
                <a:gd name="connsiteY7" fmla="*/ 30673 h 58211"/>
                <a:gd name="connsiteX8" fmla="*/ 3806 w 13433"/>
                <a:gd name="connsiteY8" fmla="*/ 60674 h 58211"/>
                <a:gd name="connsiteX9" fmla="*/ 2463 w 13433"/>
                <a:gd name="connsiteY9" fmla="*/ 6112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2463" y="61122"/>
                  </a:moveTo>
                  <a:cubicBezTo>
                    <a:pt x="2015" y="61122"/>
                    <a:pt x="1120" y="61122"/>
                    <a:pt x="672" y="60674"/>
                  </a:cubicBezTo>
                  <a:cubicBezTo>
                    <a:pt x="-224" y="59779"/>
                    <a:pt x="-224" y="58435"/>
                    <a:pt x="672" y="57540"/>
                  </a:cubicBezTo>
                  <a:cubicBezTo>
                    <a:pt x="7836" y="50375"/>
                    <a:pt x="11866" y="40972"/>
                    <a:pt x="11866" y="30673"/>
                  </a:cubicBezTo>
                  <a:cubicBezTo>
                    <a:pt x="11866" y="20374"/>
                    <a:pt x="7836" y="10971"/>
                    <a:pt x="672" y="3806"/>
                  </a:cubicBezTo>
                  <a:cubicBezTo>
                    <a:pt x="-224" y="2911"/>
                    <a:pt x="-224" y="1567"/>
                    <a:pt x="672" y="672"/>
                  </a:cubicBezTo>
                  <a:cubicBezTo>
                    <a:pt x="1567" y="-224"/>
                    <a:pt x="2911" y="-224"/>
                    <a:pt x="3806" y="672"/>
                  </a:cubicBezTo>
                  <a:cubicBezTo>
                    <a:pt x="11866" y="8732"/>
                    <a:pt x="16344" y="19478"/>
                    <a:pt x="16344" y="30673"/>
                  </a:cubicBezTo>
                  <a:cubicBezTo>
                    <a:pt x="16344" y="41868"/>
                    <a:pt x="11866" y="52614"/>
                    <a:pt x="3806" y="60674"/>
                  </a:cubicBezTo>
                  <a:cubicBezTo>
                    <a:pt x="3806" y="61122"/>
                    <a:pt x="2911" y="61122"/>
                    <a:pt x="2463" y="61122"/>
                  </a:cubicBezTo>
                  <a:close/>
                </a:path>
              </a:pathLst>
            </a:custGeom>
            <a:solidFill>
              <a:srgbClr val="231F20"/>
            </a:solidFill>
            <a:ln w="4474" cap="flat">
              <a:noFill/>
              <a:prstDash val="solid"/>
              <a:miter/>
            </a:ln>
          </p:spPr>
          <p:txBody>
            <a:bodyPr rtlCol="0" anchor="ctr"/>
            <a:lstStyle/>
            <a:p>
              <a:endParaRPr lang="en-US"/>
            </a:p>
          </p:txBody>
        </p:sp>
        <p:sp>
          <p:nvSpPr>
            <p:cNvPr id="4151" name="Freeform: Shape 4150">
              <a:extLst>
                <a:ext uri="{FF2B5EF4-FFF2-40B4-BE49-F238E27FC236}">
                  <a16:creationId xmlns:a16="http://schemas.microsoft.com/office/drawing/2014/main" id="{D05C2F92-69E6-4FB8-96C1-0782A2DC9190}"/>
                </a:ext>
              </a:extLst>
            </p:cNvPr>
            <p:cNvSpPr/>
            <p:nvPr/>
          </p:nvSpPr>
          <p:spPr>
            <a:xfrm>
              <a:off x="5110498" y="2026970"/>
              <a:ext cx="13433" cy="58212"/>
            </a:xfrm>
            <a:custGeom>
              <a:avLst/>
              <a:gdLst>
                <a:gd name="connsiteX0" fmla="*/ 14329 w 13433"/>
                <a:gd name="connsiteY0" fmla="*/ 61122 h 58211"/>
                <a:gd name="connsiteX1" fmla="*/ 12538 w 13433"/>
                <a:gd name="connsiteY1" fmla="*/ 60674 h 58211"/>
                <a:gd name="connsiteX2" fmla="*/ 0 w 13433"/>
                <a:gd name="connsiteY2" fmla="*/ 30673 h 58211"/>
                <a:gd name="connsiteX3" fmla="*/ 12538 w 13433"/>
                <a:gd name="connsiteY3" fmla="*/ 672 h 58211"/>
                <a:gd name="connsiteX4" fmla="*/ 15672 w 13433"/>
                <a:gd name="connsiteY4" fmla="*/ 672 h 58211"/>
                <a:gd name="connsiteX5" fmla="*/ 15672 w 13433"/>
                <a:gd name="connsiteY5" fmla="*/ 3806 h 58211"/>
                <a:gd name="connsiteX6" fmla="*/ 4478 w 13433"/>
                <a:gd name="connsiteY6" fmla="*/ 30673 h 58211"/>
                <a:gd name="connsiteX7" fmla="*/ 15672 w 13433"/>
                <a:gd name="connsiteY7" fmla="*/ 57540 h 58211"/>
                <a:gd name="connsiteX8" fmla="*/ 15672 w 13433"/>
                <a:gd name="connsiteY8" fmla="*/ 60674 h 58211"/>
                <a:gd name="connsiteX9" fmla="*/ 14329 w 13433"/>
                <a:gd name="connsiteY9" fmla="*/ 6112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14329" y="61122"/>
                  </a:moveTo>
                  <a:cubicBezTo>
                    <a:pt x="13881" y="61122"/>
                    <a:pt x="12986" y="61122"/>
                    <a:pt x="12538" y="60674"/>
                  </a:cubicBezTo>
                  <a:cubicBezTo>
                    <a:pt x="4478" y="52614"/>
                    <a:pt x="0" y="41868"/>
                    <a:pt x="0" y="30673"/>
                  </a:cubicBezTo>
                  <a:cubicBezTo>
                    <a:pt x="0" y="19478"/>
                    <a:pt x="4478" y="8732"/>
                    <a:pt x="12538" y="672"/>
                  </a:cubicBezTo>
                  <a:cubicBezTo>
                    <a:pt x="13433" y="-224"/>
                    <a:pt x="14777" y="-224"/>
                    <a:pt x="15672" y="672"/>
                  </a:cubicBezTo>
                  <a:cubicBezTo>
                    <a:pt x="16568" y="1567"/>
                    <a:pt x="16568" y="2911"/>
                    <a:pt x="15672" y="3806"/>
                  </a:cubicBezTo>
                  <a:cubicBezTo>
                    <a:pt x="8508" y="10971"/>
                    <a:pt x="4478" y="20374"/>
                    <a:pt x="4478" y="30673"/>
                  </a:cubicBezTo>
                  <a:cubicBezTo>
                    <a:pt x="4478" y="40972"/>
                    <a:pt x="8508" y="50375"/>
                    <a:pt x="15672" y="57540"/>
                  </a:cubicBezTo>
                  <a:cubicBezTo>
                    <a:pt x="16568" y="58435"/>
                    <a:pt x="16568" y="59779"/>
                    <a:pt x="15672" y="60674"/>
                  </a:cubicBezTo>
                  <a:cubicBezTo>
                    <a:pt x="15672" y="61122"/>
                    <a:pt x="14777" y="61122"/>
                    <a:pt x="14329" y="61122"/>
                  </a:cubicBezTo>
                  <a:close/>
                </a:path>
              </a:pathLst>
            </a:custGeom>
            <a:solidFill>
              <a:srgbClr val="231F20"/>
            </a:solidFill>
            <a:ln w="4474" cap="flat">
              <a:noFill/>
              <a:prstDash val="solid"/>
              <a:miter/>
            </a:ln>
          </p:spPr>
          <p:txBody>
            <a:bodyPr rtlCol="0" anchor="ctr"/>
            <a:lstStyle/>
            <a:p>
              <a:endParaRPr lang="en-US"/>
            </a:p>
          </p:txBody>
        </p:sp>
        <p:sp>
          <p:nvSpPr>
            <p:cNvPr id="4152" name="Freeform: Shape 4151">
              <a:extLst>
                <a:ext uri="{FF2B5EF4-FFF2-40B4-BE49-F238E27FC236}">
                  <a16:creationId xmlns:a16="http://schemas.microsoft.com/office/drawing/2014/main" id="{5A898794-F1E7-4E38-92B0-41BDB5CA67AF}"/>
                </a:ext>
              </a:extLst>
            </p:cNvPr>
            <p:cNvSpPr/>
            <p:nvPr/>
          </p:nvSpPr>
          <p:spPr>
            <a:xfrm>
              <a:off x="5097065" y="2018014"/>
              <a:ext cx="17911" cy="76123"/>
            </a:xfrm>
            <a:custGeom>
              <a:avLst/>
              <a:gdLst>
                <a:gd name="connsiteX0" fmla="*/ 18359 w 17911"/>
                <a:gd name="connsiteY0" fmla="*/ 79929 h 76122"/>
                <a:gd name="connsiteX1" fmla="*/ 16568 w 17911"/>
                <a:gd name="connsiteY1" fmla="*/ 79481 h 76122"/>
                <a:gd name="connsiteX2" fmla="*/ 0 w 17911"/>
                <a:gd name="connsiteY2" fmla="*/ 40076 h 76122"/>
                <a:gd name="connsiteX3" fmla="*/ 16120 w 17911"/>
                <a:gd name="connsiteY3" fmla="*/ 672 h 76122"/>
                <a:gd name="connsiteX4" fmla="*/ 19255 w 17911"/>
                <a:gd name="connsiteY4" fmla="*/ 672 h 76122"/>
                <a:gd name="connsiteX5" fmla="*/ 19255 w 17911"/>
                <a:gd name="connsiteY5" fmla="*/ 3806 h 76122"/>
                <a:gd name="connsiteX6" fmla="*/ 4030 w 17911"/>
                <a:gd name="connsiteY6" fmla="*/ 40076 h 76122"/>
                <a:gd name="connsiteX7" fmla="*/ 19255 w 17911"/>
                <a:gd name="connsiteY7" fmla="*/ 76347 h 76122"/>
                <a:gd name="connsiteX8" fmla="*/ 19255 w 17911"/>
                <a:gd name="connsiteY8" fmla="*/ 79481 h 76122"/>
                <a:gd name="connsiteX9" fmla="*/ 18359 w 17911"/>
                <a:gd name="connsiteY9" fmla="*/ 79929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76122">
                  <a:moveTo>
                    <a:pt x="18359" y="79929"/>
                  </a:moveTo>
                  <a:cubicBezTo>
                    <a:pt x="17911" y="79929"/>
                    <a:pt x="17016" y="79929"/>
                    <a:pt x="16568" y="79481"/>
                  </a:cubicBezTo>
                  <a:cubicBezTo>
                    <a:pt x="5821" y="68734"/>
                    <a:pt x="0" y="54853"/>
                    <a:pt x="0" y="40076"/>
                  </a:cubicBezTo>
                  <a:cubicBezTo>
                    <a:pt x="0" y="25300"/>
                    <a:pt x="5821" y="10971"/>
                    <a:pt x="16120" y="672"/>
                  </a:cubicBezTo>
                  <a:cubicBezTo>
                    <a:pt x="17016" y="-224"/>
                    <a:pt x="18359" y="-224"/>
                    <a:pt x="19255" y="672"/>
                  </a:cubicBezTo>
                  <a:cubicBezTo>
                    <a:pt x="20150" y="1567"/>
                    <a:pt x="20150" y="2911"/>
                    <a:pt x="19255" y="3806"/>
                  </a:cubicBezTo>
                  <a:cubicBezTo>
                    <a:pt x="9403" y="13657"/>
                    <a:pt x="4030" y="26643"/>
                    <a:pt x="4030" y="40076"/>
                  </a:cubicBezTo>
                  <a:cubicBezTo>
                    <a:pt x="4030" y="53958"/>
                    <a:pt x="9403" y="66943"/>
                    <a:pt x="19255" y="76347"/>
                  </a:cubicBezTo>
                  <a:cubicBezTo>
                    <a:pt x="20150" y="77242"/>
                    <a:pt x="20150" y="78586"/>
                    <a:pt x="19255" y="79481"/>
                  </a:cubicBezTo>
                  <a:cubicBezTo>
                    <a:pt x="19255" y="79481"/>
                    <a:pt x="18807" y="79929"/>
                    <a:pt x="18359" y="79929"/>
                  </a:cubicBezTo>
                  <a:close/>
                </a:path>
              </a:pathLst>
            </a:custGeom>
            <a:solidFill>
              <a:srgbClr val="231F20"/>
            </a:solidFill>
            <a:ln w="4474" cap="flat">
              <a:noFill/>
              <a:prstDash val="solid"/>
              <a:miter/>
            </a:ln>
          </p:spPr>
          <p:txBody>
            <a:bodyPr rtlCol="0" anchor="ctr"/>
            <a:lstStyle/>
            <a:p>
              <a:endParaRPr lang="en-US"/>
            </a:p>
          </p:txBody>
        </p:sp>
        <p:sp>
          <p:nvSpPr>
            <p:cNvPr id="4153" name="Freeform: Shape 4152">
              <a:extLst>
                <a:ext uri="{FF2B5EF4-FFF2-40B4-BE49-F238E27FC236}">
                  <a16:creationId xmlns:a16="http://schemas.microsoft.com/office/drawing/2014/main" id="{11779386-A687-4EC4-AB9C-CBB9294930D4}"/>
                </a:ext>
              </a:extLst>
            </p:cNvPr>
            <p:cNvSpPr/>
            <p:nvPr/>
          </p:nvSpPr>
          <p:spPr>
            <a:xfrm>
              <a:off x="5188636" y="2018014"/>
              <a:ext cx="17911" cy="76123"/>
            </a:xfrm>
            <a:custGeom>
              <a:avLst/>
              <a:gdLst>
                <a:gd name="connsiteX0" fmla="*/ 2463 w 17911"/>
                <a:gd name="connsiteY0" fmla="*/ 79929 h 76122"/>
                <a:gd name="connsiteX1" fmla="*/ 672 w 17911"/>
                <a:gd name="connsiteY1" fmla="*/ 79481 h 76122"/>
                <a:gd name="connsiteX2" fmla="*/ 672 w 17911"/>
                <a:gd name="connsiteY2" fmla="*/ 76347 h 76122"/>
                <a:gd name="connsiteX3" fmla="*/ 15896 w 17911"/>
                <a:gd name="connsiteY3" fmla="*/ 40076 h 76122"/>
                <a:gd name="connsiteX4" fmla="*/ 672 w 17911"/>
                <a:gd name="connsiteY4" fmla="*/ 3806 h 76122"/>
                <a:gd name="connsiteX5" fmla="*/ 672 w 17911"/>
                <a:gd name="connsiteY5" fmla="*/ 672 h 76122"/>
                <a:gd name="connsiteX6" fmla="*/ 3806 w 17911"/>
                <a:gd name="connsiteY6" fmla="*/ 672 h 76122"/>
                <a:gd name="connsiteX7" fmla="*/ 20374 w 17911"/>
                <a:gd name="connsiteY7" fmla="*/ 40076 h 76122"/>
                <a:gd name="connsiteX8" fmla="*/ 3806 w 17911"/>
                <a:gd name="connsiteY8" fmla="*/ 79481 h 76122"/>
                <a:gd name="connsiteX9" fmla="*/ 2463 w 17911"/>
                <a:gd name="connsiteY9" fmla="*/ 79929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76122">
                  <a:moveTo>
                    <a:pt x="2463" y="79929"/>
                  </a:moveTo>
                  <a:cubicBezTo>
                    <a:pt x="2015" y="79929"/>
                    <a:pt x="1119" y="79929"/>
                    <a:pt x="672" y="79481"/>
                  </a:cubicBezTo>
                  <a:cubicBezTo>
                    <a:pt x="-224" y="78586"/>
                    <a:pt x="-224" y="77242"/>
                    <a:pt x="672" y="76347"/>
                  </a:cubicBezTo>
                  <a:cubicBezTo>
                    <a:pt x="10522" y="66496"/>
                    <a:pt x="15896" y="53510"/>
                    <a:pt x="15896" y="40076"/>
                  </a:cubicBezTo>
                  <a:cubicBezTo>
                    <a:pt x="15896" y="26195"/>
                    <a:pt x="10522" y="13210"/>
                    <a:pt x="672" y="3806"/>
                  </a:cubicBezTo>
                  <a:cubicBezTo>
                    <a:pt x="-224" y="2911"/>
                    <a:pt x="-224" y="1567"/>
                    <a:pt x="672" y="672"/>
                  </a:cubicBezTo>
                  <a:cubicBezTo>
                    <a:pt x="1567" y="-224"/>
                    <a:pt x="2910" y="-224"/>
                    <a:pt x="3806" y="672"/>
                  </a:cubicBezTo>
                  <a:cubicBezTo>
                    <a:pt x="14553" y="11418"/>
                    <a:pt x="20374" y="25300"/>
                    <a:pt x="20374" y="40076"/>
                  </a:cubicBezTo>
                  <a:cubicBezTo>
                    <a:pt x="20374" y="54853"/>
                    <a:pt x="14553" y="69182"/>
                    <a:pt x="3806" y="79481"/>
                  </a:cubicBezTo>
                  <a:cubicBezTo>
                    <a:pt x="3806" y="79481"/>
                    <a:pt x="3358" y="79929"/>
                    <a:pt x="2463" y="79929"/>
                  </a:cubicBezTo>
                  <a:close/>
                </a:path>
              </a:pathLst>
            </a:custGeom>
            <a:solidFill>
              <a:srgbClr val="231F20"/>
            </a:solidFill>
            <a:ln w="4474" cap="flat">
              <a:noFill/>
              <a:prstDash val="solid"/>
              <a:miter/>
            </a:ln>
          </p:spPr>
          <p:txBody>
            <a:bodyPr rtlCol="0" anchor="ctr"/>
            <a:lstStyle/>
            <a:p>
              <a:endParaRPr lang="en-US"/>
            </a:p>
          </p:txBody>
        </p:sp>
        <p:sp>
          <p:nvSpPr>
            <p:cNvPr id="4154" name="Freeform: Shape 4153">
              <a:extLst>
                <a:ext uri="{FF2B5EF4-FFF2-40B4-BE49-F238E27FC236}">
                  <a16:creationId xmlns:a16="http://schemas.microsoft.com/office/drawing/2014/main" id="{72D3974B-8923-42A3-BA26-A2710E19738C}"/>
                </a:ext>
              </a:extLst>
            </p:cNvPr>
            <p:cNvSpPr/>
            <p:nvPr/>
          </p:nvSpPr>
          <p:spPr>
            <a:xfrm>
              <a:off x="5124827" y="2042083"/>
              <a:ext cx="58212" cy="80601"/>
            </a:xfrm>
            <a:custGeom>
              <a:avLst/>
              <a:gdLst>
                <a:gd name="connsiteX0" fmla="*/ 55525 w 58211"/>
                <a:gd name="connsiteY0" fmla="*/ 80489 h 80600"/>
                <a:gd name="connsiteX1" fmla="*/ 30897 w 58211"/>
                <a:gd name="connsiteY1" fmla="*/ 80489 h 80600"/>
                <a:gd name="connsiteX2" fmla="*/ 30897 w 58211"/>
                <a:gd name="connsiteY2" fmla="*/ 31233 h 80600"/>
                <a:gd name="connsiteX3" fmla="*/ 39853 w 58211"/>
                <a:gd name="connsiteY3" fmla="*/ 26755 h 80600"/>
                <a:gd name="connsiteX4" fmla="*/ 44331 w 58211"/>
                <a:gd name="connsiteY4" fmla="*/ 15560 h 80600"/>
                <a:gd name="connsiteX5" fmla="*/ 39853 w 58211"/>
                <a:gd name="connsiteY5" fmla="*/ 4366 h 80600"/>
                <a:gd name="connsiteX6" fmla="*/ 17911 w 58211"/>
                <a:gd name="connsiteY6" fmla="*/ 4366 h 80600"/>
                <a:gd name="connsiteX7" fmla="*/ 13433 w 58211"/>
                <a:gd name="connsiteY7" fmla="*/ 15560 h 80600"/>
                <a:gd name="connsiteX8" fmla="*/ 17911 w 58211"/>
                <a:gd name="connsiteY8" fmla="*/ 26755 h 80600"/>
                <a:gd name="connsiteX9" fmla="*/ 26867 w 58211"/>
                <a:gd name="connsiteY9" fmla="*/ 31233 h 80600"/>
                <a:gd name="connsiteX10" fmla="*/ 26867 w 58211"/>
                <a:gd name="connsiteY10" fmla="*/ 80489 h 80600"/>
                <a:gd name="connsiteX11" fmla="*/ 2239 w 58211"/>
                <a:gd name="connsiteY11" fmla="*/ 80489 h 80600"/>
                <a:gd name="connsiteX12" fmla="*/ 0 w 58211"/>
                <a:gd name="connsiteY12" fmla="*/ 82728 h 80600"/>
                <a:gd name="connsiteX13" fmla="*/ 2239 w 58211"/>
                <a:gd name="connsiteY13" fmla="*/ 84967 h 80600"/>
                <a:gd name="connsiteX14" fmla="*/ 55973 w 58211"/>
                <a:gd name="connsiteY14" fmla="*/ 84967 h 80600"/>
                <a:gd name="connsiteX15" fmla="*/ 58212 w 58211"/>
                <a:gd name="connsiteY15" fmla="*/ 82728 h 80600"/>
                <a:gd name="connsiteX16" fmla="*/ 55525 w 58211"/>
                <a:gd name="connsiteY16" fmla="*/ 80489 h 80600"/>
                <a:gd name="connsiteX17" fmla="*/ 17464 w 58211"/>
                <a:gd name="connsiteY17" fmla="*/ 15560 h 80600"/>
                <a:gd name="connsiteX18" fmla="*/ 20598 w 58211"/>
                <a:gd name="connsiteY18" fmla="*/ 7500 h 80600"/>
                <a:gd name="connsiteX19" fmla="*/ 28658 w 58211"/>
                <a:gd name="connsiteY19" fmla="*/ 4366 h 80600"/>
                <a:gd name="connsiteX20" fmla="*/ 36718 w 58211"/>
                <a:gd name="connsiteY20" fmla="*/ 7500 h 80600"/>
                <a:gd name="connsiteX21" fmla="*/ 39853 w 58211"/>
                <a:gd name="connsiteY21" fmla="*/ 15560 h 80600"/>
                <a:gd name="connsiteX22" fmla="*/ 36718 w 58211"/>
                <a:gd name="connsiteY22" fmla="*/ 23621 h 80600"/>
                <a:gd name="connsiteX23" fmla="*/ 21046 w 58211"/>
                <a:gd name="connsiteY23" fmla="*/ 23621 h 80600"/>
                <a:gd name="connsiteX24" fmla="*/ 17464 w 58211"/>
                <a:gd name="connsiteY24" fmla="*/ 1556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8211" h="80600">
                  <a:moveTo>
                    <a:pt x="55525" y="80489"/>
                  </a:moveTo>
                  <a:lnTo>
                    <a:pt x="30897" y="80489"/>
                  </a:lnTo>
                  <a:lnTo>
                    <a:pt x="30897" y="31233"/>
                  </a:lnTo>
                  <a:cubicBezTo>
                    <a:pt x="34479" y="30785"/>
                    <a:pt x="37166" y="29442"/>
                    <a:pt x="39853" y="26755"/>
                  </a:cubicBezTo>
                  <a:cubicBezTo>
                    <a:pt x="42987" y="23621"/>
                    <a:pt x="44331" y="20038"/>
                    <a:pt x="44331" y="15560"/>
                  </a:cubicBezTo>
                  <a:cubicBezTo>
                    <a:pt x="44331" y="11083"/>
                    <a:pt x="42539" y="7500"/>
                    <a:pt x="39853" y="4366"/>
                  </a:cubicBezTo>
                  <a:cubicBezTo>
                    <a:pt x="34032" y="-1455"/>
                    <a:pt x="23285" y="-1455"/>
                    <a:pt x="17911" y="4366"/>
                  </a:cubicBezTo>
                  <a:cubicBezTo>
                    <a:pt x="14777" y="7500"/>
                    <a:pt x="13433" y="11083"/>
                    <a:pt x="13433" y="15560"/>
                  </a:cubicBezTo>
                  <a:cubicBezTo>
                    <a:pt x="13433" y="20038"/>
                    <a:pt x="15225" y="23621"/>
                    <a:pt x="17911" y="26755"/>
                  </a:cubicBezTo>
                  <a:cubicBezTo>
                    <a:pt x="20150" y="28994"/>
                    <a:pt x="23285" y="30785"/>
                    <a:pt x="26867" y="31233"/>
                  </a:cubicBezTo>
                  <a:lnTo>
                    <a:pt x="26867" y="80489"/>
                  </a:lnTo>
                  <a:lnTo>
                    <a:pt x="2239" y="80489"/>
                  </a:lnTo>
                  <a:cubicBezTo>
                    <a:pt x="896" y="80489"/>
                    <a:pt x="0" y="81384"/>
                    <a:pt x="0" y="82728"/>
                  </a:cubicBezTo>
                  <a:cubicBezTo>
                    <a:pt x="0" y="84071"/>
                    <a:pt x="896" y="84967"/>
                    <a:pt x="2239" y="84967"/>
                  </a:cubicBezTo>
                  <a:lnTo>
                    <a:pt x="55973" y="84967"/>
                  </a:lnTo>
                  <a:cubicBezTo>
                    <a:pt x="57316" y="84967"/>
                    <a:pt x="58212" y="84071"/>
                    <a:pt x="58212" y="82728"/>
                  </a:cubicBezTo>
                  <a:cubicBezTo>
                    <a:pt x="57764" y="81384"/>
                    <a:pt x="56420" y="80489"/>
                    <a:pt x="55525" y="80489"/>
                  </a:cubicBezTo>
                  <a:close/>
                  <a:moveTo>
                    <a:pt x="17464" y="15560"/>
                  </a:moveTo>
                  <a:cubicBezTo>
                    <a:pt x="17464" y="12426"/>
                    <a:pt x="18807" y="9739"/>
                    <a:pt x="20598" y="7500"/>
                  </a:cubicBezTo>
                  <a:cubicBezTo>
                    <a:pt x="22837" y="5261"/>
                    <a:pt x="25524" y="4366"/>
                    <a:pt x="28658" y="4366"/>
                  </a:cubicBezTo>
                  <a:cubicBezTo>
                    <a:pt x="31793" y="4366"/>
                    <a:pt x="34479" y="5709"/>
                    <a:pt x="36718" y="7500"/>
                  </a:cubicBezTo>
                  <a:cubicBezTo>
                    <a:pt x="38957" y="9739"/>
                    <a:pt x="39853" y="12426"/>
                    <a:pt x="39853" y="15560"/>
                  </a:cubicBezTo>
                  <a:cubicBezTo>
                    <a:pt x="39853" y="18695"/>
                    <a:pt x="38509" y="21382"/>
                    <a:pt x="36718" y="23621"/>
                  </a:cubicBezTo>
                  <a:cubicBezTo>
                    <a:pt x="32688" y="27651"/>
                    <a:pt x="25076" y="27651"/>
                    <a:pt x="21046" y="23621"/>
                  </a:cubicBezTo>
                  <a:cubicBezTo>
                    <a:pt x="18359" y="21382"/>
                    <a:pt x="17464" y="18247"/>
                    <a:pt x="17464" y="15560"/>
                  </a:cubicBezTo>
                  <a:close/>
                </a:path>
              </a:pathLst>
            </a:custGeom>
            <a:solidFill>
              <a:srgbClr val="231F20"/>
            </a:solidFill>
            <a:ln w="4474" cap="flat">
              <a:noFill/>
              <a:prstDash val="solid"/>
              <a:miter/>
            </a:ln>
          </p:spPr>
          <p:txBody>
            <a:bodyPr rtlCol="0" anchor="ctr"/>
            <a:lstStyle/>
            <a:p>
              <a:endParaRPr lang="en-US"/>
            </a:p>
          </p:txBody>
        </p:sp>
      </p:grpSp>
      <p:grpSp>
        <p:nvGrpSpPr>
          <p:cNvPr id="4155" name="Group 4154">
            <a:extLst>
              <a:ext uri="{FF2B5EF4-FFF2-40B4-BE49-F238E27FC236}">
                <a16:creationId xmlns:a16="http://schemas.microsoft.com/office/drawing/2014/main" id="{62C2901E-43CA-425A-B3D5-6F04925FD908}"/>
              </a:ext>
              <a:ext uri="{C183D7F6-B498-43B3-948B-1728B52AA6E4}">
                <adec:decorative xmlns:adec="http://schemas.microsoft.com/office/drawing/2017/decorative" val="1"/>
              </a:ext>
            </a:extLst>
          </p:cNvPr>
          <p:cNvGrpSpPr>
            <a:grpSpLocks noChangeAspect="1"/>
          </p:cNvGrpSpPr>
          <p:nvPr/>
        </p:nvGrpSpPr>
        <p:grpSpPr>
          <a:xfrm>
            <a:off x="5295706" y="2737109"/>
            <a:ext cx="152246" cy="99856"/>
            <a:chOff x="5336460" y="2001670"/>
            <a:chExt cx="152246" cy="99856"/>
          </a:xfrm>
        </p:grpSpPr>
        <p:sp>
          <p:nvSpPr>
            <p:cNvPr id="4156" name="Freeform: Shape 4155">
              <a:extLst>
                <a:ext uri="{FF2B5EF4-FFF2-40B4-BE49-F238E27FC236}">
                  <a16:creationId xmlns:a16="http://schemas.microsoft.com/office/drawing/2014/main" id="{8782B47E-35A1-4F7C-8C9F-A94FD301A2AE}"/>
                </a:ext>
              </a:extLst>
            </p:cNvPr>
            <p:cNvSpPr/>
            <p:nvPr/>
          </p:nvSpPr>
          <p:spPr>
            <a:xfrm>
              <a:off x="5394392" y="2065703"/>
              <a:ext cx="35823" cy="35823"/>
            </a:xfrm>
            <a:custGeom>
              <a:avLst/>
              <a:gdLst>
                <a:gd name="connsiteX0" fmla="*/ 18359 w 35822"/>
                <a:gd name="connsiteY0" fmla="*/ 36718 h 35822"/>
                <a:gd name="connsiteX1" fmla="*/ 0 w 35822"/>
                <a:gd name="connsiteY1" fmla="*/ 18359 h 35822"/>
                <a:gd name="connsiteX2" fmla="*/ 18359 w 35822"/>
                <a:gd name="connsiteY2" fmla="*/ 0 h 35822"/>
                <a:gd name="connsiteX3" fmla="*/ 36718 w 35822"/>
                <a:gd name="connsiteY3" fmla="*/ 18359 h 35822"/>
                <a:gd name="connsiteX4" fmla="*/ 18359 w 35822"/>
                <a:gd name="connsiteY4" fmla="*/ 36718 h 35822"/>
                <a:gd name="connsiteX5" fmla="*/ 18359 w 35822"/>
                <a:gd name="connsiteY5" fmla="*/ 4478 h 35822"/>
                <a:gd name="connsiteX6" fmla="*/ 4478 w 35822"/>
                <a:gd name="connsiteY6" fmla="*/ 18359 h 35822"/>
                <a:gd name="connsiteX7" fmla="*/ 18359 w 35822"/>
                <a:gd name="connsiteY7" fmla="*/ 32240 h 35822"/>
                <a:gd name="connsiteX8" fmla="*/ 32240 w 35822"/>
                <a:gd name="connsiteY8" fmla="*/ 18359 h 35822"/>
                <a:gd name="connsiteX9" fmla="*/ 18359 w 35822"/>
                <a:gd name="connsiteY9" fmla="*/ 4478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2" h="35822">
                  <a:moveTo>
                    <a:pt x="18359" y="36718"/>
                  </a:moveTo>
                  <a:cubicBezTo>
                    <a:pt x="8060" y="36718"/>
                    <a:pt x="0" y="28658"/>
                    <a:pt x="0" y="18359"/>
                  </a:cubicBezTo>
                  <a:cubicBezTo>
                    <a:pt x="0" y="8060"/>
                    <a:pt x="8060" y="0"/>
                    <a:pt x="18359" y="0"/>
                  </a:cubicBezTo>
                  <a:cubicBezTo>
                    <a:pt x="28658" y="0"/>
                    <a:pt x="36718" y="8060"/>
                    <a:pt x="36718" y="18359"/>
                  </a:cubicBezTo>
                  <a:cubicBezTo>
                    <a:pt x="36718" y="28210"/>
                    <a:pt x="28658" y="36718"/>
                    <a:pt x="18359" y="36718"/>
                  </a:cubicBezTo>
                  <a:close/>
                  <a:moveTo>
                    <a:pt x="18359" y="4478"/>
                  </a:moveTo>
                  <a:cubicBezTo>
                    <a:pt x="10746" y="4478"/>
                    <a:pt x="4478" y="10747"/>
                    <a:pt x="4478" y="18359"/>
                  </a:cubicBezTo>
                  <a:cubicBezTo>
                    <a:pt x="4478" y="25971"/>
                    <a:pt x="10746" y="32240"/>
                    <a:pt x="18359" y="32240"/>
                  </a:cubicBezTo>
                  <a:cubicBezTo>
                    <a:pt x="25971" y="32240"/>
                    <a:pt x="32240" y="25971"/>
                    <a:pt x="32240" y="18359"/>
                  </a:cubicBezTo>
                  <a:cubicBezTo>
                    <a:pt x="32240" y="10747"/>
                    <a:pt x="25971" y="4478"/>
                    <a:pt x="18359" y="4478"/>
                  </a:cubicBezTo>
                  <a:close/>
                </a:path>
              </a:pathLst>
            </a:custGeom>
            <a:solidFill>
              <a:srgbClr val="231F20"/>
            </a:solidFill>
            <a:ln w="4474" cap="flat">
              <a:noFill/>
              <a:prstDash val="solid"/>
              <a:miter/>
            </a:ln>
          </p:spPr>
          <p:txBody>
            <a:bodyPr rtlCol="0" anchor="ctr"/>
            <a:lstStyle/>
            <a:p>
              <a:endParaRPr lang="en-US"/>
            </a:p>
          </p:txBody>
        </p:sp>
        <p:sp>
          <p:nvSpPr>
            <p:cNvPr id="4157" name="Freeform: Shape 4156">
              <a:extLst>
                <a:ext uri="{FF2B5EF4-FFF2-40B4-BE49-F238E27FC236}">
                  <a16:creationId xmlns:a16="http://schemas.microsoft.com/office/drawing/2014/main" id="{3EDA00E1-5F4A-43C3-8A88-FEC4BBE69317}"/>
                </a:ext>
              </a:extLst>
            </p:cNvPr>
            <p:cNvSpPr/>
            <p:nvPr/>
          </p:nvSpPr>
          <p:spPr>
            <a:xfrm>
              <a:off x="5365118" y="2033911"/>
              <a:ext cx="94034" cy="35823"/>
            </a:xfrm>
            <a:custGeom>
              <a:avLst/>
              <a:gdLst>
                <a:gd name="connsiteX0" fmla="*/ 93754 w 94034"/>
                <a:gd name="connsiteY0" fmla="*/ 37614 h 35822"/>
                <a:gd name="connsiteX1" fmla="*/ 91515 w 94034"/>
                <a:gd name="connsiteY1" fmla="*/ 36270 h 35822"/>
                <a:gd name="connsiteX2" fmla="*/ 47633 w 94034"/>
                <a:gd name="connsiteY2" fmla="*/ 4478 h 35822"/>
                <a:gd name="connsiteX3" fmla="*/ 4198 w 94034"/>
                <a:gd name="connsiteY3" fmla="*/ 36270 h 35822"/>
                <a:gd name="connsiteX4" fmla="*/ 1511 w 94034"/>
                <a:gd name="connsiteY4" fmla="*/ 37614 h 35822"/>
                <a:gd name="connsiteX5" fmla="*/ 168 w 94034"/>
                <a:gd name="connsiteY5" fmla="*/ 34927 h 35822"/>
                <a:gd name="connsiteX6" fmla="*/ 48081 w 94034"/>
                <a:gd name="connsiteY6" fmla="*/ 0 h 35822"/>
                <a:gd name="connsiteX7" fmla="*/ 95993 w 94034"/>
                <a:gd name="connsiteY7" fmla="*/ 34927 h 35822"/>
                <a:gd name="connsiteX8" fmla="*/ 94650 w 94034"/>
                <a:gd name="connsiteY8" fmla="*/ 37614 h 35822"/>
                <a:gd name="connsiteX9" fmla="*/ 93754 w 94034"/>
                <a:gd name="connsiteY9" fmla="*/ 37614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034" h="35822">
                  <a:moveTo>
                    <a:pt x="93754" y="37614"/>
                  </a:moveTo>
                  <a:cubicBezTo>
                    <a:pt x="92859" y="37614"/>
                    <a:pt x="91963" y="37166"/>
                    <a:pt x="91515" y="36270"/>
                  </a:cubicBezTo>
                  <a:cubicBezTo>
                    <a:pt x="85247" y="17464"/>
                    <a:pt x="67783" y="4478"/>
                    <a:pt x="47633" y="4478"/>
                  </a:cubicBezTo>
                  <a:cubicBezTo>
                    <a:pt x="27930" y="4478"/>
                    <a:pt x="10019" y="17016"/>
                    <a:pt x="4198" y="36270"/>
                  </a:cubicBezTo>
                  <a:cubicBezTo>
                    <a:pt x="3750" y="37614"/>
                    <a:pt x="2407" y="38061"/>
                    <a:pt x="1511" y="37614"/>
                  </a:cubicBezTo>
                  <a:cubicBezTo>
                    <a:pt x="168" y="37166"/>
                    <a:pt x="-280" y="35823"/>
                    <a:pt x="168" y="34927"/>
                  </a:cubicBezTo>
                  <a:cubicBezTo>
                    <a:pt x="6885" y="14329"/>
                    <a:pt x="26139" y="0"/>
                    <a:pt x="48081" y="0"/>
                  </a:cubicBezTo>
                  <a:cubicBezTo>
                    <a:pt x="70022" y="0"/>
                    <a:pt x="89276" y="13881"/>
                    <a:pt x="95993" y="34927"/>
                  </a:cubicBezTo>
                  <a:cubicBezTo>
                    <a:pt x="96441" y="36270"/>
                    <a:pt x="95545" y="37166"/>
                    <a:pt x="94650" y="37614"/>
                  </a:cubicBezTo>
                  <a:cubicBezTo>
                    <a:pt x="94202" y="37614"/>
                    <a:pt x="93754" y="37614"/>
                    <a:pt x="93754" y="37614"/>
                  </a:cubicBezTo>
                  <a:close/>
                </a:path>
              </a:pathLst>
            </a:custGeom>
            <a:solidFill>
              <a:srgbClr val="231F20"/>
            </a:solidFill>
            <a:ln w="4474" cap="flat">
              <a:noFill/>
              <a:prstDash val="solid"/>
              <a:miter/>
            </a:ln>
          </p:spPr>
          <p:txBody>
            <a:bodyPr rtlCol="0" anchor="ctr"/>
            <a:lstStyle/>
            <a:p>
              <a:endParaRPr lang="en-US"/>
            </a:p>
          </p:txBody>
        </p:sp>
        <p:sp>
          <p:nvSpPr>
            <p:cNvPr id="4158" name="Freeform: Shape 4157">
              <a:extLst>
                <a:ext uri="{FF2B5EF4-FFF2-40B4-BE49-F238E27FC236}">
                  <a16:creationId xmlns:a16="http://schemas.microsoft.com/office/drawing/2014/main" id="{038F7881-332A-4F81-AF5E-D359432465B4}"/>
                </a:ext>
              </a:extLst>
            </p:cNvPr>
            <p:cNvSpPr/>
            <p:nvPr/>
          </p:nvSpPr>
          <p:spPr>
            <a:xfrm>
              <a:off x="5336460" y="2001670"/>
              <a:ext cx="152246" cy="49256"/>
            </a:xfrm>
            <a:custGeom>
              <a:avLst/>
              <a:gdLst>
                <a:gd name="connsiteX0" fmla="*/ 150175 w 152245"/>
                <a:gd name="connsiteY0" fmla="*/ 53286 h 49255"/>
                <a:gd name="connsiteX1" fmla="*/ 147936 w 152245"/>
                <a:gd name="connsiteY1" fmla="*/ 51943 h 49255"/>
                <a:gd name="connsiteX2" fmla="*/ 76291 w 152245"/>
                <a:gd name="connsiteY2" fmla="*/ 4478 h 49255"/>
                <a:gd name="connsiteX3" fmla="*/ 4646 w 152245"/>
                <a:gd name="connsiteY3" fmla="*/ 51943 h 49255"/>
                <a:gd name="connsiteX4" fmla="*/ 1511 w 152245"/>
                <a:gd name="connsiteY4" fmla="*/ 53286 h 49255"/>
                <a:gd name="connsiteX5" fmla="*/ 168 w 152245"/>
                <a:gd name="connsiteY5" fmla="*/ 50152 h 49255"/>
                <a:gd name="connsiteX6" fmla="*/ 76291 w 152245"/>
                <a:gd name="connsiteY6" fmla="*/ 0 h 49255"/>
                <a:gd name="connsiteX7" fmla="*/ 152414 w 152245"/>
                <a:gd name="connsiteY7" fmla="*/ 50152 h 49255"/>
                <a:gd name="connsiteX8" fmla="*/ 151070 w 152245"/>
                <a:gd name="connsiteY8" fmla="*/ 53286 h 49255"/>
                <a:gd name="connsiteX9" fmla="*/ 150175 w 152245"/>
                <a:gd name="connsiteY9" fmla="*/ 53286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49255">
                  <a:moveTo>
                    <a:pt x="150175" y="53286"/>
                  </a:moveTo>
                  <a:cubicBezTo>
                    <a:pt x="149279" y="53286"/>
                    <a:pt x="148384" y="52838"/>
                    <a:pt x="147936" y="51943"/>
                  </a:cubicBezTo>
                  <a:cubicBezTo>
                    <a:pt x="135845" y="22837"/>
                    <a:pt x="107636" y="4478"/>
                    <a:pt x="76291" y="4478"/>
                  </a:cubicBezTo>
                  <a:cubicBezTo>
                    <a:pt x="44946" y="4478"/>
                    <a:pt x="16736" y="23285"/>
                    <a:pt x="4646" y="51943"/>
                  </a:cubicBezTo>
                  <a:cubicBezTo>
                    <a:pt x="4198" y="53286"/>
                    <a:pt x="2854" y="53734"/>
                    <a:pt x="1511" y="53286"/>
                  </a:cubicBezTo>
                  <a:cubicBezTo>
                    <a:pt x="168" y="52838"/>
                    <a:pt x="-280" y="51495"/>
                    <a:pt x="168" y="50152"/>
                  </a:cubicBezTo>
                  <a:cubicBezTo>
                    <a:pt x="13154" y="19702"/>
                    <a:pt x="43155" y="0"/>
                    <a:pt x="76291" y="0"/>
                  </a:cubicBezTo>
                  <a:cubicBezTo>
                    <a:pt x="109427" y="0"/>
                    <a:pt x="139428" y="19702"/>
                    <a:pt x="152414" y="50152"/>
                  </a:cubicBezTo>
                  <a:cubicBezTo>
                    <a:pt x="152861" y="51495"/>
                    <a:pt x="152414" y="52390"/>
                    <a:pt x="151070" y="53286"/>
                  </a:cubicBezTo>
                  <a:cubicBezTo>
                    <a:pt x="151070" y="53286"/>
                    <a:pt x="150622" y="53286"/>
                    <a:pt x="150175" y="53286"/>
                  </a:cubicBezTo>
                  <a:close/>
                </a:path>
              </a:pathLst>
            </a:custGeom>
            <a:solidFill>
              <a:srgbClr val="231F20"/>
            </a:solidFill>
            <a:ln w="4474" cap="flat">
              <a:noFill/>
              <a:prstDash val="solid"/>
              <a:miter/>
            </a:ln>
          </p:spPr>
          <p:txBody>
            <a:bodyPr rtlCol="0" anchor="ctr"/>
            <a:lstStyle/>
            <a:p>
              <a:endParaRPr lang="en-US"/>
            </a:p>
          </p:txBody>
        </p:sp>
      </p:grpSp>
      <p:grpSp>
        <p:nvGrpSpPr>
          <p:cNvPr id="4159" name="Group 4158">
            <a:extLst>
              <a:ext uri="{FF2B5EF4-FFF2-40B4-BE49-F238E27FC236}">
                <a16:creationId xmlns:a16="http://schemas.microsoft.com/office/drawing/2014/main" id="{9D80D204-4A2E-443A-9361-0C6416DC11F8}"/>
              </a:ext>
              <a:ext uri="{C183D7F6-B498-43B3-948B-1728B52AA6E4}">
                <adec:decorative xmlns:adec="http://schemas.microsoft.com/office/drawing/2017/decorative" val="1"/>
              </a:ext>
            </a:extLst>
          </p:cNvPr>
          <p:cNvGrpSpPr>
            <a:grpSpLocks noChangeAspect="1"/>
          </p:cNvGrpSpPr>
          <p:nvPr/>
        </p:nvGrpSpPr>
        <p:grpSpPr>
          <a:xfrm>
            <a:off x="805070" y="3030070"/>
            <a:ext cx="152694" cy="152247"/>
            <a:chOff x="845824" y="2294631"/>
            <a:chExt cx="152694" cy="152247"/>
          </a:xfrm>
        </p:grpSpPr>
        <p:sp>
          <p:nvSpPr>
            <p:cNvPr id="4160" name="Freeform: Shape 4159">
              <a:extLst>
                <a:ext uri="{FF2B5EF4-FFF2-40B4-BE49-F238E27FC236}">
                  <a16:creationId xmlns:a16="http://schemas.microsoft.com/office/drawing/2014/main" id="{D6137D7B-A775-43CA-B6D3-E3E84CE03577}"/>
                </a:ext>
              </a:extLst>
            </p:cNvPr>
            <p:cNvSpPr/>
            <p:nvPr/>
          </p:nvSpPr>
          <p:spPr>
            <a:xfrm>
              <a:off x="940306" y="2388666"/>
              <a:ext cx="58212" cy="58212"/>
            </a:xfrm>
            <a:custGeom>
              <a:avLst/>
              <a:gdLst>
                <a:gd name="connsiteX0" fmla="*/ 57764 w 58211"/>
                <a:gd name="connsiteY0" fmla="*/ 14665 h 58211"/>
                <a:gd name="connsiteX1" fmla="*/ 57764 w 58211"/>
                <a:gd name="connsiteY1" fmla="*/ 14665 h 58211"/>
                <a:gd name="connsiteX2" fmla="*/ 56868 w 58211"/>
                <a:gd name="connsiteY2" fmla="*/ 13769 h 58211"/>
                <a:gd name="connsiteX3" fmla="*/ 56868 w 58211"/>
                <a:gd name="connsiteY3" fmla="*/ 13769 h 58211"/>
                <a:gd name="connsiteX4" fmla="*/ 56868 w 58211"/>
                <a:gd name="connsiteY4" fmla="*/ 13769 h 58211"/>
                <a:gd name="connsiteX5" fmla="*/ 30001 w 58211"/>
                <a:gd name="connsiteY5" fmla="*/ 336 h 58211"/>
                <a:gd name="connsiteX6" fmla="*/ 28210 w 58211"/>
                <a:gd name="connsiteY6" fmla="*/ 336 h 58211"/>
                <a:gd name="connsiteX7" fmla="*/ 17463 w 58211"/>
                <a:gd name="connsiteY7" fmla="*/ 5709 h 58211"/>
                <a:gd name="connsiteX8" fmla="*/ 16568 w 58211"/>
                <a:gd name="connsiteY8" fmla="*/ 3918 h 58211"/>
                <a:gd name="connsiteX9" fmla="*/ 13433 w 58211"/>
                <a:gd name="connsiteY9" fmla="*/ 3023 h 58211"/>
                <a:gd name="connsiteX10" fmla="*/ 12538 w 58211"/>
                <a:gd name="connsiteY10" fmla="*/ 6157 h 58211"/>
                <a:gd name="connsiteX11" fmla="*/ 13433 w 58211"/>
                <a:gd name="connsiteY11" fmla="*/ 8396 h 58211"/>
                <a:gd name="connsiteX12" fmla="*/ 1343 w 58211"/>
                <a:gd name="connsiteY12" fmla="*/ 14217 h 58211"/>
                <a:gd name="connsiteX13" fmla="*/ 1343 w 58211"/>
                <a:gd name="connsiteY13" fmla="*/ 14217 h 58211"/>
                <a:gd name="connsiteX14" fmla="*/ 1343 w 58211"/>
                <a:gd name="connsiteY14" fmla="*/ 14217 h 58211"/>
                <a:gd name="connsiteX15" fmla="*/ 896 w 58211"/>
                <a:gd name="connsiteY15" fmla="*/ 14665 h 58211"/>
                <a:gd name="connsiteX16" fmla="*/ 448 w 58211"/>
                <a:gd name="connsiteY16" fmla="*/ 15113 h 58211"/>
                <a:gd name="connsiteX17" fmla="*/ 0 w 58211"/>
                <a:gd name="connsiteY17" fmla="*/ 16456 h 58211"/>
                <a:gd name="connsiteX18" fmla="*/ 0 w 58211"/>
                <a:gd name="connsiteY18" fmla="*/ 43323 h 58211"/>
                <a:gd name="connsiteX19" fmla="*/ 1343 w 58211"/>
                <a:gd name="connsiteY19" fmla="*/ 45114 h 58211"/>
                <a:gd name="connsiteX20" fmla="*/ 28210 w 58211"/>
                <a:gd name="connsiteY20" fmla="*/ 58547 h 58211"/>
                <a:gd name="connsiteX21" fmla="*/ 29106 w 58211"/>
                <a:gd name="connsiteY21" fmla="*/ 58995 h 58211"/>
                <a:gd name="connsiteX22" fmla="*/ 30001 w 58211"/>
                <a:gd name="connsiteY22" fmla="*/ 58547 h 58211"/>
                <a:gd name="connsiteX23" fmla="*/ 56868 w 58211"/>
                <a:gd name="connsiteY23" fmla="*/ 45114 h 58211"/>
                <a:gd name="connsiteX24" fmla="*/ 58212 w 58211"/>
                <a:gd name="connsiteY24" fmla="*/ 43323 h 58211"/>
                <a:gd name="connsiteX25" fmla="*/ 58212 w 58211"/>
                <a:gd name="connsiteY25" fmla="*/ 16456 h 58211"/>
                <a:gd name="connsiteX26" fmla="*/ 57764 w 58211"/>
                <a:gd name="connsiteY26" fmla="*/ 14665 h 58211"/>
                <a:gd name="connsiteX27" fmla="*/ 28658 w 58211"/>
                <a:gd name="connsiteY27" fmla="*/ 4814 h 58211"/>
                <a:gd name="connsiteX28" fmla="*/ 50599 w 58211"/>
                <a:gd name="connsiteY28" fmla="*/ 15560 h 58211"/>
                <a:gd name="connsiteX29" fmla="*/ 28658 w 58211"/>
                <a:gd name="connsiteY29" fmla="*/ 26307 h 58211"/>
                <a:gd name="connsiteX30" fmla="*/ 6717 w 58211"/>
                <a:gd name="connsiteY30" fmla="*/ 15560 h 58211"/>
                <a:gd name="connsiteX31" fmla="*/ 28658 w 58211"/>
                <a:gd name="connsiteY31" fmla="*/ 4814 h 58211"/>
                <a:gd name="connsiteX32" fmla="*/ 4030 w 58211"/>
                <a:gd name="connsiteY32" fmla="*/ 19590 h 58211"/>
                <a:gd name="connsiteX33" fmla="*/ 26419 w 58211"/>
                <a:gd name="connsiteY33" fmla="*/ 30785 h 58211"/>
                <a:gd name="connsiteX34" fmla="*/ 26419 w 58211"/>
                <a:gd name="connsiteY34" fmla="*/ 52726 h 58211"/>
                <a:gd name="connsiteX35" fmla="*/ 4030 w 58211"/>
                <a:gd name="connsiteY35" fmla="*/ 41532 h 58211"/>
                <a:gd name="connsiteX36" fmla="*/ 4030 w 58211"/>
                <a:gd name="connsiteY36" fmla="*/ 19590 h 58211"/>
                <a:gd name="connsiteX37" fmla="*/ 30897 w 58211"/>
                <a:gd name="connsiteY37" fmla="*/ 52726 h 58211"/>
                <a:gd name="connsiteX38" fmla="*/ 30897 w 58211"/>
                <a:gd name="connsiteY38" fmla="*/ 30785 h 58211"/>
                <a:gd name="connsiteX39" fmla="*/ 53286 w 58211"/>
                <a:gd name="connsiteY39" fmla="*/ 19590 h 58211"/>
                <a:gd name="connsiteX40" fmla="*/ 53286 w 58211"/>
                <a:gd name="connsiteY40" fmla="*/ 41532 h 58211"/>
                <a:gd name="connsiteX41" fmla="*/ 30897 w 58211"/>
                <a:gd name="connsiteY41" fmla="*/ 5272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211" h="58211">
                  <a:moveTo>
                    <a:pt x="57764" y="14665"/>
                  </a:moveTo>
                  <a:cubicBezTo>
                    <a:pt x="57316" y="14665"/>
                    <a:pt x="57316" y="14665"/>
                    <a:pt x="57764" y="14665"/>
                  </a:cubicBezTo>
                  <a:cubicBezTo>
                    <a:pt x="57316" y="14217"/>
                    <a:pt x="57316" y="14217"/>
                    <a:pt x="56868" y="13769"/>
                  </a:cubicBezTo>
                  <a:cubicBezTo>
                    <a:pt x="56868" y="13769"/>
                    <a:pt x="56868" y="13769"/>
                    <a:pt x="56868" y="13769"/>
                  </a:cubicBezTo>
                  <a:cubicBezTo>
                    <a:pt x="56868" y="13769"/>
                    <a:pt x="56868" y="13769"/>
                    <a:pt x="56868" y="13769"/>
                  </a:cubicBezTo>
                  <a:lnTo>
                    <a:pt x="30001" y="336"/>
                  </a:lnTo>
                  <a:cubicBezTo>
                    <a:pt x="29554" y="-112"/>
                    <a:pt x="28658" y="-112"/>
                    <a:pt x="28210" y="336"/>
                  </a:cubicBezTo>
                  <a:lnTo>
                    <a:pt x="17463" y="5709"/>
                  </a:lnTo>
                  <a:lnTo>
                    <a:pt x="16568" y="3918"/>
                  </a:lnTo>
                  <a:cubicBezTo>
                    <a:pt x="16120" y="2575"/>
                    <a:pt x="14777" y="2127"/>
                    <a:pt x="13433" y="3023"/>
                  </a:cubicBezTo>
                  <a:cubicBezTo>
                    <a:pt x="12090" y="3470"/>
                    <a:pt x="11642" y="4814"/>
                    <a:pt x="12538" y="6157"/>
                  </a:cubicBezTo>
                  <a:lnTo>
                    <a:pt x="13433" y="8396"/>
                  </a:lnTo>
                  <a:lnTo>
                    <a:pt x="1343" y="14217"/>
                  </a:lnTo>
                  <a:cubicBezTo>
                    <a:pt x="1343" y="14217"/>
                    <a:pt x="1343" y="14217"/>
                    <a:pt x="1343" y="14217"/>
                  </a:cubicBezTo>
                  <a:cubicBezTo>
                    <a:pt x="1343" y="14217"/>
                    <a:pt x="1343" y="14217"/>
                    <a:pt x="1343" y="14217"/>
                  </a:cubicBezTo>
                  <a:cubicBezTo>
                    <a:pt x="1343" y="14217"/>
                    <a:pt x="896" y="14665"/>
                    <a:pt x="896" y="14665"/>
                  </a:cubicBezTo>
                  <a:cubicBezTo>
                    <a:pt x="896" y="14665"/>
                    <a:pt x="896" y="14665"/>
                    <a:pt x="448" y="15113"/>
                  </a:cubicBezTo>
                  <a:cubicBezTo>
                    <a:pt x="448" y="15560"/>
                    <a:pt x="0" y="16008"/>
                    <a:pt x="0" y="16456"/>
                  </a:cubicBezTo>
                  <a:lnTo>
                    <a:pt x="0" y="43323"/>
                  </a:lnTo>
                  <a:cubicBezTo>
                    <a:pt x="0" y="44218"/>
                    <a:pt x="448" y="45114"/>
                    <a:pt x="1343" y="45114"/>
                  </a:cubicBezTo>
                  <a:lnTo>
                    <a:pt x="28210" y="58547"/>
                  </a:lnTo>
                  <a:cubicBezTo>
                    <a:pt x="28658" y="58547"/>
                    <a:pt x="28658" y="58995"/>
                    <a:pt x="29106" y="58995"/>
                  </a:cubicBezTo>
                  <a:cubicBezTo>
                    <a:pt x="29554" y="58995"/>
                    <a:pt x="30001" y="58995"/>
                    <a:pt x="30001" y="58547"/>
                  </a:cubicBezTo>
                  <a:lnTo>
                    <a:pt x="56868" y="45114"/>
                  </a:lnTo>
                  <a:cubicBezTo>
                    <a:pt x="57764" y="44666"/>
                    <a:pt x="58212" y="43771"/>
                    <a:pt x="58212" y="43323"/>
                  </a:cubicBezTo>
                  <a:lnTo>
                    <a:pt x="58212" y="16456"/>
                  </a:lnTo>
                  <a:cubicBezTo>
                    <a:pt x="57764" y="15560"/>
                    <a:pt x="57764" y="15113"/>
                    <a:pt x="57764" y="14665"/>
                  </a:cubicBezTo>
                  <a:close/>
                  <a:moveTo>
                    <a:pt x="28658" y="4814"/>
                  </a:moveTo>
                  <a:lnTo>
                    <a:pt x="50599" y="15560"/>
                  </a:lnTo>
                  <a:lnTo>
                    <a:pt x="28658" y="26307"/>
                  </a:lnTo>
                  <a:lnTo>
                    <a:pt x="6717" y="15560"/>
                  </a:lnTo>
                  <a:lnTo>
                    <a:pt x="28658" y="4814"/>
                  </a:lnTo>
                  <a:close/>
                  <a:moveTo>
                    <a:pt x="4030" y="19590"/>
                  </a:moveTo>
                  <a:lnTo>
                    <a:pt x="26419" y="30785"/>
                  </a:lnTo>
                  <a:lnTo>
                    <a:pt x="26419" y="52726"/>
                  </a:lnTo>
                  <a:lnTo>
                    <a:pt x="4030" y="41532"/>
                  </a:lnTo>
                  <a:lnTo>
                    <a:pt x="4030" y="19590"/>
                  </a:lnTo>
                  <a:close/>
                  <a:moveTo>
                    <a:pt x="30897" y="52726"/>
                  </a:moveTo>
                  <a:lnTo>
                    <a:pt x="30897" y="30785"/>
                  </a:lnTo>
                  <a:lnTo>
                    <a:pt x="53286" y="19590"/>
                  </a:lnTo>
                  <a:lnTo>
                    <a:pt x="53286" y="41532"/>
                  </a:lnTo>
                  <a:lnTo>
                    <a:pt x="30897" y="52726"/>
                  </a:lnTo>
                  <a:close/>
                </a:path>
              </a:pathLst>
            </a:custGeom>
            <a:solidFill>
              <a:srgbClr val="231F20"/>
            </a:solidFill>
            <a:ln w="4474" cap="flat">
              <a:noFill/>
              <a:prstDash val="solid"/>
              <a:miter/>
            </a:ln>
          </p:spPr>
          <p:txBody>
            <a:bodyPr rtlCol="0" anchor="ctr"/>
            <a:lstStyle/>
            <a:p>
              <a:endParaRPr lang="en-US"/>
            </a:p>
          </p:txBody>
        </p:sp>
        <p:sp>
          <p:nvSpPr>
            <p:cNvPr id="4161" name="Freeform: Shape 4160">
              <a:extLst>
                <a:ext uri="{FF2B5EF4-FFF2-40B4-BE49-F238E27FC236}">
                  <a16:creationId xmlns:a16="http://schemas.microsoft.com/office/drawing/2014/main" id="{8C1B3766-3886-49C3-847B-187895DAFF95}"/>
                </a:ext>
              </a:extLst>
            </p:cNvPr>
            <p:cNvSpPr/>
            <p:nvPr/>
          </p:nvSpPr>
          <p:spPr>
            <a:xfrm>
              <a:off x="896696" y="2367508"/>
              <a:ext cx="4478" cy="4478"/>
            </a:xfrm>
            <a:custGeom>
              <a:avLst/>
              <a:gdLst>
                <a:gd name="connsiteX0" fmla="*/ 1967 w 4477"/>
                <a:gd name="connsiteY0" fmla="*/ 1343 h 4477"/>
                <a:gd name="connsiteX1" fmla="*/ 176 w 4477"/>
                <a:gd name="connsiteY1" fmla="*/ 5373 h 4477"/>
                <a:gd name="connsiteX2" fmla="*/ 1071 w 4477"/>
                <a:gd name="connsiteY2" fmla="*/ 8508 h 4477"/>
                <a:gd name="connsiteX3" fmla="*/ 1967 w 4477"/>
                <a:gd name="connsiteY3" fmla="*/ 8508 h 4477"/>
                <a:gd name="connsiteX4" fmla="*/ 4206 w 4477"/>
                <a:gd name="connsiteY4" fmla="*/ 7164 h 4477"/>
                <a:gd name="connsiteX5" fmla="*/ 5997 w 4477"/>
                <a:gd name="connsiteY5" fmla="*/ 3134 h 4477"/>
                <a:gd name="connsiteX6" fmla="*/ 5101 w 4477"/>
                <a:gd name="connsiteY6" fmla="*/ 0 h 4477"/>
                <a:gd name="connsiteX7" fmla="*/ 1967 w 4477"/>
                <a:gd name="connsiteY7" fmla="*/ 1343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967" y="1343"/>
                  </a:moveTo>
                  <a:lnTo>
                    <a:pt x="176" y="5373"/>
                  </a:lnTo>
                  <a:cubicBezTo>
                    <a:pt x="-272" y="6717"/>
                    <a:pt x="176" y="7612"/>
                    <a:pt x="1071" y="8508"/>
                  </a:cubicBezTo>
                  <a:cubicBezTo>
                    <a:pt x="1519" y="8508"/>
                    <a:pt x="1519" y="8508"/>
                    <a:pt x="1967" y="8508"/>
                  </a:cubicBezTo>
                  <a:cubicBezTo>
                    <a:pt x="2862" y="8508"/>
                    <a:pt x="3758" y="8060"/>
                    <a:pt x="4206" y="7164"/>
                  </a:cubicBezTo>
                  <a:lnTo>
                    <a:pt x="5997" y="3134"/>
                  </a:lnTo>
                  <a:cubicBezTo>
                    <a:pt x="6445" y="1791"/>
                    <a:pt x="5997" y="895"/>
                    <a:pt x="5101" y="0"/>
                  </a:cubicBezTo>
                  <a:cubicBezTo>
                    <a:pt x="3758" y="0"/>
                    <a:pt x="2415" y="448"/>
                    <a:pt x="1967" y="1343"/>
                  </a:cubicBezTo>
                  <a:close/>
                </a:path>
              </a:pathLst>
            </a:custGeom>
            <a:solidFill>
              <a:srgbClr val="231F20"/>
            </a:solidFill>
            <a:ln w="4474" cap="flat">
              <a:noFill/>
              <a:prstDash val="solid"/>
              <a:miter/>
            </a:ln>
          </p:spPr>
          <p:txBody>
            <a:bodyPr rtlCol="0" anchor="ctr"/>
            <a:lstStyle/>
            <a:p>
              <a:endParaRPr lang="en-US"/>
            </a:p>
          </p:txBody>
        </p:sp>
        <p:sp>
          <p:nvSpPr>
            <p:cNvPr id="4162" name="Freeform: Shape 4161">
              <a:extLst>
                <a:ext uri="{FF2B5EF4-FFF2-40B4-BE49-F238E27FC236}">
                  <a16:creationId xmlns:a16="http://schemas.microsoft.com/office/drawing/2014/main" id="{CFE0DD4F-C43F-46FB-B547-883E2B1FD9C9}"/>
                </a:ext>
              </a:extLst>
            </p:cNvPr>
            <p:cNvSpPr/>
            <p:nvPr/>
          </p:nvSpPr>
          <p:spPr>
            <a:xfrm>
              <a:off x="902227" y="2355242"/>
              <a:ext cx="4478" cy="4478"/>
            </a:xfrm>
            <a:custGeom>
              <a:avLst/>
              <a:gdLst>
                <a:gd name="connsiteX0" fmla="*/ 1362 w 4477"/>
                <a:gd name="connsiteY0" fmla="*/ 8684 h 4477"/>
                <a:gd name="connsiteX1" fmla="*/ 2257 w 4477"/>
                <a:gd name="connsiteY1" fmla="*/ 8684 h 4477"/>
                <a:gd name="connsiteX2" fmla="*/ 4496 w 4477"/>
                <a:gd name="connsiteY2" fmla="*/ 7340 h 4477"/>
                <a:gd name="connsiteX3" fmla="*/ 6287 w 4477"/>
                <a:gd name="connsiteY3" fmla="*/ 3310 h 4477"/>
                <a:gd name="connsiteX4" fmla="*/ 5392 w 4477"/>
                <a:gd name="connsiteY4" fmla="*/ 176 h 4477"/>
                <a:gd name="connsiteX5" fmla="*/ 2257 w 4477"/>
                <a:gd name="connsiteY5" fmla="*/ 1071 h 4477"/>
                <a:gd name="connsiteX6" fmla="*/ 466 w 4477"/>
                <a:gd name="connsiteY6" fmla="*/ 5101 h 4477"/>
                <a:gd name="connsiteX7" fmla="*/ 1362 w 4477"/>
                <a:gd name="connsiteY7" fmla="*/ 8684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362" y="8684"/>
                  </a:moveTo>
                  <a:cubicBezTo>
                    <a:pt x="1809" y="8684"/>
                    <a:pt x="1809" y="8684"/>
                    <a:pt x="2257" y="8684"/>
                  </a:cubicBezTo>
                  <a:cubicBezTo>
                    <a:pt x="3153" y="8684"/>
                    <a:pt x="4048" y="8236"/>
                    <a:pt x="4496" y="7340"/>
                  </a:cubicBezTo>
                  <a:lnTo>
                    <a:pt x="6287" y="3310"/>
                  </a:lnTo>
                  <a:cubicBezTo>
                    <a:pt x="6735" y="1967"/>
                    <a:pt x="6287" y="1071"/>
                    <a:pt x="5392" y="176"/>
                  </a:cubicBezTo>
                  <a:cubicBezTo>
                    <a:pt x="4048" y="-272"/>
                    <a:pt x="3153" y="176"/>
                    <a:pt x="2257" y="1071"/>
                  </a:cubicBezTo>
                  <a:lnTo>
                    <a:pt x="466" y="5101"/>
                  </a:lnTo>
                  <a:cubicBezTo>
                    <a:pt x="-430" y="6892"/>
                    <a:pt x="18" y="8236"/>
                    <a:pt x="1362" y="8684"/>
                  </a:cubicBezTo>
                  <a:close/>
                </a:path>
              </a:pathLst>
            </a:custGeom>
            <a:solidFill>
              <a:srgbClr val="231F20"/>
            </a:solidFill>
            <a:ln w="4474" cap="flat">
              <a:noFill/>
              <a:prstDash val="solid"/>
              <a:miter/>
            </a:ln>
          </p:spPr>
          <p:txBody>
            <a:bodyPr rtlCol="0" anchor="ctr"/>
            <a:lstStyle/>
            <a:p>
              <a:endParaRPr lang="en-US"/>
            </a:p>
          </p:txBody>
        </p:sp>
        <p:sp>
          <p:nvSpPr>
            <p:cNvPr id="4163" name="Freeform: Shape 4162">
              <a:extLst>
                <a:ext uri="{FF2B5EF4-FFF2-40B4-BE49-F238E27FC236}">
                  <a16:creationId xmlns:a16="http://schemas.microsoft.com/office/drawing/2014/main" id="{C0591893-D7E3-4BE1-98B8-54864A33465B}"/>
                </a:ext>
              </a:extLst>
            </p:cNvPr>
            <p:cNvSpPr/>
            <p:nvPr/>
          </p:nvSpPr>
          <p:spPr>
            <a:xfrm>
              <a:off x="891032" y="2379422"/>
              <a:ext cx="4478" cy="4478"/>
            </a:xfrm>
            <a:custGeom>
              <a:avLst/>
              <a:gdLst>
                <a:gd name="connsiteX0" fmla="*/ 1362 w 4477"/>
                <a:gd name="connsiteY0" fmla="*/ 8684 h 4477"/>
                <a:gd name="connsiteX1" fmla="*/ 2257 w 4477"/>
                <a:gd name="connsiteY1" fmla="*/ 8684 h 4477"/>
                <a:gd name="connsiteX2" fmla="*/ 4496 w 4477"/>
                <a:gd name="connsiteY2" fmla="*/ 7340 h 4477"/>
                <a:gd name="connsiteX3" fmla="*/ 6287 w 4477"/>
                <a:gd name="connsiteY3" fmla="*/ 3310 h 4477"/>
                <a:gd name="connsiteX4" fmla="*/ 5392 w 4477"/>
                <a:gd name="connsiteY4" fmla="*/ 176 h 4477"/>
                <a:gd name="connsiteX5" fmla="*/ 2257 w 4477"/>
                <a:gd name="connsiteY5" fmla="*/ 1071 h 4477"/>
                <a:gd name="connsiteX6" fmla="*/ 466 w 4477"/>
                <a:gd name="connsiteY6" fmla="*/ 5101 h 4477"/>
                <a:gd name="connsiteX7" fmla="*/ 1362 w 4477"/>
                <a:gd name="connsiteY7" fmla="*/ 8684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362" y="8684"/>
                  </a:moveTo>
                  <a:cubicBezTo>
                    <a:pt x="1809" y="8684"/>
                    <a:pt x="1809" y="8684"/>
                    <a:pt x="2257" y="8684"/>
                  </a:cubicBezTo>
                  <a:cubicBezTo>
                    <a:pt x="3153" y="8684"/>
                    <a:pt x="4048" y="8236"/>
                    <a:pt x="4496" y="7340"/>
                  </a:cubicBezTo>
                  <a:lnTo>
                    <a:pt x="6287" y="3310"/>
                  </a:lnTo>
                  <a:cubicBezTo>
                    <a:pt x="6735" y="1967"/>
                    <a:pt x="6287" y="1071"/>
                    <a:pt x="5392" y="176"/>
                  </a:cubicBezTo>
                  <a:cubicBezTo>
                    <a:pt x="4048" y="-272"/>
                    <a:pt x="3153" y="176"/>
                    <a:pt x="2257" y="1071"/>
                  </a:cubicBezTo>
                  <a:lnTo>
                    <a:pt x="466" y="5101"/>
                  </a:lnTo>
                  <a:cubicBezTo>
                    <a:pt x="-430" y="6892"/>
                    <a:pt x="18" y="8236"/>
                    <a:pt x="1362" y="8684"/>
                  </a:cubicBezTo>
                  <a:close/>
                </a:path>
              </a:pathLst>
            </a:custGeom>
            <a:solidFill>
              <a:srgbClr val="231F20"/>
            </a:solidFill>
            <a:ln w="4474" cap="flat">
              <a:noFill/>
              <a:prstDash val="solid"/>
              <a:miter/>
            </a:ln>
          </p:spPr>
          <p:txBody>
            <a:bodyPr rtlCol="0" anchor="ctr"/>
            <a:lstStyle/>
            <a:p>
              <a:endParaRPr lang="en-US"/>
            </a:p>
          </p:txBody>
        </p:sp>
        <p:sp>
          <p:nvSpPr>
            <p:cNvPr id="4164" name="Freeform: Shape 4163">
              <a:extLst>
                <a:ext uri="{FF2B5EF4-FFF2-40B4-BE49-F238E27FC236}">
                  <a16:creationId xmlns:a16="http://schemas.microsoft.com/office/drawing/2014/main" id="{2A707B07-8944-49FD-AD8F-BBDF328F46BD}"/>
                </a:ext>
              </a:extLst>
            </p:cNvPr>
            <p:cNvSpPr/>
            <p:nvPr/>
          </p:nvSpPr>
          <p:spPr>
            <a:xfrm>
              <a:off x="946109" y="2378982"/>
              <a:ext cx="4478" cy="4478"/>
            </a:xfrm>
            <a:custGeom>
              <a:avLst/>
              <a:gdLst>
                <a:gd name="connsiteX0" fmla="*/ 1361 w 4477"/>
                <a:gd name="connsiteY0" fmla="*/ 168 h 4477"/>
                <a:gd name="connsiteX1" fmla="*/ 466 w 4477"/>
                <a:gd name="connsiteY1" fmla="*/ 3302 h 4477"/>
                <a:gd name="connsiteX2" fmla="*/ 2257 w 4477"/>
                <a:gd name="connsiteY2" fmla="*/ 7332 h 4477"/>
                <a:gd name="connsiteX3" fmla="*/ 4496 w 4477"/>
                <a:gd name="connsiteY3" fmla="*/ 8676 h 4477"/>
                <a:gd name="connsiteX4" fmla="*/ 5392 w 4477"/>
                <a:gd name="connsiteY4" fmla="*/ 8676 h 4477"/>
                <a:gd name="connsiteX5" fmla="*/ 6287 w 4477"/>
                <a:gd name="connsiteY5" fmla="*/ 5541 h 4477"/>
                <a:gd name="connsiteX6" fmla="*/ 4496 w 4477"/>
                <a:gd name="connsiteY6" fmla="*/ 1511 h 4477"/>
                <a:gd name="connsiteX7" fmla="*/ 1361 w 4477"/>
                <a:gd name="connsiteY7" fmla="*/ 16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4477">
                  <a:moveTo>
                    <a:pt x="1361" y="168"/>
                  </a:moveTo>
                  <a:cubicBezTo>
                    <a:pt x="18" y="616"/>
                    <a:pt x="-430" y="1959"/>
                    <a:pt x="466" y="3302"/>
                  </a:cubicBezTo>
                  <a:lnTo>
                    <a:pt x="2257" y="7332"/>
                  </a:lnTo>
                  <a:cubicBezTo>
                    <a:pt x="2705" y="8228"/>
                    <a:pt x="3600" y="8676"/>
                    <a:pt x="4496" y="8676"/>
                  </a:cubicBezTo>
                  <a:cubicBezTo>
                    <a:pt x="4944" y="8676"/>
                    <a:pt x="4944" y="8676"/>
                    <a:pt x="5392" y="8676"/>
                  </a:cubicBezTo>
                  <a:cubicBezTo>
                    <a:pt x="6735" y="8228"/>
                    <a:pt x="7183" y="6885"/>
                    <a:pt x="6287" y="5541"/>
                  </a:cubicBezTo>
                  <a:lnTo>
                    <a:pt x="4496" y="1511"/>
                  </a:lnTo>
                  <a:cubicBezTo>
                    <a:pt x="4048" y="168"/>
                    <a:pt x="2705" y="-280"/>
                    <a:pt x="1361" y="168"/>
                  </a:cubicBezTo>
                  <a:close/>
                </a:path>
              </a:pathLst>
            </a:custGeom>
            <a:solidFill>
              <a:srgbClr val="231F20"/>
            </a:solidFill>
            <a:ln w="4474" cap="flat">
              <a:noFill/>
              <a:prstDash val="solid"/>
              <a:miter/>
            </a:ln>
          </p:spPr>
          <p:txBody>
            <a:bodyPr rtlCol="0" anchor="ctr"/>
            <a:lstStyle/>
            <a:p>
              <a:endParaRPr lang="en-US"/>
            </a:p>
          </p:txBody>
        </p:sp>
        <p:sp>
          <p:nvSpPr>
            <p:cNvPr id="4165" name="Freeform: Shape 4164">
              <a:extLst>
                <a:ext uri="{FF2B5EF4-FFF2-40B4-BE49-F238E27FC236}">
                  <a16:creationId xmlns:a16="http://schemas.microsoft.com/office/drawing/2014/main" id="{1940B4DD-97BD-4378-9B65-038FAEEFAE12}"/>
                </a:ext>
              </a:extLst>
            </p:cNvPr>
            <p:cNvSpPr/>
            <p:nvPr/>
          </p:nvSpPr>
          <p:spPr>
            <a:xfrm>
              <a:off x="940736" y="2367042"/>
              <a:ext cx="4478" cy="8956"/>
            </a:xfrm>
            <a:custGeom>
              <a:avLst/>
              <a:gdLst>
                <a:gd name="connsiteX0" fmla="*/ 6287 w 4477"/>
                <a:gd name="connsiteY0" fmla="*/ 5391 h 8955"/>
                <a:gd name="connsiteX1" fmla="*/ 4496 w 4477"/>
                <a:gd name="connsiteY1" fmla="*/ 1361 h 8955"/>
                <a:gd name="connsiteX2" fmla="*/ 1361 w 4477"/>
                <a:gd name="connsiteY2" fmla="*/ 466 h 8955"/>
                <a:gd name="connsiteX3" fmla="*/ 466 w 4477"/>
                <a:gd name="connsiteY3" fmla="*/ 3600 h 8955"/>
                <a:gd name="connsiteX4" fmla="*/ 2257 w 4477"/>
                <a:gd name="connsiteY4" fmla="*/ 7630 h 8955"/>
                <a:gd name="connsiteX5" fmla="*/ 4496 w 4477"/>
                <a:gd name="connsiteY5" fmla="*/ 8974 h 8955"/>
                <a:gd name="connsiteX6" fmla="*/ 5392 w 4477"/>
                <a:gd name="connsiteY6" fmla="*/ 8974 h 8955"/>
                <a:gd name="connsiteX7" fmla="*/ 6287 w 4477"/>
                <a:gd name="connsiteY7" fmla="*/ 539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6287" y="5391"/>
                  </a:moveTo>
                  <a:lnTo>
                    <a:pt x="4496" y="1361"/>
                  </a:lnTo>
                  <a:cubicBezTo>
                    <a:pt x="4048" y="18"/>
                    <a:pt x="2705" y="-430"/>
                    <a:pt x="1361" y="466"/>
                  </a:cubicBezTo>
                  <a:cubicBezTo>
                    <a:pt x="18" y="1361"/>
                    <a:pt x="-430" y="2257"/>
                    <a:pt x="466" y="3600"/>
                  </a:cubicBezTo>
                  <a:lnTo>
                    <a:pt x="2257" y="7630"/>
                  </a:lnTo>
                  <a:cubicBezTo>
                    <a:pt x="2705" y="8526"/>
                    <a:pt x="3600" y="8974"/>
                    <a:pt x="4496" y="8974"/>
                  </a:cubicBezTo>
                  <a:cubicBezTo>
                    <a:pt x="4944" y="8974"/>
                    <a:pt x="4944" y="8974"/>
                    <a:pt x="5392" y="8974"/>
                  </a:cubicBezTo>
                  <a:cubicBezTo>
                    <a:pt x="6287" y="7630"/>
                    <a:pt x="6735" y="6287"/>
                    <a:pt x="6287" y="5391"/>
                  </a:cubicBezTo>
                  <a:close/>
                </a:path>
              </a:pathLst>
            </a:custGeom>
            <a:solidFill>
              <a:srgbClr val="231F20"/>
            </a:solidFill>
            <a:ln w="4474" cap="flat">
              <a:noFill/>
              <a:prstDash val="solid"/>
              <a:miter/>
            </a:ln>
          </p:spPr>
          <p:txBody>
            <a:bodyPr rtlCol="0" anchor="ctr"/>
            <a:lstStyle/>
            <a:p>
              <a:endParaRPr lang="en-US"/>
            </a:p>
          </p:txBody>
        </p:sp>
        <p:sp>
          <p:nvSpPr>
            <p:cNvPr id="4166" name="Freeform: Shape 4165">
              <a:extLst>
                <a:ext uri="{FF2B5EF4-FFF2-40B4-BE49-F238E27FC236}">
                  <a16:creationId xmlns:a16="http://schemas.microsoft.com/office/drawing/2014/main" id="{894E0E50-8053-4B9B-8015-9205A86924F1}"/>
                </a:ext>
              </a:extLst>
            </p:cNvPr>
            <p:cNvSpPr/>
            <p:nvPr/>
          </p:nvSpPr>
          <p:spPr>
            <a:xfrm>
              <a:off x="934915" y="2354504"/>
              <a:ext cx="4478" cy="8956"/>
            </a:xfrm>
            <a:custGeom>
              <a:avLst/>
              <a:gdLst>
                <a:gd name="connsiteX0" fmla="*/ 6287 w 4477"/>
                <a:gd name="connsiteY0" fmla="*/ 5392 h 8955"/>
                <a:gd name="connsiteX1" fmla="*/ 4496 w 4477"/>
                <a:gd name="connsiteY1" fmla="*/ 1362 h 8955"/>
                <a:gd name="connsiteX2" fmla="*/ 1361 w 4477"/>
                <a:gd name="connsiteY2" fmla="*/ 466 h 8955"/>
                <a:gd name="connsiteX3" fmla="*/ 466 w 4477"/>
                <a:gd name="connsiteY3" fmla="*/ 3600 h 8955"/>
                <a:gd name="connsiteX4" fmla="*/ 2257 w 4477"/>
                <a:gd name="connsiteY4" fmla="*/ 7630 h 8955"/>
                <a:gd name="connsiteX5" fmla="*/ 4496 w 4477"/>
                <a:gd name="connsiteY5" fmla="*/ 8974 h 8955"/>
                <a:gd name="connsiteX6" fmla="*/ 5392 w 4477"/>
                <a:gd name="connsiteY6" fmla="*/ 8974 h 8955"/>
                <a:gd name="connsiteX7" fmla="*/ 6287 w 4477"/>
                <a:gd name="connsiteY7" fmla="*/ 5392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6287" y="5392"/>
                  </a:moveTo>
                  <a:lnTo>
                    <a:pt x="4496" y="1362"/>
                  </a:lnTo>
                  <a:cubicBezTo>
                    <a:pt x="4048" y="18"/>
                    <a:pt x="2705" y="-430"/>
                    <a:pt x="1361" y="466"/>
                  </a:cubicBezTo>
                  <a:cubicBezTo>
                    <a:pt x="18" y="914"/>
                    <a:pt x="-430" y="2257"/>
                    <a:pt x="466" y="3600"/>
                  </a:cubicBezTo>
                  <a:lnTo>
                    <a:pt x="2257" y="7630"/>
                  </a:lnTo>
                  <a:cubicBezTo>
                    <a:pt x="2705" y="8526"/>
                    <a:pt x="3600" y="8974"/>
                    <a:pt x="4496" y="8974"/>
                  </a:cubicBezTo>
                  <a:cubicBezTo>
                    <a:pt x="4944" y="8974"/>
                    <a:pt x="4944" y="8974"/>
                    <a:pt x="5392" y="8974"/>
                  </a:cubicBezTo>
                  <a:cubicBezTo>
                    <a:pt x="6287" y="8078"/>
                    <a:pt x="6735" y="6735"/>
                    <a:pt x="6287" y="5392"/>
                  </a:cubicBezTo>
                  <a:close/>
                </a:path>
              </a:pathLst>
            </a:custGeom>
            <a:solidFill>
              <a:srgbClr val="231F20"/>
            </a:solidFill>
            <a:ln w="4474" cap="flat">
              <a:noFill/>
              <a:prstDash val="solid"/>
              <a:miter/>
            </a:ln>
          </p:spPr>
          <p:txBody>
            <a:bodyPr rtlCol="0" anchor="ctr"/>
            <a:lstStyle/>
            <a:p>
              <a:endParaRPr lang="en-US"/>
            </a:p>
          </p:txBody>
        </p:sp>
        <p:sp>
          <p:nvSpPr>
            <p:cNvPr id="4167" name="Freeform: Shape 4166">
              <a:extLst>
                <a:ext uri="{FF2B5EF4-FFF2-40B4-BE49-F238E27FC236}">
                  <a16:creationId xmlns:a16="http://schemas.microsoft.com/office/drawing/2014/main" id="{50A43945-16B4-446F-A78E-67725502066E}"/>
                </a:ext>
              </a:extLst>
            </p:cNvPr>
            <p:cNvSpPr/>
            <p:nvPr/>
          </p:nvSpPr>
          <p:spPr>
            <a:xfrm>
              <a:off x="893289" y="2294631"/>
              <a:ext cx="58212" cy="58212"/>
            </a:xfrm>
            <a:custGeom>
              <a:avLst/>
              <a:gdLst>
                <a:gd name="connsiteX0" fmla="*/ 38509 w 58211"/>
                <a:gd name="connsiteY0" fmla="*/ 54965 h 58211"/>
                <a:gd name="connsiteX1" fmla="*/ 40748 w 58211"/>
                <a:gd name="connsiteY1" fmla="*/ 56309 h 58211"/>
                <a:gd name="connsiteX2" fmla="*/ 41644 w 58211"/>
                <a:gd name="connsiteY2" fmla="*/ 56309 h 58211"/>
                <a:gd name="connsiteX3" fmla="*/ 42539 w 58211"/>
                <a:gd name="connsiteY3" fmla="*/ 53174 h 58211"/>
                <a:gd name="connsiteX4" fmla="*/ 42091 w 58211"/>
                <a:gd name="connsiteY4" fmla="*/ 52279 h 58211"/>
                <a:gd name="connsiteX5" fmla="*/ 56868 w 58211"/>
                <a:gd name="connsiteY5" fmla="*/ 44666 h 58211"/>
                <a:gd name="connsiteX6" fmla="*/ 58212 w 58211"/>
                <a:gd name="connsiteY6" fmla="*/ 42875 h 58211"/>
                <a:gd name="connsiteX7" fmla="*/ 58212 w 58211"/>
                <a:gd name="connsiteY7" fmla="*/ 16008 h 58211"/>
                <a:gd name="connsiteX8" fmla="*/ 57764 w 58211"/>
                <a:gd name="connsiteY8" fmla="*/ 14665 h 58211"/>
                <a:gd name="connsiteX9" fmla="*/ 57316 w 58211"/>
                <a:gd name="connsiteY9" fmla="*/ 14217 h 58211"/>
                <a:gd name="connsiteX10" fmla="*/ 56868 w 58211"/>
                <a:gd name="connsiteY10" fmla="*/ 13769 h 58211"/>
                <a:gd name="connsiteX11" fmla="*/ 56868 w 58211"/>
                <a:gd name="connsiteY11" fmla="*/ 13769 h 58211"/>
                <a:gd name="connsiteX12" fmla="*/ 56868 w 58211"/>
                <a:gd name="connsiteY12" fmla="*/ 13769 h 58211"/>
                <a:gd name="connsiteX13" fmla="*/ 30001 w 58211"/>
                <a:gd name="connsiteY13" fmla="*/ 336 h 58211"/>
                <a:gd name="connsiteX14" fmla="*/ 28210 w 58211"/>
                <a:gd name="connsiteY14" fmla="*/ 336 h 58211"/>
                <a:gd name="connsiteX15" fmla="*/ 1343 w 58211"/>
                <a:gd name="connsiteY15" fmla="*/ 13769 h 58211"/>
                <a:gd name="connsiteX16" fmla="*/ 1343 w 58211"/>
                <a:gd name="connsiteY16" fmla="*/ 13769 h 58211"/>
                <a:gd name="connsiteX17" fmla="*/ 1343 w 58211"/>
                <a:gd name="connsiteY17" fmla="*/ 13769 h 58211"/>
                <a:gd name="connsiteX18" fmla="*/ 896 w 58211"/>
                <a:gd name="connsiteY18" fmla="*/ 14217 h 58211"/>
                <a:gd name="connsiteX19" fmla="*/ 448 w 58211"/>
                <a:gd name="connsiteY19" fmla="*/ 14665 h 58211"/>
                <a:gd name="connsiteX20" fmla="*/ 0 w 58211"/>
                <a:gd name="connsiteY20" fmla="*/ 16008 h 58211"/>
                <a:gd name="connsiteX21" fmla="*/ 0 w 58211"/>
                <a:gd name="connsiteY21" fmla="*/ 42875 h 58211"/>
                <a:gd name="connsiteX22" fmla="*/ 1343 w 58211"/>
                <a:gd name="connsiteY22" fmla="*/ 44666 h 58211"/>
                <a:gd name="connsiteX23" fmla="*/ 16120 w 58211"/>
                <a:gd name="connsiteY23" fmla="*/ 52279 h 58211"/>
                <a:gd name="connsiteX24" fmla="*/ 15225 w 58211"/>
                <a:gd name="connsiteY24" fmla="*/ 54070 h 58211"/>
                <a:gd name="connsiteX25" fmla="*/ 16120 w 58211"/>
                <a:gd name="connsiteY25" fmla="*/ 57204 h 58211"/>
                <a:gd name="connsiteX26" fmla="*/ 17016 w 58211"/>
                <a:gd name="connsiteY26" fmla="*/ 57204 h 58211"/>
                <a:gd name="connsiteX27" fmla="*/ 19255 w 58211"/>
                <a:gd name="connsiteY27" fmla="*/ 55861 h 58211"/>
                <a:gd name="connsiteX28" fmla="*/ 20150 w 58211"/>
                <a:gd name="connsiteY28" fmla="*/ 54070 h 58211"/>
                <a:gd name="connsiteX29" fmla="*/ 28210 w 58211"/>
                <a:gd name="connsiteY29" fmla="*/ 58100 h 58211"/>
                <a:gd name="connsiteX30" fmla="*/ 29106 w 58211"/>
                <a:gd name="connsiteY30" fmla="*/ 58547 h 58211"/>
                <a:gd name="connsiteX31" fmla="*/ 30001 w 58211"/>
                <a:gd name="connsiteY31" fmla="*/ 58100 h 58211"/>
                <a:gd name="connsiteX32" fmla="*/ 38061 w 58211"/>
                <a:gd name="connsiteY32" fmla="*/ 54070 h 58211"/>
                <a:gd name="connsiteX33" fmla="*/ 38509 w 58211"/>
                <a:gd name="connsiteY33" fmla="*/ 54965 h 58211"/>
                <a:gd name="connsiteX34" fmla="*/ 28658 w 58211"/>
                <a:gd name="connsiteY34" fmla="*/ 4814 h 58211"/>
                <a:gd name="connsiteX35" fmla="*/ 50599 w 58211"/>
                <a:gd name="connsiteY35" fmla="*/ 15560 h 58211"/>
                <a:gd name="connsiteX36" fmla="*/ 28658 w 58211"/>
                <a:gd name="connsiteY36" fmla="*/ 26307 h 58211"/>
                <a:gd name="connsiteX37" fmla="*/ 6717 w 58211"/>
                <a:gd name="connsiteY37" fmla="*/ 15560 h 58211"/>
                <a:gd name="connsiteX38" fmla="*/ 28658 w 58211"/>
                <a:gd name="connsiteY38" fmla="*/ 4814 h 58211"/>
                <a:gd name="connsiteX39" fmla="*/ 4030 w 58211"/>
                <a:gd name="connsiteY39" fmla="*/ 19590 h 58211"/>
                <a:gd name="connsiteX40" fmla="*/ 26419 w 58211"/>
                <a:gd name="connsiteY40" fmla="*/ 30785 h 58211"/>
                <a:gd name="connsiteX41" fmla="*/ 26419 w 58211"/>
                <a:gd name="connsiteY41" fmla="*/ 52726 h 58211"/>
                <a:gd name="connsiteX42" fmla="*/ 20150 w 58211"/>
                <a:gd name="connsiteY42" fmla="*/ 49592 h 58211"/>
                <a:gd name="connsiteX43" fmla="*/ 19255 w 58211"/>
                <a:gd name="connsiteY43" fmla="*/ 49144 h 58211"/>
                <a:gd name="connsiteX44" fmla="*/ 18359 w 58211"/>
                <a:gd name="connsiteY44" fmla="*/ 49144 h 58211"/>
                <a:gd name="connsiteX45" fmla="*/ 3582 w 58211"/>
                <a:gd name="connsiteY45" fmla="*/ 41980 h 58211"/>
                <a:gd name="connsiteX46" fmla="*/ 3582 w 58211"/>
                <a:gd name="connsiteY46" fmla="*/ 19590 h 58211"/>
                <a:gd name="connsiteX47" fmla="*/ 30897 w 58211"/>
                <a:gd name="connsiteY47" fmla="*/ 30785 h 58211"/>
                <a:gd name="connsiteX48" fmla="*/ 53286 w 58211"/>
                <a:gd name="connsiteY48" fmla="*/ 19590 h 58211"/>
                <a:gd name="connsiteX49" fmla="*/ 53286 w 58211"/>
                <a:gd name="connsiteY49" fmla="*/ 41532 h 58211"/>
                <a:gd name="connsiteX50" fmla="*/ 38509 w 58211"/>
                <a:gd name="connsiteY50" fmla="*/ 48696 h 58211"/>
                <a:gd name="connsiteX51" fmla="*/ 37614 w 58211"/>
                <a:gd name="connsiteY51" fmla="*/ 48696 h 58211"/>
                <a:gd name="connsiteX52" fmla="*/ 36718 w 58211"/>
                <a:gd name="connsiteY52" fmla="*/ 49144 h 58211"/>
                <a:gd name="connsiteX53" fmla="*/ 30449 w 58211"/>
                <a:gd name="connsiteY53" fmla="*/ 52279 h 58211"/>
                <a:gd name="connsiteX54" fmla="*/ 30449 w 58211"/>
                <a:gd name="connsiteY54" fmla="*/ 30785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8211" h="58211">
                  <a:moveTo>
                    <a:pt x="38509" y="54965"/>
                  </a:moveTo>
                  <a:cubicBezTo>
                    <a:pt x="38957" y="55861"/>
                    <a:pt x="39853" y="56309"/>
                    <a:pt x="40748" y="56309"/>
                  </a:cubicBezTo>
                  <a:cubicBezTo>
                    <a:pt x="41196" y="56309"/>
                    <a:pt x="41196" y="56309"/>
                    <a:pt x="41644" y="56309"/>
                  </a:cubicBezTo>
                  <a:cubicBezTo>
                    <a:pt x="42987" y="55861"/>
                    <a:pt x="43435" y="54517"/>
                    <a:pt x="42539" y="53174"/>
                  </a:cubicBezTo>
                  <a:lnTo>
                    <a:pt x="42091" y="52279"/>
                  </a:lnTo>
                  <a:lnTo>
                    <a:pt x="56868" y="44666"/>
                  </a:lnTo>
                  <a:cubicBezTo>
                    <a:pt x="57764" y="44218"/>
                    <a:pt x="58212" y="43323"/>
                    <a:pt x="58212" y="42875"/>
                  </a:cubicBezTo>
                  <a:lnTo>
                    <a:pt x="58212" y="16008"/>
                  </a:lnTo>
                  <a:cubicBezTo>
                    <a:pt x="58212" y="15560"/>
                    <a:pt x="58212" y="15113"/>
                    <a:pt x="57764" y="14665"/>
                  </a:cubicBezTo>
                  <a:cubicBezTo>
                    <a:pt x="57764" y="14665"/>
                    <a:pt x="57764" y="14665"/>
                    <a:pt x="57316" y="14217"/>
                  </a:cubicBezTo>
                  <a:cubicBezTo>
                    <a:pt x="57316" y="14217"/>
                    <a:pt x="56868" y="13769"/>
                    <a:pt x="56868" y="13769"/>
                  </a:cubicBezTo>
                  <a:cubicBezTo>
                    <a:pt x="56868" y="13769"/>
                    <a:pt x="56868" y="13769"/>
                    <a:pt x="56868" y="13769"/>
                  </a:cubicBezTo>
                  <a:cubicBezTo>
                    <a:pt x="56868" y="13769"/>
                    <a:pt x="56868" y="13769"/>
                    <a:pt x="56868" y="13769"/>
                  </a:cubicBezTo>
                  <a:lnTo>
                    <a:pt x="30001" y="336"/>
                  </a:lnTo>
                  <a:cubicBezTo>
                    <a:pt x="29554" y="-112"/>
                    <a:pt x="28658" y="-112"/>
                    <a:pt x="28210" y="336"/>
                  </a:cubicBezTo>
                  <a:lnTo>
                    <a:pt x="1343" y="13769"/>
                  </a:lnTo>
                  <a:cubicBezTo>
                    <a:pt x="1343" y="13769"/>
                    <a:pt x="1343" y="13769"/>
                    <a:pt x="1343" y="13769"/>
                  </a:cubicBezTo>
                  <a:cubicBezTo>
                    <a:pt x="1343" y="13769"/>
                    <a:pt x="1343" y="13769"/>
                    <a:pt x="1343" y="13769"/>
                  </a:cubicBezTo>
                  <a:cubicBezTo>
                    <a:pt x="1343" y="13769"/>
                    <a:pt x="896" y="14217"/>
                    <a:pt x="896" y="14217"/>
                  </a:cubicBezTo>
                  <a:cubicBezTo>
                    <a:pt x="896" y="14217"/>
                    <a:pt x="896" y="14217"/>
                    <a:pt x="448" y="14665"/>
                  </a:cubicBezTo>
                  <a:cubicBezTo>
                    <a:pt x="448" y="15113"/>
                    <a:pt x="0" y="15560"/>
                    <a:pt x="0" y="16008"/>
                  </a:cubicBezTo>
                  <a:lnTo>
                    <a:pt x="0" y="42875"/>
                  </a:lnTo>
                  <a:cubicBezTo>
                    <a:pt x="0" y="43771"/>
                    <a:pt x="448" y="44666"/>
                    <a:pt x="1343" y="44666"/>
                  </a:cubicBezTo>
                  <a:lnTo>
                    <a:pt x="16120" y="52279"/>
                  </a:lnTo>
                  <a:lnTo>
                    <a:pt x="15225" y="54070"/>
                  </a:lnTo>
                  <a:cubicBezTo>
                    <a:pt x="14777" y="55413"/>
                    <a:pt x="15225" y="56309"/>
                    <a:pt x="16120" y="57204"/>
                  </a:cubicBezTo>
                  <a:cubicBezTo>
                    <a:pt x="16568" y="57204"/>
                    <a:pt x="16568" y="57204"/>
                    <a:pt x="17016" y="57204"/>
                  </a:cubicBezTo>
                  <a:cubicBezTo>
                    <a:pt x="17911" y="57204"/>
                    <a:pt x="18807" y="56756"/>
                    <a:pt x="19255" y="55861"/>
                  </a:cubicBezTo>
                  <a:lnTo>
                    <a:pt x="20150" y="54070"/>
                  </a:lnTo>
                  <a:lnTo>
                    <a:pt x="28210" y="58100"/>
                  </a:lnTo>
                  <a:cubicBezTo>
                    <a:pt x="28658" y="58100"/>
                    <a:pt x="28658" y="58547"/>
                    <a:pt x="29106" y="58547"/>
                  </a:cubicBezTo>
                  <a:cubicBezTo>
                    <a:pt x="29554" y="58547"/>
                    <a:pt x="30001" y="58547"/>
                    <a:pt x="30001" y="58100"/>
                  </a:cubicBezTo>
                  <a:lnTo>
                    <a:pt x="38061" y="54070"/>
                  </a:lnTo>
                  <a:lnTo>
                    <a:pt x="38509" y="54965"/>
                  </a:lnTo>
                  <a:close/>
                  <a:moveTo>
                    <a:pt x="28658" y="4814"/>
                  </a:moveTo>
                  <a:lnTo>
                    <a:pt x="50599" y="15560"/>
                  </a:lnTo>
                  <a:lnTo>
                    <a:pt x="28658" y="26307"/>
                  </a:lnTo>
                  <a:lnTo>
                    <a:pt x="6717" y="15560"/>
                  </a:lnTo>
                  <a:lnTo>
                    <a:pt x="28658" y="4814"/>
                  </a:lnTo>
                  <a:close/>
                  <a:moveTo>
                    <a:pt x="4030" y="19590"/>
                  </a:moveTo>
                  <a:lnTo>
                    <a:pt x="26419" y="30785"/>
                  </a:lnTo>
                  <a:lnTo>
                    <a:pt x="26419" y="52726"/>
                  </a:lnTo>
                  <a:lnTo>
                    <a:pt x="20150" y="49592"/>
                  </a:lnTo>
                  <a:cubicBezTo>
                    <a:pt x="20150" y="49144"/>
                    <a:pt x="19702" y="49144"/>
                    <a:pt x="19255" y="49144"/>
                  </a:cubicBezTo>
                  <a:cubicBezTo>
                    <a:pt x="18807" y="49144"/>
                    <a:pt x="18807" y="49144"/>
                    <a:pt x="18359" y="49144"/>
                  </a:cubicBezTo>
                  <a:lnTo>
                    <a:pt x="3582" y="41980"/>
                  </a:lnTo>
                  <a:lnTo>
                    <a:pt x="3582" y="19590"/>
                  </a:lnTo>
                  <a:close/>
                  <a:moveTo>
                    <a:pt x="30897" y="30785"/>
                  </a:moveTo>
                  <a:lnTo>
                    <a:pt x="53286" y="19590"/>
                  </a:lnTo>
                  <a:lnTo>
                    <a:pt x="53286" y="41532"/>
                  </a:lnTo>
                  <a:lnTo>
                    <a:pt x="38509" y="48696"/>
                  </a:lnTo>
                  <a:cubicBezTo>
                    <a:pt x="38061" y="48696"/>
                    <a:pt x="38061" y="48696"/>
                    <a:pt x="37614" y="48696"/>
                  </a:cubicBezTo>
                  <a:cubicBezTo>
                    <a:pt x="37166" y="48696"/>
                    <a:pt x="37166" y="49144"/>
                    <a:pt x="36718" y="49144"/>
                  </a:cubicBezTo>
                  <a:lnTo>
                    <a:pt x="30449" y="52279"/>
                  </a:lnTo>
                  <a:lnTo>
                    <a:pt x="30449" y="30785"/>
                  </a:lnTo>
                  <a:close/>
                </a:path>
              </a:pathLst>
            </a:custGeom>
            <a:solidFill>
              <a:srgbClr val="231F20"/>
            </a:solidFill>
            <a:ln w="4474" cap="flat">
              <a:noFill/>
              <a:prstDash val="solid"/>
              <a:miter/>
            </a:ln>
          </p:spPr>
          <p:txBody>
            <a:bodyPr rtlCol="0" anchor="ctr"/>
            <a:lstStyle/>
            <a:p>
              <a:endParaRPr lang="en-US"/>
            </a:p>
          </p:txBody>
        </p:sp>
        <p:sp>
          <p:nvSpPr>
            <p:cNvPr id="4168" name="Freeform: Shape 4167">
              <a:extLst>
                <a:ext uri="{FF2B5EF4-FFF2-40B4-BE49-F238E27FC236}">
                  <a16:creationId xmlns:a16="http://schemas.microsoft.com/office/drawing/2014/main" id="{4B1CB371-EB8D-49CB-90ED-FBB411FC1B3F}"/>
                </a:ext>
              </a:extLst>
            </p:cNvPr>
            <p:cNvSpPr/>
            <p:nvPr/>
          </p:nvSpPr>
          <p:spPr>
            <a:xfrm>
              <a:off x="845824" y="2388666"/>
              <a:ext cx="62689" cy="58212"/>
            </a:xfrm>
            <a:custGeom>
              <a:avLst/>
              <a:gdLst>
                <a:gd name="connsiteX0" fmla="*/ 60451 w 62689"/>
                <a:gd name="connsiteY0" fmla="*/ 27203 h 58211"/>
                <a:gd name="connsiteX1" fmla="*/ 58212 w 62689"/>
                <a:gd name="connsiteY1" fmla="*/ 27203 h 58211"/>
                <a:gd name="connsiteX2" fmla="*/ 58212 w 62689"/>
                <a:gd name="connsiteY2" fmla="*/ 16008 h 58211"/>
                <a:gd name="connsiteX3" fmla="*/ 57764 w 62689"/>
                <a:gd name="connsiteY3" fmla="*/ 14665 h 58211"/>
                <a:gd name="connsiteX4" fmla="*/ 57316 w 62689"/>
                <a:gd name="connsiteY4" fmla="*/ 14217 h 58211"/>
                <a:gd name="connsiteX5" fmla="*/ 56868 w 62689"/>
                <a:gd name="connsiteY5" fmla="*/ 13769 h 58211"/>
                <a:gd name="connsiteX6" fmla="*/ 56868 w 62689"/>
                <a:gd name="connsiteY6" fmla="*/ 13769 h 58211"/>
                <a:gd name="connsiteX7" fmla="*/ 56868 w 62689"/>
                <a:gd name="connsiteY7" fmla="*/ 13769 h 58211"/>
                <a:gd name="connsiteX8" fmla="*/ 44778 w 62689"/>
                <a:gd name="connsiteY8" fmla="*/ 7948 h 58211"/>
                <a:gd name="connsiteX9" fmla="*/ 45226 w 62689"/>
                <a:gd name="connsiteY9" fmla="*/ 6605 h 58211"/>
                <a:gd name="connsiteX10" fmla="*/ 44330 w 62689"/>
                <a:gd name="connsiteY10" fmla="*/ 3470 h 58211"/>
                <a:gd name="connsiteX11" fmla="*/ 41196 w 62689"/>
                <a:gd name="connsiteY11" fmla="*/ 4366 h 58211"/>
                <a:gd name="connsiteX12" fmla="*/ 40748 w 62689"/>
                <a:gd name="connsiteY12" fmla="*/ 5709 h 58211"/>
                <a:gd name="connsiteX13" fmla="*/ 30001 w 62689"/>
                <a:gd name="connsiteY13" fmla="*/ 336 h 58211"/>
                <a:gd name="connsiteX14" fmla="*/ 28210 w 62689"/>
                <a:gd name="connsiteY14" fmla="*/ 336 h 58211"/>
                <a:gd name="connsiteX15" fmla="*/ 1343 w 62689"/>
                <a:gd name="connsiteY15" fmla="*/ 13769 h 58211"/>
                <a:gd name="connsiteX16" fmla="*/ 1343 w 62689"/>
                <a:gd name="connsiteY16" fmla="*/ 13769 h 58211"/>
                <a:gd name="connsiteX17" fmla="*/ 1343 w 62689"/>
                <a:gd name="connsiteY17" fmla="*/ 13769 h 58211"/>
                <a:gd name="connsiteX18" fmla="*/ 896 w 62689"/>
                <a:gd name="connsiteY18" fmla="*/ 14217 h 58211"/>
                <a:gd name="connsiteX19" fmla="*/ 448 w 62689"/>
                <a:gd name="connsiteY19" fmla="*/ 14665 h 58211"/>
                <a:gd name="connsiteX20" fmla="*/ 0 w 62689"/>
                <a:gd name="connsiteY20" fmla="*/ 16008 h 58211"/>
                <a:gd name="connsiteX21" fmla="*/ 0 w 62689"/>
                <a:gd name="connsiteY21" fmla="*/ 42875 h 58211"/>
                <a:gd name="connsiteX22" fmla="*/ 1343 w 62689"/>
                <a:gd name="connsiteY22" fmla="*/ 44666 h 58211"/>
                <a:gd name="connsiteX23" fmla="*/ 28210 w 62689"/>
                <a:gd name="connsiteY23" fmla="*/ 58100 h 58211"/>
                <a:gd name="connsiteX24" fmla="*/ 29106 w 62689"/>
                <a:gd name="connsiteY24" fmla="*/ 58547 h 58211"/>
                <a:gd name="connsiteX25" fmla="*/ 30001 w 62689"/>
                <a:gd name="connsiteY25" fmla="*/ 58100 h 58211"/>
                <a:gd name="connsiteX26" fmla="*/ 56868 w 62689"/>
                <a:gd name="connsiteY26" fmla="*/ 44666 h 58211"/>
                <a:gd name="connsiteX27" fmla="*/ 58212 w 62689"/>
                <a:gd name="connsiteY27" fmla="*/ 42875 h 58211"/>
                <a:gd name="connsiteX28" fmla="*/ 58212 w 62689"/>
                <a:gd name="connsiteY28" fmla="*/ 31681 h 58211"/>
                <a:gd name="connsiteX29" fmla="*/ 60451 w 62689"/>
                <a:gd name="connsiteY29" fmla="*/ 31681 h 58211"/>
                <a:gd name="connsiteX30" fmla="*/ 62689 w 62689"/>
                <a:gd name="connsiteY30" fmla="*/ 29442 h 58211"/>
                <a:gd name="connsiteX31" fmla="*/ 60451 w 62689"/>
                <a:gd name="connsiteY31" fmla="*/ 27203 h 58211"/>
                <a:gd name="connsiteX32" fmla="*/ 29106 w 62689"/>
                <a:gd name="connsiteY32" fmla="*/ 4814 h 58211"/>
                <a:gd name="connsiteX33" fmla="*/ 51047 w 62689"/>
                <a:gd name="connsiteY33" fmla="*/ 15560 h 58211"/>
                <a:gd name="connsiteX34" fmla="*/ 29106 w 62689"/>
                <a:gd name="connsiteY34" fmla="*/ 26307 h 58211"/>
                <a:gd name="connsiteX35" fmla="*/ 7165 w 62689"/>
                <a:gd name="connsiteY35" fmla="*/ 15560 h 58211"/>
                <a:gd name="connsiteX36" fmla="*/ 29106 w 62689"/>
                <a:gd name="connsiteY36" fmla="*/ 4814 h 58211"/>
                <a:gd name="connsiteX37" fmla="*/ 4478 w 62689"/>
                <a:gd name="connsiteY37" fmla="*/ 19590 h 58211"/>
                <a:gd name="connsiteX38" fmla="*/ 26867 w 62689"/>
                <a:gd name="connsiteY38" fmla="*/ 30785 h 58211"/>
                <a:gd name="connsiteX39" fmla="*/ 26867 w 62689"/>
                <a:gd name="connsiteY39" fmla="*/ 52726 h 58211"/>
                <a:gd name="connsiteX40" fmla="*/ 4478 w 62689"/>
                <a:gd name="connsiteY40" fmla="*/ 41532 h 58211"/>
                <a:gd name="connsiteX41" fmla="*/ 4478 w 62689"/>
                <a:gd name="connsiteY41" fmla="*/ 19590 h 58211"/>
                <a:gd name="connsiteX42" fmla="*/ 53734 w 62689"/>
                <a:gd name="connsiteY42" fmla="*/ 41532 h 58211"/>
                <a:gd name="connsiteX43" fmla="*/ 31345 w 62689"/>
                <a:gd name="connsiteY43" fmla="*/ 52726 h 58211"/>
                <a:gd name="connsiteX44" fmla="*/ 31345 w 62689"/>
                <a:gd name="connsiteY44" fmla="*/ 30785 h 58211"/>
                <a:gd name="connsiteX45" fmla="*/ 53734 w 62689"/>
                <a:gd name="connsiteY45" fmla="*/ 19590 h 58211"/>
                <a:gd name="connsiteX46" fmla="*/ 53734 w 62689"/>
                <a:gd name="connsiteY46" fmla="*/ 4153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689" h="58211">
                  <a:moveTo>
                    <a:pt x="60451" y="27203"/>
                  </a:moveTo>
                  <a:lnTo>
                    <a:pt x="58212" y="27203"/>
                  </a:lnTo>
                  <a:lnTo>
                    <a:pt x="58212" y="16008"/>
                  </a:lnTo>
                  <a:cubicBezTo>
                    <a:pt x="58212" y="15560"/>
                    <a:pt x="58212" y="15113"/>
                    <a:pt x="57764" y="14665"/>
                  </a:cubicBezTo>
                  <a:cubicBezTo>
                    <a:pt x="57764" y="14665"/>
                    <a:pt x="57764" y="14665"/>
                    <a:pt x="57316" y="14217"/>
                  </a:cubicBezTo>
                  <a:cubicBezTo>
                    <a:pt x="57316" y="14217"/>
                    <a:pt x="56868" y="13769"/>
                    <a:pt x="56868" y="13769"/>
                  </a:cubicBezTo>
                  <a:cubicBezTo>
                    <a:pt x="56868" y="13769"/>
                    <a:pt x="56868" y="13769"/>
                    <a:pt x="56868" y="13769"/>
                  </a:cubicBezTo>
                  <a:cubicBezTo>
                    <a:pt x="56868" y="13769"/>
                    <a:pt x="56868" y="13769"/>
                    <a:pt x="56868" y="13769"/>
                  </a:cubicBezTo>
                  <a:lnTo>
                    <a:pt x="44778" y="7948"/>
                  </a:lnTo>
                  <a:lnTo>
                    <a:pt x="45226" y="6605"/>
                  </a:lnTo>
                  <a:cubicBezTo>
                    <a:pt x="45674" y="5261"/>
                    <a:pt x="45226" y="4366"/>
                    <a:pt x="44330" y="3470"/>
                  </a:cubicBezTo>
                  <a:cubicBezTo>
                    <a:pt x="42987" y="3023"/>
                    <a:pt x="42091" y="3470"/>
                    <a:pt x="41196" y="4366"/>
                  </a:cubicBezTo>
                  <a:lnTo>
                    <a:pt x="40748" y="5709"/>
                  </a:lnTo>
                  <a:lnTo>
                    <a:pt x="30001" y="336"/>
                  </a:lnTo>
                  <a:cubicBezTo>
                    <a:pt x="29554" y="-112"/>
                    <a:pt x="28658" y="-112"/>
                    <a:pt x="28210" y="336"/>
                  </a:cubicBezTo>
                  <a:lnTo>
                    <a:pt x="1343" y="13769"/>
                  </a:lnTo>
                  <a:cubicBezTo>
                    <a:pt x="1343" y="13769"/>
                    <a:pt x="1343" y="13769"/>
                    <a:pt x="1343" y="13769"/>
                  </a:cubicBezTo>
                  <a:cubicBezTo>
                    <a:pt x="1343" y="13769"/>
                    <a:pt x="1343" y="13769"/>
                    <a:pt x="1343" y="13769"/>
                  </a:cubicBezTo>
                  <a:cubicBezTo>
                    <a:pt x="1343" y="13769"/>
                    <a:pt x="896" y="14217"/>
                    <a:pt x="896" y="14217"/>
                  </a:cubicBezTo>
                  <a:cubicBezTo>
                    <a:pt x="896" y="14217"/>
                    <a:pt x="896" y="14217"/>
                    <a:pt x="448" y="14665"/>
                  </a:cubicBezTo>
                  <a:cubicBezTo>
                    <a:pt x="448" y="15113"/>
                    <a:pt x="0" y="15560"/>
                    <a:pt x="0" y="16008"/>
                  </a:cubicBezTo>
                  <a:lnTo>
                    <a:pt x="0" y="42875"/>
                  </a:lnTo>
                  <a:cubicBezTo>
                    <a:pt x="0" y="43771"/>
                    <a:pt x="448" y="44666"/>
                    <a:pt x="1343" y="44666"/>
                  </a:cubicBezTo>
                  <a:lnTo>
                    <a:pt x="28210" y="58100"/>
                  </a:lnTo>
                  <a:cubicBezTo>
                    <a:pt x="28658" y="58100"/>
                    <a:pt x="28658" y="58547"/>
                    <a:pt x="29106" y="58547"/>
                  </a:cubicBezTo>
                  <a:cubicBezTo>
                    <a:pt x="29554" y="58547"/>
                    <a:pt x="30001" y="58547"/>
                    <a:pt x="30001" y="58100"/>
                  </a:cubicBezTo>
                  <a:lnTo>
                    <a:pt x="56868" y="44666"/>
                  </a:lnTo>
                  <a:cubicBezTo>
                    <a:pt x="57764" y="44218"/>
                    <a:pt x="58212" y="43323"/>
                    <a:pt x="58212" y="42875"/>
                  </a:cubicBezTo>
                  <a:lnTo>
                    <a:pt x="58212" y="31681"/>
                  </a:lnTo>
                  <a:lnTo>
                    <a:pt x="60451" y="31681"/>
                  </a:lnTo>
                  <a:cubicBezTo>
                    <a:pt x="61794" y="31681"/>
                    <a:pt x="62689" y="30785"/>
                    <a:pt x="62689" y="29442"/>
                  </a:cubicBezTo>
                  <a:cubicBezTo>
                    <a:pt x="62689" y="28098"/>
                    <a:pt x="61794" y="27203"/>
                    <a:pt x="60451" y="27203"/>
                  </a:cubicBezTo>
                  <a:close/>
                  <a:moveTo>
                    <a:pt x="29106" y="4814"/>
                  </a:moveTo>
                  <a:lnTo>
                    <a:pt x="51047" y="15560"/>
                  </a:lnTo>
                  <a:lnTo>
                    <a:pt x="29106" y="26307"/>
                  </a:lnTo>
                  <a:lnTo>
                    <a:pt x="7165" y="15560"/>
                  </a:lnTo>
                  <a:lnTo>
                    <a:pt x="29106" y="4814"/>
                  </a:lnTo>
                  <a:close/>
                  <a:moveTo>
                    <a:pt x="4478" y="19590"/>
                  </a:moveTo>
                  <a:lnTo>
                    <a:pt x="26867" y="30785"/>
                  </a:lnTo>
                  <a:lnTo>
                    <a:pt x="26867" y="52726"/>
                  </a:lnTo>
                  <a:lnTo>
                    <a:pt x="4478" y="41532"/>
                  </a:lnTo>
                  <a:lnTo>
                    <a:pt x="4478" y="19590"/>
                  </a:lnTo>
                  <a:close/>
                  <a:moveTo>
                    <a:pt x="53734" y="41532"/>
                  </a:moveTo>
                  <a:lnTo>
                    <a:pt x="31345" y="52726"/>
                  </a:lnTo>
                  <a:lnTo>
                    <a:pt x="31345" y="30785"/>
                  </a:lnTo>
                  <a:lnTo>
                    <a:pt x="53734" y="19590"/>
                  </a:lnTo>
                  <a:lnTo>
                    <a:pt x="53734" y="41532"/>
                  </a:lnTo>
                  <a:close/>
                </a:path>
              </a:pathLst>
            </a:custGeom>
            <a:solidFill>
              <a:srgbClr val="231F20"/>
            </a:solidFill>
            <a:ln w="4474" cap="flat">
              <a:noFill/>
              <a:prstDash val="solid"/>
              <a:miter/>
            </a:ln>
          </p:spPr>
          <p:txBody>
            <a:bodyPr rtlCol="0" anchor="ctr"/>
            <a:lstStyle/>
            <a:p>
              <a:endParaRPr lang="en-US"/>
            </a:p>
          </p:txBody>
        </p:sp>
        <p:sp>
          <p:nvSpPr>
            <p:cNvPr id="4169" name="Freeform: Shape 4168">
              <a:extLst>
                <a:ext uri="{FF2B5EF4-FFF2-40B4-BE49-F238E27FC236}">
                  <a16:creationId xmlns:a16="http://schemas.microsoft.com/office/drawing/2014/main" id="{9C6A3124-534D-4DA4-8E29-CE31119178CD}"/>
                </a:ext>
              </a:extLst>
            </p:cNvPr>
            <p:cNvSpPr/>
            <p:nvPr/>
          </p:nvSpPr>
          <p:spPr>
            <a:xfrm>
              <a:off x="912991" y="2415868"/>
              <a:ext cx="8956" cy="4478"/>
            </a:xfrm>
            <a:custGeom>
              <a:avLst/>
              <a:gdLst>
                <a:gd name="connsiteX0" fmla="*/ 6717 w 8955"/>
                <a:gd name="connsiteY0" fmla="*/ 0 h 4477"/>
                <a:gd name="connsiteX1" fmla="*/ 2239 w 8955"/>
                <a:gd name="connsiteY1" fmla="*/ 0 h 4477"/>
                <a:gd name="connsiteX2" fmla="*/ 0 w 8955"/>
                <a:gd name="connsiteY2" fmla="*/ 2239 h 4477"/>
                <a:gd name="connsiteX3" fmla="*/ 2239 w 8955"/>
                <a:gd name="connsiteY3" fmla="*/ 4478 h 4477"/>
                <a:gd name="connsiteX4" fmla="*/ 6717 w 8955"/>
                <a:gd name="connsiteY4" fmla="*/ 4478 h 4477"/>
                <a:gd name="connsiteX5" fmla="*/ 8956 w 8955"/>
                <a:gd name="connsiteY5" fmla="*/ 2239 h 4477"/>
                <a:gd name="connsiteX6" fmla="*/ 6717 w 8955"/>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6717" y="0"/>
                  </a:moveTo>
                  <a:lnTo>
                    <a:pt x="2239" y="0"/>
                  </a:lnTo>
                  <a:cubicBezTo>
                    <a:pt x="896" y="0"/>
                    <a:pt x="0" y="896"/>
                    <a:pt x="0" y="2239"/>
                  </a:cubicBezTo>
                  <a:cubicBezTo>
                    <a:pt x="0" y="3582"/>
                    <a:pt x="896" y="4478"/>
                    <a:pt x="2239" y="4478"/>
                  </a:cubicBezTo>
                  <a:lnTo>
                    <a:pt x="6717" y="4478"/>
                  </a:lnTo>
                  <a:cubicBezTo>
                    <a:pt x="8060" y="4478"/>
                    <a:pt x="8956" y="3582"/>
                    <a:pt x="8956" y="2239"/>
                  </a:cubicBezTo>
                  <a:cubicBezTo>
                    <a:pt x="8956" y="896"/>
                    <a:pt x="8060" y="0"/>
                    <a:pt x="6717" y="0"/>
                  </a:cubicBezTo>
                  <a:close/>
                </a:path>
              </a:pathLst>
            </a:custGeom>
            <a:solidFill>
              <a:srgbClr val="231F20"/>
            </a:solidFill>
            <a:ln w="4474" cap="flat">
              <a:noFill/>
              <a:prstDash val="solid"/>
              <a:miter/>
            </a:ln>
          </p:spPr>
          <p:txBody>
            <a:bodyPr rtlCol="0" anchor="ctr"/>
            <a:lstStyle/>
            <a:p>
              <a:endParaRPr lang="en-US"/>
            </a:p>
          </p:txBody>
        </p:sp>
        <p:sp>
          <p:nvSpPr>
            <p:cNvPr id="4170" name="Freeform: Shape 4169">
              <a:extLst>
                <a:ext uri="{FF2B5EF4-FFF2-40B4-BE49-F238E27FC236}">
                  <a16:creationId xmlns:a16="http://schemas.microsoft.com/office/drawing/2014/main" id="{101F88A9-8400-414F-91D7-DFEBD3C1D89E}"/>
                </a:ext>
              </a:extLst>
            </p:cNvPr>
            <p:cNvSpPr/>
            <p:nvPr/>
          </p:nvSpPr>
          <p:spPr>
            <a:xfrm>
              <a:off x="926425" y="2415868"/>
              <a:ext cx="8956" cy="4478"/>
            </a:xfrm>
            <a:custGeom>
              <a:avLst/>
              <a:gdLst>
                <a:gd name="connsiteX0" fmla="*/ 6717 w 8955"/>
                <a:gd name="connsiteY0" fmla="*/ 0 h 4477"/>
                <a:gd name="connsiteX1" fmla="*/ 2239 w 8955"/>
                <a:gd name="connsiteY1" fmla="*/ 0 h 4477"/>
                <a:gd name="connsiteX2" fmla="*/ 0 w 8955"/>
                <a:gd name="connsiteY2" fmla="*/ 2239 h 4477"/>
                <a:gd name="connsiteX3" fmla="*/ 2239 w 8955"/>
                <a:gd name="connsiteY3" fmla="*/ 4478 h 4477"/>
                <a:gd name="connsiteX4" fmla="*/ 6717 w 8955"/>
                <a:gd name="connsiteY4" fmla="*/ 4478 h 4477"/>
                <a:gd name="connsiteX5" fmla="*/ 8956 w 8955"/>
                <a:gd name="connsiteY5" fmla="*/ 2239 h 4477"/>
                <a:gd name="connsiteX6" fmla="*/ 6717 w 8955"/>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6717" y="0"/>
                  </a:moveTo>
                  <a:lnTo>
                    <a:pt x="2239" y="0"/>
                  </a:lnTo>
                  <a:cubicBezTo>
                    <a:pt x="896" y="0"/>
                    <a:pt x="0" y="896"/>
                    <a:pt x="0" y="2239"/>
                  </a:cubicBezTo>
                  <a:cubicBezTo>
                    <a:pt x="0" y="3582"/>
                    <a:pt x="896" y="4478"/>
                    <a:pt x="2239" y="4478"/>
                  </a:cubicBezTo>
                  <a:lnTo>
                    <a:pt x="6717" y="4478"/>
                  </a:lnTo>
                  <a:cubicBezTo>
                    <a:pt x="8060" y="4478"/>
                    <a:pt x="8956" y="3582"/>
                    <a:pt x="8956" y="2239"/>
                  </a:cubicBezTo>
                  <a:cubicBezTo>
                    <a:pt x="8956" y="896"/>
                    <a:pt x="8060" y="0"/>
                    <a:pt x="6717" y="0"/>
                  </a:cubicBezTo>
                  <a:close/>
                </a:path>
              </a:pathLst>
            </a:custGeom>
            <a:solidFill>
              <a:srgbClr val="231F20"/>
            </a:solidFill>
            <a:ln w="4474" cap="flat">
              <a:noFill/>
              <a:prstDash val="solid"/>
              <a:miter/>
            </a:ln>
          </p:spPr>
          <p:txBody>
            <a:bodyPr rtlCol="0" anchor="ctr"/>
            <a:lstStyle/>
            <a:p>
              <a:endParaRPr lang="en-US"/>
            </a:p>
          </p:txBody>
        </p:sp>
      </p:grpSp>
      <p:sp>
        <p:nvSpPr>
          <p:cNvPr id="4171" name="Freeform: Shape 4170">
            <a:extLst>
              <a:ext uri="{FF2B5EF4-FFF2-40B4-BE49-F238E27FC236}">
                <a16:creationId xmlns:a16="http://schemas.microsoft.com/office/drawing/2014/main" id="{1CF503D7-7D71-4E90-898A-C4910D095339}"/>
              </a:ext>
              <a:ext uri="{C183D7F6-B498-43B3-948B-1728B52AA6E4}">
                <adec:decorative xmlns:adec="http://schemas.microsoft.com/office/drawing/2017/decorative" val="1"/>
              </a:ext>
            </a:extLst>
          </p:cNvPr>
          <p:cNvSpPr>
            <a:spLocks noChangeAspect="1"/>
          </p:cNvSpPr>
          <p:nvPr/>
        </p:nvSpPr>
        <p:spPr>
          <a:xfrm>
            <a:off x="1082247" y="3057721"/>
            <a:ext cx="134335" cy="120901"/>
          </a:xfrm>
          <a:custGeom>
            <a:avLst/>
            <a:gdLst>
              <a:gd name="connsiteX0" fmla="*/ 138365 w 134334"/>
              <a:gd name="connsiteY0" fmla="*/ 68063 h 120901"/>
              <a:gd name="connsiteX1" fmla="*/ 138365 w 134334"/>
              <a:gd name="connsiteY1" fmla="*/ 68063 h 120901"/>
              <a:gd name="connsiteX2" fmla="*/ 137917 w 134334"/>
              <a:gd name="connsiteY2" fmla="*/ 67167 h 120901"/>
              <a:gd name="connsiteX3" fmla="*/ 137917 w 134334"/>
              <a:gd name="connsiteY3" fmla="*/ 67167 h 120901"/>
              <a:gd name="connsiteX4" fmla="*/ 137917 w 134334"/>
              <a:gd name="connsiteY4" fmla="*/ 67167 h 120901"/>
              <a:gd name="connsiteX5" fmla="*/ 137469 w 134334"/>
              <a:gd name="connsiteY5" fmla="*/ 67167 h 120901"/>
              <a:gd name="connsiteX6" fmla="*/ 105229 w 134334"/>
              <a:gd name="connsiteY6" fmla="*/ 54629 h 120901"/>
              <a:gd name="connsiteX7" fmla="*/ 105229 w 134334"/>
              <a:gd name="connsiteY7" fmla="*/ 15225 h 120901"/>
              <a:gd name="connsiteX8" fmla="*/ 105229 w 134334"/>
              <a:gd name="connsiteY8" fmla="*/ 15225 h 120901"/>
              <a:gd name="connsiteX9" fmla="*/ 104781 w 134334"/>
              <a:gd name="connsiteY9" fmla="*/ 14329 h 120901"/>
              <a:gd name="connsiteX10" fmla="*/ 104781 w 134334"/>
              <a:gd name="connsiteY10" fmla="*/ 13881 h 120901"/>
              <a:gd name="connsiteX11" fmla="*/ 104333 w 134334"/>
              <a:gd name="connsiteY11" fmla="*/ 13433 h 120901"/>
              <a:gd name="connsiteX12" fmla="*/ 104333 w 134334"/>
              <a:gd name="connsiteY12" fmla="*/ 13433 h 120901"/>
              <a:gd name="connsiteX13" fmla="*/ 104333 w 134334"/>
              <a:gd name="connsiteY13" fmla="*/ 13433 h 120901"/>
              <a:gd name="connsiteX14" fmla="*/ 103885 w 134334"/>
              <a:gd name="connsiteY14" fmla="*/ 13433 h 120901"/>
              <a:gd name="connsiteX15" fmla="*/ 70750 w 134334"/>
              <a:gd name="connsiteY15" fmla="*/ 0 h 120901"/>
              <a:gd name="connsiteX16" fmla="*/ 68958 w 134334"/>
              <a:gd name="connsiteY16" fmla="*/ 0 h 120901"/>
              <a:gd name="connsiteX17" fmla="*/ 34927 w 134334"/>
              <a:gd name="connsiteY17" fmla="*/ 13433 h 120901"/>
              <a:gd name="connsiteX18" fmla="*/ 34479 w 134334"/>
              <a:gd name="connsiteY18" fmla="*/ 13433 h 120901"/>
              <a:gd name="connsiteX19" fmla="*/ 34479 w 134334"/>
              <a:gd name="connsiteY19" fmla="*/ 13433 h 120901"/>
              <a:gd name="connsiteX20" fmla="*/ 34479 w 134334"/>
              <a:gd name="connsiteY20" fmla="*/ 13433 h 120901"/>
              <a:gd name="connsiteX21" fmla="*/ 34031 w 134334"/>
              <a:gd name="connsiteY21" fmla="*/ 13881 h 120901"/>
              <a:gd name="connsiteX22" fmla="*/ 34031 w 134334"/>
              <a:gd name="connsiteY22" fmla="*/ 14329 h 120901"/>
              <a:gd name="connsiteX23" fmla="*/ 33584 w 134334"/>
              <a:gd name="connsiteY23" fmla="*/ 15225 h 120901"/>
              <a:gd name="connsiteX24" fmla="*/ 33584 w 134334"/>
              <a:gd name="connsiteY24" fmla="*/ 15225 h 120901"/>
              <a:gd name="connsiteX25" fmla="*/ 33584 w 134334"/>
              <a:gd name="connsiteY25" fmla="*/ 54182 h 120901"/>
              <a:gd name="connsiteX26" fmla="*/ 1343 w 134334"/>
              <a:gd name="connsiteY26" fmla="*/ 67167 h 120901"/>
              <a:gd name="connsiteX27" fmla="*/ 896 w 134334"/>
              <a:gd name="connsiteY27" fmla="*/ 67167 h 120901"/>
              <a:gd name="connsiteX28" fmla="*/ 896 w 134334"/>
              <a:gd name="connsiteY28" fmla="*/ 67167 h 120901"/>
              <a:gd name="connsiteX29" fmla="*/ 896 w 134334"/>
              <a:gd name="connsiteY29" fmla="*/ 67167 h 120901"/>
              <a:gd name="connsiteX30" fmla="*/ 448 w 134334"/>
              <a:gd name="connsiteY30" fmla="*/ 67615 h 120901"/>
              <a:gd name="connsiteX31" fmla="*/ 448 w 134334"/>
              <a:gd name="connsiteY31" fmla="*/ 68063 h 120901"/>
              <a:gd name="connsiteX32" fmla="*/ 0 w 134334"/>
              <a:gd name="connsiteY32" fmla="*/ 68958 h 120901"/>
              <a:gd name="connsiteX33" fmla="*/ 0 w 134334"/>
              <a:gd name="connsiteY33" fmla="*/ 68958 h 120901"/>
              <a:gd name="connsiteX34" fmla="*/ 0 w 134334"/>
              <a:gd name="connsiteY34" fmla="*/ 109259 h 120901"/>
              <a:gd name="connsiteX35" fmla="*/ 1343 w 134334"/>
              <a:gd name="connsiteY35" fmla="*/ 111498 h 120901"/>
              <a:gd name="connsiteX36" fmla="*/ 34927 w 134334"/>
              <a:gd name="connsiteY36" fmla="*/ 124931 h 120901"/>
              <a:gd name="connsiteX37" fmla="*/ 35823 w 134334"/>
              <a:gd name="connsiteY37" fmla="*/ 124931 h 120901"/>
              <a:gd name="connsiteX38" fmla="*/ 35823 w 134334"/>
              <a:gd name="connsiteY38" fmla="*/ 124931 h 120901"/>
              <a:gd name="connsiteX39" fmla="*/ 35823 w 134334"/>
              <a:gd name="connsiteY39" fmla="*/ 124931 h 120901"/>
              <a:gd name="connsiteX40" fmla="*/ 36718 w 134334"/>
              <a:gd name="connsiteY40" fmla="*/ 124931 h 120901"/>
              <a:gd name="connsiteX41" fmla="*/ 68958 w 134334"/>
              <a:gd name="connsiteY41" fmla="*/ 111498 h 120901"/>
              <a:gd name="connsiteX42" fmla="*/ 102094 w 134334"/>
              <a:gd name="connsiteY42" fmla="*/ 124931 h 120901"/>
              <a:gd name="connsiteX43" fmla="*/ 102990 w 134334"/>
              <a:gd name="connsiteY43" fmla="*/ 124931 h 120901"/>
              <a:gd name="connsiteX44" fmla="*/ 102990 w 134334"/>
              <a:gd name="connsiteY44" fmla="*/ 124931 h 120901"/>
              <a:gd name="connsiteX45" fmla="*/ 102990 w 134334"/>
              <a:gd name="connsiteY45" fmla="*/ 124931 h 120901"/>
              <a:gd name="connsiteX46" fmla="*/ 103885 w 134334"/>
              <a:gd name="connsiteY46" fmla="*/ 124931 h 120901"/>
              <a:gd name="connsiteX47" fmla="*/ 137469 w 134334"/>
              <a:gd name="connsiteY47" fmla="*/ 111050 h 120901"/>
              <a:gd name="connsiteX48" fmla="*/ 138812 w 134334"/>
              <a:gd name="connsiteY48" fmla="*/ 108811 h 120901"/>
              <a:gd name="connsiteX49" fmla="*/ 138812 w 134334"/>
              <a:gd name="connsiteY49" fmla="*/ 68958 h 120901"/>
              <a:gd name="connsiteX50" fmla="*/ 138812 w 134334"/>
              <a:gd name="connsiteY50" fmla="*/ 68958 h 120901"/>
              <a:gd name="connsiteX51" fmla="*/ 138365 w 134334"/>
              <a:gd name="connsiteY51" fmla="*/ 68063 h 120901"/>
              <a:gd name="connsiteX52" fmla="*/ 102542 w 134334"/>
              <a:gd name="connsiteY52" fmla="*/ 79705 h 120901"/>
              <a:gd name="connsiteX53" fmla="*/ 75227 w 134334"/>
              <a:gd name="connsiteY53" fmla="*/ 68511 h 120901"/>
              <a:gd name="connsiteX54" fmla="*/ 102542 w 134334"/>
              <a:gd name="connsiteY54" fmla="*/ 57764 h 120901"/>
              <a:gd name="connsiteX55" fmla="*/ 130305 w 134334"/>
              <a:gd name="connsiteY55" fmla="*/ 68511 h 120901"/>
              <a:gd name="connsiteX56" fmla="*/ 102542 w 134334"/>
              <a:gd name="connsiteY56" fmla="*/ 79705 h 120901"/>
              <a:gd name="connsiteX57" fmla="*/ 35375 w 134334"/>
              <a:gd name="connsiteY57" fmla="*/ 79705 h 120901"/>
              <a:gd name="connsiteX58" fmla="*/ 7612 w 134334"/>
              <a:gd name="connsiteY58" fmla="*/ 68511 h 120901"/>
              <a:gd name="connsiteX59" fmla="*/ 35375 w 134334"/>
              <a:gd name="connsiteY59" fmla="*/ 57316 h 120901"/>
              <a:gd name="connsiteX60" fmla="*/ 63137 w 134334"/>
              <a:gd name="connsiteY60" fmla="*/ 68511 h 120901"/>
              <a:gd name="connsiteX61" fmla="*/ 35375 w 134334"/>
              <a:gd name="connsiteY61" fmla="*/ 79705 h 120901"/>
              <a:gd name="connsiteX62" fmla="*/ 71197 w 134334"/>
              <a:gd name="connsiteY62" fmla="*/ 30001 h 120901"/>
              <a:gd name="connsiteX63" fmla="*/ 100303 w 134334"/>
              <a:gd name="connsiteY63" fmla="*/ 18359 h 120901"/>
              <a:gd name="connsiteX64" fmla="*/ 100303 w 134334"/>
              <a:gd name="connsiteY64" fmla="*/ 53734 h 120901"/>
              <a:gd name="connsiteX65" fmla="*/ 71197 w 134334"/>
              <a:gd name="connsiteY65" fmla="*/ 65376 h 120901"/>
              <a:gd name="connsiteX66" fmla="*/ 71197 w 134334"/>
              <a:gd name="connsiteY66" fmla="*/ 30001 h 120901"/>
              <a:gd name="connsiteX67" fmla="*/ 66719 w 134334"/>
              <a:gd name="connsiteY67" fmla="*/ 30001 h 120901"/>
              <a:gd name="connsiteX68" fmla="*/ 66719 w 134334"/>
              <a:gd name="connsiteY68" fmla="*/ 65376 h 120901"/>
              <a:gd name="connsiteX69" fmla="*/ 37614 w 134334"/>
              <a:gd name="connsiteY69" fmla="*/ 53734 h 120901"/>
              <a:gd name="connsiteX70" fmla="*/ 37614 w 134334"/>
              <a:gd name="connsiteY70" fmla="*/ 18359 h 120901"/>
              <a:gd name="connsiteX71" fmla="*/ 66719 w 134334"/>
              <a:gd name="connsiteY71" fmla="*/ 30001 h 120901"/>
              <a:gd name="connsiteX72" fmla="*/ 69406 w 134334"/>
              <a:gd name="connsiteY72" fmla="*/ 4030 h 120901"/>
              <a:gd name="connsiteX73" fmla="*/ 96721 w 134334"/>
              <a:gd name="connsiteY73" fmla="*/ 15225 h 120901"/>
              <a:gd name="connsiteX74" fmla="*/ 68958 w 134334"/>
              <a:gd name="connsiteY74" fmla="*/ 26419 h 120901"/>
              <a:gd name="connsiteX75" fmla="*/ 41644 w 134334"/>
              <a:gd name="connsiteY75" fmla="*/ 15225 h 120901"/>
              <a:gd name="connsiteX76" fmla="*/ 69406 w 134334"/>
              <a:gd name="connsiteY76" fmla="*/ 4030 h 120901"/>
              <a:gd name="connsiteX77" fmla="*/ 4478 w 134334"/>
              <a:gd name="connsiteY77" fmla="*/ 72093 h 120901"/>
              <a:gd name="connsiteX78" fmla="*/ 33584 w 134334"/>
              <a:gd name="connsiteY78" fmla="*/ 83735 h 120901"/>
              <a:gd name="connsiteX79" fmla="*/ 33584 w 134334"/>
              <a:gd name="connsiteY79" fmla="*/ 119110 h 120901"/>
              <a:gd name="connsiteX80" fmla="*/ 4478 w 134334"/>
              <a:gd name="connsiteY80" fmla="*/ 107468 h 120901"/>
              <a:gd name="connsiteX81" fmla="*/ 4478 w 134334"/>
              <a:gd name="connsiteY81" fmla="*/ 72093 h 120901"/>
              <a:gd name="connsiteX82" fmla="*/ 66719 w 134334"/>
              <a:gd name="connsiteY82" fmla="*/ 107468 h 120901"/>
              <a:gd name="connsiteX83" fmla="*/ 37614 w 134334"/>
              <a:gd name="connsiteY83" fmla="*/ 119110 h 120901"/>
              <a:gd name="connsiteX84" fmla="*/ 37614 w 134334"/>
              <a:gd name="connsiteY84" fmla="*/ 83735 h 120901"/>
              <a:gd name="connsiteX85" fmla="*/ 66719 w 134334"/>
              <a:gd name="connsiteY85" fmla="*/ 72093 h 120901"/>
              <a:gd name="connsiteX86" fmla="*/ 66719 w 134334"/>
              <a:gd name="connsiteY86" fmla="*/ 107468 h 120901"/>
              <a:gd name="connsiteX87" fmla="*/ 71645 w 134334"/>
              <a:gd name="connsiteY87" fmla="*/ 72093 h 120901"/>
              <a:gd name="connsiteX88" fmla="*/ 100751 w 134334"/>
              <a:gd name="connsiteY88" fmla="*/ 83735 h 120901"/>
              <a:gd name="connsiteX89" fmla="*/ 100751 w 134334"/>
              <a:gd name="connsiteY89" fmla="*/ 119110 h 120901"/>
              <a:gd name="connsiteX90" fmla="*/ 71645 w 134334"/>
              <a:gd name="connsiteY90" fmla="*/ 107468 h 120901"/>
              <a:gd name="connsiteX91" fmla="*/ 71645 w 134334"/>
              <a:gd name="connsiteY91" fmla="*/ 72093 h 120901"/>
              <a:gd name="connsiteX92" fmla="*/ 133887 w 134334"/>
              <a:gd name="connsiteY92" fmla="*/ 107468 h 120901"/>
              <a:gd name="connsiteX93" fmla="*/ 104781 w 134334"/>
              <a:gd name="connsiteY93" fmla="*/ 119110 h 120901"/>
              <a:gd name="connsiteX94" fmla="*/ 104781 w 134334"/>
              <a:gd name="connsiteY94" fmla="*/ 83735 h 120901"/>
              <a:gd name="connsiteX95" fmla="*/ 133887 w 134334"/>
              <a:gd name="connsiteY95" fmla="*/ 72093 h 120901"/>
              <a:gd name="connsiteX96" fmla="*/ 133887 w 134334"/>
              <a:gd name="connsiteY96" fmla="*/ 107468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34334" h="120901">
                <a:moveTo>
                  <a:pt x="138365" y="68063"/>
                </a:moveTo>
                <a:cubicBezTo>
                  <a:pt x="138365" y="67615"/>
                  <a:pt x="138365" y="67615"/>
                  <a:pt x="138365" y="68063"/>
                </a:cubicBezTo>
                <a:cubicBezTo>
                  <a:pt x="137917" y="67615"/>
                  <a:pt x="137917" y="67615"/>
                  <a:pt x="137917" y="67167"/>
                </a:cubicBezTo>
                <a:cubicBezTo>
                  <a:pt x="137917" y="67167"/>
                  <a:pt x="137917" y="67167"/>
                  <a:pt x="137917" y="67167"/>
                </a:cubicBezTo>
                <a:cubicBezTo>
                  <a:pt x="137917" y="67167"/>
                  <a:pt x="137917" y="67167"/>
                  <a:pt x="137917" y="67167"/>
                </a:cubicBezTo>
                <a:cubicBezTo>
                  <a:pt x="137917" y="67167"/>
                  <a:pt x="137917" y="67167"/>
                  <a:pt x="137469" y="67167"/>
                </a:cubicBezTo>
                <a:lnTo>
                  <a:pt x="105229" y="54629"/>
                </a:lnTo>
                <a:lnTo>
                  <a:pt x="105229" y="15225"/>
                </a:lnTo>
                <a:cubicBezTo>
                  <a:pt x="105229" y="15225"/>
                  <a:pt x="105229" y="15225"/>
                  <a:pt x="105229" y="15225"/>
                </a:cubicBezTo>
                <a:cubicBezTo>
                  <a:pt x="105229" y="14777"/>
                  <a:pt x="105229" y="14777"/>
                  <a:pt x="104781" y="14329"/>
                </a:cubicBezTo>
                <a:cubicBezTo>
                  <a:pt x="104781" y="14329"/>
                  <a:pt x="104781" y="14329"/>
                  <a:pt x="104781" y="13881"/>
                </a:cubicBezTo>
                <a:cubicBezTo>
                  <a:pt x="104781" y="13881"/>
                  <a:pt x="104333" y="13433"/>
                  <a:pt x="104333" y="13433"/>
                </a:cubicBezTo>
                <a:cubicBezTo>
                  <a:pt x="104333" y="13433"/>
                  <a:pt x="104333" y="13433"/>
                  <a:pt x="104333" y="13433"/>
                </a:cubicBezTo>
                <a:cubicBezTo>
                  <a:pt x="104333" y="13433"/>
                  <a:pt x="104333" y="13433"/>
                  <a:pt x="104333" y="13433"/>
                </a:cubicBezTo>
                <a:cubicBezTo>
                  <a:pt x="104333" y="13433"/>
                  <a:pt x="104333" y="13433"/>
                  <a:pt x="103885" y="13433"/>
                </a:cubicBezTo>
                <a:lnTo>
                  <a:pt x="70750" y="0"/>
                </a:lnTo>
                <a:cubicBezTo>
                  <a:pt x="70302" y="0"/>
                  <a:pt x="69406" y="0"/>
                  <a:pt x="68958" y="0"/>
                </a:cubicBezTo>
                <a:lnTo>
                  <a:pt x="34927" y="13433"/>
                </a:lnTo>
                <a:cubicBezTo>
                  <a:pt x="34927" y="13433"/>
                  <a:pt x="34927" y="13433"/>
                  <a:pt x="34479" y="13433"/>
                </a:cubicBezTo>
                <a:cubicBezTo>
                  <a:pt x="34479" y="13433"/>
                  <a:pt x="34479" y="13433"/>
                  <a:pt x="34479" y="13433"/>
                </a:cubicBezTo>
                <a:cubicBezTo>
                  <a:pt x="34479" y="13433"/>
                  <a:pt x="34479" y="13433"/>
                  <a:pt x="34479" y="13433"/>
                </a:cubicBezTo>
                <a:cubicBezTo>
                  <a:pt x="34479" y="13433"/>
                  <a:pt x="34031" y="13881"/>
                  <a:pt x="34031" y="13881"/>
                </a:cubicBezTo>
                <a:cubicBezTo>
                  <a:pt x="34031" y="13881"/>
                  <a:pt x="34031" y="13881"/>
                  <a:pt x="34031" y="14329"/>
                </a:cubicBezTo>
                <a:cubicBezTo>
                  <a:pt x="34031" y="14777"/>
                  <a:pt x="33584" y="14777"/>
                  <a:pt x="33584" y="15225"/>
                </a:cubicBezTo>
                <a:cubicBezTo>
                  <a:pt x="33584" y="15225"/>
                  <a:pt x="33584" y="15225"/>
                  <a:pt x="33584" y="15225"/>
                </a:cubicBezTo>
                <a:lnTo>
                  <a:pt x="33584" y="54182"/>
                </a:lnTo>
                <a:lnTo>
                  <a:pt x="1343" y="67167"/>
                </a:lnTo>
                <a:cubicBezTo>
                  <a:pt x="1343" y="67167"/>
                  <a:pt x="1343" y="67167"/>
                  <a:pt x="896" y="67167"/>
                </a:cubicBezTo>
                <a:cubicBezTo>
                  <a:pt x="896" y="67167"/>
                  <a:pt x="896" y="67167"/>
                  <a:pt x="896" y="67167"/>
                </a:cubicBezTo>
                <a:cubicBezTo>
                  <a:pt x="896" y="67167"/>
                  <a:pt x="896" y="67167"/>
                  <a:pt x="896" y="67167"/>
                </a:cubicBezTo>
                <a:cubicBezTo>
                  <a:pt x="896" y="67167"/>
                  <a:pt x="448" y="67615"/>
                  <a:pt x="448" y="67615"/>
                </a:cubicBezTo>
                <a:cubicBezTo>
                  <a:pt x="448" y="67615"/>
                  <a:pt x="448" y="67615"/>
                  <a:pt x="448" y="68063"/>
                </a:cubicBezTo>
                <a:cubicBezTo>
                  <a:pt x="448" y="68511"/>
                  <a:pt x="0" y="68511"/>
                  <a:pt x="0" y="68958"/>
                </a:cubicBezTo>
                <a:cubicBezTo>
                  <a:pt x="0" y="68958"/>
                  <a:pt x="0" y="68958"/>
                  <a:pt x="0" y="68958"/>
                </a:cubicBezTo>
                <a:lnTo>
                  <a:pt x="0" y="109259"/>
                </a:lnTo>
                <a:cubicBezTo>
                  <a:pt x="0" y="110154"/>
                  <a:pt x="448" y="111050"/>
                  <a:pt x="1343" y="111498"/>
                </a:cubicBezTo>
                <a:lnTo>
                  <a:pt x="34927" y="124931"/>
                </a:lnTo>
                <a:cubicBezTo>
                  <a:pt x="35375" y="124931"/>
                  <a:pt x="35375" y="124931"/>
                  <a:pt x="35823" y="124931"/>
                </a:cubicBezTo>
                <a:cubicBezTo>
                  <a:pt x="35823" y="124931"/>
                  <a:pt x="35823" y="124931"/>
                  <a:pt x="35823" y="124931"/>
                </a:cubicBezTo>
                <a:cubicBezTo>
                  <a:pt x="35823" y="124931"/>
                  <a:pt x="35823" y="124931"/>
                  <a:pt x="35823" y="124931"/>
                </a:cubicBezTo>
                <a:cubicBezTo>
                  <a:pt x="36270" y="124931"/>
                  <a:pt x="36270" y="124931"/>
                  <a:pt x="36718" y="124931"/>
                </a:cubicBezTo>
                <a:lnTo>
                  <a:pt x="68958" y="111498"/>
                </a:lnTo>
                <a:lnTo>
                  <a:pt x="102094" y="124931"/>
                </a:lnTo>
                <a:cubicBezTo>
                  <a:pt x="102542" y="124931"/>
                  <a:pt x="102542" y="124931"/>
                  <a:pt x="102990" y="124931"/>
                </a:cubicBezTo>
                <a:cubicBezTo>
                  <a:pt x="102990" y="124931"/>
                  <a:pt x="102990" y="124931"/>
                  <a:pt x="102990" y="124931"/>
                </a:cubicBezTo>
                <a:cubicBezTo>
                  <a:pt x="102990" y="124931"/>
                  <a:pt x="102990" y="124931"/>
                  <a:pt x="102990" y="124931"/>
                </a:cubicBezTo>
                <a:cubicBezTo>
                  <a:pt x="103438" y="124931"/>
                  <a:pt x="103438" y="124931"/>
                  <a:pt x="103885" y="124931"/>
                </a:cubicBezTo>
                <a:lnTo>
                  <a:pt x="137469" y="111050"/>
                </a:lnTo>
                <a:cubicBezTo>
                  <a:pt x="138365" y="110602"/>
                  <a:pt x="138812" y="109707"/>
                  <a:pt x="138812" y="108811"/>
                </a:cubicBezTo>
                <a:lnTo>
                  <a:pt x="138812" y="68958"/>
                </a:lnTo>
                <a:cubicBezTo>
                  <a:pt x="138812" y="68958"/>
                  <a:pt x="138812" y="68958"/>
                  <a:pt x="138812" y="68958"/>
                </a:cubicBezTo>
                <a:cubicBezTo>
                  <a:pt x="138365" y="68511"/>
                  <a:pt x="138365" y="68063"/>
                  <a:pt x="138365" y="68063"/>
                </a:cubicBezTo>
                <a:close/>
                <a:moveTo>
                  <a:pt x="102542" y="79705"/>
                </a:moveTo>
                <a:lnTo>
                  <a:pt x="75227" y="68511"/>
                </a:lnTo>
                <a:lnTo>
                  <a:pt x="102542" y="57764"/>
                </a:lnTo>
                <a:lnTo>
                  <a:pt x="130305" y="68511"/>
                </a:lnTo>
                <a:lnTo>
                  <a:pt x="102542" y="79705"/>
                </a:lnTo>
                <a:close/>
                <a:moveTo>
                  <a:pt x="35375" y="79705"/>
                </a:moveTo>
                <a:lnTo>
                  <a:pt x="7612" y="68511"/>
                </a:lnTo>
                <a:lnTo>
                  <a:pt x="35375" y="57316"/>
                </a:lnTo>
                <a:lnTo>
                  <a:pt x="63137" y="68511"/>
                </a:lnTo>
                <a:lnTo>
                  <a:pt x="35375" y="79705"/>
                </a:lnTo>
                <a:close/>
                <a:moveTo>
                  <a:pt x="71197" y="30001"/>
                </a:moveTo>
                <a:lnTo>
                  <a:pt x="100303" y="18359"/>
                </a:lnTo>
                <a:lnTo>
                  <a:pt x="100303" y="53734"/>
                </a:lnTo>
                <a:lnTo>
                  <a:pt x="71197" y="65376"/>
                </a:lnTo>
                <a:lnTo>
                  <a:pt x="71197" y="30001"/>
                </a:lnTo>
                <a:close/>
                <a:moveTo>
                  <a:pt x="66719" y="30001"/>
                </a:moveTo>
                <a:lnTo>
                  <a:pt x="66719" y="65376"/>
                </a:lnTo>
                <a:lnTo>
                  <a:pt x="37614" y="53734"/>
                </a:lnTo>
                <a:lnTo>
                  <a:pt x="37614" y="18359"/>
                </a:lnTo>
                <a:lnTo>
                  <a:pt x="66719" y="30001"/>
                </a:lnTo>
                <a:close/>
                <a:moveTo>
                  <a:pt x="69406" y="4030"/>
                </a:moveTo>
                <a:lnTo>
                  <a:pt x="96721" y="15225"/>
                </a:lnTo>
                <a:lnTo>
                  <a:pt x="68958" y="26419"/>
                </a:lnTo>
                <a:lnTo>
                  <a:pt x="41644" y="15225"/>
                </a:lnTo>
                <a:lnTo>
                  <a:pt x="69406" y="4030"/>
                </a:lnTo>
                <a:close/>
                <a:moveTo>
                  <a:pt x="4478" y="72093"/>
                </a:moveTo>
                <a:lnTo>
                  <a:pt x="33584" y="83735"/>
                </a:lnTo>
                <a:lnTo>
                  <a:pt x="33584" y="119110"/>
                </a:lnTo>
                <a:lnTo>
                  <a:pt x="4478" y="107468"/>
                </a:lnTo>
                <a:lnTo>
                  <a:pt x="4478" y="72093"/>
                </a:lnTo>
                <a:close/>
                <a:moveTo>
                  <a:pt x="66719" y="107468"/>
                </a:moveTo>
                <a:lnTo>
                  <a:pt x="37614" y="119110"/>
                </a:lnTo>
                <a:lnTo>
                  <a:pt x="37614" y="83735"/>
                </a:lnTo>
                <a:lnTo>
                  <a:pt x="66719" y="72093"/>
                </a:lnTo>
                <a:lnTo>
                  <a:pt x="66719" y="107468"/>
                </a:lnTo>
                <a:close/>
                <a:moveTo>
                  <a:pt x="71645" y="72093"/>
                </a:moveTo>
                <a:lnTo>
                  <a:pt x="100751" y="83735"/>
                </a:lnTo>
                <a:lnTo>
                  <a:pt x="100751" y="119110"/>
                </a:lnTo>
                <a:lnTo>
                  <a:pt x="71645" y="107468"/>
                </a:lnTo>
                <a:lnTo>
                  <a:pt x="71645" y="72093"/>
                </a:lnTo>
                <a:close/>
                <a:moveTo>
                  <a:pt x="133887" y="107468"/>
                </a:moveTo>
                <a:lnTo>
                  <a:pt x="104781" y="119110"/>
                </a:lnTo>
                <a:lnTo>
                  <a:pt x="104781" y="83735"/>
                </a:lnTo>
                <a:lnTo>
                  <a:pt x="133887" y="72093"/>
                </a:lnTo>
                <a:lnTo>
                  <a:pt x="133887" y="107468"/>
                </a:lnTo>
                <a:close/>
              </a:path>
            </a:pathLst>
          </a:custGeom>
          <a:solidFill>
            <a:srgbClr val="231F20"/>
          </a:solidFill>
          <a:ln w="4474" cap="flat">
            <a:noFill/>
            <a:prstDash val="solid"/>
            <a:miter/>
          </a:ln>
        </p:spPr>
        <p:txBody>
          <a:bodyPr rtlCol="0" anchor="ctr"/>
          <a:lstStyle/>
          <a:p>
            <a:endParaRPr lang="en-US"/>
          </a:p>
        </p:txBody>
      </p:sp>
      <p:grpSp>
        <p:nvGrpSpPr>
          <p:cNvPr id="4172" name="Group 4171">
            <a:extLst>
              <a:ext uri="{FF2B5EF4-FFF2-40B4-BE49-F238E27FC236}">
                <a16:creationId xmlns:a16="http://schemas.microsoft.com/office/drawing/2014/main" id="{8F8BED4D-948E-4215-94E2-779C1A61B170}"/>
              </a:ext>
              <a:ext uri="{C183D7F6-B498-43B3-948B-1728B52AA6E4}">
                <adec:decorative xmlns:adec="http://schemas.microsoft.com/office/drawing/2017/decorative" val="1"/>
              </a:ext>
            </a:extLst>
          </p:cNvPr>
          <p:cNvGrpSpPr>
            <a:grpSpLocks noChangeAspect="1"/>
          </p:cNvGrpSpPr>
          <p:nvPr/>
        </p:nvGrpSpPr>
        <p:grpSpPr>
          <a:xfrm>
            <a:off x="1884224" y="3057273"/>
            <a:ext cx="116423" cy="125379"/>
            <a:chOff x="1924978" y="2321834"/>
            <a:chExt cx="116423" cy="125379"/>
          </a:xfrm>
        </p:grpSpPr>
        <p:sp>
          <p:nvSpPr>
            <p:cNvPr id="4173" name="Freeform: Shape 4172">
              <a:extLst>
                <a:ext uri="{FF2B5EF4-FFF2-40B4-BE49-F238E27FC236}">
                  <a16:creationId xmlns:a16="http://schemas.microsoft.com/office/drawing/2014/main" id="{0EFAEBC8-5F16-4897-BE29-9A78FD209F61}"/>
                </a:ext>
              </a:extLst>
            </p:cNvPr>
            <p:cNvSpPr/>
            <p:nvPr/>
          </p:nvSpPr>
          <p:spPr>
            <a:xfrm>
              <a:off x="2023938" y="2339298"/>
              <a:ext cx="8956" cy="8956"/>
            </a:xfrm>
            <a:custGeom>
              <a:avLst/>
              <a:gdLst>
                <a:gd name="connsiteX0" fmla="*/ 4478 w 8955"/>
                <a:gd name="connsiteY0" fmla="*/ 8956 h 8955"/>
                <a:gd name="connsiteX1" fmla="*/ 0 w 8955"/>
                <a:gd name="connsiteY1" fmla="*/ 4478 h 8955"/>
                <a:gd name="connsiteX2" fmla="*/ 4478 w 8955"/>
                <a:gd name="connsiteY2" fmla="*/ 0 h 8955"/>
                <a:gd name="connsiteX3" fmla="*/ 8956 w 8955"/>
                <a:gd name="connsiteY3" fmla="*/ 4478 h 8955"/>
                <a:gd name="connsiteX4" fmla="*/ 4478 w 8955"/>
                <a:gd name="connsiteY4" fmla="*/ 8956 h 8955"/>
                <a:gd name="connsiteX5" fmla="*/ 4478 w 8955"/>
                <a:gd name="connsiteY5" fmla="*/ 4478 h 8955"/>
                <a:gd name="connsiteX6" fmla="*/ 4478 w 8955"/>
                <a:gd name="connsiteY6" fmla="*/ 4478 h 8955"/>
                <a:gd name="connsiteX7" fmla="*/ 4478 w 8955"/>
                <a:gd name="connsiteY7" fmla="*/ 4478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4478" y="8956"/>
                  </a:moveTo>
                  <a:cubicBezTo>
                    <a:pt x="2239" y="8956"/>
                    <a:pt x="0" y="7165"/>
                    <a:pt x="0" y="4478"/>
                  </a:cubicBezTo>
                  <a:cubicBezTo>
                    <a:pt x="0" y="1791"/>
                    <a:pt x="1791" y="0"/>
                    <a:pt x="4478" y="0"/>
                  </a:cubicBezTo>
                  <a:cubicBezTo>
                    <a:pt x="6717" y="0"/>
                    <a:pt x="8956" y="1791"/>
                    <a:pt x="8956" y="4478"/>
                  </a:cubicBezTo>
                  <a:cubicBezTo>
                    <a:pt x="8956" y="7165"/>
                    <a:pt x="7165" y="8956"/>
                    <a:pt x="4478" y="8956"/>
                  </a:cubicBezTo>
                  <a:close/>
                  <a:moveTo>
                    <a:pt x="4478" y="4478"/>
                  </a:moveTo>
                  <a:cubicBezTo>
                    <a:pt x="4478" y="4478"/>
                    <a:pt x="4478" y="4926"/>
                    <a:pt x="4478" y="4478"/>
                  </a:cubicBezTo>
                  <a:lnTo>
                    <a:pt x="4478" y="4478"/>
                  </a:lnTo>
                  <a:close/>
                </a:path>
              </a:pathLst>
            </a:custGeom>
            <a:solidFill>
              <a:srgbClr val="231F20"/>
            </a:solidFill>
            <a:ln w="4474" cap="flat">
              <a:noFill/>
              <a:prstDash val="solid"/>
              <a:miter/>
            </a:ln>
          </p:spPr>
          <p:txBody>
            <a:bodyPr rtlCol="0" anchor="ctr"/>
            <a:lstStyle/>
            <a:p>
              <a:endParaRPr lang="en-US"/>
            </a:p>
          </p:txBody>
        </p:sp>
        <p:sp>
          <p:nvSpPr>
            <p:cNvPr id="4174" name="Freeform: Shape 4173">
              <a:extLst>
                <a:ext uri="{FF2B5EF4-FFF2-40B4-BE49-F238E27FC236}">
                  <a16:creationId xmlns:a16="http://schemas.microsoft.com/office/drawing/2014/main" id="{204A7B15-8E7C-458A-82C3-4B8A3D3570CB}"/>
                </a:ext>
              </a:extLst>
            </p:cNvPr>
            <p:cNvSpPr/>
            <p:nvPr/>
          </p:nvSpPr>
          <p:spPr>
            <a:xfrm>
              <a:off x="1924978" y="2321834"/>
              <a:ext cx="116423" cy="125379"/>
            </a:xfrm>
            <a:custGeom>
              <a:avLst/>
              <a:gdLst>
                <a:gd name="connsiteX0" fmla="*/ 105229 w 116423"/>
                <a:gd name="connsiteY0" fmla="*/ 107468 h 125378"/>
                <a:gd name="connsiteX1" fmla="*/ 98960 w 116423"/>
                <a:gd name="connsiteY1" fmla="*/ 81944 h 125378"/>
                <a:gd name="connsiteX2" fmla="*/ 96721 w 116423"/>
                <a:gd name="connsiteY2" fmla="*/ 80153 h 125378"/>
                <a:gd name="connsiteX3" fmla="*/ 87317 w 116423"/>
                <a:gd name="connsiteY3" fmla="*/ 80153 h 125378"/>
                <a:gd name="connsiteX4" fmla="*/ 106124 w 116423"/>
                <a:gd name="connsiteY4" fmla="*/ 37614 h 125378"/>
                <a:gd name="connsiteX5" fmla="*/ 106124 w 116423"/>
                <a:gd name="connsiteY5" fmla="*/ 37166 h 125378"/>
                <a:gd name="connsiteX6" fmla="*/ 118662 w 116423"/>
                <a:gd name="connsiteY6" fmla="*/ 21941 h 125378"/>
                <a:gd name="connsiteX7" fmla="*/ 102990 w 116423"/>
                <a:gd name="connsiteY7" fmla="*/ 6269 h 125378"/>
                <a:gd name="connsiteX8" fmla="*/ 90004 w 116423"/>
                <a:gd name="connsiteY8" fmla="*/ 13433 h 125378"/>
                <a:gd name="connsiteX9" fmla="*/ 89556 w 116423"/>
                <a:gd name="connsiteY9" fmla="*/ 13433 h 125378"/>
                <a:gd name="connsiteX10" fmla="*/ 35823 w 116423"/>
                <a:gd name="connsiteY10" fmla="*/ 13433 h 125378"/>
                <a:gd name="connsiteX11" fmla="*/ 33584 w 116423"/>
                <a:gd name="connsiteY11" fmla="*/ 15672 h 125378"/>
                <a:gd name="connsiteX12" fmla="*/ 33584 w 116423"/>
                <a:gd name="connsiteY12" fmla="*/ 20150 h 125378"/>
                <a:gd name="connsiteX13" fmla="*/ 24180 w 116423"/>
                <a:gd name="connsiteY13" fmla="*/ 20150 h 125378"/>
                <a:gd name="connsiteX14" fmla="*/ 2239 w 116423"/>
                <a:gd name="connsiteY14" fmla="*/ 0 h 125378"/>
                <a:gd name="connsiteX15" fmla="*/ 0 w 116423"/>
                <a:gd name="connsiteY15" fmla="*/ 2239 h 125378"/>
                <a:gd name="connsiteX16" fmla="*/ 2239 w 116423"/>
                <a:gd name="connsiteY16" fmla="*/ 4478 h 125378"/>
                <a:gd name="connsiteX17" fmla="*/ 20150 w 116423"/>
                <a:gd name="connsiteY17" fmla="*/ 22389 h 125378"/>
                <a:gd name="connsiteX18" fmla="*/ 2239 w 116423"/>
                <a:gd name="connsiteY18" fmla="*/ 40300 h 125378"/>
                <a:gd name="connsiteX19" fmla="*/ 0 w 116423"/>
                <a:gd name="connsiteY19" fmla="*/ 42539 h 125378"/>
                <a:gd name="connsiteX20" fmla="*/ 2239 w 116423"/>
                <a:gd name="connsiteY20" fmla="*/ 44778 h 125378"/>
                <a:gd name="connsiteX21" fmla="*/ 24628 w 116423"/>
                <a:gd name="connsiteY21" fmla="*/ 24628 h 125378"/>
                <a:gd name="connsiteX22" fmla="*/ 33584 w 116423"/>
                <a:gd name="connsiteY22" fmla="*/ 24628 h 125378"/>
                <a:gd name="connsiteX23" fmla="*/ 33584 w 116423"/>
                <a:gd name="connsiteY23" fmla="*/ 29106 h 125378"/>
                <a:gd name="connsiteX24" fmla="*/ 35823 w 116423"/>
                <a:gd name="connsiteY24" fmla="*/ 31345 h 125378"/>
                <a:gd name="connsiteX25" fmla="*/ 89109 w 116423"/>
                <a:gd name="connsiteY25" fmla="*/ 31345 h 125378"/>
                <a:gd name="connsiteX26" fmla="*/ 67167 w 116423"/>
                <a:gd name="connsiteY26" fmla="*/ 80601 h 125378"/>
                <a:gd name="connsiteX27" fmla="*/ 55525 w 116423"/>
                <a:gd name="connsiteY27" fmla="*/ 80601 h 125378"/>
                <a:gd name="connsiteX28" fmla="*/ 53286 w 116423"/>
                <a:gd name="connsiteY28" fmla="*/ 82392 h 125378"/>
                <a:gd name="connsiteX29" fmla="*/ 47017 w 116423"/>
                <a:gd name="connsiteY29" fmla="*/ 107915 h 125378"/>
                <a:gd name="connsiteX30" fmla="*/ 33136 w 116423"/>
                <a:gd name="connsiteY30" fmla="*/ 123588 h 125378"/>
                <a:gd name="connsiteX31" fmla="*/ 35375 w 116423"/>
                <a:gd name="connsiteY31" fmla="*/ 125827 h 125378"/>
                <a:gd name="connsiteX32" fmla="*/ 115975 w 116423"/>
                <a:gd name="connsiteY32" fmla="*/ 125827 h 125378"/>
                <a:gd name="connsiteX33" fmla="*/ 118214 w 116423"/>
                <a:gd name="connsiteY33" fmla="*/ 123588 h 125378"/>
                <a:gd name="connsiteX34" fmla="*/ 105229 w 116423"/>
                <a:gd name="connsiteY34" fmla="*/ 107468 h 125378"/>
                <a:gd name="connsiteX35" fmla="*/ 103438 w 116423"/>
                <a:gd name="connsiteY35" fmla="*/ 10747 h 125378"/>
                <a:gd name="connsiteX36" fmla="*/ 114632 w 116423"/>
                <a:gd name="connsiteY36" fmla="*/ 21941 h 125378"/>
                <a:gd name="connsiteX37" fmla="*/ 103438 w 116423"/>
                <a:gd name="connsiteY37" fmla="*/ 33136 h 125378"/>
                <a:gd name="connsiteX38" fmla="*/ 92243 w 116423"/>
                <a:gd name="connsiteY38" fmla="*/ 21941 h 125378"/>
                <a:gd name="connsiteX39" fmla="*/ 103438 w 116423"/>
                <a:gd name="connsiteY39" fmla="*/ 10747 h 125378"/>
                <a:gd name="connsiteX40" fmla="*/ 87765 w 116423"/>
                <a:gd name="connsiteY40" fmla="*/ 26867 h 125378"/>
                <a:gd name="connsiteX41" fmla="*/ 38509 w 116423"/>
                <a:gd name="connsiteY41" fmla="*/ 26867 h 125378"/>
                <a:gd name="connsiteX42" fmla="*/ 38509 w 116423"/>
                <a:gd name="connsiteY42" fmla="*/ 17911 h 125378"/>
                <a:gd name="connsiteX43" fmla="*/ 87765 w 116423"/>
                <a:gd name="connsiteY43" fmla="*/ 17911 h 125378"/>
                <a:gd name="connsiteX44" fmla="*/ 87765 w 116423"/>
                <a:gd name="connsiteY44" fmla="*/ 26867 h 125378"/>
                <a:gd name="connsiteX45" fmla="*/ 93139 w 116423"/>
                <a:gd name="connsiteY45" fmla="*/ 34927 h 125378"/>
                <a:gd name="connsiteX46" fmla="*/ 101199 w 116423"/>
                <a:gd name="connsiteY46" fmla="*/ 38509 h 125378"/>
                <a:gd name="connsiteX47" fmla="*/ 82392 w 116423"/>
                <a:gd name="connsiteY47" fmla="*/ 80601 h 125378"/>
                <a:gd name="connsiteX48" fmla="*/ 72541 w 116423"/>
                <a:gd name="connsiteY48" fmla="*/ 80601 h 125378"/>
                <a:gd name="connsiteX49" fmla="*/ 93139 w 116423"/>
                <a:gd name="connsiteY49" fmla="*/ 34927 h 125378"/>
                <a:gd name="connsiteX50" fmla="*/ 58212 w 116423"/>
                <a:gd name="connsiteY50" fmla="*/ 85079 h 125378"/>
                <a:gd name="connsiteX51" fmla="*/ 69406 w 116423"/>
                <a:gd name="connsiteY51" fmla="*/ 85079 h 125378"/>
                <a:gd name="connsiteX52" fmla="*/ 84183 w 116423"/>
                <a:gd name="connsiteY52" fmla="*/ 85079 h 125378"/>
                <a:gd name="connsiteX53" fmla="*/ 94930 w 116423"/>
                <a:gd name="connsiteY53" fmla="*/ 85079 h 125378"/>
                <a:gd name="connsiteX54" fmla="*/ 100751 w 116423"/>
                <a:gd name="connsiteY54" fmla="*/ 107468 h 125378"/>
                <a:gd name="connsiteX55" fmla="*/ 52838 w 116423"/>
                <a:gd name="connsiteY55" fmla="*/ 107468 h 125378"/>
                <a:gd name="connsiteX56" fmla="*/ 58212 w 116423"/>
                <a:gd name="connsiteY56" fmla="*/ 85079 h 125378"/>
                <a:gd name="connsiteX57" fmla="*/ 38957 w 116423"/>
                <a:gd name="connsiteY57" fmla="*/ 120901 h 125378"/>
                <a:gd name="connsiteX58" fmla="*/ 49704 w 116423"/>
                <a:gd name="connsiteY58" fmla="*/ 111945 h 125378"/>
                <a:gd name="connsiteX59" fmla="*/ 103438 w 116423"/>
                <a:gd name="connsiteY59" fmla="*/ 111945 h 125378"/>
                <a:gd name="connsiteX60" fmla="*/ 114184 w 116423"/>
                <a:gd name="connsiteY60" fmla="*/ 120901 h 125378"/>
                <a:gd name="connsiteX61" fmla="*/ 38957 w 116423"/>
                <a:gd name="connsiteY61"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6423" h="125378">
                  <a:moveTo>
                    <a:pt x="105229" y="107468"/>
                  </a:moveTo>
                  <a:lnTo>
                    <a:pt x="98960" y="81944"/>
                  </a:lnTo>
                  <a:cubicBezTo>
                    <a:pt x="98512" y="81049"/>
                    <a:pt x="97616" y="80153"/>
                    <a:pt x="96721" y="80153"/>
                  </a:cubicBezTo>
                  <a:lnTo>
                    <a:pt x="87317" y="80153"/>
                  </a:lnTo>
                  <a:lnTo>
                    <a:pt x="106124" y="37614"/>
                  </a:lnTo>
                  <a:cubicBezTo>
                    <a:pt x="106124" y="37614"/>
                    <a:pt x="106124" y="37166"/>
                    <a:pt x="106124" y="37166"/>
                  </a:cubicBezTo>
                  <a:cubicBezTo>
                    <a:pt x="113289" y="35823"/>
                    <a:pt x="118662" y="29554"/>
                    <a:pt x="118662" y="21941"/>
                  </a:cubicBezTo>
                  <a:cubicBezTo>
                    <a:pt x="118662" y="13433"/>
                    <a:pt x="111498" y="6269"/>
                    <a:pt x="102990" y="6269"/>
                  </a:cubicBezTo>
                  <a:cubicBezTo>
                    <a:pt x="97616" y="6269"/>
                    <a:pt x="92691" y="8956"/>
                    <a:pt x="90004" y="13433"/>
                  </a:cubicBezTo>
                  <a:cubicBezTo>
                    <a:pt x="90004" y="13433"/>
                    <a:pt x="89556" y="13433"/>
                    <a:pt x="89556" y="13433"/>
                  </a:cubicBezTo>
                  <a:lnTo>
                    <a:pt x="35823" y="13433"/>
                  </a:lnTo>
                  <a:cubicBezTo>
                    <a:pt x="34479" y="13433"/>
                    <a:pt x="33584" y="14329"/>
                    <a:pt x="33584" y="15672"/>
                  </a:cubicBezTo>
                  <a:lnTo>
                    <a:pt x="33584" y="20150"/>
                  </a:lnTo>
                  <a:lnTo>
                    <a:pt x="24180" y="20150"/>
                  </a:lnTo>
                  <a:cubicBezTo>
                    <a:pt x="22837" y="8956"/>
                    <a:pt x="13433" y="0"/>
                    <a:pt x="2239" y="0"/>
                  </a:cubicBezTo>
                  <a:cubicBezTo>
                    <a:pt x="896" y="0"/>
                    <a:pt x="0" y="896"/>
                    <a:pt x="0" y="2239"/>
                  </a:cubicBezTo>
                  <a:cubicBezTo>
                    <a:pt x="0" y="3582"/>
                    <a:pt x="896" y="4478"/>
                    <a:pt x="2239" y="4478"/>
                  </a:cubicBezTo>
                  <a:cubicBezTo>
                    <a:pt x="12090" y="4478"/>
                    <a:pt x="20150" y="12538"/>
                    <a:pt x="20150" y="22389"/>
                  </a:cubicBezTo>
                  <a:cubicBezTo>
                    <a:pt x="20150" y="32240"/>
                    <a:pt x="12090" y="40300"/>
                    <a:pt x="2239" y="40300"/>
                  </a:cubicBezTo>
                  <a:cubicBezTo>
                    <a:pt x="896" y="40300"/>
                    <a:pt x="0" y="41196"/>
                    <a:pt x="0" y="42539"/>
                  </a:cubicBezTo>
                  <a:cubicBezTo>
                    <a:pt x="0" y="43883"/>
                    <a:pt x="896" y="44778"/>
                    <a:pt x="2239" y="44778"/>
                  </a:cubicBezTo>
                  <a:cubicBezTo>
                    <a:pt x="13881" y="44778"/>
                    <a:pt x="23285" y="35823"/>
                    <a:pt x="24628" y="24628"/>
                  </a:cubicBezTo>
                  <a:lnTo>
                    <a:pt x="33584" y="24628"/>
                  </a:lnTo>
                  <a:lnTo>
                    <a:pt x="33584" y="29106"/>
                  </a:lnTo>
                  <a:cubicBezTo>
                    <a:pt x="33584" y="30449"/>
                    <a:pt x="34479" y="31345"/>
                    <a:pt x="35823" y="31345"/>
                  </a:cubicBezTo>
                  <a:lnTo>
                    <a:pt x="89109" y="31345"/>
                  </a:lnTo>
                  <a:lnTo>
                    <a:pt x="67167" y="80601"/>
                  </a:lnTo>
                  <a:lnTo>
                    <a:pt x="55525" y="80601"/>
                  </a:lnTo>
                  <a:cubicBezTo>
                    <a:pt x="54629" y="80601"/>
                    <a:pt x="53734" y="81496"/>
                    <a:pt x="53286" y="82392"/>
                  </a:cubicBezTo>
                  <a:lnTo>
                    <a:pt x="47017" y="107915"/>
                  </a:lnTo>
                  <a:cubicBezTo>
                    <a:pt x="39405" y="108811"/>
                    <a:pt x="33136" y="115528"/>
                    <a:pt x="33136" y="123588"/>
                  </a:cubicBezTo>
                  <a:cubicBezTo>
                    <a:pt x="33136" y="124931"/>
                    <a:pt x="34031" y="125827"/>
                    <a:pt x="35375" y="125827"/>
                  </a:cubicBezTo>
                  <a:lnTo>
                    <a:pt x="115975" y="125827"/>
                  </a:lnTo>
                  <a:cubicBezTo>
                    <a:pt x="117319" y="125827"/>
                    <a:pt x="118214" y="124931"/>
                    <a:pt x="118214" y="123588"/>
                  </a:cubicBezTo>
                  <a:cubicBezTo>
                    <a:pt x="119110" y="115080"/>
                    <a:pt x="113289" y="108363"/>
                    <a:pt x="105229" y="107468"/>
                  </a:cubicBezTo>
                  <a:close/>
                  <a:moveTo>
                    <a:pt x="103438" y="10747"/>
                  </a:moveTo>
                  <a:cubicBezTo>
                    <a:pt x="109707" y="10747"/>
                    <a:pt x="114632" y="15672"/>
                    <a:pt x="114632" y="21941"/>
                  </a:cubicBezTo>
                  <a:cubicBezTo>
                    <a:pt x="114632" y="28210"/>
                    <a:pt x="109707" y="33136"/>
                    <a:pt x="103438" y="33136"/>
                  </a:cubicBezTo>
                  <a:cubicBezTo>
                    <a:pt x="97169" y="33136"/>
                    <a:pt x="92243" y="28210"/>
                    <a:pt x="92243" y="21941"/>
                  </a:cubicBezTo>
                  <a:cubicBezTo>
                    <a:pt x="92243" y="15672"/>
                    <a:pt x="97616" y="10747"/>
                    <a:pt x="103438" y="10747"/>
                  </a:cubicBezTo>
                  <a:close/>
                  <a:moveTo>
                    <a:pt x="87765" y="26867"/>
                  </a:moveTo>
                  <a:lnTo>
                    <a:pt x="38509" y="26867"/>
                  </a:lnTo>
                  <a:lnTo>
                    <a:pt x="38509" y="17911"/>
                  </a:lnTo>
                  <a:lnTo>
                    <a:pt x="87765" y="17911"/>
                  </a:lnTo>
                  <a:lnTo>
                    <a:pt x="87765" y="26867"/>
                  </a:lnTo>
                  <a:close/>
                  <a:moveTo>
                    <a:pt x="93139" y="34927"/>
                  </a:moveTo>
                  <a:lnTo>
                    <a:pt x="101199" y="38509"/>
                  </a:lnTo>
                  <a:lnTo>
                    <a:pt x="82392" y="80601"/>
                  </a:lnTo>
                  <a:lnTo>
                    <a:pt x="72541" y="80601"/>
                  </a:lnTo>
                  <a:lnTo>
                    <a:pt x="93139" y="34927"/>
                  </a:lnTo>
                  <a:close/>
                  <a:moveTo>
                    <a:pt x="58212" y="85079"/>
                  </a:moveTo>
                  <a:lnTo>
                    <a:pt x="69406" y="85079"/>
                  </a:lnTo>
                  <a:lnTo>
                    <a:pt x="84183" y="85079"/>
                  </a:lnTo>
                  <a:lnTo>
                    <a:pt x="94930" y="85079"/>
                  </a:lnTo>
                  <a:lnTo>
                    <a:pt x="100751" y="107468"/>
                  </a:lnTo>
                  <a:lnTo>
                    <a:pt x="52838" y="107468"/>
                  </a:lnTo>
                  <a:lnTo>
                    <a:pt x="58212" y="85079"/>
                  </a:lnTo>
                  <a:close/>
                  <a:moveTo>
                    <a:pt x="38957" y="120901"/>
                  </a:moveTo>
                  <a:cubicBezTo>
                    <a:pt x="39853" y="115975"/>
                    <a:pt x="44330" y="111945"/>
                    <a:pt x="49704" y="111945"/>
                  </a:cubicBezTo>
                  <a:lnTo>
                    <a:pt x="103438" y="111945"/>
                  </a:lnTo>
                  <a:cubicBezTo>
                    <a:pt x="108811" y="111945"/>
                    <a:pt x="113289" y="115975"/>
                    <a:pt x="114184" y="120901"/>
                  </a:cubicBezTo>
                  <a:lnTo>
                    <a:pt x="38957" y="120901"/>
                  </a:lnTo>
                  <a:close/>
                </a:path>
              </a:pathLst>
            </a:custGeom>
            <a:solidFill>
              <a:srgbClr val="231F20"/>
            </a:solidFill>
            <a:ln w="4474" cap="flat">
              <a:noFill/>
              <a:prstDash val="solid"/>
              <a:miter/>
            </a:ln>
          </p:spPr>
          <p:txBody>
            <a:bodyPr rtlCol="0" anchor="ctr"/>
            <a:lstStyle/>
            <a:p>
              <a:endParaRPr lang="en-US"/>
            </a:p>
          </p:txBody>
        </p:sp>
      </p:grpSp>
      <p:grpSp>
        <p:nvGrpSpPr>
          <p:cNvPr id="4175" name="Group 4174">
            <a:extLst>
              <a:ext uri="{FF2B5EF4-FFF2-40B4-BE49-F238E27FC236}">
                <a16:creationId xmlns:a16="http://schemas.microsoft.com/office/drawing/2014/main" id="{25D1311A-4795-4196-A25A-E009F78F9C1E}"/>
              </a:ext>
              <a:ext uri="{C183D7F6-B498-43B3-948B-1728B52AA6E4}">
                <adec:decorative xmlns:adec="http://schemas.microsoft.com/office/drawing/2017/decorative" val="1"/>
              </a:ext>
            </a:extLst>
          </p:cNvPr>
          <p:cNvGrpSpPr>
            <a:grpSpLocks noChangeAspect="1"/>
          </p:cNvGrpSpPr>
          <p:nvPr/>
        </p:nvGrpSpPr>
        <p:grpSpPr>
          <a:xfrm>
            <a:off x="2148863" y="3043616"/>
            <a:ext cx="125379" cy="138812"/>
            <a:chOff x="2189617" y="2308177"/>
            <a:chExt cx="125379" cy="138812"/>
          </a:xfrm>
        </p:grpSpPr>
        <p:sp>
          <p:nvSpPr>
            <p:cNvPr id="4176" name="Freeform: Shape 4175">
              <a:extLst>
                <a:ext uri="{FF2B5EF4-FFF2-40B4-BE49-F238E27FC236}">
                  <a16:creationId xmlns:a16="http://schemas.microsoft.com/office/drawing/2014/main" id="{BAD2FD91-AAA1-41CC-BD29-F30AAF640AC9}"/>
                </a:ext>
              </a:extLst>
            </p:cNvPr>
            <p:cNvSpPr/>
            <p:nvPr/>
          </p:nvSpPr>
          <p:spPr>
            <a:xfrm>
              <a:off x="2189617" y="2308177"/>
              <a:ext cx="125379" cy="138812"/>
            </a:xfrm>
            <a:custGeom>
              <a:avLst/>
              <a:gdLst>
                <a:gd name="connsiteX0" fmla="*/ 115975 w 125378"/>
                <a:gd name="connsiteY0" fmla="*/ 121125 h 138812"/>
                <a:gd name="connsiteX1" fmla="*/ 111498 w 125378"/>
                <a:gd name="connsiteY1" fmla="*/ 121125 h 138812"/>
                <a:gd name="connsiteX2" fmla="*/ 111498 w 125378"/>
                <a:gd name="connsiteY2" fmla="*/ 76347 h 138812"/>
                <a:gd name="connsiteX3" fmla="*/ 98512 w 125378"/>
                <a:gd name="connsiteY3" fmla="*/ 56197 h 138812"/>
                <a:gd name="connsiteX4" fmla="*/ 86422 w 125378"/>
                <a:gd name="connsiteY4" fmla="*/ 40076 h 138812"/>
                <a:gd name="connsiteX5" fmla="*/ 78810 w 125378"/>
                <a:gd name="connsiteY5" fmla="*/ 34255 h 138812"/>
                <a:gd name="connsiteX6" fmla="*/ 87317 w 125378"/>
                <a:gd name="connsiteY6" fmla="*/ 25747 h 138812"/>
                <a:gd name="connsiteX7" fmla="*/ 90452 w 125378"/>
                <a:gd name="connsiteY7" fmla="*/ 17687 h 138812"/>
                <a:gd name="connsiteX8" fmla="*/ 87317 w 125378"/>
                <a:gd name="connsiteY8" fmla="*/ 9627 h 138812"/>
                <a:gd name="connsiteX9" fmla="*/ 81049 w 125378"/>
                <a:gd name="connsiteY9" fmla="*/ 3358 h 138812"/>
                <a:gd name="connsiteX10" fmla="*/ 65376 w 125378"/>
                <a:gd name="connsiteY10" fmla="*/ 3358 h 138812"/>
                <a:gd name="connsiteX11" fmla="*/ 13881 w 125378"/>
                <a:gd name="connsiteY11" fmla="*/ 54853 h 138812"/>
                <a:gd name="connsiteX12" fmla="*/ 13881 w 125378"/>
                <a:gd name="connsiteY12" fmla="*/ 54853 h 138812"/>
                <a:gd name="connsiteX13" fmla="*/ 13433 w 125378"/>
                <a:gd name="connsiteY13" fmla="*/ 55301 h 138812"/>
                <a:gd name="connsiteX14" fmla="*/ 13433 w 125378"/>
                <a:gd name="connsiteY14" fmla="*/ 56197 h 138812"/>
                <a:gd name="connsiteX15" fmla="*/ 13433 w 125378"/>
                <a:gd name="connsiteY15" fmla="*/ 94258 h 138812"/>
                <a:gd name="connsiteX16" fmla="*/ 13433 w 125378"/>
                <a:gd name="connsiteY16" fmla="*/ 94706 h 138812"/>
                <a:gd name="connsiteX17" fmla="*/ 0 w 125378"/>
                <a:gd name="connsiteY17" fmla="*/ 110378 h 138812"/>
                <a:gd name="connsiteX18" fmla="*/ 2239 w 125378"/>
                <a:gd name="connsiteY18" fmla="*/ 112617 h 138812"/>
                <a:gd name="connsiteX19" fmla="*/ 4478 w 125378"/>
                <a:gd name="connsiteY19" fmla="*/ 110378 h 138812"/>
                <a:gd name="connsiteX20" fmla="*/ 15672 w 125378"/>
                <a:gd name="connsiteY20" fmla="*/ 99184 h 138812"/>
                <a:gd name="connsiteX21" fmla="*/ 26867 w 125378"/>
                <a:gd name="connsiteY21" fmla="*/ 110378 h 138812"/>
                <a:gd name="connsiteX22" fmla="*/ 29106 w 125378"/>
                <a:gd name="connsiteY22" fmla="*/ 112617 h 138812"/>
                <a:gd name="connsiteX23" fmla="*/ 31345 w 125378"/>
                <a:gd name="connsiteY23" fmla="*/ 110378 h 138812"/>
                <a:gd name="connsiteX24" fmla="*/ 18359 w 125378"/>
                <a:gd name="connsiteY24" fmla="*/ 95154 h 138812"/>
                <a:gd name="connsiteX25" fmla="*/ 36270 w 125378"/>
                <a:gd name="connsiteY25" fmla="*/ 77242 h 138812"/>
                <a:gd name="connsiteX26" fmla="*/ 36270 w 125378"/>
                <a:gd name="connsiteY26" fmla="*/ 77242 h 138812"/>
                <a:gd name="connsiteX27" fmla="*/ 54182 w 125378"/>
                <a:gd name="connsiteY27" fmla="*/ 59331 h 138812"/>
                <a:gd name="connsiteX28" fmla="*/ 56421 w 125378"/>
                <a:gd name="connsiteY28" fmla="*/ 62913 h 138812"/>
                <a:gd name="connsiteX29" fmla="*/ 67167 w 125378"/>
                <a:gd name="connsiteY29" fmla="*/ 77690 h 138812"/>
                <a:gd name="connsiteX30" fmla="*/ 67167 w 125378"/>
                <a:gd name="connsiteY30" fmla="*/ 121573 h 138812"/>
                <a:gd name="connsiteX31" fmla="*/ 8956 w 125378"/>
                <a:gd name="connsiteY31" fmla="*/ 121573 h 138812"/>
                <a:gd name="connsiteX32" fmla="*/ 0 w 125378"/>
                <a:gd name="connsiteY32" fmla="*/ 130528 h 138812"/>
                <a:gd name="connsiteX33" fmla="*/ 8956 w 125378"/>
                <a:gd name="connsiteY33" fmla="*/ 139484 h 138812"/>
                <a:gd name="connsiteX34" fmla="*/ 116423 w 125378"/>
                <a:gd name="connsiteY34" fmla="*/ 139484 h 138812"/>
                <a:gd name="connsiteX35" fmla="*/ 125379 w 125378"/>
                <a:gd name="connsiteY35" fmla="*/ 130528 h 138812"/>
                <a:gd name="connsiteX36" fmla="*/ 115975 w 125378"/>
                <a:gd name="connsiteY36" fmla="*/ 121125 h 138812"/>
                <a:gd name="connsiteX37" fmla="*/ 17463 w 125378"/>
                <a:gd name="connsiteY37" fmla="*/ 61570 h 138812"/>
                <a:gd name="connsiteX38" fmla="*/ 30897 w 125378"/>
                <a:gd name="connsiteY38" fmla="*/ 75003 h 138812"/>
                <a:gd name="connsiteX39" fmla="*/ 17463 w 125378"/>
                <a:gd name="connsiteY39" fmla="*/ 88437 h 138812"/>
                <a:gd name="connsiteX40" fmla="*/ 17463 w 125378"/>
                <a:gd name="connsiteY40" fmla="*/ 61570 h 138812"/>
                <a:gd name="connsiteX41" fmla="*/ 34031 w 125378"/>
                <a:gd name="connsiteY41" fmla="*/ 71869 h 138812"/>
                <a:gd name="connsiteX42" fmla="*/ 18359 w 125378"/>
                <a:gd name="connsiteY42" fmla="*/ 56197 h 138812"/>
                <a:gd name="connsiteX43" fmla="*/ 68063 w 125378"/>
                <a:gd name="connsiteY43" fmla="*/ 6493 h 138812"/>
                <a:gd name="connsiteX44" fmla="*/ 77466 w 125378"/>
                <a:gd name="connsiteY44" fmla="*/ 6493 h 138812"/>
                <a:gd name="connsiteX45" fmla="*/ 83735 w 125378"/>
                <a:gd name="connsiteY45" fmla="*/ 12762 h 138812"/>
                <a:gd name="connsiteX46" fmla="*/ 85526 w 125378"/>
                <a:gd name="connsiteY46" fmla="*/ 17687 h 138812"/>
                <a:gd name="connsiteX47" fmla="*/ 83735 w 125378"/>
                <a:gd name="connsiteY47" fmla="*/ 22613 h 138812"/>
                <a:gd name="connsiteX48" fmla="*/ 73436 w 125378"/>
                <a:gd name="connsiteY48" fmla="*/ 32912 h 138812"/>
                <a:gd name="connsiteX49" fmla="*/ 59107 w 125378"/>
                <a:gd name="connsiteY49" fmla="*/ 36494 h 138812"/>
                <a:gd name="connsiteX50" fmla="*/ 51495 w 125378"/>
                <a:gd name="connsiteY50" fmla="*/ 49032 h 138812"/>
                <a:gd name="connsiteX51" fmla="*/ 51495 w 125378"/>
                <a:gd name="connsiteY51" fmla="*/ 54405 h 138812"/>
                <a:gd name="connsiteX52" fmla="*/ 34031 w 125378"/>
                <a:gd name="connsiteY52" fmla="*/ 71869 h 138812"/>
                <a:gd name="connsiteX53" fmla="*/ 56421 w 125378"/>
                <a:gd name="connsiteY53" fmla="*/ 49032 h 138812"/>
                <a:gd name="connsiteX54" fmla="*/ 62242 w 125378"/>
                <a:gd name="connsiteY54" fmla="*/ 39629 h 138812"/>
                <a:gd name="connsiteX55" fmla="*/ 82392 w 125378"/>
                <a:gd name="connsiteY55" fmla="*/ 42763 h 138812"/>
                <a:gd name="connsiteX56" fmla="*/ 90900 w 125378"/>
                <a:gd name="connsiteY56" fmla="*/ 54405 h 138812"/>
                <a:gd name="connsiteX57" fmla="*/ 88661 w 125378"/>
                <a:gd name="connsiteY57" fmla="*/ 53958 h 138812"/>
                <a:gd name="connsiteX58" fmla="*/ 67167 w 125378"/>
                <a:gd name="connsiteY58" fmla="*/ 70973 h 138812"/>
                <a:gd name="connsiteX59" fmla="*/ 59107 w 125378"/>
                <a:gd name="connsiteY59" fmla="*/ 60227 h 138812"/>
                <a:gd name="connsiteX60" fmla="*/ 56421 w 125378"/>
                <a:gd name="connsiteY60" fmla="*/ 49032 h 138812"/>
                <a:gd name="connsiteX61" fmla="*/ 71197 w 125378"/>
                <a:gd name="connsiteY61" fmla="*/ 76347 h 138812"/>
                <a:gd name="connsiteX62" fmla="*/ 89109 w 125378"/>
                <a:gd name="connsiteY62" fmla="*/ 58435 h 138812"/>
                <a:gd name="connsiteX63" fmla="*/ 107020 w 125378"/>
                <a:gd name="connsiteY63" fmla="*/ 76347 h 138812"/>
                <a:gd name="connsiteX64" fmla="*/ 107020 w 125378"/>
                <a:gd name="connsiteY64" fmla="*/ 121125 h 138812"/>
                <a:gd name="connsiteX65" fmla="*/ 71197 w 125378"/>
                <a:gd name="connsiteY65" fmla="*/ 121125 h 138812"/>
                <a:gd name="connsiteX66" fmla="*/ 71197 w 125378"/>
                <a:gd name="connsiteY66" fmla="*/ 76347 h 138812"/>
                <a:gd name="connsiteX67" fmla="*/ 115975 w 125378"/>
                <a:gd name="connsiteY67" fmla="*/ 134558 h 138812"/>
                <a:gd name="connsiteX68" fmla="*/ 8508 w 125378"/>
                <a:gd name="connsiteY68" fmla="*/ 134558 h 138812"/>
                <a:gd name="connsiteX69" fmla="*/ 4030 w 125378"/>
                <a:gd name="connsiteY69" fmla="*/ 130081 h 138812"/>
                <a:gd name="connsiteX70" fmla="*/ 8508 w 125378"/>
                <a:gd name="connsiteY70" fmla="*/ 125603 h 138812"/>
                <a:gd name="connsiteX71" fmla="*/ 68958 w 125378"/>
                <a:gd name="connsiteY71" fmla="*/ 125603 h 138812"/>
                <a:gd name="connsiteX72" fmla="*/ 109259 w 125378"/>
                <a:gd name="connsiteY72" fmla="*/ 125603 h 138812"/>
                <a:gd name="connsiteX73" fmla="*/ 115975 w 125378"/>
                <a:gd name="connsiteY73" fmla="*/ 125603 h 138812"/>
                <a:gd name="connsiteX74" fmla="*/ 120453 w 125378"/>
                <a:gd name="connsiteY74" fmla="*/ 130081 h 138812"/>
                <a:gd name="connsiteX75" fmla="*/ 115975 w 125378"/>
                <a:gd name="connsiteY75" fmla="*/ 134558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5378" h="138812">
                  <a:moveTo>
                    <a:pt x="115975" y="121125"/>
                  </a:moveTo>
                  <a:lnTo>
                    <a:pt x="111498" y="121125"/>
                  </a:lnTo>
                  <a:lnTo>
                    <a:pt x="111498" y="76347"/>
                  </a:lnTo>
                  <a:cubicBezTo>
                    <a:pt x="111498" y="67391"/>
                    <a:pt x="106124" y="59331"/>
                    <a:pt x="98512" y="56197"/>
                  </a:cubicBezTo>
                  <a:lnTo>
                    <a:pt x="86422" y="40076"/>
                  </a:lnTo>
                  <a:cubicBezTo>
                    <a:pt x="84183" y="37390"/>
                    <a:pt x="81944" y="35599"/>
                    <a:pt x="78810" y="34255"/>
                  </a:cubicBezTo>
                  <a:lnTo>
                    <a:pt x="87317" y="25747"/>
                  </a:lnTo>
                  <a:cubicBezTo>
                    <a:pt x="89556" y="23509"/>
                    <a:pt x="90452" y="20822"/>
                    <a:pt x="90452" y="17687"/>
                  </a:cubicBezTo>
                  <a:cubicBezTo>
                    <a:pt x="90452" y="14553"/>
                    <a:pt x="89109" y="11866"/>
                    <a:pt x="87317" y="9627"/>
                  </a:cubicBezTo>
                  <a:lnTo>
                    <a:pt x="81049" y="3358"/>
                  </a:lnTo>
                  <a:cubicBezTo>
                    <a:pt x="76571" y="-1119"/>
                    <a:pt x="69406" y="-1119"/>
                    <a:pt x="65376" y="3358"/>
                  </a:cubicBezTo>
                  <a:lnTo>
                    <a:pt x="13881" y="54853"/>
                  </a:lnTo>
                  <a:cubicBezTo>
                    <a:pt x="13881" y="54853"/>
                    <a:pt x="13881" y="54853"/>
                    <a:pt x="13881" y="54853"/>
                  </a:cubicBezTo>
                  <a:cubicBezTo>
                    <a:pt x="13881" y="54853"/>
                    <a:pt x="13433" y="55301"/>
                    <a:pt x="13433" y="55301"/>
                  </a:cubicBezTo>
                  <a:cubicBezTo>
                    <a:pt x="13433" y="55749"/>
                    <a:pt x="13433" y="55749"/>
                    <a:pt x="13433" y="56197"/>
                  </a:cubicBezTo>
                  <a:lnTo>
                    <a:pt x="13433" y="94258"/>
                  </a:lnTo>
                  <a:cubicBezTo>
                    <a:pt x="13433" y="94258"/>
                    <a:pt x="13433" y="94258"/>
                    <a:pt x="13433" y="94706"/>
                  </a:cubicBezTo>
                  <a:cubicBezTo>
                    <a:pt x="5821" y="95601"/>
                    <a:pt x="0" y="102318"/>
                    <a:pt x="0" y="110378"/>
                  </a:cubicBezTo>
                  <a:cubicBezTo>
                    <a:pt x="0" y="111721"/>
                    <a:pt x="895" y="112617"/>
                    <a:pt x="2239" y="112617"/>
                  </a:cubicBezTo>
                  <a:cubicBezTo>
                    <a:pt x="3582" y="112617"/>
                    <a:pt x="4478" y="111721"/>
                    <a:pt x="4478" y="110378"/>
                  </a:cubicBezTo>
                  <a:cubicBezTo>
                    <a:pt x="4478" y="104109"/>
                    <a:pt x="9403" y="99184"/>
                    <a:pt x="15672" y="99184"/>
                  </a:cubicBezTo>
                  <a:cubicBezTo>
                    <a:pt x="21941" y="99184"/>
                    <a:pt x="26867" y="104109"/>
                    <a:pt x="26867" y="110378"/>
                  </a:cubicBezTo>
                  <a:cubicBezTo>
                    <a:pt x="26867" y="111721"/>
                    <a:pt x="27762" y="112617"/>
                    <a:pt x="29106" y="112617"/>
                  </a:cubicBezTo>
                  <a:cubicBezTo>
                    <a:pt x="30449" y="112617"/>
                    <a:pt x="31345" y="111721"/>
                    <a:pt x="31345" y="110378"/>
                  </a:cubicBezTo>
                  <a:cubicBezTo>
                    <a:pt x="31345" y="102766"/>
                    <a:pt x="25971" y="96497"/>
                    <a:pt x="18359" y="95154"/>
                  </a:cubicBezTo>
                  <a:lnTo>
                    <a:pt x="36270" y="77242"/>
                  </a:lnTo>
                  <a:cubicBezTo>
                    <a:pt x="36270" y="77242"/>
                    <a:pt x="36270" y="77242"/>
                    <a:pt x="36270" y="77242"/>
                  </a:cubicBezTo>
                  <a:lnTo>
                    <a:pt x="54182" y="59331"/>
                  </a:lnTo>
                  <a:cubicBezTo>
                    <a:pt x="54629" y="60674"/>
                    <a:pt x="55525" y="62018"/>
                    <a:pt x="56421" y="62913"/>
                  </a:cubicBezTo>
                  <a:lnTo>
                    <a:pt x="67167" y="77690"/>
                  </a:lnTo>
                  <a:lnTo>
                    <a:pt x="67167" y="121573"/>
                  </a:lnTo>
                  <a:lnTo>
                    <a:pt x="8956" y="121573"/>
                  </a:lnTo>
                  <a:cubicBezTo>
                    <a:pt x="4030" y="121573"/>
                    <a:pt x="0" y="125603"/>
                    <a:pt x="0" y="130528"/>
                  </a:cubicBezTo>
                  <a:cubicBezTo>
                    <a:pt x="0" y="135454"/>
                    <a:pt x="4030" y="139484"/>
                    <a:pt x="8956" y="139484"/>
                  </a:cubicBezTo>
                  <a:lnTo>
                    <a:pt x="116423" y="139484"/>
                  </a:lnTo>
                  <a:cubicBezTo>
                    <a:pt x="121349" y="139484"/>
                    <a:pt x="125379" y="135454"/>
                    <a:pt x="125379" y="130528"/>
                  </a:cubicBezTo>
                  <a:cubicBezTo>
                    <a:pt x="124931" y="125155"/>
                    <a:pt x="120901" y="121125"/>
                    <a:pt x="115975" y="121125"/>
                  </a:cubicBezTo>
                  <a:close/>
                  <a:moveTo>
                    <a:pt x="17463" y="61570"/>
                  </a:moveTo>
                  <a:lnTo>
                    <a:pt x="30897" y="75003"/>
                  </a:lnTo>
                  <a:lnTo>
                    <a:pt x="17463" y="88437"/>
                  </a:lnTo>
                  <a:lnTo>
                    <a:pt x="17463" y="61570"/>
                  </a:lnTo>
                  <a:close/>
                  <a:moveTo>
                    <a:pt x="34031" y="71869"/>
                  </a:moveTo>
                  <a:lnTo>
                    <a:pt x="18359" y="56197"/>
                  </a:lnTo>
                  <a:lnTo>
                    <a:pt x="68063" y="6493"/>
                  </a:lnTo>
                  <a:cubicBezTo>
                    <a:pt x="70749" y="3806"/>
                    <a:pt x="74779" y="3806"/>
                    <a:pt x="77466" y="6493"/>
                  </a:cubicBezTo>
                  <a:lnTo>
                    <a:pt x="83735" y="12762"/>
                  </a:lnTo>
                  <a:cubicBezTo>
                    <a:pt x="85079" y="14105"/>
                    <a:pt x="85526" y="15896"/>
                    <a:pt x="85526" y="17687"/>
                  </a:cubicBezTo>
                  <a:cubicBezTo>
                    <a:pt x="85526" y="19478"/>
                    <a:pt x="84631" y="21270"/>
                    <a:pt x="83735" y="22613"/>
                  </a:cubicBezTo>
                  <a:lnTo>
                    <a:pt x="73436" y="32912"/>
                  </a:lnTo>
                  <a:cubicBezTo>
                    <a:pt x="68511" y="32016"/>
                    <a:pt x="63585" y="33360"/>
                    <a:pt x="59107" y="36494"/>
                  </a:cubicBezTo>
                  <a:cubicBezTo>
                    <a:pt x="55077" y="39629"/>
                    <a:pt x="52390" y="44106"/>
                    <a:pt x="51495" y="49032"/>
                  </a:cubicBezTo>
                  <a:cubicBezTo>
                    <a:pt x="51047" y="50823"/>
                    <a:pt x="51495" y="52614"/>
                    <a:pt x="51495" y="54405"/>
                  </a:cubicBezTo>
                  <a:lnTo>
                    <a:pt x="34031" y="71869"/>
                  </a:lnTo>
                  <a:close/>
                  <a:moveTo>
                    <a:pt x="56421" y="49032"/>
                  </a:moveTo>
                  <a:cubicBezTo>
                    <a:pt x="56868" y="45002"/>
                    <a:pt x="59107" y="41867"/>
                    <a:pt x="62242" y="39629"/>
                  </a:cubicBezTo>
                  <a:cubicBezTo>
                    <a:pt x="68511" y="34703"/>
                    <a:pt x="77914" y="36046"/>
                    <a:pt x="82392" y="42763"/>
                  </a:cubicBezTo>
                  <a:lnTo>
                    <a:pt x="90900" y="54405"/>
                  </a:lnTo>
                  <a:cubicBezTo>
                    <a:pt x="90004" y="54405"/>
                    <a:pt x="89556" y="53958"/>
                    <a:pt x="88661" y="53958"/>
                  </a:cubicBezTo>
                  <a:cubicBezTo>
                    <a:pt x="78362" y="53958"/>
                    <a:pt x="69406" y="61122"/>
                    <a:pt x="67167" y="70973"/>
                  </a:cubicBezTo>
                  <a:lnTo>
                    <a:pt x="59107" y="60227"/>
                  </a:lnTo>
                  <a:cubicBezTo>
                    <a:pt x="56868" y="56644"/>
                    <a:pt x="55973" y="52614"/>
                    <a:pt x="56421" y="49032"/>
                  </a:cubicBezTo>
                  <a:close/>
                  <a:moveTo>
                    <a:pt x="71197" y="76347"/>
                  </a:moveTo>
                  <a:cubicBezTo>
                    <a:pt x="71197" y="66495"/>
                    <a:pt x="79257" y="58435"/>
                    <a:pt x="89109" y="58435"/>
                  </a:cubicBezTo>
                  <a:cubicBezTo>
                    <a:pt x="98960" y="58435"/>
                    <a:pt x="107020" y="66495"/>
                    <a:pt x="107020" y="76347"/>
                  </a:cubicBezTo>
                  <a:lnTo>
                    <a:pt x="107020" y="121125"/>
                  </a:lnTo>
                  <a:lnTo>
                    <a:pt x="71197" y="121125"/>
                  </a:lnTo>
                  <a:lnTo>
                    <a:pt x="71197" y="76347"/>
                  </a:lnTo>
                  <a:close/>
                  <a:moveTo>
                    <a:pt x="115975" y="134558"/>
                  </a:moveTo>
                  <a:lnTo>
                    <a:pt x="8508" y="134558"/>
                  </a:lnTo>
                  <a:cubicBezTo>
                    <a:pt x="5821" y="134558"/>
                    <a:pt x="4030" y="132767"/>
                    <a:pt x="4030" y="130081"/>
                  </a:cubicBezTo>
                  <a:cubicBezTo>
                    <a:pt x="4030" y="127394"/>
                    <a:pt x="5821" y="125603"/>
                    <a:pt x="8508" y="125603"/>
                  </a:cubicBezTo>
                  <a:lnTo>
                    <a:pt x="68958" y="125603"/>
                  </a:lnTo>
                  <a:lnTo>
                    <a:pt x="109259" y="125603"/>
                  </a:lnTo>
                  <a:lnTo>
                    <a:pt x="115975" y="125603"/>
                  </a:lnTo>
                  <a:cubicBezTo>
                    <a:pt x="118662" y="125603"/>
                    <a:pt x="120453" y="127394"/>
                    <a:pt x="120453" y="130081"/>
                  </a:cubicBezTo>
                  <a:cubicBezTo>
                    <a:pt x="120453" y="132767"/>
                    <a:pt x="118214" y="134558"/>
                    <a:pt x="115975" y="134558"/>
                  </a:cubicBezTo>
                  <a:close/>
                </a:path>
              </a:pathLst>
            </a:custGeom>
            <a:solidFill>
              <a:srgbClr val="231F20"/>
            </a:solidFill>
            <a:ln w="4474" cap="flat">
              <a:noFill/>
              <a:prstDash val="solid"/>
              <a:miter/>
            </a:ln>
          </p:spPr>
          <p:txBody>
            <a:bodyPr rtlCol="0" anchor="ctr"/>
            <a:lstStyle/>
            <a:p>
              <a:endParaRPr lang="en-US"/>
            </a:p>
          </p:txBody>
        </p:sp>
        <p:sp>
          <p:nvSpPr>
            <p:cNvPr id="4177" name="Freeform: Shape 4176">
              <a:extLst>
                <a:ext uri="{FF2B5EF4-FFF2-40B4-BE49-F238E27FC236}">
                  <a16:creationId xmlns:a16="http://schemas.microsoft.com/office/drawing/2014/main" id="{6ACAB25A-DED1-49F5-AF92-CD33BFD2F2E8}"/>
                </a:ext>
              </a:extLst>
            </p:cNvPr>
            <p:cNvSpPr/>
            <p:nvPr/>
          </p:nvSpPr>
          <p:spPr>
            <a:xfrm>
              <a:off x="2269770" y="2375568"/>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195" y="4478"/>
                    <a:pt x="8956" y="4478"/>
                  </a:cubicBezTo>
                  <a:close/>
                </a:path>
              </a:pathLst>
            </a:custGeom>
            <a:solidFill>
              <a:srgbClr val="231F20"/>
            </a:solidFill>
            <a:ln w="4474" cap="flat">
              <a:noFill/>
              <a:prstDash val="solid"/>
              <a:miter/>
            </a:ln>
          </p:spPr>
          <p:txBody>
            <a:bodyPr rtlCol="0" anchor="ctr"/>
            <a:lstStyle/>
            <a:p>
              <a:endParaRPr lang="en-US"/>
            </a:p>
          </p:txBody>
        </p:sp>
      </p:grpSp>
      <p:grpSp>
        <p:nvGrpSpPr>
          <p:cNvPr id="4178" name="Group 4177">
            <a:extLst>
              <a:ext uri="{FF2B5EF4-FFF2-40B4-BE49-F238E27FC236}">
                <a16:creationId xmlns:a16="http://schemas.microsoft.com/office/drawing/2014/main" id="{40CB9FD8-6482-4B06-9929-687C92189026}"/>
              </a:ext>
              <a:ext uri="{C183D7F6-B498-43B3-948B-1728B52AA6E4}">
                <adec:decorative xmlns:adec="http://schemas.microsoft.com/office/drawing/2017/decorative" val="1"/>
              </a:ext>
            </a:extLst>
          </p:cNvPr>
          <p:cNvGrpSpPr>
            <a:grpSpLocks noChangeAspect="1"/>
          </p:cNvGrpSpPr>
          <p:nvPr/>
        </p:nvGrpSpPr>
        <p:grpSpPr>
          <a:xfrm>
            <a:off x="2394312" y="3030854"/>
            <a:ext cx="147768" cy="147768"/>
            <a:chOff x="2435066" y="2295415"/>
            <a:chExt cx="147768" cy="147768"/>
          </a:xfrm>
        </p:grpSpPr>
        <p:sp>
          <p:nvSpPr>
            <p:cNvPr id="4179" name="Freeform: Shape 4178">
              <a:extLst>
                <a:ext uri="{FF2B5EF4-FFF2-40B4-BE49-F238E27FC236}">
                  <a16:creationId xmlns:a16="http://schemas.microsoft.com/office/drawing/2014/main" id="{CCA28B28-C866-4E88-9018-4699261484E6}"/>
                </a:ext>
              </a:extLst>
            </p:cNvPr>
            <p:cNvSpPr/>
            <p:nvPr/>
          </p:nvSpPr>
          <p:spPr>
            <a:xfrm>
              <a:off x="2435066" y="2295415"/>
              <a:ext cx="147768" cy="147768"/>
            </a:xfrm>
            <a:custGeom>
              <a:avLst/>
              <a:gdLst>
                <a:gd name="connsiteX0" fmla="*/ 135614 w 147767"/>
                <a:gd name="connsiteY0" fmla="*/ 151798 h 147767"/>
                <a:gd name="connsiteX1" fmla="*/ 16952 w 147767"/>
                <a:gd name="connsiteY1" fmla="*/ 151798 h 147767"/>
                <a:gd name="connsiteX2" fmla="*/ 1727 w 147767"/>
                <a:gd name="connsiteY2" fmla="*/ 143738 h 147767"/>
                <a:gd name="connsiteX3" fmla="*/ 3071 w 147767"/>
                <a:gd name="connsiteY3" fmla="*/ 125379 h 147767"/>
                <a:gd name="connsiteX4" fmla="*/ 62178 w 147767"/>
                <a:gd name="connsiteY4" fmla="*/ 10299 h 147767"/>
                <a:gd name="connsiteX5" fmla="*/ 76059 w 147767"/>
                <a:gd name="connsiteY5" fmla="*/ 0 h 147767"/>
                <a:gd name="connsiteX6" fmla="*/ 89940 w 147767"/>
                <a:gd name="connsiteY6" fmla="*/ 10299 h 147767"/>
                <a:gd name="connsiteX7" fmla="*/ 149047 w 147767"/>
                <a:gd name="connsiteY7" fmla="*/ 125379 h 147767"/>
                <a:gd name="connsiteX8" fmla="*/ 149047 w 147767"/>
                <a:gd name="connsiteY8" fmla="*/ 125379 h 147767"/>
                <a:gd name="connsiteX9" fmla="*/ 150391 w 147767"/>
                <a:gd name="connsiteY9" fmla="*/ 143738 h 147767"/>
                <a:gd name="connsiteX10" fmla="*/ 135614 w 147767"/>
                <a:gd name="connsiteY10" fmla="*/ 151798 h 147767"/>
                <a:gd name="connsiteX11" fmla="*/ 76507 w 147767"/>
                <a:gd name="connsiteY11" fmla="*/ 4030 h 147767"/>
                <a:gd name="connsiteX12" fmla="*/ 66655 w 147767"/>
                <a:gd name="connsiteY12" fmla="*/ 12090 h 147767"/>
                <a:gd name="connsiteX13" fmla="*/ 7101 w 147767"/>
                <a:gd name="connsiteY13" fmla="*/ 127170 h 147767"/>
                <a:gd name="connsiteX14" fmla="*/ 5757 w 147767"/>
                <a:gd name="connsiteY14" fmla="*/ 141499 h 147767"/>
                <a:gd name="connsiteX15" fmla="*/ 16952 w 147767"/>
                <a:gd name="connsiteY15" fmla="*/ 147320 h 147767"/>
                <a:gd name="connsiteX16" fmla="*/ 135614 w 147767"/>
                <a:gd name="connsiteY16" fmla="*/ 147320 h 147767"/>
                <a:gd name="connsiteX17" fmla="*/ 146809 w 147767"/>
                <a:gd name="connsiteY17" fmla="*/ 141499 h 147767"/>
                <a:gd name="connsiteX18" fmla="*/ 145465 w 147767"/>
                <a:gd name="connsiteY18" fmla="*/ 127170 h 147767"/>
                <a:gd name="connsiteX19" fmla="*/ 86358 w 147767"/>
                <a:gd name="connsiteY19" fmla="*/ 12090 h 147767"/>
                <a:gd name="connsiteX20" fmla="*/ 76507 w 147767"/>
                <a:gd name="connsiteY20" fmla="*/ 4030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7767" h="147767">
                  <a:moveTo>
                    <a:pt x="135614" y="151798"/>
                  </a:moveTo>
                  <a:lnTo>
                    <a:pt x="16952" y="151798"/>
                  </a:lnTo>
                  <a:cubicBezTo>
                    <a:pt x="9787" y="151798"/>
                    <a:pt x="4414" y="148663"/>
                    <a:pt x="1727" y="143738"/>
                  </a:cubicBezTo>
                  <a:cubicBezTo>
                    <a:pt x="-959" y="138365"/>
                    <a:pt x="-512" y="132096"/>
                    <a:pt x="3071" y="125379"/>
                  </a:cubicBezTo>
                  <a:lnTo>
                    <a:pt x="62178" y="10299"/>
                  </a:lnTo>
                  <a:cubicBezTo>
                    <a:pt x="65760" y="3582"/>
                    <a:pt x="70686" y="0"/>
                    <a:pt x="76059" y="0"/>
                  </a:cubicBezTo>
                  <a:cubicBezTo>
                    <a:pt x="81432" y="0"/>
                    <a:pt x="86358" y="3582"/>
                    <a:pt x="89940" y="10299"/>
                  </a:cubicBezTo>
                  <a:lnTo>
                    <a:pt x="149047" y="125379"/>
                  </a:lnTo>
                  <a:cubicBezTo>
                    <a:pt x="149047" y="125379"/>
                    <a:pt x="149047" y="125379"/>
                    <a:pt x="149047" y="125379"/>
                  </a:cubicBezTo>
                  <a:cubicBezTo>
                    <a:pt x="152630" y="132096"/>
                    <a:pt x="153077" y="138365"/>
                    <a:pt x="150391" y="143738"/>
                  </a:cubicBezTo>
                  <a:cubicBezTo>
                    <a:pt x="148152" y="148663"/>
                    <a:pt x="142778" y="151798"/>
                    <a:pt x="135614" y="151798"/>
                  </a:cubicBezTo>
                  <a:close/>
                  <a:moveTo>
                    <a:pt x="76507" y="4030"/>
                  </a:moveTo>
                  <a:cubicBezTo>
                    <a:pt x="72925" y="4030"/>
                    <a:pt x="69342" y="6717"/>
                    <a:pt x="66655" y="12090"/>
                  </a:cubicBezTo>
                  <a:lnTo>
                    <a:pt x="7101" y="127170"/>
                  </a:lnTo>
                  <a:cubicBezTo>
                    <a:pt x="4414" y="132543"/>
                    <a:pt x="3966" y="137469"/>
                    <a:pt x="5757" y="141499"/>
                  </a:cubicBezTo>
                  <a:cubicBezTo>
                    <a:pt x="7548" y="145081"/>
                    <a:pt x="11578" y="147320"/>
                    <a:pt x="16952" y="147320"/>
                  </a:cubicBezTo>
                  <a:lnTo>
                    <a:pt x="135614" y="147320"/>
                  </a:lnTo>
                  <a:cubicBezTo>
                    <a:pt x="140987" y="147320"/>
                    <a:pt x="145017" y="145081"/>
                    <a:pt x="146809" y="141499"/>
                  </a:cubicBezTo>
                  <a:cubicBezTo>
                    <a:pt x="148600" y="137469"/>
                    <a:pt x="148600" y="132543"/>
                    <a:pt x="145465" y="127170"/>
                  </a:cubicBezTo>
                  <a:lnTo>
                    <a:pt x="86358" y="12090"/>
                  </a:lnTo>
                  <a:cubicBezTo>
                    <a:pt x="83671" y="6717"/>
                    <a:pt x="80089" y="4030"/>
                    <a:pt x="76507" y="4030"/>
                  </a:cubicBezTo>
                  <a:close/>
                </a:path>
              </a:pathLst>
            </a:custGeom>
            <a:solidFill>
              <a:srgbClr val="231F20"/>
            </a:solidFill>
            <a:ln w="4474" cap="flat">
              <a:noFill/>
              <a:prstDash val="solid"/>
              <a:miter/>
            </a:ln>
          </p:spPr>
          <p:txBody>
            <a:bodyPr rtlCol="0" anchor="ctr"/>
            <a:lstStyle/>
            <a:p>
              <a:endParaRPr lang="en-US"/>
            </a:p>
          </p:txBody>
        </p:sp>
        <p:sp>
          <p:nvSpPr>
            <p:cNvPr id="4180" name="Freeform: Shape 4179">
              <a:extLst>
                <a:ext uri="{FF2B5EF4-FFF2-40B4-BE49-F238E27FC236}">
                  <a16:creationId xmlns:a16="http://schemas.microsoft.com/office/drawing/2014/main" id="{B104B330-254C-4565-8337-A89885A5755B}"/>
                </a:ext>
              </a:extLst>
            </p:cNvPr>
            <p:cNvSpPr/>
            <p:nvPr/>
          </p:nvSpPr>
          <p:spPr>
            <a:xfrm>
              <a:off x="2469481" y="2348253"/>
              <a:ext cx="85079" cy="85079"/>
            </a:xfrm>
            <a:custGeom>
              <a:avLst/>
              <a:gdLst>
                <a:gd name="connsiteX0" fmla="*/ 82392 w 85078"/>
                <a:gd name="connsiteY0" fmla="*/ 40748 h 85078"/>
                <a:gd name="connsiteX1" fmla="*/ 57316 w 85078"/>
                <a:gd name="connsiteY1" fmla="*/ 40748 h 85078"/>
                <a:gd name="connsiteX2" fmla="*/ 54629 w 85078"/>
                <a:gd name="connsiteY2" fmla="*/ 33584 h 85078"/>
                <a:gd name="connsiteX3" fmla="*/ 62689 w 85078"/>
                <a:gd name="connsiteY3" fmla="*/ 25524 h 85078"/>
                <a:gd name="connsiteX4" fmla="*/ 62689 w 85078"/>
                <a:gd name="connsiteY4" fmla="*/ 22389 h 85078"/>
                <a:gd name="connsiteX5" fmla="*/ 59555 w 85078"/>
                <a:gd name="connsiteY5" fmla="*/ 22389 h 85078"/>
                <a:gd name="connsiteX6" fmla="*/ 51495 w 85078"/>
                <a:gd name="connsiteY6" fmla="*/ 30449 h 85078"/>
                <a:gd name="connsiteX7" fmla="*/ 44778 w 85078"/>
                <a:gd name="connsiteY7" fmla="*/ 27315 h 85078"/>
                <a:gd name="connsiteX8" fmla="*/ 44778 w 85078"/>
                <a:gd name="connsiteY8" fmla="*/ 2239 h 85078"/>
                <a:gd name="connsiteX9" fmla="*/ 42539 w 85078"/>
                <a:gd name="connsiteY9" fmla="*/ 0 h 85078"/>
                <a:gd name="connsiteX10" fmla="*/ 40300 w 85078"/>
                <a:gd name="connsiteY10" fmla="*/ 2239 h 85078"/>
                <a:gd name="connsiteX11" fmla="*/ 40300 w 85078"/>
                <a:gd name="connsiteY11" fmla="*/ 27315 h 85078"/>
                <a:gd name="connsiteX12" fmla="*/ 33136 w 85078"/>
                <a:gd name="connsiteY12" fmla="*/ 30001 h 85078"/>
                <a:gd name="connsiteX13" fmla="*/ 25076 w 85078"/>
                <a:gd name="connsiteY13" fmla="*/ 21941 h 85078"/>
                <a:gd name="connsiteX14" fmla="*/ 21941 w 85078"/>
                <a:gd name="connsiteY14" fmla="*/ 21941 h 85078"/>
                <a:gd name="connsiteX15" fmla="*/ 21941 w 85078"/>
                <a:gd name="connsiteY15" fmla="*/ 25076 h 85078"/>
                <a:gd name="connsiteX16" fmla="*/ 30001 w 85078"/>
                <a:gd name="connsiteY16" fmla="*/ 33136 h 85078"/>
                <a:gd name="connsiteX17" fmla="*/ 26867 w 85078"/>
                <a:gd name="connsiteY17" fmla="*/ 40748 h 85078"/>
                <a:gd name="connsiteX18" fmla="*/ 2239 w 85078"/>
                <a:gd name="connsiteY18" fmla="*/ 40748 h 85078"/>
                <a:gd name="connsiteX19" fmla="*/ 0 w 85078"/>
                <a:gd name="connsiteY19" fmla="*/ 42987 h 85078"/>
                <a:gd name="connsiteX20" fmla="*/ 2239 w 85078"/>
                <a:gd name="connsiteY20" fmla="*/ 45226 h 85078"/>
                <a:gd name="connsiteX21" fmla="*/ 26867 w 85078"/>
                <a:gd name="connsiteY21" fmla="*/ 45226 h 85078"/>
                <a:gd name="connsiteX22" fmla="*/ 30001 w 85078"/>
                <a:gd name="connsiteY22" fmla="*/ 52391 h 85078"/>
                <a:gd name="connsiteX23" fmla="*/ 21941 w 85078"/>
                <a:gd name="connsiteY23" fmla="*/ 60451 h 85078"/>
                <a:gd name="connsiteX24" fmla="*/ 21941 w 85078"/>
                <a:gd name="connsiteY24" fmla="*/ 63585 h 85078"/>
                <a:gd name="connsiteX25" fmla="*/ 23732 w 85078"/>
                <a:gd name="connsiteY25" fmla="*/ 64033 h 85078"/>
                <a:gd name="connsiteX26" fmla="*/ 25523 w 85078"/>
                <a:gd name="connsiteY26" fmla="*/ 63585 h 85078"/>
                <a:gd name="connsiteX27" fmla="*/ 33584 w 85078"/>
                <a:gd name="connsiteY27" fmla="*/ 55525 h 85078"/>
                <a:gd name="connsiteX28" fmla="*/ 41196 w 85078"/>
                <a:gd name="connsiteY28" fmla="*/ 58212 h 85078"/>
                <a:gd name="connsiteX29" fmla="*/ 41196 w 85078"/>
                <a:gd name="connsiteY29" fmla="*/ 82840 h 85078"/>
                <a:gd name="connsiteX30" fmla="*/ 43435 w 85078"/>
                <a:gd name="connsiteY30" fmla="*/ 85079 h 85078"/>
                <a:gd name="connsiteX31" fmla="*/ 45674 w 85078"/>
                <a:gd name="connsiteY31" fmla="*/ 82840 h 85078"/>
                <a:gd name="connsiteX32" fmla="*/ 45674 w 85078"/>
                <a:gd name="connsiteY32" fmla="*/ 58212 h 85078"/>
                <a:gd name="connsiteX33" fmla="*/ 52838 w 85078"/>
                <a:gd name="connsiteY33" fmla="*/ 55077 h 85078"/>
                <a:gd name="connsiteX34" fmla="*/ 60898 w 85078"/>
                <a:gd name="connsiteY34" fmla="*/ 63137 h 85078"/>
                <a:gd name="connsiteX35" fmla="*/ 62689 w 85078"/>
                <a:gd name="connsiteY35" fmla="*/ 63585 h 85078"/>
                <a:gd name="connsiteX36" fmla="*/ 64481 w 85078"/>
                <a:gd name="connsiteY36" fmla="*/ 63137 h 85078"/>
                <a:gd name="connsiteX37" fmla="*/ 64481 w 85078"/>
                <a:gd name="connsiteY37" fmla="*/ 60003 h 85078"/>
                <a:gd name="connsiteX38" fmla="*/ 56421 w 85078"/>
                <a:gd name="connsiteY38" fmla="*/ 51943 h 85078"/>
                <a:gd name="connsiteX39" fmla="*/ 59107 w 85078"/>
                <a:gd name="connsiteY39" fmla="*/ 45226 h 85078"/>
                <a:gd name="connsiteX40" fmla="*/ 84183 w 85078"/>
                <a:gd name="connsiteY40" fmla="*/ 45226 h 85078"/>
                <a:gd name="connsiteX41" fmla="*/ 86422 w 85078"/>
                <a:gd name="connsiteY41" fmla="*/ 42987 h 85078"/>
                <a:gd name="connsiteX42" fmla="*/ 82392 w 85078"/>
                <a:gd name="connsiteY42" fmla="*/ 40748 h 85078"/>
                <a:gd name="connsiteX43" fmla="*/ 50151 w 85078"/>
                <a:gd name="connsiteY43" fmla="*/ 49704 h 85078"/>
                <a:gd name="connsiteX44" fmla="*/ 49704 w 85078"/>
                <a:gd name="connsiteY44" fmla="*/ 50152 h 85078"/>
                <a:gd name="connsiteX45" fmla="*/ 49256 w 85078"/>
                <a:gd name="connsiteY45" fmla="*/ 51047 h 85078"/>
                <a:gd name="connsiteX46" fmla="*/ 41644 w 85078"/>
                <a:gd name="connsiteY46" fmla="*/ 54182 h 85078"/>
                <a:gd name="connsiteX47" fmla="*/ 30449 w 85078"/>
                <a:gd name="connsiteY47" fmla="*/ 42987 h 85078"/>
                <a:gd name="connsiteX48" fmla="*/ 41644 w 85078"/>
                <a:gd name="connsiteY48" fmla="*/ 31793 h 85078"/>
                <a:gd name="connsiteX49" fmla="*/ 52838 w 85078"/>
                <a:gd name="connsiteY49" fmla="*/ 42987 h 85078"/>
                <a:gd name="connsiteX50" fmla="*/ 50151 w 85078"/>
                <a:gd name="connsiteY50" fmla="*/ 49704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5078" h="85078">
                  <a:moveTo>
                    <a:pt x="82392" y="40748"/>
                  </a:moveTo>
                  <a:lnTo>
                    <a:pt x="57316" y="40748"/>
                  </a:lnTo>
                  <a:cubicBezTo>
                    <a:pt x="56868" y="38061"/>
                    <a:pt x="55973" y="35823"/>
                    <a:pt x="54629" y="33584"/>
                  </a:cubicBezTo>
                  <a:lnTo>
                    <a:pt x="62689" y="25524"/>
                  </a:lnTo>
                  <a:cubicBezTo>
                    <a:pt x="63585" y="24628"/>
                    <a:pt x="63585" y="23285"/>
                    <a:pt x="62689" y="22389"/>
                  </a:cubicBezTo>
                  <a:cubicBezTo>
                    <a:pt x="61794" y="21494"/>
                    <a:pt x="60451" y="21494"/>
                    <a:pt x="59555" y="22389"/>
                  </a:cubicBezTo>
                  <a:lnTo>
                    <a:pt x="51495" y="30449"/>
                  </a:lnTo>
                  <a:cubicBezTo>
                    <a:pt x="49704" y="29106"/>
                    <a:pt x="47017" y="27763"/>
                    <a:pt x="44778" y="27315"/>
                  </a:cubicBezTo>
                  <a:lnTo>
                    <a:pt x="44778" y="2239"/>
                  </a:lnTo>
                  <a:cubicBezTo>
                    <a:pt x="44778" y="896"/>
                    <a:pt x="43883" y="0"/>
                    <a:pt x="42539" y="0"/>
                  </a:cubicBezTo>
                  <a:cubicBezTo>
                    <a:pt x="41196" y="0"/>
                    <a:pt x="40300" y="896"/>
                    <a:pt x="40300" y="2239"/>
                  </a:cubicBezTo>
                  <a:lnTo>
                    <a:pt x="40300" y="27315"/>
                  </a:lnTo>
                  <a:cubicBezTo>
                    <a:pt x="37614" y="27763"/>
                    <a:pt x="35375" y="28658"/>
                    <a:pt x="33136" y="30001"/>
                  </a:cubicBezTo>
                  <a:lnTo>
                    <a:pt x="25076" y="21941"/>
                  </a:lnTo>
                  <a:cubicBezTo>
                    <a:pt x="24180" y="21046"/>
                    <a:pt x="22837" y="21046"/>
                    <a:pt x="21941" y="21941"/>
                  </a:cubicBezTo>
                  <a:cubicBezTo>
                    <a:pt x="21046" y="22837"/>
                    <a:pt x="21046" y="24180"/>
                    <a:pt x="21941" y="25076"/>
                  </a:cubicBezTo>
                  <a:lnTo>
                    <a:pt x="30001" y="33136"/>
                  </a:lnTo>
                  <a:cubicBezTo>
                    <a:pt x="28210" y="35375"/>
                    <a:pt x="27315" y="37614"/>
                    <a:pt x="26867" y="40748"/>
                  </a:cubicBezTo>
                  <a:lnTo>
                    <a:pt x="2239" y="40748"/>
                  </a:lnTo>
                  <a:cubicBezTo>
                    <a:pt x="895" y="40748"/>
                    <a:pt x="0" y="41644"/>
                    <a:pt x="0" y="42987"/>
                  </a:cubicBezTo>
                  <a:cubicBezTo>
                    <a:pt x="0" y="44330"/>
                    <a:pt x="895" y="45226"/>
                    <a:pt x="2239" y="45226"/>
                  </a:cubicBezTo>
                  <a:lnTo>
                    <a:pt x="26867" y="45226"/>
                  </a:lnTo>
                  <a:cubicBezTo>
                    <a:pt x="27315" y="47913"/>
                    <a:pt x="28210" y="50599"/>
                    <a:pt x="30001" y="52391"/>
                  </a:cubicBezTo>
                  <a:lnTo>
                    <a:pt x="21941" y="60451"/>
                  </a:lnTo>
                  <a:cubicBezTo>
                    <a:pt x="21046" y="61346"/>
                    <a:pt x="21046" y="62689"/>
                    <a:pt x="21941" y="63585"/>
                  </a:cubicBezTo>
                  <a:cubicBezTo>
                    <a:pt x="22389" y="64033"/>
                    <a:pt x="22837" y="64033"/>
                    <a:pt x="23732" y="64033"/>
                  </a:cubicBezTo>
                  <a:cubicBezTo>
                    <a:pt x="24628" y="64033"/>
                    <a:pt x="25076" y="64033"/>
                    <a:pt x="25523" y="63585"/>
                  </a:cubicBezTo>
                  <a:lnTo>
                    <a:pt x="33584" y="55525"/>
                  </a:lnTo>
                  <a:cubicBezTo>
                    <a:pt x="35823" y="56868"/>
                    <a:pt x="38061" y="58212"/>
                    <a:pt x="41196" y="58212"/>
                  </a:cubicBezTo>
                  <a:lnTo>
                    <a:pt x="41196" y="82840"/>
                  </a:lnTo>
                  <a:cubicBezTo>
                    <a:pt x="41196" y="84183"/>
                    <a:pt x="42091" y="85079"/>
                    <a:pt x="43435" y="85079"/>
                  </a:cubicBezTo>
                  <a:cubicBezTo>
                    <a:pt x="44778" y="85079"/>
                    <a:pt x="45674" y="84183"/>
                    <a:pt x="45674" y="82840"/>
                  </a:cubicBezTo>
                  <a:lnTo>
                    <a:pt x="45674" y="58212"/>
                  </a:lnTo>
                  <a:cubicBezTo>
                    <a:pt x="48360" y="57764"/>
                    <a:pt x="50599" y="56421"/>
                    <a:pt x="52838" y="55077"/>
                  </a:cubicBezTo>
                  <a:lnTo>
                    <a:pt x="60898" y="63137"/>
                  </a:lnTo>
                  <a:cubicBezTo>
                    <a:pt x="61346" y="63585"/>
                    <a:pt x="61794" y="63585"/>
                    <a:pt x="62689" y="63585"/>
                  </a:cubicBezTo>
                  <a:cubicBezTo>
                    <a:pt x="63585" y="63585"/>
                    <a:pt x="64033" y="63585"/>
                    <a:pt x="64481" y="63137"/>
                  </a:cubicBezTo>
                  <a:cubicBezTo>
                    <a:pt x="65376" y="62242"/>
                    <a:pt x="65376" y="60898"/>
                    <a:pt x="64481" y="60003"/>
                  </a:cubicBezTo>
                  <a:lnTo>
                    <a:pt x="56421" y="51943"/>
                  </a:lnTo>
                  <a:cubicBezTo>
                    <a:pt x="57764" y="50152"/>
                    <a:pt x="58659" y="47465"/>
                    <a:pt x="59107" y="45226"/>
                  </a:cubicBezTo>
                  <a:lnTo>
                    <a:pt x="84183" y="45226"/>
                  </a:lnTo>
                  <a:cubicBezTo>
                    <a:pt x="85526" y="45226"/>
                    <a:pt x="86422" y="44330"/>
                    <a:pt x="86422" y="42987"/>
                  </a:cubicBezTo>
                  <a:cubicBezTo>
                    <a:pt x="84631" y="41644"/>
                    <a:pt x="83287" y="40748"/>
                    <a:pt x="82392" y="40748"/>
                  </a:cubicBezTo>
                  <a:close/>
                  <a:moveTo>
                    <a:pt x="50151" y="49704"/>
                  </a:moveTo>
                  <a:cubicBezTo>
                    <a:pt x="50151" y="49704"/>
                    <a:pt x="49704" y="50152"/>
                    <a:pt x="49704" y="50152"/>
                  </a:cubicBezTo>
                  <a:cubicBezTo>
                    <a:pt x="49256" y="50599"/>
                    <a:pt x="49256" y="50599"/>
                    <a:pt x="49256" y="51047"/>
                  </a:cubicBezTo>
                  <a:cubicBezTo>
                    <a:pt x="47465" y="52838"/>
                    <a:pt x="44778" y="54182"/>
                    <a:pt x="41644" y="54182"/>
                  </a:cubicBezTo>
                  <a:cubicBezTo>
                    <a:pt x="35375" y="54182"/>
                    <a:pt x="30449" y="49256"/>
                    <a:pt x="30449" y="42987"/>
                  </a:cubicBezTo>
                  <a:cubicBezTo>
                    <a:pt x="30449" y="36718"/>
                    <a:pt x="35375" y="31793"/>
                    <a:pt x="41644" y="31793"/>
                  </a:cubicBezTo>
                  <a:cubicBezTo>
                    <a:pt x="47913" y="31793"/>
                    <a:pt x="52838" y="36718"/>
                    <a:pt x="52838" y="42987"/>
                  </a:cubicBezTo>
                  <a:cubicBezTo>
                    <a:pt x="52838" y="45674"/>
                    <a:pt x="51495" y="47913"/>
                    <a:pt x="50151" y="49704"/>
                  </a:cubicBezTo>
                  <a:close/>
                </a:path>
              </a:pathLst>
            </a:custGeom>
            <a:solidFill>
              <a:srgbClr val="231F20"/>
            </a:solidFill>
            <a:ln w="4474" cap="flat">
              <a:noFill/>
              <a:prstDash val="solid"/>
              <a:miter/>
            </a:ln>
          </p:spPr>
          <p:txBody>
            <a:bodyPr rtlCol="0" anchor="ctr"/>
            <a:lstStyle/>
            <a:p>
              <a:endParaRPr lang="en-US"/>
            </a:p>
          </p:txBody>
        </p:sp>
      </p:grpSp>
      <p:grpSp>
        <p:nvGrpSpPr>
          <p:cNvPr id="4181" name="Group 4180">
            <a:extLst>
              <a:ext uri="{FF2B5EF4-FFF2-40B4-BE49-F238E27FC236}">
                <a16:creationId xmlns:a16="http://schemas.microsoft.com/office/drawing/2014/main" id="{3F3C8CAE-2DA4-4C10-9034-B5E52A52D363}"/>
              </a:ext>
              <a:ext uri="{C183D7F6-B498-43B3-948B-1728B52AA6E4}">
                <adec:decorative xmlns:adec="http://schemas.microsoft.com/office/drawing/2017/decorative" val="1"/>
              </a:ext>
            </a:extLst>
          </p:cNvPr>
          <p:cNvGrpSpPr>
            <a:grpSpLocks noChangeAspect="1"/>
          </p:cNvGrpSpPr>
          <p:nvPr/>
        </p:nvGrpSpPr>
        <p:grpSpPr>
          <a:xfrm>
            <a:off x="2664708" y="3030406"/>
            <a:ext cx="152246" cy="152247"/>
            <a:chOff x="2705462" y="2294967"/>
            <a:chExt cx="152246" cy="152247"/>
          </a:xfrm>
        </p:grpSpPr>
        <p:sp>
          <p:nvSpPr>
            <p:cNvPr id="4182" name="Freeform: Shape 4181">
              <a:extLst>
                <a:ext uri="{FF2B5EF4-FFF2-40B4-BE49-F238E27FC236}">
                  <a16:creationId xmlns:a16="http://schemas.microsoft.com/office/drawing/2014/main" id="{F4EE6DAC-F75D-430E-870B-44C07CDF6A14}"/>
                </a:ext>
              </a:extLst>
            </p:cNvPr>
            <p:cNvSpPr/>
            <p:nvPr/>
          </p:nvSpPr>
          <p:spPr>
            <a:xfrm>
              <a:off x="2774868" y="2310640"/>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183" name="Freeform: Shape 4182">
              <a:extLst>
                <a:ext uri="{FF2B5EF4-FFF2-40B4-BE49-F238E27FC236}">
                  <a16:creationId xmlns:a16="http://schemas.microsoft.com/office/drawing/2014/main" id="{B6BB7C01-58CF-4735-941C-F575F4797941}"/>
                </a:ext>
              </a:extLst>
            </p:cNvPr>
            <p:cNvSpPr/>
            <p:nvPr/>
          </p:nvSpPr>
          <p:spPr>
            <a:xfrm>
              <a:off x="2705462" y="2294967"/>
              <a:ext cx="152246" cy="107468"/>
            </a:xfrm>
            <a:custGeom>
              <a:avLst/>
              <a:gdLst>
                <a:gd name="connsiteX0" fmla="*/ 136573 w 152245"/>
                <a:gd name="connsiteY0" fmla="*/ 0 h 107467"/>
                <a:gd name="connsiteX1" fmla="*/ 96273 w 152245"/>
                <a:gd name="connsiteY1" fmla="*/ 0 h 107467"/>
                <a:gd name="connsiteX2" fmla="*/ 55973 w 152245"/>
                <a:gd name="connsiteY2" fmla="*/ 0 h 107467"/>
                <a:gd name="connsiteX3" fmla="*/ 15672 w 152245"/>
                <a:gd name="connsiteY3" fmla="*/ 0 h 107467"/>
                <a:gd name="connsiteX4" fmla="*/ 0 w 152245"/>
                <a:gd name="connsiteY4" fmla="*/ 15672 h 107467"/>
                <a:gd name="connsiteX5" fmla="*/ 15672 w 152245"/>
                <a:gd name="connsiteY5" fmla="*/ 31345 h 107467"/>
                <a:gd name="connsiteX6" fmla="*/ 53734 w 152245"/>
                <a:gd name="connsiteY6" fmla="*/ 31345 h 107467"/>
                <a:gd name="connsiteX7" fmla="*/ 53734 w 152245"/>
                <a:gd name="connsiteY7" fmla="*/ 42539 h 107467"/>
                <a:gd name="connsiteX8" fmla="*/ 54182 w 152245"/>
                <a:gd name="connsiteY8" fmla="*/ 44330 h 107467"/>
                <a:gd name="connsiteX9" fmla="*/ 67615 w 152245"/>
                <a:gd name="connsiteY9" fmla="*/ 57764 h 107467"/>
                <a:gd name="connsiteX10" fmla="*/ 69406 w 152245"/>
                <a:gd name="connsiteY10" fmla="*/ 58212 h 107467"/>
                <a:gd name="connsiteX11" fmla="*/ 73884 w 152245"/>
                <a:gd name="connsiteY11" fmla="*/ 58212 h 107467"/>
                <a:gd name="connsiteX12" fmla="*/ 73884 w 152245"/>
                <a:gd name="connsiteY12" fmla="*/ 96721 h 107467"/>
                <a:gd name="connsiteX13" fmla="*/ 69406 w 152245"/>
                <a:gd name="connsiteY13" fmla="*/ 102990 h 107467"/>
                <a:gd name="connsiteX14" fmla="*/ 76123 w 152245"/>
                <a:gd name="connsiteY14" fmla="*/ 109707 h 107467"/>
                <a:gd name="connsiteX15" fmla="*/ 82840 w 152245"/>
                <a:gd name="connsiteY15" fmla="*/ 102990 h 107467"/>
                <a:gd name="connsiteX16" fmla="*/ 78362 w 152245"/>
                <a:gd name="connsiteY16" fmla="*/ 96721 h 107467"/>
                <a:gd name="connsiteX17" fmla="*/ 78362 w 152245"/>
                <a:gd name="connsiteY17" fmla="*/ 58212 h 107467"/>
                <a:gd name="connsiteX18" fmla="*/ 82840 w 152245"/>
                <a:gd name="connsiteY18" fmla="*/ 58212 h 107467"/>
                <a:gd name="connsiteX19" fmla="*/ 84631 w 152245"/>
                <a:gd name="connsiteY19" fmla="*/ 57764 h 107467"/>
                <a:gd name="connsiteX20" fmla="*/ 98064 w 152245"/>
                <a:gd name="connsiteY20" fmla="*/ 44330 h 107467"/>
                <a:gd name="connsiteX21" fmla="*/ 98512 w 152245"/>
                <a:gd name="connsiteY21" fmla="*/ 42539 h 107467"/>
                <a:gd name="connsiteX22" fmla="*/ 98512 w 152245"/>
                <a:gd name="connsiteY22" fmla="*/ 31345 h 107467"/>
                <a:gd name="connsiteX23" fmla="*/ 136573 w 152245"/>
                <a:gd name="connsiteY23" fmla="*/ 31345 h 107467"/>
                <a:gd name="connsiteX24" fmla="*/ 152246 w 152245"/>
                <a:gd name="connsiteY24" fmla="*/ 15672 h 107467"/>
                <a:gd name="connsiteX25" fmla="*/ 136573 w 152245"/>
                <a:gd name="connsiteY25" fmla="*/ 0 h 107467"/>
                <a:gd name="connsiteX26" fmla="*/ 15672 w 152245"/>
                <a:gd name="connsiteY26" fmla="*/ 26867 h 107467"/>
                <a:gd name="connsiteX27" fmla="*/ 4478 w 152245"/>
                <a:gd name="connsiteY27" fmla="*/ 15672 h 107467"/>
                <a:gd name="connsiteX28" fmla="*/ 15672 w 152245"/>
                <a:gd name="connsiteY28" fmla="*/ 4478 h 107467"/>
                <a:gd name="connsiteX29" fmla="*/ 53734 w 152245"/>
                <a:gd name="connsiteY29" fmla="*/ 4478 h 107467"/>
                <a:gd name="connsiteX30" fmla="*/ 53734 w 152245"/>
                <a:gd name="connsiteY30" fmla="*/ 26867 h 107467"/>
                <a:gd name="connsiteX31" fmla="*/ 15672 w 152245"/>
                <a:gd name="connsiteY31" fmla="*/ 26867 h 107467"/>
                <a:gd name="connsiteX32" fmla="*/ 94034 w 152245"/>
                <a:gd name="connsiteY32" fmla="*/ 41644 h 107467"/>
                <a:gd name="connsiteX33" fmla="*/ 81944 w 152245"/>
                <a:gd name="connsiteY33" fmla="*/ 53734 h 107467"/>
                <a:gd name="connsiteX34" fmla="*/ 70302 w 152245"/>
                <a:gd name="connsiteY34" fmla="*/ 53734 h 107467"/>
                <a:gd name="connsiteX35" fmla="*/ 58212 w 152245"/>
                <a:gd name="connsiteY35" fmla="*/ 41644 h 107467"/>
                <a:gd name="connsiteX36" fmla="*/ 58212 w 152245"/>
                <a:gd name="connsiteY36" fmla="*/ 4478 h 107467"/>
                <a:gd name="connsiteX37" fmla="*/ 94034 w 152245"/>
                <a:gd name="connsiteY37" fmla="*/ 4478 h 107467"/>
                <a:gd name="connsiteX38" fmla="*/ 94034 w 152245"/>
                <a:gd name="connsiteY38" fmla="*/ 41644 h 107467"/>
                <a:gd name="connsiteX39" fmla="*/ 136573 w 152245"/>
                <a:gd name="connsiteY39" fmla="*/ 26867 h 107467"/>
                <a:gd name="connsiteX40" fmla="*/ 98512 w 152245"/>
                <a:gd name="connsiteY40" fmla="*/ 26867 h 107467"/>
                <a:gd name="connsiteX41" fmla="*/ 98512 w 152245"/>
                <a:gd name="connsiteY41" fmla="*/ 4478 h 107467"/>
                <a:gd name="connsiteX42" fmla="*/ 136573 w 152245"/>
                <a:gd name="connsiteY42" fmla="*/ 4478 h 107467"/>
                <a:gd name="connsiteX43" fmla="*/ 147768 w 152245"/>
                <a:gd name="connsiteY43" fmla="*/ 15672 h 107467"/>
                <a:gd name="connsiteX44" fmla="*/ 136573 w 152245"/>
                <a:gd name="connsiteY44" fmla="*/ 26867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2245" h="107467">
                  <a:moveTo>
                    <a:pt x="136573" y="0"/>
                  </a:moveTo>
                  <a:lnTo>
                    <a:pt x="96273" y="0"/>
                  </a:lnTo>
                  <a:lnTo>
                    <a:pt x="55973" y="0"/>
                  </a:lnTo>
                  <a:lnTo>
                    <a:pt x="15672" y="0"/>
                  </a:lnTo>
                  <a:cubicBezTo>
                    <a:pt x="7165" y="0"/>
                    <a:pt x="0" y="7165"/>
                    <a:pt x="0" y="15672"/>
                  </a:cubicBezTo>
                  <a:cubicBezTo>
                    <a:pt x="0" y="24180"/>
                    <a:pt x="7165" y="31345"/>
                    <a:pt x="15672" y="31345"/>
                  </a:cubicBezTo>
                  <a:lnTo>
                    <a:pt x="53734" y="31345"/>
                  </a:lnTo>
                  <a:lnTo>
                    <a:pt x="53734" y="42539"/>
                  </a:lnTo>
                  <a:cubicBezTo>
                    <a:pt x="53734" y="42987"/>
                    <a:pt x="54182" y="43883"/>
                    <a:pt x="54182" y="44330"/>
                  </a:cubicBezTo>
                  <a:lnTo>
                    <a:pt x="67615" y="57764"/>
                  </a:lnTo>
                  <a:cubicBezTo>
                    <a:pt x="68063" y="58212"/>
                    <a:pt x="68511" y="58212"/>
                    <a:pt x="69406" y="58212"/>
                  </a:cubicBezTo>
                  <a:lnTo>
                    <a:pt x="73884" y="58212"/>
                  </a:lnTo>
                  <a:lnTo>
                    <a:pt x="73884" y="96721"/>
                  </a:lnTo>
                  <a:cubicBezTo>
                    <a:pt x="71197" y="97616"/>
                    <a:pt x="69406" y="100303"/>
                    <a:pt x="69406" y="102990"/>
                  </a:cubicBezTo>
                  <a:cubicBezTo>
                    <a:pt x="69406" y="106572"/>
                    <a:pt x="72541" y="109707"/>
                    <a:pt x="76123" y="109707"/>
                  </a:cubicBezTo>
                  <a:cubicBezTo>
                    <a:pt x="79705" y="109707"/>
                    <a:pt x="82840" y="106572"/>
                    <a:pt x="82840" y="102990"/>
                  </a:cubicBezTo>
                  <a:cubicBezTo>
                    <a:pt x="82840" y="99855"/>
                    <a:pt x="81049" y="97616"/>
                    <a:pt x="78362" y="96721"/>
                  </a:cubicBezTo>
                  <a:lnTo>
                    <a:pt x="78362" y="58212"/>
                  </a:lnTo>
                  <a:lnTo>
                    <a:pt x="82840" y="58212"/>
                  </a:lnTo>
                  <a:cubicBezTo>
                    <a:pt x="83287" y="58212"/>
                    <a:pt x="84183" y="57764"/>
                    <a:pt x="84631" y="57764"/>
                  </a:cubicBezTo>
                  <a:lnTo>
                    <a:pt x="98064" y="44330"/>
                  </a:lnTo>
                  <a:cubicBezTo>
                    <a:pt x="98512" y="43883"/>
                    <a:pt x="98512" y="43435"/>
                    <a:pt x="98512" y="42539"/>
                  </a:cubicBezTo>
                  <a:lnTo>
                    <a:pt x="98512" y="31345"/>
                  </a:lnTo>
                  <a:lnTo>
                    <a:pt x="136573" y="31345"/>
                  </a:lnTo>
                  <a:cubicBezTo>
                    <a:pt x="145081" y="31345"/>
                    <a:pt x="152246" y="24180"/>
                    <a:pt x="152246" y="15672"/>
                  </a:cubicBezTo>
                  <a:cubicBezTo>
                    <a:pt x="152246" y="6717"/>
                    <a:pt x="145081" y="0"/>
                    <a:pt x="136573" y="0"/>
                  </a:cubicBezTo>
                  <a:close/>
                  <a:moveTo>
                    <a:pt x="15672" y="26867"/>
                  </a:moveTo>
                  <a:cubicBezTo>
                    <a:pt x="9403" y="26867"/>
                    <a:pt x="4478" y="21941"/>
                    <a:pt x="4478" y="15672"/>
                  </a:cubicBezTo>
                  <a:cubicBezTo>
                    <a:pt x="4478" y="9403"/>
                    <a:pt x="9403" y="4478"/>
                    <a:pt x="15672" y="4478"/>
                  </a:cubicBezTo>
                  <a:lnTo>
                    <a:pt x="53734" y="4478"/>
                  </a:lnTo>
                  <a:lnTo>
                    <a:pt x="53734" y="26867"/>
                  </a:lnTo>
                  <a:lnTo>
                    <a:pt x="15672" y="26867"/>
                  </a:lnTo>
                  <a:close/>
                  <a:moveTo>
                    <a:pt x="94034" y="41644"/>
                  </a:moveTo>
                  <a:lnTo>
                    <a:pt x="81944" y="53734"/>
                  </a:lnTo>
                  <a:lnTo>
                    <a:pt x="70302" y="53734"/>
                  </a:lnTo>
                  <a:lnTo>
                    <a:pt x="58212" y="41644"/>
                  </a:lnTo>
                  <a:lnTo>
                    <a:pt x="58212" y="4478"/>
                  </a:lnTo>
                  <a:lnTo>
                    <a:pt x="94034" y="4478"/>
                  </a:lnTo>
                  <a:lnTo>
                    <a:pt x="94034" y="41644"/>
                  </a:lnTo>
                  <a:close/>
                  <a:moveTo>
                    <a:pt x="136573" y="26867"/>
                  </a:moveTo>
                  <a:lnTo>
                    <a:pt x="98512" y="26867"/>
                  </a:lnTo>
                  <a:lnTo>
                    <a:pt x="98512" y="4478"/>
                  </a:lnTo>
                  <a:lnTo>
                    <a:pt x="136573" y="4478"/>
                  </a:lnTo>
                  <a:cubicBezTo>
                    <a:pt x="142843" y="4478"/>
                    <a:pt x="147768" y="9403"/>
                    <a:pt x="147768" y="15672"/>
                  </a:cubicBezTo>
                  <a:cubicBezTo>
                    <a:pt x="147768" y="21941"/>
                    <a:pt x="142843" y="26867"/>
                    <a:pt x="136573" y="26867"/>
                  </a:cubicBezTo>
                  <a:close/>
                </a:path>
              </a:pathLst>
            </a:custGeom>
            <a:solidFill>
              <a:srgbClr val="231F20"/>
            </a:solidFill>
            <a:ln w="4474" cap="flat">
              <a:noFill/>
              <a:prstDash val="solid"/>
              <a:miter/>
            </a:ln>
          </p:spPr>
          <p:txBody>
            <a:bodyPr rtlCol="0" anchor="ctr"/>
            <a:lstStyle/>
            <a:p>
              <a:endParaRPr lang="en-US"/>
            </a:p>
          </p:txBody>
        </p:sp>
        <p:sp>
          <p:nvSpPr>
            <p:cNvPr id="4184" name="Freeform: Shape 4183">
              <a:extLst>
                <a:ext uri="{FF2B5EF4-FFF2-40B4-BE49-F238E27FC236}">
                  <a16:creationId xmlns:a16="http://schemas.microsoft.com/office/drawing/2014/main" id="{D7796D20-2512-41BB-9245-905FACE79644}"/>
                </a:ext>
              </a:extLst>
            </p:cNvPr>
            <p:cNvSpPr/>
            <p:nvPr/>
          </p:nvSpPr>
          <p:spPr>
            <a:xfrm>
              <a:off x="2705462" y="2362135"/>
              <a:ext cx="152246" cy="85079"/>
            </a:xfrm>
            <a:custGeom>
              <a:avLst/>
              <a:gdLst>
                <a:gd name="connsiteX0" fmla="*/ 150007 w 152245"/>
                <a:gd name="connsiteY0" fmla="*/ 85079 h 85078"/>
                <a:gd name="connsiteX1" fmla="*/ 2239 w 152245"/>
                <a:gd name="connsiteY1" fmla="*/ 85079 h 85078"/>
                <a:gd name="connsiteX2" fmla="*/ 448 w 152245"/>
                <a:gd name="connsiteY2" fmla="*/ 84183 h 85078"/>
                <a:gd name="connsiteX3" fmla="*/ 0 w 152245"/>
                <a:gd name="connsiteY3" fmla="*/ 81944 h 85078"/>
                <a:gd name="connsiteX4" fmla="*/ 26867 w 152245"/>
                <a:gd name="connsiteY4" fmla="*/ 1343 h 85078"/>
                <a:gd name="connsiteX5" fmla="*/ 29106 w 152245"/>
                <a:gd name="connsiteY5" fmla="*/ 0 h 85078"/>
                <a:gd name="connsiteX6" fmla="*/ 62689 w 152245"/>
                <a:gd name="connsiteY6" fmla="*/ 0 h 85078"/>
                <a:gd name="connsiteX7" fmla="*/ 64928 w 152245"/>
                <a:gd name="connsiteY7" fmla="*/ 2239 h 85078"/>
                <a:gd name="connsiteX8" fmla="*/ 62689 w 152245"/>
                <a:gd name="connsiteY8" fmla="*/ 4478 h 85078"/>
                <a:gd name="connsiteX9" fmla="*/ 30897 w 152245"/>
                <a:gd name="connsiteY9" fmla="*/ 4478 h 85078"/>
                <a:gd name="connsiteX10" fmla="*/ 5373 w 152245"/>
                <a:gd name="connsiteY10" fmla="*/ 80601 h 85078"/>
                <a:gd name="connsiteX11" fmla="*/ 146873 w 152245"/>
                <a:gd name="connsiteY11" fmla="*/ 80601 h 85078"/>
                <a:gd name="connsiteX12" fmla="*/ 121349 w 152245"/>
                <a:gd name="connsiteY12" fmla="*/ 4478 h 85078"/>
                <a:gd name="connsiteX13" fmla="*/ 89556 w 152245"/>
                <a:gd name="connsiteY13" fmla="*/ 4478 h 85078"/>
                <a:gd name="connsiteX14" fmla="*/ 87317 w 152245"/>
                <a:gd name="connsiteY14" fmla="*/ 2239 h 85078"/>
                <a:gd name="connsiteX15" fmla="*/ 89556 w 152245"/>
                <a:gd name="connsiteY15" fmla="*/ 0 h 85078"/>
                <a:gd name="connsiteX16" fmla="*/ 123140 w 152245"/>
                <a:gd name="connsiteY16" fmla="*/ 0 h 85078"/>
                <a:gd name="connsiteX17" fmla="*/ 125379 w 152245"/>
                <a:gd name="connsiteY17" fmla="*/ 1343 h 85078"/>
                <a:gd name="connsiteX18" fmla="*/ 152246 w 152245"/>
                <a:gd name="connsiteY18" fmla="*/ 81944 h 85078"/>
                <a:gd name="connsiteX19" fmla="*/ 151798 w 152245"/>
                <a:gd name="connsiteY19" fmla="*/ 84183 h 85078"/>
                <a:gd name="connsiteX20" fmla="*/ 150007 w 152245"/>
                <a:gd name="connsiteY20" fmla="*/ 85079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245" h="85078">
                  <a:moveTo>
                    <a:pt x="150007" y="85079"/>
                  </a:moveTo>
                  <a:lnTo>
                    <a:pt x="2239" y="85079"/>
                  </a:lnTo>
                  <a:cubicBezTo>
                    <a:pt x="1343" y="85079"/>
                    <a:pt x="896" y="84631"/>
                    <a:pt x="448" y="84183"/>
                  </a:cubicBezTo>
                  <a:cubicBezTo>
                    <a:pt x="0" y="83735"/>
                    <a:pt x="0" y="82840"/>
                    <a:pt x="0" y="81944"/>
                  </a:cubicBezTo>
                  <a:lnTo>
                    <a:pt x="26867" y="1343"/>
                  </a:lnTo>
                  <a:cubicBezTo>
                    <a:pt x="27315" y="448"/>
                    <a:pt x="28210" y="0"/>
                    <a:pt x="29106" y="0"/>
                  </a:cubicBezTo>
                  <a:lnTo>
                    <a:pt x="62689" y="0"/>
                  </a:lnTo>
                  <a:cubicBezTo>
                    <a:pt x="64033" y="0"/>
                    <a:pt x="64928" y="896"/>
                    <a:pt x="64928" y="2239"/>
                  </a:cubicBezTo>
                  <a:cubicBezTo>
                    <a:pt x="64928" y="3582"/>
                    <a:pt x="64033" y="4478"/>
                    <a:pt x="62689" y="4478"/>
                  </a:cubicBezTo>
                  <a:lnTo>
                    <a:pt x="30897" y="4478"/>
                  </a:lnTo>
                  <a:lnTo>
                    <a:pt x="5373" y="80601"/>
                  </a:lnTo>
                  <a:lnTo>
                    <a:pt x="146873" y="80601"/>
                  </a:lnTo>
                  <a:lnTo>
                    <a:pt x="121349" y="4478"/>
                  </a:lnTo>
                  <a:lnTo>
                    <a:pt x="89556" y="4478"/>
                  </a:lnTo>
                  <a:cubicBezTo>
                    <a:pt x="88213" y="4478"/>
                    <a:pt x="87317" y="3582"/>
                    <a:pt x="87317" y="2239"/>
                  </a:cubicBezTo>
                  <a:cubicBezTo>
                    <a:pt x="87317" y="896"/>
                    <a:pt x="88213" y="0"/>
                    <a:pt x="89556" y="0"/>
                  </a:cubicBezTo>
                  <a:lnTo>
                    <a:pt x="123140" y="0"/>
                  </a:lnTo>
                  <a:cubicBezTo>
                    <a:pt x="124036" y="0"/>
                    <a:pt x="124931" y="448"/>
                    <a:pt x="125379" y="1343"/>
                  </a:cubicBezTo>
                  <a:lnTo>
                    <a:pt x="152246" y="81944"/>
                  </a:lnTo>
                  <a:cubicBezTo>
                    <a:pt x="152694" y="82840"/>
                    <a:pt x="152246" y="83287"/>
                    <a:pt x="151798" y="84183"/>
                  </a:cubicBezTo>
                  <a:cubicBezTo>
                    <a:pt x="151350" y="84631"/>
                    <a:pt x="150455" y="85079"/>
                    <a:pt x="150007" y="85079"/>
                  </a:cubicBezTo>
                  <a:close/>
                </a:path>
              </a:pathLst>
            </a:custGeom>
            <a:solidFill>
              <a:srgbClr val="231F20"/>
            </a:solidFill>
            <a:ln w="4474" cap="flat">
              <a:noFill/>
              <a:prstDash val="solid"/>
              <a:miter/>
            </a:ln>
          </p:spPr>
          <p:txBody>
            <a:bodyPr rtlCol="0" anchor="ctr"/>
            <a:lstStyle/>
            <a:p>
              <a:endParaRPr lang="en-US"/>
            </a:p>
          </p:txBody>
        </p:sp>
        <p:sp>
          <p:nvSpPr>
            <p:cNvPr id="4185" name="Freeform: Shape 4184">
              <a:extLst>
                <a:ext uri="{FF2B5EF4-FFF2-40B4-BE49-F238E27FC236}">
                  <a16:creationId xmlns:a16="http://schemas.microsoft.com/office/drawing/2014/main" id="{2B990CAD-D008-4B4C-A7CD-3FB1CFB81205}"/>
                </a:ext>
              </a:extLst>
            </p:cNvPr>
            <p:cNvSpPr/>
            <p:nvPr/>
          </p:nvSpPr>
          <p:spPr>
            <a:xfrm>
              <a:off x="2731881" y="2389001"/>
              <a:ext cx="98512" cy="44778"/>
            </a:xfrm>
            <a:custGeom>
              <a:avLst/>
              <a:gdLst>
                <a:gd name="connsiteX0" fmla="*/ 96721 w 98511"/>
                <a:gd name="connsiteY0" fmla="*/ 44778 h 44778"/>
                <a:gd name="connsiteX1" fmla="*/ 42987 w 98511"/>
                <a:gd name="connsiteY1" fmla="*/ 44778 h 44778"/>
                <a:gd name="connsiteX2" fmla="*/ 41196 w 98511"/>
                <a:gd name="connsiteY2" fmla="*/ 44330 h 44778"/>
                <a:gd name="connsiteX3" fmla="*/ 28210 w 98511"/>
                <a:gd name="connsiteY3" fmla="*/ 31345 h 44778"/>
                <a:gd name="connsiteX4" fmla="*/ 2239 w 98511"/>
                <a:gd name="connsiteY4" fmla="*/ 31345 h 44778"/>
                <a:gd name="connsiteX5" fmla="*/ 0 w 98511"/>
                <a:gd name="connsiteY5" fmla="*/ 29106 h 44778"/>
                <a:gd name="connsiteX6" fmla="*/ 2239 w 98511"/>
                <a:gd name="connsiteY6" fmla="*/ 26867 h 44778"/>
                <a:gd name="connsiteX7" fmla="*/ 29106 w 98511"/>
                <a:gd name="connsiteY7" fmla="*/ 26867 h 44778"/>
                <a:gd name="connsiteX8" fmla="*/ 30897 w 98511"/>
                <a:gd name="connsiteY8" fmla="*/ 27315 h 44778"/>
                <a:gd name="connsiteX9" fmla="*/ 43883 w 98511"/>
                <a:gd name="connsiteY9" fmla="*/ 40300 h 44778"/>
                <a:gd name="connsiteX10" fmla="*/ 93586 w 98511"/>
                <a:gd name="connsiteY10" fmla="*/ 40300 h 44778"/>
                <a:gd name="connsiteX11" fmla="*/ 81496 w 98511"/>
                <a:gd name="connsiteY11" fmla="*/ 4478 h 44778"/>
                <a:gd name="connsiteX12" fmla="*/ 69854 w 98511"/>
                <a:gd name="connsiteY12" fmla="*/ 4478 h 44778"/>
                <a:gd name="connsiteX13" fmla="*/ 67615 w 98511"/>
                <a:gd name="connsiteY13" fmla="*/ 2239 h 44778"/>
                <a:gd name="connsiteX14" fmla="*/ 69854 w 98511"/>
                <a:gd name="connsiteY14" fmla="*/ 0 h 44778"/>
                <a:gd name="connsiteX15" fmla="*/ 83287 w 98511"/>
                <a:gd name="connsiteY15" fmla="*/ 0 h 44778"/>
                <a:gd name="connsiteX16" fmla="*/ 85526 w 98511"/>
                <a:gd name="connsiteY16" fmla="*/ 1343 h 44778"/>
                <a:gd name="connsiteX17" fmla="*/ 98960 w 98511"/>
                <a:gd name="connsiteY17" fmla="*/ 41644 h 44778"/>
                <a:gd name="connsiteX18" fmla="*/ 98512 w 98511"/>
                <a:gd name="connsiteY18" fmla="*/ 43883 h 44778"/>
                <a:gd name="connsiteX19" fmla="*/ 96721 w 98511"/>
                <a:gd name="connsiteY19"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511" h="44778">
                  <a:moveTo>
                    <a:pt x="96721" y="44778"/>
                  </a:moveTo>
                  <a:lnTo>
                    <a:pt x="42987" y="44778"/>
                  </a:lnTo>
                  <a:cubicBezTo>
                    <a:pt x="42539" y="44778"/>
                    <a:pt x="41644" y="44330"/>
                    <a:pt x="41196" y="44330"/>
                  </a:cubicBezTo>
                  <a:lnTo>
                    <a:pt x="28210" y="31345"/>
                  </a:lnTo>
                  <a:lnTo>
                    <a:pt x="2239" y="31345"/>
                  </a:lnTo>
                  <a:cubicBezTo>
                    <a:pt x="895" y="31345"/>
                    <a:pt x="0" y="30449"/>
                    <a:pt x="0" y="29106"/>
                  </a:cubicBezTo>
                  <a:cubicBezTo>
                    <a:pt x="0" y="27763"/>
                    <a:pt x="895" y="26867"/>
                    <a:pt x="2239" y="26867"/>
                  </a:cubicBezTo>
                  <a:lnTo>
                    <a:pt x="29106" y="26867"/>
                  </a:lnTo>
                  <a:cubicBezTo>
                    <a:pt x="29553" y="26867"/>
                    <a:pt x="30449" y="27315"/>
                    <a:pt x="30897" y="27315"/>
                  </a:cubicBezTo>
                  <a:lnTo>
                    <a:pt x="43883" y="40300"/>
                  </a:lnTo>
                  <a:lnTo>
                    <a:pt x="93586" y="40300"/>
                  </a:lnTo>
                  <a:lnTo>
                    <a:pt x="81496" y="4478"/>
                  </a:lnTo>
                  <a:lnTo>
                    <a:pt x="69854" y="4478"/>
                  </a:lnTo>
                  <a:cubicBezTo>
                    <a:pt x="68511" y="4478"/>
                    <a:pt x="67615" y="3582"/>
                    <a:pt x="67615" y="2239"/>
                  </a:cubicBezTo>
                  <a:cubicBezTo>
                    <a:pt x="67615" y="896"/>
                    <a:pt x="68511" y="0"/>
                    <a:pt x="69854" y="0"/>
                  </a:cubicBezTo>
                  <a:lnTo>
                    <a:pt x="83287" y="0"/>
                  </a:lnTo>
                  <a:cubicBezTo>
                    <a:pt x="84183" y="0"/>
                    <a:pt x="85079" y="448"/>
                    <a:pt x="85526" y="1343"/>
                  </a:cubicBezTo>
                  <a:lnTo>
                    <a:pt x="98960" y="41644"/>
                  </a:lnTo>
                  <a:cubicBezTo>
                    <a:pt x="99407" y="42539"/>
                    <a:pt x="98960" y="42987"/>
                    <a:pt x="98512" y="43883"/>
                  </a:cubicBezTo>
                  <a:cubicBezTo>
                    <a:pt x="98064" y="44330"/>
                    <a:pt x="97169" y="44778"/>
                    <a:pt x="96721" y="44778"/>
                  </a:cubicBezTo>
                  <a:close/>
                </a:path>
              </a:pathLst>
            </a:custGeom>
            <a:solidFill>
              <a:srgbClr val="231F20"/>
            </a:solidFill>
            <a:ln w="4474" cap="flat">
              <a:noFill/>
              <a:prstDash val="solid"/>
              <a:miter/>
            </a:ln>
          </p:spPr>
          <p:txBody>
            <a:bodyPr rtlCol="0" anchor="ctr"/>
            <a:lstStyle/>
            <a:p>
              <a:endParaRPr lang="en-US"/>
            </a:p>
          </p:txBody>
        </p:sp>
      </p:grpSp>
      <p:grpSp>
        <p:nvGrpSpPr>
          <p:cNvPr id="4186" name="Group 4185">
            <a:extLst>
              <a:ext uri="{FF2B5EF4-FFF2-40B4-BE49-F238E27FC236}">
                <a16:creationId xmlns:a16="http://schemas.microsoft.com/office/drawing/2014/main" id="{9BA41EAC-16CD-47D2-BEAE-D3055159E094}"/>
              </a:ext>
              <a:ext uri="{C183D7F6-B498-43B3-948B-1728B52AA6E4}">
                <adec:decorative xmlns:adec="http://schemas.microsoft.com/office/drawing/2017/decorative" val="1"/>
              </a:ext>
            </a:extLst>
          </p:cNvPr>
          <p:cNvGrpSpPr>
            <a:grpSpLocks noChangeAspect="1"/>
          </p:cNvGrpSpPr>
          <p:nvPr/>
        </p:nvGrpSpPr>
        <p:grpSpPr>
          <a:xfrm>
            <a:off x="2924236" y="3040258"/>
            <a:ext cx="152246" cy="147767"/>
            <a:chOff x="2964990" y="2304819"/>
            <a:chExt cx="152246" cy="147767"/>
          </a:xfrm>
        </p:grpSpPr>
        <p:sp>
          <p:nvSpPr>
            <p:cNvPr id="4187" name="Freeform: Shape 4186">
              <a:extLst>
                <a:ext uri="{FF2B5EF4-FFF2-40B4-BE49-F238E27FC236}">
                  <a16:creationId xmlns:a16="http://schemas.microsoft.com/office/drawing/2014/main" id="{F878E363-CFF7-49C0-8741-918B283828AE}"/>
                </a:ext>
              </a:extLst>
            </p:cNvPr>
            <p:cNvSpPr/>
            <p:nvPr/>
          </p:nvSpPr>
          <p:spPr>
            <a:xfrm>
              <a:off x="2964990" y="2304819"/>
              <a:ext cx="152246" cy="40300"/>
            </a:xfrm>
            <a:custGeom>
              <a:avLst/>
              <a:gdLst>
                <a:gd name="connsiteX0" fmla="*/ 109892 w 152245"/>
                <a:gd name="connsiteY0" fmla="*/ 44330 h 40300"/>
                <a:gd name="connsiteX1" fmla="*/ 103175 w 152245"/>
                <a:gd name="connsiteY1" fmla="*/ 44330 h 40300"/>
                <a:gd name="connsiteX2" fmla="*/ 100936 w 152245"/>
                <a:gd name="connsiteY2" fmla="*/ 42091 h 40300"/>
                <a:gd name="connsiteX3" fmla="*/ 103175 w 152245"/>
                <a:gd name="connsiteY3" fmla="*/ 39853 h 40300"/>
                <a:gd name="connsiteX4" fmla="*/ 108996 w 152245"/>
                <a:gd name="connsiteY4" fmla="*/ 39853 h 40300"/>
                <a:gd name="connsiteX5" fmla="*/ 144819 w 152245"/>
                <a:gd name="connsiteY5" fmla="*/ 4030 h 40300"/>
                <a:gd name="connsiteX6" fmla="*/ 7798 w 152245"/>
                <a:gd name="connsiteY6" fmla="*/ 4030 h 40300"/>
                <a:gd name="connsiteX7" fmla="*/ 43620 w 152245"/>
                <a:gd name="connsiteY7" fmla="*/ 39853 h 40300"/>
                <a:gd name="connsiteX8" fmla="*/ 49441 w 152245"/>
                <a:gd name="connsiteY8" fmla="*/ 39853 h 40300"/>
                <a:gd name="connsiteX9" fmla="*/ 51680 w 152245"/>
                <a:gd name="connsiteY9" fmla="*/ 42091 h 40300"/>
                <a:gd name="connsiteX10" fmla="*/ 49441 w 152245"/>
                <a:gd name="connsiteY10" fmla="*/ 44330 h 40300"/>
                <a:gd name="connsiteX11" fmla="*/ 42725 w 152245"/>
                <a:gd name="connsiteY11" fmla="*/ 44330 h 40300"/>
                <a:gd name="connsiteX12" fmla="*/ 40934 w 152245"/>
                <a:gd name="connsiteY12" fmla="*/ 43883 h 40300"/>
                <a:gd name="connsiteX13" fmla="*/ 633 w 152245"/>
                <a:gd name="connsiteY13" fmla="*/ 3582 h 40300"/>
                <a:gd name="connsiteX14" fmla="*/ 185 w 152245"/>
                <a:gd name="connsiteY14" fmla="*/ 1343 h 40300"/>
                <a:gd name="connsiteX15" fmla="*/ 2424 w 152245"/>
                <a:gd name="connsiteY15" fmla="*/ 0 h 40300"/>
                <a:gd name="connsiteX16" fmla="*/ 150192 w 152245"/>
                <a:gd name="connsiteY16" fmla="*/ 0 h 40300"/>
                <a:gd name="connsiteX17" fmla="*/ 152431 w 152245"/>
                <a:gd name="connsiteY17" fmla="*/ 1343 h 40300"/>
                <a:gd name="connsiteX18" fmla="*/ 151984 w 152245"/>
                <a:gd name="connsiteY18" fmla="*/ 3582 h 40300"/>
                <a:gd name="connsiteX19" fmla="*/ 111683 w 152245"/>
                <a:gd name="connsiteY19" fmla="*/ 43883 h 40300"/>
                <a:gd name="connsiteX20" fmla="*/ 109892 w 152245"/>
                <a:gd name="connsiteY20" fmla="*/ 4433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245" h="40300">
                  <a:moveTo>
                    <a:pt x="109892" y="44330"/>
                  </a:moveTo>
                  <a:lnTo>
                    <a:pt x="103175" y="44330"/>
                  </a:lnTo>
                  <a:cubicBezTo>
                    <a:pt x="101832" y="44330"/>
                    <a:pt x="100936" y="43435"/>
                    <a:pt x="100936" y="42091"/>
                  </a:cubicBezTo>
                  <a:cubicBezTo>
                    <a:pt x="100936" y="40748"/>
                    <a:pt x="101832" y="39853"/>
                    <a:pt x="103175" y="39853"/>
                  </a:cubicBezTo>
                  <a:lnTo>
                    <a:pt x="108996" y="39853"/>
                  </a:lnTo>
                  <a:lnTo>
                    <a:pt x="144819" y="4030"/>
                  </a:lnTo>
                  <a:lnTo>
                    <a:pt x="7798" y="4030"/>
                  </a:lnTo>
                  <a:lnTo>
                    <a:pt x="43620" y="39853"/>
                  </a:lnTo>
                  <a:lnTo>
                    <a:pt x="49441" y="39853"/>
                  </a:lnTo>
                  <a:cubicBezTo>
                    <a:pt x="50785" y="39853"/>
                    <a:pt x="51680" y="40748"/>
                    <a:pt x="51680" y="42091"/>
                  </a:cubicBezTo>
                  <a:cubicBezTo>
                    <a:pt x="51680" y="43435"/>
                    <a:pt x="50785" y="44330"/>
                    <a:pt x="49441" y="44330"/>
                  </a:cubicBezTo>
                  <a:lnTo>
                    <a:pt x="42725" y="44330"/>
                  </a:lnTo>
                  <a:cubicBezTo>
                    <a:pt x="42277" y="44330"/>
                    <a:pt x="41381" y="43883"/>
                    <a:pt x="40934" y="43883"/>
                  </a:cubicBezTo>
                  <a:lnTo>
                    <a:pt x="633" y="3582"/>
                  </a:lnTo>
                  <a:cubicBezTo>
                    <a:pt x="185" y="3134"/>
                    <a:pt x="-262" y="1791"/>
                    <a:pt x="185" y="1343"/>
                  </a:cubicBezTo>
                  <a:cubicBezTo>
                    <a:pt x="633" y="448"/>
                    <a:pt x="1529" y="0"/>
                    <a:pt x="2424" y="0"/>
                  </a:cubicBezTo>
                  <a:lnTo>
                    <a:pt x="150192" y="0"/>
                  </a:lnTo>
                  <a:cubicBezTo>
                    <a:pt x="151088" y="0"/>
                    <a:pt x="151984" y="448"/>
                    <a:pt x="152431" y="1343"/>
                  </a:cubicBezTo>
                  <a:cubicBezTo>
                    <a:pt x="152879" y="2239"/>
                    <a:pt x="152431" y="3134"/>
                    <a:pt x="151984" y="3582"/>
                  </a:cubicBezTo>
                  <a:lnTo>
                    <a:pt x="111683" y="43883"/>
                  </a:lnTo>
                  <a:cubicBezTo>
                    <a:pt x="110788" y="43883"/>
                    <a:pt x="110340" y="44330"/>
                    <a:pt x="109892" y="44330"/>
                  </a:cubicBezTo>
                  <a:close/>
                </a:path>
              </a:pathLst>
            </a:custGeom>
            <a:solidFill>
              <a:srgbClr val="231F20"/>
            </a:solidFill>
            <a:ln w="4474" cap="flat">
              <a:noFill/>
              <a:prstDash val="solid"/>
              <a:miter/>
            </a:ln>
          </p:spPr>
          <p:txBody>
            <a:bodyPr rtlCol="0" anchor="ctr"/>
            <a:lstStyle/>
            <a:p>
              <a:endParaRPr lang="en-US"/>
            </a:p>
          </p:txBody>
        </p:sp>
        <p:sp>
          <p:nvSpPr>
            <p:cNvPr id="4188" name="Freeform: Shape 4187">
              <a:extLst>
                <a:ext uri="{FF2B5EF4-FFF2-40B4-BE49-F238E27FC236}">
                  <a16:creationId xmlns:a16="http://schemas.microsoft.com/office/drawing/2014/main" id="{0C38D8DE-488A-4956-905F-584A98FEA04D}"/>
                </a:ext>
              </a:extLst>
            </p:cNvPr>
            <p:cNvSpPr/>
            <p:nvPr/>
          </p:nvSpPr>
          <p:spPr>
            <a:xfrm>
              <a:off x="2964990" y="2412286"/>
              <a:ext cx="152246" cy="40300"/>
            </a:xfrm>
            <a:custGeom>
              <a:avLst/>
              <a:gdLst>
                <a:gd name="connsiteX0" fmla="*/ 150192 w 152245"/>
                <a:gd name="connsiteY0" fmla="*/ 44330 h 40300"/>
                <a:gd name="connsiteX1" fmla="*/ 2424 w 152245"/>
                <a:gd name="connsiteY1" fmla="*/ 44330 h 40300"/>
                <a:gd name="connsiteX2" fmla="*/ 185 w 152245"/>
                <a:gd name="connsiteY2" fmla="*/ 42987 h 40300"/>
                <a:gd name="connsiteX3" fmla="*/ 633 w 152245"/>
                <a:gd name="connsiteY3" fmla="*/ 40748 h 40300"/>
                <a:gd name="connsiteX4" fmla="*/ 40934 w 152245"/>
                <a:gd name="connsiteY4" fmla="*/ 448 h 40300"/>
                <a:gd name="connsiteX5" fmla="*/ 42725 w 152245"/>
                <a:gd name="connsiteY5" fmla="*/ 0 h 40300"/>
                <a:gd name="connsiteX6" fmla="*/ 49441 w 152245"/>
                <a:gd name="connsiteY6" fmla="*/ 0 h 40300"/>
                <a:gd name="connsiteX7" fmla="*/ 51680 w 152245"/>
                <a:gd name="connsiteY7" fmla="*/ 2239 h 40300"/>
                <a:gd name="connsiteX8" fmla="*/ 49441 w 152245"/>
                <a:gd name="connsiteY8" fmla="*/ 4478 h 40300"/>
                <a:gd name="connsiteX9" fmla="*/ 43620 w 152245"/>
                <a:gd name="connsiteY9" fmla="*/ 4478 h 40300"/>
                <a:gd name="connsiteX10" fmla="*/ 7798 w 152245"/>
                <a:gd name="connsiteY10" fmla="*/ 40300 h 40300"/>
                <a:gd name="connsiteX11" fmla="*/ 144819 w 152245"/>
                <a:gd name="connsiteY11" fmla="*/ 40300 h 40300"/>
                <a:gd name="connsiteX12" fmla="*/ 108996 w 152245"/>
                <a:gd name="connsiteY12" fmla="*/ 4478 h 40300"/>
                <a:gd name="connsiteX13" fmla="*/ 103175 w 152245"/>
                <a:gd name="connsiteY13" fmla="*/ 4478 h 40300"/>
                <a:gd name="connsiteX14" fmla="*/ 100936 w 152245"/>
                <a:gd name="connsiteY14" fmla="*/ 2239 h 40300"/>
                <a:gd name="connsiteX15" fmla="*/ 103175 w 152245"/>
                <a:gd name="connsiteY15" fmla="*/ 0 h 40300"/>
                <a:gd name="connsiteX16" fmla="*/ 109892 w 152245"/>
                <a:gd name="connsiteY16" fmla="*/ 0 h 40300"/>
                <a:gd name="connsiteX17" fmla="*/ 111683 w 152245"/>
                <a:gd name="connsiteY17" fmla="*/ 448 h 40300"/>
                <a:gd name="connsiteX18" fmla="*/ 151984 w 152245"/>
                <a:gd name="connsiteY18" fmla="*/ 40748 h 40300"/>
                <a:gd name="connsiteX19" fmla="*/ 152431 w 152245"/>
                <a:gd name="connsiteY19" fmla="*/ 42987 h 40300"/>
                <a:gd name="connsiteX20" fmla="*/ 150192 w 152245"/>
                <a:gd name="connsiteY20" fmla="*/ 4433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245" h="40300">
                  <a:moveTo>
                    <a:pt x="150192" y="44330"/>
                  </a:moveTo>
                  <a:lnTo>
                    <a:pt x="2424" y="44330"/>
                  </a:lnTo>
                  <a:cubicBezTo>
                    <a:pt x="1529" y="44330"/>
                    <a:pt x="633" y="43883"/>
                    <a:pt x="185" y="42987"/>
                  </a:cubicBezTo>
                  <a:cubicBezTo>
                    <a:pt x="-262" y="42091"/>
                    <a:pt x="185" y="41196"/>
                    <a:pt x="633" y="40748"/>
                  </a:cubicBezTo>
                  <a:lnTo>
                    <a:pt x="40934" y="448"/>
                  </a:lnTo>
                  <a:cubicBezTo>
                    <a:pt x="41381" y="0"/>
                    <a:pt x="41829" y="0"/>
                    <a:pt x="42725" y="0"/>
                  </a:cubicBezTo>
                  <a:lnTo>
                    <a:pt x="49441" y="0"/>
                  </a:lnTo>
                  <a:cubicBezTo>
                    <a:pt x="50785" y="0"/>
                    <a:pt x="51680" y="895"/>
                    <a:pt x="51680" y="2239"/>
                  </a:cubicBezTo>
                  <a:cubicBezTo>
                    <a:pt x="51680" y="3582"/>
                    <a:pt x="50785" y="4478"/>
                    <a:pt x="49441" y="4478"/>
                  </a:cubicBezTo>
                  <a:lnTo>
                    <a:pt x="43620" y="4478"/>
                  </a:lnTo>
                  <a:lnTo>
                    <a:pt x="7798" y="40300"/>
                  </a:lnTo>
                  <a:lnTo>
                    <a:pt x="144819" y="40300"/>
                  </a:lnTo>
                  <a:lnTo>
                    <a:pt x="108996" y="4478"/>
                  </a:lnTo>
                  <a:lnTo>
                    <a:pt x="103175" y="4478"/>
                  </a:lnTo>
                  <a:cubicBezTo>
                    <a:pt x="101832" y="4478"/>
                    <a:pt x="100936" y="3582"/>
                    <a:pt x="100936" y="2239"/>
                  </a:cubicBezTo>
                  <a:cubicBezTo>
                    <a:pt x="100936" y="895"/>
                    <a:pt x="101832" y="0"/>
                    <a:pt x="103175" y="0"/>
                  </a:cubicBezTo>
                  <a:lnTo>
                    <a:pt x="109892" y="0"/>
                  </a:lnTo>
                  <a:cubicBezTo>
                    <a:pt x="110340" y="0"/>
                    <a:pt x="111235" y="448"/>
                    <a:pt x="111683" y="448"/>
                  </a:cubicBezTo>
                  <a:lnTo>
                    <a:pt x="151984" y="40748"/>
                  </a:lnTo>
                  <a:cubicBezTo>
                    <a:pt x="152431" y="41196"/>
                    <a:pt x="152879" y="42539"/>
                    <a:pt x="152431" y="42987"/>
                  </a:cubicBezTo>
                  <a:cubicBezTo>
                    <a:pt x="151536" y="43435"/>
                    <a:pt x="151088" y="44330"/>
                    <a:pt x="150192" y="44330"/>
                  </a:cubicBezTo>
                  <a:close/>
                </a:path>
              </a:pathLst>
            </a:custGeom>
            <a:solidFill>
              <a:srgbClr val="231F20"/>
            </a:solidFill>
            <a:ln w="4474" cap="flat">
              <a:noFill/>
              <a:prstDash val="solid"/>
              <a:miter/>
            </a:ln>
          </p:spPr>
          <p:txBody>
            <a:bodyPr rtlCol="0" anchor="ctr"/>
            <a:lstStyle/>
            <a:p>
              <a:endParaRPr lang="en-US"/>
            </a:p>
          </p:txBody>
        </p:sp>
        <p:sp>
          <p:nvSpPr>
            <p:cNvPr id="4189" name="Freeform: Shape 4188">
              <a:extLst>
                <a:ext uri="{FF2B5EF4-FFF2-40B4-BE49-F238E27FC236}">
                  <a16:creationId xmlns:a16="http://schemas.microsoft.com/office/drawing/2014/main" id="{D9C686A7-8686-4C2D-A920-4CCD5015B076}"/>
                </a:ext>
              </a:extLst>
            </p:cNvPr>
            <p:cNvSpPr/>
            <p:nvPr/>
          </p:nvSpPr>
          <p:spPr>
            <a:xfrm>
              <a:off x="3018909" y="2317804"/>
              <a:ext cx="44778" cy="129857"/>
            </a:xfrm>
            <a:custGeom>
              <a:avLst/>
              <a:gdLst>
                <a:gd name="connsiteX0" fmla="*/ 44331 w 44778"/>
                <a:gd name="connsiteY0" fmla="*/ 96273 h 129856"/>
                <a:gd name="connsiteX1" fmla="*/ 44331 w 44778"/>
                <a:gd name="connsiteY1" fmla="*/ 96273 h 129856"/>
                <a:gd name="connsiteX2" fmla="*/ 43883 w 44778"/>
                <a:gd name="connsiteY2" fmla="*/ 95377 h 129856"/>
                <a:gd name="connsiteX3" fmla="*/ 43883 w 44778"/>
                <a:gd name="connsiteY3" fmla="*/ 95377 h 129856"/>
                <a:gd name="connsiteX4" fmla="*/ 43883 w 44778"/>
                <a:gd name="connsiteY4" fmla="*/ 95377 h 129856"/>
                <a:gd name="connsiteX5" fmla="*/ 43435 w 44778"/>
                <a:gd name="connsiteY5" fmla="*/ 95377 h 129856"/>
                <a:gd name="connsiteX6" fmla="*/ 24628 w 44778"/>
                <a:gd name="connsiteY6" fmla="*/ 87765 h 129856"/>
                <a:gd name="connsiteX7" fmla="*/ 24628 w 44778"/>
                <a:gd name="connsiteY7" fmla="*/ 58212 h 129856"/>
                <a:gd name="connsiteX8" fmla="*/ 29106 w 44778"/>
                <a:gd name="connsiteY8" fmla="*/ 58212 h 129856"/>
                <a:gd name="connsiteX9" fmla="*/ 30897 w 44778"/>
                <a:gd name="connsiteY9" fmla="*/ 57764 h 129856"/>
                <a:gd name="connsiteX10" fmla="*/ 44331 w 44778"/>
                <a:gd name="connsiteY10" fmla="*/ 44330 h 129856"/>
                <a:gd name="connsiteX11" fmla="*/ 44778 w 44778"/>
                <a:gd name="connsiteY11" fmla="*/ 43435 h 129856"/>
                <a:gd name="connsiteX12" fmla="*/ 44778 w 44778"/>
                <a:gd name="connsiteY12" fmla="*/ 42987 h 129856"/>
                <a:gd name="connsiteX13" fmla="*/ 44778 w 44778"/>
                <a:gd name="connsiteY13" fmla="*/ 42539 h 129856"/>
                <a:gd name="connsiteX14" fmla="*/ 44778 w 44778"/>
                <a:gd name="connsiteY14" fmla="*/ 2239 h 129856"/>
                <a:gd name="connsiteX15" fmla="*/ 42539 w 44778"/>
                <a:gd name="connsiteY15" fmla="*/ 0 h 129856"/>
                <a:gd name="connsiteX16" fmla="*/ 2239 w 44778"/>
                <a:gd name="connsiteY16" fmla="*/ 0 h 129856"/>
                <a:gd name="connsiteX17" fmla="*/ 0 w 44778"/>
                <a:gd name="connsiteY17" fmla="*/ 2239 h 129856"/>
                <a:gd name="connsiteX18" fmla="*/ 0 w 44778"/>
                <a:gd name="connsiteY18" fmla="*/ 42539 h 129856"/>
                <a:gd name="connsiteX19" fmla="*/ 0 w 44778"/>
                <a:gd name="connsiteY19" fmla="*/ 42987 h 129856"/>
                <a:gd name="connsiteX20" fmla="*/ 0 w 44778"/>
                <a:gd name="connsiteY20" fmla="*/ 43435 h 129856"/>
                <a:gd name="connsiteX21" fmla="*/ 448 w 44778"/>
                <a:gd name="connsiteY21" fmla="*/ 44330 h 129856"/>
                <a:gd name="connsiteX22" fmla="*/ 13881 w 44778"/>
                <a:gd name="connsiteY22" fmla="*/ 57764 h 129856"/>
                <a:gd name="connsiteX23" fmla="*/ 15672 w 44778"/>
                <a:gd name="connsiteY23" fmla="*/ 58212 h 129856"/>
                <a:gd name="connsiteX24" fmla="*/ 20150 w 44778"/>
                <a:gd name="connsiteY24" fmla="*/ 58212 h 129856"/>
                <a:gd name="connsiteX25" fmla="*/ 20150 w 44778"/>
                <a:gd name="connsiteY25" fmla="*/ 87765 h 129856"/>
                <a:gd name="connsiteX26" fmla="*/ 1343 w 44778"/>
                <a:gd name="connsiteY26" fmla="*/ 95377 h 129856"/>
                <a:gd name="connsiteX27" fmla="*/ 896 w 44778"/>
                <a:gd name="connsiteY27" fmla="*/ 95377 h 129856"/>
                <a:gd name="connsiteX28" fmla="*/ 896 w 44778"/>
                <a:gd name="connsiteY28" fmla="*/ 95377 h 129856"/>
                <a:gd name="connsiteX29" fmla="*/ 896 w 44778"/>
                <a:gd name="connsiteY29" fmla="*/ 95377 h 129856"/>
                <a:gd name="connsiteX30" fmla="*/ 448 w 44778"/>
                <a:gd name="connsiteY30" fmla="*/ 95825 h 129856"/>
                <a:gd name="connsiteX31" fmla="*/ 448 w 44778"/>
                <a:gd name="connsiteY31" fmla="*/ 96273 h 129856"/>
                <a:gd name="connsiteX32" fmla="*/ 0 w 44778"/>
                <a:gd name="connsiteY32" fmla="*/ 97169 h 129856"/>
                <a:gd name="connsiteX33" fmla="*/ 0 w 44778"/>
                <a:gd name="connsiteY33" fmla="*/ 97169 h 129856"/>
                <a:gd name="connsiteX34" fmla="*/ 0 w 44778"/>
                <a:gd name="connsiteY34" fmla="*/ 121349 h 129856"/>
                <a:gd name="connsiteX35" fmla="*/ 1343 w 44778"/>
                <a:gd name="connsiteY35" fmla="*/ 123588 h 129856"/>
                <a:gd name="connsiteX36" fmla="*/ 21493 w 44778"/>
                <a:gd name="connsiteY36" fmla="*/ 131648 h 129856"/>
                <a:gd name="connsiteX37" fmla="*/ 22389 w 44778"/>
                <a:gd name="connsiteY37" fmla="*/ 131648 h 129856"/>
                <a:gd name="connsiteX38" fmla="*/ 22389 w 44778"/>
                <a:gd name="connsiteY38" fmla="*/ 131648 h 129856"/>
                <a:gd name="connsiteX39" fmla="*/ 22389 w 44778"/>
                <a:gd name="connsiteY39" fmla="*/ 131648 h 129856"/>
                <a:gd name="connsiteX40" fmla="*/ 23285 w 44778"/>
                <a:gd name="connsiteY40" fmla="*/ 131648 h 129856"/>
                <a:gd name="connsiteX41" fmla="*/ 43435 w 44778"/>
                <a:gd name="connsiteY41" fmla="*/ 123588 h 129856"/>
                <a:gd name="connsiteX42" fmla="*/ 44778 w 44778"/>
                <a:gd name="connsiteY42" fmla="*/ 121349 h 129856"/>
                <a:gd name="connsiteX43" fmla="*/ 44778 w 44778"/>
                <a:gd name="connsiteY43" fmla="*/ 97169 h 129856"/>
                <a:gd name="connsiteX44" fmla="*/ 44778 w 44778"/>
                <a:gd name="connsiteY44" fmla="*/ 97169 h 129856"/>
                <a:gd name="connsiteX45" fmla="*/ 44331 w 44778"/>
                <a:gd name="connsiteY45" fmla="*/ 96273 h 129856"/>
                <a:gd name="connsiteX46" fmla="*/ 4478 w 44778"/>
                <a:gd name="connsiteY46" fmla="*/ 4478 h 129856"/>
                <a:gd name="connsiteX47" fmla="*/ 40300 w 44778"/>
                <a:gd name="connsiteY47" fmla="*/ 4478 h 129856"/>
                <a:gd name="connsiteX48" fmla="*/ 40300 w 44778"/>
                <a:gd name="connsiteY48" fmla="*/ 40300 h 129856"/>
                <a:gd name="connsiteX49" fmla="*/ 4478 w 44778"/>
                <a:gd name="connsiteY49" fmla="*/ 40300 h 129856"/>
                <a:gd name="connsiteX50" fmla="*/ 4478 w 44778"/>
                <a:gd name="connsiteY50" fmla="*/ 4478 h 129856"/>
                <a:gd name="connsiteX51" fmla="*/ 7612 w 44778"/>
                <a:gd name="connsiteY51" fmla="*/ 44778 h 129856"/>
                <a:gd name="connsiteX52" fmla="*/ 37166 w 44778"/>
                <a:gd name="connsiteY52" fmla="*/ 44778 h 129856"/>
                <a:gd name="connsiteX53" fmla="*/ 28210 w 44778"/>
                <a:gd name="connsiteY53" fmla="*/ 53734 h 129856"/>
                <a:gd name="connsiteX54" fmla="*/ 16568 w 44778"/>
                <a:gd name="connsiteY54" fmla="*/ 53734 h 129856"/>
                <a:gd name="connsiteX55" fmla="*/ 7612 w 44778"/>
                <a:gd name="connsiteY55" fmla="*/ 44778 h 129856"/>
                <a:gd name="connsiteX56" fmla="*/ 22389 w 44778"/>
                <a:gd name="connsiteY56" fmla="*/ 98064 h 129856"/>
                <a:gd name="connsiteX57" fmla="*/ 24628 w 44778"/>
                <a:gd name="connsiteY57" fmla="*/ 95825 h 129856"/>
                <a:gd name="connsiteX58" fmla="*/ 24628 w 44778"/>
                <a:gd name="connsiteY58" fmla="*/ 92243 h 129856"/>
                <a:gd name="connsiteX59" fmla="*/ 36718 w 44778"/>
                <a:gd name="connsiteY59" fmla="*/ 97169 h 129856"/>
                <a:gd name="connsiteX60" fmla="*/ 22389 w 44778"/>
                <a:gd name="connsiteY60" fmla="*/ 102990 h 129856"/>
                <a:gd name="connsiteX61" fmla="*/ 8060 w 44778"/>
                <a:gd name="connsiteY61" fmla="*/ 97169 h 129856"/>
                <a:gd name="connsiteX62" fmla="*/ 20150 w 44778"/>
                <a:gd name="connsiteY62" fmla="*/ 92243 h 129856"/>
                <a:gd name="connsiteX63" fmla="*/ 20150 w 44778"/>
                <a:gd name="connsiteY63" fmla="*/ 95825 h 129856"/>
                <a:gd name="connsiteX64" fmla="*/ 22389 w 44778"/>
                <a:gd name="connsiteY64" fmla="*/ 98064 h 129856"/>
                <a:gd name="connsiteX65" fmla="*/ 4478 w 44778"/>
                <a:gd name="connsiteY65" fmla="*/ 100751 h 129856"/>
                <a:gd name="connsiteX66" fmla="*/ 20150 w 44778"/>
                <a:gd name="connsiteY66" fmla="*/ 107020 h 129856"/>
                <a:gd name="connsiteX67" fmla="*/ 20150 w 44778"/>
                <a:gd name="connsiteY67" fmla="*/ 126274 h 129856"/>
                <a:gd name="connsiteX68" fmla="*/ 4478 w 44778"/>
                <a:gd name="connsiteY68" fmla="*/ 120005 h 129856"/>
                <a:gd name="connsiteX69" fmla="*/ 4478 w 44778"/>
                <a:gd name="connsiteY69" fmla="*/ 100751 h 129856"/>
                <a:gd name="connsiteX70" fmla="*/ 40300 w 44778"/>
                <a:gd name="connsiteY70" fmla="*/ 120005 h 129856"/>
                <a:gd name="connsiteX71" fmla="*/ 24628 w 44778"/>
                <a:gd name="connsiteY71" fmla="*/ 126274 h 129856"/>
                <a:gd name="connsiteX72" fmla="*/ 24628 w 44778"/>
                <a:gd name="connsiteY72" fmla="*/ 107020 h 129856"/>
                <a:gd name="connsiteX73" fmla="*/ 40300 w 44778"/>
                <a:gd name="connsiteY73" fmla="*/ 100751 h 129856"/>
                <a:gd name="connsiteX74" fmla="*/ 40300 w 44778"/>
                <a:gd name="connsiteY74" fmla="*/ 120005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4778" h="129856">
                  <a:moveTo>
                    <a:pt x="44331" y="96273"/>
                  </a:moveTo>
                  <a:cubicBezTo>
                    <a:pt x="44331" y="96273"/>
                    <a:pt x="44331" y="96273"/>
                    <a:pt x="44331" y="96273"/>
                  </a:cubicBezTo>
                  <a:cubicBezTo>
                    <a:pt x="43883" y="95825"/>
                    <a:pt x="43883" y="95825"/>
                    <a:pt x="43883" y="95377"/>
                  </a:cubicBezTo>
                  <a:cubicBezTo>
                    <a:pt x="43883" y="95377"/>
                    <a:pt x="43883" y="95377"/>
                    <a:pt x="43883" y="95377"/>
                  </a:cubicBezTo>
                  <a:cubicBezTo>
                    <a:pt x="43883" y="95377"/>
                    <a:pt x="43883" y="95377"/>
                    <a:pt x="43883" y="95377"/>
                  </a:cubicBezTo>
                  <a:cubicBezTo>
                    <a:pt x="43883" y="95377"/>
                    <a:pt x="43883" y="95377"/>
                    <a:pt x="43435" y="95377"/>
                  </a:cubicBezTo>
                  <a:lnTo>
                    <a:pt x="24628" y="87765"/>
                  </a:lnTo>
                  <a:lnTo>
                    <a:pt x="24628" y="58212"/>
                  </a:lnTo>
                  <a:lnTo>
                    <a:pt x="29106" y="58212"/>
                  </a:lnTo>
                  <a:cubicBezTo>
                    <a:pt x="29554" y="58212"/>
                    <a:pt x="30449" y="57764"/>
                    <a:pt x="30897" y="57764"/>
                  </a:cubicBezTo>
                  <a:lnTo>
                    <a:pt x="44331" y="44330"/>
                  </a:lnTo>
                  <a:cubicBezTo>
                    <a:pt x="44778" y="43883"/>
                    <a:pt x="44778" y="43883"/>
                    <a:pt x="44778" y="43435"/>
                  </a:cubicBezTo>
                  <a:cubicBezTo>
                    <a:pt x="44778" y="43435"/>
                    <a:pt x="44778" y="43435"/>
                    <a:pt x="44778" y="42987"/>
                  </a:cubicBezTo>
                  <a:cubicBezTo>
                    <a:pt x="44778" y="42987"/>
                    <a:pt x="44778" y="42987"/>
                    <a:pt x="44778" y="42539"/>
                  </a:cubicBezTo>
                  <a:lnTo>
                    <a:pt x="44778" y="2239"/>
                  </a:lnTo>
                  <a:cubicBezTo>
                    <a:pt x="44778" y="895"/>
                    <a:pt x="43883" y="0"/>
                    <a:pt x="42539" y="0"/>
                  </a:cubicBezTo>
                  <a:lnTo>
                    <a:pt x="2239" y="0"/>
                  </a:lnTo>
                  <a:cubicBezTo>
                    <a:pt x="896" y="0"/>
                    <a:pt x="0" y="895"/>
                    <a:pt x="0" y="2239"/>
                  </a:cubicBezTo>
                  <a:lnTo>
                    <a:pt x="0" y="42539"/>
                  </a:lnTo>
                  <a:cubicBezTo>
                    <a:pt x="0" y="42539"/>
                    <a:pt x="0" y="42539"/>
                    <a:pt x="0" y="42987"/>
                  </a:cubicBezTo>
                  <a:cubicBezTo>
                    <a:pt x="0" y="42987"/>
                    <a:pt x="0" y="42987"/>
                    <a:pt x="0" y="43435"/>
                  </a:cubicBezTo>
                  <a:cubicBezTo>
                    <a:pt x="0" y="43883"/>
                    <a:pt x="448" y="44330"/>
                    <a:pt x="448" y="44330"/>
                  </a:cubicBezTo>
                  <a:lnTo>
                    <a:pt x="13881" y="57764"/>
                  </a:lnTo>
                  <a:cubicBezTo>
                    <a:pt x="14329" y="58212"/>
                    <a:pt x="14777" y="58212"/>
                    <a:pt x="15672" y="58212"/>
                  </a:cubicBezTo>
                  <a:lnTo>
                    <a:pt x="20150" y="58212"/>
                  </a:lnTo>
                  <a:lnTo>
                    <a:pt x="20150" y="87765"/>
                  </a:lnTo>
                  <a:lnTo>
                    <a:pt x="1343" y="95377"/>
                  </a:lnTo>
                  <a:cubicBezTo>
                    <a:pt x="1343" y="95377"/>
                    <a:pt x="1343" y="95377"/>
                    <a:pt x="896" y="95377"/>
                  </a:cubicBezTo>
                  <a:cubicBezTo>
                    <a:pt x="896" y="95377"/>
                    <a:pt x="896" y="95377"/>
                    <a:pt x="896" y="95377"/>
                  </a:cubicBezTo>
                  <a:cubicBezTo>
                    <a:pt x="896" y="95377"/>
                    <a:pt x="896" y="95377"/>
                    <a:pt x="896" y="95377"/>
                  </a:cubicBezTo>
                  <a:cubicBezTo>
                    <a:pt x="896" y="95377"/>
                    <a:pt x="448" y="95825"/>
                    <a:pt x="448" y="95825"/>
                  </a:cubicBezTo>
                  <a:cubicBezTo>
                    <a:pt x="448" y="95825"/>
                    <a:pt x="448" y="95825"/>
                    <a:pt x="448" y="96273"/>
                  </a:cubicBezTo>
                  <a:cubicBezTo>
                    <a:pt x="448" y="96721"/>
                    <a:pt x="0" y="96721"/>
                    <a:pt x="0" y="97169"/>
                  </a:cubicBezTo>
                  <a:cubicBezTo>
                    <a:pt x="0" y="97169"/>
                    <a:pt x="0" y="97169"/>
                    <a:pt x="0" y="97169"/>
                  </a:cubicBezTo>
                  <a:lnTo>
                    <a:pt x="0" y="121349"/>
                  </a:lnTo>
                  <a:cubicBezTo>
                    <a:pt x="0" y="122244"/>
                    <a:pt x="448" y="123140"/>
                    <a:pt x="1343" y="123588"/>
                  </a:cubicBezTo>
                  <a:lnTo>
                    <a:pt x="21493" y="131648"/>
                  </a:lnTo>
                  <a:cubicBezTo>
                    <a:pt x="21941" y="131648"/>
                    <a:pt x="21941" y="131648"/>
                    <a:pt x="22389" y="131648"/>
                  </a:cubicBezTo>
                  <a:cubicBezTo>
                    <a:pt x="22389" y="131648"/>
                    <a:pt x="22389" y="131648"/>
                    <a:pt x="22389" y="131648"/>
                  </a:cubicBezTo>
                  <a:cubicBezTo>
                    <a:pt x="22389" y="131648"/>
                    <a:pt x="22389" y="131648"/>
                    <a:pt x="22389" y="131648"/>
                  </a:cubicBezTo>
                  <a:cubicBezTo>
                    <a:pt x="22837" y="131648"/>
                    <a:pt x="22837" y="131648"/>
                    <a:pt x="23285" y="131648"/>
                  </a:cubicBezTo>
                  <a:lnTo>
                    <a:pt x="43435" y="123588"/>
                  </a:lnTo>
                  <a:cubicBezTo>
                    <a:pt x="44331" y="123140"/>
                    <a:pt x="44778" y="122244"/>
                    <a:pt x="44778" y="121349"/>
                  </a:cubicBezTo>
                  <a:lnTo>
                    <a:pt x="44778" y="97169"/>
                  </a:lnTo>
                  <a:cubicBezTo>
                    <a:pt x="44778" y="97169"/>
                    <a:pt x="44778" y="97169"/>
                    <a:pt x="44778" y="97169"/>
                  </a:cubicBezTo>
                  <a:cubicBezTo>
                    <a:pt x="44778" y="96721"/>
                    <a:pt x="44331" y="96721"/>
                    <a:pt x="44331" y="96273"/>
                  </a:cubicBezTo>
                  <a:close/>
                  <a:moveTo>
                    <a:pt x="4478" y="4478"/>
                  </a:moveTo>
                  <a:lnTo>
                    <a:pt x="40300" y="4478"/>
                  </a:lnTo>
                  <a:lnTo>
                    <a:pt x="40300" y="40300"/>
                  </a:lnTo>
                  <a:lnTo>
                    <a:pt x="4478" y="40300"/>
                  </a:lnTo>
                  <a:lnTo>
                    <a:pt x="4478" y="4478"/>
                  </a:lnTo>
                  <a:close/>
                  <a:moveTo>
                    <a:pt x="7612" y="44778"/>
                  </a:moveTo>
                  <a:lnTo>
                    <a:pt x="37166" y="44778"/>
                  </a:lnTo>
                  <a:lnTo>
                    <a:pt x="28210" y="53734"/>
                  </a:lnTo>
                  <a:lnTo>
                    <a:pt x="16568" y="53734"/>
                  </a:lnTo>
                  <a:lnTo>
                    <a:pt x="7612" y="44778"/>
                  </a:lnTo>
                  <a:close/>
                  <a:moveTo>
                    <a:pt x="22389" y="98064"/>
                  </a:moveTo>
                  <a:cubicBezTo>
                    <a:pt x="23732" y="98064"/>
                    <a:pt x="24628" y="97169"/>
                    <a:pt x="24628" y="95825"/>
                  </a:cubicBezTo>
                  <a:lnTo>
                    <a:pt x="24628" y="92243"/>
                  </a:lnTo>
                  <a:lnTo>
                    <a:pt x="36718" y="97169"/>
                  </a:lnTo>
                  <a:lnTo>
                    <a:pt x="22389" y="102990"/>
                  </a:lnTo>
                  <a:lnTo>
                    <a:pt x="8060" y="97169"/>
                  </a:lnTo>
                  <a:lnTo>
                    <a:pt x="20150" y="92243"/>
                  </a:lnTo>
                  <a:lnTo>
                    <a:pt x="20150" y="95825"/>
                  </a:lnTo>
                  <a:cubicBezTo>
                    <a:pt x="20150" y="97169"/>
                    <a:pt x="21046" y="98064"/>
                    <a:pt x="22389" y="98064"/>
                  </a:cubicBezTo>
                  <a:close/>
                  <a:moveTo>
                    <a:pt x="4478" y="100751"/>
                  </a:moveTo>
                  <a:lnTo>
                    <a:pt x="20150" y="107020"/>
                  </a:lnTo>
                  <a:lnTo>
                    <a:pt x="20150" y="126274"/>
                  </a:lnTo>
                  <a:lnTo>
                    <a:pt x="4478" y="120005"/>
                  </a:lnTo>
                  <a:lnTo>
                    <a:pt x="4478" y="100751"/>
                  </a:lnTo>
                  <a:close/>
                  <a:moveTo>
                    <a:pt x="40300" y="120005"/>
                  </a:moveTo>
                  <a:lnTo>
                    <a:pt x="24628" y="126274"/>
                  </a:lnTo>
                  <a:lnTo>
                    <a:pt x="24628" y="107020"/>
                  </a:lnTo>
                  <a:lnTo>
                    <a:pt x="40300" y="100751"/>
                  </a:lnTo>
                  <a:lnTo>
                    <a:pt x="40300" y="120005"/>
                  </a:lnTo>
                  <a:close/>
                </a:path>
              </a:pathLst>
            </a:custGeom>
            <a:solidFill>
              <a:srgbClr val="231F20"/>
            </a:solidFill>
            <a:ln w="4474" cap="flat">
              <a:noFill/>
              <a:prstDash val="solid"/>
              <a:miter/>
            </a:ln>
          </p:spPr>
          <p:txBody>
            <a:bodyPr rtlCol="0" anchor="ctr"/>
            <a:lstStyle/>
            <a:p>
              <a:endParaRPr lang="en-US"/>
            </a:p>
          </p:txBody>
        </p:sp>
      </p:grpSp>
      <p:sp>
        <p:nvSpPr>
          <p:cNvPr id="4190" name="Freeform: Shape 4189">
            <a:extLst>
              <a:ext uri="{FF2B5EF4-FFF2-40B4-BE49-F238E27FC236}">
                <a16:creationId xmlns:a16="http://schemas.microsoft.com/office/drawing/2014/main" id="{45CE6E2F-3C91-4486-9575-9D7B057307B8}"/>
              </a:ext>
              <a:ext uri="{C183D7F6-B498-43B3-948B-1728B52AA6E4}">
                <adec:decorative xmlns:adec="http://schemas.microsoft.com/office/drawing/2017/decorative" val="1"/>
              </a:ext>
            </a:extLst>
          </p:cNvPr>
          <p:cNvSpPr>
            <a:spLocks noChangeAspect="1"/>
          </p:cNvSpPr>
          <p:nvPr/>
        </p:nvSpPr>
        <p:spPr>
          <a:xfrm>
            <a:off x="544909" y="3335565"/>
            <a:ext cx="152246" cy="129857"/>
          </a:xfrm>
          <a:custGeom>
            <a:avLst/>
            <a:gdLst>
              <a:gd name="connsiteX0" fmla="*/ 151798 w 152245"/>
              <a:gd name="connsiteY0" fmla="*/ 73664 h 129856"/>
              <a:gd name="connsiteX1" fmla="*/ 151798 w 152245"/>
              <a:gd name="connsiteY1" fmla="*/ 73664 h 129856"/>
              <a:gd name="connsiteX2" fmla="*/ 151798 w 152245"/>
              <a:gd name="connsiteY2" fmla="*/ 72769 h 129856"/>
              <a:gd name="connsiteX3" fmla="*/ 151798 w 152245"/>
              <a:gd name="connsiteY3" fmla="*/ 72769 h 129856"/>
              <a:gd name="connsiteX4" fmla="*/ 120006 w 152245"/>
              <a:gd name="connsiteY4" fmla="*/ 8736 h 129856"/>
              <a:gd name="connsiteX5" fmla="*/ 108363 w 152245"/>
              <a:gd name="connsiteY5" fmla="*/ 228 h 129856"/>
              <a:gd name="connsiteX6" fmla="*/ 94482 w 152245"/>
              <a:gd name="connsiteY6" fmla="*/ 4706 h 129856"/>
              <a:gd name="connsiteX7" fmla="*/ 96273 w 152245"/>
              <a:gd name="connsiteY7" fmla="*/ 6497 h 129856"/>
              <a:gd name="connsiteX8" fmla="*/ 98064 w 152245"/>
              <a:gd name="connsiteY8" fmla="*/ 7840 h 129856"/>
              <a:gd name="connsiteX9" fmla="*/ 107915 w 152245"/>
              <a:gd name="connsiteY9" fmla="*/ 4706 h 129856"/>
              <a:gd name="connsiteX10" fmla="*/ 115975 w 152245"/>
              <a:gd name="connsiteY10" fmla="*/ 10527 h 129856"/>
              <a:gd name="connsiteX11" fmla="*/ 146425 w 152245"/>
              <a:gd name="connsiteY11" fmla="*/ 71426 h 129856"/>
              <a:gd name="connsiteX12" fmla="*/ 42987 w 152245"/>
              <a:gd name="connsiteY12" fmla="*/ 71426 h 129856"/>
              <a:gd name="connsiteX13" fmla="*/ 42091 w 152245"/>
              <a:gd name="connsiteY13" fmla="*/ 71426 h 129856"/>
              <a:gd name="connsiteX14" fmla="*/ 41196 w 152245"/>
              <a:gd name="connsiteY14" fmla="*/ 71426 h 129856"/>
              <a:gd name="connsiteX15" fmla="*/ 5373 w 152245"/>
              <a:gd name="connsiteY15" fmla="*/ 71426 h 129856"/>
              <a:gd name="connsiteX16" fmla="*/ 35823 w 152245"/>
              <a:gd name="connsiteY16" fmla="*/ 10527 h 129856"/>
              <a:gd name="connsiteX17" fmla="*/ 43883 w 152245"/>
              <a:gd name="connsiteY17" fmla="*/ 4706 h 129856"/>
              <a:gd name="connsiteX18" fmla="*/ 53734 w 152245"/>
              <a:gd name="connsiteY18" fmla="*/ 8288 h 129856"/>
              <a:gd name="connsiteX19" fmla="*/ 56868 w 152245"/>
              <a:gd name="connsiteY19" fmla="*/ 8288 h 129856"/>
              <a:gd name="connsiteX20" fmla="*/ 56868 w 152245"/>
              <a:gd name="connsiteY20" fmla="*/ 5154 h 129856"/>
              <a:gd name="connsiteX21" fmla="*/ 43435 w 152245"/>
              <a:gd name="connsiteY21" fmla="*/ 676 h 129856"/>
              <a:gd name="connsiteX22" fmla="*/ 31793 w 152245"/>
              <a:gd name="connsiteY22" fmla="*/ 9184 h 129856"/>
              <a:gd name="connsiteX23" fmla="*/ 0 w 152245"/>
              <a:gd name="connsiteY23" fmla="*/ 73217 h 129856"/>
              <a:gd name="connsiteX24" fmla="*/ 0 w 152245"/>
              <a:gd name="connsiteY24" fmla="*/ 73217 h 129856"/>
              <a:gd name="connsiteX25" fmla="*/ 0 w 152245"/>
              <a:gd name="connsiteY25" fmla="*/ 73664 h 129856"/>
              <a:gd name="connsiteX26" fmla="*/ 0 w 152245"/>
              <a:gd name="connsiteY26" fmla="*/ 74112 h 129856"/>
              <a:gd name="connsiteX27" fmla="*/ 0 w 152245"/>
              <a:gd name="connsiteY27" fmla="*/ 74112 h 129856"/>
              <a:gd name="connsiteX28" fmla="*/ 0 w 152245"/>
              <a:gd name="connsiteY28" fmla="*/ 114413 h 129856"/>
              <a:gd name="connsiteX29" fmla="*/ 15672 w 152245"/>
              <a:gd name="connsiteY29" fmla="*/ 130085 h 129856"/>
              <a:gd name="connsiteX30" fmla="*/ 55973 w 152245"/>
              <a:gd name="connsiteY30" fmla="*/ 130085 h 129856"/>
              <a:gd name="connsiteX31" fmla="*/ 57764 w 152245"/>
              <a:gd name="connsiteY31" fmla="*/ 128742 h 129856"/>
              <a:gd name="connsiteX32" fmla="*/ 70750 w 152245"/>
              <a:gd name="connsiteY32" fmla="*/ 103218 h 129856"/>
              <a:gd name="connsiteX33" fmla="*/ 81496 w 152245"/>
              <a:gd name="connsiteY33" fmla="*/ 103218 h 129856"/>
              <a:gd name="connsiteX34" fmla="*/ 94482 w 152245"/>
              <a:gd name="connsiteY34" fmla="*/ 128742 h 129856"/>
              <a:gd name="connsiteX35" fmla="*/ 96273 w 152245"/>
              <a:gd name="connsiteY35" fmla="*/ 130085 h 129856"/>
              <a:gd name="connsiteX36" fmla="*/ 136573 w 152245"/>
              <a:gd name="connsiteY36" fmla="*/ 130085 h 129856"/>
              <a:gd name="connsiteX37" fmla="*/ 152246 w 152245"/>
              <a:gd name="connsiteY37" fmla="*/ 113965 h 129856"/>
              <a:gd name="connsiteX38" fmla="*/ 151798 w 152245"/>
              <a:gd name="connsiteY38" fmla="*/ 73664 h 129856"/>
              <a:gd name="connsiteX39" fmla="*/ 151798 w 152245"/>
              <a:gd name="connsiteY39" fmla="*/ 73664 h 129856"/>
              <a:gd name="connsiteX40" fmla="*/ 39405 w 152245"/>
              <a:gd name="connsiteY40" fmla="*/ 75903 h 129856"/>
              <a:gd name="connsiteX41" fmla="*/ 28658 w 152245"/>
              <a:gd name="connsiteY41" fmla="*/ 84859 h 129856"/>
              <a:gd name="connsiteX42" fmla="*/ 4030 w 152245"/>
              <a:gd name="connsiteY42" fmla="*/ 84859 h 129856"/>
              <a:gd name="connsiteX43" fmla="*/ 4030 w 152245"/>
              <a:gd name="connsiteY43" fmla="*/ 75903 h 129856"/>
              <a:gd name="connsiteX44" fmla="*/ 39405 w 152245"/>
              <a:gd name="connsiteY44" fmla="*/ 75903 h 129856"/>
              <a:gd name="connsiteX45" fmla="*/ 147320 w 152245"/>
              <a:gd name="connsiteY45" fmla="*/ 113517 h 129856"/>
              <a:gd name="connsiteX46" fmla="*/ 136126 w 152245"/>
              <a:gd name="connsiteY46" fmla="*/ 125159 h 129856"/>
              <a:gd name="connsiteX47" fmla="*/ 97169 w 152245"/>
              <a:gd name="connsiteY47" fmla="*/ 125159 h 129856"/>
              <a:gd name="connsiteX48" fmla="*/ 84183 w 152245"/>
              <a:gd name="connsiteY48" fmla="*/ 99636 h 129856"/>
              <a:gd name="connsiteX49" fmla="*/ 82392 w 152245"/>
              <a:gd name="connsiteY49" fmla="*/ 98292 h 129856"/>
              <a:gd name="connsiteX50" fmla="*/ 68958 w 152245"/>
              <a:gd name="connsiteY50" fmla="*/ 98292 h 129856"/>
              <a:gd name="connsiteX51" fmla="*/ 67167 w 152245"/>
              <a:gd name="connsiteY51" fmla="*/ 99636 h 129856"/>
              <a:gd name="connsiteX52" fmla="*/ 54182 w 152245"/>
              <a:gd name="connsiteY52" fmla="*/ 125159 h 129856"/>
              <a:gd name="connsiteX53" fmla="*/ 15225 w 152245"/>
              <a:gd name="connsiteY53" fmla="*/ 125159 h 129856"/>
              <a:gd name="connsiteX54" fmla="*/ 4030 w 152245"/>
              <a:gd name="connsiteY54" fmla="*/ 113965 h 129856"/>
              <a:gd name="connsiteX55" fmla="*/ 4030 w 152245"/>
              <a:gd name="connsiteY55" fmla="*/ 89337 h 129856"/>
              <a:gd name="connsiteX56" fmla="*/ 28658 w 152245"/>
              <a:gd name="connsiteY56" fmla="*/ 89337 h 129856"/>
              <a:gd name="connsiteX57" fmla="*/ 43883 w 152245"/>
              <a:gd name="connsiteY57" fmla="*/ 75903 h 129856"/>
              <a:gd name="connsiteX58" fmla="*/ 147320 w 152245"/>
              <a:gd name="connsiteY58" fmla="*/ 75903 h 129856"/>
              <a:gd name="connsiteX59" fmla="*/ 147320 w 152245"/>
              <a:gd name="connsiteY59" fmla="*/ 113517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2245" h="129856">
                <a:moveTo>
                  <a:pt x="151798" y="73664"/>
                </a:moveTo>
                <a:cubicBezTo>
                  <a:pt x="151798" y="73664"/>
                  <a:pt x="151798" y="73217"/>
                  <a:pt x="151798" y="73664"/>
                </a:cubicBezTo>
                <a:cubicBezTo>
                  <a:pt x="151798" y="73217"/>
                  <a:pt x="151798" y="72769"/>
                  <a:pt x="151798" y="72769"/>
                </a:cubicBezTo>
                <a:cubicBezTo>
                  <a:pt x="151798" y="72769"/>
                  <a:pt x="151798" y="72769"/>
                  <a:pt x="151798" y="72769"/>
                </a:cubicBezTo>
                <a:lnTo>
                  <a:pt x="120006" y="8736"/>
                </a:lnTo>
                <a:cubicBezTo>
                  <a:pt x="117767" y="4258"/>
                  <a:pt x="113737" y="1124"/>
                  <a:pt x="108363" y="228"/>
                </a:cubicBezTo>
                <a:cubicBezTo>
                  <a:pt x="103438" y="-667"/>
                  <a:pt x="98512" y="1124"/>
                  <a:pt x="94482" y="4706"/>
                </a:cubicBezTo>
                <a:lnTo>
                  <a:pt x="96273" y="6497"/>
                </a:lnTo>
                <a:lnTo>
                  <a:pt x="98064" y="7840"/>
                </a:lnTo>
                <a:cubicBezTo>
                  <a:pt x="100751" y="5154"/>
                  <a:pt x="104333" y="4258"/>
                  <a:pt x="107915" y="4706"/>
                </a:cubicBezTo>
                <a:cubicBezTo>
                  <a:pt x="111498" y="5154"/>
                  <a:pt x="114632" y="7393"/>
                  <a:pt x="115975" y="10527"/>
                </a:cubicBezTo>
                <a:lnTo>
                  <a:pt x="146425" y="71426"/>
                </a:lnTo>
                <a:lnTo>
                  <a:pt x="42987" y="71426"/>
                </a:lnTo>
                <a:cubicBezTo>
                  <a:pt x="42539" y="71426"/>
                  <a:pt x="42539" y="71426"/>
                  <a:pt x="42091" y="71426"/>
                </a:cubicBezTo>
                <a:cubicBezTo>
                  <a:pt x="41644" y="71426"/>
                  <a:pt x="41644" y="71426"/>
                  <a:pt x="41196" y="71426"/>
                </a:cubicBezTo>
                <a:lnTo>
                  <a:pt x="5373" y="71426"/>
                </a:lnTo>
                <a:lnTo>
                  <a:pt x="35823" y="10527"/>
                </a:lnTo>
                <a:cubicBezTo>
                  <a:pt x="37614" y="7393"/>
                  <a:pt x="40300" y="5154"/>
                  <a:pt x="43883" y="4706"/>
                </a:cubicBezTo>
                <a:cubicBezTo>
                  <a:pt x="47465" y="4258"/>
                  <a:pt x="51047" y="5154"/>
                  <a:pt x="53734" y="8288"/>
                </a:cubicBezTo>
                <a:cubicBezTo>
                  <a:pt x="54629" y="9184"/>
                  <a:pt x="55973" y="9184"/>
                  <a:pt x="56868" y="8288"/>
                </a:cubicBezTo>
                <a:cubicBezTo>
                  <a:pt x="57764" y="7393"/>
                  <a:pt x="57764" y="6049"/>
                  <a:pt x="56868" y="5154"/>
                </a:cubicBezTo>
                <a:cubicBezTo>
                  <a:pt x="53286" y="1572"/>
                  <a:pt x="48360" y="-220"/>
                  <a:pt x="43435" y="676"/>
                </a:cubicBezTo>
                <a:cubicBezTo>
                  <a:pt x="38509" y="1572"/>
                  <a:pt x="34031" y="4706"/>
                  <a:pt x="31793" y="9184"/>
                </a:cubicBezTo>
                <a:lnTo>
                  <a:pt x="0" y="73217"/>
                </a:lnTo>
                <a:cubicBezTo>
                  <a:pt x="0" y="73217"/>
                  <a:pt x="0" y="73217"/>
                  <a:pt x="0" y="73217"/>
                </a:cubicBezTo>
                <a:cubicBezTo>
                  <a:pt x="0" y="73217"/>
                  <a:pt x="0" y="73664"/>
                  <a:pt x="0" y="73664"/>
                </a:cubicBezTo>
                <a:cubicBezTo>
                  <a:pt x="0" y="73664"/>
                  <a:pt x="0" y="74112"/>
                  <a:pt x="0" y="74112"/>
                </a:cubicBezTo>
                <a:cubicBezTo>
                  <a:pt x="0" y="74112"/>
                  <a:pt x="0" y="74112"/>
                  <a:pt x="0" y="74112"/>
                </a:cubicBezTo>
                <a:lnTo>
                  <a:pt x="0" y="114413"/>
                </a:lnTo>
                <a:cubicBezTo>
                  <a:pt x="0" y="122920"/>
                  <a:pt x="7165" y="130085"/>
                  <a:pt x="15672" y="130085"/>
                </a:cubicBezTo>
                <a:lnTo>
                  <a:pt x="55973" y="130085"/>
                </a:lnTo>
                <a:cubicBezTo>
                  <a:pt x="56868" y="130085"/>
                  <a:pt x="57764" y="129637"/>
                  <a:pt x="57764" y="128742"/>
                </a:cubicBezTo>
                <a:lnTo>
                  <a:pt x="70750" y="103218"/>
                </a:lnTo>
                <a:lnTo>
                  <a:pt x="81496" y="103218"/>
                </a:lnTo>
                <a:lnTo>
                  <a:pt x="94482" y="128742"/>
                </a:lnTo>
                <a:cubicBezTo>
                  <a:pt x="94930" y="129637"/>
                  <a:pt x="95825" y="130085"/>
                  <a:pt x="96273" y="130085"/>
                </a:cubicBezTo>
                <a:lnTo>
                  <a:pt x="136573" y="130085"/>
                </a:lnTo>
                <a:cubicBezTo>
                  <a:pt x="145081" y="130085"/>
                  <a:pt x="152246" y="122473"/>
                  <a:pt x="152246" y="113965"/>
                </a:cubicBezTo>
                <a:lnTo>
                  <a:pt x="151798" y="73664"/>
                </a:lnTo>
                <a:cubicBezTo>
                  <a:pt x="151798" y="73664"/>
                  <a:pt x="151798" y="73664"/>
                  <a:pt x="151798" y="73664"/>
                </a:cubicBezTo>
                <a:close/>
                <a:moveTo>
                  <a:pt x="39405" y="75903"/>
                </a:moveTo>
                <a:cubicBezTo>
                  <a:pt x="38509" y="80829"/>
                  <a:pt x="34031" y="84859"/>
                  <a:pt x="28658" y="84859"/>
                </a:cubicBezTo>
                <a:lnTo>
                  <a:pt x="4030" y="84859"/>
                </a:lnTo>
                <a:lnTo>
                  <a:pt x="4030" y="75903"/>
                </a:lnTo>
                <a:lnTo>
                  <a:pt x="39405" y="75903"/>
                </a:lnTo>
                <a:close/>
                <a:moveTo>
                  <a:pt x="147320" y="113517"/>
                </a:moveTo>
                <a:cubicBezTo>
                  <a:pt x="147320" y="119786"/>
                  <a:pt x="142395" y="125159"/>
                  <a:pt x="136126" y="125159"/>
                </a:cubicBezTo>
                <a:lnTo>
                  <a:pt x="97169" y="125159"/>
                </a:lnTo>
                <a:lnTo>
                  <a:pt x="84183" y="99636"/>
                </a:lnTo>
                <a:cubicBezTo>
                  <a:pt x="83735" y="98740"/>
                  <a:pt x="82840" y="98292"/>
                  <a:pt x="82392" y="98292"/>
                </a:cubicBezTo>
                <a:lnTo>
                  <a:pt x="68958" y="98292"/>
                </a:lnTo>
                <a:cubicBezTo>
                  <a:pt x="68063" y="98292"/>
                  <a:pt x="67167" y="98740"/>
                  <a:pt x="67167" y="99636"/>
                </a:cubicBezTo>
                <a:lnTo>
                  <a:pt x="54182" y="125159"/>
                </a:lnTo>
                <a:lnTo>
                  <a:pt x="15225" y="125159"/>
                </a:lnTo>
                <a:cubicBezTo>
                  <a:pt x="8956" y="125159"/>
                  <a:pt x="4030" y="120234"/>
                  <a:pt x="4030" y="113965"/>
                </a:cubicBezTo>
                <a:lnTo>
                  <a:pt x="4030" y="89337"/>
                </a:lnTo>
                <a:lnTo>
                  <a:pt x="28658" y="89337"/>
                </a:lnTo>
                <a:cubicBezTo>
                  <a:pt x="36270" y="89337"/>
                  <a:pt x="42987" y="83516"/>
                  <a:pt x="43883" y="75903"/>
                </a:cubicBezTo>
                <a:lnTo>
                  <a:pt x="147320" y="75903"/>
                </a:lnTo>
                <a:lnTo>
                  <a:pt x="147320" y="113517"/>
                </a:lnTo>
                <a:close/>
              </a:path>
            </a:pathLst>
          </a:custGeom>
          <a:solidFill>
            <a:srgbClr val="231F20"/>
          </a:solidFill>
          <a:ln w="4474" cap="flat">
            <a:noFill/>
            <a:prstDash val="solid"/>
            <a:miter/>
          </a:ln>
        </p:spPr>
        <p:txBody>
          <a:bodyPr rtlCol="0" anchor="ctr"/>
          <a:lstStyle/>
          <a:p>
            <a:endParaRPr lang="en-US"/>
          </a:p>
        </p:txBody>
      </p:sp>
      <p:sp>
        <p:nvSpPr>
          <p:cNvPr id="4191" name="Freeform: Shape 4190">
            <a:extLst>
              <a:ext uri="{FF2B5EF4-FFF2-40B4-BE49-F238E27FC236}">
                <a16:creationId xmlns:a16="http://schemas.microsoft.com/office/drawing/2014/main" id="{7E6B4B79-B690-43C4-85C8-4AE134152672}"/>
              </a:ext>
              <a:ext uri="{C183D7F6-B498-43B3-948B-1728B52AA6E4}">
                <adec:decorative xmlns:adec="http://schemas.microsoft.com/office/drawing/2017/decorative" val="1"/>
              </a:ext>
            </a:extLst>
          </p:cNvPr>
          <p:cNvSpPr>
            <a:spLocks noChangeAspect="1"/>
          </p:cNvSpPr>
          <p:nvPr/>
        </p:nvSpPr>
        <p:spPr>
          <a:xfrm>
            <a:off x="817608" y="3339823"/>
            <a:ext cx="125379" cy="138812"/>
          </a:xfrm>
          <a:custGeom>
            <a:avLst/>
            <a:gdLst>
              <a:gd name="connsiteX0" fmla="*/ 62689 w 125378"/>
              <a:gd name="connsiteY0" fmla="*/ 0 h 138812"/>
              <a:gd name="connsiteX1" fmla="*/ 0 w 125378"/>
              <a:gd name="connsiteY1" fmla="*/ 62689 h 138812"/>
              <a:gd name="connsiteX2" fmla="*/ 0 w 125378"/>
              <a:gd name="connsiteY2" fmla="*/ 109707 h 138812"/>
              <a:gd name="connsiteX3" fmla="*/ 29106 w 125378"/>
              <a:gd name="connsiteY3" fmla="*/ 138812 h 138812"/>
              <a:gd name="connsiteX4" fmla="*/ 31345 w 125378"/>
              <a:gd name="connsiteY4" fmla="*/ 136573 h 138812"/>
              <a:gd name="connsiteX5" fmla="*/ 31345 w 125378"/>
              <a:gd name="connsiteY5" fmla="*/ 82840 h 138812"/>
              <a:gd name="connsiteX6" fmla="*/ 29106 w 125378"/>
              <a:gd name="connsiteY6" fmla="*/ 80601 h 138812"/>
              <a:gd name="connsiteX7" fmla="*/ 4478 w 125378"/>
              <a:gd name="connsiteY7" fmla="*/ 94482 h 138812"/>
              <a:gd name="connsiteX8" fmla="*/ 4478 w 125378"/>
              <a:gd name="connsiteY8" fmla="*/ 62689 h 138812"/>
              <a:gd name="connsiteX9" fmla="*/ 62689 w 125378"/>
              <a:gd name="connsiteY9" fmla="*/ 4478 h 138812"/>
              <a:gd name="connsiteX10" fmla="*/ 120901 w 125378"/>
              <a:gd name="connsiteY10" fmla="*/ 62689 h 138812"/>
              <a:gd name="connsiteX11" fmla="*/ 120901 w 125378"/>
              <a:gd name="connsiteY11" fmla="*/ 94482 h 138812"/>
              <a:gd name="connsiteX12" fmla="*/ 96273 w 125378"/>
              <a:gd name="connsiteY12" fmla="*/ 80601 h 138812"/>
              <a:gd name="connsiteX13" fmla="*/ 94034 w 125378"/>
              <a:gd name="connsiteY13" fmla="*/ 82840 h 138812"/>
              <a:gd name="connsiteX14" fmla="*/ 94034 w 125378"/>
              <a:gd name="connsiteY14" fmla="*/ 136573 h 138812"/>
              <a:gd name="connsiteX15" fmla="*/ 96273 w 125378"/>
              <a:gd name="connsiteY15" fmla="*/ 138812 h 138812"/>
              <a:gd name="connsiteX16" fmla="*/ 125379 w 125378"/>
              <a:gd name="connsiteY16" fmla="*/ 109707 h 138812"/>
              <a:gd name="connsiteX17" fmla="*/ 125379 w 125378"/>
              <a:gd name="connsiteY17" fmla="*/ 62689 h 138812"/>
              <a:gd name="connsiteX18" fmla="*/ 62689 w 125378"/>
              <a:gd name="connsiteY18" fmla="*/ 0 h 138812"/>
              <a:gd name="connsiteX19" fmla="*/ 26867 w 125378"/>
              <a:gd name="connsiteY19" fmla="*/ 85079 h 138812"/>
              <a:gd name="connsiteX20" fmla="*/ 26867 w 125378"/>
              <a:gd name="connsiteY20" fmla="*/ 134335 h 138812"/>
              <a:gd name="connsiteX21" fmla="*/ 4478 w 125378"/>
              <a:gd name="connsiteY21" fmla="*/ 109707 h 138812"/>
              <a:gd name="connsiteX22" fmla="*/ 26867 w 125378"/>
              <a:gd name="connsiteY22" fmla="*/ 85079 h 138812"/>
              <a:gd name="connsiteX23" fmla="*/ 98512 w 125378"/>
              <a:gd name="connsiteY23" fmla="*/ 134335 h 138812"/>
              <a:gd name="connsiteX24" fmla="*/ 98512 w 125378"/>
              <a:gd name="connsiteY24" fmla="*/ 85079 h 138812"/>
              <a:gd name="connsiteX25" fmla="*/ 120901 w 125378"/>
              <a:gd name="connsiteY25" fmla="*/ 109707 h 138812"/>
              <a:gd name="connsiteX26" fmla="*/ 98512 w 125378"/>
              <a:gd name="connsiteY26"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5378" h="138812">
                <a:moveTo>
                  <a:pt x="62689" y="0"/>
                </a:moveTo>
                <a:cubicBezTo>
                  <a:pt x="28210" y="0"/>
                  <a:pt x="0" y="28210"/>
                  <a:pt x="0" y="62689"/>
                </a:cubicBezTo>
                <a:lnTo>
                  <a:pt x="0" y="109707"/>
                </a:lnTo>
                <a:cubicBezTo>
                  <a:pt x="0" y="125827"/>
                  <a:pt x="12986" y="138812"/>
                  <a:pt x="29106" y="138812"/>
                </a:cubicBezTo>
                <a:cubicBezTo>
                  <a:pt x="30449" y="138812"/>
                  <a:pt x="31345" y="137917"/>
                  <a:pt x="31345" y="136573"/>
                </a:cubicBezTo>
                <a:lnTo>
                  <a:pt x="31345" y="82840"/>
                </a:lnTo>
                <a:cubicBezTo>
                  <a:pt x="31345" y="81496"/>
                  <a:pt x="30449" y="80601"/>
                  <a:pt x="29106" y="80601"/>
                </a:cubicBezTo>
                <a:cubicBezTo>
                  <a:pt x="18807" y="80601"/>
                  <a:pt x="9851" y="85974"/>
                  <a:pt x="4478" y="94482"/>
                </a:cubicBezTo>
                <a:lnTo>
                  <a:pt x="4478" y="62689"/>
                </a:lnTo>
                <a:cubicBezTo>
                  <a:pt x="4478" y="30449"/>
                  <a:pt x="30449" y="4478"/>
                  <a:pt x="62689" y="4478"/>
                </a:cubicBezTo>
                <a:cubicBezTo>
                  <a:pt x="94930" y="4478"/>
                  <a:pt x="120901" y="30449"/>
                  <a:pt x="120901" y="62689"/>
                </a:cubicBezTo>
                <a:lnTo>
                  <a:pt x="120901" y="94482"/>
                </a:lnTo>
                <a:cubicBezTo>
                  <a:pt x="115528" y="86422"/>
                  <a:pt x="106572" y="80601"/>
                  <a:pt x="96273" y="80601"/>
                </a:cubicBezTo>
                <a:cubicBezTo>
                  <a:pt x="94930" y="80601"/>
                  <a:pt x="94034" y="81496"/>
                  <a:pt x="94034" y="82840"/>
                </a:cubicBezTo>
                <a:lnTo>
                  <a:pt x="94034" y="136573"/>
                </a:lnTo>
                <a:cubicBezTo>
                  <a:pt x="94034" y="137917"/>
                  <a:pt x="94930" y="138812"/>
                  <a:pt x="96273" y="138812"/>
                </a:cubicBezTo>
                <a:cubicBezTo>
                  <a:pt x="112393" y="138812"/>
                  <a:pt x="125379" y="125827"/>
                  <a:pt x="125379" y="109707"/>
                </a:cubicBezTo>
                <a:lnTo>
                  <a:pt x="125379" y="62689"/>
                </a:lnTo>
                <a:cubicBezTo>
                  <a:pt x="125379" y="28210"/>
                  <a:pt x="97169" y="0"/>
                  <a:pt x="62689" y="0"/>
                </a:cubicBezTo>
                <a:close/>
                <a:moveTo>
                  <a:pt x="26867" y="85079"/>
                </a:moveTo>
                <a:lnTo>
                  <a:pt x="26867" y="134335"/>
                </a:lnTo>
                <a:cubicBezTo>
                  <a:pt x="14329" y="132991"/>
                  <a:pt x="4478" y="122692"/>
                  <a:pt x="4478" y="109707"/>
                </a:cubicBezTo>
                <a:cubicBezTo>
                  <a:pt x="4478" y="96721"/>
                  <a:pt x="14329" y="86422"/>
                  <a:pt x="26867" y="85079"/>
                </a:cubicBezTo>
                <a:close/>
                <a:moveTo>
                  <a:pt x="98512" y="134335"/>
                </a:moveTo>
                <a:lnTo>
                  <a:pt x="98512" y="85079"/>
                </a:lnTo>
                <a:cubicBezTo>
                  <a:pt x="111050" y="86422"/>
                  <a:pt x="120901" y="96721"/>
                  <a:pt x="120901" y="109707"/>
                </a:cubicBezTo>
                <a:cubicBezTo>
                  <a:pt x="120901" y="122692"/>
                  <a:pt x="111050" y="132991"/>
                  <a:pt x="98512" y="134335"/>
                </a:cubicBezTo>
                <a:close/>
              </a:path>
            </a:pathLst>
          </a:custGeom>
          <a:solidFill>
            <a:srgbClr val="231F20"/>
          </a:solidFill>
          <a:ln w="4474" cap="flat">
            <a:noFill/>
            <a:prstDash val="solid"/>
            <a:miter/>
          </a:ln>
        </p:spPr>
        <p:txBody>
          <a:bodyPr rtlCol="0" anchor="ctr"/>
          <a:lstStyle/>
          <a:p>
            <a:endParaRPr lang="en-US"/>
          </a:p>
        </p:txBody>
      </p:sp>
      <p:sp>
        <p:nvSpPr>
          <p:cNvPr id="4192" name="Freeform: Shape 4191">
            <a:extLst>
              <a:ext uri="{FF2B5EF4-FFF2-40B4-BE49-F238E27FC236}">
                <a16:creationId xmlns:a16="http://schemas.microsoft.com/office/drawing/2014/main" id="{BB20BDB5-E74F-4EEC-AE5B-BCFDFA643CED}"/>
              </a:ext>
              <a:ext uri="{C183D7F6-B498-43B3-948B-1728B52AA6E4}">
                <adec:decorative xmlns:adec="http://schemas.microsoft.com/office/drawing/2017/decorative" val="1"/>
              </a:ext>
            </a:extLst>
          </p:cNvPr>
          <p:cNvSpPr>
            <a:spLocks noChangeAspect="1"/>
          </p:cNvSpPr>
          <p:nvPr/>
        </p:nvSpPr>
        <p:spPr>
          <a:xfrm>
            <a:off x="1101054" y="3326390"/>
            <a:ext cx="98512" cy="143290"/>
          </a:xfrm>
          <a:custGeom>
            <a:avLst/>
            <a:gdLst>
              <a:gd name="connsiteX0" fmla="*/ 49256 w 98511"/>
              <a:gd name="connsiteY0" fmla="*/ 0 h 143290"/>
              <a:gd name="connsiteX1" fmla="*/ 0 w 98511"/>
              <a:gd name="connsiteY1" fmla="*/ 49256 h 143290"/>
              <a:gd name="connsiteX2" fmla="*/ 0 w 98511"/>
              <a:gd name="connsiteY2" fmla="*/ 85974 h 143290"/>
              <a:gd name="connsiteX3" fmla="*/ 0 w 98511"/>
              <a:gd name="connsiteY3" fmla="*/ 86870 h 143290"/>
              <a:gd name="connsiteX4" fmla="*/ 22837 w 98511"/>
              <a:gd name="connsiteY4" fmla="*/ 108363 h 143290"/>
              <a:gd name="connsiteX5" fmla="*/ 25076 w 98511"/>
              <a:gd name="connsiteY5" fmla="*/ 106124 h 143290"/>
              <a:gd name="connsiteX6" fmla="*/ 25076 w 98511"/>
              <a:gd name="connsiteY6" fmla="*/ 64481 h 143290"/>
              <a:gd name="connsiteX7" fmla="*/ 22837 w 98511"/>
              <a:gd name="connsiteY7" fmla="*/ 62242 h 143290"/>
              <a:gd name="connsiteX8" fmla="*/ 4478 w 98511"/>
              <a:gd name="connsiteY8" fmla="*/ 71645 h 143290"/>
              <a:gd name="connsiteX9" fmla="*/ 4478 w 98511"/>
              <a:gd name="connsiteY9" fmla="*/ 49256 h 143290"/>
              <a:gd name="connsiteX10" fmla="*/ 49256 w 98511"/>
              <a:gd name="connsiteY10" fmla="*/ 4478 h 143290"/>
              <a:gd name="connsiteX11" fmla="*/ 94034 w 98511"/>
              <a:gd name="connsiteY11" fmla="*/ 49256 h 143290"/>
              <a:gd name="connsiteX12" fmla="*/ 94034 w 98511"/>
              <a:gd name="connsiteY12" fmla="*/ 71645 h 143290"/>
              <a:gd name="connsiteX13" fmla="*/ 75675 w 98511"/>
              <a:gd name="connsiteY13" fmla="*/ 62242 h 143290"/>
              <a:gd name="connsiteX14" fmla="*/ 73436 w 98511"/>
              <a:gd name="connsiteY14" fmla="*/ 64481 h 143290"/>
              <a:gd name="connsiteX15" fmla="*/ 73436 w 98511"/>
              <a:gd name="connsiteY15" fmla="*/ 106124 h 143290"/>
              <a:gd name="connsiteX16" fmla="*/ 75675 w 98511"/>
              <a:gd name="connsiteY16" fmla="*/ 108363 h 143290"/>
              <a:gd name="connsiteX17" fmla="*/ 92691 w 98511"/>
              <a:gd name="connsiteY17" fmla="*/ 100303 h 143290"/>
              <a:gd name="connsiteX18" fmla="*/ 58212 w 98511"/>
              <a:gd name="connsiteY18" fmla="*/ 133887 h 143290"/>
              <a:gd name="connsiteX19" fmla="*/ 58212 w 98511"/>
              <a:gd name="connsiteY19" fmla="*/ 129857 h 143290"/>
              <a:gd name="connsiteX20" fmla="*/ 55973 w 98511"/>
              <a:gd name="connsiteY20" fmla="*/ 127618 h 143290"/>
              <a:gd name="connsiteX21" fmla="*/ 42539 w 98511"/>
              <a:gd name="connsiteY21" fmla="*/ 127618 h 143290"/>
              <a:gd name="connsiteX22" fmla="*/ 40300 w 98511"/>
              <a:gd name="connsiteY22" fmla="*/ 129857 h 143290"/>
              <a:gd name="connsiteX23" fmla="*/ 40300 w 98511"/>
              <a:gd name="connsiteY23" fmla="*/ 143290 h 143290"/>
              <a:gd name="connsiteX24" fmla="*/ 42539 w 98511"/>
              <a:gd name="connsiteY24" fmla="*/ 145529 h 143290"/>
              <a:gd name="connsiteX25" fmla="*/ 55973 w 98511"/>
              <a:gd name="connsiteY25" fmla="*/ 145529 h 143290"/>
              <a:gd name="connsiteX26" fmla="*/ 58212 w 98511"/>
              <a:gd name="connsiteY26" fmla="*/ 143290 h 143290"/>
              <a:gd name="connsiteX27" fmla="*/ 58212 w 98511"/>
              <a:gd name="connsiteY27" fmla="*/ 138365 h 143290"/>
              <a:gd name="connsiteX28" fmla="*/ 98512 w 98511"/>
              <a:gd name="connsiteY28" fmla="*/ 89556 h 143290"/>
              <a:gd name="connsiteX29" fmla="*/ 98512 w 98511"/>
              <a:gd name="connsiteY29" fmla="*/ 85974 h 143290"/>
              <a:gd name="connsiteX30" fmla="*/ 98512 w 98511"/>
              <a:gd name="connsiteY30" fmla="*/ 85079 h 143290"/>
              <a:gd name="connsiteX31" fmla="*/ 98512 w 98511"/>
              <a:gd name="connsiteY31" fmla="*/ 49256 h 143290"/>
              <a:gd name="connsiteX32" fmla="*/ 49256 w 98511"/>
              <a:gd name="connsiteY32" fmla="*/ 0 h 143290"/>
              <a:gd name="connsiteX33" fmla="*/ 20598 w 98511"/>
              <a:gd name="connsiteY33" fmla="*/ 66719 h 143290"/>
              <a:gd name="connsiteX34" fmla="*/ 20598 w 98511"/>
              <a:gd name="connsiteY34" fmla="*/ 103438 h 143290"/>
              <a:gd name="connsiteX35" fmla="*/ 4478 w 98511"/>
              <a:gd name="connsiteY35" fmla="*/ 85079 h 143290"/>
              <a:gd name="connsiteX36" fmla="*/ 20598 w 98511"/>
              <a:gd name="connsiteY36" fmla="*/ 66719 h 143290"/>
              <a:gd name="connsiteX37" fmla="*/ 53734 w 98511"/>
              <a:gd name="connsiteY37" fmla="*/ 141051 h 143290"/>
              <a:gd name="connsiteX38" fmla="*/ 44778 w 98511"/>
              <a:gd name="connsiteY38" fmla="*/ 141051 h 143290"/>
              <a:gd name="connsiteX39" fmla="*/ 44778 w 98511"/>
              <a:gd name="connsiteY39" fmla="*/ 132096 h 143290"/>
              <a:gd name="connsiteX40" fmla="*/ 53734 w 98511"/>
              <a:gd name="connsiteY40" fmla="*/ 132096 h 143290"/>
              <a:gd name="connsiteX41" fmla="*/ 53734 w 98511"/>
              <a:gd name="connsiteY41" fmla="*/ 141051 h 143290"/>
              <a:gd name="connsiteX42" fmla="*/ 77466 w 98511"/>
              <a:gd name="connsiteY42" fmla="*/ 103885 h 143290"/>
              <a:gd name="connsiteX43" fmla="*/ 77466 w 98511"/>
              <a:gd name="connsiteY43" fmla="*/ 67167 h 143290"/>
              <a:gd name="connsiteX44" fmla="*/ 93586 w 98511"/>
              <a:gd name="connsiteY44" fmla="*/ 85526 h 143290"/>
              <a:gd name="connsiteX45" fmla="*/ 77466 w 98511"/>
              <a:gd name="connsiteY45" fmla="*/ 103885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8511" h="143290">
                <a:moveTo>
                  <a:pt x="49256" y="0"/>
                </a:moveTo>
                <a:cubicBezTo>
                  <a:pt x="21941" y="0"/>
                  <a:pt x="0" y="21941"/>
                  <a:pt x="0" y="49256"/>
                </a:cubicBezTo>
                <a:lnTo>
                  <a:pt x="0" y="85974"/>
                </a:lnTo>
                <a:cubicBezTo>
                  <a:pt x="0" y="86422"/>
                  <a:pt x="0" y="86422"/>
                  <a:pt x="0" y="86870"/>
                </a:cubicBezTo>
                <a:cubicBezTo>
                  <a:pt x="896" y="98960"/>
                  <a:pt x="10747" y="108363"/>
                  <a:pt x="22837" y="108363"/>
                </a:cubicBezTo>
                <a:cubicBezTo>
                  <a:pt x="24180" y="108363"/>
                  <a:pt x="25076" y="107468"/>
                  <a:pt x="25076" y="106124"/>
                </a:cubicBezTo>
                <a:lnTo>
                  <a:pt x="25076" y="64481"/>
                </a:lnTo>
                <a:cubicBezTo>
                  <a:pt x="25076" y="63137"/>
                  <a:pt x="24180" y="62242"/>
                  <a:pt x="22837" y="62242"/>
                </a:cubicBezTo>
                <a:cubicBezTo>
                  <a:pt x="15225" y="62242"/>
                  <a:pt x="8508" y="65824"/>
                  <a:pt x="4478" y="71645"/>
                </a:cubicBezTo>
                <a:lnTo>
                  <a:pt x="4478" y="49256"/>
                </a:lnTo>
                <a:cubicBezTo>
                  <a:pt x="4478" y="24628"/>
                  <a:pt x="24628" y="4478"/>
                  <a:pt x="49256" y="4478"/>
                </a:cubicBezTo>
                <a:cubicBezTo>
                  <a:pt x="73884" y="4478"/>
                  <a:pt x="94034" y="24628"/>
                  <a:pt x="94034" y="49256"/>
                </a:cubicBezTo>
                <a:lnTo>
                  <a:pt x="94034" y="71645"/>
                </a:lnTo>
                <a:cubicBezTo>
                  <a:pt x="90004" y="65824"/>
                  <a:pt x="83287" y="62242"/>
                  <a:pt x="75675" y="62242"/>
                </a:cubicBezTo>
                <a:cubicBezTo>
                  <a:pt x="74332" y="62242"/>
                  <a:pt x="73436" y="63137"/>
                  <a:pt x="73436" y="64481"/>
                </a:cubicBezTo>
                <a:lnTo>
                  <a:pt x="73436" y="106124"/>
                </a:lnTo>
                <a:cubicBezTo>
                  <a:pt x="73436" y="107468"/>
                  <a:pt x="74332" y="108363"/>
                  <a:pt x="75675" y="108363"/>
                </a:cubicBezTo>
                <a:cubicBezTo>
                  <a:pt x="82392" y="108363"/>
                  <a:pt x="88661" y="105229"/>
                  <a:pt x="92691" y="100303"/>
                </a:cubicBezTo>
                <a:cubicBezTo>
                  <a:pt x="88661" y="116871"/>
                  <a:pt x="75227" y="130305"/>
                  <a:pt x="58212" y="133887"/>
                </a:cubicBezTo>
                <a:lnTo>
                  <a:pt x="58212" y="129857"/>
                </a:lnTo>
                <a:cubicBezTo>
                  <a:pt x="58212" y="128513"/>
                  <a:pt x="57316" y="127618"/>
                  <a:pt x="55973" y="127618"/>
                </a:cubicBezTo>
                <a:lnTo>
                  <a:pt x="42539" y="127618"/>
                </a:lnTo>
                <a:cubicBezTo>
                  <a:pt x="41196" y="127618"/>
                  <a:pt x="40300" y="128513"/>
                  <a:pt x="40300" y="129857"/>
                </a:cubicBezTo>
                <a:lnTo>
                  <a:pt x="40300" y="143290"/>
                </a:lnTo>
                <a:cubicBezTo>
                  <a:pt x="40300" y="144633"/>
                  <a:pt x="41196" y="145529"/>
                  <a:pt x="42539" y="145529"/>
                </a:cubicBezTo>
                <a:lnTo>
                  <a:pt x="55973" y="145529"/>
                </a:lnTo>
                <a:cubicBezTo>
                  <a:pt x="57316" y="145529"/>
                  <a:pt x="58212" y="144633"/>
                  <a:pt x="58212" y="143290"/>
                </a:cubicBezTo>
                <a:lnTo>
                  <a:pt x="58212" y="138365"/>
                </a:lnTo>
                <a:cubicBezTo>
                  <a:pt x="81496" y="133887"/>
                  <a:pt x="98512" y="113289"/>
                  <a:pt x="98512" y="89556"/>
                </a:cubicBezTo>
                <a:lnTo>
                  <a:pt x="98512" y="85974"/>
                </a:lnTo>
                <a:lnTo>
                  <a:pt x="98512" y="85079"/>
                </a:lnTo>
                <a:lnTo>
                  <a:pt x="98512" y="49256"/>
                </a:lnTo>
                <a:cubicBezTo>
                  <a:pt x="98512" y="22389"/>
                  <a:pt x="76123" y="0"/>
                  <a:pt x="49256" y="0"/>
                </a:cubicBezTo>
                <a:close/>
                <a:moveTo>
                  <a:pt x="20598" y="66719"/>
                </a:moveTo>
                <a:lnTo>
                  <a:pt x="20598" y="103438"/>
                </a:lnTo>
                <a:cubicBezTo>
                  <a:pt x="11195" y="102542"/>
                  <a:pt x="4478" y="94482"/>
                  <a:pt x="4478" y="85079"/>
                </a:cubicBezTo>
                <a:cubicBezTo>
                  <a:pt x="4478" y="75675"/>
                  <a:pt x="11642" y="68063"/>
                  <a:pt x="20598" y="66719"/>
                </a:cubicBezTo>
                <a:close/>
                <a:moveTo>
                  <a:pt x="53734" y="141051"/>
                </a:moveTo>
                <a:lnTo>
                  <a:pt x="44778" y="141051"/>
                </a:lnTo>
                <a:lnTo>
                  <a:pt x="44778" y="132096"/>
                </a:lnTo>
                <a:lnTo>
                  <a:pt x="53734" y="132096"/>
                </a:lnTo>
                <a:lnTo>
                  <a:pt x="53734" y="141051"/>
                </a:lnTo>
                <a:close/>
                <a:moveTo>
                  <a:pt x="77466" y="103885"/>
                </a:moveTo>
                <a:lnTo>
                  <a:pt x="77466" y="67167"/>
                </a:lnTo>
                <a:cubicBezTo>
                  <a:pt x="86870" y="68063"/>
                  <a:pt x="93586" y="76123"/>
                  <a:pt x="93586" y="85526"/>
                </a:cubicBezTo>
                <a:cubicBezTo>
                  <a:pt x="94034" y="94930"/>
                  <a:pt x="86870" y="102542"/>
                  <a:pt x="77466" y="103885"/>
                </a:cubicBezTo>
                <a:close/>
              </a:path>
            </a:pathLst>
          </a:custGeom>
          <a:solidFill>
            <a:srgbClr val="231F20"/>
          </a:solidFill>
          <a:ln w="4474" cap="flat">
            <a:noFill/>
            <a:prstDash val="solid"/>
            <a:miter/>
          </a:ln>
        </p:spPr>
        <p:txBody>
          <a:bodyPr rtlCol="0" anchor="ctr"/>
          <a:lstStyle/>
          <a:p>
            <a:endParaRPr lang="en-US"/>
          </a:p>
        </p:txBody>
      </p:sp>
      <p:grpSp>
        <p:nvGrpSpPr>
          <p:cNvPr id="4193" name="Group 4192">
            <a:extLst>
              <a:ext uri="{FF2B5EF4-FFF2-40B4-BE49-F238E27FC236}">
                <a16:creationId xmlns:a16="http://schemas.microsoft.com/office/drawing/2014/main" id="{DE88F2AB-4998-4B29-9581-DD4E9C28F739}"/>
              </a:ext>
              <a:ext uri="{C183D7F6-B498-43B3-948B-1728B52AA6E4}">
                <adec:decorative xmlns:adec="http://schemas.microsoft.com/office/drawing/2017/decorative" val="1"/>
              </a:ext>
            </a:extLst>
          </p:cNvPr>
          <p:cNvGrpSpPr>
            <a:grpSpLocks noChangeAspect="1"/>
          </p:cNvGrpSpPr>
          <p:nvPr/>
        </p:nvGrpSpPr>
        <p:grpSpPr>
          <a:xfrm>
            <a:off x="798353" y="1729600"/>
            <a:ext cx="152246" cy="111945"/>
            <a:chOff x="839107" y="994161"/>
            <a:chExt cx="152246" cy="111945"/>
          </a:xfrm>
        </p:grpSpPr>
        <p:sp>
          <p:nvSpPr>
            <p:cNvPr id="4194" name="Freeform: Shape 4193">
              <a:extLst>
                <a:ext uri="{FF2B5EF4-FFF2-40B4-BE49-F238E27FC236}">
                  <a16:creationId xmlns:a16="http://schemas.microsoft.com/office/drawing/2014/main" id="{E46E97D0-1B6A-4BDD-A107-805DC3CAFFDD}"/>
                </a:ext>
              </a:extLst>
            </p:cNvPr>
            <p:cNvSpPr/>
            <p:nvPr/>
          </p:nvSpPr>
          <p:spPr>
            <a:xfrm>
              <a:off x="839107"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195" name="Freeform: Shape 4194">
              <a:extLst>
                <a:ext uri="{FF2B5EF4-FFF2-40B4-BE49-F238E27FC236}">
                  <a16:creationId xmlns:a16="http://schemas.microsoft.com/office/drawing/2014/main" id="{B1BC04B8-1ACE-47B5-8EC8-8090FEABFAF4}"/>
                </a:ext>
              </a:extLst>
            </p:cNvPr>
            <p:cNvSpPr/>
            <p:nvPr/>
          </p:nvSpPr>
          <p:spPr>
            <a:xfrm>
              <a:off x="886125" y="1021364"/>
              <a:ext cx="58212" cy="67167"/>
            </a:xfrm>
            <a:custGeom>
              <a:avLst/>
              <a:gdLst>
                <a:gd name="connsiteX0" fmla="*/ 29106 w 58211"/>
                <a:gd name="connsiteY0" fmla="*/ 71309 h 67167"/>
                <a:gd name="connsiteX1" fmla="*/ 28210 w 58211"/>
                <a:gd name="connsiteY1" fmla="*/ 71309 h 67167"/>
                <a:gd name="connsiteX2" fmla="*/ 12986 w 58211"/>
                <a:gd name="connsiteY2" fmla="*/ 65040 h 67167"/>
                <a:gd name="connsiteX3" fmla="*/ 0 w 58211"/>
                <a:gd name="connsiteY3" fmla="*/ 45786 h 67167"/>
                <a:gd name="connsiteX4" fmla="*/ 0 w 58211"/>
                <a:gd name="connsiteY4" fmla="*/ 13993 h 67167"/>
                <a:gd name="connsiteX5" fmla="*/ 2239 w 58211"/>
                <a:gd name="connsiteY5" fmla="*/ 11754 h 67167"/>
                <a:gd name="connsiteX6" fmla="*/ 10299 w 58211"/>
                <a:gd name="connsiteY6" fmla="*/ 11754 h 67167"/>
                <a:gd name="connsiteX7" fmla="*/ 26419 w 58211"/>
                <a:gd name="connsiteY7" fmla="*/ 1903 h 67167"/>
                <a:gd name="connsiteX8" fmla="*/ 26867 w 58211"/>
                <a:gd name="connsiteY8" fmla="*/ 1008 h 67167"/>
                <a:gd name="connsiteX9" fmla="*/ 30897 w 58211"/>
                <a:gd name="connsiteY9" fmla="*/ 1008 h 67167"/>
                <a:gd name="connsiteX10" fmla="*/ 31345 w 58211"/>
                <a:gd name="connsiteY10" fmla="*/ 1903 h 67167"/>
                <a:gd name="connsiteX11" fmla="*/ 47465 w 58211"/>
                <a:gd name="connsiteY11" fmla="*/ 11754 h 67167"/>
                <a:gd name="connsiteX12" fmla="*/ 55973 w 58211"/>
                <a:gd name="connsiteY12" fmla="*/ 11754 h 67167"/>
                <a:gd name="connsiteX13" fmla="*/ 58212 w 58211"/>
                <a:gd name="connsiteY13" fmla="*/ 13993 h 67167"/>
                <a:gd name="connsiteX14" fmla="*/ 58212 w 58211"/>
                <a:gd name="connsiteY14" fmla="*/ 45786 h 67167"/>
                <a:gd name="connsiteX15" fmla="*/ 45226 w 58211"/>
                <a:gd name="connsiteY15" fmla="*/ 65040 h 67167"/>
                <a:gd name="connsiteX16" fmla="*/ 45226 w 58211"/>
                <a:gd name="connsiteY16" fmla="*/ 65040 h 67167"/>
                <a:gd name="connsiteX17" fmla="*/ 30001 w 58211"/>
                <a:gd name="connsiteY17" fmla="*/ 71309 h 67167"/>
                <a:gd name="connsiteX18" fmla="*/ 29106 w 58211"/>
                <a:gd name="connsiteY18" fmla="*/ 71309 h 67167"/>
                <a:gd name="connsiteX19" fmla="*/ 4478 w 58211"/>
                <a:gd name="connsiteY19" fmla="*/ 16232 h 67167"/>
                <a:gd name="connsiteX20" fmla="*/ 4478 w 58211"/>
                <a:gd name="connsiteY20" fmla="*/ 45786 h 67167"/>
                <a:gd name="connsiteX21" fmla="*/ 14777 w 58211"/>
                <a:gd name="connsiteY21" fmla="*/ 61010 h 67167"/>
                <a:gd name="connsiteX22" fmla="*/ 29106 w 58211"/>
                <a:gd name="connsiteY22" fmla="*/ 66831 h 67167"/>
                <a:gd name="connsiteX23" fmla="*/ 43435 w 58211"/>
                <a:gd name="connsiteY23" fmla="*/ 61010 h 67167"/>
                <a:gd name="connsiteX24" fmla="*/ 53734 w 58211"/>
                <a:gd name="connsiteY24" fmla="*/ 45786 h 67167"/>
                <a:gd name="connsiteX25" fmla="*/ 53734 w 58211"/>
                <a:gd name="connsiteY25" fmla="*/ 16232 h 67167"/>
                <a:gd name="connsiteX26" fmla="*/ 47913 w 58211"/>
                <a:gd name="connsiteY26" fmla="*/ 16232 h 67167"/>
                <a:gd name="connsiteX27" fmla="*/ 29106 w 58211"/>
                <a:gd name="connsiteY27" fmla="*/ 6381 h 67167"/>
                <a:gd name="connsiteX28" fmla="*/ 10299 w 58211"/>
                <a:gd name="connsiteY28" fmla="*/ 16232 h 67167"/>
                <a:gd name="connsiteX29" fmla="*/ 4478 w 58211"/>
                <a:gd name="connsiteY29" fmla="*/ 16232 h 67167"/>
                <a:gd name="connsiteX30" fmla="*/ 44330 w 58211"/>
                <a:gd name="connsiteY30" fmla="*/ 63249 h 67167"/>
                <a:gd name="connsiteX31" fmla="*/ 44330 w 58211"/>
                <a:gd name="connsiteY31" fmla="*/ 63249 h 67167"/>
                <a:gd name="connsiteX32" fmla="*/ 44330 w 58211"/>
                <a:gd name="connsiteY32" fmla="*/ 63249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8211" h="67167">
                  <a:moveTo>
                    <a:pt x="29106" y="71309"/>
                  </a:moveTo>
                  <a:cubicBezTo>
                    <a:pt x="28658" y="71309"/>
                    <a:pt x="28658" y="71309"/>
                    <a:pt x="28210" y="71309"/>
                  </a:cubicBezTo>
                  <a:lnTo>
                    <a:pt x="12986" y="65040"/>
                  </a:lnTo>
                  <a:cubicBezTo>
                    <a:pt x="4926" y="61906"/>
                    <a:pt x="0" y="54294"/>
                    <a:pt x="0" y="45786"/>
                  </a:cubicBezTo>
                  <a:lnTo>
                    <a:pt x="0" y="13993"/>
                  </a:lnTo>
                  <a:cubicBezTo>
                    <a:pt x="0" y="12650"/>
                    <a:pt x="896" y="11754"/>
                    <a:pt x="2239" y="11754"/>
                  </a:cubicBezTo>
                  <a:lnTo>
                    <a:pt x="10299" y="11754"/>
                  </a:lnTo>
                  <a:cubicBezTo>
                    <a:pt x="17016" y="11754"/>
                    <a:pt x="23285" y="7724"/>
                    <a:pt x="26419" y="1903"/>
                  </a:cubicBezTo>
                  <a:lnTo>
                    <a:pt x="26867" y="1008"/>
                  </a:lnTo>
                  <a:cubicBezTo>
                    <a:pt x="27762" y="-336"/>
                    <a:pt x="30001" y="-336"/>
                    <a:pt x="30897" y="1008"/>
                  </a:cubicBezTo>
                  <a:lnTo>
                    <a:pt x="31345" y="1903"/>
                  </a:lnTo>
                  <a:cubicBezTo>
                    <a:pt x="34479" y="8172"/>
                    <a:pt x="40748" y="11754"/>
                    <a:pt x="47465" y="11754"/>
                  </a:cubicBezTo>
                  <a:lnTo>
                    <a:pt x="55973" y="11754"/>
                  </a:lnTo>
                  <a:cubicBezTo>
                    <a:pt x="57316" y="11754"/>
                    <a:pt x="58212" y="12650"/>
                    <a:pt x="58212" y="13993"/>
                  </a:cubicBezTo>
                  <a:lnTo>
                    <a:pt x="58212" y="45786"/>
                  </a:lnTo>
                  <a:cubicBezTo>
                    <a:pt x="58212" y="54294"/>
                    <a:pt x="53286" y="61906"/>
                    <a:pt x="45226" y="65040"/>
                  </a:cubicBezTo>
                  <a:lnTo>
                    <a:pt x="45226" y="65040"/>
                  </a:lnTo>
                  <a:lnTo>
                    <a:pt x="30001" y="71309"/>
                  </a:lnTo>
                  <a:cubicBezTo>
                    <a:pt x="29554" y="71309"/>
                    <a:pt x="29554" y="71309"/>
                    <a:pt x="29106" y="71309"/>
                  </a:cubicBezTo>
                  <a:close/>
                  <a:moveTo>
                    <a:pt x="4478" y="16232"/>
                  </a:moveTo>
                  <a:lnTo>
                    <a:pt x="4478" y="45786"/>
                  </a:lnTo>
                  <a:cubicBezTo>
                    <a:pt x="4478" y="52502"/>
                    <a:pt x="8508" y="58324"/>
                    <a:pt x="14777" y="61010"/>
                  </a:cubicBezTo>
                  <a:lnTo>
                    <a:pt x="29106" y="66831"/>
                  </a:lnTo>
                  <a:lnTo>
                    <a:pt x="43435" y="61010"/>
                  </a:lnTo>
                  <a:cubicBezTo>
                    <a:pt x="49704" y="58324"/>
                    <a:pt x="53734" y="52502"/>
                    <a:pt x="53734" y="45786"/>
                  </a:cubicBezTo>
                  <a:lnTo>
                    <a:pt x="53734" y="16232"/>
                  </a:lnTo>
                  <a:lnTo>
                    <a:pt x="47913" y="16232"/>
                  </a:lnTo>
                  <a:cubicBezTo>
                    <a:pt x="40300" y="16232"/>
                    <a:pt x="33584" y="12650"/>
                    <a:pt x="29106" y="6381"/>
                  </a:cubicBezTo>
                  <a:cubicBezTo>
                    <a:pt x="25076" y="12650"/>
                    <a:pt x="17911" y="16232"/>
                    <a:pt x="10299" y="16232"/>
                  </a:cubicBezTo>
                  <a:lnTo>
                    <a:pt x="4478" y="16232"/>
                  </a:lnTo>
                  <a:close/>
                  <a:moveTo>
                    <a:pt x="44330" y="63249"/>
                  </a:moveTo>
                  <a:lnTo>
                    <a:pt x="44330" y="63249"/>
                  </a:lnTo>
                  <a:lnTo>
                    <a:pt x="44330" y="63249"/>
                  </a:lnTo>
                  <a:close/>
                </a:path>
              </a:pathLst>
            </a:custGeom>
            <a:solidFill>
              <a:srgbClr val="231F20"/>
            </a:solidFill>
            <a:ln w="4474" cap="flat">
              <a:noFill/>
              <a:prstDash val="solid"/>
              <a:miter/>
            </a:ln>
          </p:spPr>
          <p:txBody>
            <a:bodyPr rtlCol="0" anchor="ctr"/>
            <a:lstStyle/>
            <a:p>
              <a:endParaRPr lang="en-US"/>
            </a:p>
          </p:txBody>
        </p:sp>
      </p:grpSp>
      <p:grpSp>
        <p:nvGrpSpPr>
          <p:cNvPr id="4196" name="Group 4195">
            <a:extLst>
              <a:ext uri="{FF2B5EF4-FFF2-40B4-BE49-F238E27FC236}">
                <a16:creationId xmlns:a16="http://schemas.microsoft.com/office/drawing/2014/main" id="{B6364A66-BAB6-4FA0-8992-158BB22E0914}"/>
              </a:ext>
              <a:ext uri="{C183D7F6-B498-43B3-948B-1728B52AA6E4}">
                <adec:decorative xmlns:adec="http://schemas.microsoft.com/office/drawing/2017/decorative" val="1"/>
              </a:ext>
            </a:extLst>
          </p:cNvPr>
          <p:cNvGrpSpPr>
            <a:grpSpLocks noChangeAspect="1"/>
          </p:cNvGrpSpPr>
          <p:nvPr/>
        </p:nvGrpSpPr>
        <p:grpSpPr>
          <a:xfrm>
            <a:off x="1857805" y="1729600"/>
            <a:ext cx="152246" cy="111945"/>
            <a:chOff x="1898559" y="994161"/>
            <a:chExt cx="152246" cy="111945"/>
          </a:xfrm>
        </p:grpSpPr>
        <p:sp>
          <p:nvSpPr>
            <p:cNvPr id="4197" name="Freeform: Shape 4196">
              <a:extLst>
                <a:ext uri="{FF2B5EF4-FFF2-40B4-BE49-F238E27FC236}">
                  <a16:creationId xmlns:a16="http://schemas.microsoft.com/office/drawing/2014/main" id="{3E2F7608-D1C0-41CE-A226-70EE8B8BF032}"/>
                </a:ext>
              </a:extLst>
            </p:cNvPr>
            <p:cNvSpPr/>
            <p:nvPr/>
          </p:nvSpPr>
          <p:spPr>
            <a:xfrm>
              <a:off x="1898559"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198" name="Freeform: Shape 4197">
              <a:extLst>
                <a:ext uri="{FF2B5EF4-FFF2-40B4-BE49-F238E27FC236}">
                  <a16:creationId xmlns:a16="http://schemas.microsoft.com/office/drawing/2014/main" id="{7225A30B-0FBF-47F7-A814-0893B4809E50}"/>
                </a:ext>
              </a:extLst>
            </p:cNvPr>
            <p:cNvSpPr/>
            <p:nvPr/>
          </p:nvSpPr>
          <p:spPr>
            <a:xfrm>
              <a:off x="1945576" y="1021028"/>
              <a:ext cx="58212" cy="71645"/>
            </a:xfrm>
            <a:custGeom>
              <a:avLst/>
              <a:gdLst>
                <a:gd name="connsiteX0" fmla="*/ 55973 w 58211"/>
                <a:gd name="connsiteY0" fmla="*/ 26867 h 71645"/>
                <a:gd name="connsiteX1" fmla="*/ 51495 w 58211"/>
                <a:gd name="connsiteY1" fmla="*/ 26867 h 71645"/>
                <a:gd name="connsiteX2" fmla="*/ 51495 w 58211"/>
                <a:gd name="connsiteY2" fmla="*/ 22389 h 71645"/>
                <a:gd name="connsiteX3" fmla="*/ 29106 w 58211"/>
                <a:gd name="connsiteY3" fmla="*/ 0 h 71645"/>
                <a:gd name="connsiteX4" fmla="*/ 6717 w 58211"/>
                <a:gd name="connsiteY4" fmla="*/ 22389 h 71645"/>
                <a:gd name="connsiteX5" fmla="*/ 6717 w 58211"/>
                <a:gd name="connsiteY5" fmla="*/ 26867 h 71645"/>
                <a:gd name="connsiteX6" fmla="*/ 2239 w 58211"/>
                <a:gd name="connsiteY6" fmla="*/ 26867 h 71645"/>
                <a:gd name="connsiteX7" fmla="*/ 0 w 58211"/>
                <a:gd name="connsiteY7" fmla="*/ 29106 h 71645"/>
                <a:gd name="connsiteX8" fmla="*/ 0 w 58211"/>
                <a:gd name="connsiteY8" fmla="*/ 69406 h 71645"/>
                <a:gd name="connsiteX9" fmla="*/ 2239 w 58211"/>
                <a:gd name="connsiteY9" fmla="*/ 71645 h 71645"/>
                <a:gd name="connsiteX10" fmla="*/ 55973 w 58211"/>
                <a:gd name="connsiteY10" fmla="*/ 71645 h 71645"/>
                <a:gd name="connsiteX11" fmla="*/ 58212 w 58211"/>
                <a:gd name="connsiteY11" fmla="*/ 69406 h 71645"/>
                <a:gd name="connsiteX12" fmla="*/ 58212 w 58211"/>
                <a:gd name="connsiteY12" fmla="*/ 29106 h 71645"/>
                <a:gd name="connsiteX13" fmla="*/ 55973 w 58211"/>
                <a:gd name="connsiteY13" fmla="*/ 26867 h 71645"/>
                <a:gd name="connsiteX14" fmla="*/ 11195 w 58211"/>
                <a:gd name="connsiteY14" fmla="*/ 22389 h 71645"/>
                <a:gd name="connsiteX15" fmla="*/ 29106 w 58211"/>
                <a:gd name="connsiteY15" fmla="*/ 4478 h 71645"/>
                <a:gd name="connsiteX16" fmla="*/ 47017 w 58211"/>
                <a:gd name="connsiteY16" fmla="*/ 22389 h 71645"/>
                <a:gd name="connsiteX17" fmla="*/ 47017 w 58211"/>
                <a:gd name="connsiteY17" fmla="*/ 26867 h 71645"/>
                <a:gd name="connsiteX18" fmla="*/ 11195 w 58211"/>
                <a:gd name="connsiteY18" fmla="*/ 26867 h 71645"/>
                <a:gd name="connsiteX19" fmla="*/ 11195 w 58211"/>
                <a:gd name="connsiteY19" fmla="*/ 22389 h 71645"/>
                <a:gd name="connsiteX20" fmla="*/ 53734 w 58211"/>
                <a:gd name="connsiteY20" fmla="*/ 67167 h 71645"/>
                <a:gd name="connsiteX21" fmla="*/ 4478 w 58211"/>
                <a:gd name="connsiteY21" fmla="*/ 67167 h 71645"/>
                <a:gd name="connsiteX22" fmla="*/ 4478 w 58211"/>
                <a:gd name="connsiteY22" fmla="*/ 31345 h 71645"/>
                <a:gd name="connsiteX23" fmla="*/ 8956 w 58211"/>
                <a:gd name="connsiteY23" fmla="*/ 31345 h 71645"/>
                <a:gd name="connsiteX24" fmla="*/ 49256 w 58211"/>
                <a:gd name="connsiteY24" fmla="*/ 31345 h 71645"/>
                <a:gd name="connsiteX25" fmla="*/ 53734 w 58211"/>
                <a:gd name="connsiteY25" fmla="*/ 31345 h 71645"/>
                <a:gd name="connsiteX26" fmla="*/ 53734 w 58211"/>
                <a:gd name="connsiteY26"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11" h="71645">
                  <a:moveTo>
                    <a:pt x="55973" y="26867"/>
                  </a:moveTo>
                  <a:lnTo>
                    <a:pt x="51495" y="26867"/>
                  </a:lnTo>
                  <a:lnTo>
                    <a:pt x="51495" y="22389"/>
                  </a:lnTo>
                  <a:cubicBezTo>
                    <a:pt x="51495" y="9851"/>
                    <a:pt x="41644" y="0"/>
                    <a:pt x="29106" y="0"/>
                  </a:cubicBezTo>
                  <a:cubicBezTo>
                    <a:pt x="16568" y="0"/>
                    <a:pt x="6717" y="9851"/>
                    <a:pt x="6717" y="22389"/>
                  </a:cubicBezTo>
                  <a:lnTo>
                    <a:pt x="6717" y="26867"/>
                  </a:lnTo>
                  <a:lnTo>
                    <a:pt x="2239" y="26867"/>
                  </a:lnTo>
                  <a:cubicBezTo>
                    <a:pt x="895" y="26867"/>
                    <a:pt x="0" y="27762"/>
                    <a:pt x="0" y="29106"/>
                  </a:cubicBezTo>
                  <a:lnTo>
                    <a:pt x="0" y="69406"/>
                  </a:lnTo>
                  <a:cubicBezTo>
                    <a:pt x="0" y="70750"/>
                    <a:pt x="895" y="71645"/>
                    <a:pt x="2239" y="71645"/>
                  </a:cubicBezTo>
                  <a:lnTo>
                    <a:pt x="55973" y="71645"/>
                  </a:lnTo>
                  <a:cubicBezTo>
                    <a:pt x="57316" y="71645"/>
                    <a:pt x="58212" y="70750"/>
                    <a:pt x="58212" y="69406"/>
                  </a:cubicBezTo>
                  <a:lnTo>
                    <a:pt x="58212" y="29106"/>
                  </a:lnTo>
                  <a:cubicBezTo>
                    <a:pt x="58212" y="27762"/>
                    <a:pt x="57316" y="26867"/>
                    <a:pt x="55973" y="26867"/>
                  </a:cubicBezTo>
                  <a:close/>
                  <a:moveTo>
                    <a:pt x="11195" y="22389"/>
                  </a:moveTo>
                  <a:cubicBezTo>
                    <a:pt x="11195" y="12538"/>
                    <a:pt x="19255" y="4478"/>
                    <a:pt x="29106" y="4478"/>
                  </a:cubicBezTo>
                  <a:cubicBezTo>
                    <a:pt x="38957" y="4478"/>
                    <a:pt x="47017" y="12538"/>
                    <a:pt x="47017" y="22389"/>
                  </a:cubicBezTo>
                  <a:lnTo>
                    <a:pt x="47017" y="26867"/>
                  </a:lnTo>
                  <a:lnTo>
                    <a:pt x="11195" y="26867"/>
                  </a:lnTo>
                  <a:lnTo>
                    <a:pt x="11195" y="22389"/>
                  </a:lnTo>
                  <a:close/>
                  <a:moveTo>
                    <a:pt x="53734" y="67167"/>
                  </a:moveTo>
                  <a:lnTo>
                    <a:pt x="4478" y="67167"/>
                  </a:lnTo>
                  <a:lnTo>
                    <a:pt x="4478" y="31345"/>
                  </a:lnTo>
                  <a:lnTo>
                    <a:pt x="8956" y="31345"/>
                  </a:lnTo>
                  <a:lnTo>
                    <a:pt x="49256" y="31345"/>
                  </a:lnTo>
                  <a:lnTo>
                    <a:pt x="53734" y="31345"/>
                  </a:lnTo>
                  <a:lnTo>
                    <a:pt x="53734" y="67167"/>
                  </a:lnTo>
                  <a:close/>
                </a:path>
              </a:pathLst>
            </a:custGeom>
            <a:solidFill>
              <a:srgbClr val="231F20"/>
            </a:solidFill>
            <a:ln w="4474" cap="flat">
              <a:noFill/>
              <a:prstDash val="solid"/>
              <a:miter/>
            </a:ln>
          </p:spPr>
          <p:txBody>
            <a:bodyPr rtlCol="0" anchor="ctr"/>
            <a:lstStyle/>
            <a:p>
              <a:endParaRPr lang="en-US"/>
            </a:p>
          </p:txBody>
        </p:sp>
        <p:sp>
          <p:nvSpPr>
            <p:cNvPr id="4199" name="Freeform: Shape 4198">
              <a:extLst>
                <a:ext uri="{FF2B5EF4-FFF2-40B4-BE49-F238E27FC236}">
                  <a16:creationId xmlns:a16="http://schemas.microsoft.com/office/drawing/2014/main" id="{CC7F6592-F629-4CC3-8889-4588C222B396}"/>
                </a:ext>
              </a:extLst>
            </p:cNvPr>
            <p:cNvSpPr/>
            <p:nvPr/>
          </p:nvSpPr>
          <p:spPr>
            <a:xfrm>
              <a:off x="1967965" y="1063568"/>
              <a:ext cx="13433" cy="17911"/>
            </a:xfrm>
            <a:custGeom>
              <a:avLst/>
              <a:gdLst>
                <a:gd name="connsiteX0" fmla="*/ 13433 w 13433"/>
                <a:gd name="connsiteY0" fmla="*/ 6717 h 17911"/>
                <a:gd name="connsiteX1" fmla="*/ 6717 w 13433"/>
                <a:gd name="connsiteY1" fmla="*/ 0 h 17911"/>
                <a:gd name="connsiteX2" fmla="*/ 0 w 13433"/>
                <a:gd name="connsiteY2" fmla="*/ 6717 h 17911"/>
                <a:gd name="connsiteX3" fmla="*/ 4478 w 13433"/>
                <a:gd name="connsiteY3" fmla="*/ 12986 h 17911"/>
                <a:gd name="connsiteX4" fmla="*/ 4478 w 13433"/>
                <a:gd name="connsiteY4" fmla="*/ 20150 h 17911"/>
                <a:gd name="connsiteX5" fmla="*/ 8956 w 13433"/>
                <a:gd name="connsiteY5" fmla="*/ 20150 h 17911"/>
                <a:gd name="connsiteX6" fmla="*/ 8956 w 13433"/>
                <a:gd name="connsiteY6" fmla="*/ 12986 h 17911"/>
                <a:gd name="connsiteX7" fmla="*/ 13433 w 13433"/>
                <a:gd name="connsiteY7" fmla="*/ 6717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7911">
                  <a:moveTo>
                    <a:pt x="13433" y="6717"/>
                  </a:moveTo>
                  <a:cubicBezTo>
                    <a:pt x="13433" y="3134"/>
                    <a:pt x="10299" y="0"/>
                    <a:pt x="6717" y="0"/>
                  </a:cubicBezTo>
                  <a:cubicBezTo>
                    <a:pt x="3134" y="0"/>
                    <a:pt x="0" y="3134"/>
                    <a:pt x="0" y="6717"/>
                  </a:cubicBezTo>
                  <a:cubicBezTo>
                    <a:pt x="0" y="9851"/>
                    <a:pt x="1791" y="12090"/>
                    <a:pt x="4478" y="12986"/>
                  </a:cubicBezTo>
                  <a:lnTo>
                    <a:pt x="4478" y="20150"/>
                  </a:lnTo>
                  <a:lnTo>
                    <a:pt x="8956" y="20150"/>
                  </a:lnTo>
                  <a:lnTo>
                    <a:pt x="8956" y="12986"/>
                  </a:lnTo>
                  <a:cubicBezTo>
                    <a:pt x="11642" y="12090"/>
                    <a:pt x="13433" y="9851"/>
                    <a:pt x="13433" y="6717"/>
                  </a:cubicBezTo>
                  <a:close/>
                </a:path>
              </a:pathLst>
            </a:custGeom>
            <a:solidFill>
              <a:srgbClr val="231F20"/>
            </a:solidFill>
            <a:ln w="4474" cap="flat">
              <a:noFill/>
              <a:prstDash val="solid"/>
              <a:miter/>
            </a:ln>
          </p:spPr>
          <p:txBody>
            <a:bodyPr rtlCol="0" anchor="ctr"/>
            <a:lstStyle/>
            <a:p>
              <a:endParaRPr lang="en-US"/>
            </a:p>
          </p:txBody>
        </p:sp>
      </p:grpSp>
      <p:grpSp>
        <p:nvGrpSpPr>
          <p:cNvPr id="4200" name="Group 4199">
            <a:extLst>
              <a:ext uri="{FF2B5EF4-FFF2-40B4-BE49-F238E27FC236}">
                <a16:creationId xmlns:a16="http://schemas.microsoft.com/office/drawing/2014/main" id="{0AA65452-E038-4108-A9BC-1428A827C0B0}"/>
              </a:ext>
              <a:ext uri="{C183D7F6-B498-43B3-948B-1728B52AA6E4}">
                <adec:decorative xmlns:adec="http://schemas.microsoft.com/office/drawing/2017/decorative" val="1"/>
              </a:ext>
            </a:extLst>
          </p:cNvPr>
          <p:cNvGrpSpPr>
            <a:grpSpLocks noChangeAspect="1"/>
          </p:cNvGrpSpPr>
          <p:nvPr/>
        </p:nvGrpSpPr>
        <p:grpSpPr>
          <a:xfrm>
            <a:off x="3976709" y="1716167"/>
            <a:ext cx="152246" cy="138812"/>
            <a:chOff x="4017463" y="980728"/>
            <a:chExt cx="152246" cy="138812"/>
          </a:xfrm>
        </p:grpSpPr>
        <p:sp>
          <p:nvSpPr>
            <p:cNvPr id="4201" name="Freeform: Shape 4200">
              <a:extLst>
                <a:ext uri="{FF2B5EF4-FFF2-40B4-BE49-F238E27FC236}">
                  <a16:creationId xmlns:a16="http://schemas.microsoft.com/office/drawing/2014/main" id="{9BEC31F9-BFE4-488E-B15B-48A3322B7161}"/>
                </a:ext>
              </a:extLst>
            </p:cNvPr>
            <p:cNvSpPr/>
            <p:nvPr/>
          </p:nvSpPr>
          <p:spPr>
            <a:xfrm>
              <a:off x="4017463" y="1007595"/>
              <a:ext cx="152246" cy="111945"/>
            </a:xfrm>
            <a:custGeom>
              <a:avLst/>
              <a:gdLst>
                <a:gd name="connsiteX0" fmla="*/ 151798 w 152245"/>
                <a:gd name="connsiteY0" fmla="*/ 41196 h 111945"/>
                <a:gd name="connsiteX1" fmla="*/ 111498 w 152245"/>
                <a:gd name="connsiteY1" fmla="*/ 896 h 111945"/>
                <a:gd name="connsiteX2" fmla="*/ 109707 w 152245"/>
                <a:gd name="connsiteY2" fmla="*/ 0 h 111945"/>
                <a:gd name="connsiteX3" fmla="*/ 90452 w 152245"/>
                <a:gd name="connsiteY3" fmla="*/ 0 h 111945"/>
                <a:gd name="connsiteX4" fmla="*/ 88213 w 152245"/>
                <a:gd name="connsiteY4" fmla="*/ 2239 h 111945"/>
                <a:gd name="connsiteX5" fmla="*/ 88213 w 152245"/>
                <a:gd name="connsiteY5" fmla="*/ 13433 h 111945"/>
                <a:gd name="connsiteX6" fmla="*/ 90452 w 152245"/>
                <a:gd name="connsiteY6" fmla="*/ 15672 h 111945"/>
                <a:gd name="connsiteX7" fmla="*/ 92691 w 152245"/>
                <a:gd name="connsiteY7" fmla="*/ 13433 h 111945"/>
                <a:gd name="connsiteX8" fmla="*/ 92691 w 152245"/>
                <a:gd name="connsiteY8" fmla="*/ 4478 h 111945"/>
                <a:gd name="connsiteX9" fmla="*/ 108811 w 152245"/>
                <a:gd name="connsiteY9" fmla="*/ 4478 h 111945"/>
                <a:gd name="connsiteX10" fmla="*/ 144633 w 152245"/>
                <a:gd name="connsiteY10" fmla="*/ 40300 h 111945"/>
                <a:gd name="connsiteX11" fmla="*/ 123588 w 152245"/>
                <a:gd name="connsiteY11" fmla="*/ 40300 h 111945"/>
                <a:gd name="connsiteX12" fmla="*/ 107468 w 152245"/>
                <a:gd name="connsiteY12" fmla="*/ 56420 h 111945"/>
                <a:gd name="connsiteX13" fmla="*/ 107468 w 152245"/>
                <a:gd name="connsiteY13" fmla="*/ 67167 h 111945"/>
                <a:gd name="connsiteX14" fmla="*/ 44778 w 152245"/>
                <a:gd name="connsiteY14" fmla="*/ 67167 h 111945"/>
                <a:gd name="connsiteX15" fmla="*/ 44778 w 152245"/>
                <a:gd name="connsiteY15" fmla="*/ 56420 h 111945"/>
                <a:gd name="connsiteX16" fmla="*/ 28658 w 152245"/>
                <a:gd name="connsiteY16" fmla="*/ 40300 h 111945"/>
                <a:gd name="connsiteX17" fmla="*/ 7612 w 152245"/>
                <a:gd name="connsiteY17" fmla="*/ 40300 h 111945"/>
                <a:gd name="connsiteX18" fmla="*/ 43435 w 152245"/>
                <a:gd name="connsiteY18" fmla="*/ 4478 h 111945"/>
                <a:gd name="connsiteX19" fmla="*/ 60003 w 152245"/>
                <a:gd name="connsiteY19" fmla="*/ 4478 h 111945"/>
                <a:gd name="connsiteX20" fmla="*/ 60003 w 152245"/>
                <a:gd name="connsiteY20" fmla="*/ 13433 h 111945"/>
                <a:gd name="connsiteX21" fmla="*/ 62242 w 152245"/>
                <a:gd name="connsiteY21" fmla="*/ 15672 h 111945"/>
                <a:gd name="connsiteX22" fmla="*/ 64481 w 152245"/>
                <a:gd name="connsiteY22" fmla="*/ 13433 h 111945"/>
                <a:gd name="connsiteX23" fmla="*/ 64481 w 152245"/>
                <a:gd name="connsiteY23" fmla="*/ 2239 h 111945"/>
                <a:gd name="connsiteX24" fmla="*/ 62242 w 152245"/>
                <a:gd name="connsiteY24" fmla="*/ 0 h 111945"/>
                <a:gd name="connsiteX25" fmla="*/ 42539 w 152245"/>
                <a:gd name="connsiteY25" fmla="*/ 0 h 111945"/>
                <a:gd name="connsiteX26" fmla="*/ 40748 w 152245"/>
                <a:gd name="connsiteY26" fmla="*/ 448 h 111945"/>
                <a:gd name="connsiteX27" fmla="*/ 448 w 152245"/>
                <a:gd name="connsiteY27" fmla="*/ 40748 h 111945"/>
                <a:gd name="connsiteX28" fmla="*/ 0 w 152245"/>
                <a:gd name="connsiteY28" fmla="*/ 42539 h 111945"/>
                <a:gd name="connsiteX29" fmla="*/ 0 w 152245"/>
                <a:gd name="connsiteY29" fmla="*/ 95825 h 111945"/>
                <a:gd name="connsiteX30" fmla="*/ 16120 w 152245"/>
                <a:gd name="connsiteY30" fmla="*/ 111945 h 111945"/>
                <a:gd name="connsiteX31" fmla="*/ 135678 w 152245"/>
                <a:gd name="connsiteY31" fmla="*/ 111945 h 111945"/>
                <a:gd name="connsiteX32" fmla="*/ 151798 w 152245"/>
                <a:gd name="connsiteY32" fmla="*/ 95825 h 111945"/>
                <a:gd name="connsiteX33" fmla="*/ 151798 w 152245"/>
                <a:gd name="connsiteY33" fmla="*/ 42539 h 111945"/>
                <a:gd name="connsiteX34" fmla="*/ 151798 w 152245"/>
                <a:gd name="connsiteY34" fmla="*/ 41196 h 111945"/>
                <a:gd name="connsiteX35" fmla="*/ 136126 w 152245"/>
                <a:gd name="connsiteY35" fmla="*/ 107468 h 111945"/>
                <a:gd name="connsiteX36" fmla="*/ 16568 w 152245"/>
                <a:gd name="connsiteY36" fmla="*/ 107468 h 111945"/>
                <a:gd name="connsiteX37" fmla="*/ 4926 w 152245"/>
                <a:gd name="connsiteY37" fmla="*/ 95825 h 111945"/>
                <a:gd name="connsiteX38" fmla="*/ 4926 w 152245"/>
                <a:gd name="connsiteY38" fmla="*/ 44778 h 111945"/>
                <a:gd name="connsiteX39" fmla="*/ 29106 w 152245"/>
                <a:gd name="connsiteY39" fmla="*/ 44778 h 111945"/>
                <a:gd name="connsiteX40" fmla="*/ 40748 w 152245"/>
                <a:gd name="connsiteY40" fmla="*/ 56420 h 111945"/>
                <a:gd name="connsiteX41" fmla="*/ 40748 w 152245"/>
                <a:gd name="connsiteY41" fmla="*/ 69406 h 111945"/>
                <a:gd name="connsiteX42" fmla="*/ 42987 w 152245"/>
                <a:gd name="connsiteY42" fmla="*/ 71645 h 111945"/>
                <a:gd name="connsiteX43" fmla="*/ 110154 w 152245"/>
                <a:gd name="connsiteY43" fmla="*/ 71645 h 111945"/>
                <a:gd name="connsiteX44" fmla="*/ 112393 w 152245"/>
                <a:gd name="connsiteY44" fmla="*/ 69406 h 111945"/>
                <a:gd name="connsiteX45" fmla="*/ 112393 w 152245"/>
                <a:gd name="connsiteY45" fmla="*/ 56420 h 111945"/>
                <a:gd name="connsiteX46" fmla="*/ 124036 w 152245"/>
                <a:gd name="connsiteY46" fmla="*/ 44778 h 111945"/>
                <a:gd name="connsiteX47" fmla="*/ 148216 w 152245"/>
                <a:gd name="connsiteY47" fmla="*/ 44778 h 111945"/>
                <a:gd name="connsiteX48" fmla="*/ 148216 w 152245"/>
                <a:gd name="connsiteY48" fmla="*/ 95825 h 111945"/>
                <a:gd name="connsiteX49" fmla="*/ 136126 w 152245"/>
                <a:gd name="connsiteY49"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245" h="111945">
                  <a:moveTo>
                    <a:pt x="151798" y="41196"/>
                  </a:moveTo>
                  <a:lnTo>
                    <a:pt x="111498" y="896"/>
                  </a:lnTo>
                  <a:cubicBezTo>
                    <a:pt x="111050" y="0"/>
                    <a:pt x="110602" y="0"/>
                    <a:pt x="109707" y="0"/>
                  </a:cubicBezTo>
                  <a:lnTo>
                    <a:pt x="90452" y="0"/>
                  </a:lnTo>
                  <a:cubicBezTo>
                    <a:pt x="89109" y="0"/>
                    <a:pt x="88213" y="896"/>
                    <a:pt x="88213" y="2239"/>
                  </a:cubicBezTo>
                  <a:lnTo>
                    <a:pt x="88213" y="13433"/>
                  </a:lnTo>
                  <a:cubicBezTo>
                    <a:pt x="88213" y="14777"/>
                    <a:pt x="89109" y="15672"/>
                    <a:pt x="90452" y="15672"/>
                  </a:cubicBezTo>
                  <a:cubicBezTo>
                    <a:pt x="91795" y="15672"/>
                    <a:pt x="92691" y="14777"/>
                    <a:pt x="92691" y="13433"/>
                  </a:cubicBezTo>
                  <a:lnTo>
                    <a:pt x="92691" y="4478"/>
                  </a:lnTo>
                  <a:lnTo>
                    <a:pt x="108811" y="4478"/>
                  </a:lnTo>
                  <a:lnTo>
                    <a:pt x="144633" y="40300"/>
                  </a:lnTo>
                  <a:lnTo>
                    <a:pt x="123588" y="40300"/>
                  </a:lnTo>
                  <a:cubicBezTo>
                    <a:pt x="114632" y="40300"/>
                    <a:pt x="107468" y="47465"/>
                    <a:pt x="107468" y="56420"/>
                  </a:cubicBezTo>
                  <a:lnTo>
                    <a:pt x="107468" y="67167"/>
                  </a:lnTo>
                  <a:lnTo>
                    <a:pt x="44778" y="67167"/>
                  </a:lnTo>
                  <a:lnTo>
                    <a:pt x="44778" y="56420"/>
                  </a:lnTo>
                  <a:cubicBezTo>
                    <a:pt x="44778" y="47465"/>
                    <a:pt x="37614" y="40300"/>
                    <a:pt x="28658" y="40300"/>
                  </a:cubicBezTo>
                  <a:lnTo>
                    <a:pt x="7612" y="40300"/>
                  </a:lnTo>
                  <a:lnTo>
                    <a:pt x="43435" y="4478"/>
                  </a:lnTo>
                  <a:lnTo>
                    <a:pt x="60003" y="4478"/>
                  </a:lnTo>
                  <a:lnTo>
                    <a:pt x="60003" y="13433"/>
                  </a:lnTo>
                  <a:cubicBezTo>
                    <a:pt x="60003" y="14777"/>
                    <a:pt x="60898" y="15672"/>
                    <a:pt x="62242" y="15672"/>
                  </a:cubicBezTo>
                  <a:cubicBezTo>
                    <a:pt x="63585" y="15672"/>
                    <a:pt x="64481" y="14777"/>
                    <a:pt x="64481" y="13433"/>
                  </a:cubicBezTo>
                  <a:lnTo>
                    <a:pt x="64481" y="2239"/>
                  </a:lnTo>
                  <a:cubicBezTo>
                    <a:pt x="64481" y="896"/>
                    <a:pt x="63585" y="0"/>
                    <a:pt x="62242" y="0"/>
                  </a:cubicBezTo>
                  <a:lnTo>
                    <a:pt x="42539" y="0"/>
                  </a:lnTo>
                  <a:cubicBezTo>
                    <a:pt x="42092" y="0"/>
                    <a:pt x="41196" y="448"/>
                    <a:pt x="40748" y="448"/>
                  </a:cubicBezTo>
                  <a:lnTo>
                    <a:pt x="448" y="40748"/>
                  </a:lnTo>
                  <a:cubicBezTo>
                    <a:pt x="0" y="41196"/>
                    <a:pt x="0" y="41644"/>
                    <a:pt x="0" y="42539"/>
                  </a:cubicBezTo>
                  <a:lnTo>
                    <a:pt x="0" y="95825"/>
                  </a:lnTo>
                  <a:cubicBezTo>
                    <a:pt x="0" y="104781"/>
                    <a:pt x="7165" y="111945"/>
                    <a:pt x="16120" y="111945"/>
                  </a:cubicBezTo>
                  <a:lnTo>
                    <a:pt x="135678" y="111945"/>
                  </a:lnTo>
                  <a:cubicBezTo>
                    <a:pt x="144633" y="111945"/>
                    <a:pt x="151798" y="104781"/>
                    <a:pt x="151798" y="95825"/>
                  </a:cubicBezTo>
                  <a:lnTo>
                    <a:pt x="151798" y="42539"/>
                  </a:lnTo>
                  <a:cubicBezTo>
                    <a:pt x="152694" y="42091"/>
                    <a:pt x="152246" y="41196"/>
                    <a:pt x="151798" y="41196"/>
                  </a:cubicBezTo>
                  <a:close/>
                  <a:moveTo>
                    <a:pt x="136126" y="107468"/>
                  </a:moveTo>
                  <a:lnTo>
                    <a:pt x="16568" y="107468"/>
                  </a:lnTo>
                  <a:cubicBezTo>
                    <a:pt x="9851" y="107468"/>
                    <a:pt x="4926" y="102094"/>
                    <a:pt x="4926" y="95825"/>
                  </a:cubicBezTo>
                  <a:lnTo>
                    <a:pt x="4926" y="44778"/>
                  </a:lnTo>
                  <a:lnTo>
                    <a:pt x="29106" y="44778"/>
                  </a:lnTo>
                  <a:cubicBezTo>
                    <a:pt x="35375" y="44778"/>
                    <a:pt x="40748" y="50152"/>
                    <a:pt x="40748" y="56420"/>
                  </a:cubicBezTo>
                  <a:lnTo>
                    <a:pt x="40748" y="69406"/>
                  </a:lnTo>
                  <a:cubicBezTo>
                    <a:pt x="40748" y="70750"/>
                    <a:pt x="41644" y="71645"/>
                    <a:pt x="42987" y="71645"/>
                  </a:cubicBezTo>
                  <a:lnTo>
                    <a:pt x="110154" y="71645"/>
                  </a:lnTo>
                  <a:cubicBezTo>
                    <a:pt x="111498" y="71645"/>
                    <a:pt x="112393" y="70750"/>
                    <a:pt x="112393" y="69406"/>
                  </a:cubicBezTo>
                  <a:lnTo>
                    <a:pt x="112393" y="56420"/>
                  </a:lnTo>
                  <a:cubicBezTo>
                    <a:pt x="112393" y="50152"/>
                    <a:pt x="117767" y="44778"/>
                    <a:pt x="124036" y="44778"/>
                  </a:cubicBezTo>
                  <a:lnTo>
                    <a:pt x="148216" y="44778"/>
                  </a:lnTo>
                  <a:lnTo>
                    <a:pt x="148216" y="95825"/>
                  </a:lnTo>
                  <a:cubicBezTo>
                    <a:pt x="148216" y="102094"/>
                    <a:pt x="142843" y="107468"/>
                    <a:pt x="136126" y="107468"/>
                  </a:cubicBezTo>
                  <a:close/>
                </a:path>
              </a:pathLst>
            </a:custGeom>
            <a:solidFill>
              <a:srgbClr val="231F20"/>
            </a:solidFill>
            <a:ln w="4474" cap="flat">
              <a:noFill/>
              <a:prstDash val="solid"/>
              <a:miter/>
            </a:ln>
          </p:spPr>
          <p:txBody>
            <a:bodyPr rtlCol="0" anchor="ctr"/>
            <a:lstStyle/>
            <a:p>
              <a:endParaRPr lang="en-US"/>
            </a:p>
          </p:txBody>
        </p:sp>
        <p:sp>
          <p:nvSpPr>
            <p:cNvPr id="4202" name="Freeform: Shape 4201">
              <a:extLst>
                <a:ext uri="{FF2B5EF4-FFF2-40B4-BE49-F238E27FC236}">
                  <a16:creationId xmlns:a16="http://schemas.microsoft.com/office/drawing/2014/main" id="{B3D232EF-11E5-4CB8-80F7-128EC11E708C}"/>
                </a:ext>
              </a:extLst>
            </p:cNvPr>
            <p:cNvSpPr/>
            <p:nvPr/>
          </p:nvSpPr>
          <p:spPr>
            <a:xfrm>
              <a:off x="4076794" y="980728"/>
              <a:ext cx="31345" cy="80601"/>
            </a:xfrm>
            <a:custGeom>
              <a:avLst/>
              <a:gdLst>
                <a:gd name="connsiteX0" fmla="*/ 34703 w 31344"/>
                <a:gd name="connsiteY0" fmla="*/ 63585 h 80600"/>
                <a:gd name="connsiteX1" fmla="*/ 31568 w 31344"/>
                <a:gd name="connsiteY1" fmla="*/ 63585 h 80600"/>
                <a:gd name="connsiteX2" fmla="*/ 19926 w 31344"/>
                <a:gd name="connsiteY2" fmla="*/ 75227 h 80600"/>
                <a:gd name="connsiteX3" fmla="*/ 19926 w 31344"/>
                <a:gd name="connsiteY3" fmla="*/ 2239 h 80600"/>
                <a:gd name="connsiteX4" fmla="*/ 17687 w 31344"/>
                <a:gd name="connsiteY4" fmla="*/ 0 h 80600"/>
                <a:gd name="connsiteX5" fmla="*/ 15448 w 31344"/>
                <a:gd name="connsiteY5" fmla="*/ 2239 h 80600"/>
                <a:gd name="connsiteX6" fmla="*/ 15448 w 31344"/>
                <a:gd name="connsiteY6" fmla="*/ 75227 h 80600"/>
                <a:gd name="connsiteX7" fmla="*/ 3806 w 31344"/>
                <a:gd name="connsiteY7" fmla="*/ 63585 h 80600"/>
                <a:gd name="connsiteX8" fmla="*/ 672 w 31344"/>
                <a:gd name="connsiteY8" fmla="*/ 63585 h 80600"/>
                <a:gd name="connsiteX9" fmla="*/ 672 w 31344"/>
                <a:gd name="connsiteY9" fmla="*/ 66719 h 80600"/>
                <a:gd name="connsiteX10" fmla="*/ 16344 w 31344"/>
                <a:gd name="connsiteY10" fmla="*/ 82392 h 80600"/>
                <a:gd name="connsiteX11" fmla="*/ 17240 w 31344"/>
                <a:gd name="connsiteY11" fmla="*/ 82840 h 80600"/>
                <a:gd name="connsiteX12" fmla="*/ 17240 w 31344"/>
                <a:gd name="connsiteY12" fmla="*/ 82840 h 80600"/>
                <a:gd name="connsiteX13" fmla="*/ 17240 w 31344"/>
                <a:gd name="connsiteY13" fmla="*/ 82840 h 80600"/>
                <a:gd name="connsiteX14" fmla="*/ 18135 w 31344"/>
                <a:gd name="connsiteY14" fmla="*/ 82840 h 80600"/>
                <a:gd name="connsiteX15" fmla="*/ 19031 w 31344"/>
                <a:gd name="connsiteY15" fmla="*/ 82840 h 80600"/>
                <a:gd name="connsiteX16" fmla="*/ 19926 w 31344"/>
                <a:gd name="connsiteY16" fmla="*/ 82392 h 80600"/>
                <a:gd name="connsiteX17" fmla="*/ 35599 w 31344"/>
                <a:gd name="connsiteY17" fmla="*/ 66719 h 80600"/>
                <a:gd name="connsiteX18" fmla="*/ 34703 w 31344"/>
                <a:gd name="connsiteY18" fmla="*/ 63585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80600">
                  <a:moveTo>
                    <a:pt x="34703" y="63585"/>
                  </a:moveTo>
                  <a:cubicBezTo>
                    <a:pt x="33807" y="62689"/>
                    <a:pt x="32464" y="62689"/>
                    <a:pt x="31568" y="63585"/>
                  </a:cubicBezTo>
                  <a:lnTo>
                    <a:pt x="19926" y="75227"/>
                  </a:lnTo>
                  <a:lnTo>
                    <a:pt x="19926" y="2239"/>
                  </a:lnTo>
                  <a:cubicBezTo>
                    <a:pt x="19926" y="896"/>
                    <a:pt x="19031" y="0"/>
                    <a:pt x="17687" y="0"/>
                  </a:cubicBezTo>
                  <a:cubicBezTo>
                    <a:pt x="16344" y="0"/>
                    <a:pt x="15448" y="896"/>
                    <a:pt x="15448" y="2239"/>
                  </a:cubicBezTo>
                  <a:lnTo>
                    <a:pt x="15448" y="75227"/>
                  </a:lnTo>
                  <a:lnTo>
                    <a:pt x="3806" y="63585"/>
                  </a:lnTo>
                  <a:cubicBezTo>
                    <a:pt x="2911" y="62689"/>
                    <a:pt x="1567" y="62689"/>
                    <a:pt x="672" y="63585"/>
                  </a:cubicBezTo>
                  <a:cubicBezTo>
                    <a:pt x="-224" y="64481"/>
                    <a:pt x="-224" y="65824"/>
                    <a:pt x="672" y="66719"/>
                  </a:cubicBezTo>
                  <a:lnTo>
                    <a:pt x="16344" y="82392"/>
                  </a:lnTo>
                  <a:cubicBezTo>
                    <a:pt x="16344" y="82392"/>
                    <a:pt x="16792" y="82840"/>
                    <a:pt x="17240" y="82840"/>
                  </a:cubicBezTo>
                  <a:cubicBezTo>
                    <a:pt x="17240" y="82840"/>
                    <a:pt x="17240" y="82840"/>
                    <a:pt x="17240" y="82840"/>
                  </a:cubicBezTo>
                  <a:cubicBezTo>
                    <a:pt x="17240" y="82840"/>
                    <a:pt x="17240" y="82840"/>
                    <a:pt x="17240" y="82840"/>
                  </a:cubicBezTo>
                  <a:cubicBezTo>
                    <a:pt x="17687" y="82840"/>
                    <a:pt x="17687" y="82840"/>
                    <a:pt x="18135" y="82840"/>
                  </a:cubicBezTo>
                  <a:cubicBezTo>
                    <a:pt x="18583" y="82840"/>
                    <a:pt x="18583" y="82840"/>
                    <a:pt x="19031" y="82840"/>
                  </a:cubicBezTo>
                  <a:cubicBezTo>
                    <a:pt x="19479" y="82840"/>
                    <a:pt x="19479" y="82392"/>
                    <a:pt x="19926" y="82392"/>
                  </a:cubicBezTo>
                  <a:lnTo>
                    <a:pt x="35599" y="66719"/>
                  </a:lnTo>
                  <a:cubicBezTo>
                    <a:pt x="35599" y="65824"/>
                    <a:pt x="35599" y="64481"/>
                    <a:pt x="34703" y="63585"/>
                  </a:cubicBezTo>
                  <a:close/>
                </a:path>
              </a:pathLst>
            </a:custGeom>
            <a:solidFill>
              <a:srgbClr val="231F20"/>
            </a:solidFill>
            <a:ln w="4474" cap="flat">
              <a:noFill/>
              <a:prstDash val="solid"/>
              <a:miter/>
            </a:ln>
          </p:spPr>
          <p:txBody>
            <a:bodyPr rtlCol="0" anchor="ctr"/>
            <a:lstStyle/>
            <a:p>
              <a:endParaRPr lang="en-US"/>
            </a:p>
          </p:txBody>
        </p:sp>
      </p:grpSp>
      <p:grpSp>
        <p:nvGrpSpPr>
          <p:cNvPr id="4203" name="Group 4202">
            <a:extLst>
              <a:ext uri="{FF2B5EF4-FFF2-40B4-BE49-F238E27FC236}">
                <a16:creationId xmlns:a16="http://schemas.microsoft.com/office/drawing/2014/main" id="{12228C23-3467-462C-AF56-4F36F045A329}"/>
              </a:ext>
              <a:ext uri="{C183D7F6-B498-43B3-948B-1728B52AA6E4}">
                <adec:decorative xmlns:adec="http://schemas.microsoft.com/office/drawing/2017/decorative" val="1"/>
              </a:ext>
            </a:extLst>
          </p:cNvPr>
          <p:cNvGrpSpPr>
            <a:grpSpLocks noChangeAspect="1"/>
          </p:cNvGrpSpPr>
          <p:nvPr/>
        </p:nvGrpSpPr>
        <p:grpSpPr>
          <a:xfrm>
            <a:off x="2400964" y="2079318"/>
            <a:ext cx="125379" cy="143290"/>
            <a:chOff x="2441718" y="1343879"/>
            <a:chExt cx="125379" cy="143290"/>
          </a:xfrm>
        </p:grpSpPr>
        <p:sp>
          <p:nvSpPr>
            <p:cNvPr id="4204" name="Freeform: Shape 4203">
              <a:extLst>
                <a:ext uri="{FF2B5EF4-FFF2-40B4-BE49-F238E27FC236}">
                  <a16:creationId xmlns:a16="http://schemas.microsoft.com/office/drawing/2014/main" id="{EEBCC4EF-D73F-4A7A-BD45-432CA9AD0FE4}"/>
                </a:ext>
              </a:extLst>
            </p:cNvPr>
            <p:cNvSpPr/>
            <p:nvPr/>
          </p:nvSpPr>
          <p:spPr>
            <a:xfrm>
              <a:off x="2468585" y="1377463"/>
              <a:ext cx="71645" cy="4478"/>
            </a:xfrm>
            <a:custGeom>
              <a:avLst/>
              <a:gdLst>
                <a:gd name="connsiteX0" fmla="*/ 2239 w 71645"/>
                <a:gd name="connsiteY0" fmla="*/ 4478 h 4477"/>
                <a:gd name="connsiteX1" fmla="*/ 0 w 71645"/>
                <a:gd name="connsiteY1" fmla="*/ 2239 h 4477"/>
                <a:gd name="connsiteX2" fmla="*/ 2239 w 71645"/>
                <a:gd name="connsiteY2" fmla="*/ 0 h 4477"/>
                <a:gd name="connsiteX3" fmla="*/ 69406 w 71645"/>
                <a:gd name="connsiteY3" fmla="*/ 0 h 4477"/>
                <a:gd name="connsiteX4" fmla="*/ 71645 w 71645"/>
                <a:gd name="connsiteY4" fmla="*/ 2239 h 4477"/>
                <a:gd name="connsiteX5" fmla="*/ 69406 w 71645"/>
                <a:gd name="connsiteY5" fmla="*/ 4478 h 4477"/>
                <a:gd name="connsiteX6" fmla="*/ 2239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2239" y="4478"/>
                  </a:move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5" name="Freeform: Shape 4204">
              <a:extLst>
                <a:ext uri="{FF2B5EF4-FFF2-40B4-BE49-F238E27FC236}">
                  <a16:creationId xmlns:a16="http://schemas.microsoft.com/office/drawing/2014/main" id="{9626E284-2FBE-427B-96C7-8C6CFDA4B50E}"/>
                </a:ext>
              </a:extLst>
            </p:cNvPr>
            <p:cNvSpPr/>
            <p:nvPr/>
          </p:nvSpPr>
          <p:spPr>
            <a:xfrm>
              <a:off x="2468585" y="1404329"/>
              <a:ext cx="71645" cy="4478"/>
            </a:xfrm>
            <a:custGeom>
              <a:avLst/>
              <a:gdLst>
                <a:gd name="connsiteX0" fmla="*/ 2239 w 71645"/>
                <a:gd name="connsiteY0" fmla="*/ 4478 h 4477"/>
                <a:gd name="connsiteX1" fmla="*/ 0 w 71645"/>
                <a:gd name="connsiteY1" fmla="*/ 2239 h 4477"/>
                <a:gd name="connsiteX2" fmla="*/ 2239 w 71645"/>
                <a:gd name="connsiteY2" fmla="*/ 0 h 4477"/>
                <a:gd name="connsiteX3" fmla="*/ 69406 w 71645"/>
                <a:gd name="connsiteY3" fmla="*/ 0 h 4477"/>
                <a:gd name="connsiteX4" fmla="*/ 71645 w 71645"/>
                <a:gd name="connsiteY4" fmla="*/ 2239 h 4477"/>
                <a:gd name="connsiteX5" fmla="*/ 69406 w 71645"/>
                <a:gd name="connsiteY5" fmla="*/ 4478 h 4477"/>
                <a:gd name="connsiteX6" fmla="*/ 2239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2239" y="4478"/>
                  </a:move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6" name="Freeform: Shape 4205">
              <a:extLst>
                <a:ext uri="{FF2B5EF4-FFF2-40B4-BE49-F238E27FC236}">
                  <a16:creationId xmlns:a16="http://schemas.microsoft.com/office/drawing/2014/main" id="{3DAE933B-14A7-4805-AD67-A9029BA4AB60}"/>
                </a:ext>
              </a:extLst>
            </p:cNvPr>
            <p:cNvSpPr/>
            <p:nvPr/>
          </p:nvSpPr>
          <p:spPr>
            <a:xfrm>
              <a:off x="2468585" y="1431196"/>
              <a:ext cx="71645" cy="4478"/>
            </a:xfrm>
            <a:custGeom>
              <a:avLst/>
              <a:gdLst>
                <a:gd name="connsiteX0" fmla="*/ 2239 w 71645"/>
                <a:gd name="connsiteY0" fmla="*/ 4478 h 4477"/>
                <a:gd name="connsiteX1" fmla="*/ 0 w 71645"/>
                <a:gd name="connsiteY1" fmla="*/ 2239 h 4477"/>
                <a:gd name="connsiteX2" fmla="*/ 2239 w 71645"/>
                <a:gd name="connsiteY2" fmla="*/ 0 h 4477"/>
                <a:gd name="connsiteX3" fmla="*/ 69406 w 71645"/>
                <a:gd name="connsiteY3" fmla="*/ 0 h 4477"/>
                <a:gd name="connsiteX4" fmla="*/ 71645 w 71645"/>
                <a:gd name="connsiteY4" fmla="*/ 2239 h 4477"/>
                <a:gd name="connsiteX5" fmla="*/ 69406 w 71645"/>
                <a:gd name="connsiteY5" fmla="*/ 4478 h 4477"/>
                <a:gd name="connsiteX6" fmla="*/ 2239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2239" y="4478"/>
                  </a:move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7" name="Freeform: Shape 4206">
              <a:extLst>
                <a:ext uri="{FF2B5EF4-FFF2-40B4-BE49-F238E27FC236}">
                  <a16:creationId xmlns:a16="http://schemas.microsoft.com/office/drawing/2014/main" id="{927CEE86-A6B5-440A-94FF-FD73462E4A01}"/>
                </a:ext>
              </a:extLst>
            </p:cNvPr>
            <p:cNvSpPr/>
            <p:nvPr/>
          </p:nvSpPr>
          <p:spPr>
            <a:xfrm>
              <a:off x="2468585" y="1458063"/>
              <a:ext cx="40300" cy="4478"/>
            </a:xfrm>
            <a:custGeom>
              <a:avLst/>
              <a:gdLst>
                <a:gd name="connsiteX0" fmla="*/ 2239 w 40300"/>
                <a:gd name="connsiteY0" fmla="*/ 4478 h 4477"/>
                <a:gd name="connsiteX1" fmla="*/ 0 w 40300"/>
                <a:gd name="connsiteY1" fmla="*/ 2239 h 4477"/>
                <a:gd name="connsiteX2" fmla="*/ 2239 w 40300"/>
                <a:gd name="connsiteY2" fmla="*/ 0 h 4477"/>
                <a:gd name="connsiteX3" fmla="*/ 42091 w 40300"/>
                <a:gd name="connsiteY3" fmla="*/ 0 h 4477"/>
                <a:gd name="connsiteX4" fmla="*/ 44330 w 40300"/>
                <a:gd name="connsiteY4" fmla="*/ 2239 h 4477"/>
                <a:gd name="connsiteX5" fmla="*/ 42091 w 40300"/>
                <a:gd name="connsiteY5" fmla="*/ 4478 h 4477"/>
                <a:gd name="connsiteX6" fmla="*/ 2239 w 40300"/>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4477">
                  <a:moveTo>
                    <a:pt x="2239" y="4478"/>
                  </a:moveTo>
                  <a:cubicBezTo>
                    <a:pt x="896" y="4478"/>
                    <a:pt x="0" y="3582"/>
                    <a:pt x="0" y="2239"/>
                  </a:cubicBezTo>
                  <a:cubicBezTo>
                    <a:pt x="0" y="896"/>
                    <a:pt x="896" y="0"/>
                    <a:pt x="2239" y="0"/>
                  </a:cubicBezTo>
                  <a:lnTo>
                    <a:pt x="42091" y="0"/>
                  </a:lnTo>
                  <a:cubicBezTo>
                    <a:pt x="43435" y="0"/>
                    <a:pt x="44330" y="896"/>
                    <a:pt x="44330" y="2239"/>
                  </a:cubicBezTo>
                  <a:cubicBezTo>
                    <a:pt x="44330" y="3582"/>
                    <a:pt x="43435" y="4478"/>
                    <a:pt x="42091"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08" name="Freeform: Shape 4207">
              <a:extLst>
                <a:ext uri="{FF2B5EF4-FFF2-40B4-BE49-F238E27FC236}">
                  <a16:creationId xmlns:a16="http://schemas.microsoft.com/office/drawing/2014/main" id="{EC8F076E-9129-4C42-AB47-9EDF2353EDD2}"/>
                </a:ext>
              </a:extLst>
            </p:cNvPr>
            <p:cNvSpPr/>
            <p:nvPr/>
          </p:nvSpPr>
          <p:spPr>
            <a:xfrm>
              <a:off x="2441718"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8508 h 143290"/>
                <a:gd name="connsiteX18" fmla="*/ 80601 w 125378"/>
                <a:gd name="connsiteY18" fmla="*/ 8956 h 143290"/>
                <a:gd name="connsiteX19" fmla="*/ 80601 w 125378"/>
                <a:gd name="connsiteY19" fmla="*/ 9403 h 143290"/>
                <a:gd name="connsiteX20" fmla="*/ 80601 w 125378"/>
                <a:gd name="connsiteY20" fmla="*/ 13433 h 143290"/>
                <a:gd name="connsiteX21" fmla="*/ 44778 w 125378"/>
                <a:gd name="connsiteY21" fmla="*/ 13433 h 143290"/>
                <a:gd name="connsiteX22" fmla="*/ 44778 w 125378"/>
                <a:gd name="connsiteY22" fmla="*/ 4478 h 143290"/>
                <a:gd name="connsiteX23" fmla="*/ 120901 w 125378"/>
                <a:gd name="connsiteY23" fmla="*/ 136573 h 143290"/>
                <a:gd name="connsiteX24" fmla="*/ 116423 w 125378"/>
                <a:gd name="connsiteY24" fmla="*/ 141051 h 143290"/>
                <a:gd name="connsiteX25" fmla="*/ 8956 w 125378"/>
                <a:gd name="connsiteY25" fmla="*/ 141051 h 143290"/>
                <a:gd name="connsiteX26" fmla="*/ 4478 w 125378"/>
                <a:gd name="connsiteY26" fmla="*/ 136573 h 143290"/>
                <a:gd name="connsiteX27" fmla="*/ 4478 w 125378"/>
                <a:gd name="connsiteY27" fmla="*/ 15672 h 143290"/>
                <a:gd name="connsiteX28" fmla="*/ 8956 w 125378"/>
                <a:gd name="connsiteY28" fmla="*/ 11195 h 143290"/>
                <a:gd name="connsiteX29" fmla="*/ 40300 w 125378"/>
                <a:gd name="connsiteY29" fmla="*/ 11195 h 143290"/>
                <a:gd name="connsiteX30" fmla="*/ 40300 w 125378"/>
                <a:gd name="connsiteY30" fmla="*/ 15672 h 143290"/>
                <a:gd name="connsiteX31" fmla="*/ 42539 w 125378"/>
                <a:gd name="connsiteY31" fmla="*/ 17911 h 143290"/>
                <a:gd name="connsiteX32" fmla="*/ 82840 w 125378"/>
                <a:gd name="connsiteY32" fmla="*/ 17911 h 143290"/>
                <a:gd name="connsiteX33" fmla="*/ 85079 w 125378"/>
                <a:gd name="connsiteY33" fmla="*/ 15672 h 143290"/>
                <a:gd name="connsiteX34" fmla="*/ 85079 w 125378"/>
                <a:gd name="connsiteY34" fmla="*/ 11195 h 143290"/>
                <a:gd name="connsiteX35" fmla="*/ 116423 w 125378"/>
                <a:gd name="connsiteY35" fmla="*/ 11195 h 143290"/>
                <a:gd name="connsiteX36" fmla="*/ 120901 w 125378"/>
                <a:gd name="connsiteY36" fmla="*/ 15672 h 143290"/>
                <a:gd name="connsiteX37" fmla="*/ 120901 w 125378"/>
                <a:gd name="connsiteY37"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379" y="10747"/>
                    <a:pt x="121349" y="6717"/>
                    <a:pt x="116423" y="6717"/>
                  </a:cubicBezTo>
                  <a:close/>
                  <a:moveTo>
                    <a:pt x="44778" y="4478"/>
                  </a:moveTo>
                  <a:lnTo>
                    <a:pt x="80601" y="4478"/>
                  </a:lnTo>
                  <a:lnTo>
                    <a:pt x="80601" y="8508"/>
                  </a:lnTo>
                  <a:cubicBezTo>
                    <a:pt x="80601" y="8508"/>
                    <a:pt x="80601" y="8956"/>
                    <a:pt x="80601" y="8956"/>
                  </a:cubicBezTo>
                  <a:cubicBezTo>
                    <a:pt x="80601" y="8956"/>
                    <a:pt x="80601" y="9403"/>
                    <a:pt x="80601" y="9403"/>
                  </a:cubicBezTo>
                  <a:lnTo>
                    <a:pt x="80601" y="13433"/>
                  </a:lnTo>
                  <a:lnTo>
                    <a:pt x="44778" y="13433"/>
                  </a:lnTo>
                  <a:lnTo>
                    <a:pt x="44778" y="4478"/>
                  </a:lnTo>
                  <a:close/>
                  <a:moveTo>
                    <a:pt x="120901" y="136573"/>
                  </a:moveTo>
                  <a:cubicBezTo>
                    <a:pt x="120901" y="139260"/>
                    <a:pt x="118662" y="141051"/>
                    <a:pt x="116423" y="141051"/>
                  </a:cubicBezTo>
                  <a:lnTo>
                    <a:pt x="8956" y="141051"/>
                  </a:lnTo>
                  <a:cubicBezTo>
                    <a:pt x="6269" y="141051"/>
                    <a:pt x="4478" y="138812"/>
                    <a:pt x="4478" y="136573"/>
                  </a:cubicBezTo>
                  <a:lnTo>
                    <a:pt x="4478" y="15672"/>
                  </a:lnTo>
                  <a:cubicBezTo>
                    <a:pt x="4478" y="12986"/>
                    <a:pt x="6717" y="11195"/>
                    <a:pt x="8956" y="11195"/>
                  </a:cubicBezTo>
                  <a:lnTo>
                    <a:pt x="40300" y="11195"/>
                  </a:lnTo>
                  <a:lnTo>
                    <a:pt x="40300" y="15672"/>
                  </a:lnTo>
                  <a:cubicBezTo>
                    <a:pt x="40300" y="17016"/>
                    <a:pt x="41196" y="17911"/>
                    <a:pt x="42539" y="17911"/>
                  </a:cubicBezTo>
                  <a:lnTo>
                    <a:pt x="82840" y="17911"/>
                  </a:lnTo>
                  <a:cubicBezTo>
                    <a:pt x="84183" y="17911"/>
                    <a:pt x="85079" y="17016"/>
                    <a:pt x="85079" y="15672"/>
                  </a:cubicBezTo>
                  <a:lnTo>
                    <a:pt x="85079" y="11195"/>
                  </a:lnTo>
                  <a:lnTo>
                    <a:pt x="116423" y="11195"/>
                  </a:lnTo>
                  <a:cubicBezTo>
                    <a:pt x="119110" y="11195"/>
                    <a:pt x="120901" y="13433"/>
                    <a:pt x="120901" y="15672"/>
                  </a:cubicBezTo>
                  <a:lnTo>
                    <a:pt x="120901" y="136573"/>
                  </a:lnTo>
                  <a:close/>
                </a:path>
              </a:pathLst>
            </a:custGeom>
            <a:solidFill>
              <a:srgbClr val="231F20"/>
            </a:solidFill>
            <a:ln w="4474" cap="flat">
              <a:noFill/>
              <a:prstDash val="solid"/>
              <a:miter/>
            </a:ln>
          </p:spPr>
          <p:txBody>
            <a:bodyPr rtlCol="0" anchor="ctr"/>
            <a:lstStyle/>
            <a:p>
              <a:endParaRPr lang="en-US"/>
            </a:p>
          </p:txBody>
        </p:sp>
      </p:grpSp>
      <p:grpSp>
        <p:nvGrpSpPr>
          <p:cNvPr id="4209" name="Group 4208">
            <a:extLst>
              <a:ext uri="{FF2B5EF4-FFF2-40B4-BE49-F238E27FC236}">
                <a16:creationId xmlns:a16="http://schemas.microsoft.com/office/drawing/2014/main" id="{461A96C9-A2F1-4222-AE69-D43D2EE0F9DD}"/>
              </a:ext>
              <a:ext uri="{C183D7F6-B498-43B3-948B-1728B52AA6E4}">
                <adec:decorative xmlns:adec="http://schemas.microsoft.com/office/drawing/2017/decorative" val="1"/>
              </a:ext>
            </a:extLst>
          </p:cNvPr>
          <p:cNvGrpSpPr>
            <a:grpSpLocks noChangeAspect="1"/>
          </p:cNvGrpSpPr>
          <p:nvPr/>
        </p:nvGrpSpPr>
        <p:grpSpPr>
          <a:xfrm>
            <a:off x="3990142" y="2079318"/>
            <a:ext cx="120901" cy="143290"/>
            <a:chOff x="4030896" y="1343879"/>
            <a:chExt cx="120901" cy="143290"/>
          </a:xfrm>
        </p:grpSpPr>
        <p:sp>
          <p:nvSpPr>
            <p:cNvPr id="4210" name="Freeform: Shape 4209">
              <a:extLst>
                <a:ext uri="{FF2B5EF4-FFF2-40B4-BE49-F238E27FC236}">
                  <a16:creationId xmlns:a16="http://schemas.microsoft.com/office/drawing/2014/main" id="{AA900CEC-12CF-486F-A95B-3389B7357A19}"/>
                </a:ext>
              </a:extLst>
            </p:cNvPr>
            <p:cNvSpPr/>
            <p:nvPr/>
          </p:nvSpPr>
          <p:spPr>
            <a:xfrm>
              <a:off x="4051718" y="1366492"/>
              <a:ext cx="40300" cy="31345"/>
            </a:xfrm>
            <a:custGeom>
              <a:avLst/>
              <a:gdLst>
                <a:gd name="connsiteX0" fmla="*/ 15001 w 40300"/>
                <a:gd name="connsiteY0" fmla="*/ 31569 h 31344"/>
                <a:gd name="connsiteX1" fmla="*/ 13210 w 40300"/>
                <a:gd name="connsiteY1" fmla="*/ 31121 h 31344"/>
                <a:gd name="connsiteX2" fmla="*/ 672 w 40300"/>
                <a:gd name="connsiteY2" fmla="*/ 18583 h 31344"/>
                <a:gd name="connsiteX3" fmla="*/ 672 w 40300"/>
                <a:gd name="connsiteY3" fmla="*/ 15448 h 31344"/>
                <a:gd name="connsiteX4" fmla="*/ 3806 w 40300"/>
                <a:gd name="connsiteY4" fmla="*/ 15448 h 31344"/>
                <a:gd name="connsiteX5" fmla="*/ 14553 w 40300"/>
                <a:gd name="connsiteY5" fmla="*/ 26195 h 31344"/>
                <a:gd name="connsiteX6" fmla="*/ 40077 w 40300"/>
                <a:gd name="connsiteY6" fmla="*/ 672 h 31344"/>
                <a:gd name="connsiteX7" fmla="*/ 43211 w 40300"/>
                <a:gd name="connsiteY7" fmla="*/ 672 h 31344"/>
                <a:gd name="connsiteX8" fmla="*/ 43211 w 40300"/>
                <a:gd name="connsiteY8" fmla="*/ 3806 h 31344"/>
                <a:gd name="connsiteX9" fmla="*/ 16344 w 40300"/>
                <a:gd name="connsiteY9" fmla="*/ 30673 h 31344"/>
                <a:gd name="connsiteX10" fmla="*/ 15001 w 40300"/>
                <a:gd name="connsiteY10" fmla="*/ 3156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300" h="31344">
                  <a:moveTo>
                    <a:pt x="15001" y="31569"/>
                  </a:moveTo>
                  <a:cubicBezTo>
                    <a:pt x="14553" y="31569"/>
                    <a:pt x="13657" y="31121"/>
                    <a:pt x="13210" y="31121"/>
                  </a:cubicBezTo>
                  <a:lnTo>
                    <a:pt x="672" y="18583"/>
                  </a:lnTo>
                  <a:cubicBezTo>
                    <a:pt x="-224" y="17687"/>
                    <a:pt x="-224" y="16344"/>
                    <a:pt x="672" y="15448"/>
                  </a:cubicBezTo>
                  <a:cubicBezTo>
                    <a:pt x="1567" y="14553"/>
                    <a:pt x="2910" y="14553"/>
                    <a:pt x="3806" y="15448"/>
                  </a:cubicBezTo>
                  <a:lnTo>
                    <a:pt x="14553" y="26195"/>
                  </a:lnTo>
                  <a:lnTo>
                    <a:pt x="40077" y="672"/>
                  </a:lnTo>
                  <a:cubicBezTo>
                    <a:pt x="40972" y="-224"/>
                    <a:pt x="42315" y="-224"/>
                    <a:pt x="43211" y="672"/>
                  </a:cubicBezTo>
                  <a:cubicBezTo>
                    <a:pt x="44106" y="1567"/>
                    <a:pt x="44106" y="2911"/>
                    <a:pt x="43211" y="3806"/>
                  </a:cubicBezTo>
                  <a:lnTo>
                    <a:pt x="16344" y="30673"/>
                  </a:lnTo>
                  <a:cubicBezTo>
                    <a:pt x="16344" y="31121"/>
                    <a:pt x="15896" y="31569"/>
                    <a:pt x="15001" y="31569"/>
                  </a:cubicBezTo>
                  <a:close/>
                </a:path>
              </a:pathLst>
            </a:custGeom>
            <a:solidFill>
              <a:srgbClr val="231F20"/>
            </a:solidFill>
            <a:ln w="4474" cap="flat">
              <a:noFill/>
              <a:prstDash val="solid"/>
              <a:miter/>
            </a:ln>
          </p:spPr>
          <p:txBody>
            <a:bodyPr rtlCol="0" anchor="ctr"/>
            <a:lstStyle/>
            <a:p>
              <a:endParaRPr lang="en-US"/>
            </a:p>
          </p:txBody>
        </p:sp>
        <p:sp>
          <p:nvSpPr>
            <p:cNvPr id="4211" name="Freeform: Shape 4210">
              <a:extLst>
                <a:ext uri="{FF2B5EF4-FFF2-40B4-BE49-F238E27FC236}">
                  <a16:creationId xmlns:a16="http://schemas.microsoft.com/office/drawing/2014/main" id="{4AB8836C-1BF7-42B6-9B54-89332BEE12CF}"/>
                </a:ext>
              </a:extLst>
            </p:cNvPr>
            <p:cNvSpPr/>
            <p:nvPr/>
          </p:nvSpPr>
          <p:spPr>
            <a:xfrm>
              <a:off x="4051718" y="1404106"/>
              <a:ext cx="40300" cy="31345"/>
            </a:xfrm>
            <a:custGeom>
              <a:avLst/>
              <a:gdLst>
                <a:gd name="connsiteX0" fmla="*/ 15001 w 40300"/>
                <a:gd name="connsiteY0" fmla="*/ 31569 h 31344"/>
                <a:gd name="connsiteX1" fmla="*/ 13210 w 40300"/>
                <a:gd name="connsiteY1" fmla="*/ 31121 h 31344"/>
                <a:gd name="connsiteX2" fmla="*/ 672 w 40300"/>
                <a:gd name="connsiteY2" fmla="*/ 18583 h 31344"/>
                <a:gd name="connsiteX3" fmla="*/ 672 w 40300"/>
                <a:gd name="connsiteY3" fmla="*/ 15448 h 31344"/>
                <a:gd name="connsiteX4" fmla="*/ 3806 w 40300"/>
                <a:gd name="connsiteY4" fmla="*/ 15448 h 31344"/>
                <a:gd name="connsiteX5" fmla="*/ 14553 w 40300"/>
                <a:gd name="connsiteY5" fmla="*/ 26195 h 31344"/>
                <a:gd name="connsiteX6" fmla="*/ 40077 w 40300"/>
                <a:gd name="connsiteY6" fmla="*/ 672 h 31344"/>
                <a:gd name="connsiteX7" fmla="*/ 43211 w 40300"/>
                <a:gd name="connsiteY7" fmla="*/ 672 h 31344"/>
                <a:gd name="connsiteX8" fmla="*/ 43211 w 40300"/>
                <a:gd name="connsiteY8" fmla="*/ 3806 h 31344"/>
                <a:gd name="connsiteX9" fmla="*/ 16344 w 40300"/>
                <a:gd name="connsiteY9" fmla="*/ 30673 h 31344"/>
                <a:gd name="connsiteX10" fmla="*/ 15001 w 40300"/>
                <a:gd name="connsiteY10" fmla="*/ 3156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300" h="31344">
                  <a:moveTo>
                    <a:pt x="15001" y="31569"/>
                  </a:moveTo>
                  <a:cubicBezTo>
                    <a:pt x="14553" y="31569"/>
                    <a:pt x="13657" y="31121"/>
                    <a:pt x="13210" y="31121"/>
                  </a:cubicBezTo>
                  <a:lnTo>
                    <a:pt x="672" y="18583"/>
                  </a:lnTo>
                  <a:cubicBezTo>
                    <a:pt x="-224" y="17687"/>
                    <a:pt x="-224" y="16344"/>
                    <a:pt x="672" y="15448"/>
                  </a:cubicBezTo>
                  <a:cubicBezTo>
                    <a:pt x="1567" y="14553"/>
                    <a:pt x="2910" y="14553"/>
                    <a:pt x="3806" y="15448"/>
                  </a:cubicBezTo>
                  <a:lnTo>
                    <a:pt x="14553" y="26195"/>
                  </a:lnTo>
                  <a:lnTo>
                    <a:pt x="40077" y="672"/>
                  </a:lnTo>
                  <a:cubicBezTo>
                    <a:pt x="40972" y="-224"/>
                    <a:pt x="42315" y="-224"/>
                    <a:pt x="43211" y="672"/>
                  </a:cubicBezTo>
                  <a:cubicBezTo>
                    <a:pt x="44106" y="1567"/>
                    <a:pt x="44106" y="2911"/>
                    <a:pt x="43211" y="3806"/>
                  </a:cubicBezTo>
                  <a:lnTo>
                    <a:pt x="16344" y="30673"/>
                  </a:lnTo>
                  <a:cubicBezTo>
                    <a:pt x="16344" y="31121"/>
                    <a:pt x="15896" y="31569"/>
                    <a:pt x="15001" y="31569"/>
                  </a:cubicBezTo>
                  <a:close/>
                </a:path>
              </a:pathLst>
            </a:custGeom>
            <a:solidFill>
              <a:srgbClr val="231F20"/>
            </a:solidFill>
            <a:ln w="4474" cap="flat">
              <a:noFill/>
              <a:prstDash val="solid"/>
              <a:miter/>
            </a:ln>
          </p:spPr>
          <p:txBody>
            <a:bodyPr rtlCol="0" anchor="ctr"/>
            <a:lstStyle/>
            <a:p>
              <a:endParaRPr lang="en-US"/>
            </a:p>
          </p:txBody>
        </p:sp>
        <p:sp>
          <p:nvSpPr>
            <p:cNvPr id="4212" name="Freeform: Shape 4211">
              <a:extLst>
                <a:ext uri="{FF2B5EF4-FFF2-40B4-BE49-F238E27FC236}">
                  <a16:creationId xmlns:a16="http://schemas.microsoft.com/office/drawing/2014/main" id="{F9CDFF8E-D40C-4C19-B80E-F60A58EAA0C8}"/>
                </a:ext>
              </a:extLst>
            </p:cNvPr>
            <p:cNvSpPr/>
            <p:nvPr/>
          </p:nvSpPr>
          <p:spPr>
            <a:xfrm>
              <a:off x="4044330" y="1372985"/>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29106 w 31344"/>
                <a:gd name="connsiteY5" fmla="*/ 0 h 31344"/>
                <a:gd name="connsiteX6" fmla="*/ 31345 w 31344"/>
                <a:gd name="connsiteY6" fmla="*/ 2239 h 31344"/>
                <a:gd name="connsiteX7" fmla="*/ 31345 w 31344"/>
                <a:gd name="connsiteY7" fmla="*/ 29106 h 31344"/>
                <a:gd name="connsiteX8" fmla="*/ 29106 w 31344"/>
                <a:gd name="connsiteY8" fmla="*/ 31345 h 31344"/>
                <a:gd name="connsiteX9" fmla="*/ 4478 w 31344"/>
                <a:gd name="connsiteY9" fmla="*/ 26867 h 31344"/>
                <a:gd name="connsiteX10" fmla="*/ 26867 w 31344"/>
                <a:gd name="connsiteY10" fmla="*/ 26867 h 31344"/>
                <a:gd name="connsiteX11" fmla="*/ 26867 w 31344"/>
                <a:gd name="connsiteY11" fmla="*/ 4478 h 31344"/>
                <a:gd name="connsiteX12" fmla="*/ 4478 w 31344"/>
                <a:gd name="connsiteY12" fmla="*/ 4478 h 31344"/>
                <a:gd name="connsiteX13" fmla="*/ 4478 w 31344"/>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31344">
                  <a:moveTo>
                    <a:pt x="29106" y="31345"/>
                  </a:moveTo>
                  <a:lnTo>
                    <a:pt x="2239" y="31345"/>
                  </a:lnTo>
                  <a:cubicBezTo>
                    <a:pt x="896" y="31345"/>
                    <a:pt x="0" y="30449"/>
                    <a:pt x="0" y="29106"/>
                  </a:cubicBezTo>
                  <a:lnTo>
                    <a:pt x="0" y="2239"/>
                  </a:lnTo>
                  <a:cubicBezTo>
                    <a:pt x="0" y="896"/>
                    <a:pt x="896" y="0"/>
                    <a:pt x="2239" y="0"/>
                  </a:cubicBezTo>
                  <a:lnTo>
                    <a:pt x="29106" y="0"/>
                  </a:lnTo>
                  <a:cubicBezTo>
                    <a:pt x="30449" y="0"/>
                    <a:pt x="31345" y="896"/>
                    <a:pt x="31345" y="2239"/>
                  </a:cubicBezTo>
                  <a:lnTo>
                    <a:pt x="31345" y="29106"/>
                  </a:lnTo>
                  <a:cubicBezTo>
                    <a:pt x="31345" y="30449"/>
                    <a:pt x="30449" y="31345"/>
                    <a:pt x="29106" y="31345"/>
                  </a:cubicBezTo>
                  <a:close/>
                  <a:moveTo>
                    <a:pt x="4478" y="26867"/>
                  </a:moveTo>
                  <a:lnTo>
                    <a:pt x="26867" y="26867"/>
                  </a:lnTo>
                  <a:lnTo>
                    <a:pt x="26867"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213" name="Freeform: Shape 4212">
              <a:extLst>
                <a:ext uri="{FF2B5EF4-FFF2-40B4-BE49-F238E27FC236}">
                  <a16:creationId xmlns:a16="http://schemas.microsoft.com/office/drawing/2014/main" id="{EB7B69F5-40DE-45B8-964A-AE35BB22FEE4}"/>
                </a:ext>
              </a:extLst>
            </p:cNvPr>
            <p:cNvSpPr/>
            <p:nvPr/>
          </p:nvSpPr>
          <p:spPr>
            <a:xfrm>
              <a:off x="4044330" y="1410598"/>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29106 w 31344"/>
                <a:gd name="connsiteY5" fmla="*/ 0 h 31344"/>
                <a:gd name="connsiteX6" fmla="*/ 31345 w 31344"/>
                <a:gd name="connsiteY6" fmla="*/ 2239 h 31344"/>
                <a:gd name="connsiteX7" fmla="*/ 31345 w 31344"/>
                <a:gd name="connsiteY7" fmla="*/ 29106 h 31344"/>
                <a:gd name="connsiteX8" fmla="*/ 29106 w 31344"/>
                <a:gd name="connsiteY8" fmla="*/ 31345 h 31344"/>
                <a:gd name="connsiteX9" fmla="*/ 4478 w 31344"/>
                <a:gd name="connsiteY9" fmla="*/ 26867 h 31344"/>
                <a:gd name="connsiteX10" fmla="*/ 26867 w 31344"/>
                <a:gd name="connsiteY10" fmla="*/ 26867 h 31344"/>
                <a:gd name="connsiteX11" fmla="*/ 26867 w 31344"/>
                <a:gd name="connsiteY11" fmla="*/ 4478 h 31344"/>
                <a:gd name="connsiteX12" fmla="*/ 4478 w 31344"/>
                <a:gd name="connsiteY12" fmla="*/ 4478 h 31344"/>
                <a:gd name="connsiteX13" fmla="*/ 4478 w 31344"/>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31344">
                  <a:moveTo>
                    <a:pt x="29106" y="31345"/>
                  </a:moveTo>
                  <a:lnTo>
                    <a:pt x="2239" y="31345"/>
                  </a:lnTo>
                  <a:cubicBezTo>
                    <a:pt x="896" y="31345"/>
                    <a:pt x="0" y="30449"/>
                    <a:pt x="0" y="29106"/>
                  </a:cubicBezTo>
                  <a:lnTo>
                    <a:pt x="0" y="2239"/>
                  </a:lnTo>
                  <a:cubicBezTo>
                    <a:pt x="0" y="896"/>
                    <a:pt x="896" y="0"/>
                    <a:pt x="2239" y="0"/>
                  </a:cubicBezTo>
                  <a:lnTo>
                    <a:pt x="29106" y="0"/>
                  </a:lnTo>
                  <a:cubicBezTo>
                    <a:pt x="30449" y="0"/>
                    <a:pt x="31345" y="896"/>
                    <a:pt x="31345" y="2239"/>
                  </a:cubicBezTo>
                  <a:lnTo>
                    <a:pt x="31345" y="29106"/>
                  </a:lnTo>
                  <a:cubicBezTo>
                    <a:pt x="31345" y="30449"/>
                    <a:pt x="30449" y="31345"/>
                    <a:pt x="29106" y="31345"/>
                  </a:cubicBezTo>
                  <a:close/>
                  <a:moveTo>
                    <a:pt x="4478" y="26867"/>
                  </a:moveTo>
                  <a:lnTo>
                    <a:pt x="26867" y="26867"/>
                  </a:lnTo>
                  <a:lnTo>
                    <a:pt x="26867"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214" name="Freeform: Shape 4213">
              <a:extLst>
                <a:ext uri="{FF2B5EF4-FFF2-40B4-BE49-F238E27FC236}">
                  <a16:creationId xmlns:a16="http://schemas.microsoft.com/office/drawing/2014/main" id="{592A5419-08AB-447B-B3FA-75376D4652EA}"/>
                </a:ext>
              </a:extLst>
            </p:cNvPr>
            <p:cNvSpPr/>
            <p:nvPr/>
          </p:nvSpPr>
          <p:spPr>
            <a:xfrm>
              <a:off x="4044330" y="1447764"/>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29106 w 31344"/>
                <a:gd name="connsiteY5" fmla="*/ 0 h 31344"/>
                <a:gd name="connsiteX6" fmla="*/ 31345 w 31344"/>
                <a:gd name="connsiteY6" fmla="*/ 2239 h 31344"/>
                <a:gd name="connsiteX7" fmla="*/ 31345 w 31344"/>
                <a:gd name="connsiteY7" fmla="*/ 29106 h 31344"/>
                <a:gd name="connsiteX8" fmla="*/ 29106 w 31344"/>
                <a:gd name="connsiteY8" fmla="*/ 31345 h 31344"/>
                <a:gd name="connsiteX9" fmla="*/ 4478 w 31344"/>
                <a:gd name="connsiteY9" fmla="*/ 26867 h 31344"/>
                <a:gd name="connsiteX10" fmla="*/ 26867 w 31344"/>
                <a:gd name="connsiteY10" fmla="*/ 26867 h 31344"/>
                <a:gd name="connsiteX11" fmla="*/ 26867 w 31344"/>
                <a:gd name="connsiteY11" fmla="*/ 4478 h 31344"/>
                <a:gd name="connsiteX12" fmla="*/ 4478 w 31344"/>
                <a:gd name="connsiteY12" fmla="*/ 4478 h 31344"/>
                <a:gd name="connsiteX13" fmla="*/ 4478 w 31344"/>
                <a:gd name="connsiteY13"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31344">
                  <a:moveTo>
                    <a:pt x="29106" y="31345"/>
                  </a:moveTo>
                  <a:lnTo>
                    <a:pt x="2239" y="31345"/>
                  </a:lnTo>
                  <a:cubicBezTo>
                    <a:pt x="896" y="31345"/>
                    <a:pt x="0" y="30449"/>
                    <a:pt x="0" y="29106"/>
                  </a:cubicBezTo>
                  <a:lnTo>
                    <a:pt x="0" y="2239"/>
                  </a:lnTo>
                  <a:cubicBezTo>
                    <a:pt x="0" y="896"/>
                    <a:pt x="896" y="0"/>
                    <a:pt x="2239" y="0"/>
                  </a:cubicBezTo>
                  <a:lnTo>
                    <a:pt x="29106" y="0"/>
                  </a:lnTo>
                  <a:cubicBezTo>
                    <a:pt x="30449" y="0"/>
                    <a:pt x="31345" y="896"/>
                    <a:pt x="31345" y="2239"/>
                  </a:cubicBezTo>
                  <a:lnTo>
                    <a:pt x="31345" y="29106"/>
                  </a:lnTo>
                  <a:cubicBezTo>
                    <a:pt x="31345" y="30449"/>
                    <a:pt x="30449" y="31345"/>
                    <a:pt x="29106" y="31345"/>
                  </a:cubicBezTo>
                  <a:close/>
                  <a:moveTo>
                    <a:pt x="4478" y="26867"/>
                  </a:moveTo>
                  <a:lnTo>
                    <a:pt x="26867" y="26867"/>
                  </a:lnTo>
                  <a:lnTo>
                    <a:pt x="26867" y="4478"/>
                  </a:lnTo>
                  <a:lnTo>
                    <a:pt x="4478" y="4478"/>
                  </a:lnTo>
                  <a:lnTo>
                    <a:pt x="4478" y="26867"/>
                  </a:lnTo>
                  <a:close/>
                </a:path>
              </a:pathLst>
            </a:custGeom>
            <a:solidFill>
              <a:srgbClr val="231F20"/>
            </a:solidFill>
            <a:ln w="4474" cap="flat">
              <a:noFill/>
              <a:prstDash val="solid"/>
              <a:miter/>
            </a:ln>
          </p:spPr>
          <p:txBody>
            <a:bodyPr rtlCol="0" anchor="ctr"/>
            <a:lstStyle/>
            <a:p>
              <a:endParaRPr lang="en-US"/>
            </a:p>
          </p:txBody>
        </p:sp>
        <p:sp>
          <p:nvSpPr>
            <p:cNvPr id="4215" name="Freeform: Shape 4214">
              <a:extLst>
                <a:ext uri="{FF2B5EF4-FFF2-40B4-BE49-F238E27FC236}">
                  <a16:creationId xmlns:a16="http://schemas.microsoft.com/office/drawing/2014/main" id="{687EB0E3-FB59-4535-882E-8A9C412250F5}"/>
                </a:ext>
              </a:extLst>
            </p:cNvPr>
            <p:cNvSpPr/>
            <p:nvPr/>
          </p:nvSpPr>
          <p:spPr>
            <a:xfrm>
              <a:off x="4030896" y="1343879"/>
              <a:ext cx="120901" cy="143290"/>
            </a:xfrm>
            <a:custGeom>
              <a:avLst/>
              <a:gdLst>
                <a:gd name="connsiteX0" fmla="*/ 116423 w 120901"/>
                <a:gd name="connsiteY0" fmla="*/ 6717 h 143290"/>
                <a:gd name="connsiteX1" fmla="*/ 85079 w 120901"/>
                <a:gd name="connsiteY1" fmla="*/ 6717 h 143290"/>
                <a:gd name="connsiteX2" fmla="*/ 85079 w 120901"/>
                <a:gd name="connsiteY2" fmla="*/ 2239 h 143290"/>
                <a:gd name="connsiteX3" fmla="*/ 82840 w 120901"/>
                <a:gd name="connsiteY3" fmla="*/ 0 h 143290"/>
                <a:gd name="connsiteX4" fmla="*/ 42539 w 120901"/>
                <a:gd name="connsiteY4" fmla="*/ 0 h 143290"/>
                <a:gd name="connsiteX5" fmla="*/ 40300 w 120901"/>
                <a:gd name="connsiteY5" fmla="*/ 2239 h 143290"/>
                <a:gd name="connsiteX6" fmla="*/ 40300 w 120901"/>
                <a:gd name="connsiteY6" fmla="*/ 6717 h 143290"/>
                <a:gd name="connsiteX7" fmla="*/ 8956 w 120901"/>
                <a:gd name="connsiteY7" fmla="*/ 6717 h 143290"/>
                <a:gd name="connsiteX8" fmla="*/ 0 w 120901"/>
                <a:gd name="connsiteY8" fmla="*/ 15672 h 143290"/>
                <a:gd name="connsiteX9" fmla="*/ 0 w 120901"/>
                <a:gd name="connsiteY9" fmla="*/ 136573 h 143290"/>
                <a:gd name="connsiteX10" fmla="*/ 8956 w 120901"/>
                <a:gd name="connsiteY10" fmla="*/ 145529 h 143290"/>
                <a:gd name="connsiteX11" fmla="*/ 115976 w 120901"/>
                <a:gd name="connsiteY11" fmla="*/ 145529 h 143290"/>
                <a:gd name="connsiteX12" fmla="*/ 124931 w 120901"/>
                <a:gd name="connsiteY12" fmla="*/ 136573 h 143290"/>
                <a:gd name="connsiteX13" fmla="*/ 124931 w 120901"/>
                <a:gd name="connsiteY13" fmla="*/ 15672 h 143290"/>
                <a:gd name="connsiteX14" fmla="*/ 116423 w 120901"/>
                <a:gd name="connsiteY14" fmla="*/ 6717 h 143290"/>
                <a:gd name="connsiteX15" fmla="*/ 44778 w 120901"/>
                <a:gd name="connsiteY15" fmla="*/ 4478 h 143290"/>
                <a:gd name="connsiteX16" fmla="*/ 80601 w 120901"/>
                <a:gd name="connsiteY16" fmla="*/ 4478 h 143290"/>
                <a:gd name="connsiteX17" fmla="*/ 80601 w 120901"/>
                <a:gd name="connsiteY17" fmla="*/ 8508 h 143290"/>
                <a:gd name="connsiteX18" fmla="*/ 80601 w 120901"/>
                <a:gd name="connsiteY18" fmla="*/ 8956 h 143290"/>
                <a:gd name="connsiteX19" fmla="*/ 80601 w 120901"/>
                <a:gd name="connsiteY19" fmla="*/ 9403 h 143290"/>
                <a:gd name="connsiteX20" fmla="*/ 80601 w 120901"/>
                <a:gd name="connsiteY20" fmla="*/ 13433 h 143290"/>
                <a:gd name="connsiteX21" fmla="*/ 44778 w 120901"/>
                <a:gd name="connsiteY21" fmla="*/ 13433 h 143290"/>
                <a:gd name="connsiteX22" fmla="*/ 44778 w 120901"/>
                <a:gd name="connsiteY22" fmla="*/ 4478 h 143290"/>
                <a:gd name="connsiteX23" fmla="*/ 120901 w 120901"/>
                <a:gd name="connsiteY23" fmla="*/ 136573 h 143290"/>
                <a:gd name="connsiteX24" fmla="*/ 116423 w 120901"/>
                <a:gd name="connsiteY24" fmla="*/ 141051 h 143290"/>
                <a:gd name="connsiteX25" fmla="*/ 9404 w 120901"/>
                <a:gd name="connsiteY25" fmla="*/ 141051 h 143290"/>
                <a:gd name="connsiteX26" fmla="*/ 4926 w 120901"/>
                <a:gd name="connsiteY26" fmla="*/ 136573 h 143290"/>
                <a:gd name="connsiteX27" fmla="*/ 4926 w 120901"/>
                <a:gd name="connsiteY27" fmla="*/ 15672 h 143290"/>
                <a:gd name="connsiteX28" fmla="*/ 9404 w 120901"/>
                <a:gd name="connsiteY28" fmla="*/ 11195 h 143290"/>
                <a:gd name="connsiteX29" fmla="*/ 40748 w 120901"/>
                <a:gd name="connsiteY29" fmla="*/ 11195 h 143290"/>
                <a:gd name="connsiteX30" fmla="*/ 40748 w 120901"/>
                <a:gd name="connsiteY30" fmla="*/ 15672 h 143290"/>
                <a:gd name="connsiteX31" fmla="*/ 42987 w 120901"/>
                <a:gd name="connsiteY31" fmla="*/ 17911 h 143290"/>
                <a:gd name="connsiteX32" fmla="*/ 83288 w 120901"/>
                <a:gd name="connsiteY32" fmla="*/ 17911 h 143290"/>
                <a:gd name="connsiteX33" fmla="*/ 85526 w 120901"/>
                <a:gd name="connsiteY33" fmla="*/ 15672 h 143290"/>
                <a:gd name="connsiteX34" fmla="*/ 85526 w 120901"/>
                <a:gd name="connsiteY34" fmla="*/ 11195 h 143290"/>
                <a:gd name="connsiteX35" fmla="*/ 116871 w 120901"/>
                <a:gd name="connsiteY35" fmla="*/ 11195 h 143290"/>
                <a:gd name="connsiteX36" fmla="*/ 121349 w 120901"/>
                <a:gd name="connsiteY36" fmla="*/ 15672 h 143290"/>
                <a:gd name="connsiteX37" fmla="*/ 121349 w 120901"/>
                <a:gd name="connsiteY37"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0901"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5976" y="145529"/>
                  </a:lnTo>
                  <a:cubicBezTo>
                    <a:pt x="120901" y="145529"/>
                    <a:pt x="124931" y="141499"/>
                    <a:pt x="124931" y="136573"/>
                  </a:cubicBezTo>
                  <a:lnTo>
                    <a:pt x="124931" y="15672"/>
                  </a:lnTo>
                  <a:cubicBezTo>
                    <a:pt x="125379" y="10747"/>
                    <a:pt x="121349" y="6717"/>
                    <a:pt x="116423" y="6717"/>
                  </a:cubicBezTo>
                  <a:close/>
                  <a:moveTo>
                    <a:pt x="44778" y="4478"/>
                  </a:moveTo>
                  <a:lnTo>
                    <a:pt x="80601" y="4478"/>
                  </a:lnTo>
                  <a:lnTo>
                    <a:pt x="80601" y="8508"/>
                  </a:lnTo>
                  <a:cubicBezTo>
                    <a:pt x="80601" y="8508"/>
                    <a:pt x="80601" y="8508"/>
                    <a:pt x="80601" y="8956"/>
                  </a:cubicBezTo>
                  <a:cubicBezTo>
                    <a:pt x="80601" y="8956"/>
                    <a:pt x="80601" y="8956"/>
                    <a:pt x="80601" y="9403"/>
                  </a:cubicBezTo>
                  <a:lnTo>
                    <a:pt x="80601" y="13433"/>
                  </a:lnTo>
                  <a:lnTo>
                    <a:pt x="44778" y="13433"/>
                  </a:lnTo>
                  <a:lnTo>
                    <a:pt x="44778" y="4478"/>
                  </a:lnTo>
                  <a:close/>
                  <a:moveTo>
                    <a:pt x="120901" y="136573"/>
                  </a:moveTo>
                  <a:cubicBezTo>
                    <a:pt x="120901" y="139260"/>
                    <a:pt x="118662" y="141051"/>
                    <a:pt x="116423" y="141051"/>
                  </a:cubicBezTo>
                  <a:lnTo>
                    <a:pt x="9404" y="141051"/>
                  </a:lnTo>
                  <a:cubicBezTo>
                    <a:pt x="6717" y="141051"/>
                    <a:pt x="4926" y="138812"/>
                    <a:pt x="4926" y="136573"/>
                  </a:cubicBezTo>
                  <a:lnTo>
                    <a:pt x="4926" y="15672"/>
                  </a:lnTo>
                  <a:cubicBezTo>
                    <a:pt x="4926" y="12986"/>
                    <a:pt x="7165" y="11195"/>
                    <a:pt x="9404" y="11195"/>
                  </a:cubicBezTo>
                  <a:lnTo>
                    <a:pt x="40748" y="11195"/>
                  </a:lnTo>
                  <a:lnTo>
                    <a:pt x="40748" y="15672"/>
                  </a:lnTo>
                  <a:cubicBezTo>
                    <a:pt x="40748" y="17016"/>
                    <a:pt x="41644" y="17911"/>
                    <a:pt x="42987" y="17911"/>
                  </a:cubicBezTo>
                  <a:lnTo>
                    <a:pt x="83288" y="17911"/>
                  </a:lnTo>
                  <a:cubicBezTo>
                    <a:pt x="84631" y="17911"/>
                    <a:pt x="85526" y="17016"/>
                    <a:pt x="85526" y="15672"/>
                  </a:cubicBezTo>
                  <a:lnTo>
                    <a:pt x="85526" y="11195"/>
                  </a:lnTo>
                  <a:lnTo>
                    <a:pt x="116871" y="11195"/>
                  </a:lnTo>
                  <a:cubicBezTo>
                    <a:pt x="119558" y="11195"/>
                    <a:pt x="121349" y="13433"/>
                    <a:pt x="121349" y="15672"/>
                  </a:cubicBezTo>
                  <a:lnTo>
                    <a:pt x="121349" y="136573"/>
                  </a:lnTo>
                  <a:close/>
                </a:path>
              </a:pathLst>
            </a:custGeom>
            <a:solidFill>
              <a:srgbClr val="231F20"/>
            </a:solidFill>
            <a:ln w="4474" cap="flat">
              <a:noFill/>
              <a:prstDash val="solid"/>
              <a:miter/>
            </a:ln>
          </p:spPr>
          <p:txBody>
            <a:bodyPr rtlCol="0" anchor="ctr"/>
            <a:lstStyle/>
            <a:p>
              <a:endParaRPr lang="en-US"/>
            </a:p>
          </p:txBody>
        </p:sp>
      </p:grpSp>
      <p:grpSp>
        <p:nvGrpSpPr>
          <p:cNvPr id="4216" name="Group 4215">
            <a:extLst>
              <a:ext uri="{FF2B5EF4-FFF2-40B4-BE49-F238E27FC236}">
                <a16:creationId xmlns:a16="http://schemas.microsoft.com/office/drawing/2014/main" id="{D0BECB82-81EF-4052-A36D-52C121F5370C}"/>
              </a:ext>
              <a:ext uri="{C183D7F6-B498-43B3-948B-1728B52AA6E4}">
                <adec:decorative xmlns:adec="http://schemas.microsoft.com/office/drawing/2017/decorative" val="1"/>
              </a:ext>
            </a:extLst>
          </p:cNvPr>
          <p:cNvGrpSpPr>
            <a:grpSpLocks noChangeAspect="1"/>
          </p:cNvGrpSpPr>
          <p:nvPr/>
        </p:nvGrpSpPr>
        <p:grpSpPr>
          <a:xfrm>
            <a:off x="3460416" y="2079318"/>
            <a:ext cx="125379" cy="143290"/>
            <a:chOff x="3501170" y="1343879"/>
            <a:chExt cx="125379" cy="143290"/>
          </a:xfrm>
        </p:grpSpPr>
        <p:sp>
          <p:nvSpPr>
            <p:cNvPr id="4217" name="Freeform: Shape 4216">
              <a:extLst>
                <a:ext uri="{FF2B5EF4-FFF2-40B4-BE49-F238E27FC236}">
                  <a16:creationId xmlns:a16="http://schemas.microsoft.com/office/drawing/2014/main" id="{C8D3255D-694E-488A-8FAC-C5A1207BD22B}"/>
                </a:ext>
              </a:extLst>
            </p:cNvPr>
            <p:cNvSpPr/>
            <p:nvPr/>
          </p:nvSpPr>
          <p:spPr>
            <a:xfrm>
              <a:off x="3501170"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13433 h 143290"/>
                <a:gd name="connsiteX18" fmla="*/ 44778 w 125378"/>
                <a:gd name="connsiteY18" fmla="*/ 13433 h 143290"/>
                <a:gd name="connsiteX19" fmla="*/ 44778 w 125378"/>
                <a:gd name="connsiteY19" fmla="*/ 4478 h 143290"/>
                <a:gd name="connsiteX20" fmla="*/ 120901 w 125378"/>
                <a:gd name="connsiteY20" fmla="*/ 136573 h 143290"/>
                <a:gd name="connsiteX21" fmla="*/ 116423 w 125378"/>
                <a:gd name="connsiteY21" fmla="*/ 141051 h 143290"/>
                <a:gd name="connsiteX22" fmla="*/ 8956 w 125378"/>
                <a:gd name="connsiteY22" fmla="*/ 141051 h 143290"/>
                <a:gd name="connsiteX23" fmla="*/ 4478 w 125378"/>
                <a:gd name="connsiteY23" fmla="*/ 136573 h 143290"/>
                <a:gd name="connsiteX24" fmla="*/ 4478 w 125378"/>
                <a:gd name="connsiteY24" fmla="*/ 15672 h 143290"/>
                <a:gd name="connsiteX25" fmla="*/ 8956 w 125378"/>
                <a:gd name="connsiteY25" fmla="*/ 11195 h 143290"/>
                <a:gd name="connsiteX26" fmla="*/ 40300 w 125378"/>
                <a:gd name="connsiteY26" fmla="*/ 11195 h 143290"/>
                <a:gd name="connsiteX27" fmla="*/ 40300 w 125378"/>
                <a:gd name="connsiteY27" fmla="*/ 15672 h 143290"/>
                <a:gd name="connsiteX28" fmla="*/ 42539 w 125378"/>
                <a:gd name="connsiteY28" fmla="*/ 17911 h 143290"/>
                <a:gd name="connsiteX29" fmla="*/ 82840 w 125378"/>
                <a:gd name="connsiteY29" fmla="*/ 17911 h 143290"/>
                <a:gd name="connsiteX30" fmla="*/ 85079 w 125378"/>
                <a:gd name="connsiteY30" fmla="*/ 15672 h 143290"/>
                <a:gd name="connsiteX31" fmla="*/ 85079 w 125378"/>
                <a:gd name="connsiteY31" fmla="*/ 11195 h 143290"/>
                <a:gd name="connsiteX32" fmla="*/ 116423 w 125378"/>
                <a:gd name="connsiteY32" fmla="*/ 11195 h 143290"/>
                <a:gd name="connsiteX33" fmla="*/ 120901 w 125378"/>
                <a:gd name="connsiteY33" fmla="*/ 15672 h 143290"/>
                <a:gd name="connsiteX34" fmla="*/ 120901 w 125378"/>
                <a:gd name="connsiteY34"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379" y="10747"/>
                    <a:pt x="121349" y="6717"/>
                    <a:pt x="116423" y="6717"/>
                  </a:cubicBezTo>
                  <a:close/>
                  <a:moveTo>
                    <a:pt x="44778" y="4478"/>
                  </a:moveTo>
                  <a:lnTo>
                    <a:pt x="80601" y="4478"/>
                  </a:lnTo>
                  <a:lnTo>
                    <a:pt x="80601" y="13433"/>
                  </a:lnTo>
                  <a:lnTo>
                    <a:pt x="44778" y="13433"/>
                  </a:lnTo>
                  <a:lnTo>
                    <a:pt x="44778" y="4478"/>
                  </a:lnTo>
                  <a:close/>
                  <a:moveTo>
                    <a:pt x="120901" y="136573"/>
                  </a:moveTo>
                  <a:cubicBezTo>
                    <a:pt x="120901" y="139260"/>
                    <a:pt x="118662" y="141051"/>
                    <a:pt x="116423" y="141051"/>
                  </a:cubicBezTo>
                  <a:lnTo>
                    <a:pt x="8956" y="141051"/>
                  </a:lnTo>
                  <a:cubicBezTo>
                    <a:pt x="6269" y="141051"/>
                    <a:pt x="4478" y="138812"/>
                    <a:pt x="4478" y="136573"/>
                  </a:cubicBezTo>
                  <a:lnTo>
                    <a:pt x="4478" y="15672"/>
                  </a:lnTo>
                  <a:cubicBezTo>
                    <a:pt x="4478" y="12986"/>
                    <a:pt x="6717" y="11195"/>
                    <a:pt x="8956" y="11195"/>
                  </a:cubicBezTo>
                  <a:lnTo>
                    <a:pt x="40300" y="11195"/>
                  </a:lnTo>
                  <a:lnTo>
                    <a:pt x="40300" y="15672"/>
                  </a:lnTo>
                  <a:cubicBezTo>
                    <a:pt x="40300" y="17016"/>
                    <a:pt x="41196" y="17911"/>
                    <a:pt x="42539" y="17911"/>
                  </a:cubicBezTo>
                  <a:lnTo>
                    <a:pt x="82840" y="17911"/>
                  </a:lnTo>
                  <a:cubicBezTo>
                    <a:pt x="84183" y="17911"/>
                    <a:pt x="85079" y="17016"/>
                    <a:pt x="85079" y="15672"/>
                  </a:cubicBezTo>
                  <a:lnTo>
                    <a:pt x="85079" y="11195"/>
                  </a:lnTo>
                  <a:lnTo>
                    <a:pt x="116423" y="11195"/>
                  </a:lnTo>
                  <a:cubicBezTo>
                    <a:pt x="119110" y="11195"/>
                    <a:pt x="120901" y="13433"/>
                    <a:pt x="120901" y="15672"/>
                  </a:cubicBezTo>
                  <a:lnTo>
                    <a:pt x="120901" y="136573"/>
                  </a:lnTo>
                  <a:close/>
                </a:path>
              </a:pathLst>
            </a:custGeom>
            <a:solidFill>
              <a:srgbClr val="231F20"/>
            </a:solidFill>
            <a:ln w="4474" cap="flat">
              <a:noFill/>
              <a:prstDash val="solid"/>
              <a:miter/>
            </a:ln>
          </p:spPr>
          <p:txBody>
            <a:bodyPr rtlCol="0" anchor="ctr"/>
            <a:lstStyle/>
            <a:p>
              <a:endParaRPr lang="en-US"/>
            </a:p>
          </p:txBody>
        </p:sp>
        <p:sp>
          <p:nvSpPr>
            <p:cNvPr id="4218" name="Freeform: Shape 4217">
              <a:extLst>
                <a:ext uri="{FF2B5EF4-FFF2-40B4-BE49-F238E27FC236}">
                  <a16:creationId xmlns:a16="http://schemas.microsoft.com/office/drawing/2014/main" id="{F1CF6270-323E-4C3E-9805-B5F557E68241}"/>
                </a:ext>
              </a:extLst>
            </p:cNvPr>
            <p:cNvSpPr/>
            <p:nvPr/>
          </p:nvSpPr>
          <p:spPr>
            <a:xfrm>
              <a:off x="3534754" y="1377463"/>
              <a:ext cx="58212" cy="71645"/>
            </a:xfrm>
            <a:custGeom>
              <a:avLst/>
              <a:gdLst>
                <a:gd name="connsiteX0" fmla="*/ 55973 w 58211"/>
                <a:gd name="connsiteY0" fmla="*/ 26867 h 71645"/>
                <a:gd name="connsiteX1" fmla="*/ 51495 w 58211"/>
                <a:gd name="connsiteY1" fmla="*/ 26867 h 71645"/>
                <a:gd name="connsiteX2" fmla="*/ 51495 w 58211"/>
                <a:gd name="connsiteY2" fmla="*/ 22389 h 71645"/>
                <a:gd name="connsiteX3" fmla="*/ 29106 w 58211"/>
                <a:gd name="connsiteY3" fmla="*/ 0 h 71645"/>
                <a:gd name="connsiteX4" fmla="*/ 6717 w 58211"/>
                <a:gd name="connsiteY4" fmla="*/ 22389 h 71645"/>
                <a:gd name="connsiteX5" fmla="*/ 6717 w 58211"/>
                <a:gd name="connsiteY5" fmla="*/ 26867 h 71645"/>
                <a:gd name="connsiteX6" fmla="*/ 2239 w 58211"/>
                <a:gd name="connsiteY6" fmla="*/ 26867 h 71645"/>
                <a:gd name="connsiteX7" fmla="*/ 0 w 58211"/>
                <a:gd name="connsiteY7" fmla="*/ 29106 h 71645"/>
                <a:gd name="connsiteX8" fmla="*/ 0 w 58211"/>
                <a:gd name="connsiteY8" fmla="*/ 69406 h 71645"/>
                <a:gd name="connsiteX9" fmla="*/ 2239 w 58211"/>
                <a:gd name="connsiteY9" fmla="*/ 71645 h 71645"/>
                <a:gd name="connsiteX10" fmla="*/ 55973 w 58211"/>
                <a:gd name="connsiteY10" fmla="*/ 71645 h 71645"/>
                <a:gd name="connsiteX11" fmla="*/ 58212 w 58211"/>
                <a:gd name="connsiteY11" fmla="*/ 69406 h 71645"/>
                <a:gd name="connsiteX12" fmla="*/ 58212 w 58211"/>
                <a:gd name="connsiteY12" fmla="*/ 29106 h 71645"/>
                <a:gd name="connsiteX13" fmla="*/ 55973 w 58211"/>
                <a:gd name="connsiteY13" fmla="*/ 26867 h 71645"/>
                <a:gd name="connsiteX14" fmla="*/ 11195 w 58211"/>
                <a:gd name="connsiteY14" fmla="*/ 22389 h 71645"/>
                <a:gd name="connsiteX15" fmla="*/ 29106 w 58211"/>
                <a:gd name="connsiteY15" fmla="*/ 4478 h 71645"/>
                <a:gd name="connsiteX16" fmla="*/ 47017 w 58211"/>
                <a:gd name="connsiteY16" fmla="*/ 22389 h 71645"/>
                <a:gd name="connsiteX17" fmla="*/ 47017 w 58211"/>
                <a:gd name="connsiteY17" fmla="*/ 26867 h 71645"/>
                <a:gd name="connsiteX18" fmla="*/ 11195 w 58211"/>
                <a:gd name="connsiteY18" fmla="*/ 26867 h 71645"/>
                <a:gd name="connsiteX19" fmla="*/ 11195 w 58211"/>
                <a:gd name="connsiteY19" fmla="*/ 22389 h 71645"/>
                <a:gd name="connsiteX20" fmla="*/ 53734 w 58211"/>
                <a:gd name="connsiteY20" fmla="*/ 67167 h 71645"/>
                <a:gd name="connsiteX21" fmla="*/ 4478 w 58211"/>
                <a:gd name="connsiteY21" fmla="*/ 67167 h 71645"/>
                <a:gd name="connsiteX22" fmla="*/ 4478 w 58211"/>
                <a:gd name="connsiteY22" fmla="*/ 31345 h 71645"/>
                <a:gd name="connsiteX23" fmla="*/ 8956 w 58211"/>
                <a:gd name="connsiteY23" fmla="*/ 31345 h 71645"/>
                <a:gd name="connsiteX24" fmla="*/ 49256 w 58211"/>
                <a:gd name="connsiteY24" fmla="*/ 31345 h 71645"/>
                <a:gd name="connsiteX25" fmla="*/ 53734 w 58211"/>
                <a:gd name="connsiteY25" fmla="*/ 31345 h 71645"/>
                <a:gd name="connsiteX26" fmla="*/ 53734 w 58211"/>
                <a:gd name="connsiteY26"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11" h="71645">
                  <a:moveTo>
                    <a:pt x="55973" y="26867"/>
                  </a:moveTo>
                  <a:lnTo>
                    <a:pt x="51495" y="26867"/>
                  </a:lnTo>
                  <a:lnTo>
                    <a:pt x="51495" y="22389"/>
                  </a:lnTo>
                  <a:cubicBezTo>
                    <a:pt x="51495" y="9851"/>
                    <a:pt x="41644" y="0"/>
                    <a:pt x="29106" y="0"/>
                  </a:cubicBezTo>
                  <a:cubicBezTo>
                    <a:pt x="16568" y="0"/>
                    <a:pt x="6717" y="9851"/>
                    <a:pt x="6717" y="22389"/>
                  </a:cubicBezTo>
                  <a:lnTo>
                    <a:pt x="6717" y="26867"/>
                  </a:lnTo>
                  <a:lnTo>
                    <a:pt x="2239" y="26867"/>
                  </a:lnTo>
                  <a:cubicBezTo>
                    <a:pt x="896" y="26867"/>
                    <a:pt x="0" y="27762"/>
                    <a:pt x="0" y="29106"/>
                  </a:cubicBezTo>
                  <a:lnTo>
                    <a:pt x="0" y="69406"/>
                  </a:lnTo>
                  <a:cubicBezTo>
                    <a:pt x="0" y="70750"/>
                    <a:pt x="896" y="71645"/>
                    <a:pt x="2239" y="71645"/>
                  </a:cubicBezTo>
                  <a:lnTo>
                    <a:pt x="55973" y="71645"/>
                  </a:lnTo>
                  <a:cubicBezTo>
                    <a:pt x="57316" y="71645"/>
                    <a:pt x="58212" y="70750"/>
                    <a:pt x="58212" y="69406"/>
                  </a:cubicBezTo>
                  <a:lnTo>
                    <a:pt x="58212" y="29106"/>
                  </a:lnTo>
                  <a:cubicBezTo>
                    <a:pt x="58212" y="27762"/>
                    <a:pt x="57316" y="26867"/>
                    <a:pt x="55973" y="26867"/>
                  </a:cubicBezTo>
                  <a:close/>
                  <a:moveTo>
                    <a:pt x="11195" y="22389"/>
                  </a:moveTo>
                  <a:cubicBezTo>
                    <a:pt x="11195" y="12538"/>
                    <a:pt x="19255" y="4478"/>
                    <a:pt x="29106" y="4478"/>
                  </a:cubicBezTo>
                  <a:cubicBezTo>
                    <a:pt x="38957" y="4478"/>
                    <a:pt x="47017" y="12538"/>
                    <a:pt x="47017" y="22389"/>
                  </a:cubicBezTo>
                  <a:lnTo>
                    <a:pt x="47017" y="26867"/>
                  </a:lnTo>
                  <a:lnTo>
                    <a:pt x="11195" y="26867"/>
                  </a:lnTo>
                  <a:lnTo>
                    <a:pt x="11195" y="22389"/>
                  </a:lnTo>
                  <a:close/>
                  <a:moveTo>
                    <a:pt x="53734" y="67167"/>
                  </a:moveTo>
                  <a:lnTo>
                    <a:pt x="4478" y="67167"/>
                  </a:lnTo>
                  <a:lnTo>
                    <a:pt x="4478" y="31345"/>
                  </a:lnTo>
                  <a:lnTo>
                    <a:pt x="8956" y="31345"/>
                  </a:lnTo>
                  <a:lnTo>
                    <a:pt x="49256" y="31345"/>
                  </a:lnTo>
                  <a:lnTo>
                    <a:pt x="53734" y="31345"/>
                  </a:lnTo>
                  <a:lnTo>
                    <a:pt x="53734" y="67167"/>
                  </a:lnTo>
                  <a:close/>
                </a:path>
              </a:pathLst>
            </a:custGeom>
            <a:solidFill>
              <a:srgbClr val="231F20"/>
            </a:solidFill>
            <a:ln w="4474" cap="flat">
              <a:noFill/>
              <a:prstDash val="solid"/>
              <a:miter/>
            </a:ln>
          </p:spPr>
          <p:txBody>
            <a:bodyPr rtlCol="0" anchor="ctr"/>
            <a:lstStyle/>
            <a:p>
              <a:endParaRPr lang="en-US"/>
            </a:p>
          </p:txBody>
        </p:sp>
        <p:sp>
          <p:nvSpPr>
            <p:cNvPr id="4219" name="Freeform: Shape 4218">
              <a:extLst>
                <a:ext uri="{FF2B5EF4-FFF2-40B4-BE49-F238E27FC236}">
                  <a16:creationId xmlns:a16="http://schemas.microsoft.com/office/drawing/2014/main" id="{BA08B879-991C-43D1-AB47-680C7FA75201}"/>
                </a:ext>
              </a:extLst>
            </p:cNvPr>
            <p:cNvSpPr/>
            <p:nvPr/>
          </p:nvSpPr>
          <p:spPr>
            <a:xfrm>
              <a:off x="3557143" y="1420002"/>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220" name="Freeform: Shape 4219">
              <a:extLst>
                <a:ext uri="{FF2B5EF4-FFF2-40B4-BE49-F238E27FC236}">
                  <a16:creationId xmlns:a16="http://schemas.microsoft.com/office/drawing/2014/main" id="{D15F6A06-DC1D-4EA5-95E2-314922C51BE9}"/>
                </a:ext>
              </a:extLst>
            </p:cNvPr>
            <p:cNvSpPr/>
            <p:nvPr/>
          </p:nvSpPr>
          <p:spPr>
            <a:xfrm>
              <a:off x="3561621" y="1431644"/>
              <a:ext cx="4478" cy="4478"/>
            </a:xfrm>
            <a:custGeom>
              <a:avLst/>
              <a:gdLst>
                <a:gd name="connsiteX0" fmla="*/ 0 w 4477"/>
                <a:gd name="connsiteY0" fmla="*/ 0 h 4477"/>
                <a:gd name="connsiteX1" fmla="*/ 4478 w 4477"/>
                <a:gd name="connsiteY1" fmla="*/ 0 h 4477"/>
                <a:gd name="connsiteX2" fmla="*/ 4478 w 4477"/>
                <a:gd name="connsiteY2" fmla="*/ 8060 h 4477"/>
                <a:gd name="connsiteX3" fmla="*/ 0 w 4477"/>
                <a:gd name="connsiteY3" fmla="*/ 8060 h 4477"/>
              </a:gdLst>
              <a:ahLst/>
              <a:cxnLst>
                <a:cxn ang="0">
                  <a:pos x="connsiteX0" y="connsiteY0"/>
                </a:cxn>
                <a:cxn ang="0">
                  <a:pos x="connsiteX1" y="connsiteY1"/>
                </a:cxn>
                <a:cxn ang="0">
                  <a:pos x="connsiteX2" y="connsiteY2"/>
                </a:cxn>
                <a:cxn ang="0">
                  <a:pos x="connsiteX3" y="connsiteY3"/>
                </a:cxn>
              </a:cxnLst>
              <a:rect l="l" t="t" r="r" b="b"/>
              <a:pathLst>
                <a:path w="4477" h="4477">
                  <a:moveTo>
                    <a:pt x="0" y="0"/>
                  </a:moveTo>
                  <a:lnTo>
                    <a:pt x="4478" y="0"/>
                  </a:lnTo>
                  <a:lnTo>
                    <a:pt x="4478" y="8060"/>
                  </a:lnTo>
                  <a:lnTo>
                    <a:pt x="0" y="8060"/>
                  </a:lnTo>
                  <a:close/>
                </a:path>
              </a:pathLst>
            </a:custGeom>
            <a:solidFill>
              <a:srgbClr val="231F20"/>
            </a:solidFill>
            <a:ln w="4474" cap="flat">
              <a:noFill/>
              <a:prstDash val="solid"/>
              <a:miter/>
            </a:ln>
          </p:spPr>
          <p:txBody>
            <a:bodyPr rtlCol="0" anchor="ctr"/>
            <a:lstStyle/>
            <a:p>
              <a:endParaRPr lang="en-US"/>
            </a:p>
          </p:txBody>
        </p:sp>
      </p:grpSp>
      <p:sp>
        <p:nvSpPr>
          <p:cNvPr id="4221" name="Freeform: Shape 4220">
            <a:extLst>
              <a:ext uri="{FF2B5EF4-FFF2-40B4-BE49-F238E27FC236}">
                <a16:creationId xmlns:a16="http://schemas.microsoft.com/office/drawing/2014/main" id="{8C248932-8BE4-45D6-BFAC-DC7A6CBB239E}"/>
              </a:ext>
              <a:ext uri="{C183D7F6-B498-43B3-948B-1728B52AA6E4}">
                <adec:decorative xmlns:adec="http://schemas.microsoft.com/office/drawing/2017/decorative" val="1"/>
              </a:ext>
            </a:extLst>
          </p:cNvPr>
          <p:cNvSpPr>
            <a:spLocks noChangeAspect="1"/>
          </p:cNvSpPr>
          <p:nvPr/>
        </p:nvSpPr>
        <p:spPr>
          <a:xfrm>
            <a:off x="5050042" y="2086035"/>
            <a:ext cx="125379" cy="125379"/>
          </a:xfrm>
          <a:custGeom>
            <a:avLst/>
            <a:gdLst>
              <a:gd name="connsiteX0" fmla="*/ 109707 w 125378"/>
              <a:gd name="connsiteY0" fmla="*/ 67167 h 125378"/>
              <a:gd name="connsiteX1" fmla="*/ 98512 w 125378"/>
              <a:gd name="connsiteY1" fmla="*/ 67167 h 125378"/>
              <a:gd name="connsiteX2" fmla="*/ 98512 w 125378"/>
              <a:gd name="connsiteY2" fmla="*/ 29106 h 125378"/>
              <a:gd name="connsiteX3" fmla="*/ 98512 w 125378"/>
              <a:gd name="connsiteY3" fmla="*/ 28210 h 125378"/>
              <a:gd name="connsiteX4" fmla="*/ 98064 w 125378"/>
              <a:gd name="connsiteY4" fmla="*/ 27315 h 125378"/>
              <a:gd name="connsiteX5" fmla="*/ 71197 w 125378"/>
              <a:gd name="connsiteY5" fmla="*/ 448 h 125378"/>
              <a:gd name="connsiteX6" fmla="*/ 70302 w 125378"/>
              <a:gd name="connsiteY6" fmla="*/ 0 h 125378"/>
              <a:gd name="connsiteX7" fmla="*/ 69406 w 125378"/>
              <a:gd name="connsiteY7" fmla="*/ 0 h 125378"/>
              <a:gd name="connsiteX8" fmla="*/ 29106 w 125378"/>
              <a:gd name="connsiteY8" fmla="*/ 0 h 125378"/>
              <a:gd name="connsiteX9" fmla="*/ 26867 w 125378"/>
              <a:gd name="connsiteY9" fmla="*/ 2239 h 125378"/>
              <a:gd name="connsiteX10" fmla="*/ 26867 w 125378"/>
              <a:gd name="connsiteY10" fmla="*/ 67167 h 125378"/>
              <a:gd name="connsiteX11" fmla="*/ 15672 w 125378"/>
              <a:gd name="connsiteY11" fmla="*/ 67167 h 125378"/>
              <a:gd name="connsiteX12" fmla="*/ 0 w 125378"/>
              <a:gd name="connsiteY12" fmla="*/ 82840 h 125378"/>
              <a:gd name="connsiteX13" fmla="*/ 0 w 125378"/>
              <a:gd name="connsiteY13" fmla="*/ 109707 h 125378"/>
              <a:gd name="connsiteX14" fmla="*/ 15672 w 125378"/>
              <a:gd name="connsiteY14" fmla="*/ 125379 h 125378"/>
              <a:gd name="connsiteX15" fmla="*/ 109707 w 125378"/>
              <a:gd name="connsiteY15" fmla="*/ 125379 h 125378"/>
              <a:gd name="connsiteX16" fmla="*/ 125379 w 125378"/>
              <a:gd name="connsiteY16" fmla="*/ 109707 h 125378"/>
              <a:gd name="connsiteX17" fmla="*/ 125379 w 125378"/>
              <a:gd name="connsiteY17" fmla="*/ 82840 h 125378"/>
              <a:gd name="connsiteX18" fmla="*/ 109707 w 125378"/>
              <a:gd name="connsiteY18" fmla="*/ 67167 h 125378"/>
              <a:gd name="connsiteX19" fmla="*/ 71645 w 125378"/>
              <a:gd name="connsiteY19" fmla="*/ 7612 h 125378"/>
              <a:gd name="connsiteX20" fmla="*/ 90900 w 125378"/>
              <a:gd name="connsiteY20" fmla="*/ 26867 h 125378"/>
              <a:gd name="connsiteX21" fmla="*/ 73884 w 125378"/>
              <a:gd name="connsiteY21" fmla="*/ 26867 h 125378"/>
              <a:gd name="connsiteX22" fmla="*/ 71645 w 125378"/>
              <a:gd name="connsiteY22" fmla="*/ 24628 h 125378"/>
              <a:gd name="connsiteX23" fmla="*/ 71645 w 125378"/>
              <a:gd name="connsiteY23" fmla="*/ 7612 h 125378"/>
              <a:gd name="connsiteX24" fmla="*/ 31345 w 125378"/>
              <a:gd name="connsiteY24" fmla="*/ 4478 h 125378"/>
              <a:gd name="connsiteX25" fmla="*/ 67167 w 125378"/>
              <a:gd name="connsiteY25" fmla="*/ 4478 h 125378"/>
              <a:gd name="connsiteX26" fmla="*/ 67167 w 125378"/>
              <a:gd name="connsiteY26" fmla="*/ 24628 h 125378"/>
              <a:gd name="connsiteX27" fmla="*/ 73884 w 125378"/>
              <a:gd name="connsiteY27" fmla="*/ 31345 h 125378"/>
              <a:gd name="connsiteX28" fmla="*/ 94034 w 125378"/>
              <a:gd name="connsiteY28" fmla="*/ 31345 h 125378"/>
              <a:gd name="connsiteX29" fmla="*/ 94034 w 125378"/>
              <a:gd name="connsiteY29" fmla="*/ 67167 h 125378"/>
              <a:gd name="connsiteX30" fmla="*/ 31345 w 125378"/>
              <a:gd name="connsiteY30" fmla="*/ 67167 h 125378"/>
              <a:gd name="connsiteX31" fmla="*/ 31345 w 125378"/>
              <a:gd name="connsiteY31" fmla="*/ 4478 h 125378"/>
              <a:gd name="connsiteX32" fmla="*/ 120901 w 125378"/>
              <a:gd name="connsiteY32" fmla="*/ 109707 h 125378"/>
              <a:gd name="connsiteX33" fmla="*/ 109707 w 125378"/>
              <a:gd name="connsiteY33" fmla="*/ 120901 h 125378"/>
              <a:gd name="connsiteX34" fmla="*/ 15672 w 125378"/>
              <a:gd name="connsiteY34" fmla="*/ 120901 h 125378"/>
              <a:gd name="connsiteX35" fmla="*/ 4478 w 125378"/>
              <a:gd name="connsiteY35" fmla="*/ 109707 h 125378"/>
              <a:gd name="connsiteX36" fmla="*/ 4478 w 125378"/>
              <a:gd name="connsiteY36" fmla="*/ 82840 h 125378"/>
              <a:gd name="connsiteX37" fmla="*/ 15672 w 125378"/>
              <a:gd name="connsiteY37" fmla="*/ 71645 h 125378"/>
              <a:gd name="connsiteX38" fmla="*/ 29106 w 125378"/>
              <a:gd name="connsiteY38" fmla="*/ 71645 h 125378"/>
              <a:gd name="connsiteX39" fmla="*/ 96273 w 125378"/>
              <a:gd name="connsiteY39" fmla="*/ 71645 h 125378"/>
              <a:gd name="connsiteX40" fmla="*/ 109707 w 125378"/>
              <a:gd name="connsiteY40" fmla="*/ 71645 h 125378"/>
              <a:gd name="connsiteX41" fmla="*/ 120901 w 125378"/>
              <a:gd name="connsiteY41" fmla="*/ 82840 h 125378"/>
              <a:gd name="connsiteX42" fmla="*/ 120901 w 125378"/>
              <a:gd name="connsiteY42" fmla="*/ 109707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378" h="125378">
                <a:moveTo>
                  <a:pt x="109707" y="67167"/>
                </a:moveTo>
                <a:lnTo>
                  <a:pt x="98512" y="67167"/>
                </a:lnTo>
                <a:lnTo>
                  <a:pt x="98512" y="29106"/>
                </a:lnTo>
                <a:cubicBezTo>
                  <a:pt x="98512" y="28658"/>
                  <a:pt x="98512" y="28658"/>
                  <a:pt x="98512" y="28210"/>
                </a:cubicBezTo>
                <a:cubicBezTo>
                  <a:pt x="98512" y="27762"/>
                  <a:pt x="98064" y="27762"/>
                  <a:pt x="98064" y="27315"/>
                </a:cubicBezTo>
                <a:lnTo>
                  <a:pt x="71197" y="448"/>
                </a:lnTo>
                <a:cubicBezTo>
                  <a:pt x="71197" y="448"/>
                  <a:pt x="70749" y="0"/>
                  <a:pt x="70302" y="0"/>
                </a:cubicBezTo>
                <a:cubicBezTo>
                  <a:pt x="69854" y="0"/>
                  <a:pt x="69854" y="0"/>
                  <a:pt x="69406" y="0"/>
                </a:cubicBezTo>
                <a:lnTo>
                  <a:pt x="29106" y="0"/>
                </a:lnTo>
                <a:cubicBezTo>
                  <a:pt x="27763" y="0"/>
                  <a:pt x="26867" y="896"/>
                  <a:pt x="26867" y="2239"/>
                </a:cubicBezTo>
                <a:lnTo>
                  <a:pt x="26867" y="67167"/>
                </a:lnTo>
                <a:lnTo>
                  <a:pt x="15672" y="67167"/>
                </a:lnTo>
                <a:cubicBezTo>
                  <a:pt x="7164" y="67167"/>
                  <a:pt x="0" y="74332"/>
                  <a:pt x="0" y="82840"/>
                </a:cubicBezTo>
                <a:lnTo>
                  <a:pt x="0" y="109707"/>
                </a:lnTo>
                <a:cubicBezTo>
                  <a:pt x="0" y="118214"/>
                  <a:pt x="7164" y="125379"/>
                  <a:pt x="15672" y="125379"/>
                </a:cubicBezTo>
                <a:lnTo>
                  <a:pt x="109707" y="125379"/>
                </a:lnTo>
                <a:cubicBezTo>
                  <a:pt x="118215" y="125379"/>
                  <a:pt x="125379" y="118214"/>
                  <a:pt x="125379" y="109707"/>
                </a:cubicBezTo>
                <a:lnTo>
                  <a:pt x="125379" y="82840"/>
                </a:lnTo>
                <a:cubicBezTo>
                  <a:pt x="125379" y="74332"/>
                  <a:pt x="118215" y="67167"/>
                  <a:pt x="109707" y="67167"/>
                </a:cubicBezTo>
                <a:close/>
                <a:moveTo>
                  <a:pt x="71645" y="7612"/>
                </a:moveTo>
                <a:lnTo>
                  <a:pt x="90900" y="26867"/>
                </a:lnTo>
                <a:lnTo>
                  <a:pt x="73884" y="26867"/>
                </a:lnTo>
                <a:cubicBezTo>
                  <a:pt x="72541" y="26867"/>
                  <a:pt x="71645" y="25971"/>
                  <a:pt x="71645" y="24628"/>
                </a:cubicBezTo>
                <a:lnTo>
                  <a:pt x="71645" y="7612"/>
                </a:lnTo>
                <a:close/>
                <a:moveTo>
                  <a:pt x="31345" y="4478"/>
                </a:moveTo>
                <a:lnTo>
                  <a:pt x="67167" y="4478"/>
                </a:lnTo>
                <a:lnTo>
                  <a:pt x="67167" y="24628"/>
                </a:lnTo>
                <a:cubicBezTo>
                  <a:pt x="67167" y="28210"/>
                  <a:pt x="70302" y="31345"/>
                  <a:pt x="73884" y="31345"/>
                </a:cubicBezTo>
                <a:lnTo>
                  <a:pt x="94034" y="31345"/>
                </a:lnTo>
                <a:lnTo>
                  <a:pt x="94034" y="67167"/>
                </a:lnTo>
                <a:lnTo>
                  <a:pt x="31345" y="67167"/>
                </a:lnTo>
                <a:lnTo>
                  <a:pt x="31345" y="4478"/>
                </a:lnTo>
                <a:close/>
                <a:moveTo>
                  <a:pt x="120901" y="109707"/>
                </a:moveTo>
                <a:cubicBezTo>
                  <a:pt x="120901" y="115975"/>
                  <a:pt x="115976" y="120901"/>
                  <a:pt x="109707" y="120901"/>
                </a:cubicBezTo>
                <a:lnTo>
                  <a:pt x="15672" y="120901"/>
                </a:lnTo>
                <a:cubicBezTo>
                  <a:pt x="9403" y="120901"/>
                  <a:pt x="4478" y="115975"/>
                  <a:pt x="4478" y="109707"/>
                </a:cubicBezTo>
                <a:lnTo>
                  <a:pt x="4478" y="82840"/>
                </a:lnTo>
                <a:cubicBezTo>
                  <a:pt x="4478" y="76571"/>
                  <a:pt x="9403" y="71645"/>
                  <a:pt x="15672" y="71645"/>
                </a:cubicBezTo>
                <a:lnTo>
                  <a:pt x="29106" y="71645"/>
                </a:lnTo>
                <a:lnTo>
                  <a:pt x="96273" y="71645"/>
                </a:lnTo>
                <a:lnTo>
                  <a:pt x="109707" y="71645"/>
                </a:lnTo>
                <a:cubicBezTo>
                  <a:pt x="115976" y="71645"/>
                  <a:pt x="120901" y="76571"/>
                  <a:pt x="120901" y="82840"/>
                </a:cubicBezTo>
                <a:lnTo>
                  <a:pt x="120901" y="109707"/>
                </a:lnTo>
                <a:close/>
              </a:path>
            </a:pathLst>
          </a:custGeom>
          <a:solidFill>
            <a:srgbClr val="231F20"/>
          </a:solidFill>
          <a:ln w="4474" cap="flat">
            <a:noFill/>
            <a:prstDash val="solid"/>
            <a:miter/>
          </a:ln>
        </p:spPr>
        <p:txBody>
          <a:bodyPr rtlCol="0" anchor="ctr"/>
          <a:lstStyle/>
          <a:p>
            <a:endParaRPr lang="en-US"/>
          </a:p>
        </p:txBody>
      </p:sp>
      <p:sp>
        <p:nvSpPr>
          <p:cNvPr id="4222" name="Freeform: Shape 4221">
            <a:extLst>
              <a:ext uri="{FF2B5EF4-FFF2-40B4-BE49-F238E27FC236}">
                <a16:creationId xmlns:a16="http://schemas.microsoft.com/office/drawing/2014/main" id="{FDC1C88A-C051-498F-AEFD-4FF9BE427C59}"/>
              </a:ext>
              <a:ext uri="{C183D7F6-B498-43B3-948B-1728B52AA6E4}">
                <adec:decorative xmlns:adec="http://schemas.microsoft.com/office/drawing/2017/decorative" val="1"/>
              </a:ext>
            </a:extLst>
          </p:cNvPr>
          <p:cNvSpPr>
            <a:spLocks noChangeAspect="1"/>
          </p:cNvSpPr>
          <p:nvPr/>
        </p:nvSpPr>
        <p:spPr>
          <a:xfrm>
            <a:off x="1333565" y="3339694"/>
            <a:ext cx="138812" cy="134335"/>
          </a:xfrm>
          <a:custGeom>
            <a:avLst/>
            <a:gdLst>
              <a:gd name="connsiteX0" fmla="*/ 132431 w 138812"/>
              <a:gd name="connsiteY0" fmla="*/ 22519 h 134334"/>
              <a:gd name="connsiteX1" fmla="*/ 118102 w 138812"/>
              <a:gd name="connsiteY1" fmla="*/ 18936 h 134334"/>
              <a:gd name="connsiteX2" fmla="*/ 88549 w 138812"/>
              <a:gd name="connsiteY2" fmla="*/ 24757 h 134334"/>
              <a:gd name="connsiteX3" fmla="*/ 39741 w 138812"/>
              <a:gd name="connsiteY3" fmla="*/ 577 h 134334"/>
              <a:gd name="connsiteX4" fmla="*/ 336 w 138812"/>
              <a:gd name="connsiteY4" fmla="*/ 40430 h 134334"/>
              <a:gd name="connsiteX5" fmla="*/ 336 w 138812"/>
              <a:gd name="connsiteY5" fmla="*/ 53415 h 134334"/>
              <a:gd name="connsiteX6" fmla="*/ 336 w 138812"/>
              <a:gd name="connsiteY6" fmla="*/ 53415 h 134334"/>
              <a:gd name="connsiteX7" fmla="*/ 336 w 138812"/>
              <a:gd name="connsiteY7" fmla="*/ 53415 h 134334"/>
              <a:gd name="connsiteX8" fmla="*/ 10635 w 138812"/>
              <a:gd name="connsiteY8" fmla="*/ 76700 h 134334"/>
              <a:gd name="connsiteX9" fmla="*/ 15113 w 138812"/>
              <a:gd name="connsiteY9" fmla="*/ 88342 h 134334"/>
              <a:gd name="connsiteX10" fmla="*/ 15113 w 138812"/>
              <a:gd name="connsiteY10" fmla="*/ 136255 h 134334"/>
              <a:gd name="connsiteX11" fmla="*/ 17352 w 138812"/>
              <a:gd name="connsiteY11" fmla="*/ 138494 h 134334"/>
              <a:gd name="connsiteX12" fmla="*/ 19590 w 138812"/>
              <a:gd name="connsiteY12" fmla="*/ 136255 h 134334"/>
              <a:gd name="connsiteX13" fmla="*/ 19590 w 138812"/>
              <a:gd name="connsiteY13" fmla="*/ 88342 h 134334"/>
              <a:gd name="connsiteX14" fmla="*/ 14217 w 138812"/>
              <a:gd name="connsiteY14" fmla="*/ 73566 h 134334"/>
              <a:gd name="connsiteX15" fmla="*/ 5709 w 138812"/>
              <a:gd name="connsiteY15" fmla="*/ 54759 h 134334"/>
              <a:gd name="connsiteX16" fmla="*/ 60339 w 138812"/>
              <a:gd name="connsiteY16" fmla="*/ 54759 h 134334"/>
              <a:gd name="connsiteX17" fmla="*/ 60339 w 138812"/>
              <a:gd name="connsiteY17" fmla="*/ 64162 h 134334"/>
              <a:gd name="connsiteX18" fmla="*/ 74220 w 138812"/>
              <a:gd name="connsiteY18" fmla="*/ 81178 h 134334"/>
              <a:gd name="connsiteX19" fmla="*/ 87653 w 138812"/>
              <a:gd name="connsiteY19" fmla="*/ 83865 h 134334"/>
              <a:gd name="connsiteX20" fmla="*/ 87653 w 138812"/>
              <a:gd name="connsiteY20" fmla="*/ 106701 h 134334"/>
              <a:gd name="connsiteX21" fmla="*/ 86758 w 138812"/>
              <a:gd name="connsiteY21" fmla="*/ 108940 h 134334"/>
              <a:gd name="connsiteX22" fmla="*/ 84967 w 138812"/>
              <a:gd name="connsiteY22" fmla="*/ 109388 h 134334"/>
              <a:gd name="connsiteX23" fmla="*/ 68846 w 138812"/>
              <a:gd name="connsiteY23" fmla="*/ 104910 h 134334"/>
              <a:gd name="connsiteX24" fmla="*/ 63025 w 138812"/>
              <a:gd name="connsiteY24" fmla="*/ 105806 h 134334"/>
              <a:gd name="connsiteX25" fmla="*/ 60339 w 138812"/>
              <a:gd name="connsiteY25" fmla="*/ 111627 h 134334"/>
              <a:gd name="connsiteX26" fmla="*/ 60339 w 138812"/>
              <a:gd name="connsiteY26" fmla="*/ 135359 h 134334"/>
              <a:gd name="connsiteX27" fmla="*/ 62578 w 138812"/>
              <a:gd name="connsiteY27" fmla="*/ 137598 h 134334"/>
              <a:gd name="connsiteX28" fmla="*/ 64816 w 138812"/>
              <a:gd name="connsiteY28" fmla="*/ 135359 h 134334"/>
              <a:gd name="connsiteX29" fmla="*/ 64816 w 138812"/>
              <a:gd name="connsiteY29" fmla="*/ 111627 h 134334"/>
              <a:gd name="connsiteX30" fmla="*/ 65712 w 138812"/>
              <a:gd name="connsiteY30" fmla="*/ 109388 h 134334"/>
              <a:gd name="connsiteX31" fmla="*/ 67503 w 138812"/>
              <a:gd name="connsiteY31" fmla="*/ 108940 h 134334"/>
              <a:gd name="connsiteX32" fmla="*/ 83623 w 138812"/>
              <a:gd name="connsiteY32" fmla="*/ 113418 h 134334"/>
              <a:gd name="connsiteX33" fmla="*/ 89444 w 138812"/>
              <a:gd name="connsiteY33" fmla="*/ 112523 h 134334"/>
              <a:gd name="connsiteX34" fmla="*/ 92131 w 138812"/>
              <a:gd name="connsiteY34" fmla="*/ 106701 h 134334"/>
              <a:gd name="connsiteX35" fmla="*/ 92131 w 138812"/>
              <a:gd name="connsiteY35" fmla="*/ 84760 h 134334"/>
              <a:gd name="connsiteX36" fmla="*/ 118550 w 138812"/>
              <a:gd name="connsiteY36" fmla="*/ 90134 h 134334"/>
              <a:gd name="connsiteX37" fmla="*/ 122132 w 138812"/>
              <a:gd name="connsiteY37" fmla="*/ 90581 h 134334"/>
              <a:gd name="connsiteX38" fmla="*/ 132879 w 138812"/>
              <a:gd name="connsiteY38" fmla="*/ 86551 h 134334"/>
              <a:gd name="connsiteX39" fmla="*/ 139148 w 138812"/>
              <a:gd name="connsiteY39" fmla="*/ 73118 h 134334"/>
              <a:gd name="connsiteX40" fmla="*/ 139148 w 138812"/>
              <a:gd name="connsiteY40" fmla="*/ 34609 h 134334"/>
              <a:gd name="connsiteX41" fmla="*/ 132431 w 138812"/>
              <a:gd name="connsiteY41" fmla="*/ 22519 h 134334"/>
              <a:gd name="connsiteX42" fmla="*/ 4814 w 138812"/>
              <a:gd name="connsiteY42" fmla="*/ 51177 h 134334"/>
              <a:gd name="connsiteX43" fmla="*/ 5261 w 138812"/>
              <a:gd name="connsiteY43" fmla="*/ 40878 h 134334"/>
              <a:gd name="connsiteX44" fmla="*/ 41084 w 138812"/>
              <a:gd name="connsiteY44" fmla="*/ 5055 h 134334"/>
              <a:gd name="connsiteX45" fmla="*/ 84519 w 138812"/>
              <a:gd name="connsiteY45" fmla="*/ 25653 h 134334"/>
              <a:gd name="connsiteX46" fmla="*/ 74220 w 138812"/>
              <a:gd name="connsiteY46" fmla="*/ 27892 h 134334"/>
              <a:gd name="connsiteX47" fmla="*/ 60339 w 138812"/>
              <a:gd name="connsiteY47" fmla="*/ 44908 h 134334"/>
              <a:gd name="connsiteX48" fmla="*/ 60339 w 138812"/>
              <a:gd name="connsiteY48" fmla="*/ 51624 h 134334"/>
              <a:gd name="connsiteX49" fmla="*/ 4814 w 138812"/>
              <a:gd name="connsiteY49" fmla="*/ 51624 h 134334"/>
              <a:gd name="connsiteX50" fmla="*/ 134670 w 138812"/>
              <a:gd name="connsiteY50" fmla="*/ 74461 h 134334"/>
              <a:gd name="connsiteX51" fmla="*/ 130193 w 138812"/>
              <a:gd name="connsiteY51" fmla="*/ 84312 h 134334"/>
              <a:gd name="connsiteX52" fmla="*/ 119894 w 138812"/>
              <a:gd name="connsiteY52" fmla="*/ 86999 h 134334"/>
              <a:gd name="connsiteX53" fmla="*/ 75115 w 138812"/>
              <a:gd name="connsiteY53" fmla="*/ 78043 h 134334"/>
              <a:gd name="connsiteX54" fmla="*/ 64816 w 138812"/>
              <a:gd name="connsiteY54" fmla="*/ 65506 h 134334"/>
              <a:gd name="connsiteX55" fmla="*/ 64816 w 138812"/>
              <a:gd name="connsiteY55" fmla="*/ 55654 h 134334"/>
              <a:gd name="connsiteX56" fmla="*/ 75563 w 138812"/>
              <a:gd name="connsiteY56" fmla="*/ 55654 h 134334"/>
              <a:gd name="connsiteX57" fmla="*/ 75563 w 138812"/>
              <a:gd name="connsiteY57" fmla="*/ 62371 h 134334"/>
              <a:gd name="connsiteX58" fmla="*/ 77802 w 138812"/>
              <a:gd name="connsiteY58" fmla="*/ 64610 h 134334"/>
              <a:gd name="connsiteX59" fmla="*/ 80041 w 138812"/>
              <a:gd name="connsiteY59" fmla="*/ 62371 h 134334"/>
              <a:gd name="connsiteX60" fmla="*/ 80041 w 138812"/>
              <a:gd name="connsiteY60" fmla="*/ 47147 h 134334"/>
              <a:gd name="connsiteX61" fmla="*/ 77802 w 138812"/>
              <a:gd name="connsiteY61" fmla="*/ 44908 h 134334"/>
              <a:gd name="connsiteX62" fmla="*/ 75563 w 138812"/>
              <a:gd name="connsiteY62" fmla="*/ 47147 h 134334"/>
              <a:gd name="connsiteX63" fmla="*/ 75563 w 138812"/>
              <a:gd name="connsiteY63" fmla="*/ 51177 h 134334"/>
              <a:gd name="connsiteX64" fmla="*/ 64816 w 138812"/>
              <a:gd name="connsiteY64" fmla="*/ 51177 h 134334"/>
              <a:gd name="connsiteX65" fmla="*/ 64816 w 138812"/>
              <a:gd name="connsiteY65" fmla="*/ 44460 h 134334"/>
              <a:gd name="connsiteX66" fmla="*/ 75115 w 138812"/>
              <a:gd name="connsiteY66" fmla="*/ 31922 h 134334"/>
              <a:gd name="connsiteX67" fmla="*/ 88101 w 138812"/>
              <a:gd name="connsiteY67" fmla="*/ 29235 h 134334"/>
              <a:gd name="connsiteX68" fmla="*/ 88549 w 138812"/>
              <a:gd name="connsiteY68" fmla="*/ 29235 h 134334"/>
              <a:gd name="connsiteX69" fmla="*/ 119446 w 138812"/>
              <a:gd name="connsiteY69" fmla="*/ 22966 h 134334"/>
              <a:gd name="connsiteX70" fmla="*/ 129745 w 138812"/>
              <a:gd name="connsiteY70" fmla="*/ 25653 h 134334"/>
              <a:gd name="connsiteX71" fmla="*/ 134223 w 138812"/>
              <a:gd name="connsiteY71" fmla="*/ 35504 h 134334"/>
              <a:gd name="connsiteX72" fmla="*/ 134223 w 138812"/>
              <a:gd name="connsiteY72" fmla="*/ 74461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8812" h="134334">
                <a:moveTo>
                  <a:pt x="132431" y="22519"/>
                </a:moveTo>
                <a:cubicBezTo>
                  <a:pt x="128401" y="19384"/>
                  <a:pt x="123476" y="18041"/>
                  <a:pt x="118102" y="18936"/>
                </a:cubicBezTo>
                <a:lnTo>
                  <a:pt x="88549" y="24757"/>
                </a:lnTo>
                <a:cubicBezTo>
                  <a:pt x="79145" y="7294"/>
                  <a:pt x="59443" y="-2557"/>
                  <a:pt x="39741" y="577"/>
                </a:cubicBezTo>
                <a:cubicBezTo>
                  <a:pt x="19590" y="3712"/>
                  <a:pt x="3470" y="19832"/>
                  <a:pt x="336" y="40430"/>
                </a:cubicBezTo>
                <a:cubicBezTo>
                  <a:pt x="-112" y="44908"/>
                  <a:pt x="-112" y="49385"/>
                  <a:pt x="336" y="53415"/>
                </a:cubicBezTo>
                <a:cubicBezTo>
                  <a:pt x="336" y="53415"/>
                  <a:pt x="336" y="53415"/>
                  <a:pt x="336" y="53415"/>
                </a:cubicBezTo>
                <a:cubicBezTo>
                  <a:pt x="336" y="53415"/>
                  <a:pt x="336" y="53415"/>
                  <a:pt x="336" y="53415"/>
                </a:cubicBezTo>
                <a:cubicBezTo>
                  <a:pt x="1679" y="61923"/>
                  <a:pt x="4814" y="69983"/>
                  <a:pt x="10635" y="76700"/>
                </a:cubicBezTo>
                <a:cubicBezTo>
                  <a:pt x="13769" y="80282"/>
                  <a:pt x="15113" y="84312"/>
                  <a:pt x="15113" y="88342"/>
                </a:cubicBezTo>
                <a:lnTo>
                  <a:pt x="15113" y="136255"/>
                </a:lnTo>
                <a:cubicBezTo>
                  <a:pt x="15113" y="137598"/>
                  <a:pt x="16008" y="138494"/>
                  <a:pt x="17352" y="138494"/>
                </a:cubicBezTo>
                <a:cubicBezTo>
                  <a:pt x="18695" y="138494"/>
                  <a:pt x="19590" y="137598"/>
                  <a:pt x="19590" y="136255"/>
                </a:cubicBezTo>
                <a:lnTo>
                  <a:pt x="19590" y="88342"/>
                </a:lnTo>
                <a:cubicBezTo>
                  <a:pt x="19590" y="83417"/>
                  <a:pt x="17799" y="78043"/>
                  <a:pt x="14217" y="73566"/>
                </a:cubicBezTo>
                <a:cubicBezTo>
                  <a:pt x="9739" y="68192"/>
                  <a:pt x="7053" y="61923"/>
                  <a:pt x="5709" y="54759"/>
                </a:cubicBezTo>
                <a:lnTo>
                  <a:pt x="60339" y="54759"/>
                </a:lnTo>
                <a:lnTo>
                  <a:pt x="60339" y="64162"/>
                </a:lnTo>
                <a:cubicBezTo>
                  <a:pt x="60339" y="72222"/>
                  <a:pt x="66160" y="79387"/>
                  <a:pt x="74220" y="81178"/>
                </a:cubicBezTo>
                <a:lnTo>
                  <a:pt x="87653" y="83865"/>
                </a:lnTo>
                <a:lnTo>
                  <a:pt x="87653" y="106701"/>
                </a:lnTo>
                <a:cubicBezTo>
                  <a:pt x="87653" y="107597"/>
                  <a:pt x="87206" y="108493"/>
                  <a:pt x="86758" y="108940"/>
                </a:cubicBezTo>
                <a:cubicBezTo>
                  <a:pt x="86310" y="109388"/>
                  <a:pt x="85862" y="109388"/>
                  <a:pt x="84967" y="109388"/>
                </a:cubicBezTo>
                <a:lnTo>
                  <a:pt x="68846" y="104910"/>
                </a:lnTo>
                <a:cubicBezTo>
                  <a:pt x="67055" y="104463"/>
                  <a:pt x="64816" y="104910"/>
                  <a:pt x="63025" y="105806"/>
                </a:cubicBezTo>
                <a:cubicBezTo>
                  <a:pt x="61234" y="107149"/>
                  <a:pt x="60339" y="109388"/>
                  <a:pt x="60339" y="111627"/>
                </a:cubicBezTo>
                <a:lnTo>
                  <a:pt x="60339" y="135359"/>
                </a:lnTo>
                <a:cubicBezTo>
                  <a:pt x="60339" y="136703"/>
                  <a:pt x="61234" y="137598"/>
                  <a:pt x="62578" y="137598"/>
                </a:cubicBezTo>
                <a:cubicBezTo>
                  <a:pt x="63921" y="137598"/>
                  <a:pt x="64816" y="136703"/>
                  <a:pt x="64816" y="135359"/>
                </a:cubicBezTo>
                <a:lnTo>
                  <a:pt x="64816" y="111627"/>
                </a:lnTo>
                <a:cubicBezTo>
                  <a:pt x="64816" y="110731"/>
                  <a:pt x="65264" y="109836"/>
                  <a:pt x="65712" y="109388"/>
                </a:cubicBezTo>
                <a:cubicBezTo>
                  <a:pt x="66160" y="108940"/>
                  <a:pt x="66608" y="108940"/>
                  <a:pt x="67503" y="108940"/>
                </a:cubicBezTo>
                <a:lnTo>
                  <a:pt x="83623" y="113418"/>
                </a:lnTo>
                <a:cubicBezTo>
                  <a:pt x="85414" y="113866"/>
                  <a:pt x="87653" y="113418"/>
                  <a:pt x="89444" y="112523"/>
                </a:cubicBezTo>
                <a:cubicBezTo>
                  <a:pt x="91236" y="111179"/>
                  <a:pt x="92131" y="108940"/>
                  <a:pt x="92131" y="106701"/>
                </a:cubicBezTo>
                <a:lnTo>
                  <a:pt x="92131" y="84760"/>
                </a:lnTo>
                <a:lnTo>
                  <a:pt x="118550" y="90134"/>
                </a:lnTo>
                <a:cubicBezTo>
                  <a:pt x="119894" y="90581"/>
                  <a:pt x="120789" y="90581"/>
                  <a:pt x="122132" y="90581"/>
                </a:cubicBezTo>
                <a:cubicBezTo>
                  <a:pt x="126163" y="90581"/>
                  <a:pt x="129745" y="89238"/>
                  <a:pt x="132879" y="86551"/>
                </a:cubicBezTo>
                <a:cubicBezTo>
                  <a:pt x="136909" y="83417"/>
                  <a:pt x="139148" y="78491"/>
                  <a:pt x="139148" y="73118"/>
                </a:cubicBezTo>
                <a:lnTo>
                  <a:pt x="139148" y="34609"/>
                </a:lnTo>
                <a:cubicBezTo>
                  <a:pt x="139148" y="30579"/>
                  <a:pt x="136462" y="25653"/>
                  <a:pt x="132431" y="22519"/>
                </a:cubicBezTo>
                <a:close/>
                <a:moveTo>
                  <a:pt x="4814" y="51177"/>
                </a:moveTo>
                <a:cubicBezTo>
                  <a:pt x="4366" y="47594"/>
                  <a:pt x="4366" y="44460"/>
                  <a:pt x="5261" y="40878"/>
                </a:cubicBezTo>
                <a:cubicBezTo>
                  <a:pt x="7948" y="22519"/>
                  <a:pt x="22725" y="7742"/>
                  <a:pt x="41084" y="5055"/>
                </a:cubicBezTo>
                <a:cubicBezTo>
                  <a:pt x="58547" y="2368"/>
                  <a:pt x="76011" y="10428"/>
                  <a:pt x="84519" y="25653"/>
                </a:cubicBezTo>
                <a:lnTo>
                  <a:pt x="74220" y="27892"/>
                </a:lnTo>
                <a:cubicBezTo>
                  <a:pt x="66160" y="29683"/>
                  <a:pt x="60339" y="36400"/>
                  <a:pt x="60339" y="44908"/>
                </a:cubicBezTo>
                <a:lnTo>
                  <a:pt x="60339" y="51624"/>
                </a:lnTo>
                <a:lnTo>
                  <a:pt x="4814" y="51624"/>
                </a:lnTo>
                <a:close/>
                <a:moveTo>
                  <a:pt x="134670" y="74461"/>
                </a:moveTo>
                <a:cubicBezTo>
                  <a:pt x="134670" y="78491"/>
                  <a:pt x="132879" y="82073"/>
                  <a:pt x="130193" y="84312"/>
                </a:cubicBezTo>
                <a:cubicBezTo>
                  <a:pt x="127058" y="86551"/>
                  <a:pt x="123476" y="87447"/>
                  <a:pt x="119894" y="86999"/>
                </a:cubicBezTo>
                <a:lnTo>
                  <a:pt x="75115" y="78043"/>
                </a:lnTo>
                <a:cubicBezTo>
                  <a:pt x="69294" y="76700"/>
                  <a:pt x="64816" y="71775"/>
                  <a:pt x="64816" y="65506"/>
                </a:cubicBezTo>
                <a:lnTo>
                  <a:pt x="64816" y="55654"/>
                </a:lnTo>
                <a:lnTo>
                  <a:pt x="75563" y="55654"/>
                </a:lnTo>
                <a:lnTo>
                  <a:pt x="75563" y="62371"/>
                </a:lnTo>
                <a:cubicBezTo>
                  <a:pt x="75563" y="63714"/>
                  <a:pt x="76459" y="64610"/>
                  <a:pt x="77802" y="64610"/>
                </a:cubicBezTo>
                <a:cubicBezTo>
                  <a:pt x="79145" y="64610"/>
                  <a:pt x="80041" y="63714"/>
                  <a:pt x="80041" y="62371"/>
                </a:cubicBezTo>
                <a:lnTo>
                  <a:pt x="80041" y="47147"/>
                </a:lnTo>
                <a:cubicBezTo>
                  <a:pt x="80041" y="45803"/>
                  <a:pt x="79145" y="44908"/>
                  <a:pt x="77802" y="44908"/>
                </a:cubicBezTo>
                <a:cubicBezTo>
                  <a:pt x="76459" y="44908"/>
                  <a:pt x="75563" y="45803"/>
                  <a:pt x="75563" y="47147"/>
                </a:cubicBezTo>
                <a:lnTo>
                  <a:pt x="75563" y="51177"/>
                </a:lnTo>
                <a:lnTo>
                  <a:pt x="64816" y="51177"/>
                </a:lnTo>
                <a:lnTo>
                  <a:pt x="64816" y="44460"/>
                </a:lnTo>
                <a:cubicBezTo>
                  <a:pt x="64816" y="38191"/>
                  <a:pt x="69294" y="33265"/>
                  <a:pt x="75115" y="31922"/>
                </a:cubicBezTo>
                <a:lnTo>
                  <a:pt x="88101" y="29235"/>
                </a:lnTo>
                <a:cubicBezTo>
                  <a:pt x="88101" y="29235"/>
                  <a:pt x="88549" y="29235"/>
                  <a:pt x="88549" y="29235"/>
                </a:cubicBezTo>
                <a:lnTo>
                  <a:pt x="119446" y="22966"/>
                </a:lnTo>
                <a:cubicBezTo>
                  <a:pt x="123028" y="22071"/>
                  <a:pt x="127058" y="22966"/>
                  <a:pt x="129745" y="25653"/>
                </a:cubicBezTo>
                <a:cubicBezTo>
                  <a:pt x="132879" y="27892"/>
                  <a:pt x="134223" y="31922"/>
                  <a:pt x="134223" y="35504"/>
                </a:cubicBezTo>
                <a:lnTo>
                  <a:pt x="134223" y="74461"/>
                </a:lnTo>
                <a:close/>
              </a:path>
            </a:pathLst>
          </a:custGeom>
          <a:solidFill>
            <a:srgbClr val="231F20"/>
          </a:solidFill>
          <a:ln w="4474" cap="flat">
            <a:noFill/>
            <a:prstDash val="solid"/>
            <a:miter/>
          </a:ln>
        </p:spPr>
        <p:txBody>
          <a:bodyPr rtlCol="0" anchor="ctr"/>
          <a:lstStyle/>
          <a:p>
            <a:endParaRPr lang="en-US"/>
          </a:p>
        </p:txBody>
      </p:sp>
      <p:grpSp>
        <p:nvGrpSpPr>
          <p:cNvPr id="4223" name="Group 4222">
            <a:extLst>
              <a:ext uri="{FF2B5EF4-FFF2-40B4-BE49-F238E27FC236}">
                <a16:creationId xmlns:a16="http://schemas.microsoft.com/office/drawing/2014/main" id="{AAF154E5-B16B-48B6-9FED-B710F4415AC5}"/>
              </a:ext>
              <a:ext uri="{C183D7F6-B498-43B3-948B-1728B52AA6E4}">
                <adec:decorative xmlns:adec="http://schemas.microsoft.com/office/drawing/2017/decorative" val="1"/>
              </a:ext>
            </a:extLst>
          </p:cNvPr>
          <p:cNvGrpSpPr>
            <a:grpSpLocks noChangeAspect="1"/>
          </p:cNvGrpSpPr>
          <p:nvPr/>
        </p:nvGrpSpPr>
        <p:grpSpPr>
          <a:xfrm>
            <a:off x="1863626" y="3326390"/>
            <a:ext cx="150007" cy="152127"/>
            <a:chOff x="1904380" y="2590951"/>
            <a:chExt cx="150007" cy="152127"/>
          </a:xfrm>
        </p:grpSpPr>
        <p:sp>
          <p:nvSpPr>
            <p:cNvPr id="4224" name="Freeform: Shape 4223">
              <a:extLst>
                <a:ext uri="{FF2B5EF4-FFF2-40B4-BE49-F238E27FC236}">
                  <a16:creationId xmlns:a16="http://schemas.microsoft.com/office/drawing/2014/main" id="{17E5F126-0CB0-4EC4-B9CA-E6E515597EB0}"/>
                </a:ext>
              </a:extLst>
            </p:cNvPr>
            <p:cNvSpPr/>
            <p:nvPr/>
          </p:nvSpPr>
          <p:spPr>
            <a:xfrm>
              <a:off x="1904380" y="2636508"/>
              <a:ext cx="35823" cy="58212"/>
            </a:xfrm>
            <a:custGeom>
              <a:avLst/>
              <a:gdLst>
                <a:gd name="connsiteX0" fmla="*/ 33584 w 35822"/>
                <a:gd name="connsiteY0" fmla="*/ 60119 h 58211"/>
                <a:gd name="connsiteX1" fmla="*/ 32688 w 35822"/>
                <a:gd name="connsiteY1" fmla="*/ 60119 h 58211"/>
                <a:gd name="connsiteX2" fmla="*/ 0 w 35822"/>
                <a:gd name="connsiteY2" fmla="*/ 30566 h 58211"/>
                <a:gd name="connsiteX3" fmla="*/ 37166 w 35822"/>
                <a:gd name="connsiteY3" fmla="*/ 116 h 58211"/>
                <a:gd name="connsiteX4" fmla="*/ 39853 w 35822"/>
                <a:gd name="connsiteY4" fmla="*/ 1908 h 58211"/>
                <a:gd name="connsiteX5" fmla="*/ 38061 w 35822"/>
                <a:gd name="connsiteY5" fmla="*/ 4594 h 58211"/>
                <a:gd name="connsiteX6" fmla="*/ 4030 w 35822"/>
                <a:gd name="connsiteY6" fmla="*/ 31013 h 58211"/>
                <a:gd name="connsiteX7" fmla="*/ 34031 w 35822"/>
                <a:gd name="connsiteY7" fmla="*/ 56089 h 58211"/>
                <a:gd name="connsiteX8" fmla="*/ 35375 w 35822"/>
                <a:gd name="connsiteY8" fmla="*/ 58776 h 58211"/>
                <a:gd name="connsiteX9" fmla="*/ 33584 w 35822"/>
                <a:gd name="connsiteY9" fmla="*/ 60119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2" h="58211">
                  <a:moveTo>
                    <a:pt x="33584" y="60119"/>
                  </a:moveTo>
                  <a:cubicBezTo>
                    <a:pt x="33136" y="60119"/>
                    <a:pt x="33136" y="60119"/>
                    <a:pt x="32688" y="60119"/>
                  </a:cubicBezTo>
                  <a:cubicBezTo>
                    <a:pt x="11642" y="53403"/>
                    <a:pt x="0" y="42656"/>
                    <a:pt x="0" y="30566"/>
                  </a:cubicBezTo>
                  <a:cubicBezTo>
                    <a:pt x="0" y="17580"/>
                    <a:pt x="13881" y="6385"/>
                    <a:pt x="37166" y="116"/>
                  </a:cubicBezTo>
                  <a:cubicBezTo>
                    <a:pt x="38509" y="-331"/>
                    <a:pt x="39405" y="564"/>
                    <a:pt x="39853" y="1908"/>
                  </a:cubicBezTo>
                  <a:cubicBezTo>
                    <a:pt x="40300" y="3251"/>
                    <a:pt x="39405" y="4147"/>
                    <a:pt x="38061" y="4594"/>
                  </a:cubicBezTo>
                  <a:cubicBezTo>
                    <a:pt x="17016" y="10416"/>
                    <a:pt x="4030" y="20267"/>
                    <a:pt x="4030" y="31013"/>
                  </a:cubicBezTo>
                  <a:cubicBezTo>
                    <a:pt x="4030" y="40865"/>
                    <a:pt x="15225" y="50268"/>
                    <a:pt x="34031" y="56089"/>
                  </a:cubicBezTo>
                  <a:cubicBezTo>
                    <a:pt x="35375" y="56537"/>
                    <a:pt x="35823" y="57880"/>
                    <a:pt x="35375" y="58776"/>
                  </a:cubicBezTo>
                  <a:cubicBezTo>
                    <a:pt x="35375" y="59671"/>
                    <a:pt x="34479" y="60119"/>
                    <a:pt x="33584" y="60119"/>
                  </a:cubicBezTo>
                  <a:close/>
                </a:path>
              </a:pathLst>
            </a:custGeom>
            <a:solidFill>
              <a:srgbClr val="231F20"/>
            </a:solidFill>
            <a:ln w="4474" cap="flat">
              <a:noFill/>
              <a:prstDash val="solid"/>
              <a:miter/>
            </a:ln>
          </p:spPr>
          <p:txBody>
            <a:bodyPr rtlCol="0" anchor="ctr"/>
            <a:lstStyle/>
            <a:p>
              <a:endParaRPr lang="en-US"/>
            </a:p>
          </p:txBody>
        </p:sp>
        <p:sp>
          <p:nvSpPr>
            <p:cNvPr id="4225" name="Freeform: Shape 4224">
              <a:extLst>
                <a:ext uri="{FF2B5EF4-FFF2-40B4-BE49-F238E27FC236}">
                  <a16:creationId xmlns:a16="http://schemas.microsoft.com/office/drawing/2014/main" id="{B4512196-757C-426D-B916-054E7C068DA3}"/>
                </a:ext>
              </a:extLst>
            </p:cNvPr>
            <p:cNvSpPr/>
            <p:nvPr/>
          </p:nvSpPr>
          <p:spPr>
            <a:xfrm>
              <a:off x="1950831" y="2707255"/>
              <a:ext cx="58212" cy="35823"/>
            </a:xfrm>
            <a:custGeom>
              <a:avLst/>
              <a:gdLst>
                <a:gd name="connsiteX0" fmla="*/ 29673 w 58211"/>
                <a:gd name="connsiteY0" fmla="*/ 36389 h 35822"/>
                <a:gd name="connsiteX1" fmla="*/ 119 w 58211"/>
                <a:gd name="connsiteY1" fmla="*/ 2806 h 35822"/>
                <a:gd name="connsiteX2" fmla="*/ 1462 w 58211"/>
                <a:gd name="connsiteY2" fmla="*/ 119 h 35822"/>
                <a:gd name="connsiteX3" fmla="*/ 4149 w 58211"/>
                <a:gd name="connsiteY3" fmla="*/ 1462 h 35822"/>
                <a:gd name="connsiteX4" fmla="*/ 29673 w 58211"/>
                <a:gd name="connsiteY4" fmla="*/ 31912 h 35822"/>
                <a:gd name="connsiteX5" fmla="*/ 54301 w 58211"/>
                <a:gd name="connsiteY5" fmla="*/ 3254 h 35822"/>
                <a:gd name="connsiteX6" fmla="*/ 56987 w 58211"/>
                <a:gd name="connsiteY6" fmla="*/ 1910 h 35822"/>
                <a:gd name="connsiteX7" fmla="*/ 58331 w 58211"/>
                <a:gd name="connsiteY7" fmla="*/ 4597 h 35822"/>
                <a:gd name="connsiteX8" fmla="*/ 29673 w 58211"/>
                <a:gd name="connsiteY8" fmla="*/ 36389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1" h="35822">
                  <a:moveTo>
                    <a:pt x="29673" y="36389"/>
                  </a:moveTo>
                  <a:cubicBezTo>
                    <a:pt x="17583" y="36389"/>
                    <a:pt x="6388" y="23851"/>
                    <a:pt x="119" y="2806"/>
                  </a:cubicBezTo>
                  <a:cubicBezTo>
                    <a:pt x="-329" y="1462"/>
                    <a:pt x="567" y="567"/>
                    <a:pt x="1462" y="119"/>
                  </a:cubicBezTo>
                  <a:cubicBezTo>
                    <a:pt x="2806" y="-329"/>
                    <a:pt x="3701" y="567"/>
                    <a:pt x="4149" y="1462"/>
                  </a:cubicBezTo>
                  <a:cubicBezTo>
                    <a:pt x="9970" y="20717"/>
                    <a:pt x="19822" y="31912"/>
                    <a:pt x="29673" y="31912"/>
                  </a:cubicBezTo>
                  <a:cubicBezTo>
                    <a:pt x="39076" y="31912"/>
                    <a:pt x="48480" y="21165"/>
                    <a:pt x="54301" y="3254"/>
                  </a:cubicBezTo>
                  <a:cubicBezTo>
                    <a:pt x="54748" y="1910"/>
                    <a:pt x="56092" y="1462"/>
                    <a:pt x="56987" y="1910"/>
                  </a:cubicBezTo>
                  <a:cubicBezTo>
                    <a:pt x="58331" y="2358"/>
                    <a:pt x="58779" y="3701"/>
                    <a:pt x="58331" y="4597"/>
                  </a:cubicBezTo>
                  <a:cubicBezTo>
                    <a:pt x="51614" y="24747"/>
                    <a:pt x="41315" y="36389"/>
                    <a:pt x="29673" y="36389"/>
                  </a:cubicBezTo>
                  <a:close/>
                </a:path>
              </a:pathLst>
            </a:custGeom>
            <a:solidFill>
              <a:srgbClr val="231F20"/>
            </a:solidFill>
            <a:ln w="4474" cap="flat">
              <a:noFill/>
              <a:prstDash val="solid"/>
              <a:miter/>
            </a:ln>
          </p:spPr>
          <p:txBody>
            <a:bodyPr rtlCol="0" anchor="ctr"/>
            <a:lstStyle/>
            <a:p>
              <a:endParaRPr lang="en-US"/>
            </a:p>
          </p:txBody>
        </p:sp>
        <p:sp>
          <p:nvSpPr>
            <p:cNvPr id="4226" name="Freeform: Shape 4225">
              <a:extLst>
                <a:ext uri="{FF2B5EF4-FFF2-40B4-BE49-F238E27FC236}">
                  <a16:creationId xmlns:a16="http://schemas.microsoft.com/office/drawing/2014/main" id="{28C7C6FB-634C-46CF-8E37-834329C36D60}"/>
                </a:ext>
              </a:extLst>
            </p:cNvPr>
            <p:cNvSpPr/>
            <p:nvPr/>
          </p:nvSpPr>
          <p:spPr>
            <a:xfrm>
              <a:off x="1934606" y="2590951"/>
              <a:ext cx="80601" cy="98512"/>
            </a:xfrm>
            <a:custGeom>
              <a:avLst/>
              <a:gdLst>
                <a:gd name="connsiteX0" fmla="*/ 45898 w 80600"/>
                <a:gd name="connsiteY0" fmla="*/ 0 h 98511"/>
                <a:gd name="connsiteX1" fmla="*/ 10075 w 80600"/>
                <a:gd name="connsiteY1" fmla="*/ 76123 h 98511"/>
                <a:gd name="connsiteX2" fmla="*/ 10971 w 80600"/>
                <a:gd name="connsiteY2" fmla="*/ 92691 h 98511"/>
                <a:gd name="connsiteX3" fmla="*/ 3806 w 80600"/>
                <a:gd name="connsiteY3" fmla="*/ 85526 h 98511"/>
                <a:gd name="connsiteX4" fmla="*/ 672 w 80600"/>
                <a:gd name="connsiteY4" fmla="*/ 85526 h 98511"/>
                <a:gd name="connsiteX5" fmla="*/ 672 w 80600"/>
                <a:gd name="connsiteY5" fmla="*/ 88661 h 98511"/>
                <a:gd name="connsiteX6" fmla="*/ 12314 w 80600"/>
                <a:gd name="connsiteY6" fmla="*/ 99855 h 98511"/>
                <a:gd name="connsiteX7" fmla="*/ 12314 w 80600"/>
                <a:gd name="connsiteY7" fmla="*/ 99855 h 98511"/>
                <a:gd name="connsiteX8" fmla="*/ 12314 w 80600"/>
                <a:gd name="connsiteY8" fmla="*/ 99855 h 98511"/>
                <a:gd name="connsiteX9" fmla="*/ 12314 w 80600"/>
                <a:gd name="connsiteY9" fmla="*/ 99855 h 98511"/>
                <a:gd name="connsiteX10" fmla="*/ 12314 w 80600"/>
                <a:gd name="connsiteY10" fmla="*/ 99855 h 98511"/>
                <a:gd name="connsiteX11" fmla="*/ 12762 w 80600"/>
                <a:gd name="connsiteY11" fmla="*/ 99855 h 98511"/>
                <a:gd name="connsiteX12" fmla="*/ 13210 w 80600"/>
                <a:gd name="connsiteY12" fmla="*/ 99855 h 98511"/>
                <a:gd name="connsiteX13" fmla="*/ 13210 w 80600"/>
                <a:gd name="connsiteY13" fmla="*/ 99855 h 98511"/>
                <a:gd name="connsiteX14" fmla="*/ 13657 w 80600"/>
                <a:gd name="connsiteY14" fmla="*/ 99855 h 98511"/>
                <a:gd name="connsiteX15" fmla="*/ 13657 w 80600"/>
                <a:gd name="connsiteY15" fmla="*/ 99855 h 98511"/>
                <a:gd name="connsiteX16" fmla="*/ 13657 w 80600"/>
                <a:gd name="connsiteY16" fmla="*/ 99855 h 98511"/>
                <a:gd name="connsiteX17" fmla="*/ 13657 w 80600"/>
                <a:gd name="connsiteY17" fmla="*/ 99855 h 98511"/>
                <a:gd name="connsiteX18" fmla="*/ 13657 w 80600"/>
                <a:gd name="connsiteY18" fmla="*/ 99855 h 98511"/>
                <a:gd name="connsiteX19" fmla="*/ 13657 w 80600"/>
                <a:gd name="connsiteY19" fmla="*/ 99855 h 98511"/>
                <a:gd name="connsiteX20" fmla="*/ 13657 w 80600"/>
                <a:gd name="connsiteY20" fmla="*/ 99855 h 98511"/>
                <a:gd name="connsiteX21" fmla="*/ 13657 w 80600"/>
                <a:gd name="connsiteY21" fmla="*/ 99855 h 98511"/>
                <a:gd name="connsiteX22" fmla="*/ 14105 w 80600"/>
                <a:gd name="connsiteY22" fmla="*/ 99855 h 98511"/>
                <a:gd name="connsiteX23" fmla="*/ 14553 w 80600"/>
                <a:gd name="connsiteY23" fmla="*/ 99855 h 98511"/>
                <a:gd name="connsiteX24" fmla="*/ 15001 w 80600"/>
                <a:gd name="connsiteY24" fmla="*/ 99855 h 98511"/>
                <a:gd name="connsiteX25" fmla="*/ 15001 w 80600"/>
                <a:gd name="connsiteY25" fmla="*/ 99855 h 98511"/>
                <a:gd name="connsiteX26" fmla="*/ 15448 w 80600"/>
                <a:gd name="connsiteY26" fmla="*/ 99407 h 98511"/>
                <a:gd name="connsiteX27" fmla="*/ 15448 w 80600"/>
                <a:gd name="connsiteY27" fmla="*/ 99407 h 98511"/>
                <a:gd name="connsiteX28" fmla="*/ 15448 w 80600"/>
                <a:gd name="connsiteY28" fmla="*/ 99407 h 98511"/>
                <a:gd name="connsiteX29" fmla="*/ 15448 w 80600"/>
                <a:gd name="connsiteY29" fmla="*/ 99407 h 98511"/>
                <a:gd name="connsiteX30" fmla="*/ 25300 w 80600"/>
                <a:gd name="connsiteY30" fmla="*/ 87317 h 98511"/>
                <a:gd name="connsiteX31" fmla="*/ 24852 w 80600"/>
                <a:gd name="connsiteY31" fmla="*/ 84183 h 98511"/>
                <a:gd name="connsiteX32" fmla="*/ 21717 w 80600"/>
                <a:gd name="connsiteY32" fmla="*/ 84631 h 98511"/>
                <a:gd name="connsiteX33" fmla="*/ 15448 w 80600"/>
                <a:gd name="connsiteY33" fmla="*/ 92243 h 98511"/>
                <a:gd name="connsiteX34" fmla="*/ 14553 w 80600"/>
                <a:gd name="connsiteY34" fmla="*/ 75227 h 98511"/>
                <a:gd name="connsiteX35" fmla="*/ 45898 w 80600"/>
                <a:gd name="connsiteY35" fmla="*/ 3582 h 98511"/>
                <a:gd name="connsiteX36" fmla="*/ 77242 w 80600"/>
                <a:gd name="connsiteY36" fmla="*/ 75227 h 98511"/>
                <a:gd name="connsiteX37" fmla="*/ 76347 w 80600"/>
                <a:gd name="connsiteY37" fmla="*/ 91795 h 98511"/>
                <a:gd name="connsiteX38" fmla="*/ 78138 w 80600"/>
                <a:gd name="connsiteY38" fmla="*/ 94034 h 98511"/>
                <a:gd name="connsiteX39" fmla="*/ 80377 w 80600"/>
                <a:gd name="connsiteY39" fmla="*/ 92243 h 98511"/>
                <a:gd name="connsiteX40" fmla="*/ 81272 w 80600"/>
                <a:gd name="connsiteY40" fmla="*/ 75227 h 98511"/>
                <a:gd name="connsiteX41" fmla="*/ 45898 w 80600"/>
                <a:gd name="connsiteY41" fmla="*/ 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0600" h="98511">
                  <a:moveTo>
                    <a:pt x="45898" y="0"/>
                  </a:moveTo>
                  <a:cubicBezTo>
                    <a:pt x="25747" y="0"/>
                    <a:pt x="10075" y="33584"/>
                    <a:pt x="10075" y="76123"/>
                  </a:cubicBezTo>
                  <a:cubicBezTo>
                    <a:pt x="10075" y="81944"/>
                    <a:pt x="10523" y="87317"/>
                    <a:pt x="10971" y="92691"/>
                  </a:cubicBezTo>
                  <a:lnTo>
                    <a:pt x="3806" y="85526"/>
                  </a:lnTo>
                  <a:cubicBezTo>
                    <a:pt x="2911" y="84631"/>
                    <a:pt x="1567" y="84631"/>
                    <a:pt x="672" y="85526"/>
                  </a:cubicBezTo>
                  <a:cubicBezTo>
                    <a:pt x="-224" y="86422"/>
                    <a:pt x="-224" y="87765"/>
                    <a:pt x="672" y="88661"/>
                  </a:cubicBezTo>
                  <a:lnTo>
                    <a:pt x="12314" y="99855"/>
                  </a:lnTo>
                  <a:cubicBezTo>
                    <a:pt x="12314" y="99855"/>
                    <a:pt x="12314" y="99855"/>
                    <a:pt x="12314" y="99855"/>
                  </a:cubicBezTo>
                  <a:cubicBezTo>
                    <a:pt x="12314" y="99855"/>
                    <a:pt x="12314" y="99855"/>
                    <a:pt x="12314" y="99855"/>
                  </a:cubicBezTo>
                  <a:cubicBezTo>
                    <a:pt x="12314" y="99855"/>
                    <a:pt x="12314" y="99855"/>
                    <a:pt x="12314" y="99855"/>
                  </a:cubicBezTo>
                  <a:cubicBezTo>
                    <a:pt x="12314" y="99855"/>
                    <a:pt x="12314" y="99855"/>
                    <a:pt x="12314" y="99855"/>
                  </a:cubicBezTo>
                  <a:cubicBezTo>
                    <a:pt x="12314" y="99855"/>
                    <a:pt x="12314" y="99855"/>
                    <a:pt x="12762" y="99855"/>
                  </a:cubicBezTo>
                  <a:cubicBezTo>
                    <a:pt x="12762" y="99855"/>
                    <a:pt x="12762" y="99855"/>
                    <a:pt x="13210" y="99855"/>
                  </a:cubicBezTo>
                  <a:cubicBezTo>
                    <a:pt x="13210" y="99855"/>
                    <a:pt x="13210" y="99855"/>
                    <a:pt x="13210" y="99855"/>
                  </a:cubicBezTo>
                  <a:cubicBezTo>
                    <a:pt x="13210" y="99855"/>
                    <a:pt x="13657" y="99855"/>
                    <a:pt x="13657" y="99855"/>
                  </a:cubicBezTo>
                  <a:cubicBezTo>
                    <a:pt x="13657" y="99855"/>
                    <a:pt x="13657" y="99855"/>
                    <a:pt x="13657" y="99855"/>
                  </a:cubicBezTo>
                  <a:cubicBezTo>
                    <a:pt x="13657" y="99855"/>
                    <a:pt x="13657" y="99855"/>
                    <a:pt x="13657" y="99855"/>
                  </a:cubicBezTo>
                  <a:lnTo>
                    <a:pt x="13657" y="99855"/>
                  </a:lnTo>
                  <a:cubicBezTo>
                    <a:pt x="13657" y="99855"/>
                    <a:pt x="13657" y="99855"/>
                    <a:pt x="13657" y="99855"/>
                  </a:cubicBezTo>
                  <a:cubicBezTo>
                    <a:pt x="13657" y="99855"/>
                    <a:pt x="13657" y="99855"/>
                    <a:pt x="13657" y="99855"/>
                  </a:cubicBezTo>
                  <a:lnTo>
                    <a:pt x="13657" y="99855"/>
                  </a:lnTo>
                  <a:lnTo>
                    <a:pt x="13657" y="99855"/>
                  </a:lnTo>
                  <a:cubicBezTo>
                    <a:pt x="13657" y="99855"/>
                    <a:pt x="13657" y="99855"/>
                    <a:pt x="14105" y="99855"/>
                  </a:cubicBezTo>
                  <a:cubicBezTo>
                    <a:pt x="14105" y="99855"/>
                    <a:pt x="14105" y="99855"/>
                    <a:pt x="14553" y="99855"/>
                  </a:cubicBezTo>
                  <a:cubicBezTo>
                    <a:pt x="14553" y="99855"/>
                    <a:pt x="14553" y="99855"/>
                    <a:pt x="15001" y="99855"/>
                  </a:cubicBezTo>
                  <a:cubicBezTo>
                    <a:pt x="15001" y="99855"/>
                    <a:pt x="15001" y="99855"/>
                    <a:pt x="15001" y="99855"/>
                  </a:cubicBezTo>
                  <a:cubicBezTo>
                    <a:pt x="15001" y="99855"/>
                    <a:pt x="15448" y="99855"/>
                    <a:pt x="15448" y="99407"/>
                  </a:cubicBezTo>
                  <a:cubicBezTo>
                    <a:pt x="15448" y="99407"/>
                    <a:pt x="15448" y="99407"/>
                    <a:pt x="15448" y="99407"/>
                  </a:cubicBezTo>
                  <a:cubicBezTo>
                    <a:pt x="15448" y="99407"/>
                    <a:pt x="15448" y="99407"/>
                    <a:pt x="15448" y="99407"/>
                  </a:cubicBezTo>
                  <a:cubicBezTo>
                    <a:pt x="15448" y="99407"/>
                    <a:pt x="15448" y="99407"/>
                    <a:pt x="15448" y="99407"/>
                  </a:cubicBezTo>
                  <a:lnTo>
                    <a:pt x="25300" y="87317"/>
                  </a:lnTo>
                  <a:cubicBezTo>
                    <a:pt x="26195" y="86422"/>
                    <a:pt x="25747" y="85079"/>
                    <a:pt x="24852" y="84183"/>
                  </a:cubicBezTo>
                  <a:cubicBezTo>
                    <a:pt x="23956" y="83287"/>
                    <a:pt x="22613" y="83735"/>
                    <a:pt x="21717" y="84631"/>
                  </a:cubicBezTo>
                  <a:lnTo>
                    <a:pt x="15448" y="92243"/>
                  </a:lnTo>
                  <a:cubicBezTo>
                    <a:pt x="15001" y="86870"/>
                    <a:pt x="14553" y="81049"/>
                    <a:pt x="14553" y="75227"/>
                  </a:cubicBezTo>
                  <a:cubicBezTo>
                    <a:pt x="14553" y="36270"/>
                    <a:pt x="28882" y="3582"/>
                    <a:pt x="45898" y="3582"/>
                  </a:cubicBezTo>
                  <a:cubicBezTo>
                    <a:pt x="62913" y="3582"/>
                    <a:pt x="77242" y="36270"/>
                    <a:pt x="77242" y="75227"/>
                  </a:cubicBezTo>
                  <a:cubicBezTo>
                    <a:pt x="77242" y="80601"/>
                    <a:pt x="76795" y="86422"/>
                    <a:pt x="76347" y="91795"/>
                  </a:cubicBezTo>
                  <a:cubicBezTo>
                    <a:pt x="76347" y="93139"/>
                    <a:pt x="77242" y="94034"/>
                    <a:pt x="78138" y="94034"/>
                  </a:cubicBezTo>
                  <a:cubicBezTo>
                    <a:pt x="79481" y="94034"/>
                    <a:pt x="80377" y="93139"/>
                    <a:pt x="80377" y="92243"/>
                  </a:cubicBezTo>
                  <a:cubicBezTo>
                    <a:pt x="80825" y="86870"/>
                    <a:pt x="81272" y="81049"/>
                    <a:pt x="81272" y="75227"/>
                  </a:cubicBezTo>
                  <a:cubicBezTo>
                    <a:pt x="81272" y="33584"/>
                    <a:pt x="65600" y="0"/>
                    <a:pt x="45898" y="0"/>
                  </a:cubicBezTo>
                  <a:close/>
                </a:path>
              </a:pathLst>
            </a:custGeom>
            <a:solidFill>
              <a:srgbClr val="231F20"/>
            </a:solidFill>
            <a:ln w="4474" cap="flat">
              <a:noFill/>
              <a:prstDash val="solid"/>
              <a:miter/>
            </a:ln>
          </p:spPr>
          <p:txBody>
            <a:bodyPr rtlCol="0" anchor="ctr"/>
            <a:lstStyle/>
            <a:p>
              <a:endParaRPr lang="en-US"/>
            </a:p>
          </p:txBody>
        </p:sp>
        <p:sp>
          <p:nvSpPr>
            <p:cNvPr id="4227" name="Freeform: Shape 4226">
              <a:extLst>
                <a:ext uri="{FF2B5EF4-FFF2-40B4-BE49-F238E27FC236}">
                  <a16:creationId xmlns:a16="http://schemas.microsoft.com/office/drawing/2014/main" id="{C95794D7-EC90-49B9-A07E-4D102E2CA880}"/>
                </a:ext>
              </a:extLst>
            </p:cNvPr>
            <p:cNvSpPr/>
            <p:nvPr/>
          </p:nvSpPr>
          <p:spPr>
            <a:xfrm>
              <a:off x="1960353" y="2637401"/>
              <a:ext cx="94034" cy="71645"/>
            </a:xfrm>
            <a:custGeom>
              <a:avLst/>
              <a:gdLst>
                <a:gd name="connsiteX0" fmla="*/ 61794 w 94034"/>
                <a:gd name="connsiteY0" fmla="*/ 119 h 71645"/>
                <a:gd name="connsiteX1" fmla="*/ 59107 w 94034"/>
                <a:gd name="connsiteY1" fmla="*/ 1462 h 71645"/>
                <a:gd name="connsiteX2" fmla="*/ 60451 w 94034"/>
                <a:gd name="connsiteY2" fmla="*/ 4149 h 71645"/>
                <a:gd name="connsiteX3" fmla="*/ 91347 w 94034"/>
                <a:gd name="connsiteY3" fmla="*/ 29673 h 71645"/>
                <a:gd name="connsiteX4" fmla="*/ 19702 w 94034"/>
                <a:gd name="connsiteY4" fmla="*/ 60570 h 71645"/>
                <a:gd name="connsiteX5" fmla="*/ 7165 w 94034"/>
                <a:gd name="connsiteY5" fmla="*/ 60122 h 71645"/>
                <a:gd name="connsiteX6" fmla="*/ 15225 w 94034"/>
                <a:gd name="connsiteY6" fmla="*/ 53853 h 71645"/>
                <a:gd name="connsiteX7" fmla="*/ 15672 w 94034"/>
                <a:gd name="connsiteY7" fmla="*/ 50718 h 71645"/>
                <a:gd name="connsiteX8" fmla="*/ 12538 w 94034"/>
                <a:gd name="connsiteY8" fmla="*/ 50271 h 71645"/>
                <a:gd name="connsiteX9" fmla="*/ 0 w 94034"/>
                <a:gd name="connsiteY9" fmla="*/ 60122 h 71645"/>
                <a:gd name="connsiteX10" fmla="*/ 0 w 94034"/>
                <a:gd name="connsiteY10" fmla="*/ 60122 h 71645"/>
                <a:gd name="connsiteX11" fmla="*/ 0 w 94034"/>
                <a:gd name="connsiteY11" fmla="*/ 60122 h 71645"/>
                <a:gd name="connsiteX12" fmla="*/ 0 w 94034"/>
                <a:gd name="connsiteY12" fmla="*/ 60122 h 71645"/>
                <a:gd name="connsiteX13" fmla="*/ 0 w 94034"/>
                <a:gd name="connsiteY13" fmla="*/ 60122 h 71645"/>
                <a:gd name="connsiteX14" fmla="*/ 0 w 94034"/>
                <a:gd name="connsiteY14" fmla="*/ 60570 h 71645"/>
                <a:gd name="connsiteX15" fmla="*/ 0 w 94034"/>
                <a:gd name="connsiteY15" fmla="*/ 60570 h 71645"/>
                <a:gd name="connsiteX16" fmla="*/ 0 w 94034"/>
                <a:gd name="connsiteY16" fmla="*/ 61017 h 71645"/>
                <a:gd name="connsiteX17" fmla="*/ 0 w 94034"/>
                <a:gd name="connsiteY17" fmla="*/ 61465 h 71645"/>
                <a:gd name="connsiteX18" fmla="*/ 0 w 94034"/>
                <a:gd name="connsiteY18" fmla="*/ 61465 h 71645"/>
                <a:gd name="connsiteX19" fmla="*/ 0 w 94034"/>
                <a:gd name="connsiteY19" fmla="*/ 61465 h 71645"/>
                <a:gd name="connsiteX20" fmla="*/ 0 w 94034"/>
                <a:gd name="connsiteY20" fmla="*/ 61913 h 71645"/>
                <a:gd name="connsiteX21" fmla="*/ 0 w 94034"/>
                <a:gd name="connsiteY21" fmla="*/ 62361 h 71645"/>
                <a:gd name="connsiteX22" fmla="*/ 0 w 94034"/>
                <a:gd name="connsiteY22" fmla="*/ 62361 h 71645"/>
                <a:gd name="connsiteX23" fmla="*/ 0 w 94034"/>
                <a:gd name="connsiteY23" fmla="*/ 62809 h 71645"/>
                <a:gd name="connsiteX24" fmla="*/ 0 w 94034"/>
                <a:gd name="connsiteY24" fmla="*/ 62809 h 71645"/>
                <a:gd name="connsiteX25" fmla="*/ 0 w 94034"/>
                <a:gd name="connsiteY25" fmla="*/ 62809 h 71645"/>
                <a:gd name="connsiteX26" fmla="*/ 0 w 94034"/>
                <a:gd name="connsiteY26" fmla="*/ 62809 h 71645"/>
                <a:gd name="connsiteX27" fmla="*/ 0 w 94034"/>
                <a:gd name="connsiteY27" fmla="*/ 62809 h 71645"/>
                <a:gd name="connsiteX28" fmla="*/ 0 w 94034"/>
                <a:gd name="connsiteY28" fmla="*/ 62809 h 71645"/>
                <a:gd name="connsiteX29" fmla="*/ 11642 w 94034"/>
                <a:gd name="connsiteY29" fmla="*/ 74003 h 71645"/>
                <a:gd name="connsiteX30" fmla="*/ 12986 w 94034"/>
                <a:gd name="connsiteY30" fmla="*/ 74451 h 71645"/>
                <a:gd name="connsiteX31" fmla="*/ 14777 w 94034"/>
                <a:gd name="connsiteY31" fmla="*/ 73555 h 71645"/>
                <a:gd name="connsiteX32" fmla="*/ 14777 w 94034"/>
                <a:gd name="connsiteY32" fmla="*/ 70421 h 71645"/>
                <a:gd name="connsiteX33" fmla="*/ 7612 w 94034"/>
                <a:gd name="connsiteY33" fmla="*/ 63704 h 71645"/>
                <a:gd name="connsiteX34" fmla="*/ 19702 w 94034"/>
                <a:gd name="connsiteY34" fmla="*/ 64152 h 71645"/>
                <a:gd name="connsiteX35" fmla="*/ 95825 w 94034"/>
                <a:gd name="connsiteY35" fmla="*/ 28777 h 71645"/>
                <a:gd name="connsiteX36" fmla="*/ 61794 w 94034"/>
                <a:gd name="connsiteY36" fmla="*/ 119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4034" h="71645">
                  <a:moveTo>
                    <a:pt x="61794" y="119"/>
                  </a:moveTo>
                  <a:cubicBezTo>
                    <a:pt x="60451" y="-329"/>
                    <a:pt x="59555" y="567"/>
                    <a:pt x="59107" y="1462"/>
                  </a:cubicBezTo>
                  <a:cubicBezTo>
                    <a:pt x="58659" y="2806"/>
                    <a:pt x="59555" y="3701"/>
                    <a:pt x="60451" y="4149"/>
                  </a:cubicBezTo>
                  <a:cubicBezTo>
                    <a:pt x="79705" y="9970"/>
                    <a:pt x="91347" y="19374"/>
                    <a:pt x="91347" y="29673"/>
                  </a:cubicBezTo>
                  <a:cubicBezTo>
                    <a:pt x="91347" y="46688"/>
                    <a:pt x="58659" y="60570"/>
                    <a:pt x="19702" y="60570"/>
                  </a:cubicBezTo>
                  <a:cubicBezTo>
                    <a:pt x="15672" y="60570"/>
                    <a:pt x="11195" y="60122"/>
                    <a:pt x="7165" y="60122"/>
                  </a:cubicBezTo>
                  <a:lnTo>
                    <a:pt x="15225" y="53853"/>
                  </a:lnTo>
                  <a:cubicBezTo>
                    <a:pt x="16120" y="52957"/>
                    <a:pt x="16568" y="51614"/>
                    <a:pt x="15672" y="50718"/>
                  </a:cubicBezTo>
                  <a:cubicBezTo>
                    <a:pt x="14777" y="49823"/>
                    <a:pt x="13433" y="49375"/>
                    <a:pt x="12538" y="50271"/>
                  </a:cubicBezTo>
                  <a:lnTo>
                    <a:pt x="0" y="60122"/>
                  </a:lnTo>
                  <a:cubicBezTo>
                    <a:pt x="0" y="60122"/>
                    <a:pt x="0" y="60122"/>
                    <a:pt x="0" y="60122"/>
                  </a:cubicBezTo>
                  <a:cubicBezTo>
                    <a:pt x="0" y="60122"/>
                    <a:pt x="0" y="60122"/>
                    <a:pt x="0" y="60122"/>
                  </a:cubicBezTo>
                  <a:cubicBezTo>
                    <a:pt x="0" y="60122"/>
                    <a:pt x="0" y="60122"/>
                    <a:pt x="0" y="60122"/>
                  </a:cubicBezTo>
                  <a:cubicBezTo>
                    <a:pt x="0" y="60122"/>
                    <a:pt x="0" y="60122"/>
                    <a:pt x="0" y="60122"/>
                  </a:cubicBezTo>
                  <a:cubicBezTo>
                    <a:pt x="0" y="60122"/>
                    <a:pt x="0" y="60122"/>
                    <a:pt x="0" y="60570"/>
                  </a:cubicBezTo>
                  <a:cubicBezTo>
                    <a:pt x="0" y="60570"/>
                    <a:pt x="0" y="60570"/>
                    <a:pt x="0" y="60570"/>
                  </a:cubicBezTo>
                  <a:cubicBezTo>
                    <a:pt x="0" y="60570"/>
                    <a:pt x="0" y="61017"/>
                    <a:pt x="0" y="61017"/>
                  </a:cubicBezTo>
                  <a:cubicBezTo>
                    <a:pt x="0" y="61017"/>
                    <a:pt x="0" y="61017"/>
                    <a:pt x="0" y="61465"/>
                  </a:cubicBezTo>
                  <a:cubicBezTo>
                    <a:pt x="0" y="61465"/>
                    <a:pt x="0" y="61465"/>
                    <a:pt x="0" y="61465"/>
                  </a:cubicBezTo>
                  <a:cubicBezTo>
                    <a:pt x="0" y="61465"/>
                    <a:pt x="0" y="61465"/>
                    <a:pt x="0" y="61465"/>
                  </a:cubicBezTo>
                  <a:cubicBezTo>
                    <a:pt x="0" y="61465"/>
                    <a:pt x="0" y="61913"/>
                    <a:pt x="0" y="61913"/>
                  </a:cubicBezTo>
                  <a:cubicBezTo>
                    <a:pt x="0" y="61913"/>
                    <a:pt x="0" y="61913"/>
                    <a:pt x="0" y="62361"/>
                  </a:cubicBezTo>
                  <a:cubicBezTo>
                    <a:pt x="0" y="62361"/>
                    <a:pt x="0" y="62361"/>
                    <a:pt x="0" y="62361"/>
                  </a:cubicBezTo>
                  <a:cubicBezTo>
                    <a:pt x="0" y="62361"/>
                    <a:pt x="0" y="62809"/>
                    <a:pt x="0" y="62809"/>
                  </a:cubicBezTo>
                  <a:cubicBezTo>
                    <a:pt x="0" y="62809"/>
                    <a:pt x="0" y="62809"/>
                    <a:pt x="0" y="62809"/>
                  </a:cubicBezTo>
                  <a:cubicBezTo>
                    <a:pt x="0" y="62809"/>
                    <a:pt x="0" y="62809"/>
                    <a:pt x="0" y="62809"/>
                  </a:cubicBezTo>
                  <a:cubicBezTo>
                    <a:pt x="0" y="62809"/>
                    <a:pt x="0" y="62809"/>
                    <a:pt x="0" y="62809"/>
                  </a:cubicBezTo>
                  <a:cubicBezTo>
                    <a:pt x="0" y="62809"/>
                    <a:pt x="0" y="62809"/>
                    <a:pt x="0" y="62809"/>
                  </a:cubicBezTo>
                  <a:cubicBezTo>
                    <a:pt x="0" y="62809"/>
                    <a:pt x="0" y="62809"/>
                    <a:pt x="0" y="62809"/>
                  </a:cubicBezTo>
                  <a:lnTo>
                    <a:pt x="11642" y="74003"/>
                  </a:lnTo>
                  <a:cubicBezTo>
                    <a:pt x="12090" y="74451"/>
                    <a:pt x="12538" y="74451"/>
                    <a:pt x="12986" y="74451"/>
                  </a:cubicBezTo>
                  <a:cubicBezTo>
                    <a:pt x="13433" y="74451"/>
                    <a:pt x="14329" y="74003"/>
                    <a:pt x="14777" y="73555"/>
                  </a:cubicBezTo>
                  <a:cubicBezTo>
                    <a:pt x="15672" y="72660"/>
                    <a:pt x="15672" y="71316"/>
                    <a:pt x="14777" y="70421"/>
                  </a:cubicBezTo>
                  <a:lnTo>
                    <a:pt x="7612" y="63704"/>
                  </a:lnTo>
                  <a:cubicBezTo>
                    <a:pt x="11642" y="64152"/>
                    <a:pt x="15672" y="64152"/>
                    <a:pt x="19702" y="64152"/>
                  </a:cubicBezTo>
                  <a:cubicBezTo>
                    <a:pt x="62242" y="64152"/>
                    <a:pt x="95825" y="48479"/>
                    <a:pt x="95825" y="28777"/>
                  </a:cubicBezTo>
                  <a:cubicBezTo>
                    <a:pt x="96273" y="17583"/>
                    <a:pt x="83287" y="6388"/>
                    <a:pt x="61794" y="119"/>
                  </a:cubicBezTo>
                  <a:close/>
                </a:path>
              </a:pathLst>
            </a:custGeom>
            <a:solidFill>
              <a:srgbClr val="231F20"/>
            </a:solidFill>
            <a:ln w="4474" cap="flat">
              <a:noFill/>
              <a:prstDash val="solid"/>
              <a:miter/>
            </a:ln>
          </p:spPr>
          <p:txBody>
            <a:bodyPr rtlCol="0" anchor="ctr"/>
            <a:lstStyle/>
            <a:p>
              <a:endParaRPr lang="en-US"/>
            </a:p>
          </p:txBody>
        </p:sp>
      </p:grpSp>
      <p:sp>
        <p:nvSpPr>
          <p:cNvPr id="4228" name="Freeform: Shape 4227">
            <a:extLst>
              <a:ext uri="{FF2B5EF4-FFF2-40B4-BE49-F238E27FC236}">
                <a16:creationId xmlns:a16="http://schemas.microsoft.com/office/drawing/2014/main" id="{A3F7DE37-778E-4AAF-8E6D-21FCFCD5D66C}"/>
              </a:ext>
              <a:ext uri="{C183D7F6-B498-43B3-948B-1728B52AA6E4}">
                <adec:decorative xmlns:adec="http://schemas.microsoft.com/office/drawing/2017/decorative" val="1"/>
              </a:ext>
            </a:extLst>
          </p:cNvPr>
          <p:cNvSpPr>
            <a:spLocks noChangeAspect="1"/>
          </p:cNvSpPr>
          <p:nvPr/>
        </p:nvSpPr>
        <p:spPr>
          <a:xfrm>
            <a:off x="2120205" y="3363556"/>
            <a:ext cx="179113" cy="80601"/>
          </a:xfrm>
          <a:custGeom>
            <a:avLst/>
            <a:gdLst>
              <a:gd name="connsiteX0" fmla="*/ 176874 w 179112"/>
              <a:gd name="connsiteY0" fmla="*/ 3135 h 80600"/>
              <a:gd name="connsiteX1" fmla="*/ 158963 w 179112"/>
              <a:gd name="connsiteY1" fmla="*/ 3135 h 80600"/>
              <a:gd name="connsiteX2" fmla="*/ 158963 w 179112"/>
              <a:gd name="connsiteY2" fmla="*/ 2239 h 80600"/>
              <a:gd name="connsiteX3" fmla="*/ 156724 w 179112"/>
              <a:gd name="connsiteY3" fmla="*/ 0 h 80600"/>
              <a:gd name="connsiteX4" fmla="*/ 154485 w 179112"/>
              <a:gd name="connsiteY4" fmla="*/ 2239 h 80600"/>
              <a:gd name="connsiteX5" fmla="*/ 154485 w 179112"/>
              <a:gd name="connsiteY5" fmla="*/ 3135 h 80600"/>
              <a:gd name="connsiteX6" fmla="*/ 136573 w 179112"/>
              <a:gd name="connsiteY6" fmla="*/ 3135 h 80600"/>
              <a:gd name="connsiteX7" fmla="*/ 134335 w 179112"/>
              <a:gd name="connsiteY7" fmla="*/ 5373 h 80600"/>
              <a:gd name="connsiteX8" fmla="*/ 136573 w 179112"/>
              <a:gd name="connsiteY8" fmla="*/ 7612 h 80600"/>
              <a:gd name="connsiteX9" fmla="*/ 154485 w 179112"/>
              <a:gd name="connsiteY9" fmla="*/ 7612 h 80600"/>
              <a:gd name="connsiteX10" fmla="*/ 154485 w 179112"/>
              <a:gd name="connsiteY10" fmla="*/ 17016 h 80600"/>
              <a:gd name="connsiteX11" fmla="*/ 147768 w 179112"/>
              <a:gd name="connsiteY11" fmla="*/ 25524 h 80600"/>
              <a:gd name="connsiteX12" fmla="*/ 147768 w 179112"/>
              <a:gd name="connsiteY12" fmla="*/ 30001 h 80600"/>
              <a:gd name="connsiteX13" fmla="*/ 125379 w 179112"/>
              <a:gd name="connsiteY13" fmla="*/ 30001 h 80600"/>
              <a:gd name="connsiteX14" fmla="*/ 125379 w 179112"/>
              <a:gd name="connsiteY14" fmla="*/ 27763 h 80600"/>
              <a:gd name="connsiteX15" fmla="*/ 114184 w 179112"/>
              <a:gd name="connsiteY15" fmla="*/ 16568 h 80600"/>
              <a:gd name="connsiteX16" fmla="*/ 64928 w 179112"/>
              <a:gd name="connsiteY16" fmla="*/ 16568 h 80600"/>
              <a:gd name="connsiteX17" fmla="*/ 53734 w 179112"/>
              <a:gd name="connsiteY17" fmla="*/ 27763 h 80600"/>
              <a:gd name="connsiteX18" fmla="*/ 53734 w 179112"/>
              <a:gd name="connsiteY18" fmla="*/ 30001 h 80600"/>
              <a:gd name="connsiteX19" fmla="*/ 31345 w 179112"/>
              <a:gd name="connsiteY19" fmla="*/ 30001 h 80600"/>
              <a:gd name="connsiteX20" fmla="*/ 31345 w 179112"/>
              <a:gd name="connsiteY20" fmla="*/ 25524 h 80600"/>
              <a:gd name="connsiteX21" fmla="*/ 24628 w 179112"/>
              <a:gd name="connsiteY21" fmla="*/ 17016 h 80600"/>
              <a:gd name="connsiteX22" fmla="*/ 24628 w 179112"/>
              <a:gd name="connsiteY22" fmla="*/ 7612 h 80600"/>
              <a:gd name="connsiteX23" fmla="*/ 42539 w 179112"/>
              <a:gd name="connsiteY23" fmla="*/ 7612 h 80600"/>
              <a:gd name="connsiteX24" fmla="*/ 44778 w 179112"/>
              <a:gd name="connsiteY24" fmla="*/ 5373 h 80600"/>
              <a:gd name="connsiteX25" fmla="*/ 42539 w 179112"/>
              <a:gd name="connsiteY25" fmla="*/ 3135 h 80600"/>
              <a:gd name="connsiteX26" fmla="*/ 24628 w 179112"/>
              <a:gd name="connsiteY26" fmla="*/ 3135 h 80600"/>
              <a:gd name="connsiteX27" fmla="*/ 24628 w 179112"/>
              <a:gd name="connsiteY27" fmla="*/ 2239 h 80600"/>
              <a:gd name="connsiteX28" fmla="*/ 22389 w 179112"/>
              <a:gd name="connsiteY28" fmla="*/ 0 h 80600"/>
              <a:gd name="connsiteX29" fmla="*/ 20150 w 179112"/>
              <a:gd name="connsiteY29" fmla="*/ 2239 h 80600"/>
              <a:gd name="connsiteX30" fmla="*/ 20150 w 179112"/>
              <a:gd name="connsiteY30" fmla="*/ 3135 h 80600"/>
              <a:gd name="connsiteX31" fmla="*/ 2239 w 179112"/>
              <a:gd name="connsiteY31" fmla="*/ 3135 h 80600"/>
              <a:gd name="connsiteX32" fmla="*/ 0 w 179112"/>
              <a:gd name="connsiteY32" fmla="*/ 5373 h 80600"/>
              <a:gd name="connsiteX33" fmla="*/ 2239 w 179112"/>
              <a:gd name="connsiteY33" fmla="*/ 7612 h 80600"/>
              <a:gd name="connsiteX34" fmla="*/ 20150 w 179112"/>
              <a:gd name="connsiteY34" fmla="*/ 7612 h 80600"/>
              <a:gd name="connsiteX35" fmla="*/ 20150 w 179112"/>
              <a:gd name="connsiteY35" fmla="*/ 17016 h 80600"/>
              <a:gd name="connsiteX36" fmla="*/ 13433 w 179112"/>
              <a:gd name="connsiteY36" fmla="*/ 25524 h 80600"/>
              <a:gd name="connsiteX37" fmla="*/ 13433 w 179112"/>
              <a:gd name="connsiteY37" fmla="*/ 38957 h 80600"/>
              <a:gd name="connsiteX38" fmla="*/ 22389 w 179112"/>
              <a:gd name="connsiteY38" fmla="*/ 47913 h 80600"/>
              <a:gd name="connsiteX39" fmla="*/ 31345 w 179112"/>
              <a:gd name="connsiteY39" fmla="*/ 38957 h 80600"/>
              <a:gd name="connsiteX40" fmla="*/ 31345 w 179112"/>
              <a:gd name="connsiteY40" fmla="*/ 34479 h 80600"/>
              <a:gd name="connsiteX41" fmla="*/ 53734 w 179112"/>
              <a:gd name="connsiteY41" fmla="*/ 34479 h 80600"/>
              <a:gd name="connsiteX42" fmla="*/ 53734 w 179112"/>
              <a:gd name="connsiteY42" fmla="*/ 36718 h 80600"/>
              <a:gd name="connsiteX43" fmla="*/ 64928 w 179112"/>
              <a:gd name="connsiteY43" fmla="*/ 47913 h 80600"/>
              <a:gd name="connsiteX44" fmla="*/ 67167 w 179112"/>
              <a:gd name="connsiteY44" fmla="*/ 47913 h 80600"/>
              <a:gd name="connsiteX45" fmla="*/ 67167 w 179112"/>
              <a:gd name="connsiteY45" fmla="*/ 50152 h 80600"/>
              <a:gd name="connsiteX46" fmla="*/ 67167 w 179112"/>
              <a:gd name="connsiteY46" fmla="*/ 50152 h 80600"/>
              <a:gd name="connsiteX47" fmla="*/ 53734 w 179112"/>
              <a:gd name="connsiteY47" fmla="*/ 65376 h 80600"/>
              <a:gd name="connsiteX48" fmla="*/ 53734 w 179112"/>
              <a:gd name="connsiteY48" fmla="*/ 76571 h 80600"/>
              <a:gd name="connsiteX49" fmla="*/ 49256 w 179112"/>
              <a:gd name="connsiteY49" fmla="*/ 76571 h 80600"/>
              <a:gd name="connsiteX50" fmla="*/ 47017 w 179112"/>
              <a:gd name="connsiteY50" fmla="*/ 78810 h 80600"/>
              <a:gd name="connsiteX51" fmla="*/ 49256 w 179112"/>
              <a:gd name="connsiteY51" fmla="*/ 81049 h 80600"/>
              <a:gd name="connsiteX52" fmla="*/ 62689 w 179112"/>
              <a:gd name="connsiteY52" fmla="*/ 81049 h 80600"/>
              <a:gd name="connsiteX53" fmla="*/ 64928 w 179112"/>
              <a:gd name="connsiteY53" fmla="*/ 78810 h 80600"/>
              <a:gd name="connsiteX54" fmla="*/ 62689 w 179112"/>
              <a:gd name="connsiteY54" fmla="*/ 76571 h 80600"/>
              <a:gd name="connsiteX55" fmla="*/ 58212 w 179112"/>
              <a:gd name="connsiteY55" fmla="*/ 76571 h 80600"/>
              <a:gd name="connsiteX56" fmla="*/ 58212 w 179112"/>
              <a:gd name="connsiteY56" fmla="*/ 65376 h 80600"/>
              <a:gd name="connsiteX57" fmla="*/ 68063 w 179112"/>
              <a:gd name="connsiteY57" fmla="*/ 54182 h 80600"/>
              <a:gd name="connsiteX58" fmla="*/ 78362 w 179112"/>
              <a:gd name="connsiteY58" fmla="*/ 60898 h 80600"/>
              <a:gd name="connsiteX59" fmla="*/ 100751 w 179112"/>
              <a:gd name="connsiteY59" fmla="*/ 60898 h 80600"/>
              <a:gd name="connsiteX60" fmla="*/ 111050 w 179112"/>
              <a:gd name="connsiteY60" fmla="*/ 54182 h 80600"/>
              <a:gd name="connsiteX61" fmla="*/ 120901 w 179112"/>
              <a:gd name="connsiteY61" fmla="*/ 65376 h 80600"/>
              <a:gd name="connsiteX62" fmla="*/ 120901 w 179112"/>
              <a:gd name="connsiteY62" fmla="*/ 76571 h 80600"/>
              <a:gd name="connsiteX63" fmla="*/ 116871 w 179112"/>
              <a:gd name="connsiteY63" fmla="*/ 76571 h 80600"/>
              <a:gd name="connsiteX64" fmla="*/ 114632 w 179112"/>
              <a:gd name="connsiteY64" fmla="*/ 78810 h 80600"/>
              <a:gd name="connsiteX65" fmla="*/ 116871 w 179112"/>
              <a:gd name="connsiteY65" fmla="*/ 81049 h 80600"/>
              <a:gd name="connsiteX66" fmla="*/ 130304 w 179112"/>
              <a:gd name="connsiteY66" fmla="*/ 81049 h 80600"/>
              <a:gd name="connsiteX67" fmla="*/ 132543 w 179112"/>
              <a:gd name="connsiteY67" fmla="*/ 78810 h 80600"/>
              <a:gd name="connsiteX68" fmla="*/ 130304 w 179112"/>
              <a:gd name="connsiteY68" fmla="*/ 76571 h 80600"/>
              <a:gd name="connsiteX69" fmla="*/ 125379 w 179112"/>
              <a:gd name="connsiteY69" fmla="*/ 76571 h 80600"/>
              <a:gd name="connsiteX70" fmla="*/ 125379 w 179112"/>
              <a:gd name="connsiteY70" fmla="*/ 65376 h 80600"/>
              <a:gd name="connsiteX71" fmla="*/ 111945 w 179112"/>
              <a:gd name="connsiteY71" fmla="*/ 50152 h 80600"/>
              <a:gd name="connsiteX72" fmla="*/ 111945 w 179112"/>
              <a:gd name="connsiteY72" fmla="*/ 50152 h 80600"/>
              <a:gd name="connsiteX73" fmla="*/ 111945 w 179112"/>
              <a:gd name="connsiteY73" fmla="*/ 47913 h 80600"/>
              <a:gd name="connsiteX74" fmla="*/ 114184 w 179112"/>
              <a:gd name="connsiteY74" fmla="*/ 47913 h 80600"/>
              <a:gd name="connsiteX75" fmla="*/ 125379 w 179112"/>
              <a:gd name="connsiteY75" fmla="*/ 36718 h 80600"/>
              <a:gd name="connsiteX76" fmla="*/ 125379 w 179112"/>
              <a:gd name="connsiteY76" fmla="*/ 34479 h 80600"/>
              <a:gd name="connsiteX77" fmla="*/ 147768 w 179112"/>
              <a:gd name="connsiteY77" fmla="*/ 34479 h 80600"/>
              <a:gd name="connsiteX78" fmla="*/ 147768 w 179112"/>
              <a:gd name="connsiteY78" fmla="*/ 38957 h 80600"/>
              <a:gd name="connsiteX79" fmla="*/ 156724 w 179112"/>
              <a:gd name="connsiteY79" fmla="*/ 47913 h 80600"/>
              <a:gd name="connsiteX80" fmla="*/ 165679 w 179112"/>
              <a:gd name="connsiteY80" fmla="*/ 38957 h 80600"/>
              <a:gd name="connsiteX81" fmla="*/ 165679 w 179112"/>
              <a:gd name="connsiteY81" fmla="*/ 25524 h 80600"/>
              <a:gd name="connsiteX82" fmla="*/ 158963 w 179112"/>
              <a:gd name="connsiteY82" fmla="*/ 17016 h 80600"/>
              <a:gd name="connsiteX83" fmla="*/ 158963 w 179112"/>
              <a:gd name="connsiteY83" fmla="*/ 7612 h 80600"/>
              <a:gd name="connsiteX84" fmla="*/ 176874 w 179112"/>
              <a:gd name="connsiteY84" fmla="*/ 7612 h 80600"/>
              <a:gd name="connsiteX85" fmla="*/ 179113 w 179112"/>
              <a:gd name="connsiteY85" fmla="*/ 5373 h 80600"/>
              <a:gd name="connsiteX86" fmla="*/ 176874 w 179112"/>
              <a:gd name="connsiteY86" fmla="*/ 3135 h 80600"/>
              <a:gd name="connsiteX87" fmla="*/ 26867 w 179112"/>
              <a:gd name="connsiteY87" fmla="*/ 38957 h 80600"/>
              <a:gd name="connsiteX88" fmla="*/ 22389 w 179112"/>
              <a:gd name="connsiteY88" fmla="*/ 43435 h 80600"/>
              <a:gd name="connsiteX89" fmla="*/ 17911 w 179112"/>
              <a:gd name="connsiteY89" fmla="*/ 38957 h 80600"/>
              <a:gd name="connsiteX90" fmla="*/ 17911 w 179112"/>
              <a:gd name="connsiteY90" fmla="*/ 25524 h 80600"/>
              <a:gd name="connsiteX91" fmla="*/ 22389 w 179112"/>
              <a:gd name="connsiteY91" fmla="*/ 21046 h 80600"/>
              <a:gd name="connsiteX92" fmla="*/ 26867 w 179112"/>
              <a:gd name="connsiteY92" fmla="*/ 25524 h 80600"/>
              <a:gd name="connsiteX93" fmla="*/ 26867 w 179112"/>
              <a:gd name="connsiteY93" fmla="*/ 38957 h 80600"/>
              <a:gd name="connsiteX94" fmla="*/ 107468 w 179112"/>
              <a:gd name="connsiteY94" fmla="*/ 50152 h 80600"/>
              <a:gd name="connsiteX95" fmla="*/ 100751 w 179112"/>
              <a:gd name="connsiteY95" fmla="*/ 56868 h 80600"/>
              <a:gd name="connsiteX96" fmla="*/ 78362 w 179112"/>
              <a:gd name="connsiteY96" fmla="*/ 56868 h 80600"/>
              <a:gd name="connsiteX97" fmla="*/ 71645 w 179112"/>
              <a:gd name="connsiteY97" fmla="*/ 50152 h 80600"/>
              <a:gd name="connsiteX98" fmla="*/ 71645 w 179112"/>
              <a:gd name="connsiteY98" fmla="*/ 47913 h 80600"/>
              <a:gd name="connsiteX99" fmla="*/ 107468 w 179112"/>
              <a:gd name="connsiteY99" fmla="*/ 47913 h 80600"/>
              <a:gd name="connsiteX100" fmla="*/ 107468 w 179112"/>
              <a:gd name="connsiteY100" fmla="*/ 50152 h 80600"/>
              <a:gd name="connsiteX101" fmla="*/ 120901 w 179112"/>
              <a:gd name="connsiteY101" fmla="*/ 36718 h 80600"/>
              <a:gd name="connsiteX102" fmla="*/ 114184 w 179112"/>
              <a:gd name="connsiteY102" fmla="*/ 43435 h 80600"/>
              <a:gd name="connsiteX103" fmla="*/ 109707 w 179112"/>
              <a:gd name="connsiteY103" fmla="*/ 43435 h 80600"/>
              <a:gd name="connsiteX104" fmla="*/ 69406 w 179112"/>
              <a:gd name="connsiteY104" fmla="*/ 43435 h 80600"/>
              <a:gd name="connsiteX105" fmla="*/ 64928 w 179112"/>
              <a:gd name="connsiteY105" fmla="*/ 43435 h 80600"/>
              <a:gd name="connsiteX106" fmla="*/ 58212 w 179112"/>
              <a:gd name="connsiteY106" fmla="*/ 36718 h 80600"/>
              <a:gd name="connsiteX107" fmla="*/ 58212 w 179112"/>
              <a:gd name="connsiteY107" fmla="*/ 27763 h 80600"/>
              <a:gd name="connsiteX108" fmla="*/ 64928 w 179112"/>
              <a:gd name="connsiteY108" fmla="*/ 21046 h 80600"/>
              <a:gd name="connsiteX109" fmla="*/ 114184 w 179112"/>
              <a:gd name="connsiteY109" fmla="*/ 21046 h 80600"/>
              <a:gd name="connsiteX110" fmla="*/ 120901 w 179112"/>
              <a:gd name="connsiteY110" fmla="*/ 27763 h 80600"/>
              <a:gd name="connsiteX111" fmla="*/ 120901 w 179112"/>
              <a:gd name="connsiteY111" fmla="*/ 36718 h 80600"/>
              <a:gd name="connsiteX112" fmla="*/ 161201 w 179112"/>
              <a:gd name="connsiteY112" fmla="*/ 25524 h 80600"/>
              <a:gd name="connsiteX113" fmla="*/ 161201 w 179112"/>
              <a:gd name="connsiteY113" fmla="*/ 38957 h 80600"/>
              <a:gd name="connsiteX114" fmla="*/ 156724 w 179112"/>
              <a:gd name="connsiteY114" fmla="*/ 43435 h 80600"/>
              <a:gd name="connsiteX115" fmla="*/ 152246 w 179112"/>
              <a:gd name="connsiteY115" fmla="*/ 38957 h 80600"/>
              <a:gd name="connsiteX116" fmla="*/ 152246 w 179112"/>
              <a:gd name="connsiteY116" fmla="*/ 25524 h 80600"/>
              <a:gd name="connsiteX117" fmla="*/ 156724 w 179112"/>
              <a:gd name="connsiteY117" fmla="*/ 21046 h 80600"/>
              <a:gd name="connsiteX118" fmla="*/ 161201 w 179112"/>
              <a:gd name="connsiteY118" fmla="*/ 25524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9112" h="80600">
                <a:moveTo>
                  <a:pt x="176874" y="3135"/>
                </a:moveTo>
                <a:lnTo>
                  <a:pt x="158963" y="3135"/>
                </a:lnTo>
                <a:lnTo>
                  <a:pt x="158963" y="2239"/>
                </a:lnTo>
                <a:cubicBezTo>
                  <a:pt x="158963" y="896"/>
                  <a:pt x="158067" y="0"/>
                  <a:pt x="156724" y="0"/>
                </a:cubicBezTo>
                <a:cubicBezTo>
                  <a:pt x="155380" y="0"/>
                  <a:pt x="154485" y="896"/>
                  <a:pt x="154485" y="2239"/>
                </a:cubicBezTo>
                <a:lnTo>
                  <a:pt x="154485" y="3135"/>
                </a:lnTo>
                <a:lnTo>
                  <a:pt x="136573" y="3135"/>
                </a:lnTo>
                <a:cubicBezTo>
                  <a:pt x="135230" y="3135"/>
                  <a:pt x="134335" y="4030"/>
                  <a:pt x="134335" y="5373"/>
                </a:cubicBezTo>
                <a:cubicBezTo>
                  <a:pt x="134335" y="6717"/>
                  <a:pt x="135230" y="7612"/>
                  <a:pt x="136573" y="7612"/>
                </a:cubicBezTo>
                <a:lnTo>
                  <a:pt x="154485" y="7612"/>
                </a:lnTo>
                <a:lnTo>
                  <a:pt x="154485" y="17016"/>
                </a:lnTo>
                <a:cubicBezTo>
                  <a:pt x="150455" y="17911"/>
                  <a:pt x="147768" y="21494"/>
                  <a:pt x="147768" y="25524"/>
                </a:cubicBezTo>
                <a:lnTo>
                  <a:pt x="147768" y="30001"/>
                </a:lnTo>
                <a:lnTo>
                  <a:pt x="125379" y="30001"/>
                </a:lnTo>
                <a:lnTo>
                  <a:pt x="125379" y="27763"/>
                </a:lnTo>
                <a:cubicBezTo>
                  <a:pt x="125379" y="21494"/>
                  <a:pt x="120453" y="16568"/>
                  <a:pt x="114184" y="16568"/>
                </a:cubicBezTo>
                <a:lnTo>
                  <a:pt x="64928" y="16568"/>
                </a:lnTo>
                <a:cubicBezTo>
                  <a:pt x="58659" y="16568"/>
                  <a:pt x="53734" y="21494"/>
                  <a:pt x="53734" y="27763"/>
                </a:cubicBezTo>
                <a:lnTo>
                  <a:pt x="53734" y="30001"/>
                </a:lnTo>
                <a:lnTo>
                  <a:pt x="31345" y="30001"/>
                </a:lnTo>
                <a:lnTo>
                  <a:pt x="31345" y="25524"/>
                </a:lnTo>
                <a:cubicBezTo>
                  <a:pt x="31345" y="21494"/>
                  <a:pt x="28658" y="17911"/>
                  <a:pt x="24628" y="17016"/>
                </a:cubicBezTo>
                <a:lnTo>
                  <a:pt x="24628" y="7612"/>
                </a:lnTo>
                <a:lnTo>
                  <a:pt x="42539" y="7612"/>
                </a:lnTo>
                <a:cubicBezTo>
                  <a:pt x="43883" y="7612"/>
                  <a:pt x="44778" y="6717"/>
                  <a:pt x="44778" y="5373"/>
                </a:cubicBezTo>
                <a:cubicBezTo>
                  <a:pt x="44778" y="4030"/>
                  <a:pt x="43883" y="3135"/>
                  <a:pt x="42539" y="3135"/>
                </a:cubicBezTo>
                <a:lnTo>
                  <a:pt x="24628" y="3135"/>
                </a:lnTo>
                <a:lnTo>
                  <a:pt x="24628" y="2239"/>
                </a:lnTo>
                <a:cubicBezTo>
                  <a:pt x="24628" y="896"/>
                  <a:pt x="23732" y="0"/>
                  <a:pt x="22389" y="0"/>
                </a:cubicBezTo>
                <a:cubicBezTo>
                  <a:pt x="21046" y="0"/>
                  <a:pt x="20150" y="896"/>
                  <a:pt x="20150" y="2239"/>
                </a:cubicBezTo>
                <a:lnTo>
                  <a:pt x="20150" y="3135"/>
                </a:lnTo>
                <a:lnTo>
                  <a:pt x="2239" y="3135"/>
                </a:lnTo>
                <a:cubicBezTo>
                  <a:pt x="895" y="3135"/>
                  <a:pt x="0" y="4030"/>
                  <a:pt x="0" y="5373"/>
                </a:cubicBezTo>
                <a:cubicBezTo>
                  <a:pt x="0" y="6717"/>
                  <a:pt x="895" y="7612"/>
                  <a:pt x="2239" y="7612"/>
                </a:cubicBezTo>
                <a:lnTo>
                  <a:pt x="20150" y="7612"/>
                </a:lnTo>
                <a:lnTo>
                  <a:pt x="20150" y="17016"/>
                </a:lnTo>
                <a:cubicBezTo>
                  <a:pt x="16120" y="17911"/>
                  <a:pt x="13433" y="21494"/>
                  <a:pt x="13433" y="25524"/>
                </a:cubicBezTo>
                <a:lnTo>
                  <a:pt x="13433" y="38957"/>
                </a:lnTo>
                <a:cubicBezTo>
                  <a:pt x="13433" y="43883"/>
                  <a:pt x="17463" y="47913"/>
                  <a:pt x="22389" y="47913"/>
                </a:cubicBezTo>
                <a:cubicBezTo>
                  <a:pt x="27315" y="47913"/>
                  <a:pt x="31345" y="43883"/>
                  <a:pt x="31345" y="38957"/>
                </a:cubicBezTo>
                <a:lnTo>
                  <a:pt x="31345" y="34479"/>
                </a:lnTo>
                <a:lnTo>
                  <a:pt x="53734" y="34479"/>
                </a:lnTo>
                <a:lnTo>
                  <a:pt x="53734" y="36718"/>
                </a:lnTo>
                <a:cubicBezTo>
                  <a:pt x="53734" y="42987"/>
                  <a:pt x="58659" y="47913"/>
                  <a:pt x="64928" y="47913"/>
                </a:cubicBezTo>
                <a:lnTo>
                  <a:pt x="67167" y="47913"/>
                </a:lnTo>
                <a:lnTo>
                  <a:pt x="67167" y="50152"/>
                </a:lnTo>
                <a:cubicBezTo>
                  <a:pt x="67167" y="50152"/>
                  <a:pt x="67167" y="50152"/>
                  <a:pt x="67167" y="50152"/>
                </a:cubicBezTo>
                <a:cubicBezTo>
                  <a:pt x="59555" y="51047"/>
                  <a:pt x="53734" y="57764"/>
                  <a:pt x="53734" y="65376"/>
                </a:cubicBezTo>
                <a:lnTo>
                  <a:pt x="53734" y="76571"/>
                </a:lnTo>
                <a:lnTo>
                  <a:pt x="49256" y="76571"/>
                </a:lnTo>
                <a:cubicBezTo>
                  <a:pt x="47913" y="76571"/>
                  <a:pt x="47017" y="77466"/>
                  <a:pt x="47017" y="78810"/>
                </a:cubicBezTo>
                <a:cubicBezTo>
                  <a:pt x="47017" y="80153"/>
                  <a:pt x="47913" y="81049"/>
                  <a:pt x="49256" y="81049"/>
                </a:cubicBezTo>
                <a:lnTo>
                  <a:pt x="62689" y="81049"/>
                </a:lnTo>
                <a:cubicBezTo>
                  <a:pt x="64033" y="81049"/>
                  <a:pt x="64928" y="80153"/>
                  <a:pt x="64928" y="78810"/>
                </a:cubicBezTo>
                <a:cubicBezTo>
                  <a:pt x="64928" y="77466"/>
                  <a:pt x="64033" y="76571"/>
                  <a:pt x="62689" y="76571"/>
                </a:cubicBezTo>
                <a:lnTo>
                  <a:pt x="58212" y="76571"/>
                </a:lnTo>
                <a:lnTo>
                  <a:pt x="58212" y="65376"/>
                </a:lnTo>
                <a:cubicBezTo>
                  <a:pt x="58212" y="59555"/>
                  <a:pt x="62689" y="55077"/>
                  <a:pt x="68063" y="54182"/>
                </a:cubicBezTo>
                <a:cubicBezTo>
                  <a:pt x="69854" y="58212"/>
                  <a:pt x="73884" y="60898"/>
                  <a:pt x="78362" y="60898"/>
                </a:cubicBezTo>
                <a:lnTo>
                  <a:pt x="100751" y="60898"/>
                </a:lnTo>
                <a:cubicBezTo>
                  <a:pt x="105229" y="60898"/>
                  <a:pt x="109259" y="58212"/>
                  <a:pt x="111050" y="54182"/>
                </a:cubicBezTo>
                <a:cubicBezTo>
                  <a:pt x="116423" y="54629"/>
                  <a:pt x="120901" y="59555"/>
                  <a:pt x="120901" y="65376"/>
                </a:cubicBezTo>
                <a:lnTo>
                  <a:pt x="120901" y="76571"/>
                </a:lnTo>
                <a:lnTo>
                  <a:pt x="116871" y="76571"/>
                </a:lnTo>
                <a:cubicBezTo>
                  <a:pt x="115528" y="76571"/>
                  <a:pt x="114632" y="77466"/>
                  <a:pt x="114632" y="78810"/>
                </a:cubicBezTo>
                <a:cubicBezTo>
                  <a:pt x="114632" y="80153"/>
                  <a:pt x="115528" y="81049"/>
                  <a:pt x="116871" y="81049"/>
                </a:cubicBezTo>
                <a:lnTo>
                  <a:pt x="130304" y="81049"/>
                </a:lnTo>
                <a:cubicBezTo>
                  <a:pt x="131648" y="81049"/>
                  <a:pt x="132543" y="80153"/>
                  <a:pt x="132543" y="78810"/>
                </a:cubicBezTo>
                <a:cubicBezTo>
                  <a:pt x="132543" y="77466"/>
                  <a:pt x="131648" y="76571"/>
                  <a:pt x="130304" y="76571"/>
                </a:cubicBezTo>
                <a:lnTo>
                  <a:pt x="125379" y="76571"/>
                </a:lnTo>
                <a:lnTo>
                  <a:pt x="125379" y="65376"/>
                </a:lnTo>
                <a:cubicBezTo>
                  <a:pt x="125379" y="57316"/>
                  <a:pt x="119558" y="51047"/>
                  <a:pt x="111945" y="50152"/>
                </a:cubicBezTo>
                <a:cubicBezTo>
                  <a:pt x="111945" y="50152"/>
                  <a:pt x="111945" y="50152"/>
                  <a:pt x="111945" y="50152"/>
                </a:cubicBezTo>
                <a:lnTo>
                  <a:pt x="111945" y="47913"/>
                </a:lnTo>
                <a:lnTo>
                  <a:pt x="114184" y="47913"/>
                </a:lnTo>
                <a:cubicBezTo>
                  <a:pt x="120453" y="47913"/>
                  <a:pt x="125379" y="42987"/>
                  <a:pt x="125379" y="36718"/>
                </a:cubicBezTo>
                <a:lnTo>
                  <a:pt x="125379" y="34479"/>
                </a:lnTo>
                <a:lnTo>
                  <a:pt x="147768" y="34479"/>
                </a:lnTo>
                <a:lnTo>
                  <a:pt x="147768" y="38957"/>
                </a:lnTo>
                <a:cubicBezTo>
                  <a:pt x="147768" y="43883"/>
                  <a:pt x="151798" y="47913"/>
                  <a:pt x="156724" y="47913"/>
                </a:cubicBezTo>
                <a:cubicBezTo>
                  <a:pt x="161649" y="47913"/>
                  <a:pt x="165679" y="43883"/>
                  <a:pt x="165679" y="38957"/>
                </a:cubicBezTo>
                <a:lnTo>
                  <a:pt x="165679" y="25524"/>
                </a:lnTo>
                <a:cubicBezTo>
                  <a:pt x="165679" y="21494"/>
                  <a:pt x="162993" y="17911"/>
                  <a:pt x="158963" y="17016"/>
                </a:cubicBezTo>
                <a:lnTo>
                  <a:pt x="158963" y="7612"/>
                </a:lnTo>
                <a:lnTo>
                  <a:pt x="176874" y="7612"/>
                </a:lnTo>
                <a:cubicBezTo>
                  <a:pt x="178217" y="7612"/>
                  <a:pt x="179113" y="6717"/>
                  <a:pt x="179113" y="5373"/>
                </a:cubicBezTo>
                <a:cubicBezTo>
                  <a:pt x="179113" y="4030"/>
                  <a:pt x="178217" y="3135"/>
                  <a:pt x="176874" y="3135"/>
                </a:cubicBezTo>
                <a:close/>
                <a:moveTo>
                  <a:pt x="26867" y="38957"/>
                </a:moveTo>
                <a:cubicBezTo>
                  <a:pt x="26867" y="41644"/>
                  <a:pt x="25076" y="43435"/>
                  <a:pt x="22389" y="43435"/>
                </a:cubicBezTo>
                <a:cubicBezTo>
                  <a:pt x="19702" y="43435"/>
                  <a:pt x="17911" y="41644"/>
                  <a:pt x="17911" y="38957"/>
                </a:cubicBezTo>
                <a:lnTo>
                  <a:pt x="17911" y="25524"/>
                </a:lnTo>
                <a:cubicBezTo>
                  <a:pt x="17911" y="22837"/>
                  <a:pt x="19702" y="21046"/>
                  <a:pt x="22389" y="21046"/>
                </a:cubicBezTo>
                <a:cubicBezTo>
                  <a:pt x="25076" y="21046"/>
                  <a:pt x="26867" y="22837"/>
                  <a:pt x="26867" y="25524"/>
                </a:cubicBezTo>
                <a:lnTo>
                  <a:pt x="26867" y="38957"/>
                </a:lnTo>
                <a:close/>
                <a:moveTo>
                  <a:pt x="107468" y="50152"/>
                </a:moveTo>
                <a:cubicBezTo>
                  <a:pt x="107468" y="53734"/>
                  <a:pt x="104333" y="56868"/>
                  <a:pt x="100751" y="56868"/>
                </a:cubicBezTo>
                <a:lnTo>
                  <a:pt x="78362" y="56868"/>
                </a:lnTo>
                <a:cubicBezTo>
                  <a:pt x="74779" y="56868"/>
                  <a:pt x="71645" y="53734"/>
                  <a:pt x="71645" y="50152"/>
                </a:cubicBezTo>
                <a:lnTo>
                  <a:pt x="71645" y="47913"/>
                </a:lnTo>
                <a:lnTo>
                  <a:pt x="107468" y="47913"/>
                </a:lnTo>
                <a:lnTo>
                  <a:pt x="107468" y="50152"/>
                </a:lnTo>
                <a:close/>
                <a:moveTo>
                  <a:pt x="120901" y="36718"/>
                </a:moveTo>
                <a:cubicBezTo>
                  <a:pt x="120901" y="40300"/>
                  <a:pt x="117767" y="43435"/>
                  <a:pt x="114184" y="43435"/>
                </a:cubicBezTo>
                <a:lnTo>
                  <a:pt x="109707" y="43435"/>
                </a:lnTo>
                <a:lnTo>
                  <a:pt x="69406" y="43435"/>
                </a:lnTo>
                <a:lnTo>
                  <a:pt x="64928" y="43435"/>
                </a:lnTo>
                <a:cubicBezTo>
                  <a:pt x="61346" y="43435"/>
                  <a:pt x="58212" y="40300"/>
                  <a:pt x="58212" y="36718"/>
                </a:cubicBezTo>
                <a:lnTo>
                  <a:pt x="58212" y="27763"/>
                </a:lnTo>
                <a:cubicBezTo>
                  <a:pt x="58212" y="24180"/>
                  <a:pt x="61346" y="21046"/>
                  <a:pt x="64928" y="21046"/>
                </a:cubicBezTo>
                <a:lnTo>
                  <a:pt x="114184" y="21046"/>
                </a:lnTo>
                <a:cubicBezTo>
                  <a:pt x="117767" y="21046"/>
                  <a:pt x="120901" y="24180"/>
                  <a:pt x="120901" y="27763"/>
                </a:cubicBezTo>
                <a:lnTo>
                  <a:pt x="120901" y="36718"/>
                </a:lnTo>
                <a:close/>
                <a:moveTo>
                  <a:pt x="161201" y="25524"/>
                </a:moveTo>
                <a:lnTo>
                  <a:pt x="161201" y="38957"/>
                </a:lnTo>
                <a:cubicBezTo>
                  <a:pt x="161201" y="41644"/>
                  <a:pt x="159410" y="43435"/>
                  <a:pt x="156724" y="43435"/>
                </a:cubicBezTo>
                <a:cubicBezTo>
                  <a:pt x="154037" y="43435"/>
                  <a:pt x="152246" y="41644"/>
                  <a:pt x="152246" y="38957"/>
                </a:cubicBezTo>
                <a:lnTo>
                  <a:pt x="152246" y="25524"/>
                </a:lnTo>
                <a:cubicBezTo>
                  <a:pt x="152246" y="22837"/>
                  <a:pt x="154037" y="21046"/>
                  <a:pt x="156724" y="21046"/>
                </a:cubicBezTo>
                <a:cubicBezTo>
                  <a:pt x="159410" y="21046"/>
                  <a:pt x="161201" y="23285"/>
                  <a:pt x="161201" y="25524"/>
                </a:cubicBezTo>
                <a:close/>
              </a:path>
            </a:pathLst>
          </a:custGeom>
          <a:solidFill>
            <a:srgbClr val="231F20"/>
          </a:solidFill>
          <a:ln w="4474" cap="flat">
            <a:noFill/>
            <a:prstDash val="solid"/>
            <a:miter/>
          </a:ln>
        </p:spPr>
        <p:txBody>
          <a:bodyPr rtlCol="0" anchor="ctr"/>
          <a:lstStyle/>
          <a:p>
            <a:endParaRPr lang="en-US"/>
          </a:p>
        </p:txBody>
      </p:sp>
      <p:grpSp>
        <p:nvGrpSpPr>
          <p:cNvPr id="4229" name="Group 4228">
            <a:extLst>
              <a:ext uri="{FF2B5EF4-FFF2-40B4-BE49-F238E27FC236}">
                <a16:creationId xmlns:a16="http://schemas.microsoft.com/office/drawing/2014/main" id="{0BC34B42-77AA-47A0-9DF3-5AE43B7733DE}"/>
              </a:ext>
              <a:ext uri="{C183D7F6-B498-43B3-948B-1728B52AA6E4}">
                <adec:decorative xmlns:adec="http://schemas.microsoft.com/office/drawing/2017/decorative" val="1"/>
              </a:ext>
            </a:extLst>
          </p:cNvPr>
          <p:cNvGrpSpPr>
            <a:grpSpLocks noChangeAspect="1"/>
          </p:cNvGrpSpPr>
          <p:nvPr/>
        </p:nvGrpSpPr>
        <p:grpSpPr>
          <a:xfrm>
            <a:off x="2393352" y="3339823"/>
            <a:ext cx="152246" cy="138812"/>
            <a:chOff x="2434106" y="2604384"/>
            <a:chExt cx="152246" cy="138812"/>
          </a:xfrm>
        </p:grpSpPr>
        <p:sp>
          <p:nvSpPr>
            <p:cNvPr id="4230" name="Freeform: Shape 4229">
              <a:extLst>
                <a:ext uri="{FF2B5EF4-FFF2-40B4-BE49-F238E27FC236}">
                  <a16:creationId xmlns:a16="http://schemas.microsoft.com/office/drawing/2014/main" id="{A1C0F598-CA41-4B7B-AAD3-4A5B6EC66A82}"/>
                </a:ext>
              </a:extLst>
            </p:cNvPr>
            <p:cNvSpPr/>
            <p:nvPr/>
          </p:nvSpPr>
          <p:spPr>
            <a:xfrm>
              <a:off x="2434106" y="2604384"/>
              <a:ext cx="152246" cy="138812"/>
            </a:xfrm>
            <a:custGeom>
              <a:avLst/>
              <a:gdLst>
                <a:gd name="connsiteX0" fmla="*/ 138812 w 152245"/>
                <a:gd name="connsiteY0" fmla="*/ 94482 h 138812"/>
                <a:gd name="connsiteX1" fmla="*/ 138812 w 152245"/>
                <a:gd name="connsiteY1" fmla="*/ 55973 h 138812"/>
                <a:gd name="connsiteX2" fmla="*/ 124483 w 152245"/>
                <a:gd name="connsiteY2" fmla="*/ 40300 h 138812"/>
                <a:gd name="connsiteX3" fmla="*/ 76123 w 152245"/>
                <a:gd name="connsiteY3" fmla="*/ 0 h 138812"/>
                <a:gd name="connsiteX4" fmla="*/ 27762 w 152245"/>
                <a:gd name="connsiteY4" fmla="*/ 40300 h 138812"/>
                <a:gd name="connsiteX5" fmla="*/ 13433 w 152245"/>
                <a:gd name="connsiteY5" fmla="*/ 55973 h 138812"/>
                <a:gd name="connsiteX6" fmla="*/ 13433 w 152245"/>
                <a:gd name="connsiteY6" fmla="*/ 94482 h 138812"/>
                <a:gd name="connsiteX7" fmla="*/ 0 w 152245"/>
                <a:gd name="connsiteY7" fmla="*/ 109707 h 138812"/>
                <a:gd name="connsiteX8" fmla="*/ 2239 w 152245"/>
                <a:gd name="connsiteY8" fmla="*/ 111945 h 138812"/>
                <a:gd name="connsiteX9" fmla="*/ 4478 w 152245"/>
                <a:gd name="connsiteY9" fmla="*/ 109707 h 138812"/>
                <a:gd name="connsiteX10" fmla="*/ 15672 w 152245"/>
                <a:gd name="connsiteY10" fmla="*/ 98512 h 138812"/>
                <a:gd name="connsiteX11" fmla="*/ 26867 w 152245"/>
                <a:gd name="connsiteY11" fmla="*/ 109707 h 138812"/>
                <a:gd name="connsiteX12" fmla="*/ 29106 w 152245"/>
                <a:gd name="connsiteY12" fmla="*/ 111945 h 138812"/>
                <a:gd name="connsiteX13" fmla="*/ 31345 w 152245"/>
                <a:gd name="connsiteY13" fmla="*/ 109707 h 138812"/>
                <a:gd name="connsiteX14" fmla="*/ 17911 w 152245"/>
                <a:gd name="connsiteY14" fmla="*/ 94482 h 138812"/>
                <a:gd name="connsiteX15" fmla="*/ 17911 w 152245"/>
                <a:gd name="connsiteY15" fmla="*/ 55973 h 138812"/>
                <a:gd name="connsiteX16" fmla="*/ 26867 w 152245"/>
                <a:gd name="connsiteY16" fmla="*/ 44778 h 138812"/>
                <a:gd name="connsiteX17" fmla="*/ 26867 w 152245"/>
                <a:gd name="connsiteY17" fmla="*/ 49256 h 138812"/>
                <a:gd name="connsiteX18" fmla="*/ 26867 w 152245"/>
                <a:gd name="connsiteY18" fmla="*/ 55973 h 138812"/>
                <a:gd name="connsiteX19" fmla="*/ 29106 w 152245"/>
                <a:gd name="connsiteY19" fmla="*/ 58212 h 138812"/>
                <a:gd name="connsiteX20" fmla="*/ 53734 w 152245"/>
                <a:gd name="connsiteY20" fmla="*/ 58212 h 138812"/>
                <a:gd name="connsiteX21" fmla="*/ 53734 w 152245"/>
                <a:gd name="connsiteY21" fmla="*/ 114632 h 138812"/>
                <a:gd name="connsiteX22" fmla="*/ 40300 w 152245"/>
                <a:gd name="connsiteY22" fmla="*/ 129857 h 138812"/>
                <a:gd name="connsiteX23" fmla="*/ 40300 w 152245"/>
                <a:gd name="connsiteY23" fmla="*/ 136573 h 138812"/>
                <a:gd name="connsiteX24" fmla="*/ 42539 w 152245"/>
                <a:gd name="connsiteY24" fmla="*/ 138812 h 138812"/>
                <a:gd name="connsiteX25" fmla="*/ 69406 w 152245"/>
                <a:gd name="connsiteY25" fmla="*/ 138812 h 138812"/>
                <a:gd name="connsiteX26" fmla="*/ 71645 w 152245"/>
                <a:gd name="connsiteY26" fmla="*/ 136573 h 138812"/>
                <a:gd name="connsiteX27" fmla="*/ 71645 w 152245"/>
                <a:gd name="connsiteY27" fmla="*/ 129857 h 138812"/>
                <a:gd name="connsiteX28" fmla="*/ 58212 w 152245"/>
                <a:gd name="connsiteY28" fmla="*/ 114632 h 138812"/>
                <a:gd name="connsiteX29" fmla="*/ 58212 w 152245"/>
                <a:gd name="connsiteY29" fmla="*/ 58212 h 138812"/>
                <a:gd name="connsiteX30" fmla="*/ 94034 w 152245"/>
                <a:gd name="connsiteY30" fmla="*/ 58212 h 138812"/>
                <a:gd name="connsiteX31" fmla="*/ 94034 w 152245"/>
                <a:gd name="connsiteY31" fmla="*/ 114632 h 138812"/>
                <a:gd name="connsiteX32" fmla="*/ 80601 w 152245"/>
                <a:gd name="connsiteY32" fmla="*/ 129857 h 138812"/>
                <a:gd name="connsiteX33" fmla="*/ 80601 w 152245"/>
                <a:gd name="connsiteY33" fmla="*/ 136573 h 138812"/>
                <a:gd name="connsiteX34" fmla="*/ 82840 w 152245"/>
                <a:gd name="connsiteY34" fmla="*/ 138812 h 138812"/>
                <a:gd name="connsiteX35" fmla="*/ 109707 w 152245"/>
                <a:gd name="connsiteY35" fmla="*/ 138812 h 138812"/>
                <a:gd name="connsiteX36" fmla="*/ 111945 w 152245"/>
                <a:gd name="connsiteY36" fmla="*/ 136573 h 138812"/>
                <a:gd name="connsiteX37" fmla="*/ 111945 w 152245"/>
                <a:gd name="connsiteY37" fmla="*/ 129857 h 138812"/>
                <a:gd name="connsiteX38" fmla="*/ 98512 w 152245"/>
                <a:gd name="connsiteY38" fmla="*/ 114632 h 138812"/>
                <a:gd name="connsiteX39" fmla="*/ 98512 w 152245"/>
                <a:gd name="connsiteY39" fmla="*/ 58212 h 138812"/>
                <a:gd name="connsiteX40" fmla="*/ 123140 w 152245"/>
                <a:gd name="connsiteY40" fmla="*/ 58212 h 138812"/>
                <a:gd name="connsiteX41" fmla="*/ 125379 w 152245"/>
                <a:gd name="connsiteY41" fmla="*/ 55973 h 138812"/>
                <a:gd name="connsiteX42" fmla="*/ 125379 w 152245"/>
                <a:gd name="connsiteY42" fmla="*/ 49256 h 138812"/>
                <a:gd name="connsiteX43" fmla="*/ 125379 w 152245"/>
                <a:gd name="connsiteY43" fmla="*/ 44778 h 138812"/>
                <a:gd name="connsiteX44" fmla="*/ 134335 w 152245"/>
                <a:gd name="connsiteY44" fmla="*/ 55973 h 138812"/>
                <a:gd name="connsiteX45" fmla="*/ 134335 w 152245"/>
                <a:gd name="connsiteY45" fmla="*/ 94482 h 138812"/>
                <a:gd name="connsiteX46" fmla="*/ 120901 w 152245"/>
                <a:gd name="connsiteY46" fmla="*/ 109707 h 138812"/>
                <a:gd name="connsiteX47" fmla="*/ 123140 w 152245"/>
                <a:gd name="connsiteY47" fmla="*/ 111945 h 138812"/>
                <a:gd name="connsiteX48" fmla="*/ 125379 w 152245"/>
                <a:gd name="connsiteY48" fmla="*/ 109707 h 138812"/>
                <a:gd name="connsiteX49" fmla="*/ 136573 w 152245"/>
                <a:gd name="connsiteY49" fmla="*/ 98512 h 138812"/>
                <a:gd name="connsiteX50" fmla="*/ 147768 w 152245"/>
                <a:gd name="connsiteY50" fmla="*/ 109707 h 138812"/>
                <a:gd name="connsiteX51" fmla="*/ 150007 w 152245"/>
                <a:gd name="connsiteY51" fmla="*/ 111945 h 138812"/>
                <a:gd name="connsiteX52" fmla="*/ 152246 w 152245"/>
                <a:gd name="connsiteY52" fmla="*/ 109707 h 138812"/>
                <a:gd name="connsiteX53" fmla="*/ 138812 w 152245"/>
                <a:gd name="connsiteY53" fmla="*/ 94482 h 138812"/>
                <a:gd name="connsiteX54" fmla="*/ 67167 w 152245"/>
                <a:gd name="connsiteY54" fmla="*/ 129857 h 138812"/>
                <a:gd name="connsiteX55" fmla="*/ 67167 w 152245"/>
                <a:gd name="connsiteY55" fmla="*/ 134335 h 138812"/>
                <a:gd name="connsiteX56" fmla="*/ 44778 w 152245"/>
                <a:gd name="connsiteY56" fmla="*/ 134335 h 138812"/>
                <a:gd name="connsiteX57" fmla="*/ 44778 w 152245"/>
                <a:gd name="connsiteY57" fmla="*/ 129857 h 138812"/>
                <a:gd name="connsiteX58" fmla="*/ 55973 w 152245"/>
                <a:gd name="connsiteY58" fmla="*/ 118662 h 138812"/>
                <a:gd name="connsiteX59" fmla="*/ 67167 w 152245"/>
                <a:gd name="connsiteY59" fmla="*/ 129857 h 138812"/>
                <a:gd name="connsiteX60" fmla="*/ 107468 w 152245"/>
                <a:gd name="connsiteY60" fmla="*/ 129857 h 138812"/>
                <a:gd name="connsiteX61" fmla="*/ 107468 w 152245"/>
                <a:gd name="connsiteY61" fmla="*/ 134335 h 138812"/>
                <a:gd name="connsiteX62" fmla="*/ 85079 w 152245"/>
                <a:gd name="connsiteY62" fmla="*/ 134335 h 138812"/>
                <a:gd name="connsiteX63" fmla="*/ 85079 w 152245"/>
                <a:gd name="connsiteY63" fmla="*/ 129857 h 138812"/>
                <a:gd name="connsiteX64" fmla="*/ 96273 w 152245"/>
                <a:gd name="connsiteY64" fmla="*/ 118662 h 138812"/>
                <a:gd name="connsiteX65" fmla="*/ 107468 w 152245"/>
                <a:gd name="connsiteY65" fmla="*/ 129857 h 138812"/>
                <a:gd name="connsiteX66" fmla="*/ 120901 w 152245"/>
                <a:gd name="connsiteY66" fmla="*/ 53734 h 138812"/>
                <a:gd name="connsiteX67" fmla="*/ 97169 w 152245"/>
                <a:gd name="connsiteY67" fmla="*/ 53734 h 138812"/>
                <a:gd name="connsiteX68" fmla="*/ 96273 w 152245"/>
                <a:gd name="connsiteY68" fmla="*/ 53286 h 138812"/>
                <a:gd name="connsiteX69" fmla="*/ 95377 w 152245"/>
                <a:gd name="connsiteY69" fmla="*/ 53734 h 138812"/>
                <a:gd name="connsiteX70" fmla="*/ 56868 w 152245"/>
                <a:gd name="connsiteY70" fmla="*/ 53734 h 138812"/>
                <a:gd name="connsiteX71" fmla="*/ 55973 w 152245"/>
                <a:gd name="connsiteY71" fmla="*/ 53286 h 138812"/>
                <a:gd name="connsiteX72" fmla="*/ 55077 w 152245"/>
                <a:gd name="connsiteY72" fmla="*/ 53734 h 138812"/>
                <a:gd name="connsiteX73" fmla="*/ 31345 w 152245"/>
                <a:gd name="connsiteY73" fmla="*/ 53734 h 138812"/>
                <a:gd name="connsiteX74" fmla="*/ 31345 w 152245"/>
                <a:gd name="connsiteY74" fmla="*/ 49256 h 138812"/>
                <a:gd name="connsiteX75" fmla="*/ 76123 w 152245"/>
                <a:gd name="connsiteY75" fmla="*/ 4478 h 138812"/>
                <a:gd name="connsiteX76" fmla="*/ 120901 w 152245"/>
                <a:gd name="connsiteY76" fmla="*/ 49256 h 138812"/>
                <a:gd name="connsiteX77" fmla="*/ 120901 w 152245"/>
                <a:gd name="connsiteY77" fmla="*/ 53734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52245" h="138812">
                  <a:moveTo>
                    <a:pt x="138812" y="94482"/>
                  </a:moveTo>
                  <a:lnTo>
                    <a:pt x="138812" y="55973"/>
                  </a:lnTo>
                  <a:cubicBezTo>
                    <a:pt x="138812" y="47913"/>
                    <a:pt x="132543" y="41196"/>
                    <a:pt x="124483" y="40300"/>
                  </a:cubicBezTo>
                  <a:cubicBezTo>
                    <a:pt x="120453" y="17463"/>
                    <a:pt x="100303" y="0"/>
                    <a:pt x="76123" y="0"/>
                  </a:cubicBezTo>
                  <a:cubicBezTo>
                    <a:pt x="51943" y="0"/>
                    <a:pt x="31792" y="17463"/>
                    <a:pt x="27762" y="40300"/>
                  </a:cubicBezTo>
                  <a:cubicBezTo>
                    <a:pt x="19702" y="41196"/>
                    <a:pt x="13433" y="47465"/>
                    <a:pt x="13433" y="55973"/>
                  </a:cubicBezTo>
                  <a:lnTo>
                    <a:pt x="13433" y="94482"/>
                  </a:lnTo>
                  <a:cubicBezTo>
                    <a:pt x="5821" y="95377"/>
                    <a:pt x="0" y="102094"/>
                    <a:pt x="0" y="109707"/>
                  </a:cubicBezTo>
                  <a:cubicBezTo>
                    <a:pt x="0" y="111050"/>
                    <a:pt x="895" y="111945"/>
                    <a:pt x="2239" y="111945"/>
                  </a:cubicBezTo>
                  <a:cubicBezTo>
                    <a:pt x="3582" y="111945"/>
                    <a:pt x="4478" y="111050"/>
                    <a:pt x="4478" y="109707"/>
                  </a:cubicBezTo>
                  <a:cubicBezTo>
                    <a:pt x="4478" y="103438"/>
                    <a:pt x="9403" y="98512"/>
                    <a:pt x="15672" y="98512"/>
                  </a:cubicBezTo>
                  <a:cubicBezTo>
                    <a:pt x="21941" y="98512"/>
                    <a:pt x="26867" y="103438"/>
                    <a:pt x="26867" y="109707"/>
                  </a:cubicBezTo>
                  <a:cubicBezTo>
                    <a:pt x="26867" y="111050"/>
                    <a:pt x="27762" y="111945"/>
                    <a:pt x="29106" y="111945"/>
                  </a:cubicBezTo>
                  <a:cubicBezTo>
                    <a:pt x="30449" y="111945"/>
                    <a:pt x="31345" y="111050"/>
                    <a:pt x="31345" y="109707"/>
                  </a:cubicBezTo>
                  <a:cubicBezTo>
                    <a:pt x="31345" y="101646"/>
                    <a:pt x="25523" y="95377"/>
                    <a:pt x="17911" y="94482"/>
                  </a:cubicBezTo>
                  <a:lnTo>
                    <a:pt x="17911" y="55973"/>
                  </a:lnTo>
                  <a:cubicBezTo>
                    <a:pt x="17911" y="50599"/>
                    <a:pt x="21941" y="46121"/>
                    <a:pt x="26867" y="44778"/>
                  </a:cubicBezTo>
                  <a:cubicBezTo>
                    <a:pt x="26867" y="46121"/>
                    <a:pt x="26867" y="47465"/>
                    <a:pt x="26867" y="49256"/>
                  </a:cubicBezTo>
                  <a:lnTo>
                    <a:pt x="26867" y="55973"/>
                  </a:lnTo>
                  <a:cubicBezTo>
                    <a:pt x="26867" y="57316"/>
                    <a:pt x="27762" y="58212"/>
                    <a:pt x="29106" y="58212"/>
                  </a:cubicBezTo>
                  <a:lnTo>
                    <a:pt x="53734" y="58212"/>
                  </a:lnTo>
                  <a:lnTo>
                    <a:pt x="53734" y="114632"/>
                  </a:lnTo>
                  <a:cubicBezTo>
                    <a:pt x="46121" y="115528"/>
                    <a:pt x="40300" y="122244"/>
                    <a:pt x="40300" y="129857"/>
                  </a:cubicBezTo>
                  <a:lnTo>
                    <a:pt x="40300" y="136573"/>
                  </a:lnTo>
                  <a:cubicBezTo>
                    <a:pt x="40300" y="137917"/>
                    <a:pt x="41196" y="138812"/>
                    <a:pt x="42539" y="138812"/>
                  </a:cubicBezTo>
                  <a:lnTo>
                    <a:pt x="69406" y="138812"/>
                  </a:lnTo>
                  <a:cubicBezTo>
                    <a:pt x="70749" y="138812"/>
                    <a:pt x="71645" y="137917"/>
                    <a:pt x="71645" y="136573"/>
                  </a:cubicBezTo>
                  <a:lnTo>
                    <a:pt x="71645" y="129857"/>
                  </a:lnTo>
                  <a:cubicBezTo>
                    <a:pt x="71645" y="121797"/>
                    <a:pt x="65824" y="115528"/>
                    <a:pt x="58212" y="114632"/>
                  </a:cubicBezTo>
                  <a:lnTo>
                    <a:pt x="58212" y="58212"/>
                  </a:lnTo>
                  <a:lnTo>
                    <a:pt x="94034" y="58212"/>
                  </a:lnTo>
                  <a:lnTo>
                    <a:pt x="94034" y="114632"/>
                  </a:lnTo>
                  <a:cubicBezTo>
                    <a:pt x="86422" y="115528"/>
                    <a:pt x="80601" y="122244"/>
                    <a:pt x="80601" y="129857"/>
                  </a:cubicBezTo>
                  <a:lnTo>
                    <a:pt x="80601" y="136573"/>
                  </a:lnTo>
                  <a:cubicBezTo>
                    <a:pt x="80601" y="137917"/>
                    <a:pt x="81496" y="138812"/>
                    <a:pt x="82840" y="138812"/>
                  </a:cubicBezTo>
                  <a:lnTo>
                    <a:pt x="109707" y="138812"/>
                  </a:lnTo>
                  <a:cubicBezTo>
                    <a:pt x="111050" y="138812"/>
                    <a:pt x="111945" y="137917"/>
                    <a:pt x="111945" y="136573"/>
                  </a:cubicBezTo>
                  <a:lnTo>
                    <a:pt x="111945" y="129857"/>
                  </a:lnTo>
                  <a:cubicBezTo>
                    <a:pt x="111945" y="121797"/>
                    <a:pt x="106124" y="115528"/>
                    <a:pt x="98512" y="114632"/>
                  </a:cubicBezTo>
                  <a:lnTo>
                    <a:pt x="98512" y="58212"/>
                  </a:lnTo>
                  <a:lnTo>
                    <a:pt x="123140" y="58212"/>
                  </a:lnTo>
                  <a:cubicBezTo>
                    <a:pt x="124483" y="58212"/>
                    <a:pt x="125379" y="57316"/>
                    <a:pt x="125379" y="55973"/>
                  </a:cubicBezTo>
                  <a:lnTo>
                    <a:pt x="125379" y="49256"/>
                  </a:lnTo>
                  <a:cubicBezTo>
                    <a:pt x="125379" y="47913"/>
                    <a:pt x="125379" y="46569"/>
                    <a:pt x="125379" y="44778"/>
                  </a:cubicBezTo>
                  <a:cubicBezTo>
                    <a:pt x="130752" y="45674"/>
                    <a:pt x="134335" y="50151"/>
                    <a:pt x="134335" y="55973"/>
                  </a:cubicBezTo>
                  <a:lnTo>
                    <a:pt x="134335" y="94482"/>
                  </a:lnTo>
                  <a:cubicBezTo>
                    <a:pt x="126722" y="95377"/>
                    <a:pt x="120901" y="102094"/>
                    <a:pt x="120901" y="109707"/>
                  </a:cubicBezTo>
                  <a:cubicBezTo>
                    <a:pt x="120901" y="111050"/>
                    <a:pt x="121797" y="111945"/>
                    <a:pt x="123140" y="111945"/>
                  </a:cubicBezTo>
                  <a:cubicBezTo>
                    <a:pt x="124483" y="111945"/>
                    <a:pt x="125379" y="111050"/>
                    <a:pt x="125379" y="109707"/>
                  </a:cubicBezTo>
                  <a:cubicBezTo>
                    <a:pt x="125379" y="103438"/>
                    <a:pt x="130304" y="98512"/>
                    <a:pt x="136573" y="98512"/>
                  </a:cubicBezTo>
                  <a:cubicBezTo>
                    <a:pt x="142842" y="98512"/>
                    <a:pt x="147768" y="103438"/>
                    <a:pt x="147768" y="109707"/>
                  </a:cubicBezTo>
                  <a:cubicBezTo>
                    <a:pt x="147768" y="111050"/>
                    <a:pt x="148663" y="111945"/>
                    <a:pt x="150007" y="111945"/>
                  </a:cubicBezTo>
                  <a:cubicBezTo>
                    <a:pt x="151350" y="111945"/>
                    <a:pt x="152246" y="111050"/>
                    <a:pt x="152246" y="109707"/>
                  </a:cubicBezTo>
                  <a:cubicBezTo>
                    <a:pt x="152246" y="102094"/>
                    <a:pt x="146425" y="95377"/>
                    <a:pt x="138812" y="94482"/>
                  </a:cubicBezTo>
                  <a:close/>
                  <a:moveTo>
                    <a:pt x="67167" y="129857"/>
                  </a:moveTo>
                  <a:lnTo>
                    <a:pt x="67167" y="134335"/>
                  </a:lnTo>
                  <a:lnTo>
                    <a:pt x="44778" y="134335"/>
                  </a:lnTo>
                  <a:lnTo>
                    <a:pt x="44778" y="129857"/>
                  </a:lnTo>
                  <a:cubicBezTo>
                    <a:pt x="44778" y="123588"/>
                    <a:pt x="49704" y="118662"/>
                    <a:pt x="55973" y="118662"/>
                  </a:cubicBezTo>
                  <a:cubicBezTo>
                    <a:pt x="62242" y="118662"/>
                    <a:pt x="67167" y="123588"/>
                    <a:pt x="67167" y="129857"/>
                  </a:cubicBezTo>
                  <a:close/>
                  <a:moveTo>
                    <a:pt x="107468" y="129857"/>
                  </a:moveTo>
                  <a:lnTo>
                    <a:pt x="107468" y="134335"/>
                  </a:lnTo>
                  <a:lnTo>
                    <a:pt x="85079" y="134335"/>
                  </a:lnTo>
                  <a:lnTo>
                    <a:pt x="85079" y="129857"/>
                  </a:lnTo>
                  <a:cubicBezTo>
                    <a:pt x="85079" y="123588"/>
                    <a:pt x="90004" y="118662"/>
                    <a:pt x="96273" y="118662"/>
                  </a:cubicBezTo>
                  <a:cubicBezTo>
                    <a:pt x="102542" y="118662"/>
                    <a:pt x="107468" y="123588"/>
                    <a:pt x="107468" y="129857"/>
                  </a:cubicBezTo>
                  <a:close/>
                  <a:moveTo>
                    <a:pt x="120901" y="53734"/>
                  </a:moveTo>
                  <a:lnTo>
                    <a:pt x="97169" y="53734"/>
                  </a:lnTo>
                  <a:cubicBezTo>
                    <a:pt x="96721" y="53734"/>
                    <a:pt x="96721" y="53286"/>
                    <a:pt x="96273" y="53286"/>
                  </a:cubicBezTo>
                  <a:cubicBezTo>
                    <a:pt x="95825" y="53286"/>
                    <a:pt x="95825" y="53286"/>
                    <a:pt x="95377" y="53734"/>
                  </a:cubicBezTo>
                  <a:lnTo>
                    <a:pt x="56868" y="53734"/>
                  </a:lnTo>
                  <a:cubicBezTo>
                    <a:pt x="56420" y="53734"/>
                    <a:pt x="56420" y="53286"/>
                    <a:pt x="55973" y="53286"/>
                  </a:cubicBezTo>
                  <a:cubicBezTo>
                    <a:pt x="55525" y="53286"/>
                    <a:pt x="55525" y="53286"/>
                    <a:pt x="55077" y="53734"/>
                  </a:cubicBezTo>
                  <a:lnTo>
                    <a:pt x="31345" y="53734"/>
                  </a:lnTo>
                  <a:lnTo>
                    <a:pt x="31345" y="49256"/>
                  </a:lnTo>
                  <a:cubicBezTo>
                    <a:pt x="31345" y="24628"/>
                    <a:pt x="51495" y="4478"/>
                    <a:pt x="76123" y="4478"/>
                  </a:cubicBezTo>
                  <a:cubicBezTo>
                    <a:pt x="100751" y="4478"/>
                    <a:pt x="120901" y="24628"/>
                    <a:pt x="120901" y="49256"/>
                  </a:cubicBezTo>
                  <a:lnTo>
                    <a:pt x="120901" y="53734"/>
                  </a:lnTo>
                  <a:close/>
                </a:path>
              </a:pathLst>
            </a:custGeom>
            <a:solidFill>
              <a:srgbClr val="231F20"/>
            </a:solidFill>
            <a:ln w="4474" cap="flat">
              <a:noFill/>
              <a:prstDash val="solid"/>
              <a:miter/>
            </a:ln>
          </p:spPr>
          <p:txBody>
            <a:bodyPr rtlCol="0" anchor="ctr"/>
            <a:lstStyle/>
            <a:p>
              <a:endParaRPr lang="en-US"/>
            </a:p>
          </p:txBody>
        </p:sp>
        <p:sp>
          <p:nvSpPr>
            <p:cNvPr id="4231" name="Freeform: Shape 4230">
              <a:extLst>
                <a:ext uri="{FF2B5EF4-FFF2-40B4-BE49-F238E27FC236}">
                  <a16:creationId xmlns:a16="http://schemas.microsoft.com/office/drawing/2014/main" id="{5D8FF935-C93E-46F8-B072-724C816BD1AF}"/>
                </a:ext>
              </a:extLst>
            </p:cNvPr>
            <p:cNvSpPr/>
            <p:nvPr/>
          </p:nvSpPr>
          <p:spPr>
            <a:xfrm>
              <a:off x="2490079"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32" name="Freeform: Shape 4231">
              <a:extLst>
                <a:ext uri="{FF2B5EF4-FFF2-40B4-BE49-F238E27FC236}">
                  <a16:creationId xmlns:a16="http://schemas.microsoft.com/office/drawing/2014/main" id="{BCB2ADF1-211C-4DC8-B294-3FD3084F01DD}"/>
                </a:ext>
              </a:extLst>
            </p:cNvPr>
            <p:cNvSpPr/>
            <p:nvPr/>
          </p:nvSpPr>
          <p:spPr>
            <a:xfrm>
              <a:off x="2516946"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33" name="Freeform: Shape 4232">
              <a:extLst>
                <a:ext uri="{FF2B5EF4-FFF2-40B4-BE49-F238E27FC236}">
                  <a16:creationId xmlns:a16="http://schemas.microsoft.com/office/drawing/2014/main" id="{A94C2489-9844-45C9-8730-A5A1EAEFCCDF}"/>
                </a:ext>
              </a:extLst>
            </p:cNvPr>
            <p:cNvSpPr/>
            <p:nvPr/>
          </p:nvSpPr>
          <p:spPr>
            <a:xfrm>
              <a:off x="2487840" y="2644685"/>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5"/>
                    <a:pt x="895" y="0"/>
                    <a:pt x="2239" y="0"/>
                  </a:cubicBezTo>
                  <a:lnTo>
                    <a:pt x="42539" y="0"/>
                  </a:lnTo>
                  <a:cubicBezTo>
                    <a:pt x="43883" y="0"/>
                    <a:pt x="44778" y="895"/>
                    <a:pt x="44778" y="2239"/>
                  </a:cubicBezTo>
                  <a:cubicBezTo>
                    <a:pt x="44778" y="3582"/>
                    <a:pt x="43883" y="4478"/>
                    <a:pt x="42539" y="4478"/>
                  </a:cubicBezTo>
                  <a:close/>
                </a:path>
              </a:pathLst>
            </a:custGeom>
            <a:solidFill>
              <a:srgbClr val="231F20"/>
            </a:solidFill>
            <a:ln w="4474" cap="flat">
              <a:noFill/>
              <a:prstDash val="solid"/>
              <a:miter/>
            </a:ln>
          </p:spPr>
          <p:txBody>
            <a:bodyPr rtlCol="0" anchor="ctr"/>
            <a:lstStyle/>
            <a:p>
              <a:endParaRPr lang="en-US"/>
            </a:p>
          </p:txBody>
        </p:sp>
      </p:grpSp>
      <p:grpSp>
        <p:nvGrpSpPr>
          <p:cNvPr id="4234" name="Group 4233">
            <a:extLst>
              <a:ext uri="{FF2B5EF4-FFF2-40B4-BE49-F238E27FC236}">
                <a16:creationId xmlns:a16="http://schemas.microsoft.com/office/drawing/2014/main" id="{5F1FA831-418E-4DB4-87F2-3B315F9348AC}"/>
              </a:ext>
              <a:ext uri="{C183D7F6-B498-43B3-948B-1728B52AA6E4}">
                <adec:decorative xmlns:adec="http://schemas.microsoft.com/office/drawing/2017/decorative" val="1"/>
              </a:ext>
            </a:extLst>
          </p:cNvPr>
          <p:cNvGrpSpPr>
            <a:grpSpLocks noChangeAspect="1"/>
          </p:cNvGrpSpPr>
          <p:nvPr/>
        </p:nvGrpSpPr>
        <p:grpSpPr>
          <a:xfrm>
            <a:off x="2653513" y="3339823"/>
            <a:ext cx="125379" cy="138812"/>
            <a:chOff x="2694267" y="2604384"/>
            <a:chExt cx="125379" cy="138812"/>
          </a:xfrm>
        </p:grpSpPr>
        <p:sp>
          <p:nvSpPr>
            <p:cNvPr id="4235" name="Freeform: Shape 4234">
              <a:extLst>
                <a:ext uri="{FF2B5EF4-FFF2-40B4-BE49-F238E27FC236}">
                  <a16:creationId xmlns:a16="http://schemas.microsoft.com/office/drawing/2014/main" id="{75395F57-952A-4CE3-A0DE-A4CD5AB59EF6}"/>
                </a:ext>
              </a:extLst>
            </p:cNvPr>
            <p:cNvSpPr/>
            <p:nvPr/>
          </p:nvSpPr>
          <p:spPr>
            <a:xfrm>
              <a:off x="2694267" y="2604384"/>
              <a:ext cx="125379" cy="138812"/>
            </a:xfrm>
            <a:custGeom>
              <a:avLst/>
              <a:gdLst>
                <a:gd name="connsiteX0" fmla="*/ 124036 w 125378"/>
                <a:gd name="connsiteY0" fmla="*/ 37166 h 138812"/>
                <a:gd name="connsiteX1" fmla="*/ 121349 w 125378"/>
                <a:gd name="connsiteY1" fmla="*/ 35375 h 138812"/>
                <a:gd name="connsiteX2" fmla="*/ 119558 w 125378"/>
                <a:gd name="connsiteY2" fmla="*/ 38061 h 138812"/>
                <a:gd name="connsiteX3" fmla="*/ 120901 w 125378"/>
                <a:gd name="connsiteY3" fmla="*/ 49256 h 138812"/>
                <a:gd name="connsiteX4" fmla="*/ 120901 w 125378"/>
                <a:gd name="connsiteY4" fmla="*/ 53734 h 138812"/>
                <a:gd name="connsiteX5" fmla="*/ 97169 w 125378"/>
                <a:gd name="connsiteY5" fmla="*/ 53734 h 138812"/>
                <a:gd name="connsiteX6" fmla="*/ 96273 w 125378"/>
                <a:gd name="connsiteY6" fmla="*/ 53286 h 138812"/>
                <a:gd name="connsiteX7" fmla="*/ 95378 w 125378"/>
                <a:gd name="connsiteY7" fmla="*/ 53734 h 138812"/>
                <a:gd name="connsiteX8" fmla="*/ 56868 w 125378"/>
                <a:gd name="connsiteY8" fmla="*/ 53734 h 138812"/>
                <a:gd name="connsiteX9" fmla="*/ 55973 w 125378"/>
                <a:gd name="connsiteY9" fmla="*/ 53286 h 138812"/>
                <a:gd name="connsiteX10" fmla="*/ 55077 w 125378"/>
                <a:gd name="connsiteY10" fmla="*/ 53734 h 138812"/>
                <a:gd name="connsiteX11" fmla="*/ 31345 w 125378"/>
                <a:gd name="connsiteY11" fmla="*/ 53734 h 138812"/>
                <a:gd name="connsiteX12" fmla="*/ 31345 w 125378"/>
                <a:gd name="connsiteY12" fmla="*/ 49256 h 138812"/>
                <a:gd name="connsiteX13" fmla="*/ 76123 w 125378"/>
                <a:gd name="connsiteY13" fmla="*/ 4478 h 138812"/>
                <a:gd name="connsiteX14" fmla="*/ 104333 w 125378"/>
                <a:gd name="connsiteY14" fmla="*/ 14329 h 138812"/>
                <a:gd name="connsiteX15" fmla="*/ 107468 w 125378"/>
                <a:gd name="connsiteY15" fmla="*/ 13881 h 138812"/>
                <a:gd name="connsiteX16" fmla="*/ 107020 w 125378"/>
                <a:gd name="connsiteY16" fmla="*/ 10747 h 138812"/>
                <a:gd name="connsiteX17" fmla="*/ 76123 w 125378"/>
                <a:gd name="connsiteY17" fmla="*/ 0 h 138812"/>
                <a:gd name="connsiteX18" fmla="*/ 27763 w 125378"/>
                <a:gd name="connsiteY18" fmla="*/ 40300 h 138812"/>
                <a:gd name="connsiteX19" fmla="*/ 13433 w 125378"/>
                <a:gd name="connsiteY19" fmla="*/ 55973 h 138812"/>
                <a:gd name="connsiteX20" fmla="*/ 13433 w 125378"/>
                <a:gd name="connsiteY20" fmla="*/ 94034 h 138812"/>
                <a:gd name="connsiteX21" fmla="*/ 0 w 125378"/>
                <a:gd name="connsiteY21" fmla="*/ 109707 h 138812"/>
                <a:gd name="connsiteX22" fmla="*/ 2239 w 125378"/>
                <a:gd name="connsiteY22" fmla="*/ 111945 h 138812"/>
                <a:gd name="connsiteX23" fmla="*/ 4478 w 125378"/>
                <a:gd name="connsiteY23" fmla="*/ 109707 h 138812"/>
                <a:gd name="connsiteX24" fmla="*/ 15672 w 125378"/>
                <a:gd name="connsiteY24" fmla="*/ 98512 h 138812"/>
                <a:gd name="connsiteX25" fmla="*/ 26867 w 125378"/>
                <a:gd name="connsiteY25" fmla="*/ 109707 h 138812"/>
                <a:gd name="connsiteX26" fmla="*/ 29106 w 125378"/>
                <a:gd name="connsiteY26" fmla="*/ 111945 h 138812"/>
                <a:gd name="connsiteX27" fmla="*/ 31345 w 125378"/>
                <a:gd name="connsiteY27" fmla="*/ 109707 h 138812"/>
                <a:gd name="connsiteX28" fmla="*/ 17911 w 125378"/>
                <a:gd name="connsiteY28" fmla="*/ 94482 h 138812"/>
                <a:gd name="connsiteX29" fmla="*/ 17911 w 125378"/>
                <a:gd name="connsiteY29" fmla="*/ 55973 h 138812"/>
                <a:gd name="connsiteX30" fmla="*/ 26867 w 125378"/>
                <a:gd name="connsiteY30" fmla="*/ 44778 h 138812"/>
                <a:gd name="connsiteX31" fmla="*/ 26867 w 125378"/>
                <a:gd name="connsiteY31" fmla="*/ 49256 h 138812"/>
                <a:gd name="connsiteX32" fmla="*/ 26867 w 125378"/>
                <a:gd name="connsiteY32" fmla="*/ 55973 h 138812"/>
                <a:gd name="connsiteX33" fmla="*/ 29106 w 125378"/>
                <a:gd name="connsiteY33" fmla="*/ 58212 h 138812"/>
                <a:gd name="connsiteX34" fmla="*/ 53734 w 125378"/>
                <a:gd name="connsiteY34" fmla="*/ 58212 h 138812"/>
                <a:gd name="connsiteX35" fmla="*/ 53734 w 125378"/>
                <a:gd name="connsiteY35" fmla="*/ 114632 h 138812"/>
                <a:gd name="connsiteX36" fmla="*/ 40300 w 125378"/>
                <a:gd name="connsiteY36" fmla="*/ 129857 h 138812"/>
                <a:gd name="connsiteX37" fmla="*/ 40300 w 125378"/>
                <a:gd name="connsiteY37" fmla="*/ 136573 h 138812"/>
                <a:gd name="connsiteX38" fmla="*/ 42539 w 125378"/>
                <a:gd name="connsiteY38" fmla="*/ 138812 h 138812"/>
                <a:gd name="connsiteX39" fmla="*/ 69406 w 125378"/>
                <a:gd name="connsiteY39" fmla="*/ 138812 h 138812"/>
                <a:gd name="connsiteX40" fmla="*/ 71645 w 125378"/>
                <a:gd name="connsiteY40" fmla="*/ 136573 h 138812"/>
                <a:gd name="connsiteX41" fmla="*/ 71645 w 125378"/>
                <a:gd name="connsiteY41" fmla="*/ 129857 h 138812"/>
                <a:gd name="connsiteX42" fmla="*/ 58212 w 125378"/>
                <a:gd name="connsiteY42" fmla="*/ 114632 h 138812"/>
                <a:gd name="connsiteX43" fmla="*/ 58212 w 125378"/>
                <a:gd name="connsiteY43" fmla="*/ 58212 h 138812"/>
                <a:gd name="connsiteX44" fmla="*/ 94034 w 125378"/>
                <a:gd name="connsiteY44" fmla="*/ 58212 h 138812"/>
                <a:gd name="connsiteX45" fmla="*/ 94034 w 125378"/>
                <a:gd name="connsiteY45" fmla="*/ 114632 h 138812"/>
                <a:gd name="connsiteX46" fmla="*/ 80601 w 125378"/>
                <a:gd name="connsiteY46" fmla="*/ 129857 h 138812"/>
                <a:gd name="connsiteX47" fmla="*/ 80601 w 125378"/>
                <a:gd name="connsiteY47" fmla="*/ 136573 h 138812"/>
                <a:gd name="connsiteX48" fmla="*/ 82840 w 125378"/>
                <a:gd name="connsiteY48" fmla="*/ 138812 h 138812"/>
                <a:gd name="connsiteX49" fmla="*/ 109707 w 125378"/>
                <a:gd name="connsiteY49" fmla="*/ 138812 h 138812"/>
                <a:gd name="connsiteX50" fmla="*/ 111945 w 125378"/>
                <a:gd name="connsiteY50" fmla="*/ 136573 h 138812"/>
                <a:gd name="connsiteX51" fmla="*/ 111945 w 125378"/>
                <a:gd name="connsiteY51" fmla="*/ 129857 h 138812"/>
                <a:gd name="connsiteX52" fmla="*/ 98512 w 125378"/>
                <a:gd name="connsiteY52" fmla="*/ 114632 h 138812"/>
                <a:gd name="connsiteX53" fmla="*/ 98512 w 125378"/>
                <a:gd name="connsiteY53" fmla="*/ 58212 h 138812"/>
                <a:gd name="connsiteX54" fmla="*/ 123140 w 125378"/>
                <a:gd name="connsiteY54" fmla="*/ 58212 h 138812"/>
                <a:gd name="connsiteX55" fmla="*/ 125379 w 125378"/>
                <a:gd name="connsiteY55" fmla="*/ 55973 h 138812"/>
                <a:gd name="connsiteX56" fmla="*/ 125379 w 125378"/>
                <a:gd name="connsiteY56" fmla="*/ 49256 h 138812"/>
                <a:gd name="connsiteX57" fmla="*/ 124036 w 125378"/>
                <a:gd name="connsiteY57" fmla="*/ 37166 h 138812"/>
                <a:gd name="connsiteX58" fmla="*/ 67615 w 125378"/>
                <a:gd name="connsiteY58" fmla="*/ 129857 h 138812"/>
                <a:gd name="connsiteX59" fmla="*/ 67615 w 125378"/>
                <a:gd name="connsiteY59" fmla="*/ 134335 h 138812"/>
                <a:gd name="connsiteX60" fmla="*/ 45226 w 125378"/>
                <a:gd name="connsiteY60" fmla="*/ 134335 h 138812"/>
                <a:gd name="connsiteX61" fmla="*/ 45226 w 125378"/>
                <a:gd name="connsiteY61" fmla="*/ 129857 h 138812"/>
                <a:gd name="connsiteX62" fmla="*/ 56421 w 125378"/>
                <a:gd name="connsiteY62" fmla="*/ 118662 h 138812"/>
                <a:gd name="connsiteX63" fmla="*/ 67615 w 125378"/>
                <a:gd name="connsiteY63" fmla="*/ 129857 h 138812"/>
                <a:gd name="connsiteX64" fmla="*/ 107915 w 125378"/>
                <a:gd name="connsiteY64" fmla="*/ 129857 h 138812"/>
                <a:gd name="connsiteX65" fmla="*/ 107915 w 125378"/>
                <a:gd name="connsiteY65" fmla="*/ 134335 h 138812"/>
                <a:gd name="connsiteX66" fmla="*/ 85526 w 125378"/>
                <a:gd name="connsiteY66" fmla="*/ 134335 h 138812"/>
                <a:gd name="connsiteX67" fmla="*/ 85526 w 125378"/>
                <a:gd name="connsiteY67" fmla="*/ 129857 h 138812"/>
                <a:gd name="connsiteX68" fmla="*/ 96721 w 125378"/>
                <a:gd name="connsiteY68" fmla="*/ 118662 h 138812"/>
                <a:gd name="connsiteX69" fmla="*/ 107915 w 125378"/>
                <a:gd name="connsiteY69" fmla="*/ 12985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5378" h="138812">
                  <a:moveTo>
                    <a:pt x="124036" y="37166"/>
                  </a:moveTo>
                  <a:cubicBezTo>
                    <a:pt x="123588" y="35823"/>
                    <a:pt x="122692" y="35375"/>
                    <a:pt x="121349" y="35375"/>
                  </a:cubicBezTo>
                  <a:cubicBezTo>
                    <a:pt x="120006" y="35823"/>
                    <a:pt x="119558" y="36718"/>
                    <a:pt x="119558" y="38061"/>
                  </a:cubicBezTo>
                  <a:cubicBezTo>
                    <a:pt x="120453" y="41644"/>
                    <a:pt x="120901" y="45226"/>
                    <a:pt x="120901" y="49256"/>
                  </a:cubicBezTo>
                  <a:lnTo>
                    <a:pt x="120901" y="53734"/>
                  </a:lnTo>
                  <a:lnTo>
                    <a:pt x="97169" y="53734"/>
                  </a:lnTo>
                  <a:cubicBezTo>
                    <a:pt x="96721" y="53734"/>
                    <a:pt x="96721" y="53286"/>
                    <a:pt x="96273" y="53286"/>
                  </a:cubicBezTo>
                  <a:cubicBezTo>
                    <a:pt x="95825" y="53286"/>
                    <a:pt x="95825" y="53286"/>
                    <a:pt x="95378" y="53734"/>
                  </a:cubicBezTo>
                  <a:lnTo>
                    <a:pt x="56868" y="53734"/>
                  </a:lnTo>
                  <a:cubicBezTo>
                    <a:pt x="56421" y="53734"/>
                    <a:pt x="56421" y="53286"/>
                    <a:pt x="55973" y="53286"/>
                  </a:cubicBezTo>
                  <a:cubicBezTo>
                    <a:pt x="55525" y="53286"/>
                    <a:pt x="55525" y="53286"/>
                    <a:pt x="55077" y="53734"/>
                  </a:cubicBezTo>
                  <a:lnTo>
                    <a:pt x="31345" y="53734"/>
                  </a:lnTo>
                  <a:lnTo>
                    <a:pt x="31345" y="49256"/>
                  </a:lnTo>
                  <a:cubicBezTo>
                    <a:pt x="31345" y="24628"/>
                    <a:pt x="51495" y="4478"/>
                    <a:pt x="76123" y="4478"/>
                  </a:cubicBezTo>
                  <a:cubicBezTo>
                    <a:pt x="86422" y="4478"/>
                    <a:pt x="96273" y="8060"/>
                    <a:pt x="104333" y="14329"/>
                  </a:cubicBezTo>
                  <a:cubicBezTo>
                    <a:pt x="105229" y="15225"/>
                    <a:pt x="106572" y="14777"/>
                    <a:pt x="107468" y="13881"/>
                  </a:cubicBezTo>
                  <a:cubicBezTo>
                    <a:pt x="108363" y="12986"/>
                    <a:pt x="107915" y="11642"/>
                    <a:pt x="107020" y="10747"/>
                  </a:cubicBezTo>
                  <a:cubicBezTo>
                    <a:pt x="98512" y="3582"/>
                    <a:pt x="87317" y="0"/>
                    <a:pt x="76123" y="0"/>
                  </a:cubicBezTo>
                  <a:cubicBezTo>
                    <a:pt x="51943" y="0"/>
                    <a:pt x="31793" y="17463"/>
                    <a:pt x="27763" y="40300"/>
                  </a:cubicBezTo>
                  <a:cubicBezTo>
                    <a:pt x="19703" y="41196"/>
                    <a:pt x="13433" y="47465"/>
                    <a:pt x="13433" y="55973"/>
                  </a:cubicBezTo>
                  <a:lnTo>
                    <a:pt x="13433" y="94034"/>
                  </a:lnTo>
                  <a:cubicBezTo>
                    <a:pt x="5821" y="94930"/>
                    <a:pt x="0" y="101646"/>
                    <a:pt x="0" y="109707"/>
                  </a:cubicBezTo>
                  <a:cubicBezTo>
                    <a:pt x="0" y="111050"/>
                    <a:pt x="896" y="111945"/>
                    <a:pt x="2239" y="111945"/>
                  </a:cubicBezTo>
                  <a:cubicBezTo>
                    <a:pt x="3582" y="111945"/>
                    <a:pt x="4478" y="111050"/>
                    <a:pt x="4478" y="109707"/>
                  </a:cubicBezTo>
                  <a:cubicBezTo>
                    <a:pt x="4478" y="103438"/>
                    <a:pt x="9403" y="98512"/>
                    <a:pt x="15672" y="98512"/>
                  </a:cubicBezTo>
                  <a:cubicBezTo>
                    <a:pt x="21941" y="98512"/>
                    <a:pt x="26867" y="103438"/>
                    <a:pt x="26867" y="109707"/>
                  </a:cubicBezTo>
                  <a:cubicBezTo>
                    <a:pt x="26867" y="111050"/>
                    <a:pt x="27763" y="111945"/>
                    <a:pt x="29106" y="111945"/>
                  </a:cubicBezTo>
                  <a:cubicBezTo>
                    <a:pt x="30449" y="111945"/>
                    <a:pt x="31345" y="111050"/>
                    <a:pt x="31345" y="109707"/>
                  </a:cubicBezTo>
                  <a:cubicBezTo>
                    <a:pt x="31345" y="101646"/>
                    <a:pt x="25524" y="95377"/>
                    <a:pt x="17911" y="94482"/>
                  </a:cubicBezTo>
                  <a:lnTo>
                    <a:pt x="17911" y="55973"/>
                  </a:lnTo>
                  <a:cubicBezTo>
                    <a:pt x="17911" y="50599"/>
                    <a:pt x="21941" y="46121"/>
                    <a:pt x="26867" y="44778"/>
                  </a:cubicBezTo>
                  <a:cubicBezTo>
                    <a:pt x="26867" y="46121"/>
                    <a:pt x="26867" y="47465"/>
                    <a:pt x="26867" y="49256"/>
                  </a:cubicBezTo>
                  <a:lnTo>
                    <a:pt x="26867" y="55973"/>
                  </a:lnTo>
                  <a:cubicBezTo>
                    <a:pt x="26867" y="57316"/>
                    <a:pt x="27763" y="58212"/>
                    <a:pt x="29106" y="58212"/>
                  </a:cubicBezTo>
                  <a:lnTo>
                    <a:pt x="53734" y="58212"/>
                  </a:lnTo>
                  <a:lnTo>
                    <a:pt x="53734" y="114632"/>
                  </a:lnTo>
                  <a:cubicBezTo>
                    <a:pt x="46122" y="115528"/>
                    <a:pt x="40300" y="122244"/>
                    <a:pt x="40300" y="129857"/>
                  </a:cubicBezTo>
                  <a:lnTo>
                    <a:pt x="40300" y="136573"/>
                  </a:lnTo>
                  <a:cubicBezTo>
                    <a:pt x="40300" y="137917"/>
                    <a:pt x="41196" y="138812"/>
                    <a:pt x="42539" y="138812"/>
                  </a:cubicBezTo>
                  <a:lnTo>
                    <a:pt x="69406" y="138812"/>
                  </a:lnTo>
                  <a:cubicBezTo>
                    <a:pt x="70750" y="138812"/>
                    <a:pt x="71645" y="137917"/>
                    <a:pt x="71645" y="136573"/>
                  </a:cubicBezTo>
                  <a:lnTo>
                    <a:pt x="71645" y="129857"/>
                  </a:lnTo>
                  <a:cubicBezTo>
                    <a:pt x="71645" y="121797"/>
                    <a:pt x="65824" y="115528"/>
                    <a:pt x="58212" y="114632"/>
                  </a:cubicBezTo>
                  <a:lnTo>
                    <a:pt x="58212" y="58212"/>
                  </a:lnTo>
                  <a:lnTo>
                    <a:pt x="94034" y="58212"/>
                  </a:lnTo>
                  <a:lnTo>
                    <a:pt x="94034" y="114632"/>
                  </a:lnTo>
                  <a:cubicBezTo>
                    <a:pt x="86422" y="115528"/>
                    <a:pt x="80601" y="122244"/>
                    <a:pt x="80601" y="129857"/>
                  </a:cubicBezTo>
                  <a:lnTo>
                    <a:pt x="80601" y="136573"/>
                  </a:lnTo>
                  <a:cubicBezTo>
                    <a:pt x="80601" y="137917"/>
                    <a:pt x="81496" y="138812"/>
                    <a:pt x="82840" y="138812"/>
                  </a:cubicBezTo>
                  <a:lnTo>
                    <a:pt x="109707" y="138812"/>
                  </a:lnTo>
                  <a:cubicBezTo>
                    <a:pt x="111050" y="138812"/>
                    <a:pt x="111945" y="137917"/>
                    <a:pt x="111945" y="136573"/>
                  </a:cubicBezTo>
                  <a:lnTo>
                    <a:pt x="111945" y="129857"/>
                  </a:lnTo>
                  <a:cubicBezTo>
                    <a:pt x="111945" y="121797"/>
                    <a:pt x="106124" y="115528"/>
                    <a:pt x="98512" y="114632"/>
                  </a:cubicBezTo>
                  <a:lnTo>
                    <a:pt x="98512" y="58212"/>
                  </a:lnTo>
                  <a:lnTo>
                    <a:pt x="123140" y="58212"/>
                  </a:lnTo>
                  <a:cubicBezTo>
                    <a:pt x="124483" y="58212"/>
                    <a:pt x="125379" y="57316"/>
                    <a:pt x="125379" y="55973"/>
                  </a:cubicBezTo>
                  <a:lnTo>
                    <a:pt x="125379" y="49256"/>
                  </a:lnTo>
                  <a:cubicBezTo>
                    <a:pt x="125827" y="45226"/>
                    <a:pt x="125379" y="41196"/>
                    <a:pt x="124036" y="37166"/>
                  </a:cubicBezTo>
                  <a:close/>
                  <a:moveTo>
                    <a:pt x="67615" y="129857"/>
                  </a:moveTo>
                  <a:lnTo>
                    <a:pt x="67615" y="134335"/>
                  </a:lnTo>
                  <a:lnTo>
                    <a:pt x="45226" y="134335"/>
                  </a:lnTo>
                  <a:lnTo>
                    <a:pt x="45226" y="129857"/>
                  </a:lnTo>
                  <a:cubicBezTo>
                    <a:pt x="45226" y="123588"/>
                    <a:pt x="50152" y="118662"/>
                    <a:pt x="56421" y="118662"/>
                  </a:cubicBezTo>
                  <a:cubicBezTo>
                    <a:pt x="62689" y="118662"/>
                    <a:pt x="67615" y="123588"/>
                    <a:pt x="67615" y="129857"/>
                  </a:cubicBezTo>
                  <a:close/>
                  <a:moveTo>
                    <a:pt x="107915" y="129857"/>
                  </a:moveTo>
                  <a:lnTo>
                    <a:pt x="107915" y="134335"/>
                  </a:lnTo>
                  <a:lnTo>
                    <a:pt x="85526" y="134335"/>
                  </a:lnTo>
                  <a:lnTo>
                    <a:pt x="85526" y="129857"/>
                  </a:lnTo>
                  <a:cubicBezTo>
                    <a:pt x="85526" y="123588"/>
                    <a:pt x="90452" y="118662"/>
                    <a:pt x="96721" y="118662"/>
                  </a:cubicBezTo>
                  <a:cubicBezTo>
                    <a:pt x="102990" y="118662"/>
                    <a:pt x="107915" y="123588"/>
                    <a:pt x="107915" y="129857"/>
                  </a:cubicBezTo>
                  <a:close/>
                </a:path>
              </a:pathLst>
            </a:custGeom>
            <a:solidFill>
              <a:srgbClr val="231F20"/>
            </a:solidFill>
            <a:ln w="4474" cap="flat">
              <a:noFill/>
              <a:prstDash val="solid"/>
              <a:miter/>
            </a:ln>
          </p:spPr>
          <p:txBody>
            <a:bodyPr rtlCol="0" anchor="ctr"/>
            <a:lstStyle/>
            <a:p>
              <a:endParaRPr lang="en-US"/>
            </a:p>
          </p:txBody>
        </p:sp>
        <p:sp>
          <p:nvSpPr>
            <p:cNvPr id="4236" name="Freeform: Shape 4235">
              <a:extLst>
                <a:ext uri="{FF2B5EF4-FFF2-40B4-BE49-F238E27FC236}">
                  <a16:creationId xmlns:a16="http://schemas.microsoft.com/office/drawing/2014/main" id="{1867156D-962D-49D2-A41E-175D13D86713}"/>
                </a:ext>
              </a:extLst>
            </p:cNvPr>
            <p:cNvSpPr/>
            <p:nvPr/>
          </p:nvSpPr>
          <p:spPr>
            <a:xfrm>
              <a:off x="2750688" y="2620057"/>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237" name="Freeform: Shape 4236">
              <a:extLst>
                <a:ext uri="{FF2B5EF4-FFF2-40B4-BE49-F238E27FC236}">
                  <a16:creationId xmlns:a16="http://schemas.microsoft.com/office/drawing/2014/main" id="{E9F0732B-9A76-45FF-8A5E-8C3A8E352303}"/>
                </a:ext>
              </a:extLst>
            </p:cNvPr>
            <p:cNvSpPr/>
            <p:nvPr/>
          </p:nvSpPr>
          <p:spPr>
            <a:xfrm>
              <a:off x="2777555" y="2620057"/>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238" name="Freeform: Shape 4237">
              <a:extLst>
                <a:ext uri="{FF2B5EF4-FFF2-40B4-BE49-F238E27FC236}">
                  <a16:creationId xmlns:a16="http://schemas.microsoft.com/office/drawing/2014/main" id="{68758F60-7646-4C50-BC0B-305489000209}"/>
                </a:ext>
              </a:extLst>
            </p:cNvPr>
            <p:cNvSpPr/>
            <p:nvPr/>
          </p:nvSpPr>
          <p:spPr>
            <a:xfrm>
              <a:off x="2748449" y="2644685"/>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6" y="4478"/>
                    <a:pt x="0" y="3582"/>
                    <a:pt x="0" y="2239"/>
                  </a:cubicBezTo>
                  <a:cubicBezTo>
                    <a:pt x="0" y="895"/>
                    <a:pt x="896" y="0"/>
                    <a:pt x="2239" y="0"/>
                  </a:cubicBezTo>
                  <a:lnTo>
                    <a:pt x="42539" y="0"/>
                  </a:lnTo>
                  <a:cubicBezTo>
                    <a:pt x="43883" y="0"/>
                    <a:pt x="44778" y="895"/>
                    <a:pt x="44778" y="2239"/>
                  </a:cubicBezTo>
                  <a:cubicBezTo>
                    <a:pt x="44778" y="3582"/>
                    <a:pt x="43883" y="4478"/>
                    <a:pt x="42539" y="4478"/>
                  </a:cubicBezTo>
                  <a:close/>
                </a:path>
              </a:pathLst>
            </a:custGeom>
            <a:solidFill>
              <a:srgbClr val="231F20"/>
            </a:solidFill>
            <a:ln w="4474" cap="flat">
              <a:noFill/>
              <a:prstDash val="solid"/>
              <a:miter/>
            </a:ln>
          </p:spPr>
          <p:txBody>
            <a:bodyPr rtlCol="0" anchor="ctr"/>
            <a:lstStyle/>
            <a:p>
              <a:endParaRPr lang="en-US"/>
            </a:p>
          </p:txBody>
        </p:sp>
      </p:grpSp>
      <p:grpSp>
        <p:nvGrpSpPr>
          <p:cNvPr id="4239" name="Group 4238">
            <a:extLst>
              <a:ext uri="{FF2B5EF4-FFF2-40B4-BE49-F238E27FC236}">
                <a16:creationId xmlns:a16="http://schemas.microsoft.com/office/drawing/2014/main" id="{B14F3531-472A-45CA-A633-4D9714E83684}"/>
              </a:ext>
              <a:ext uri="{C183D7F6-B498-43B3-948B-1728B52AA6E4}">
                <adec:decorative xmlns:adec="http://schemas.microsoft.com/office/drawing/2017/decorative" val="1"/>
              </a:ext>
            </a:extLst>
          </p:cNvPr>
          <p:cNvGrpSpPr>
            <a:grpSpLocks noChangeAspect="1"/>
          </p:cNvGrpSpPr>
          <p:nvPr/>
        </p:nvGrpSpPr>
        <p:grpSpPr>
          <a:xfrm>
            <a:off x="2909197" y="3326390"/>
            <a:ext cx="165680" cy="152245"/>
            <a:chOff x="2949951" y="2590951"/>
            <a:chExt cx="165680" cy="152245"/>
          </a:xfrm>
        </p:grpSpPr>
        <p:sp>
          <p:nvSpPr>
            <p:cNvPr id="4240" name="Freeform: Shape 4239">
              <a:extLst>
                <a:ext uri="{FF2B5EF4-FFF2-40B4-BE49-F238E27FC236}">
                  <a16:creationId xmlns:a16="http://schemas.microsoft.com/office/drawing/2014/main" id="{49BC4603-3FB2-479D-8345-80330D223AC4}"/>
                </a:ext>
              </a:extLst>
            </p:cNvPr>
            <p:cNvSpPr/>
            <p:nvPr/>
          </p:nvSpPr>
          <p:spPr>
            <a:xfrm>
              <a:off x="2949951" y="2604384"/>
              <a:ext cx="152246" cy="138812"/>
            </a:xfrm>
            <a:custGeom>
              <a:avLst/>
              <a:gdLst>
                <a:gd name="connsiteX0" fmla="*/ 138812 w 152245"/>
                <a:gd name="connsiteY0" fmla="*/ 94482 h 138812"/>
                <a:gd name="connsiteX1" fmla="*/ 138812 w 152245"/>
                <a:gd name="connsiteY1" fmla="*/ 56421 h 138812"/>
                <a:gd name="connsiteX2" fmla="*/ 124483 w 152245"/>
                <a:gd name="connsiteY2" fmla="*/ 40748 h 138812"/>
                <a:gd name="connsiteX3" fmla="*/ 124035 w 152245"/>
                <a:gd name="connsiteY3" fmla="*/ 37166 h 138812"/>
                <a:gd name="connsiteX4" fmla="*/ 121349 w 152245"/>
                <a:gd name="connsiteY4" fmla="*/ 35375 h 138812"/>
                <a:gd name="connsiteX5" fmla="*/ 119558 w 152245"/>
                <a:gd name="connsiteY5" fmla="*/ 38061 h 138812"/>
                <a:gd name="connsiteX6" fmla="*/ 120901 w 152245"/>
                <a:gd name="connsiteY6" fmla="*/ 49256 h 138812"/>
                <a:gd name="connsiteX7" fmla="*/ 120901 w 152245"/>
                <a:gd name="connsiteY7" fmla="*/ 53734 h 138812"/>
                <a:gd name="connsiteX8" fmla="*/ 97168 w 152245"/>
                <a:gd name="connsiteY8" fmla="*/ 53734 h 138812"/>
                <a:gd name="connsiteX9" fmla="*/ 96273 w 152245"/>
                <a:gd name="connsiteY9" fmla="*/ 53286 h 138812"/>
                <a:gd name="connsiteX10" fmla="*/ 95377 w 152245"/>
                <a:gd name="connsiteY10" fmla="*/ 53734 h 138812"/>
                <a:gd name="connsiteX11" fmla="*/ 56868 w 152245"/>
                <a:gd name="connsiteY11" fmla="*/ 53734 h 138812"/>
                <a:gd name="connsiteX12" fmla="*/ 55973 w 152245"/>
                <a:gd name="connsiteY12" fmla="*/ 53286 h 138812"/>
                <a:gd name="connsiteX13" fmla="*/ 55077 w 152245"/>
                <a:gd name="connsiteY13" fmla="*/ 53734 h 138812"/>
                <a:gd name="connsiteX14" fmla="*/ 31345 w 152245"/>
                <a:gd name="connsiteY14" fmla="*/ 53734 h 138812"/>
                <a:gd name="connsiteX15" fmla="*/ 31345 w 152245"/>
                <a:gd name="connsiteY15" fmla="*/ 49256 h 138812"/>
                <a:gd name="connsiteX16" fmla="*/ 76123 w 152245"/>
                <a:gd name="connsiteY16" fmla="*/ 4478 h 138812"/>
                <a:gd name="connsiteX17" fmla="*/ 104333 w 152245"/>
                <a:gd name="connsiteY17" fmla="*/ 14329 h 138812"/>
                <a:gd name="connsiteX18" fmla="*/ 107468 w 152245"/>
                <a:gd name="connsiteY18" fmla="*/ 13881 h 138812"/>
                <a:gd name="connsiteX19" fmla="*/ 107020 w 152245"/>
                <a:gd name="connsiteY19" fmla="*/ 10747 h 138812"/>
                <a:gd name="connsiteX20" fmla="*/ 76123 w 152245"/>
                <a:gd name="connsiteY20" fmla="*/ 0 h 138812"/>
                <a:gd name="connsiteX21" fmla="*/ 27762 w 152245"/>
                <a:gd name="connsiteY21" fmla="*/ 40300 h 138812"/>
                <a:gd name="connsiteX22" fmla="*/ 13433 w 152245"/>
                <a:gd name="connsiteY22" fmla="*/ 55973 h 138812"/>
                <a:gd name="connsiteX23" fmla="*/ 13433 w 152245"/>
                <a:gd name="connsiteY23" fmla="*/ 94034 h 138812"/>
                <a:gd name="connsiteX24" fmla="*/ 0 w 152245"/>
                <a:gd name="connsiteY24" fmla="*/ 109707 h 138812"/>
                <a:gd name="connsiteX25" fmla="*/ 2239 w 152245"/>
                <a:gd name="connsiteY25" fmla="*/ 111945 h 138812"/>
                <a:gd name="connsiteX26" fmla="*/ 4478 w 152245"/>
                <a:gd name="connsiteY26" fmla="*/ 109707 h 138812"/>
                <a:gd name="connsiteX27" fmla="*/ 15672 w 152245"/>
                <a:gd name="connsiteY27" fmla="*/ 98512 h 138812"/>
                <a:gd name="connsiteX28" fmla="*/ 26867 w 152245"/>
                <a:gd name="connsiteY28" fmla="*/ 109707 h 138812"/>
                <a:gd name="connsiteX29" fmla="*/ 29106 w 152245"/>
                <a:gd name="connsiteY29" fmla="*/ 111945 h 138812"/>
                <a:gd name="connsiteX30" fmla="*/ 31345 w 152245"/>
                <a:gd name="connsiteY30" fmla="*/ 109707 h 138812"/>
                <a:gd name="connsiteX31" fmla="*/ 17911 w 152245"/>
                <a:gd name="connsiteY31" fmla="*/ 94482 h 138812"/>
                <a:gd name="connsiteX32" fmla="*/ 17911 w 152245"/>
                <a:gd name="connsiteY32" fmla="*/ 55973 h 138812"/>
                <a:gd name="connsiteX33" fmla="*/ 26867 w 152245"/>
                <a:gd name="connsiteY33" fmla="*/ 44778 h 138812"/>
                <a:gd name="connsiteX34" fmla="*/ 26867 w 152245"/>
                <a:gd name="connsiteY34" fmla="*/ 49256 h 138812"/>
                <a:gd name="connsiteX35" fmla="*/ 26867 w 152245"/>
                <a:gd name="connsiteY35" fmla="*/ 55973 h 138812"/>
                <a:gd name="connsiteX36" fmla="*/ 29106 w 152245"/>
                <a:gd name="connsiteY36" fmla="*/ 58212 h 138812"/>
                <a:gd name="connsiteX37" fmla="*/ 53734 w 152245"/>
                <a:gd name="connsiteY37" fmla="*/ 58212 h 138812"/>
                <a:gd name="connsiteX38" fmla="*/ 53734 w 152245"/>
                <a:gd name="connsiteY38" fmla="*/ 114632 h 138812"/>
                <a:gd name="connsiteX39" fmla="*/ 40300 w 152245"/>
                <a:gd name="connsiteY39" fmla="*/ 129857 h 138812"/>
                <a:gd name="connsiteX40" fmla="*/ 40300 w 152245"/>
                <a:gd name="connsiteY40" fmla="*/ 136573 h 138812"/>
                <a:gd name="connsiteX41" fmla="*/ 42539 w 152245"/>
                <a:gd name="connsiteY41" fmla="*/ 138812 h 138812"/>
                <a:gd name="connsiteX42" fmla="*/ 69406 w 152245"/>
                <a:gd name="connsiteY42" fmla="*/ 138812 h 138812"/>
                <a:gd name="connsiteX43" fmla="*/ 71645 w 152245"/>
                <a:gd name="connsiteY43" fmla="*/ 136573 h 138812"/>
                <a:gd name="connsiteX44" fmla="*/ 71645 w 152245"/>
                <a:gd name="connsiteY44" fmla="*/ 129857 h 138812"/>
                <a:gd name="connsiteX45" fmla="*/ 58212 w 152245"/>
                <a:gd name="connsiteY45" fmla="*/ 114632 h 138812"/>
                <a:gd name="connsiteX46" fmla="*/ 58212 w 152245"/>
                <a:gd name="connsiteY46" fmla="*/ 58212 h 138812"/>
                <a:gd name="connsiteX47" fmla="*/ 94034 w 152245"/>
                <a:gd name="connsiteY47" fmla="*/ 58212 h 138812"/>
                <a:gd name="connsiteX48" fmla="*/ 94034 w 152245"/>
                <a:gd name="connsiteY48" fmla="*/ 114632 h 138812"/>
                <a:gd name="connsiteX49" fmla="*/ 80601 w 152245"/>
                <a:gd name="connsiteY49" fmla="*/ 129857 h 138812"/>
                <a:gd name="connsiteX50" fmla="*/ 80601 w 152245"/>
                <a:gd name="connsiteY50" fmla="*/ 136573 h 138812"/>
                <a:gd name="connsiteX51" fmla="*/ 82840 w 152245"/>
                <a:gd name="connsiteY51" fmla="*/ 138812 h 138812"/>
                <a:gd name="connsiteX52" fmla="*/ 109707 w 152245"/>
                <a:gd name="connsiteY52" fmla="*/ 138812 h 138812"/>
                <a:gd name="connsiteX53" fmla="*/ 111945 w 152245"/>
                <a:gd name="connsiteY53" fmla="*/ 136573 h 138812"/>
                <a:gd name="connsiteX54" fmla="*/ 111945 w 152245"/>
                <a:gd name="connsiteY54" fmla="*/ 129857 h 138812"/>
                <a:gd name="connsiteX55" fmla="*/ 98512 w 152245"/>
                <a:gd name="connsiteY55" fmla="*/ 114632 h 138812"/>
                <a:gd name="connsiteX56" fmla="*/ 98512 w 152245"/>
                <a:gd name="connsiteY56" fmla="*/ 58212 h 138812"/>
                <a:gd name="connsiteX57" fmla="*/ 123140 w 152245"/>
                <a:gd name="connsiteY57" fmla="*/ 58212 h 138812"/>
                <a:gd name="connsiteX58" fmla="*/ 125379 w 152245"/>
                <a:gd name="connsiteY58" fmla="*/ 55973 h 138812"/>
                <a:gd name="connsiteX59" fmla="*/ 125379 w 152245"/>
                <a:gd name="connsiteY59" fmla="*/ 49256 h 138812"/>
                <a:gd name="connsiteX60" fmla="*/ 124931 w 152245"/>
                <a:gd name="connsiteY60" fmla="*/ 44778 h 138812"/>
                <a:gd name="connsiteX61" fmla="*/ 134335 w 152245"/>
                <a:gd name="connsiteY61" fmla="*/ 55973 h 138812"/>
                <a:gd name="connsiteX62" fmla="*/ 134335 w 152245"/>
                <a:gd name="connsiteY62" fmla="*/ 94482 h 138812"/>
                <a:gd name="connsiteX63" fmla="*/ 120901 w 152245"/>
                <a:gd name="connsiteY63" fmla="*/ 109707 h 138812"/>
                <a:gd name="connsiteX64" fmla="*/ 123140 w 152245"/>
                <a:gd name="connsiteY64" fmla="*/ 111945 h 138812"/>
                <a:gd name="connsiteX65" fmla="*/ 125379 w 152245"/>
                <a:gd name="connsiteY65" fmla="*/ 109707 h 138812"/>
                <a:gd name="connsiteX66" fmla="*/ 136573 w 152245"/>
                <a:gd name="connsiteY66" fmla="*/ 98512 h 138812"/>
                <a:gd name="connsiteX67" fmla="*/ 147768 w 152245"/>
                <a:gd name="connsiteY67" fmla="*/ 109707 h 138812"/>
                <a:gd name="connsiteX68" fmla="*/ 150007 w 152245"/>
                <a:gd name="connsiteY68" fmla="*/ 111945 h 138812"/>
                <a:gd name="connsiteX69" fmla="*/ 152246 w 152245"/>
                <a:gd name="connsiteY69" fmla="*/ 109707 h 138812"/>
                <a:gd name="connsiteX70" fmla="*/ 138812 w 152245"/>
                <a:gd name="connsiteY70" fmla="*/ 94482 h 138812"/>
                <a:gd name="connsiteX71" fmla="*/ 67167 w 152245"/>
                <a:gd name="connsiteY71" fmla="*/ 129857 h 138812"/>
                <a:gd name="connsiteX72" fmla="*/ 67167 w 152245"/>
                <a:gd name="connsiteY72" fmla="*/ 134335 h 138812"/>
                <a:gd name="connsiteX73" fmla="*/ 44778 w 152245"/>
                <a:gd name="connsiteY73" fmla="*/ 134335 h 138812"/>
                <a:gd name="connsiteX74" fmla="*/ 44778 w 152245"/>
                <a:gd name="connsiteY74" fmla="*/ 129857 h 138812"/>
                <a:gd name="connsiteX75" fmla="*/ 55973 w 152245"/>
                <a:gd name="connsiteY75" fmla="*/ 118662 h 138812"/>
                <a:gd name="connsiteX76" fmla="*/ 67167 w 152245"/>
                <a:gd name="connsiteY76" fmla="*/ 129857 h 138812"/>
                <a:gd name="connsiteX77" fmla="*/ 107468 w 152245"/>
                <a:gd name="connsiteY77" fmla="*/ 129857 h 138812"/>
                <a:gd name="connsiteX78" fmla="*/ 107468 w 152245"/>
                <a:gd name="connsiteY78" fmla="*/ 134335 h 138812"/>
                <a:gd name="connsiteX79" fmla="*/ 85079 w 152245"/>
                <a:gd name="connsiteY79" fmla="*/ 134335 h 138812"/>
                <a:gd name="connsiteX80" fmla="*/ 85079 w 152245"/>
                <a:gd name="connsiteY80" fmla="*/ 129857 h 138812"/>
                <a:gd name="connsiteX81" fmla="*/ 96273 w 152245"/>
                <a:gd name="connsiteY81" fmla="*/ 118662 h 138812"/>
                <a:gd name="connsiteX82" fmla="*/ 107468 w 152245"/>
                <a:gd name="connsiteY82" fmla="*/ 12985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52245" h="138812">
                  <a:moveTo>
                    <a:pt x="138812" y="94482"/>
                  </a:moveTo>
                  <a:lnTo>
                    <a:pt x="138812" y="56421"/>
                  </a:lnTo>
                  <a:cubicBezTo>
                    <a:pt x="138812" y="48360"/>
                    <a:pt x="132543" y="41644"/>
                    <a:pt x="124483" y="40748"/>
                  </a:cubicBezTo>
                  <a:cubicBezTo>
                    <a:pt x="124483" y="39405"/>
                    <a:pt x="124035" y="38509"/>
                    <a:pt x="124035" y="37166"/>
                  </a:cubicBezTo>
                  <a:cubicBezTo>
                    <a:pt x="123588" y="35823"/>
                    <a:pt x="122692" y="35375"/>
                    <a:pt x="121349" y="35375"/>
                  </a:cubicBezTo>
                  <a:cubicBezTo>
                    <a:pt x="120005" y="35823"/>
                    <a:pt x="119558" y="36718"/>
                    <a:pt x="119558" y="38061"/>
                  </a:cubicBezTo>
                  <a:cubicBezTo>
                    <a:pt x="120453" y="41644"/>
                    <a:pt x="120901" y="45226"/>
                    <a:pt x="120901" y="49256"/>
                  </a:cubicBezTo>
                  <a:lnTo>
                    <a:pt x="120901" y="53734"/>
                  </a:lnTo>
                  <a:lnTo>
                    <a:pt x="97168" y="53734"/>
                  </a:lnTo>
                  <a:cubicBezTo>
                    <a:pt x="96721" y="53734"/>
                    <a:pt x="96721" y="53286"/>
                    <a:pt x="96273" y="53286"/>
                  </a:cubicBezTo>
                  <a:cubicBezTo>
                    <a:pt x="95825" y="53286"/>
                    <a:pt x="95825" y="53286"/>
                    <a:pt x="95377" y="53734"/>
                  </a:cubicBezTo>
                  <a:lnTo>
                    <a:pt x="56868" y="53734"/>
                  </a:lnTo>
                  <a:cubicBezTo>
                    <a:pt x="56420" y="53734"/>
                    <a:pt x="56420" y="53286"/>
                    <a:pt x="55973" y="53286"/>
                  </a:cubicBezTo>
                  <a:cubicBezTo>
                    <a:pt x="55525" y="53286"/>
                    <a:pt x="55525" y="53286"/>
                    <a:pt x="55077" y="53734"/>
                  </a:cubicBezTo>
                  <a:lnTo>
                    <a:pt x="31345" y="53734"/>
                  </a:lnTo>
                  <a:lnTo>
                    <a:pt x="31345" y="49256"/>
                  </a:lnTo>
                  <a:cubicBezTo>
                    <a:pt x="31345" y="24628"/>
                    <a:pt x="51495" y="4478"/>
                    <a:pt x="76123" y="4478"/>
                  </a:cubicBezTo>
                  <a:cubicBezTo>
                    <a:pt x="86422" y="4478"/>
                    <a:pt x="96273" y="8060"/>
                    <a:pt x="104333" y="14329"/>
                  </a:cubicBezTo>
                  <a:cubicBezTo>
                    <a:pt x="105229" y="15225"/>
                    <a:pt x="106572" y="14777"/>
                    <a:pt x="107468" y="13881"/>
                  </a:cubicBezTo>
                  <a:cubicBezTo>
                    <a:pt x="108363" y="12986"/>
                    <a:pt x="107915" y="11642"/>
                    <a:pt x="107020" y="10747"/>
                  </a:cubicBezTo>
                  <a:cubicBezTo>
                    <a:pt x="98512" y="3582"/>
                    <a:pt x="87317" y="0"/>
                    <a:pt x="76123" y="0"/>
                  </a:cubicBezTo>
                  <a:cubicBezTo>
                    <a:pt x="51943" y="0"/>
                    <a:pt x="31792" y="17463"/>
                    <a:pt x="27762" y="40300"/>
                  </a:cubicBezTo>
                  <a:cubicBezTo>
                    <a:pt x="19702" y="41196"/>
                    <a:pt x="13433" y="47465"/>
                    <a:pt x="13433" y="55973"/>
                  </a:cubicBezTo>
                  <a:lnTo>
                    <a:pt x="13433" y="94034"/>
                  </a:lnTo>
                  <a:cubicBezTo>
                    <a:pt x="5821" y="94930"/>
                    <a:pt x="0" y="101646"/>
                    <a:pt x="0" y="109707"/>
                  </a:cubicBezTo>
                  <a:cubicBezTo>
                    <a:pt x="0" y="111050"/>
                    <a:pt x="895" y="111945"/>
                    <a:pt x="2239" y="111945"/>
                  </a:cubicBezTo>
                  <a:cubicBezTo>
                    <a:pt x="3582" y="111945"/>
                    <a:pt x="4478" y="111050"/>
                    <a:pt x="4478" y="109707"/>
                  </a:cubicBezTo>
                  <a:cubicBezTo>
                    <a:pt x="4478" y="103438"/>
                    <a:pt x="9403" y="98512"/>
                    <a:pt x="15672" y="98512"/>
                  </a:cubicBezTo>
                  <a:cubicBezTo>
                    <a:pt x="21941" y="98512"/>
                    <a:pt x="26867" y="103438"/>
                    <a:pt x="26867" y="109707"/>
                  </a:cubicBezTo>
                  <a:cubicBezTo>
                    <a:pt x="26867" y="111050"/>
                    <a:pt x="27762" y="111945"/>
                    <a:pt x="29106" y="111945"/>
                  </a:cubicBezTo>
                  <a:cubicBezTo>
                    <a:pt x="30449" y="111945"/>
                    <a:pt x="31345" y="111050"/>
                    <a:pt x="31345" y="109707"/>
                  </a:cubicBezTo>
                  <a:cubicBezTo>
                    <a:pt x="31345" y="101646"/>
                    <a:pt x="25523" y="95377"/>
                    <a:pt x="17911" y="94482"/>
                  </a:cubicBezTo>
                  <a:lnTo>
                    <a:pt x="17911" y="55973"/>
                  </a:lnTo>
                  <a:cubicBezTo>
                    <a:pt x="17911" y="50599"/>
                    <a:pt x="21941" y="46121"/>
                    <a:pt x="26867" y="44778"/>
                  </a:cubicBezTo>
                  <a:cubicBezTo>
                    <a:pt x="26867" y="46121"/>
                    <a:pt x="26867" y="47465"/>
                    <a:pt x="26867" y="49256"/>
                  </a:cubicBezTo>
                  <a:lnTo>
                    <a:pt x="26867" y="55973"/>
                  </a:lnTo>
                  <a:cubicBezTo>
                    <a:pt x="26867" y="57316"/>
                    <a:pt x="27762" y="58212"/>
                    <a:pt x="29106" y="58212"/>
                  </a:cubicBezTo>
                  <a:lnTo>
                    <a:pt x="53734" y="58212"/>
                  </a:lnTo>
                  <a:lnTo>
                    <a:pt x="53734" y="114632"/>
                  </a:lnTo>
                  <a:cubicBezTo>
                    <a:pt x="46121" y="115528"/>
                    <a:pt x="40300" y="122244"/>
                    <a:pt x="40300" y="129857"/>
                  </a:cubicBezTo>
                  <a:lnTo>
                    <a:pt x="40300" y="136573"/>
                  </a:lnTo>
                  <a:cubicBezTo>
                    <a:pt x="40300" y="137917"/>
                    <a:pt x="41196" y="138812"/>
                    <a:pt x="42539" y="138812"/>
                  </a:cubicBezTo>
                  <a:lnTo>
                    <a:pt x="69406" y="138812"/>
                  </a:lnTo>
                  <a:cubicBezTo>
                    <a:pt x="70749" y="138812"/>
                    <a:pt x="71645" y="137917"/>
                    <a:pt x="71645" y="136573"/>
                  </a:cubicBezTo>
                  <a:lnTo>
                    <a:pt x="71645" y="129857"/>
                  </a:lnTo>
                  <a:cubicBezTo>
                    <a:pt x="71645" y="121797"/>
                    <a:pt x="65824" y="115528"/>
                    <a:pt x="58212" y="114632"/>
                  </a:cubicBezTo>
                  <a:lnTo>
                    <a:pt x="58212" y="58212"/>
                  </a:lnTo>
                  <a:lnTo>
                    <a:pt x="94034" y="58212"/>
                  </a:lnTo>
                  <a:lnTo>
                    <a:pt x="94034" y="114632"/>
                  </a:lnTo>
                  <a:cubicBezTo>
                    <a:pt x="86422" y="115528"/>
                    <a:pt x="80601" y="122244"/>
                    <a:pt x="80601" y="129857"/>
                  </a:cubicBezTo>
                  <a:lnTo>
                    <a:pt x="80601" y="136573"/>
                  </a:lnTo>
                  <a:cubicBezTo>
                    <a:pt x="80601" y="137917"/>
                    <a:pt x="81496" y="138812"/>
                    <a:pt x="82840" y="138812"/>
                  </a:cubicBezTo>
                  <a:lnTo>
                    <a:pt x="109707" y="138812"/>
                  </a:lnTo>
                  <a:cubicBezTo>
                    <a:pt x="111050" y="138812"/>
                    <a:pt x="111945" y="137917"/>
                    <a:pt x="111945" y="136573"/>
                  </a:cubicBezTo>
                  <a:lnTo>
                    <a:pt x="111945" y="129857"/>
                  </a:lnTo>
                  <a:cubicBezTo>
                    <a:pt x="111945" y="121797"/>
                    <a:pt x="106124" y="115528"/>
                    <a:pt x="98512" y="114632"/>
                  </a:cubicBezTo>
                  <a:lnTo>
                    <a:pt x="98512" y="58212"/>
                  </a:lnTo>
                  <a:lnTo>
                    <a:pt x="123140" y="58212"/>
                  </a:lnTo>
                  <a:cubicBezTo>
                    <a:pt x="124483" y="58212"/>
                    <a:pt x="125379" y="57316"/>
                    <a:pt x="125379" y="55973"/>
                  </a:cubicBezTo>
                  <a:lnTo>
                    <a:pt x="125379" y="49256"/>
                  </a:lnTo>
                  <a:cubicBezTo>
                    <a:pt x="125379" y="47913"/>
                    <a:pt x="125379" y="46569"/>
                    <a:pt x="124931" y="44778"/>
                  </a:cubicBezTo>
                  <a:cubicBezTo>
                    <a:pt x="130304" y="45674"/>
                    <a:pt x="134335" y="50151"/>
                    <a:pt x="134335" y="55973"/>
                  </a:cubicBezTo>
                  <a:lnTo>
                    <a:pt x="134335" y="94482"/>
                  </a:lnTo>
                  <a:cubicBezTo>
                    <a:pt x="126722" y="95825"/>
                    <a:pt x="120901" y="102094"/>
                    <a:pt x="120901" y="109707"/>
                  </a:cubicBezTo>
                  <a:cubicBezTo>
                    <a:pt x="120901" y="111050"/>
                    <a:pt x="121796" y="111945"/>
                    <a:pt x="123140" y="111945"/>
                  </a:cubicBezTo>
                  <a:cubicBezTo>
                    <a:pt x="124483" y="111945"/>
                    <a:pt x="125379" y="111050"/>
                    <a:pt x="125379" y="109707"/>
                  </a:cubicBezTo>
                  <a:cubicBezTo>
                    <a:pt x="125379" y="103438"/>
                    <a:pt x="130304" y="98512"/>
                    <a:pt x="136573" y="98512"/>
                  </a:cubicBezTo>
                  <a:cubicBezTo>
                    <a:pt x="142842" y="98512"/>
                    <a:pt x="147768" y="103438"/>
                    <a:pt x="147768" y="109707"/>
                  </a:cubicBezTo>
                  <a:cubicBezTo>
                    <a:pt x="147768" y="111050"/>
                    <a:pt x="148663" y="111945"/>
                    <a:pt x="150007" y="111945"/>
                  </a:cubicBezTo>
                  <a:cubicBezTo>
                    <a:pt x="151350" y="111945"/>
                    <a:pt x="152246" y="111050"/>
                    <a:pt x="152246" y="109707"/>
                  </a:cubicBezTo>
                  <a:cubicBezTo>
                    <a:pt x="152693" y="102094"/>
                    <a:pt x="146872" y="95377"/>
                    <a:pt x="138812" y="94482"/>
                  </a:cubicBezTo>
                  <a:close/>
                  <a:moveTo>
                    <a:pt x="67167" y="129857"/>
                  </a:moveTo>
                  <a:lnTo>
                    <a:pt x="67167" y="134335"/>
                  </a:lnTo>
                  <a:lnTo>
                    <a:pt x="44778" y="134335"/>
                  </a:lnTo>
                  <a:lnTo>
                    <a:pt x="44778" y="129857"/>
                  </a:lnTo>
                  <a:cubicBezTo>
                    <a:pt x="44778" y="123588"/>
                    <a:pt x="49704" y="118662"/>
                    <a:pt x="55973" y="118662"/>
                  </a:cubicBezTo>
                  <a:cubicBezTo>
                    <a:pt x="62242" y="118662"/>
                    <a:pt x="67167" y="123588"/>
                    <a:pt x="67167" y="129857"/>
                  </a:cubicBezTo>
                  <a:close/>
                  <a:moveTo>
                    <a:pt x="107468" y="129857"/>
                  </a:moveTo>
                  <a:lnTo>
                    <a:pt x="107468" y="134335"/>
                  </a:lnTo>
                  <a:lnTo>
                    <a:pt x="85079" y="134335"/>
                  </a:lnTo>
                  <a:lnTo>
                    <a:pt x="85079" y="129857"/>
                  </a:lnTo>
                  <a:cubicBezTo>
                    <a:pt x="85079" y="123588"/>
                    <a:pt x="90004" y="118662"/>
                    <a:pt x="96273" y="118662"/>
                  </a:cubicBezTo>
                  <a:cubicBezTo>
                    <a:pt x="102542" y="118662"/>
                    <a:pt x="107468" y="123588"/>
                    <a:pt x="107468" y="129857"/>
                  </a:cubicBezTo>
                  <a:close/>
                </a:path>
              </a:pathLst>
            </a:custGeom>
            <a:solidFill>
              <a:srgbClr val="231F20"/>
            </a:solidFill>
            <a:ln w="4474" cap="flat">
              <a:noFill/>
              <a:prstDash val="solid"/>
              <a:miter/>
            </a:ln>
          </p:spPr>
          <p:txBody>
            <a:bodyPr rtlCol="0" anchor="ctr"/>
            <a:lstStyle/>
            <a:p>
              <a:endParaRPr lang="en-US"/>
            </a:p>
          </p:txBody>
        </p:sp>
        <p:sp>
          <p:nvSpPr>
            <p:cNvPr id="4241" name="Freeform: Shape 4240">
              <a:extLst>
                <a:ext uri="{FF2B5EF4-FFF2-40B4-BE49-F238E27FC236}">
                  <a16:creationId xmlns:a16="http://schemas.microsoft.com/office/drawing/2014/main" id="{C1DBD630-1BDE-42CF-A129-7390F2F4A9A1}"/>
                </a:ext>
              </a:extLst>
            </p:cNvPr>
            <p:cNvSpPr/>
            <p:nvPr/>
          </p:nvSpPr>
          <p:spPr>
            <a:xfrm>
              <a:off x="3005924"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2" name="Freeform: Shape 4241">
              <a:extLst>
                <a:ext uri="{FF2B5EF4-FFF2-40B4-BE49-F238E27FC236}">
                  <a16:creationId xmlns:a16="http://schemas.microsoft.com/office/drawing/2014/main" id="{F70432D1-A646-4A20-BCE6-8C1FB6CE4AA3}"/>
                </a:ext>
              </a:extLst>
            </p:cNvPr>
            <p:cNvSpPr/>
            <p:nvPr/>
          </p:nvSpPr>
          <p:spPr>
            <a:xfrm>
              <a:off x="3032790" y="26200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3" name="Freeform: Shape 4242">
              <a:extLst>
                <a:ext uri="{FF2B5EF4-FFF2-40B4-BE49-F238E27FC236}">
                  <a16:creationId xmlns:a16="http://schemas.microsoft.com/office/drawing/2014/main" id="{AE6D8F05-187F-4048-A546-9D2F88481C62}"/>
                </a:ext>
              </a:extLst>
            </p:cNvPr>
            <p:cNvSpPr/>
            <p:nvPr/>
          </p:nvSpPr>
          <p:spPr>
            <a:xfrm>
              <a:off x="3003685" y="2644685"/>
              <a:ext cx="44778" cy="4478"/>
            </a:xfrm>
            <a:custGeom>
              <a:avLst/>
              <a:gdLst>
                <a:gd name="connsiteX0" fmla="*/ 42539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539 w 44778"/>
                <a:gd name="connsiteY4" fmla="*/ 0 h 4477"/>
                <a:gd name="connsiteX5" fmla="*/ 44778 w 44778"/>
                <a:gd name="connsiteY5" fmla="*/ 2239 h 4477"/>
                <a:gd name="connsiteX6" fmla="*/ 42539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4478"/>
                  </a:moveTo>
                  <a:lnTo>
                    <a:pt x="2239" y="4478"/>
                  </a:lnTo>
                  <a:cubicBezTo>
                    <a:pt x="895" y="4478"/>
                    <a:pt x="0" y="3582"/>
                    <a:pt x="0" y="2239"/>
                  </a:cubicBezTo>
                  <a:cubicBezTo>
                    <a:pt x="0" y="895"/>
                    <a:pt x="895" y="0"/>
                    <a:pt x="2239" y="0"/>
                  </a:cubicBezTo>
                  <a:lnTo>
                    <a:pt x="42539" y="0"/>
                  </a:lnTo>
                  <a:cubicBezTo>
                    <a:pt x="43883" y="0"/>
                    <a:pt x="44778" y="895"/>
                    <a:pt x="44778" y="2239"/>
                  </a:cubicBezTo>
                  <a:cubicBezTo>
                    <a:pt x="44778" y="3582"/>
                    <a:pt x="43883" y="4478"/>
                    <a:pt x="42539" y="4478"/>
                  </a:cubicBezTo>
                  <a:close/>
                </a:path>
              </a:pathLst>
            </a:custGeom>
            <a:solidFill>
              <a:srgbClr val="231F20"/>
            </a:solidFill>
            <a:ln w="4474" cap="flat">
              <a:noFill/>
              <a:prstDash val="solid"/>
              <a:miter/>
            </a:ln>
          </p:spPr>
          <p:txBody>
            <a:bodyPr rtlCol="0" anchor="ctr"/>
            <a:lstStyle/>
            <a:p>
              <a:endParaRPr lang="en-US"/>
            </a:p>
          </p:txBody>
        </p:sp>
        <p:sp>
          <p:nvSpPr>
            <p:cNvPr id="4244" name="Freeform: Shape 4243">
              <a:extLst>
                <a:ext uri="{FF2B5EF4-FFF2-40B4-BE49-F238E27FC236}">
                  <a16:creationId xmlns:a16="http://schemas.microsoft.com/office/drawing/2014/main" id="{D2E5FCD9-C971-44A7-960E-5E2BA5CE38D9}"/>
                </a:ext>
              </a:extLst>
            </p:cNvPr>
            <p:cNvSpPr/>
            <p:nvPr/>
          </p:nvSpPr>
          <p:spPr>
            <a:xfrm>
              <a:off x="3057419" y="2590951"/>
              <a:ext cx="58212" cy="49256"/>
            </a:xfrm>
            <a:custGeom>
              <a:avLst/>
              <a:gdLst>
                <a:gd name="connsiteX0" fmla="*/ 8508 w 58211"/>
                <a:gd name="connsiteY0" fmla="*/ 50151 h 49255"/>
                <a:gd name="connsiteX1" fmla="*/ 7612 w 58211"/>
                <a:gd name="connsiteY1" fmla="*/ 49704 h 49255"/>
                <a:gd name="connsiteX2" fmla="*/ 6269 w 58211"/>
                <a:gd name="connsiteY2" fmla="*/ 47465 h 49255"/>
                <a:gd name="connsiteX3" fmla="*/ 7164 w 58211"/>
                <a:gd name="connsiteY3" fmla="*/ 38061 h 49255"/>
                <a:gd name="connsiteX4" fmla="*/ 2239 w 58211"/>
                <a:gd name="connsiteY4" fmla="*/ 38061 h 49255"/>
                <a:gd name="connsiteX5" fmla="*/ 0 w 58211"/>
                <a:gd name="connsiteY5" fmla="*/ 35823 h 49255"/>
                <a:gd name="connsiteX6" fmla="*/ 0 w 58211"/>
                <a:gd name="connsiteY6" fmla="*/ 2239 h 49255"/>
                <a:gd name="connsiteX7" fmla="*/ 2239 w 58211"/>
                <a:gd name="connsiteY7" fmla="*/ 0 h 49255"/>
                <a:gd name="connsiteX8" fmla="*/ 55973 w 58211"/>
                <a:gd name="connsiteY8" fmla="*/ 0 h 49255"/>
                <a:gd name="connsiteX9" fmla="*/ 58212 w 58211"/>
                <a:gd name="connsiteY9" fmla="*/ 2239 h 49255"/>
                <a:gd name="connsiteX10" fmla="*/ 58212 w 58211"/>
                <a:gd name="connsiteY10" fmla="*/ 35823 h 49255"/>
                <a:gd name="connsiteX11" fmla="*/ 55973 w 58211"/>
                <a:gd name="connsiteY11" fmla="*/ 38061 h 49255"/>
                <a:gd name="connsiteX12" fmla="*/ 21941 w 58211"/>
                <a:gd name="connsiteY12" fmla="*/ 38061 h 49255"/>
                <a:gd name="connsiteX13" fmla="*/ 9851 w 58211"/>
                <a:gd name="connsiteY13" fmla="*/ 49256 h 49255"/>
                <a:gd name="connsiteX14" fmla="*/ 8508 w 58211"/>
                <a:gd name="connsiteY14" fmla="*/ 50151 h 49255"/>
                <a:gd name="connsiteX15" fmla="*/ 4478 w 58211"/>
                <a:gd name="connsiteY15" fmla="*/ 33584 h 49255"/>
                <a:gd name="connsiteX16" fmla="*/ 9403 w 58211"/>
                <a:gd name="connsiteY16" fmla="*/ 33584 h 49255"/>
                <a:gd name="connsiteX17" fmla="*/ 11195 w 58211"/>
                <a:gd name="connsiteY17" fmla="*/ 34479 h 49255"/>
                <a:gd name="connsiteX18" fmla="*/ 11642 w 58211"/>
                <a:gd name="connsiteY18" fmla="*/ 36270 h 49255"/>
                <a:gd name="connsiteX19" fmla="*/ 11195 w 58211"/>
                <a:gd name="connsiteY19" fmla="*/ 42091 h 49255"/>
                <a:gd name="connsiteX20" fmla="*/ 19702 w 58211"/>
                <a:gd name="connsiteY20" fmla="*/ 34479 h 49255"/>
                <a:gd name="connsiteX21" fmla="*/ 21046 w 58211"/>
                <a:gd name="connsiteY21" fmla="*/ 34031 h 49255"/>
                <a:gd name="connsiteX22" fmla="*/ 53734 w 58211"/>
                <a:gd name="connsiteY22" fmla="*/ 34031 h 49255"/>
                <a:gd name="connsiteX23" fmla="*/ 53734 w 58211"/>
                <a:gd name="connsiteY23" fmla="*/ 4926 h 49255"/>
                <a:gd name="connsiteX24" fmla="*/ 4478 w 58211"/>
                <a:gd name="connsiteY24" fmla="*/ 4926 h 49255"/>
                <a:gd name="connsiteX25" fmla="*/ 4478 w 58211"/>
                <a:gd name="connsiteY25" fmla="*/ 33584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211" h="49255">
                  <a:moveTo>
                    <a:pt x="8508" y="50151"/>
                  </a:moveTo>
                  <a:cubicBezTo>
                    <a:pt x="8060" y="50151"/>
                    <a:pt x="7612" y="50151"/>
                    <a:pt x="7612" y="49704"/>
                  </a:cubicBezTo>
                  <a:cubicBezTo>
                    <a:pt x="6717" y="49256"/>
                    <a:pt x="6269" y="48360"/>
                    <a:pt x="6269" y="47465"/>
                  </a:cubicBezTo>
                  <a:lnTo>
                    <a:pt x="7164" y="38061"/>
                  </a:lnTo>
                  <a:lnTo>
                    <a:pt x="2239" y="38061"/>
                  </a:lnTo>
                  <a:cubicBezTo>
                    <a:pt x="895" y="38061"/>
                    <a:pt x="0" y="37166"/>
                    <a:pt x="0" y="35823"/>
                  </a:cubicBezTo>
                  <a:lnTo>
                    <a:pt x="0" y="2239"/>
                  </a:lnTo>
                  <a:cubicBezTo>
                    <a:pt x="0" y="895"/>
                    <a:pt x="895" y="0"/>
                    <a:pt x="2239" y="0"/>
                  </a:cubicBezTo>
                  <a:lnTo>
                    <a:pt x="55973" y="0"/>
                  </a:lnTo>
                  <a:cubicBezTo>
                    <a:pt x="57316" y="0"/>
                    <a:pt x="58212" y="895"/>
                    <a:pt x="58212" y="2239"/>
                  </a:cubicBezTo>
                  <a:lnTo>
                    <a:pt x="58212" y="35823"/>
                  </a:lnTo>
                  <a:cubicBezTo>
                    <a:pt x="58212" y="37166"/>
                    <a:pt x="57316" y="38061"/>
                    <a:pt x="55973" y="38061"/>
                  </a:cubicBezTo>
                  <a:lnTo>
                    <a:pt x="21941" y="38061"/>
                  </a:lnTo>
                  <a:lnTo>
                    <a:pt x="9851" y="49256"/>
                  </a:lnTo>
                  <a:cubicBezTo>
                    <a:pt x="9403" y="49704"/>
                    <a:pt x="8956" y="50151"/>
                    <a:pt x="8508" y="50151"/>
                  </a:cubicBezTo>
                  <a:close/>
                  <a:moveTo>
                    <a:pt x="4478" y="33584"/>
                  </a:moveTo>
                  <a:lnTo>
                    <a:pt x="9403" y="33584"/>
                  </a:lnTo>
                  <a:cubicBezTo>
                    <a:pt x="9851" y="33584"/>
                    <a:pt x="10747" y="34031"/>
                    <a:pt x="11195" y="34479"/>
                  </a:cubicBezTo>
                  <a:cubicBezTo>
                    <a:pt x="11642" y="34927"/>
                    <a:pt x="11642" y="35375"/>
                    <a:pt x="11642" y="36270"/>
                  </a:cubicBezTo>
                  <a:lnTo>
                    <a:pt x="11195" y="42091"/>
                  </a:lnTo>
                  <a:lnTo>
                    <a:pt x="19702" y="34479"/>
                  </a:lnTo>
                  <a:cubicBezTo>
                    <a:pt x="20150" y="34031"/>
                    <a:pt x="20598" y="34031"/>
                    <a:pt x="21046" y="34031"/>
                  </a:cubicBezTo>
                  <a:lnTo>
                    <a:pt x="53734" y="34031"/>
                  </a:lnTo>
                  <a:lnTo>
                    <a:pt x="53734" y="4926"/>
                  </a:lnTo>
                  <a:lnTo>
                    <a:pt x="4478" y="4926"/>
                  </a:lnTo>
                  <a:lnTo>
                    <a:pt x="4478" y="33584"/>
                  </a:lnTo>
                  <a:close/>
                </a:path>
              </a:pathLst>
            </a:custGeom>
            <a:solidFill>
              <a:srgbClr val="231F20"/>
            </a:solidFill>
            <a:ln w="4474" cap="flat">
              <a:noFill/>
              <a:prstDash val="solid"/>
              <a:miter/>
            </a:ln>
          </p:spPr>
          <p:txBody>
            <a:bodyPr rtlCol="0" anchor="ctr"/>
            <a:lstStyle/>
            <a:p>
              <a:endParaRPr lang="en-US"/>
            </a:p>
          </p:txBody>
        </p:sp>
      </p:grpSp>
      <p:grpSp>
        <p:nvGrpSpPr>
          <p:cNvPr id="4245" name="Group 4244">
            <a:extLst>
              <a:ext uri="{FF2B5EF4-FFF2-40B4-BE49-F238E27FC236}">
                <a16:creationId xmlns:a16="http://schemas.microsoft.com/office/drawing/2014/main" id="{CB514E5E-EE6A-479C-ADD2-71D21E976586}"/>
              </a:ext>
              <a:ext uri="{C183D7F6-B498-43B3-948B-1728B52AA6E4}">
                <adec:decorative xmlns:adec="http://schemas.microsoft.com/office/drawing/2017/decorative" val="1"/>
              </a:ext>
            </a:extLst>
          </p:cNvPr>
          <p:cNvGrpSpPr>
            <a:grpSpLocks noChangeAspect="1"/>
          </p:cNvGrpSpPr>
          <p:nvPr/>
        </p:nvGrpSpPr>
        <p:grpSpPr>
          <a:xfrm>
            <a:off x="3168910" y="3326390"/>
            <a:ext cx="152247" cy="152246"/>
            <a:chOff x="3209664" y="2590951"/>
            <a:chExt cx="152247" cy="152246"/>
          </a:xfrm>
        </p:grpSpPr>
        <p:sp>
          <p:nvSpPr>
            <p:cNvPr id="4246" name="Freeform: Shape 4245">
              <a:extLst>
                <a:ext uri="{FF2B5EF4-FFF2-40B4-BE49-F238E27FC236}">
                  <a16:creationId xmlns:a16="http://schemas.microsoft.com/office/drawing/2014/main" id="{20A72EA7-4906-4062-A535-82250EE138E2}"/>
                </a:ext>
              </a:extLst>
            </p:cNvPr>
            <p:cNvSpPr/>
            <p:nvPr/>
          </p:nvSpPr>
          <p:spPr>
            <a:xfrm>
              <a:off x="3223098" y="2604384"/>
              <a:ext cx="125379" cy="138812"/>
            </a:xfrm>
            <a:custGeom>
              <a:avLst/>
              <a:gdLst>
                <a:gd name="connsiteX0" fmla="*/ 114184 w 125378"/>
                <a:gd name="connsiteY0" fmla="*/ 53734 h 138812"/>
                <a:gd name="connsiteX1" fmla="*/ 111945 w 125378"/>
                <a:gd name="connsiteY1" fmla="*/ 53734 h 138812"/>
                <a:gd name="connsiteX2" fmla="*/ 111945 w 125378"/>
                <a:gd name="connsiteY2" fmla="*/ 32240 h 138812"/>
                <a:gd name="connsiteX3" fmla="*/ 79705 w 125378"/>
                <a:gd name="connsiteY3" fmla="*/ 0 h 138812"/>
                <a:gd name="connsiteX4" fmla="*/ 45674 w 125378"/>
                <a:gd name="connsiteY4" fmla="*/ 0 h 138812"/>
                <a:gd name="connsiteX5" fmla="*/ 13433 w 125378"/>
                <a:gd name="connsiteY5" fmla="*/ 32240 h 138812"/>
                <a:gd name="connsiteX6" fmla="*/ 13433 w 125378"/>
                <a:gd name="connsiteY6" fmla="*/ 53734 h 138812"/>
                <a:gd name="connsiteX7" fmla="*/ 11195 w 125378"/>
                <a:gd name="connsiteY7" fmla="*/ 53734 h 138812"/>
                <a:gd name="connsiteX8" fmla="*/ 0 w 125378"/>
                <a:gd name="connsiteY8" fmla="*/ 64928 h 138812"/>
                <a:gd name="connsiteX9" fmla="*/ 0 w 125378"/>
                <a:gd name="connsiteY9" fmla="*/ 69406 h 138812"/>
                <a:gd name="connsiteX10" fmla="*/ 13433 w 125378"/>
                <a:gd name="connsiteY10" fmla="*/ 84631 h 138812"/>
                <a:gd name="connsiteX11" fmla="*/ 13433 w 125378"/>
                <a:gd name="connsiteY11" fmla="*/ 91795 h 138812"/>
                <a:gd name="connsiteX12" fmla="*/ 60451 w 125378"/>
                <a:gd name="connsiteY12" fmla="*/ 138812 h 138812"/>
                <a:gd name="connsiteX13" fmla="*/ 64928 w 125378"/>
                <a:gd name="connsiteY13" fmla="*/ 138812 h 138812"/>
                <a:gd name="connsiteX14" fmla="*/ 111945 w 125378"/>
                <a:gd name="connsiteY14" fmla="*/ 91795 h 138812"/>
                <a:gd name="connsiteX15" fmla="*/ 111945 w 125378"/>
                <a:gd name="connsiteY15" fmla="*/ 84631 h 138812"/>
                <a:gd name="connsiteX16" fmla="*/ 125379 w 125378"/>
                <a:gd name="connsiteY16" fmla="*/ 69406 h 138812"/>
                <a:gd name="connsiteX17" fmla="*/ 125379 w 125378"/>
                <a:gd name="connsiteY17" fmla="*/ 64928 h 138812"/>
                <a:gd name="connsiteX18" fmla="*/ 114184 w 125378"/>
                <a:gd name="connsiteY18" fmla="*/ 53734 h 138812"/>
                <a:gd name="connsiteX19" fmla="*/ 4478 w 125378"/>
                <a:gd name="connsiteY19" fmla="*/ 69406 h 138812"/>
                <a:gd name="connsiteX20" fmla="*/ 4478 w 125378"/>
                <a:gd name="connsiteY20" fmla="*/ 64928 h 138812"/>
                <a:gd name="connsiteX21" fmla="*/ 11195 w 125378"/>
                <a:gd name="connsiteY21" fmla="*/ 58212 h 138812"/>
                <a:gd name="connsiteX22" fmla="*/ 13433 w 125378"/>
                <a:gd name="connsiteY22" fmla="*/ 58212 h 138812"/>
                <a:gd name="connsiteX23" fmla="*/ 13433 w 125378"/>
                <a:gd name="connsiteY23" fmla="*/ 80153 h 138812"/>
                <a:gd name="connsiteX24" fmla="*/ 4478 w 125378"/>
                <a:gd name="connsiteY24" fmla="*/ 69406 h 138812"/>
                <a:gd name="connsiteX25" fmla="*/ 107468 w 125378"/>
                <a:gd name="connsiteY25" fmla="*/ 91795 h 138812"/>
                <a:gd name="connsiteX26" fmla="*/ 64928 w 125378"/>
                <a:gd name="connsiteY26" fmla="*/ 134335 h 138812"/>
                <a:gd name="connsiteX27" fmla="*/ 60451 w 125378"/>
                <a:gd name="connsiteY27" fmla="*/ 134335 h 138812"/>
                <a:gd name="connsiteX28" fmla="*/ 17911 w 125378"/>
                <a:gd name="connsiteY28" fmla="*/ 91795 h 138812"/>
                <a:gd name="connsiteX29" fmla="*/ 17911 w 125378"/>
                <a:gd name="connsiteY29" fmla="*/ 32240 h 138812"/>
                <a:gd name="connsiteX30" fmla="*/ 45674 w 125378"/>
                <a:gd name="connsiteY30" fmla="*/ 4478 h 138812"/>
                <a:gd name="connsiteX31" fmla="*/ 79705 w 125378"/>
                <a:gd name="connsiteY31" fmla="*/ 4478 h 138812"/>
                <a:gd name="connsiteX32" fmla="*/ 107468 w 125378"/>
                <a:gd name="connsiteY32" fmla="*/ 32240 h 138812"/>
                <a:gd name="connsiteX33" fmla="*/ 107468 w 125378"/>
                <a:gd name="connsiteY33" fmla="*/ 40300 h 138812"/>
                <a:gd name="connsiteX34" fmla="*/ 42539 w 125378"/>
                <a:gd name="connsiteY34" fmla="*/ 40300 h 138812"/>
                <a:gd name="connsiteX35" fmla="*/ 31345 w 125378"/>
                <a:gd name="connsiteY35" fmla="*/ 29106 h 138812"/>
                <a:gd name="connsiteX36" fmla="*/ 31345 w 125378"/>
                <a:gd name="connsiteY36" fmla="*/ 28210 h 138812"/>
                <a:gd name="connsiteX37" fmla="*/ 29106 w 125378"/>
                <a:gd name="connsiteY37" fmla="*/ 25971 h 138812"/>
                <a:gd name="connsiteX38" fmla="*/ 26867 w 125378"/>
                <a:gd name="connsiteY38" fmla="*/ 28210 h 138812"/>
                <a:gd name="connsiteX39" fmla="*/ 26867 w 125378"/>
                <a:gd name="connsiteY39" fmla="*/ 29106 h 138812"/>
                <a:gd name="connsiteX40" fmla="*/ 42539 w 125378"/>
                <a:gd name="connsiteY40" fmla="*/ 44778 h 138812"/>
                <a:gd name="connsiteX41" fmla="*/ 107468 w 125378"/>
                <a:gd name="connsiteY41" fmla="*/ 44778 h 138812"/>
                <a:gd name="connsiteX42" fmla="*/ 107468 w 125378"/>
                <a:gd name="connsiteY42" fmla="*/ 91795 h 138812"/>
                <a:gd name="connsiteX43" fmla="*/ 120901 w 125378"/>
                <a:gd name="connsiteY43" fmla="*/ 69406 h 138812"/>
                <a:gd name="connsiteX44" fmla="*/ 111945 w 125378"/>
                <a:gd name="connsiteY44" fmla="*/ 80153 h 138812"/>
                <a:gd name="connsiteX45" fmla="*/ 111945 w 125378"/>
                <a:gd name="connsiteY45" fmla="*/ 58212 h 138812"/>
                <a:gd name="connsiteX46" fmla="*/ 114184 w 125378"/>
                <a:gd name="connsiteY46" fmla="*/ 58212 h 138812"/>
                <a:gd name="connsiteX47" fmla="*/ 120901 w 125378"/>
                <a:gd name="connsiteY47" fmla="*/ 64928 h 138812"/>
                <a:gd name="connsiteX48" fmla="*/ 120901 w 125378"/>
                <a:gd name="connsiteY48" fmla="*/ 69406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25378" h="138812">
                  <a:moveTo>
                    <a:pt x="114184" y="53734"/>
                  </a:moveTo>
                  <a:lnTo>
                    <a:pt x="111945" y="53734"/>
                  </a:lnTo>
                  <a:lnTo>
                    <a:pt x="111945" y="32240"/>
                  </a:lnTo>
                  <a:cubicBezTo>
                    <a:pt x="111945" y="14329"/>
                    <a:pt x="97616" y="0"/>
                    <a:pt x="79705" y="0"/>
                  </a:cubicBezTo>
                  <a:lnTo>
                    <a:pt x="45674" y="0"/>
                  </a:lnTo>
                  <a:cubicBezTo>
                    <a:pt x="27762" y="0"/>
                    <a:pt x="13433" y="14329"/>
                    <a:pt x="13433" y="32240"/>
                  </a:cubicBezTo>
                  <a:lnTo>
                    <a:pt x="13433" y="53734"/>
                  </a:lnTo>
                  <a:lnTo>
                    <a:pt x="11195" y="53734"/>
                  </a:lnTo>
                  <a:cubicBezTo>
                    <a:pt x="4925" y="53734"/>
                    <a:pt x="0" y="58659"/>
                    <a:pt x="0" y="64928"/>
                  </a:cubicBezTo>
                  <a:lnTo>
                    <a:pt x="0" y="69406"/>
                  </a:lnTo>
                  <a:cubicBezTo>
                    <a:pt x="0" y="77466"/>
                    <a:pt x="5821" y="83735"/>
                    <a:pt x="13433" y="84631"/>
                  </a:cubicBezTo>
                  <a:lnTo>
                    <a:pt x="13433" y="91795"/>
                  </a:lnTo>
                  <a:cubicBezTo>
                    <a:pt x="13433" y="117767"/>
                    <a:pt x="34479" y="138812"/>
                    <a:pt x="60451" y="138812"/>
                  </a:cubicBezTo>
                  <a:lnTo>
                    <a:pt x="64928" y="138812"/>
                  </a:lnTo>
                  <a:cubicBezTo>
                    <a:pt x="90900" y="138812"/>
                    <a:pt x="111945" y="117767"/>
                    <a:pt x="111945" y="91795"/>
                  </a:cubicBezTo>
                  <a:lnTo>
                    <a:pt x="111945" y="84631"/>
                  </a:lnTo>
                  <a:cubicBezTo>
                    <a:pt x="119558" y="83735"/>
                    <a:pt x="125379" y="77018"/>
                    <a:pt x="125379" y="69406"/>
                  </a:cubicBezTo>
                  <a:lnTo>
                    <a:pt x="125379" y="64928"/>
                  </a:lnTo>
                  <a:cubicBezTo>
                    <a:pt x="125379" y="58659"/>
                    <a:pt x="120453" y="53734"/>
                    <a:pt x="114184" y="53734"/>
                  </a:cubicBezTo>
                  <a:close/>
                  <a:moveTo>
                    <a:pt x="4478" y="69406"/>
                  </a:moveTo>
                  <a:lnTo>
                    <a:pt x="4478" y="64928"/>
                  </a:lnTo>
                  <a:cubicBezTo>
                    <a:pt x="4478" y="61346"/>
                    <a:pt x="7612" y="58212"/>
                    <a:pt x="11195" y="58212"/>
                  </a:cubicBezTo>
                  <a:lnTo>
                    <a:pt x="13433" y="58212"/>
                  </a:lnTo>
                  <a:lnTo>
                    <a:pt x="13433" y="80153"/>
                  </a:lnTo>
                  <a:cubicBezTo>
                    <a:pt x="8508" y="79257"/>
                    <a:pt x="4478" y="74779"/>
                    <a:pt x="4478" y="69406"/>
                  </a:cubicBezTo>
                  <a:close/>
                  <a:moveTo>
                    <a:pt x="107468" y="91795"/>
                  </a:moveTo>
                  <a:cubicBezTo>
                    <a:pt x="107468" y="115080"/>
                    <a:pt x="88213" y="134335"/>
                    <a:pt x="64928" y="134335"/>
                  </a:cubicBezTo>
                  <a:lnTo>
                    <a:pt x="60451" y="134335"/>
                  </a:lnTo>
                  <a:cubicBezTo>
                    <a:pt x="37166" y="134335"/>
                    <a:pt x="17911" y="115080"/>
                    <a:pt x="17911" y="91795"/>
                  </a:cubicBezTo>
                  <a:lnTo>
                    <a:pt x="17911" y="32240"/>
                  </a:lnTo>
                  <a:cubicBezTo>
                    <a:pt x="17911" y="17016"/>
                    <a:pt x="30449" y="4478"/>
                    <a:pt x="45674" y="4478"/>
                  </a:cubicBezTo>
                  <a:lnTo>
                    <a:pt x="79705" y="4478"/>
                  </a:lnTo>
                  <a:cubicBezTo>
                    <a:pt x="94930" y="4478"/>
                    <a:pt x="107468" y="17016"/>
                    <a:pt x="107468" y="32240"/>
                  </a:cubicBezTo>
                  <a:lnTo>
                    <a:pt x="107468" y="40300"/>
                  </a:lnTo>
                  <a:lnTo>
                    <a:pt x="42539" y="40300"/>
                  </a:lnTo>
                  <a:cubicBezTo>
                    <a:pt x="36270" y="40300"/>
                    <a:pt x="31345" y="35375"/>
                    <a:pt x="31345" y="29106"/>
                  </a:cubicBezTo>
                  <a:lnTo>
                    <a:pt x="31345" y="28210"/>
                  </a:lnTo>
                  <a:cubicBezTo>
                    <a:pt x="31345" y="26867"/>
                    <a:pt x="30449" y="25971"/>
                    <a:pt x="29106" y="25971"/>
                  </a:cubicBezTo>
                  <a:cubicBezTo>
                    <a:pt x="27762" y="25971"/>
                    <a:pt x="26867" y="26867"/>
                    <a:pt x="26867" y="28210"/>
                  </a:cubicBezTo>
                  <a:lnTo>
                    <a:pt x="26867" y="29106"/>
                  </a:lnTo>
                  <a:cubicBezTo>
                    <a:pt x="26867" y="37614"/>
                    <a:pt x="34031" y="44778"/>
                    <a:pt x="42539" y="44778"/>
                  </a:cubicBezTo>
                  <a:lnTo>
                    <a:pt x="107468" y="44778"/>
                  </a:lnTo>
                  <a:lnTo>
                    <a:pt x="107468" y="91795"/>
                  </a:lnTo>
                  <a:close/>
                  <a:moveTo>
                    <a:pt x="120901" y="69406"/>
                  </a:moveTo>
                  <a:cubicBezTo>
                    <a:pt x="120901" y="74779"/>
                    <a:pt x="116871" y="79257"/>
                    <a:pt x="111945" y="80153"/>
                  </a:cubicBezTo>
                  <a:lnTo>
                    <a:pt x="111945" y="58212"/>
                  </a:lnTo>
                  <a:lnTo>
                    <a:pt x="114184" y="58212"/>
                  </a:lnTo>
                  <a:cubicBezTo>
                    <a:pt x="117767" y="58212"/>
                    <a:pt x="120901" y="61346"/>
                    <a:pt x="120901" y="64928"/>
                  </a:cubicBezTo>
                  <a:lnTo>
                    <a:pt x="120901" y="69406"/>
                  </a:lnTo>
                  <a:close/>
                </a:path>
              </a:pathLst>
            </a:custGeom>
            <a:solidFill>
              <a:srgbClr val="231F20"/>
            </a:solidFill>
            <a:ln w="4474" cap="flat">
              <a:noFill/>
              <a:prstDash val="solid"/>
              <a:miter/>
            </a:ln>
          </p:spPr>
          <p:txBody>
            <a:bodyPr rtlCol="0" anchor="ctr"/>
            <a:lstStyle/>
            <a:p>
              <a:endParaRPr lang="en-US"/>
            </a:p>
          </p:txBody>
        </p:sp>
        <p:sp>
          <p:nvSpPr>
            <p:cNvPr id="4247" name="Freeform: Shape 4246">
              <a:extLst>
                <a:ext uri="{FF2B5EF4-FFF2-40B4-BE49-F238E27FC236}">
                  <a16:creationId xmlns:a16="http://schemas.microsoft.com/office/drawing/2014/main" id="{6F8C697F-1154-4576-8CC5-0887DDBC4AA6}"/>
                </a:ext>
              </a:extLst>
            </p:cNvPr>
            <p:cNvSpPr/>
            <p:nvPr/>
          </p:nvSpPr>
          <p:spPr>
            <a:xfrm>
              <a:off x="3258920" y="26603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8" name="Freeform: Shape 4247">
              <a:extLst>
                <a:ext uri="{FF2B5EF4-FFF2-40B4-BE49-F238E27FC236}">
                  <a16:creationId xmlns:a16="http://schemas.microsoft.com/office/drawing/2014/main" id="{A86499E1-EF62-4F61-A673-852C1E0404AD}"/>
                </a:ext>
              </a:extLst>
            </p:cNvPr>
            <p:cNvSpPr/>
            <p:nvPr/>
          </p:nvSpPr>
          <p:spPr>
            <a:xfrm>
              <a:off x="3299221" y="2660357"/>
              <a:ext cx="13433" cy="13433"/>
            </a:xfrm>
            <a:custGeom>
              <a:avLst/>
              <a:gdLst>
                <a:gd name="connsiteX0" fmla="*/ 13434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4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4" y="6717"/>
                  </a:moveTo>
                  <a:cubicBezTo>
                    <a:pt x="13434" y="10426"/>
                    <a:pt x="10426" y="13433"/>
                    <a:pt x="6717" y="13433"/>
                  </a:cubicBezTo>
                  <a:cubicBezTo>
                    <a:pt x="3007" y="13433"/>
                    <a:pt x="0" y="10426"/>
                    <a:pt x="0" y="6717"/>
                  </a:cubicBezTo>
                  <a:cubicBezTo>
                    <a:pt x="0" y="3007"/>
                    <a:pt x="3007" y="0"/>
                    <a:pt x="6717" y="0"/>
                  </a:cubicBezTo>
                  <a:cubicBezTo>
                    <a:pt x="10426" y="0"/>
                    <a:pt x="13434" y="3007"/>
                    <a:pt x="13434" y="6717"/>
                  </a:cubicBezTo>
                  <a:close/>
                </a:path>
              </a:pathLst>
            </a:custGeom>
            <a:solidFill>
              <a:srgbClr val="231F20"/>
            </a:solidFill>
            <a:ln w="4474" cap="flat">
              <a:noFill/>
              <a:prstDash val="solid"/>
              <a:miter/>
            </a:ln>
          </p:spPr>
          <p:txBody>
            <a:bodyPr rtlCol="0" anchor="ctr"/>
            <a:lstStyle/>
            <a:p>
              <a:endParaRPr lang="en-US"/>
            </a:p>
          </p:txBody>
        </p:sp>
        <p:sp>
          <p:nvSpPr>
            <p:cNvPr id="4249" name="Freeform: Shape 4248">
              <a:extLst>
                <a:ext uri="{FF2B5EF4-FFF2-40B4-BE49-F238E27FC236}">
                  <a16:creationId xmlns:a16="http://schemas.microsoft.com/office/drawing/2014/main" id="{4FD71EF1-C952-4639-8892-03900C7130C0}"/>
                </a:ext>
              </a:extLst>
            </p:cNvPr>
            <p:cNvSpPr/>
            <p:nvPr/>
          </p:nvSpPr>
          <p:spPr>
            <a:xfrm>
              <a:off x="3256641" y="2698378"/>
              <a:ext cx="58212" cy="17911"/>
            </a:xfrm>
            <a:custGeom>
              <a:avLst/>
              <a:gdLst>
                <a:gd name="connsiteX0" fmla="*/ 29146 w 58211"/>
                <a:gd name="connsiteY0" fmla="*/ 17952 h 17911"/>
                <a:gd name="connsiteX1" fmla="*/ 488 w 58211"/>
                <a:gd name="connsiteY1" fmla="*/ 3623 h 17911"/>
                <a:gd name="connsiteX2" fmla="*/ 936 w 58211"/>
                <a:gd name="connsiteY2" fmla="*/ 488 h 17911"/>
                <a:gd name="connsiteX3" fmla="*/ 4070 w 58211"/>
                <a:gd name="connsiteY3" fmla="*/ 936 h 17911"/>
                <a:gd name="connsiteX4" fmla="*/ 29146 w 58211"/>
                <a:gd name="connsiteY4" fmla="*/ 13474 h 17911"/>
                <a:gd name="connsiteX5" fmla="*/ 54222 w 58211"/>
                <a:gd name="connsiteY5" fmla="*/ 936 h 17911"/>
                <a:gd name="connsiteX6" fmla="*/ 57357 w 58211"/>
                <a:gd name="connsiteY6" fmla="*/ 488 h 17911"/>
                <a:gd name="connsiteX7" fmla="*/ 57804 w 58211"/>
                <a:gd name="connsiteY7" fmla="*/ 3623 h 17911"/>
                <a:gd name="connsiteX8" fmla="*/ 29146 w 58211"/>
                <a:gd name="connsiteY8" fmla="*/ 17952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1" h="17911">
                  <a:moveTo>
                    <a:pt x="29146" y="17952"/>
                  </a:moveTo>
                  <a:cubicBezTo>
                    <a:pt x="17952" y="17952"/>
                    <a:pt x="7205" y="12578"/>
                    <a:pt x="488" y="3623"/>
                  </a:cubicBezTo>
                  <a:cubicBezTo>
                    <a:pt x="-407" y="2727"/>
                    <a:pt x="40" y="1384"/>
                    <a:pt x="936" y="488"/>
                  </a:cubicBezTo>
                  <a:cubicBezTo>
                    <a:pt x="1831" y="-407"/>
                    <a:pt x="3175" y="40"/>
                    <a:pt x="4070" y="936"/>
                  </a:cubicBezTo>
                  <a:cubicBezTo>
                    <a:pt x="9891" y="8996"/>
                    <a:pt x="19295" y="13474"/>
                    <a:pt x="29146" y="13474"/>
                  </a:cubicBezTo>
                  <a:cubicBezTo>
                    <a:pt x="38997" y="13474"/>
                    <a:pt x="48401" y="8996"/>
                    <a:pt x="54222" y="936"/>
                  </a:cubicBezTo>
                  <a:cubicBezTo>
                    <a:pt x="55118" y="40"/>
                    <a:pt x="56461" y="-407"/>
                    <a:pt x="57357" y="488"/>
                  </a:cubicBezTo>
                  <a:cubicBezTo>
                    <a:pt x="58252" y="1384"/>
                    <a:pt x="58700" y="2727"/>
                    <a:pt x="57804" y="3623"/>
                  </a:cubicBezTo>
                  <a:cubicBezTo>
                    <a:pt x="51087" y="12578"/>
                    <a:pt x="40789" y="17952"/>
                    <a:pt x="29146" y="17952"/>
                  </a:cubicBezTo>
                  <a:close/>
                </a:path>
              </a:pathLst>
            </a:custGeom>
            <a:solidFill>
              <a:srgbClr val="231F20"/>
            </a:solidFill>
            <a:ln w="4474" cap="flat">
              <a:noFill/>
              <a:prstDash val="solid"/>
              <a:miter/>
            </a:ln>
          </p:spPr>
          <p:txBody>
            <a:bodyPr rtlCol="0" anchor="ctr"/>
            <a:lstStyle/>
            <a:p>
              <a:endParaRPr lang="en-US"/>
            </a:p>
          </p:txBody>
        </p:sp>
        <p:sp>
          <p:nvSpPr>
            <p:cNvPr id="4250" name="Freeform: Shape 4249">
              <a:extLst>
                <a:ext uri="{FF2B5EF4-FFF2-40B4-BE49-F238E27FC236}">
                  <a16:creationId xmlns:a16="http://schemas.microsoft.com/office/drawing/2014/main" id="{4C97B0E4-872D-4E76-82CE-B7FA1B956FCF}"/>
                </a:ext>
              </a:extLst>
            </p:cNvPr>
            <p:cNvSpPr/>
            <p:nvPr/>
          </p:nvSpPr>
          <p:spPr>
            <a:xfrm>
              <a:off x="3330566" y="2590951"/>
              <a:ext cx="31345" cy="31345"/>
            </a:xfrm>
            <a:custGeom>
              <a:avLst/>
              <a:gdLst>
                <a:gd name="connsiteX0" fmla="*/ 29106 w 31344"/>
                <a:gd name="connsiteY0" fmla="*/ 31345 h 31344"/>
                <a:gd name="connsiteX1" fmla="*/ 26867 w 31344"/>
                <a:gd name="connsiteY1" fmla="*/ 29106 h 31344"/>
                <a:gd name="connsiteX2" fmla="*/ 26867 w 31344"/>
                <a:gd name="connsiteY2" fmla="*/ 4478 h 31344"/>
                <a:gd name="connsiteX3" fmla="*/ 2239 w 31344"/>
                <a:gd name="connsiteY3" fmla="*/ 4478 h 31344"/>
                <a:gd name="connsiteX4" fmla="*/ 0 w 31344"/>
                <a:gd name="connsiteY4" fmla="*/ 2239 h 31344"/>
                <a:gd name="connsiteX5" fmla="*/ 2239 w 31344"/>
                <a:gd name="connsiteY5" fmla="*/ 0 h 31344"/>
                <a:gd name="connsiteX6" fmla="*/ 29106 w 31344"/>
                <a:gd name="connsiteY6" fmla="*/ 0 h 31344"/>
                <a:gd name="connsiteX7" fmla="*/ 31345 w 31344"/>
                <a:gd name="connsiteY7" fmla="*/ 2239 h 31344"/>
                <a:gd name="connsiteX8" fmla="*/ 31345 w 31344"/>
                <a:gd name="connsiteY8" fmla="*/ 29106 h 31344"/>
                <a:gd name="connsiteX9" fmla="*/ 29106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9106" y="31345"/>
                  </a:moveTo>
                  <a:cubicBezTo>
                    <a:pt x="27762" y="31345"/>
                    <a:pt x="26867" y="30449"/>
                    <a:pt x="26867" y="29106"/>
                  </a:cubicBezTo>
                  <a:lnTo>
                    <a:pt x="26867" y="4478"/>
                  </a:lnTo>
                  <a:lnTo>
                    <a:pt x="2239" y="4478"/>
                  </a:lnTo>
                  <a:cubicBezTo>
                    <a:pt x="895" y="4478"/>
                    <a:pt x="0" y="3582"/>
                    <a:pt x="0" y="2239"/>
                  </a:cubicBezTo>
                  <a:cubicBezTo>
                    <a:pt x="0" y="895"/>
                    <a:pt x="895" y="0"/>
                    <a:pt x="2239" y="0"/>
                  </a:cubicBezTo>
                  <a:lnTo>
                    <a:pt x="29106" y="0"/>
                  </a:lnTo>
                  <a:cubicBezTo>
                    <a:pt x="30449" y="0"/>
                    <a:pt x="31345" y="895"/>
                    <a:pt x="31345" y="2239"/>
                  </a:cubicBezTo>
                  <a:lnTo>
                    <a:pt x="31345" y="29106"/>
                  </a:ln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sp>
          <p:nvSpPr>
            <p:cNvPr id="4251" name="Freeform: Shape 4250">
              <a:extLst>
                <a:ext uri="{FF2B5EF4-FFF2-40B4-BE49-F238E27FC236}">
                  <a16:creationId xmlns:a16="http://schemas.microsoft.com/office/drawing/2014/main" id="{ADD0B63B-1900-406C-BBE1-103611E402EB}"/>
                </a:ext>
              </a:extLst>
            </p:cNvPr>
            <p:cNvSpPr/>
            <p:nvPr/>
          </p:nvSpPr>
          <p:spPr>
            <a:xfrm>
              <a:off x="3209664" y="2590951"/>
              <a:ext cx="31345" cy="31345"/>
            </a:xfrm>
            <a:custGeom>
              <a:avLst/>
              <a:gdLst>
                <a:gd name="connsiteX0" fmla="*/ 2239 w 31344"/>
                <a:gd name="connsiteY0" fmla="*/ 31345 h 31344"/>
                <a:gd name="connsiteX1" fmla="*/ 0 w 31344"/>
                <a:gd name="connsiteY1" fmla="*/ 29106 h 31344"/>
                <a:gd name="connsiteX2" fmla="*/ 0 w 31344"/>
                <a:gd name="connsiteY2" fmla="*/ 2239 h 31344"/>
                <a:gd name="connsiteX3" fmla="*/ 2239 w 31344"/>
                <a:gd name="connsiteY3" fmla="*/ 0 h 31344"/>
                <a:gd name="connsiteX4" fmla="*/ 29106 w 31344"/>
                <a:gd name="connsiteY4" fmla="*/ 0 h 31344"/>
                <a:gd name="connsiteX5" fmla="*/ 31345 w 31344"/>
                <a:gd name="connsiteY5" fmla="*/ 2239 h 31344"/>
                <a:gd name="connsiteX6" fmla="*/ 29106 w 31344"/>
                <a:gd name="connsiteY6" fmla="*/ 4478 h 31344"/>
                <a:gd name="connsiteX7" fmla="*/ 4478 w 31344"/>
                <a:gd name="connsiteY7" fmla="*/ 4478 h 31344"/>
                <a:gd name="connsiteX8" fmla="*/ 4478 w 31344"/>
                <a:gd name="connsiteY8" fmla="*/ 29106 h 31344"/>
                <a:gd name="connsiteX9" fmla="*/ 2239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239" y="31345"/>
                  </a:moveTo>
                  <a:cubicBezTo>
                    <a:pt x="895" y="31345"/>
                    <a:pt x="0" y="30449"/>
                    <a:pt x="0" y="29106"/>
                  </a:cubicBezTo>
                  <a:lnTo>
                    <a:pt x="0" y="2239"/>
                  </a:lnTo>
                  <a:cubicBezTo>
                    <a:pt x="0" y="895"/>
                    <a:pt x="895" y="0"/>
                    <a:pt x="2239" y="0"/>
                  </a:cubicBezTo>
                  <a:lnTo>
                    <a:pt x="29106" y="0"/>
                  </a:lnTo>
                  <a:cubicBezTo>
                    <a:pt x="30449" y="0"/>
                    <a:pt x="31345" y="895"/>
                    <a:pt x="31345" y="2239"/>
                  </a:cubicBezTo>
                  <a:cubicBezTo>
                    <a:pt x="31345" y="3582"/>
                    <a:pt x="30449" y="4478"/>
                    <a:pt x="29106" y="4478"/>
                  </a:cubicBezTo>
                  <a:lnTo>
                    <a:pt x="4478" y="4478"/>
                  </a:lnTo>
                  <a:lnTo>
                    <a:pt x="4478" y="29106"/>
                  </a:lnTo>
                  <a:cubicBezTo>
                    <a:pt x="4478" y="30449"/>
                    <a:pt x="3582" y="31345"/>
                    <a:pt x="2239" y="31345"/>
                  </a:cubicBezTo>
                  <a:close/>
                </a:path>
              </a:pathLst>
            </a:custGeom>
            <a:solidFill>
              <a:srgbClr val="231F20"/>
            </a:solidFill>
            <a:ln w="4474" cap="flat">
              <a:noFill/>
              <a:prstDash val="solid"/>
              <a:miter/>
            </a:ln>
          </p:spPr>
          <p:txBody>
            <a:bodyPr rtlCol="0" anchor="ctr"/>
            <a:lstStyle/>
            <a:p>
              <a:endParaRPr lang="en-US"/>
            </a:p>
          </p:txBody>
        </p:sp>
        <p:sp>
          <p:nvSpPr>
            <p:cNvPr id="4252" name="Freeform: Shape 4251">
              <a:extLst>
                <a:ext uri="{FF2B5EF4-FFF2-40B4-BE49-F238E27FC236}">
                  <a16:creationId xmlns:a16="http://schemas.microsoft.com/office/drawing/2014/main" id="{1332F380-5DD8-40F3-9F71-3DF0A4A290A8}"/>
                </a:ext>
              </a:extLst>
            </p:cNvPr>
            <p:cNvSpPr/>
            <p:nvPr/>
          </p:nvSpPr>
          <p:spPr>
            <a:xfrm>
              <a:off x="3330566" y="2711852"/>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2239 w 31344"/>
                <a:gd name="connsiteY3" fmla="*/ 26867 h 31344"/>
                <a:gd name="connsiteX4" fmla="*/ 26867 w 31344"/>
                <a:gd name="connsiteY4" fmla="*/ 26867 h 31344"/>
                <a:gd name="connsiteX5" fmla="*/ 26867 w 31344"/>
                <a:gd name="connsiteY5" fmla="*/ 2239 h 31344"/>
                <a:gd name="connsiteX6" fmla="*/ 29106 w 31344"/>
                <a:gd name="connsiteY6" fmla="*/ 0 h 31344"/>
                <a:gd name="connsiteX7" fmla="*/ 31345 w 31344"/>
                <a:gd name="connsiteY7" fmla="*/ 2239 h 31344"/>
                <a:gd name="connsiteX8" fmla="*/ 31345 w 31344"/>
                <a:gd name="connsiteY8" fmla="*/ 29106 h 31344"/>
                <a:gd name="connsiteX9" fmla="*/ 29106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9106" y="31345"/>
                  </a:moveTo>
                  <a:lnTo>
                    <a:pt x="2239" y="31345"/>
                  </a:lnTo>
                  <a:cubicBezTo>
                    <a:pt x="895" y="31345"/>
                    <a:pt x="0" y="30449"/>
                    <a:pt x="0" y="29106"/>
                  </a:cubicBezTo>
                  <a:cubicBezTo>
                    <a:pt x="0" y="27762"/>
                    <a:pt x="895" y="26867"/>
                    <a:pt x="2239" y="26867"/>
                  </a:cubicBezTo>
                  <a:lnTo>
                    <a:pt x="26867" y="26867"/>
                  </a:lnTo>
                  <a:lnTo>
                    <a:pt x="26867" y="2239"/>
                  </a:lnTo>
                  <a:cubicBezTo>
                    <a:pt x="26867" y="895"/>
                    <a:pt x="27762" y="0"/>
                    <a:pt x="29106" y="0"/>
                  </a:cubicBezTo>
                  <a:cubicBezTo>
                    <a:pt x="30449" y="0"/>
                    <a:pt x="31345" y="895"/>
                    <a:pt x="31345" y="2239"/>
                  </a:cubicBezTo>
                  <a:lnTo>
                    <a:pt x="31345" y="29106"/>
                  </a:ln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sp>
          <p:nvSpPr>
            <p:cNvPr id="4253" name="Freeform: Shape 4252">
              <a:extLst>
                <a:ext uri="{FF2B5EF4-FFF2-40B4-BE49-F238E27FC236}">
                  <a16:creationId xmlns:a16="http://schemas.microsoft.com/office/drawing/2014/main" id="{D18C990B-9474-4163-BAFA-08F58BA87166}"/>
                </a:ext>
              </a:extLst>
            </p:cNvPr>
            <p:cNvSpPr/>
            <p:nvPr/>
          </p:nvSpPr>
          <p:spPr>
            <a:xfrm>
              <a:off x="3209664" y="2711852"/>
              <a:ext cx="31345" cy="31345"/>
            </a:xfrm>
            <a:custGeom>
              <a:avLst/>
              <a:gdLst>
                <a:gd name="connsiteX0" fmla="*/ 29106 w 31344"/>
                <a:gd name="connsiteY0" fmla="*/ 31345 h 31344"/>
                <a:gd name="connsiteX1" fmla="*/ 2239 w 31344"/>
                <a:gd name="connsiteY1" fmla="*/ 31345 h 31344"/>
                <a:gd name="connsiteX2" fmla="*/ 0 w 31344"/>
                <a:gd name="connsiteY2" fmla="*/ 29106 h 31344"/>
                <a:gd name="connsiteX3" fmla="*/ 0 w 31344"/>
                <a:gd name="connsiteY3" fmla="*/ 2239 h 31344"/>
                <a:gd name="connsiteX4" fmla="*/ 2239 w 31344"/>
                <a:gd name="connsiteY4" fmla="*/ 0 h 31344"/>
                <a:gd name="connsiteX5" fmla="*/ 4478 w 31344"/>
                <a:gd name="connsiteY5" fmla="*/ 2239 h 31344"/>
                <a:gd name="connsiteX6" fmla="*/ 4478 w 31344"/>
                <a:gd name="connsiteY6" fmla="*/ 26867 h 31344"/>
                <a:gd name="connsiteX7" fmla="*/ 29106 w 31344"/>
                <a:gd name="connsiteY7" fmla="*/ 26867 h 31344"/>
                <a:gd name="connsiteX8" fmla="*/ 31345 w 31344"/>
                <a:gd name="connsiteY8" fmla="*/ 29106 h 31344"/>
                <a:gd name="connsiteX9" fmla="*/ 29106 w 31344"/>
                <a:gd name="connsiteY9"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29106" y="31345"/>
                  </a:moveTo>
                  <a:lnTo>
                    <a:pt x="2239" y="31345"/>
                  </a:lnTo>
                  <a:cubicBezTo>
                    <a:pt x="895" y="31345"/>
                    <a:pt x="0" y="30449"/>
                    <a:pt x="0" y="29106"/>
                  </a:cubicBezTo>
                  <a:lnTo>
                    <a:pt x="0" y="2239"/>
                  </a:lnTo>
                  <a:cubicBezTo>
                    <a:pt x="0" y="895"/>
                    <a:pt x="895" y="0"/>
                    <a:pt x="2239" y="0"/>
                  </a:cubicBezTo>
                  <a:cubicBezTo>
                    <a:pt x="3582" y="0"/>
                    <a:pt x="4478" y="895"/>
                    <a:pt x="4478" y="2239"/>
                  </a:cubicBezTo>
                  <a:lnTo>
                    <a:pt x="4478" y="26867"/>
                  </a:lnTo>
                  <a:lnTo>
                    <a:pt x="29106" y="26867"/>
                  </a:lnTo>
                  <a:cubicBezTo>
                    <a:pt x="30449" y="26867"/>
                    <a:pt x="31345" y="27762"/>
                    <a:pt x="31345" y="29106"/>
                  </a:cubicBezTo>
                  <a:cubicBezTo>
                    <a:pt x="31345" y="30449"/>
                    <a:pt x="30449" y="31345"/>
                    <a:pt x="29106" y="31345"/>
                  </a:cubicBezTo>
                  <a:close/>
                </a:path>
              </a:pathLst>
            </a:custGeom>
            <a:solidFill>
              <a:srgbClr val="231F20"/>
            </a:solidFill>
            <a:ln w="4474" cap="flat">
              <a:noFill/>
              <a:prstDash val="solid"/>
              <a:miter/>
            </a:ln>
          </p:spPr>
          <p:txBody>
            <a:bodyPr rtlCol="0" anchor="ctr"/>
            <a:lstStyle/>
            <a:p>
              <a:endParaRPr lang="en-US"/>
            </a:p>
          </p:txBody>
        </p:sp>
      </p:grpSp>
      <p:sp>
        <p:nvSpPr>
          <p:cNvPr id="4254" name="Freeform: Shape 4253">
            <a:extLst>
              <a:ext uri="{FF2B5EF4-FFF2-40B4-BE49-F238E27FC236}">
                <a16:creationId xmlns:a16="http://schemas.microsoft.com/office/drawing/2014/main" id="{A42175E6-0957-4ED8-9A0B-FD5F1048AD74}"/>
              </a:ext>
              <a:ext uri="{C183D7F6-B498-43B3-948B-1728B52AA6E4}">
                <adec:decorative xmlns:adec="http://schemas.microsoft.com/office/drawing/2017/decorative" val="1"/>
              </a:ext>
            </a:extLst>
          </p:cNvPr>
          <p:cNvSpPr>
            <a:spLocks noChangeAspect="1"/>
          </p:cNvSpPr>
          <p:nvPr/>
        </p:nvSpPr>
        <p:spPr>
          <a:xfrm>
            <a:off x="3698636" y="3326390"/>
            <a:ext cx="152246" cy="152246"/>
          </a:xfrm>
          <a:custGeom>
            <a:avLst/>
            <a:gdLst>
              <a:gd name="connsiteX0" fmla="*/ 150007 w 152245"/>
              <a:gd name="connsiteY0" fmla="*/ 94034 h 152245"/>
              <a:gd name="connsiteX1" fmla="*/ 125379 w 152245"/>
              <a:gd name="connsiteY1" fmla="*/ 94034 h 152245"/>
              <a:gd name="connsiteX2" fmla="*/ 125379 w 152245"/>
              <a:gd name="connsiteY2" fmla="*/ 71197 h 152245"/>
              <a:gd name="connsiteX3" fmla="*/ 138812 w 152245"/>
              <a:gd name="connsiteY3" fmla="*/ 55973 h 152245"/>
              <a:gd name="connsiteX4" fmla="*/ 138812 w 152245"/>
              <a:gd name="connsiteY4" fmla="*/ 48360 h 152245"/>
              <a:gd name="connsiteX5" fmla="*/ 136573 w 152245"/>
              <a:gd name="connsiteY5" fmla="*/ 46121 h 152245"/>
              <a:gd name="connsiteX6" fmla="*/ 134335 w 152245"/>
              <a:gd name="connsiteY6" fmla="*/ 48360 h 152245"/>
              <a:gd name="connsiteX7" fmla="*/ 134335 w 152245"/>
              <a:gd name="connsiteY7" fmla="*/ 55973 h 152245"/>
              <a:gd name="connsiteX8" fmla="*/ 124931 w 152245"/>
              <a:gd name="connsiteY8" fmla="*/ 67167 h 152245"/>
              <a:gd name="connsiteX9" fmla="*/ 109707 w 152245"/>
              <a:gd name="connsiteY9" fmla="*/ 53734 h 152245"/>
              <a:gd name="connsiteX10" fmla="*/ 98512 w 152245"/>
              <a:gd name="connsiteY10" fmla="*/ 53734 h 152245"/>
              <a:gd name="connsiteX11" fmla="*/ 98512 w 152245"/>
              <a:gd name="connsiteY11" fmla="*/ 49256 h 152245"/>
              <a:gd name="connsiteX12" fmla="*/ 97616 w 152245"/>
              <a:gd name="connsiteY12" fmla="*/ 43435 h 152245"/>
              <a:gd name="connsiteX13" fmla="*/ 111050 w 152245"/>
              <a:gd name="connsiteY13" fmla="*/ 30897 h 152245"/>
              <a:gd name="connsiteX14" fmla="*/ 111945 w 152245"/>
              <a:gd name="connsiteY14" fmla="*/ 29106 h 152245"/>
              <a:gd name="connsiteX15" fmla="*/ 111945 w 152245"/>
              <a:gd name="connsiteY15" fmla="*/ 2239 h 152245"/>
              <a:gd name="connsiteX16" fmla="*/ 109707 w 152245"/>
              <a:gd name="connsiteY16" fmla="*/ 0 h 152245"/>
              <a:gd name="connsiteX17" fmla="*/ 107468 w 152245"/>
              <a:gd name="connsiteY17" fmla="*/ 2239 h 152245"/>
              <a:gd name="connsiteX18" fmla="*/ 107468 w 152245"/>
              <a:gd name="connsiteY18" fmla="*/ 28210 h 152245"/>
              <a:gd name="connsiteX19" fmla="*/ 95825 w 152245"/>
              <a:gd name="connsiteY19" fmla="*/ 38957 h 152245"/>
              <a:gd name="connsiteX20" fmla="*/ 76123 w 152245"/>
              <a:gd name="connsiteY20" fmla="*/ 26867 h 152245"/>
              <a:gd name="connsiteX21" fmla="*/ 56420 w 152245"/>
              <a:gd name="connsiteY21" fmla="*/ 38957 h 152245"/>
              <a:gd name="connsiteX22" fmla="*/ 44778 w 152245"/>
              <a:gd name="connsiteY22" fmla="*/ 28210 h 152245"/>
              <a:gd name="connsiteX23" fmla="*/ 44778 w 152245"/>
              <a:gd name="connsiteY23" fmla="*/ 2239 h 152245"/>
              <a:gd name="connsiteX24" fmla="*/ 42539 w 152245"/>
              <a:gd name="connsiteY24" fmla="*/ 0 h 152245"/>
              <a:gd name="connsiteX25" fmla="*/ 40300 w 152245"/>
              <a:gd name="connsiteY25" fmla="*/ 2239 h 152245"/>
              <a:gd name="connsiteX26" fmla="*/ 40300 w 152245"/>
              <a:gd name="connsiteY26" fmla="*/ 29106 h 152245"/>
              <a:gd name="connsiteX27" fmla="*/ 41196 w 152245"/>
              <a:gd name="connsiteY27" fmla="*/ 30897 h 152245"/>
              <a:gd name="connsiteX28" fmla="*/ 54629 w 152245"/>
              <a:gd name="connsiteY28" fmla="*/ 43435 h 152245"/>
              <a:gd name="connsiteX29" fmla="*/ 53734 w 152245"/>
              <a:gd name="connsiteY29" fmla="*/ 49256 h 152245"/>
              <a:gd name="connsiteX30" fmla="*/ 53734 w 152245"/>
              <a:gd name="connsiteY30" fmla="*/ 53734 h 152245"/>
              <a:gd name="connsiteX31" fmla="*/ 42539 w 152245"/>
              <a:gd name="connsiteY31" fmla="*/ 53734 h 152245"/>
              <a:gd name="connsiteX32" fmla="*/ 27315 w 152245"/>
              <a:gd name="connsiteY32" fmla="*/ 67167 h 152245"/>
              <a:gd name="connsiteX33" fmla="*/ 17911 w 152245"/>
              <a:gd name="connsiteY33" fmla="*/ 55973 h 152245"/>
              <a:gd name="connsiteX34" fmla="*/ 17911 w 152245"/>
              <a:gd name="connsiteY34" fmla="*/ 48360 h 152245"/>
              <a:gd name="connsiteX35" fmla="*/ 15672 w 152245"/>
              <a:gd name="connsiteY35" fmla="*/ 46121 h 152245"/>
              <a:gd name="connsiteX36" fmla="*/ 13433 w 152245"/>
              <a:gd name="connsiteY36" fmla="*/ 48360 h 152245"/>
              <a:gd name="connsiteX37" fmla="*/ 13433 w 152245"/>
              <a:gd name="connsiteY37" fmla="*/ 55973 h 152245"/>
              <a:gd name="connsiteX38" fmla="*/ 26867 w 152245"/>
              <a:gd name="connsiteY38" fmla="*/ 71197 h 152245"/>
              <a:gd name="connsiteX39" fmla="*/ 26867 w 152245"/>
              <a:gd name="connsiteY39" fmla="*/ 94034 h 152245"/>
              <a:gd name="connsiteX40" fmla="*/ 2239 w 152245"/>
              <a:gd name="connsiteY40" fmla="*/ 94034 h 152245"/>
              <a:gd name="connsiteX41" fmla="*/ 0 w 152245"/>
              <a:gd name="connsiteY41" fmla="*/ 96273 h 152245"/>
              <a:gd name="connsiteX42" fmla="*/ 2239 w 152245"/>
              <a:gd name="connsiteY42" fmla="*/ 98512 h 152245"/>
              <a:gd name="connsiteX43" fmla="*/ 26867 w 152245"/>
              <a:gd name="connsiteY43" fmla="*/ 98512 h 152245"/>
              <a:gd name="connsiteX44" fmla="*/ 26867 w 152245"/>
              <a:gd name="connsiteY44" fmla="*/ 102990 h 152245"/>
              <a:gd name="connsiteX45" fmla="*/ 29553 w 152245"/>
              <a:gd name="connsiteY45" fmla="*/ 119558 h 152245"/>
              <a:gd name="connsiteX46" fmla="*/ 29106 w 152245"/>
              <a:gd name="connsiteY46" fmla="*/ 119558 h 152245"/>
              <a:gd name="connsiteX47" fmla="*/ 13433 w 152245"/>
              <a:gd name="connsiteY47" fmla="*/ 135230 h 152245"/>
              <a:gd name="connsiteX48" fmla="*/ 13433 w 152245"/>
              <a:gd name="connsiteY48" fmla="*/ 142842 h 152245"/>
              <a:gd name="connsiteX49" fmla="*/ 15672 w 152245"/>
              <a:gd name="connsiteY49" fmla="*/ 145081 h 152245"/>
              <a:gd name="connsiteX50" fmla="*/ 17911 w 152245"/>
              <a:gd name="connsiteY50" fmla="*/ 142842 h 152245"/>
              <a:gd name="connsiteX51" fmla="*/ 17911 w 152245"/>
              <a:gd name="connsiteY51" fmla="*/ 135230 h 152245"/>
              <a:gd name="connsiteX52" fmla="*/ 29106 w 152245"/>
              <a:gd name="connsiteY52" fmla="*/ 124035 h 152245"/>
              <a:gd name="connsiteX53" fmla="*/ 31792 w 152245"/>
              <a:gd name="connsiteY53" fmla="*/ 124035 h 152245"/>
              <a:gd name="connsiteX54" fmla="*/ 48360 w 152245"/>
              <a:gd name="connsiteY54" fmla="*/ 143738 h 152245"/>
              <a:gd name="connsiteX55" fmla="*/ 48360 w 152245"/>
              <a:gd name="connsiteY55" fmla="*/ 143738 h 152245"/>
              <a:gd name="connsiteX56" fmla="*/ 76123 w 152245"/>
              <a:gd name="connsiteY56" fmla="*/ 152246 h 152245"/>
              <a:gd name="connsiteX57" fmla="*/ 104333 w 152245"/>
              <a:gd name="connsiteY57" fmla="*/ 143290 h 152245"/>
              <a:gd name="connsiteX58" fmla="*/ 104781 w 152245"/>
              <a:gd name="connsiteY58" fmla="*/ 142842 h 152245"/>
              <a:gd name="connsiteX59" fmla="*/ 120453 w 152245"/>
              <a:gd name="connsiteY59" fmla="*/ 124035 h 152245"/>
              <a:gd name="connsiteX60" fmla="*/ 123140 w 152245"/>
              <a:gd name="connsiteY60" fmla="*/ 124035 h 152245"/>
              <a:gd name="connsiteX61" fmla="*/ 134335 w 152245"/>
              <a:gd name="connsiteY61" fmla="*/ 135230 h 152245"/>
              <a:gd name="connsiteX62" fmla="*/ 134335 w 152245"/>
              <a:gd name="connsiteY62" fmla="*/ 142842 h 152245"/>
              <a:gd name="connsiteX63" fmla="*/ 136573 w 152245"/>
              <a:gd name="connsiteY63" fmla="*/ 145081 h 152245"/>
              <a:gd name="connsiteX64" fmla="*/ 138812 w 152245"/>
              <a:gd name="connsiteY64" fmla="*/ 142842 h 152245"/>
              <a:gd name="connsiteX65" fmla="*/ 138812 w 152245"/>
              <a:gd name="connsiteY65" fmla="*/ 135230 h 152245"/>
              <a:gd name="connsiteX66" fmla="*/ 123140 w 152245"/>
              <a:gd name="connsiteY66" fmla="*/ 119558 h 152245"/>
              <a:gd name="connsiteX67" fmla="*/ 122692 w 152245"/>
              <a:gd name="connsiteY67" fmla="*/ 119558 h 152245"/>
              <a:gd name="connsiteX68" fmla="*/ 125379 w 152245"/>
              <a:gd name="connsiteY68" fmla="*/ 102990 h 152245"/>
              <a:gd name="connsiteX69" fmla="*/ 125379 w 152245"/>
              <a:gd name="connsiteY69" fmla="*/ 98512 h 152245"/>
              <a:gd name="connsiteX70" fmla="*/ 150007 w 152245"/>
              <a:gd name="connsiteY70" fmla="*/ 98512 h 152245"/>
              <a:gd name="connsiteX71" fmla="*/ 152246 w 152245"/>
              <a:gd name="connsiteY71" fmla="*/ 96273 h 152245"/>
              <a:gd name="connsiteX72" fmla="*/ 150007 w 152245"/>
              <a:gd name="connsiteY72" fmla="*/ 94034 h 152245"/>
              <a:gd name="connsiteX73" fmla="*/ 58212 w 152245"/>
              <a:gd name="connsiteY73" fmla="*/ 49256 h 152245"/>
              <a:gd name="connsiteX74" fmla="*/ 76123 w 152245"/>
              <a:gd name="connsiteY74" fmla="*/ 31345 h 152245"/>
              <a:gd name="connsiteX75" fmla="*/ 94034 w 152245"/>
              <a:gd name="connsiteY75" fmla="*/ 49256 h 152245"/>
              <a:gd name="connsiteX76" fmla="*/ 94034 w 152245"/>
              <a:gd name="connsiteY76" fmla="*/ 53734 h 152245"/>
              <a:gd name="connsiteX77" fmla="*/ 58212 w 152245"/>
              <a:gd name="connsiteY77" fmla="*/ 53734 h 152245"/>
              <a:gd name="connsiteX78" fmla="*/ 58212 w 152245"/>
              <a:gd name="connsiteY78" fmla="*/ 49256 h 152245"/>
              <a:gd name="connsiteX79" fmla="*/ 42539 w 152245"/>
              <a:gd name="connsiteY79" fmla="*/ 58212 h 152245"/>
              <a:gd name="connsiteX80" fmla="*/ 109707 w 152245"/>
              <a:gd name="connsiteY80" fmla="*/ 58212 h 152245"/>
              <a:gd name="connsiteX81" fmla="*/ 120901 w 152245"/>
              <a:gd name="connsiteY81" fmla="*/ 69406 h 152245"/>
              <a:gd name="connsiteX82" fmla="*/ 120901 w 152245"/>
              <a:gd name="connsiteY82" fmla="*/ 73884 h 152245"/>
              <a:gd name="connsiteX83" fmla="*/ 31345 w 152245"/>
              <a:gd name="connsiteY83" fmla="*/ 73884 h 152245"/>
              <a:gd name="connsiteX84" fmla="*/ 31345 w 152245"/>
              <a:gd name="connsiteY84" fmla="*/ 69406 h 152245"/>
              <a:gd name="connsiteX85" fmla="*/ 42539 w 152245"/>
              <a:gd name="connsiteY85" fmla="*/ 58212 h 152245"/>
              <a:gd name="connsiteX86" fmla="*/ 31345 w 152245"/>
              <a:gd name="connsiteY86" fmla="*/ 102990 h 152245"/>
              <a:gd name="connsiteX87" fmla="*/ 31345 w 152245"/>
              <a:gd name="connsiteY87" fmla="*/ 78362 h 152245"/>
              <a:gd name="connsiteX88" fmla="*/ 73884 w 152245"/>
              <a:gd name="connsiteY88" fmla="*/ 78362 h 152245"/>
              <a:gd name="connsiteX89" fmla="*/ 73884 w 152245"/>
              <a:gd name="connsiteY89" fmla="*/ 121797 h 152245"/>
              <a:gd name="connsiteX90" fmla="*/ 49256 w 152245"/>
              <a:gd name="connsiteY90" fmla="*/ 138812 h 152245"/>
              <a:gd name="connsiteX91" fmla="*/ 31345 w 152245"/>
              <a:gd name="connsiteY91" fmla="*/ 102990 h 152245"/>
              <a:gd name="connsiteX92" fmla="*/ 53734 w 152245"/>
              <a:gd name="connsiteY92" fmla="*/ 141499 h 152245"/>
              <a:gd name="connsiteX93" fmla="*/ 76571 w 152245"/>
              <a:gd name="connsiteY93" fmla="*/ 125827 h 152245"/>
              <a:gd name="connsiteX94" fmla="*/ 99855 w 152245"/>
              <a:gd name="connsiteY94" fmla="*/ 141051 h 152245"/>
              <a:gd name="connsiteX95" fmla="*/ 76571 w 152245"/>
              <a:gd name="connsiteY95" fmla="*/ 147768 h 152245"/>
              <a:gd name="connsiteX96" fmla="*/ 53734 w 152245"/>
              <a:gd name="connsiteY96" fmla="*/ 141499 h 152245"/>
              <a:gd name="connsiteX97" fmla="*/ 103437 w 152245"/>
              <a:gd name="connsiteY97" fmla="*/ 138365 h 152245"/>
              <a:gd name="connsiteX98" fmla="*/ 78362 w 152245"/>
              <a:gd name="connsiteY98" fmla="*/ 121797 h 152245"/>
              <a:gd name="connsiteX99" fmla="*/ 78362 w 152245"/>
              <a:gd name="connsiteY99" fmla="*/ 78362 h 152245"/>
              <a:gd name="connsiteX100" fmla="*/ 120901 w 152245"/>
              <a:gd name="connsiteY100" fmla="*/ 78362 h 152245"/>
              <a:gd name="connsiteX101" fmla="*/ 120901 w 152245"/>
              <a:gd name="connsiteY101" fmla="*/ 102990 h 152245"/>
              <a:gd name="connsiteX102" fmla="*/ 103437 w 152245"/>
              <a:gd name="connsiteY102" fmla="*/ 13836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2245" h="152245">
                <a:moveTo>
                  <a:pt x="150007" y="94034"/>
                </a:moveTo>
                <a:lnTo>
                  <a:pt x="125379" y="94034"/>
                </a:lnTo>
                <a:lnTo>
                  <a:pt x="125379" y="71197"/>
                </a:lnTo>
                <a:cubicBezTo>
                  <a:pt x="132991" y="70302"/>
                  <a:pt x="138812" y="63585"/>
                  <a:pt x="138812" y="55973"/>
                </a:cubicBezTo>
                <a:lnTo>
                  <a:pt x="138812" y="48360"/>
                </a:lnTo>
                <a:cubicBezTo>
                  <a:pt x="138812" y="47017"/>
                  <a:pt x="137917" y="46121"/>
                  <a:pt x="136573" y="46121"/>
                </a:cubicBezTo>
                <a:cubicBezTo>
                  <a:pt x="135230" y="46121"/>
                  <a:pt x="134335" y="47017"/>
                  <a:pt x="134335" y="48360"/>
                </a:cubicBezTo>
                <a:lnTo>
                  <a:pt x="134335" y="55973"/>
                </a:lnTo>
                <a:cubicBezTo>
                  <a:pt x="134335" y="61346"/>
                  <a:pt x="130304" y="65824"/>
                  <a:pt x="124931" y="67167"/>
                </a:cubicBezTo>
                <a:cubicBezTo>
                  <a:pt x="123588" y="59555"/>
                  <a:pt x="117319" y="53734"/>
                  <a:pt x="109707" y="53734"/>
                </a:cubicBezTo>
                <a:lnTo>
                  <a:pt x="98512" y="53734"/>
                </a:lnTo>
                <a:lnTo>
                  <a:pt x="98512" y="49256"/>
                </a:lnTo>
                <a:cubicBezTo>
                  <a:pt x="98512" y="47017"/>
                  <a:pt x="98064" y="45226"/>
                  <a:pt x="97616" y="43435"/>
                </a:cubicBezTo>
                <a:lnTo>
                  <a:pt x="111050" y="30897"/>
                </a:lnTo>
                <a:cubicBezTo>
                  <a:pt x="111498" y="30449"/>
                  <a:pt x="111945" y="30001"/>
                  <a:pt x="111945" y="29106"/>
                </a:cubicBezTo>
                <a:lnTo>
                  <a:pt x="111945" y="2239"/>
                </a:lnTo>
                <a:cubicBezTo>
                  <a:pt x="111945" y="895"/>
                  <a:pt x="111050" y="0"/>
                  <a:pt x="109707" y="0"/>
                </a:cubicBezTo>
                <a:cubicBezTo>
                  <a:pt x="108363" y="0"/>
                  <a:pt x="107468" y="895"/>
                  <a:pt x="107468" y="2239"/>
                </a:cubicBezTo>
                <a:lnTo>
                  <a:pt x="107468" y="28210"/>
                </a:lnTo>
                <a:lnTo>
                  <a:pt x="95825" y="38957"/>
                </a:lnTo>
                <a:cubicBezTo>
                  <a:pt x="92243" y="31793"/>
                  <a:pt x="84631" y="26867"/>
                  <a:pt x="76123" y="26867"/>
                </a:cubicBezTo>
                <a:cubicBezTo>
                  <a:pt x="67615" y="26867"/>
                  <a:pt x="60003" y="31793"/>
                  <a:pt x="56420" y="38957"/>
                </a:cubicBezTo>
                <a:lnTo>
                  <a:pt x="44778" y="28210"/>
                </a:lnTo>
                <a:lnTo>
                  <a:pt x="44778" y="2239"/>
                </a:lnTo>
                <a:cubicBezTo>
                  <a:pt x="44778" y="895"/>
                  <a:pt x="43883" y="0"/>
                  <a:pt x="42539" y="0"/>
                </a:cubicBezTo>
                <a:cubicBezTo>
                  <a:pt x="41196" y="0"/>
                  <a:pt x="40300" y="895"/>
                  <a:pt x="40300" y="2239"/>
                </a:cubicBezTo>
                <a:lnTo>
                  <a:pt x="40300" y="29106"/>
                </a:lnTo>
                <a:cubicBezTo>
                  <a:pt x="40300" y="29554"/>
                  <a:pt x="40748" y="30449"/>
                  <a:pt x="41196" y="30897"/>
                </a:cubicBezTo>
                <a:lnTo>
                  <a:pt x="54629" y="43435"/>
                </a:lnTo>
                <a:cubicBezTo>
                  <a:pt x="54181" y="45226"/>
                  <a:pt x="53734" y="47017"/>
                  <a:pt x="53734" y="49256"/>
                </a:cubicBezTo>
                <a:lnTo>
                  <a:pt x="53734" y="53734"/>
                </a:lnTo>
                <a:lnTo>
                  <a:pt x="42539" y="53734"/>
                </a:lnTo>
                <a:cubicBezTo>
                  <a:pt x="34927" y="53734"/>
                  <a:pt x="28210" y="59555"/>
                  <a:pt x="27315" y="67167"/>
                </a:cubicBezTo>
                <a:cubicBezTo>
                  <a:pt x="21941" y="66272"/>
                  <a:pt x="17911" y="61794"/>
                  <a:pt x="17911" y="55973"/>
                </a:cubicBezTo>
                <a:lnTo>
                  <a:pt x="17911" y="48360"/>
                </a:lnTo>
                <a:cubicBezTo>
                  <a:pt x="17911" y="47017"/>
                  <a:pt x="17016" y="46121"/>
                  <a:pt x="15672" y="46121"/>
                </a:cubicBezTo>
                <a:cubicBezTo>
                  <a:pt x="14329" y="46121"/>
                  <a:pt x="13433" y="47017"/>
                  <a:pt x="13433" y="48360"/>
                </a:cubicBezTo>
                <a:lnTo>
                  <a:pt x="13433" y="55973"/>
                </a:lnTo>
                <a:cubicBezTo>
                  <a:pt x="13433" y="64033"/>
                  <a:pt x="19255" y="70302"/>
                  <a:pt x="26867" y="71197"/>
                </a:cubicBezTo>
                <a:lnTo>
                  <a:pt x="26867" y="94034"/>
                </a:lnTo>
                <a:lnTo>
                  <a:pt x="2239" y="94034"/>
                </a:lnTo>
                <a:cubicBezTo>
                  <a:pt x="896" y="94034"/>
                  <a:pt x="0" y="94930"/>
                  <a:pt x="0" y="96273"/>
                </a:cubicBezTo>
                <a:cubicBezTo>
                  <a:pt x="0" y="97616"/>
                  <a:pt x="896" y="98512"/>
                  <a:pt x="2239" y="98512"/>
                </a:cubicBezTo>
                <a:lnTo>
                  <a:pt x="26867" y="98512"/>
                </a:lnTo>
                <a:lnTo>
                  <a:pt x="26867" y="102990"/>
                </a:lnTo>
                <a:cubicBezTo>
                  <a:pt x="26867" y="108811"/>
                  <a:pt x="27763" y="114184"/>
                  <a:pt x="29553" y="119558"/>
                </a:cubicBezTo>
                <a:lnTo>
                  <a:pt x="29106" y="119558"/>
                </a:lnTo>
                <a:cubicBezTo>
                  <a:pt x="20598" y="119558"/>
                  <a:pt x="13433" y="126722"/>
                  <a:pt x="13433" y="135230"/>
                </a:cubicBezTo>
                <a:lnTo>
                  <a:pt x="13433" y="142842"/>
                </a:lnTo>
                <a:cubicBezTo>
                  <a:pt x="13433" y="144186"/>
                  <a:pt x="14329" y="145081"/>
                  <a:pt x="15672" y="145081"/>
                </a:cubicBezTo>
                <a:cubicBezTo>
                  <a:pt x="17016" y="145081"/>
                  <a:pt x="17911" y="144186"/>
                  <a:pt x="17911" y="142842"/>
                </a:cubicBezTo>
                <a:lnTo>
                  <a:pt x="17911" y="135230"/>
                </a:lnTo>
                <a:cubicBezTo>
                  <a:pt x="17911" y="128961"/>
                  <a:pt x="22837" y="124035"/>
                  <a:pt x="29106" y="124035"/>
                </a:cubicBezTo>
                <a:lnTo>
                  <a:pt x="31792" y="124035"/>
                </a:lnTo>
                <a:cubicBezTo>
                  <a:pt x="35375" y="132096"/>
                  <a:pt x="41196" y="138812"/>
                  <a:pt x="48360" y="143738"/>
                </a:cubicBezTo>
                <a:cubicBezTo>
                  <a:pt x="48360" y="143738"/>
                  <a:pt x="48360" y="143738"/>
                  <a:pt x="48360" y="143738"/>
                </a:cubicBezTo>
                <a:cubicBezTo>
                  <a:pt x="56420" y="149111"/>
                  <a:pt x="65824" y="152246"/>
                  <a:pt x="76123" y="152246"/>
                </a:cubicBezTo>
                <a:cubicBezTo>
                  <a:pt x="86870" y="152246"/>
                  <a:pt x="96273" y="149111"/>
                  <a:pt x="104333" y="143290"/>
                </a:cubicBezTo>
                <a:cubicBezTo>
                  <a:pt x="104333" y="143290"/>
                  <a:pt x="104781" y="143290"/>
                  <a:pt x="104781" y="142842"/>
                </a:cubicBezTo>
                <a:cubicBezTo>
                  <a:pt x="111498" y="137917"/>
                  <a:pt x="116871" y="131648"/>
                  <a:pt x="120453" y="124035"/>
                </a:cubicBezTo>
                <a:lnTo>
                  <a:pt x="123140" y="124035"/>
                </a:lnTo>
                <a:cubicBezTo>
                  <a:pt x="129409" y="124035"/>
                  <a:pt x="134335" y="128961"/>
                  <a:pt x="134335" y="135230"/>
                </a:cubicBezTo>
                <a:lnTo>
                  <a:pt x="134335" y="142842"/>
                </a:lnTo>
                <a:cubicBezTo>
                  <a:pt x="134335" y="144186"/>
                  <a:pt x="135230" y="145081"/>
                  <a:pt x="136573" y="145081"/>
                </a:cubicBezTo>
                <a:cubicBezTo>
                  <a:pt x="137917" y="145081"/>
                  <a:pt x="138812" y="144186"/>
                  <a:pt x="138812" y="142842"/>
                </a:cubicBezTo>
                <a:lnTo>
                  <a:pt x="138812" y="135230"/>
                </a:lnTo>
                <a:cubicBezTo>
                  <a:pt x="138812" y="126722"/>
                  <a:pt x="131648" y="119558"/>
                  <a:pt x="123140" y="119558"/>
                </a:cubicBezTo>
                <a:lnTo>
                  <a:pt x="122692" y="119558"/>
                </a:lnTo>
                <a:cubicBezTo>
                  <a:pt x="124483" y="114184"/>
                  <a:pt x="125379" y="108811"/>
                  <a:pt x="125379" y="102990"/>
                </a:cubicBezTo>
                <a:lnTo>
                  <a:pt x="125379" y="98512"/>
                </a:lnTo>
                <a:lnTo>
                  <a:pt x="150007" y="98512"/>
                </a:lnTo>
                <a:cubicBezTo>
                  <a:pt x="151350" y="98512"/>
                  <a:pt x="152246" y="97616"/>
                  <a:pt x="152246" y="96273"/>
                </a:cubicBezTo>
                <a:cubicBezTo>
                  <a:pt x="152246" y="94930"/>
                  <a:pt x="151350" y="94034"/>
                  <a:pt x="150007" y="94034"/>
                </a:cubicBezTo>
                <a:close/>
                <a:moveTo>
                  <a:pt x="58212" y="49256"/>
                </a:moveTo>
                <a:cubicBezTo>
                  <a:pt x="58212" y="39405"/>
                  <a:pt x="66272" y="31345"/>
                  <a:pt x="76123" y="31345"/>
                </a:cubicBezTo>
                <a:cubicBezTo>
                  <a:pt x="85974" y="31345"/>
                  <a:pt x="94034" y="39405"/>
                  <a:pt x="94034" y="49256"/>
                </a:cubicBezTo>
                <a:lnTo>
                  <a:pt x="94034" y="53734"/>
                </a:lnTo>
                <a:lnTo>
                  <a:pt x="58212" y="53734"/>
                </a:lnTo>
                <a:lnTo>
                  <a:pt x="58212" y="49256"/>
                </a:lnTo>
                <a:close/>
                <a:moveTo>
                  <a:pt x="42539" y="58212"/>
                </a:moveTo>
                <a:lnTo>
                  <a:pt x="109707" y="58212"/>
                </a:lnTo>
                <a:cubicBezTo>
                  <a:pt x="115975" y="58212"/>
                  <a:pt x="120901" y="63137"/>
                  <a:pt x="120901" y="69406"/>
                </a:cubicBezTo>
                <a:lnTo>
                  <a:pt x="120901" y="73884"/>
                </a:lnTo>
                <a:lnTo>
                  <a:pt x="31345" y="73884"/>
                </a:lnTo>
                <a:lnTo>
                  <a:pt x="31345" y="69406"/>
                </a:lnTo>
                <a:cubicBezTo>
                  <a:pt x="31345" y="63137"/>
                  <a:pt x="36718" y="58212"/>
                  <a:pt x="42539" y="58212"/>
                </a:cubicBezTo>
                <a:close/>
                <a:moveTo>
                  <a:pt x="31345" y="102990"/>
                </a:moveTo>
                <a:lnTo>
                  <a:pt x="31345" y="78362"/>
                </a:lnTo>
                <a:lnTo>
                  <a:pt x="73884" y="78362"/>
                </a:lnTo>
                <a:lnTo>
                  <a:pt x="73884" y="121797"/>
                </a:lnTo>
                <a:lnTo>
                  <a:pt x="49256" y="138812"/>
                </a:lnTo>
                <a:cubicBezTo>
                  <a:pt x="38509" y="130752"/>
                  <a:pt x="31345" y="117767"/>
                  <a:pt x="31345" y="102990"/>
                </a:cubicBezTo>
                <a:close/>
                <a:moveTo>
                  <a:pt x="53734" y="141499"/>
                </a:moveTo>
                <a:lnTo>
                  <a:pt x="76571" y="125827"/>
                </a:lnTo>
                <a:lnTo>
                  <a:pt x="99855" y="141051"/>
                </a:lnTo>
                <a:cubicBezTo>
                  <a:pt x="93139" y="145081"/>
                  <a:pt x="85079" y="147768"/>
                  <a:pt x="76571" y="147768"/>
                </a:cubicBezTo>
                <a:cubicBezTo>
                  <a:pt x="68063" y="147768"/>
                  <a:pt x="60451" y="145529"/>
                  <a:pt x="53734" y="141499"/>
                </a:cubicBezTo>
                <a:close/>
                <a:moveTo>
                  <a:pt x="103437" y="138365"/>
                </a:moveTo>
                <a:lnTo>
                  <a:pt x="78362" y="121797"/>
                </a:lnTo>
                <a:lnTo>
                  <a:pt x="78362" y="78362"/>
                </a:lnTo>
                <a:lnTo>
                  <a:pt x="120901" y="78362"/>
                </a:lnTo>
                <a:lnTo>
                  <a:pt x="120901" y="102990"/>
                </a:lnTo>
                <a:cubicBezTo>
                  <a:pt x="120901" y="117319"/>
                  <a:pt x="114184" y="130305"/>
                  <a:pt x="103437" y="138365"/>
                </a:cubicBezTo>
                <a:close/>
              </a:path>
            </a:pathLst>
          </a:custGeom>
          <a:solidFill>
            <a:srgbClr val="231F20"/>
          </a:solidFill>
          <a:ln w="4474" cap="flat">
            <a:noFill/>
            <a:prstDash val="solid"/>
            <a:miter/>
          </a:ln>
        </p:spPr>
        <p:txBody>
          <a:bodyPr rtlCol="0" anchor="ctr"/>
          <a:lstStyle/>
          <a:p>
            <a:endParaRPr lang="en-US"/>
          </a:p>
        </p:txBody>
      </p:sp>
      <p:grpSp>
        <p:nvGrpSpPr>
          <p:cNvPr id="4255" name="Group 4254">
            <a:extLst>
              <a:ext uri="{FF2B5EF4-FFF2-40B4-BE49-F238E27FC236}">
                <a16:creationId xmlns:a16="http://schemas.microsoft.com/office/drawing/2014/main" id="{253E7E02-7613-4E82-9322-DCC985FAFE88}"/>
              </a:ext>
              <a:ext uri="{C183D7F6-B498-43B3-948B-1728B52AA6E4}">
                <adec:decorative xmlns:adec="http://schemas.microsoft.com/office/drawing/2017/decorative" val="1"/>
              </a:ext>
            </a:extLst>
          </p:cNvPr>
          <p:cNvGrpSpPr>
            <a:grpSpLocks noChangeAspect="1"/>
          </p:cNvGrpSpPr>
          <p:nvPr/>
        </p:nvGrpSpPr>
        <p:grpSpPr>
          <a:xfrm>
            <a:off x="3982530" y="3339823"/>
            <a:ext cx="125379" cy="138812"/>
            <a:chOff x="4023284" y="2604384"/>
            <a:chExt cx="125379" cy="138812"/>
          </a:xfrm>
        </p:grpSpPr>
        <p:sp>
          <p:nvSpPr>
            <p:cNvPr id="4256" name="Freeform: Shape 4255">
              <a:extLst>
                <a:ext uri="{FF2B5EF4-FFF2-40B4-BE49-F238E27FC236}">
                  <a16:creationId xmlns:a16="http://schemas.microsoft.com/office/drawing/2014/main" id="{7A394BD2-8709-44DF-9737-420A0F14A6DA}"/>
                </a:ext>
              </a:extLst>
            </p:cNvPr>
            <p:cNvSpPr/>
            <p:nvPr/>
          </p:nvSpPr>
          <p:spPr>
            <a:xfrm>
              <a:off x="4023284" y="2604384"/>
              <a:ext cx="125379" cy="138812"/>
            </a:xfrm>
            <a:custGeom>
              <a:avLst/>
              <a:gdLst>
                <a:gd name="connsiteX0" fmla="*/ 125379 w 125378"/>
                <a:gd name="connsiteY0" fmla="*/ 25971 h 138812"/>
                <a:gd name="connsiteX1" fmla="*/ 125379 w 125378"/>
                <a:gd name="connsiteY1" fmla="*/ 25971 h 138812"/>
                <a:gd name="connsiteX2" fmla="*/ 62689 w 125378"/>
                <a:gd name="connsiteY2" fmla="*/ 0 h 138812"/>
                <a:gd name="connsiteX3" fmla="*/ 0 w 125378"/>
                <a:gd name="connsiteY3" fmla="*/ 25523 h 138812"/>
                <a:gd name="connsiteX4" fmla="*/ 0 w 125378"/>
                <a:gd name="connsiteY4" fmla="*/ 25971 h 138812"/>
                <a:gd name="connsiteX5" fmla="*/ 0 w 125378"/>
                <a:gd name="connsiteY5" fmla="*/ 26419 h 138812"/>
                <a:gd name="connsiteX6" fmla="*/ 0 w 125378"/>
                <a:gd name="connsiteY6" fmla="*/ 112841 h 138812"/>
                <a:gd name="connsiteX7" fmla="*/ 0 w 125378"/>
                <a:gd name="connsiteY7" fmla="*/ 113289 h 138812"/>
                <a:gd name="connsiteX8" fmla="*/ 0 w 125378"/>
                <a:gd name="connsiteY8" fmla="*/ 113737 h 138812"/>
                <a:gd name="connsiteX9" fmla="*/ 62689 w 125378"/>
                <a:gd name="connsiteY9" fmla="*/ 139260 h 138812"/>
                <a:gd name="connsiteX10" fmla="*/ 64928 w 125378"/>
                <a:gd name="connsiteY10" fmla="*/ 137021 h 138812"/>
                <a:gd name="connsiteX11" fmla="*/ 62689 w 125378"/>
                <a:gd name="connsiteY11" fmla="*/ 134782 h 138812"/>
                <a:gd name="connsiteX12" fmla="*/ 4478 w 125378"/>
                <a:gd name="connsiteY12" fmla="*/ 113737 h 138812"/>
                <a:gd name="connsiteX13" fmla="*/ 4478 w 125378"/>
                <a:gd name="connsiteY13" fmla="*/ 113289 h 138812"/>
                <a:gd name="connsiteX14" fmla="*/ 4478 w 125378"/>
                <a:gd name="connsiteY14" fmla="*/ 112841 h 138812"/>
                <a:gd name="connsiteX15" fmla="*/ 4478 w 125378"/>
                <a:gd name="connsiteY15" fmla="*/ 94034 h 138812"/>
                <a:gd name="connsiteX16" fmla="*/ 62689 w 125378"/>
                <a:gd name="connsiteY16" fmla="*/ 110154 h 138812"/>
                <a:gd name="connsiteX17" fmla="*/ 64928 w 125378"/>
                <a:gd name="connsiteY17" fmla="*/ 107915 h 138812"/>
                <a:gd name="connsiteX18" fmla="*/ 62689 w 125378"/>
                <a:gd name="connsiteY18" fmla="*/ 105677 h 138812"/>
                <a:gd name="connsiteX19" fmla="*/ 4478 w 125378"/>
                <a:gd name="connsiteY19" fmla="*/ 84631 h 138812"/>
                <a:gd name="connsiteX20" fmla="*/ 4478 w 125378"/>
                <a:gd name="connsiteY20" fmla="*/ 64481 h 138812"/>
                <a:gd name="connsiteX21" fmla="*/ 62689 w 125378"/>
                <a:gd name="connsiteY21" fmla="*/ 80601 h 138812"/>
                <a:gd name="connsiteX22" fmla="*/ 120901 w 125378"/>
                <a:gd name="connsiteY22" fmla="*/ 64481 h 138812"/>
                <a:gd name="connsiteX23" fmla="*/ 120901 w 125378"/>
                <a:gd name="connsiteY23" fmla="*/ 81049 h 138812"/>
                <a:gd name="connsiteX24" fmla="*/ 123140 w 125378"/>
                <a:gd name="connsiteY24" fmla="*/ 83287 h 138812"/>
                <a:gd name="connsiteX25" fmla="*/ 125379 w 125378"/>
                <a:gd name="connsiteY25" fmla="*/ 81049 h 138812"/>
                <a:gd name="connsiteX26" fmla="*/ 125379 w 125378"/>
                <a:gd name="connsiteY26" fmla="*/ 25971 h 138812"/>
                <a:gd name="connsiteX27" fmla="*/ 125379 w 125378"/>
                <a:gd name="connsiteY27" fmla="*/ 25971 h 138812"/>
                <a:gd name="connsiteX28" fmla="*/ 62689 w 125378"/>
                <a:gd name="connsiteY28" fmla="*/ 4478 h 138812"/>
                <a:gd name="connsiteX29" fmla="*/ 120901 w 125378"/>
                <a:gd name="connsiteY29" fmla="*/ 25523 h 138812"/>
                <a:gd name="connsiteX30" fmla="*/ 62689 w 125378"/>
                <a:gd name="connsiteY30" fmla="*/ 46569 h 138812"/>
                <a:gd name="connsiteX31" fmla="*/ 4478 w 125378"/>
                <a:gd name="connsiteY31" fmla="*/ 25523 h 138812"/>
                <a:gd name="connsiteX32" fmla="*/ 62689 w 125378"/>
                <a:gd name="connsiteY32" fmla="*/ 4478 h 138812"/>
                <a:gd name="connsiteX33" fmla="*/ 120901 w 125378"/>
                <a:gd name="connsiteY33" fmla="*/ 55077 h 138812"/>
                <a:gd name="connsiteX34" fmla="*/ 62689 w 125378"/>
                <a:gd name="connsiteY34" fmla="*/ 76123 h 138812"/>
                <a:gd name="connsiteX35" fmla="*/ 4478 w 125378"/>
                <a:gd name="connsiteY35" fmla="*/ 55077 h 138812"/>
                <a:gd name="connsiteX36" fmla="*/ 4478 w 125378"/>
                <a:gd name="connsiteY36" fmla="*/ 35375 h 138812"/>
                <a:gd name="connsiteX37" fmla="*/ 62689 w 125378"/>
                <a:gd name="connsiteY37" fmla="*/ 51495 h 138812"/>
                <a:gd name="connsiteX38" fmla="*/ 120901 w 125378"/>
                <a:gd name="connsiteY38" fmla="*/ 35375 h 138812"/>
                <a:gd name="connsiteX39" fmla="*/ 120901 w 125378"/>
                <a:gd name="connsiteY39" fmla="*/ 55077 h 138812"/>
                <a:gd name="connsiteX40" fmla="*/ 120901 w 125378"/>
                <a:gd name="connsiteY40" fmla="*/ 55077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5378" h="138812">
                  <a:moveTo>
                    <a:pt x="125379" y="25971"/>
                  </a:moveTo>
                  <a:cubicBezTo>
                    <a:pt x="125379" y="25971"/>
                    <a:pt x="125379" y="25971"/>
                    <a:pt x="125379" y="25971"/>
                  </a:cubicBez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289"/>
                    <a:pt x="0" y="113737"/>
                  </a:cubicBezTo>
                  <a:cubicBezTo>
                    <a:pt x="0" y="128066"/>
                    <a:pt x="27315" y="139260"/>
                    <a:pt x="62689" y="139260"/>
                  </a:cubicBezTo>
                  <a:cubicBezTo>
                    <a:pt x="64033" y="139260"/>
                    <a:pt x="64928" y="138365"/>
                    <a:pt x="64928" y="137021"/>
                  </a:cubicBezTo>
                  <a:cubicBezTo>
                    <a:pt x="64928" y="135678"/>
                    <a:pt x="64033" y="134782"/>
                    <a:pt x="62689" y="134782"/>
                  </a:cubicBezTo>
                  <a:cubicBezTo>
                    <a:pt x="27763" y="134782"/>
                    <a:pt x="4478" y="124035"/>
                    <a:pt x="4478" y="113737"/>
                  </a:cubicBezTo>
                  <a:cubicBezTo>
                    <a:pt x="4478" y="113737"/>
                    <a:pt x="4478" y="113737"/>
                    <a:pt x="4478" y="113289"/>
                  </a:cubicBezTo>
                  <a:cubicBezTo>
                    <a:pt x="4478" y="113289"/>
                    <a:pt x="4478" y="113289"/>
                    <a:pt x="4478" y="112841"/>
                  </a:cubicBezTo>
                  <a:lnTo>
                    <a:pt x="4478" y="94034"/>
                  </a:lnTo>
                  <a:cubicBezTo>
                    <a:pt x="13433" y="103438"/>
                    <a:pt x="35823" y="110154"/>
                    <a:pt x="62689" y="110154"/>
                  </a:cubicBezTo>
                  <a:cubicBezTo>
                    <a:pt x="64033" y="110154"/>
                    <a:pt x="64928" y="109259"/>
                    <a:pt x="64928" y="107915"/>
                  </a:cubicBezTo>
                  <a:cubicBezTo>
                    <a:pt x="64928" y="106572"/>
                    <a:pt x="64033" y="105677"/>
                    <a:pt x="62689" y="105677"/>
                  </a:cubicBezTo>
                  <a:cubicBezTo>
                    <a:pt x="27763" y="105677"/>
                    <a:pt x="4478" y="94930"/>
                    <a:pt x="4478" y="84631"/>
                  </a:cubicBezTo>
                  <a:lnTo>
                    <a:pt x="4478" y="64481"/>
                  </a:lnTo>
                  <a:cubicBezTo>
                    <a:pt x="13433" y="73884"/>
                    <a:pt x="35823" y="80601"/>
                    <a:pt x="62689" y="80601"/>
                  </a:cubicBezTo>
                  <a:cubicBezTo>
                    <a:pt x="89556" y="80601"/>
                    <a:pt x="111945" y="73884"/>
                    <a:pt x="120901" y="64481"/>
                  </a:cubicBezTo>
                  <a:lnTo>
                    <a:pt x="120901" y="81049"/>
                  </a:lnTo>
                  <a:cubicBezTo>
                    <a:pt x="120901" y="82392"/>
                    <a:pt x="121797" y="83287"/>
                    <a:pt x="123140" y="83287"/>
                  </a:cubicBezTo>
                  <a:cubicBezTo>
                    <a:pt x="124484" y="83287"/>
                    <a:pt x="125379" y="82392"/>
                    <a:pt x="125379" y="81049"/>
                  </a:cubicBezTo>
                  <a:lnTo>
                    <a:pt x="125379" y="25971"/>
                  </a:lnTo>
                  <a:cubicBezTo>
                    <a:pt x="125379" y="26419"/>
                    <a:pt x="125379" y="25971"/>
                    <a:pt x="125379" y="25971"/>
                  </a:cubicBezTo>
                  <a:close/>
                  <a:moveTo>
                    <a:pt x="62689" y="4478"/>
                  </a:moveTo>
                  <a:cubicBezTo>
                    <a:pt x="97617" y="4478"/>
                    <a:pt x="120901" y="15225"/>
                    <a:pt x="120901" y="25523"/>
                  </a:cubicBezTo>
                  <a:cubicBezTo>
                    <a:pt x="120901" y="35823"/>
                    <a:pt x="97617" y="46569"/>
                    <a:pt x="62689" y="46569"/>
                  </a:cubicBezTo>
                  <a:cubicBezTo>
                    <a:pt x="27763" y="46569"/>
                    <a:pt x="4478" y="35823"/>
                    <a:pt x="4478" y="25523"/>
                  </a:cubicBezTo>
                  <a:cubicBezTo>
                    <a:pt x="4478" y="15225"/>
                    <a:pt x="27763" y="4478"/>
                    <a:pt x="62689" y="4478"/>
                  </a:cubicBezTo>
                  <a:close/>
                  <a:moveTo>
                    <a:pt x="120901" y="55077"/>
                  </a:moveTo>
                  <a:cubicBezTo>
                    <a:pt x="120901" y="65376"/>
                    <a:pt x="97617" y="76123"/>
                    <a:pt x="62689" y="76123"/>
                  </a:cubicBezTo>
                  <a:cubicBezTo>
                    <a:pt x="27763" y="76123"/>
                    <a:pt x="4478" y="65376"/>
                    <a:pt x="4478" y="55077"/>
                  </a:cubicBezTo>
                  <a:lnTo>
                    <a:pt x="4478" y="35375"/>
                  </a:lnTo>
                  <a:cubicBezTo>
                    <a:pt x="13433" y="44778"/>
                    <a:pt x="35823" y="51495"/>
                    <a:pt x="62689" y="51495"/>
                  </a:cubicBezTo>
                  <a:cubicBezTo>
                    <a:pt x="89556" y="51495"/>
                    <a:pt x="111945" y="44778"/>
                    <a:pt x="120901" y="35375"/>
                  </a:cubicBezTo>
                  <a:lnTo>
                    <a:pt x="120901" y="55077"/>
                  </a:lnTo>
                  <a:cubicBezTo>
                    <a:pt x="120901" y="55077"/>
                    <a:pt x="120901" y="55077"/>
                    <a:pt x="120901" y="55077"/>
                  </a:cubicBezTo>
                  <a:close/>
                </a:path>
              </a:pathLst>
            </a:custGeom>
            <a:solidFill>
              <a:srgbClr val="231F20"/>
            </a:solidFill>
            <a:ln w="4474" cap="flat">
              <a:noFill/>
              <a:prstDash val="solid"/>
              <a:miter/>
            </a:ln>
          </p:spPr>
          <p:txBody>
            <a:bodyPr rtlCol="0" anchor="ctr"/>
            <a:lstStyle/>
            <a:p>
              <a:endParaRPr lang="en-US"/>
            </a:p>
          </p:txBody>
        </p:sp>
        <p:sp>
          <p:nvSpPr>
            <p:cNvPr id="4257" name="Freeform: Shape 4256">
              <a:extLst>
                <a:ext uri="{FF2B5EF4-FFF2-40B4-BE49-F238E27FC236}">
                  <a16:creationId xmlns:a16="http://schemas.microsoft.com/office/drawing/2014/main" id="{CE73F85F-1341-41CC-9AB9-0F9A6815C353}"/>
                </a:ext>
              </a:extLst>
            </p:cNvPr>
            <p:cNvSpPr/>
            <p:nvPr/>
          </p:nvSpPr>
          <p:spPr>
            <a:xfrm>
              <a:off x="4104556" y="2703568"/>
              <a:ext cx="35823" cy="35823"/>
            </a:xfrm>
            <a:custGeom>
              <a:avLst/>
              <a:gdLst>
                <a:gd name="connsiteX0" fmla="*/ 22613 w 35822"/>
                <a:gd name="connsiteY0" fmla="*/ 19926 h 35822"/>
                <a:gd name="connsiteX1" fmla="*/ 38285 w 35822"/>
                <a:gd name="connsiteY1" fmla="*/ 3806 h 35822"/>
                <a:gd name="connsiteX2" fmla="*/ 38285 w 35822"/>
                <a:gd name="connsiteY2" fmla="*/ 672 h 35822"/>
                <a:gd name="connsiteX3" fmla="*/ 35151 w 35822"/>
                <a:gd name="connsiteY3" fmla="*/ 672 h 35822"/>
                <a:gd name="connsiteX4" fmla="*/ 19478 w 35822"/>
                <a:gd name="connsiteY4" fmla="*/ 16792 h 35822"/>
                <a:gd name="connsiteX5" fmla="*/ 3806 w 35822"/>
                <a:gd name="connsiteY5" fmla="*/ 672 h 35822"/>
                <a:gd name="connsiteX6" fmla="*/ 672 w 35822"/>
                <a:gd name="connsiteY6" fmla="*/ 672 h 35822"/>
                <a:gd name="connsiteX7" fmla="*/ 672 w 35822"/>
                <a:gd name="connsiteY7" fmla="*/ 3806 h 35822"/>
                <a:gd name="connsiteX8" fmla="*/ 16344 w 35822"/>
                <a:gd name="connsiteY8" fmla="*/ 19926 h 35822"/>
                <a:gd name="connsiteX9" fmla="*/ 672 w 35822"/>
                <a:gd name="connsiteY9" fmla="*/ 36046 h 35822"/>
                <a:gd name="connsiteX10" fmla="*/ 672 w 35822"/>
                <a:gd name="connsiteY10" fmla="*/ 39181 h 35822"/>
                <a:gd name="connsiteX11" fmla="*/ 2463 w 35822"/>
                <a:gd name="connsiteY11" fmla="*/ 39629 h 35822"/>
                <a:gd name="connsiteX12" fmla="*/ 4254 w 35822"/>
                <a:gd name="connsiteY12" fmla="*/ 39181 h 35822"/>
                <a:gd name="connsiteX13" fmla="*/ 19926 w 35822"/>
                <a:gd name="connsiteY13" fmla="*/ 23061 h 35822"/>
                <a:gd name="connsiteX14" fmla="*/ 35599 w 35822"/>
                <a:gd name="connsiteY14" fmla="*/ 39181 h 35822"/>
                <a:gd name="connsiteX15" fmla="*/ 37390 w 35822"/>
                <a:gd name="connsiteY15" fmla="*/ 39629 h 35822"/>
                <a:gd name="connsiteX16" fmla="*/ 39181 w 35822"/>
                <a:gd name="connsiteY16" fmla="*/ 39181 h 35822"/>
                <a:gd name="connsiteX17" fmla="*/ 39181 w 35822"/>
                <a:gd name="connsiteY17" fmla="*/ 36046 h 35822"/>
                <a:gd name="connsiteX18" fmla="*/ 22613 w 35822"/>
                <a:gd name="connsiteY18" fmla="*/ 1992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22" h="35822">
                  <a:moveTo>
                    <a:pt x="22613" y="19926"/>
                  </a:moveTo>
                  <a:lnTo>
                    <a:pt x="38285" y="3806"/>
                  </a:lnTo>
                  <a:cubicBezTo>
                    <a:pt x="39181" y="2911"/>
                    <a:pt x="39181" y="1567"/>
                    <a:pt x="38285" y="672"/>
                  </a:cubicBezTo>
                  <a:cubicBezTo>
                    <a:pt x="37390" y="-224"/>
                    <a:pt x="36046" y="-224"/>
                    <a:pt x="35151" y="672"/>
                  </a:cubicBezTo>
                  <a:lnTo>
                    <a:pt x="19478" y="16792"/>
                  </a:lnTo>
                  <a:lnTo>
                    <a:pt x="3806" y="672"/>
                  </a:lnTo>
                  <a:cubicBezTo>
                    <a:pt x="2911" y="-224"/>
                    <a:pt x="1567" y="-224"/>
                    <a:pt x="672" y="672"/>
                  </a:cubicBezTo>
                  <a:cubicBezTo>
                    <a:pt x="-224" y="1567"/>
                    <a:pt x="-224" y="2911"/>
                    <a:pt x="672" y="3806"/>
                  </a:cubicBezTo>
                  <a:lnTo>
                    <a:pt x="16344" y="19926"/>
                  </a:lnTo>
                  <a:lnTo>
                    <a:pt x="672" y="36046"/>
                  </a:lnTo>
                  <a:cubicBezTo>
                    <a:pt x="-224" y="36942"/>
                    <a:pt x="-224" y="38285"/>
                    <a:pt x="672" y="39181"/>
                  </a:cubicBezTo>
                  <a:cubicBezTo>
                    <a:pt x="1119" y="39629"/>
                    <a:pt x="1567" y="39629"/>
                    <a:pt x="2463" y="39629"/>
                  </a:cubicBezTo>
                  <a:cubicBezTo>
                    <a:pt x="2911" y="39629"/>
                    <a:pt x="3806" y="39629"/>
                    <a:pt x="4254" y="39181"/>
                  </a:cubicBezTo>
                  <a:lnTo>
                    <a:pt x="19926" y="23061"/>
                  </a:lnTo>
                  <a:lnTo>
                    <a:pt x="35599" y="39181"/>
                  </a:lnTo>
                  <a:cubicBezTo>
                    <a:pt x="36046" y="39629"/>
                    <a:pt x="36494" y="39629"/>
                    <a:pt x="37390" y="39629"/>
                  </a:cubicBezTo>
                  <a:cubicBezTo>
                    <a:pt x="37838" y="39629"/>
                    <a:pt x="38733" y="39629"/>
                    <a:pt x="39181" y="39181"/>
                  </a:cubicBezTo>
                  <a:cubicBezTo>
                    <a:pt x="40076" y="38285"/>
                    <a:pt x="40076" y="36942"/>
                    <a:pt x="39181" y="36046"/>
                  </a:cubicBezTo>
                  <a:lnTo>
                    <a:pt x="22613" y="19926"/>
                  </a:lnTo>
                  <a:close/>
                </a:path>
              </a:pathLst>
            </a:custGeom>
            <a:solidFill>
              <a:srgbClr val="231F20"/>
            </a:solidFill>
            <a:ln w="4474" cap="flat">
              <a:noFill/>
              <a:prstDash val="solid"/>
              <a:miter/>
            </a:ln>
          </p:spPr>
          <p:txBody>
            <a:bodyPr rtlCol="0" anchor="ctr"/>
            <a:lstStyle/>
            <a:p>
              <a:endParaRPr lang="en-US"/>
            </a:p>
          </p:txBody>
        </p:sp>
      </p:grpSp>
      <p:grpSp>
        <p:nvGrpSpPr>
          <p:cNvPr id="4258" name="Group 4257">
            <a:extLst>
              <a:ext uri="{FF2B5EF4-FFF2-40B4-BE49-F238E27FC236}">
                <a16:creationId xmlns:a16="http://schemas.microsoft.com/office/drawing/2014/main" id="{5DA16B8D-8383-46F8-B877-22C17995E752}"/>
              </a:ext>
              <a:ext uri="{C183D7F6-B498-43B3-948B-1728B52AA6E4}">
                <adec:decorative xmlns:adec="http://schemas.microsoft.com/office/drawing/2017/decorative" val="1"/>
              </a:ext>
            </a:extLst>
          </p:cNvPr>
          <p:cNvGrpSpPr>
            <a:grpSpLocks noChangeAspect="1"/>
          </p:cNvGrpSpPr>
          <p:nvPr/>
        </p:nvGrpSpPr>
        <p:grpSpPr>
          <a:xfrm>
            <a:off x="557895" y="3638046"/>
            <a:ext cx="135230" cy="136574"/>
            <a:chOff x="598649" y="2902607"/>
            <a:chExt cx="135230" cy="136574"/>
          </a:xfrm>
        </p:grpSpPr>
        <p:sp>
          <p:nvSpPr>
            <p:cNvPr id="4259" name="Freeform: Shape 4258">
              <a:extLst>
                <a:ext uri="{FF2B5EF4-FFF2-40B4-BE49-F238E27FC236}">
                  <a16:creationId xmlns:a16="http://schemas.microsoft.com/office/drawing/2014/main" id="{8F8B00B5-E0FA-485D-8B5C-652515592F79}"/>
                </a:ext>
              </a:extLst>
            </p:cNvPr>
            <p:cNvSpPr/>
            <p:nvPr/>
          </p:nvSpPr>
          <p:spPr>
            <a:xfrm>
              <a:off x="598649" y="2902607"/>
              <a:ext cx="125379" cy="134335"/>
            </a:xfrm>
            <a:custGeom>
              <a:avLst/>
              <a:gdLst>
                <a:gd name="connsiteX0" fmla="*/ 125379 w 125378"/>
                <a:gd name="connsiteY0" fmla="*/ 25523 h 134334"/>
                <a:gd name="connsiteX1" fmla="*/ 62689 w 125378"/>
                <a:gd name="connsiteY1" fmla="*/ 0 h 134334"/>
                <a:gd name="connsiteX2" fmla="*/ 0 w 125378"/>
                <a:gd name="connsiteY2" fmla="*/ 25523 h 134334"/>
                <a:gd name="connsiteX3" fmla="*/ 0 w 125378"/>
                <a:gd name="connsiteY3" fmla="*/ 25971 h 134334"/>
                <a:gd name="connsiteX4" fmla="*/ 0 w 125378"/>
                <a:gd name="connsiteY4" fmla="*/ 26419 h 134334"/>
                <a:gd name="connsiteX5" fmla="*/ 0 w 125378"/>
                <a:gd name="connsiteY5" fmla="*/ 112841 h 134334"/>
                <a:gd name="connsiteX6" fmla="*/ 0 w 125378"/>
                <a:gd name="connsiteY6" fmla="*/ 113289 h 134334"/>
                <a:gd name="connsiteX7" fmla="*/ 0 w 125378"/>
                <a:gd name="connsiteY7" fmla="*/ 113737 h 134334"/>
                <a:gd name="connsiteX8" fmla="*/ 46122 w 125378"/>
                <a:gd name="connsiteY8" fmla="*/ 138365 h 134334"/>
                <a:gd name="connsiteX9" fmla="*/ 46569 w 125378"/>
                <a:gd name="connsiteY9" fmla="*/ 138365 h 134334"/>
                <a:gd name="connsiteX10" fmla="*/ 48808 w 125378"/>
                <a:gd name="connsiteY10" fmla="*/ 136573 h 134334"/>
                <a:gd name="connsiteX11" fmla="*/ 47017 w 125378"/>
                <a:gd name="connsiteY11" fmla="*/ 133887 h 134334"/>
                <a:gd name="connsiteX12" fmla="*/ 4926 w 125378"/>
                <a:gd name="connsiteY12" fmla="*/ 113289 h 134334"/>
                <a:gd name="connsiteX13" fmla="*/ 4926 w 125378"/>
                <a:gd name="connsiteY13" fmla="*/ 113289 h 134334"/>
                <a:gd name="connsiteX14" fmla="*/ 4926 w 125378"/>
                <a:gd name="connsiteY14" fmla="*/ 112841 h 134334"/>
                <a:gd name="connsiteX15" fmla="*/ 4926 w 125378"/>
                <a:gd name="connsiteY15" fmla="*/ 94482 h 134334"/>
                <a:gd name="connsiteX16" fmla="*/ 51943 w 125378"/>
                <a:gd name="connsiteY16" fmla="*/ 109259 h 134334"/>
                <a:gd name="connsiteX17" fmla="*/ 51943 w 125378"/>
                <a:gd name="connsiteY17" fmla="*/ 109259 h 134334"/>
                <a:gd name="connsiteX18" fmla="*/ 54182 w 125378"/>
                <a:gd name="connsiteY18" fmla="*/ 107020 h 134334"/>
                <a:gd name="connsiteX19" fmla="*/ 51943 w 125378"/>
                <a:gd name="connsiteY19" fmla="*/ 104781 h 134334"/>
                <a:gd name="connsiteX20" fmla="*/ 4926 w 125378"/>
                <a:gd name="connsiteY20" fmla="*/ 83735 h 134334"/>
                <a:gd name="connsiteX21" fmla="*/ 4926 w 125378"/>
                <a:gd name="connsiteY21" fmla="*/ 65376 h 134334"/>
                <a:gd name="connsiteX22" fmla="*/ 7612 w 125378"/>
                <a:gd name="connsiteY22" fmla="*/ 68063 h 134334"/>
                <a:gd name="connsiteX23" fmla="*/ 60898 w 125378"/>
                <a:gd name="connsiteY23" fmla="*/ 80153 h 134334"/>
                <a:gd name="connsiteX24" fmla="*/ 77466 w 125378"/>
                <a:gd name="connsiteY24" fmla="*/ 79705 h 134334"/>
                <a:gd name="connsiteX25" fmla="*/ 79705 w 125378"/>
                <a:gd name="connsiteY25" fmla="*/ 77466 h 134334"/>
                <a:gd name="connsiteX26" fmla="*/ 77466 w 125378"/>
                <a:gd name="connsiteY26" fmla="*/ 75227 h 134334"/>
                <a:gd name="connsiteX27" fmla="*/ 11195 w 125378"/>
                <a:gd name="connsiteY27" fmla="*/ 64928 h 134334"/>
                <a:gd name="connsiteX28" fmla="*/ 5821 w 125378"/>
                <a:gd name="connsiteY28" fmla="*/ 54629 h 134334"/>
                <a:gd name="connsiteX29" fmla="*/ 5821 w 125378"/>
                <a:gd name="connsiteY29" fmla="*/ 34927 h 134334"/>
                <a:gd name="connsiteX30" fmla="*/ 64033 w 125378"/>
                <a:gd name="connsiteY30" fmla="*/ 51047 h 134334"/>
                <a:gd name="connsiteX31" fmla="*/ 122244 w 125378"/>
                <a:gd name="connsiteY31" fmla="*/ 34927 h 134334"/>
                <a:gd name="connsiteX32" fmla="*/ 122244 w 125378"/>
                <a:gd name="connsiteY32" fmla="*/ 42091 h 134334"/>
                <a:gd name="connsiteX33" fmla="*/ 124483 w 125378"/>
                <a:gd name="connsiteY33" fmla="*/ 44330 h 134334"/>
                <a:gd name="connsiteX34" fmla="*/ 126722 w 125378"/>
                <a:gd name="connsiteY34" fmla="*/ 42091 h 134334"/>
                <a:gd name="connsiteX35" fmla="*/ 126722 w 125378"/>
                <a:gd name="connsiteY35" fmla="*/ 25971 h 134334"/>
                <a:gd name="connsiteX36" fmla="*/ 125379 w 125378"/>
                <a:gd name="connsiteY36" fmla="*/ 25523 h 134334"/>
                <a:gd name="connsiteX37" fmla="*/ 125379 w 125378"/>
                <a:gd name="connsiteY37" fmla="*/ 25523 h 134334"/>
                <a:gd name="connsiteX38" fmla="*/ 62689 w 125378"/>
                <a:gd name="connsiteY38" fmla="*/ 46569 h 134334"/>
                <a:gd name="connsiteX39" fmla="*/ 4478 w 125378"/>
                <a:gd name="connsiteY39" fmla="*/ 25523 h 134334"/>
                <a:gd name="connsiteX40" fmla="*/ 62689 w 125378"/>
                <a:gd name="connsiteY40" fmla="*/ 4478 h 134334"/>
                <a:gd name="connsiteX41" fmla="*/ 120901 w 125378"/>
                <a:gd name="connsiteY41" fmla="*/ 25523 h 134334"/>
                <a:gd name="connsiteX42" fmla="*/ 62689 w 125378"/>
                <a:gd name="connsiteY42" fmla="*/ 46569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378" h="134334">
                  <a:moveTo>
                    <a:pt x="125379" y="25523"/>
                  </a:moveTo>
                  <a:cubicBezTo>
                    <a:pt x="125379" y="11195"/>
                    <a:pt x="98064" y="0"/>
                    <a:pt x="62689" y="0"/>
                  </a:cubicBezTo>
                  <a:cubicBezTo>
                    <a:pt x="27315" y="0"/>
                    <a:pt x="0" y="11195"/>
                    <a:pt x="0" y="25523"/>
                  </a:cubicBezTo>
                  <a:cubicBezTo>
                    <a:pt x="0" y="25523"/>
                    <a:pt x="0" y="25971"/>
                    <a:pt x="0" y="25971"/>
                  </a:cubicBezTo>
                  <a:cubicBezTo>
                    <a:pt x="0" y="25971"/>
                    <a:pt x="0" y="25971"/>
                    <a:pt x="0" y="26419"/>
                  </a:cubicBezTo>
                  <a:lnTo>
                    <a:pt x="0" y="112841"/>
                  </a:lnTo>
                  <a:cubicBezTo>
                    <a:pt x="0" y="112841"/>
                    <a:pt x="0" y="112841"/>
                    <a:pt x="0" y="113289"/>
                  </a:cubicBezTo>
                  <a:cubicBezTo>
                    <a:pt x="0" y="113289"/>
                    <a:pt x="0" y="113737"/>
                    <a:pt x="0" y="113737"/>
                  </a:cubicBezTo>
                  <a:cubicBezTo>
                    <a:pt x="896" y="126722"/>
                    <a:pt x="16120" y="135230"/>
                    <a:pt x="46122" y="138365"/>
                  </a:cubicBezTo>
                  <a:cubicBezTo>
                    <a:pt x="46122" y="138365"/>
                    <a:pt x="46122" y="138365"/>
                    <a:pt x="46569" y="138365"/>
                  </a:cubicBezTo>
                  <a:cubicBezTo>
                    <a:pt x="47913" y="138365"/>
                    <a:pt x="48808" y="137469"/>
                    <a:pt x="48808" y="136573"/>
                  </a:cubicBezTo>
                  <a:cubicBezTo>
                    <a:pt x="48808" y="135230"/>
                    <a:pt x="47913" y="134335"/>
                    <a:pt x="47017" y="133887"/>
                  </a:cubicBezTo>
                  <a:cubicBezTo>
                    <a:pt x="13433" y="130304"/>
                    <a:pt x="5373" y="120901"/>
                    <a:pt x="4926" y="113289"/>
                  </a:cubicBezTo>
                  <a:cubicBezTo>
                    <a:pt x="4926" y="113289"/>
                    <a:pt x="4926" y="113289"/>
                    <a:pt x="4926" y="113289"/>
                  </a:cubicBezTo>
                  <a:cubicBezTo>
                    <a:pt x="4926" y="113289"/>
                    <a:pt x="4926" y="113289"/>
                    <a:pt x="4926" y="112841"/>
                  </a:cubicBezTo>
                  <a:lnTo>
                    <a:pt x="4926" y="94482"/>
                  </a:lnTo>
                  <a:cubicBezTo>
                    <a:pt x="12090" y="102542"/>
                    <a:pt x="28210" y="107468"/>
                    <a:pt x="51943" y="109259"/>
                  </a:cubicBezTo>
                  <a:cubicBezTo>
                    <a:pt x="51943" y="109259"/>
                    <a:pt x="51943" y="109259"/>
                    <a:pt x="51943" y="109259"/>
                  </a:cubicBezTo>
                  <a:cubicBezTo>
                    <a:pt x="53286" y="109259"/>
                    <a:pt x="54182" y="108363"/>
                    <a:pt x="54182" y="107020"/>
                  </a:cubicBezTo>
                  <a:cubicBezTo>
                    <a:pt x="54182" y="105676"/>
                    <a:pt x="53286" y="104781"/>
                    <a:pt x="51943" y="104781"/>
                  </a:cubicBezTo>
                  <a:cubicBezTo>
                    <a:pt x="22389" y="102542"/>
                    <a:pt x="5373" y="95377"/>
                    <a:pt x="4926" y="83735"/>
                  </a:cubicBezTo>
                  <a:lnTo>
                    <a:pt x="4926" y="65376"/>
                  </a:lnTo>
                  <a:cubicBezTo>
                    <a:pt x="5821" y="66272"/>
                    <a:pt x="6269" y="67167"/>
                    <a:pt x="7612" y="68063"/>
                  </a:cubicBezTo>
                  <a:cubicBezTo>
                    <a:pt x="19702" y="78362"/>
                    <a:pt x="44330" y="80153"/>
                    <a:pt x="60898" y="80153"/>
                  </a:cubicBezTo>
                  <a:cubicBezTo>
                    <a:pt x="69854" y="80153"/>
                    <a:pt x="76571" y="79705"/>
                    <a:pt x="77466" y="79705"/>
                  </a:cubicBezTo>
                  <a:cubicBezTo>
                    <a:pt x="78810" y="79705"/>
                    <a:pt x="79705" y="78362"/>
                    <a:pt x="79705" y="77466"/>
                  </a:cubicBezTo>
                  <a:cubicBezTo>
                    <a:pt x="79705" y="76571"/>
                    <a:pt x="78362" y="75227"/>
                    <a:pt x="77466" y="75227"/>
                  </a:cubicBezTo>
                  <a:cubicBezTo>
                    <a:pt x="60451" y="76571"/>
                    <a:pt x="24628" y="76571"/>
                    <a:pt x="11195" y="64928"/>
                  </a:cubicBezTo>
                  <a:cubicBezTo>
                    <a:pt x="7612" y="62242"/>
                    <a:pt x="6269" y="58659"/>
                    <a:pt x="5821" y="54629"/>
                  </a:cubicBezTo>
                  <a:lnTo>
                    <a:pt x="5821" y="34927"/>
                  </a:lnTo>
                  <a:cubicBezTo>
                    <a:pt x="14777" y="44330"/>
                    <a:pt x="37166" y="51047"/>
                    <a:pt x="64033" y="51047"/>
                  </a:cubicBezTo>
                  <a:cubicBezTo>
                    <a:pt x="90900" y="51047"/>
                    <a:pt x="113289" y="44330"/>
                    <a:pt x="122244" y="34927"/>
                  </a:cubicBezTo>
                  <a:lnTo>
                    <a:pt x="122244" y="42091"/>
                  </a:lnTo>
                  <a:cubicBezTo>
                    <a:pt x="122244" y="43435"/>
                    <a:pt x="123140" y="44330"/>
                    <a:pt x="124483" y="44330"/>
                  </a:cubicBezTo>
                  <a:cubicBezTo>
                    <a:pt x="125827" y="44330"/>
                    <a:pt x="126722" y="43435"/>
                    <a:pt x="126722" y="42091"/>
                  </a:cubicBezTo>
                  <a:lnTo>
                    <a:pt x="126722" y="25971"/>
                  </a:lnTo>
                  <a:cubicBezTo>
                    <a:pt x="125379" y="25971"/>
                    <a:pt x="125379" y="25971"/>
                    <a:pt x="125379" y="25523"/>
                  </a:cubicBezTo>
                  <a:cubicBezTo>
                    <a:pt x="125379" y="25523"/>
                    <a:pt x="125379" y="25523"/>
                    <a:pt x="125379" y="25523"/>
                  </a:cubicBezTo>
                  <a:close/>
                  <a:moveTo>
                    <a:pt x="62689" y="46569"/>
                  </a:moveTo>
                  <a:cubicBezTo>
                    <a:pt x="27762" y="46569"/>
                    <a:pt x="4478" y="35823"/>
                    <a:pt x="4478" y="25523"/>
                  </a:cubicBezTo>
                  <a:cubicBezTo>
                    <a:pt x="4478" y="15225"/>
                    <a:pt x="27762" y="4478"/>
                    <a:pt x="62689" y="4478"/>
                  </a:cubicBezTo>
                  <a:cubicBezTo>
                    <a:pt x="97616" y="4478"/>
                    <a:pt x="120901" y="15225"/>
                    <a:pt x="120901" y="25523"/>
                  </a:cubicBezTo>
                  <a:cubicBezTo>
                    <a:pt x="120901" y="35823"/>
                    <a:pt x="97169" y="46569"/>
                    <a:pt x="62689" y="46569"/>
                  </a:cubicBezTo>
                  <a:close/>
                </a:path>
              </a:pathLst>
            </a:custGeom>
            <a:solidFill>
              <a:srgbClr val="231F20"/>
            </a:solidFill>
            <a:ln w="4474" cap="flat">
              <a:noFill/>
              <a:prstDash val="solid"/>
              <a:miter/>
            </a:ln>
          </p:spPr>
          <p:txBody>
            <a:bodyPr rtlCol="0" anchor="ctr"/>
            <a:lstStyle/>
            <a:p>
              <a:endParaRPr lang="en-US"/>
            </a:p>
          </p:txBody>
        </p:sp>
        <p:sp>
          <p:nvSpPr>
            <p:cNvPr id="4260" name="Freeform: Shape 4259">
              <a:extLst>
                <a:ext uri="{FF2B5EF4-FFF2-40B4-BE49-F238E27FC236}">
                  <a16:creationId xmlns:a16="http://schemas.microsoft.com/office/drawing/2014/main" id="{0BF72B7B-75F1-4EB2-A262-7934A8CAE33B}"/>
                </a:ext>
              </a:extLst>
            </p:cNvPr>
            <p:cNvSpPr/>
            <p:nvPr/>
          </p:nvSpPr>
          <p:spPr>
            <a:xfrm>
              <a:off x="657756" y="2954102"/>
              <a:ext cx="76123" cy="85079"/>
            </a:xfrm>
            <a:custGeom>
              <a:avLst/>
              <a:gdLst>
                <a:gd name="connsiteX0" fmla="*/ 77466 w 76122"/>
                <a:gd name="connsiteY0" fmla="*/ 0 h 85078"/>
                <a:gd name="connsiteX1" fmla="*/ 52390 w 76122"/>
                <a:gd name="connsiteY1" fmla="*/ 0 h 85078"/>
                <a:gd name="connsiteX2" fmla="*/ 50152 w 76122"/>
                <a:gd name="connsiteY2" fmla="*/ 2239 h 85078"/>
                <a:gd name="connsiteX3" fmla="*/ 50152 w 76122"/>
                <a:gd name="connsiteY3" fmla="*/ 19702 h 85078"/>
                <a:gd name="connsiteX4" fmla="*/ 27315 w 76122"/>
                <a:gd name="connsiteY4" fmla="*/ 19702 h 85078"/>
                <a:gd name="connsiteX5" fmla="*/ 25076 w 76122"/>
                <a:gd name="connsiteY5" fmla="*/ 21941 h 85078"/>
                <a:gd name="connsiteX6" fmla="*/ 25076 w 76122"/>
                <a:gd name="connsiteY6" fmla="*/ 39405 h 85078"/>
                <a:gd name="connsiteX7" fmla="*/ 2239 w 76122"/>
                <a:gd name="connsiteY7" fmla="*/ 39405 h 85078"/>
                <a:gd name="connsiteX8" fmla="*/ 0 w 76122"/>
                <a:gd name="connsiteY8" fmla="*/ 41644 h 85078"/>
                <a:gd name="connsiteX9" fmla="*/ 0 w 76122"/>
                <a:gd name="connsiteY9" fmla="*/ 85079 h 85078"/>
                <a:gd name="connsiteX10" fmla="*/ 2239 w 76122"/>
                <a:gd name="connsiteY10" fmla="*/ 87317 h 85078"/>
                <a:gd name="connsiteX11" fmla="*/ 27315 w 76122"/>
                <a:gd name="connsiteY11" fmla="*/ 87317 h 85078"/>
                <a:gd name="connsiteX12" fmla="*/ 52390 w 76122"/>
                <a:gd name="connsiteY12" fmla="*/ 87317 h 85078"/>
                <a:gd name="connsiteX13" fmla="*/ 77466 w 76122"/>
                <a:gd name="connsiteY13" fmla="*/ 87317 h 85078"/>
                <a:gd name="connsiteX14" fmla="*/ 79705 w 76122"/>
                <a:gd name="connsiteY14" fmla="*/ 85079 h 85078"/>
                <a:gd name="connsiteX15" fmla="*/ 79705 w 76122"/>
                <a:gd name="connsiteY15" fmla="*/ 2687 h 85078"/>
                <a:gd name="connsiteX16" fmla="*/ 77466 w 76122"/>
                <a:gd name="connsiteY16" fmla="*/ 0 h 85078"/>
                <a:gd name="connsiteX17" fmla="*/ 4926 w 76122"/>
                <a:gd name="connsiteY17" fmla="*/ 43883 h 85078"/>
                <a:gd name="connsiteX18" fmla="*/ 25524 w 76122"/>
                <a:gd name="connsiteY18" fmla="*/ 43883 h 85078"/>
                <a:gd name="connsiteX19" fmla="*/ 25524 w 76122"/>
                <a:gd name="connsiteY19" fmla="*/ 82840 h 85078"/>
                <a:gd name="connsiteX20" fmla="*/ 4926 w 76122"/>
                <a:gd name="connsiteY20" fmla="*/ 82840 h 85078"/>
                <a:gd name="connsiteX21" fmla="*/ 4926 w 76122"/>
                <a:gd name="connsiteY21" fmla="*/ 43883 h 85078"/>
                <a:gd name="connsiteX22" fmla="*/ 30001 w 76122"/>
                <a:gd name="connsiteY22" fmla="*/ 41644 h 85078"/>
                <a:gd name="connsiteX23" fmla="*/ 30001 w 76122"/>
                <a:gd name="connsiteY23" fmla="*/ 24180 h 85078"/>
                <a:gd name="connsiteX24" fmla="*/ 50599 w 76122"/>
                <a:gd name="connsiteY24" fmla="*/ 24180 h 85078"/>
                <a:gd name="connsiteX25" fmla="*/ 50599 w 76122"/>
                <a:gd name="connsiteY25" fmla="*/ 82840 h 85078"/>
                <a:gd name="connsiteX26" fmla="*/ 30001 w 76122"/>
                <a:gd name="connsiteY26" fmla="*/ 82840 h 85078"/>
                <a:gd name="connsiteX27" fmla="*/ 30001 w 76122"/>
                <a:gd name="connsiteY27" fmla="*/ 41644 h 85078"/>
                <a:gd name="connsiteX28" fmla="*/ 75227 w 76122"/>
                <a:gd name="connsiteY28" fmla="*/ 82840 h 85078"/>
                <a:gd name="connsiteX29" fmla="*/ 54629 w 76122"/>
                <a:gd name="connsiteY29" fmla="*/ 82840 h 85078"/>
                <a:gd name="connsiteX30" fmla="*/ 54629 w 76122"/>
                <a:gd name="connsiteY30" fmla="*/ 21941 h 85078"/>
                <a:gd name="connsiteX31" fmla="*/ 54629 w 76122"/>
                <a:gd name="connsiteY31" fmla="*/ 4478 h 85078"/>
                <a:gd name="connsiteX32" fmla="*/ 75227 w 76122"/>
                <a:gd name="connsiteY32" fmla="*/ 4478 h 85078"/>
                <a:gd name="connsiteX33" fmla="*/ 75227 w 76122"/>
                <a:gd name="connsiteY33" fmla="*/ 82840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122" h="85078">
                  <a:moveTo>
                    <a:pt x="77466" y="0"/>
                  </a:moveTo>
                  <a:lnTo>
                    <a:pt x="52390" y="0"/>
                  </a:lnTo>
                  <a:cubicBezTo>
                    <a:pt x="51047" y="0"/>
                    <a:pt x="50152" y="895"/>
                    <a:pt x="50152" y="2239"/>
                  </a:cubicBezTo>
                  <a:lnTo>
                    <a:pt x="50152" y="19702"/>
                  </a:lnTo>
                  <a:lnTo>
                    <a:pt x="27315" y="19702"/>
                  </a:lnTo>
                  <a:cubicBezTo>
                    <a:pt x="25971" y="19702"/>
                    <a:pt x="25076" y="20598"/>
                    <a:pt x="25076" y="21941"/>
                  </a:cubicBezTo>
                  <a:lnTo>
                    <a:pt x="25076" y="39405"/>
                  </a:lnTo>
                  <a:lnTo>
                    <a:pt x="2239" y="39405"/>
                  </a:lnTo>
                  <a:cubicBezTo>
                    <a:pt x="896" y="39405"/>
                    <a:pt x="0" y="40300"/>
                    <a:pt x="0" y="41644"/>
                  </a:cubicBezTo>
                  <a:lnTo>
                    <a:pt x="0" y="85079"/>
                  </a:lnTo>
                  <a:cubicBezTo>
                    <a:pt x="0" y="86422"/>
                    <a:pt x="896" y="87317"/>
                    <a:pt x="2239" y="87317"/>
                  </a:cubicBezTo>
                  <a:lnTo>
                    <a:pt x="27315" y="87317"/>
                  </a:lnTo>
                  <a:lnTo>
                    <a:pt x="52390" y="87317"/>
                  </a:lnTo>
                  <a:lnTo>
                    <a:pt x="77466" y="87317"/>
                  </a:lnTo>
                  <a:cubicBezTo>
                    <a:pt x="78810" y="87317"/>
                    <a:pt x="79705" y="86422"/>
                    <a:pt x="79705" y="85079"/>
                  </a:cubicBezTo>
                  <a:lnTo>
                    <a:pt x="79705" y="2687"/>
                  </a:lnTo>
                  <a:cubicBezTo>
                    <a:pt x="79705" y="1343"/>
                    <a:pt x="78810" y="0"/>
                    <a:pt x="77466" y="0"/>
                  </a:cubicBezTo>
                  <a:close/>
                  <a:moveTo>
                    <a:pt x="4926" y="43883"/>
                  </a:moveTo>
                  <a:lnTo>
                    <a:pt x="25524" y="43883"/>
                  </a:lnTo>
                  <a:lnTo>
                    <a:pt x="25524" y="82840"/>
                  </a:lnTo>
                  <a:lnTo>
                    <a:pt x="4926" y="82840"/>
                  </a:lnTo>
                  <a:lnTo>
                    <a:pt x="4926" y="43883"/>
                  </a:lnTo>
                  <a:close/>
                  <a:moveTo>
                    <a:pt x="30001" y="41644"/>
                  </a:moveTo>
                  <a:lnTo>
                    <a:pt x="30001" y="24180"/>
                  </a:lnTo>
                  <a:lnTo>
                    <a:pt x="50599" y="24180"/>
                  </a:lnTo>
                  <a:lnTo>
                    <a:pt x="50599" y="82840"/>
                  </a:lnTo>
                  <a:lnTo>
                    <a:pt x="30001" y="82840"/>
                  </a:lnTo>
                  <a:lnTo>
                    <a:pt x="30001" y="41644"/>
                  </a:lnTo>
                  <a:close/>
                  <a:moveTo>
                    <a:pt x="75227" y="82840"/>
                  </a:moveTo>
                  <a:lnTo>
                    <a:pt x="54629" y="82840"/>
                  </a:lnTo>
                  <a:lnTo>
                    <a:pt x="54629" y="21941"/>
                  </a:lnTo>
                  <a:lnTo>
                    <a:pt x="54629" y="4478"/>
                  </a:lnTo>
                  <a:lnTo>
                    <a:pt x="75227" y="4478"/>
                  </a:lnTo>
                  <a:lnTo>
                    <a:pt x="75227" y="82840"/>
                  </a:lnTo>
                  <a:close/>
                </a:path>
              </a:pathLst>
            </a:custGeom>
            <a:solidFill>
              <a:srgbClr val="231F20"/>
            </a:solidFill>
            <a:ln w="4474" cap="flat">
              <a:noFill/>
              <a:prstDash val="solid"/>
              <a:miter/>
            </a:ln>
          </p:spPr>
          <p:txBody>
            <a:bodyPr rtlCol="0" anchor="ctr"/>
            <a:lstStyle/>
            <a:p>
              <a:endParaRPr lang="en-US"/>
            </a:p>
          </p:txBody>
        </p:sp>
      </p:grpSp>
      <p:grpSp>
        <p:nvGrpSpPr>
          <p:cNvPr id="4261" name="Group 4260">
            <a:extLst>
              <a:ext uri="{FF2B5EF4-FFF2-40B4-BE49-F238E27FC236}">
                <a16:creationId xmlns:a16="http://schemas.microsoft.com/office/drawing/2014/main" id="{176045B8-ED71-4A05-AE73-D5EB239A2DB3}"/>
              </a:ext>
              <a:ext uri="{C183D7F6-B498-43B3-948B-1728B52AA6E4}">
                <adec:decorative xmlns:adec="http://schemas.microsoft.com/office/drawing/2017/decorative" val="1"/>
              </a:ext>
            </a:extLst>
          </p:cNvPr>
          <p:cNvGrpSpPr>
            <a:grpSpLocks noChangeAspect="1"/>
          </p:cNvGrpSpPr>
          <p:nvPr/>
        </p:nvGrpSpPr>
        <p:grpSpPr>
          <a:xfrm>
            <a:off x="1617346" y="3638046"/>
            <a:ext cx="125827" cy="120901"/>
            <a:chOff x="1658100" y="2902607"/>
            <a:chExt cx="125827" cy="120901"/>
          </a:xfrm>
        </p:grpSpPr>
        <p:sp>
          <p:nvSpPr>
            <p:cNvPr id="4262" name="Freeform: Shape 4261">
              <a:extLst>
                <a:ext uri="{FF2B5EF4-FFF2-40B4-BE49-F238E27FC236}">
                  <a16:creationId xmlns:a16="http://schemas.microsoft.com/office/drawing/2014/main" id="{0779EB1B-4000-4A13-9ABB-3B4BABAA623C}"/>
                </a:ext>
              </a:extLst>
            </p:cNvPr>
            <p:cNvSpPr/>
            <p:nvPr/>
          </p:nvSpPr>
          <p:spPr>
            <a:xfrm>
              <a:off x="1671534" y="2916041"/>
              <a:ext cx="17911" cy="4478"/>
            </a:xfrm>
            <a:custGeom>
              <a:avLst/>
              <a:gdLst>
                <a:gd name="connsiteX0" fmla="*/ 2239 w 17911"/>
                <a:gd name="connsiteY0" fmla="*/ 4478 h 4477"/>
                <a:gd name="connsiteX1" fmla="*/ 0 w 17911"/>
                <a:gd name="connsiteY1" fmla="*/ 2239 h 4477"/>
                <a:gd name="connsiteX2" fmla="*/ 2239 w 17911"/>
                <a:gd name="connsiteY2" fmla="*/ 0 h 4477"/>
                <a:gd name="connsiteX3" fmla="*/ 15672 w 17911"/>
                <a:gd name="connsiteY3" fmla="*/ 0 h 4477"/>
                <a:gd name="connsiteX4" fmla="*/ 17911 w 17911"/>
                <a:gd name="connsiteY4" fmla="*/ 2239 h 4477"/>
                <a:gd name="connsiteX5" fmla="*/ 15672 w 17911"/>
                <a:gd name="connsiteY5" fmla="*/ 4478 h 4477"/>
                <a:gd name="connsiteX6" fmla="*/ 2239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2239" y="4478"/>
                  </a:moveTo>
                  <a:cubicBezTo>
                    <a:pt x="896" y="4478"/>
                    <a:pt x="0" y="3582"/>
                    <a:pt x="0" y="2239"/>
                  </a:cubicBezTo>
                  <a:cubicBezTo>
                    <a:pt x="0" y="895"/>
                    <a:pt x="896" y="0"/>
                    <a:pt x="2239" y="0"/>
                  </a:cubicBezTo>
                  <a:lnTo>
                    <a:pt x="15672" y="0"/>
                  </a:lnTo>
                  <a:cubicBezTo>
                    <a:pt x="17016" y="0"/>
                    <a:pt x="17911" y="895"/>
                    <a:pt x="17911" y="2239"/>
                  </a:cubicBezTo>
                  <a:cubicBezTo>
                    <a:pt x="17911" y="3582"/>
                    <a:pt x="17016" y="4478"/>
                    <a:pt x="15672"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263" name="Freeform: Shape 4262">
              <a:extLst>
                <a:ext uri="{FF2B5EF4-FFF2-40B4-BE49-F238E27FC236}">
                  <a16:creationId xmlns:a16="http://schemas.microsoft.com/office/drawing/2014/main" id="{AF2E463F-15B1-4578-B628-7AE70827D196}"/>
                </a:ext>
              </a:extLst>
            </p:cNvPr>
            <p:cNvSpPr/>
            <p:nvPr/>
          </p:nvSpPr>
          <p:spPr>
            <a:xfrm>
              <a:off x="1671534" y="29563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4264" name="Freeform: Shape 4263">
              <a:extLst>
                <a:ext uri="{FF2B5EF4-FFF2-40B4-BE49-F238E27FC236}">
                  <a16:creationId xmlns:a16="http://schemas.microsoft.com/office/drawing/2014/main" id="{CF2B68DC-3D76-49DC-BD71-2B47BE00336E}"/>
                </a:ext>
              </a:extLst>
            </p:cNvPr>
            <p:cNvSpPr/>
            <p:nvPr/>
          </p:nvSpPr>
          <p:spPr>
            <a:xfrm>
              <a:off x="1671534" y="299664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5"/>
                    <a:pt x="896" y="0"/>
                    <a:pt x="2239" y="0"/>
                  </a:cubicBezTo>
                  <a:lnTo>
                    <a:pt x="15672" y="0"/>
                  </a:lnTo>
                  <a:cubicBezTo>
                    <a:pt x="17016" y="0"/>
                    <a:pt x="17911" y="895"/>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sp>
          <p:nvSpPr>
            <p:cNvPr id="4265" name="Freeform: Shape 4264">
              <a:extLst>
                <a:ext uri="{FF2B5EF4-FFF2-40B4-BE49-F238E27FC236}">
                  <a16:creationId xmlns:a16="http://schemas.microsoft.com/office/drawing/2014/main" id="{7DA01112-E839-4D33-876D-4CA7F6CD642B}"/>
                </a:ext>
              </a:extLst>
            </p:cNvPr>
            <p:cNvSpPr/>
            <p:nvPr/>
          </p:nvSpPr>
          <p:spPr>
            <a:xfrm>
              <a:off x="1658100" y="2902607"/>
              <a:ext cx="111945" cy="120901"/>
            </a:xfrm>
            <a:custGeom>
              <a:avLst/>
              <a:gdLst>
                <a:gd name="connsiteX0" fmla="*/ 98960 w 111945"/>
                <a:gd name="connsiteY0" fmla="*/ 0 h 120901"/>
                <a:gd name="connsiteX1" fmla="*/ 12986 w 111945"/>
                <a:gd name="connsiteY1" fmla="*/ 0 h 120901"/>
                <a:gd name="connsiteX2" fmla="*/ 0 w 111945"/>
                <a:gd name="connsiteY2" fmla="*/ 12538 h 120901"/>
                <a:gd name="connsiteX3" fmla="*/ 0 w 111945"/>
                <a:gd name="connsiteY3" fmla="*/ 42091 h 120901"/>
                <a:gd name="connsiteX4" fmla="*/ 0 w 111945"/>
                <a:gd name="connsiteY4" fmla="*/ 42539 h 120901"/>
                <a:gd name="connsiteX5" fmla="*/ 0 w 111945"/>
                <a:gd name="connsiteY5" fmla="*/ 42987 h 120901"/>
                <a:gd name="connsiteX6" fmla="*/ 0 w 111945"/>
                <a:gd name="connsiteY6" fmla="*/ 82392 h 120901"/>
                <a:gd name="connsiteX7" fmla="*/ 0 w 111945"/>
                <a:gd name="connsiteY7" fmla="*/ 82840 h 120901"/>
                <a:gd name="connsiteX8" fmla="*/ 0 w 111945"/>
                <a:gd name="connsiteY8" fmla="*/ 83287 h 120901"/>
                <a:gd name="connsiteX9" fmla="*/ 0 w 111945"/>
                <a:gd name="connsiteY9" fmla="*/ 112393 h 120901"/>
                <a:gd name="connsiteX10" fmla="*/ 12986 w 111945"/>
                <a:gd name="connsiteY10" fmla="*/ 124931 h 120901"/>
                <a:gd name="connsiteX11" fmla="*/ 76123 w 111945"/>
                <a:gd name="connsiteY11" fmla="*/ 124931 h 120901"/>
                <a:gd name="connsiteX12" fmla="*/ 78362 w 111945"/>
                <a:gd name="connsiteY12" fmla="*/ 122692 h 120901"/>
                <a:gd name="connsiteX13" fmla="*/ 76123 w 111945"/>
                <a:gd name="connsiteY13" fmla="*/ 120453 h 120901"/>
                <a:gd name="connsiteX14" fmla="*/ 12986 w 111945"/>
                <a:gd name="connsiteY14" fmla="*/ 120453 h 120901"/>
                <a:gd name="connsiteX15" fmla="*/ 4478 w 111945"/>
                <a:gd name="connsiteY15" fmla="*/ 112393 h 120901"/>
                <a:gd name="connsiteX16" fmla="*/ 4478 w 111945"/>
                <a:gd name="connsiteY16" fmla="*/ 84631 h 120901"/>
                <a:gd name="connsiteX17" fmla="*/ 69406 w 111945"/>
                <a:gd name="connsiteY17" fmla="*/ 84631 h 120901"/>
                <a:gd name="connsiteX18" fmla="*/ 71645 w 111945"/>
                <a:gd name="connsiteY18" fmla="*/ 82392 h 120901"/>
                <a:gd name="connsiteX19" fmla="*/ 69406 w 111945"/>
                <a:gd name="connsiteY19" fmla="*/ 80153 h 120901"/>
                <a:gd name="connsiteX20" fmla="*/ 4478 w 111945"/>
                <a:gd name="connsiteY20" fmla="*/ 80153 h 120901"/>
                <a:gd name="connsiteX21" fmla="*/ 4478 w 111945"/>
                <a:gd name="connsiteY21" fmla="*/ 44330 h 120901"/>
                <a:gd name="connsiteX22" fmla="*/ 107468 w 111945"/>
                <a:gd name="connsiteY22" fmla="*/ 44330 h 120901"/>
                <a:gd name="connsiteX23" fmla="*/ 107468 w 111945"/>
                <a:gd name="connsiteY23" fmla="*/ 68958 h 120901"/>
                <a:gd name="connsiteX24" fmla="*/ 109707 w 111945"/>
                <a:gd name="connsiteY24" fmla="*/ 71197 h 120901"/>
                <a:gd name="connsiteX25" fmla="*/ 111945 w 111945"/>
                <a:gd name="connsiteY25" fmla="*/ 68958 h 120901"/>
                <a:gd name="connsiteX26" fmla="*/ 111945 w 111945"/>
                <a:gd name="connsiteY26" fmla="*/ 12538 h 120901"/>
                <a:gd name="connsiteX27" fmla="*/ 98960 w 111945"/>
                <a:gd name="connsiteY27" fmla="*/ 0 h 120901"/>
                <a:gd name="connsiteX28" fmla="*/ 4478 w 111945"/>
                <a:gd name="connsiteY28" fmla="*/ 40300 h 120901"/>
                <a:gd name="connsiteX29" fmla="*/ 4478 w 111945"/>
                <a:gd name="connsiteY29" fmla="*/ 12538 h 120901"/>
                <a:gd name="connsiteX30" fmla="*/ 12986 w 111945"/>
                <a:gd name="connsiteY30" fmla="*/ 4478 h 120901"/>
                <a:gd name="connsiteX31" fmla="*/ 98960 w 111945"/>
                <a:gd name="connsiteY31" fmla="*/ 4478 h 120901"/>
                <a:gd name="connsiteX32" fmla="*/ 107468 w 111945"/>
                <a:gd name="connsiteY32" fmla="*/ 12538 h 120901"/>
                <a:gd name="connsiteX33" fmla="*/ 107468 w 111945"/>
                <a:gd name="connsiteY33" fmla="*/ 40300 h 120901"/>
                <a:gd name="connsiteX34" fmla="*/ 4478 w 111945"/>
                <a:gd name="connsiteY34" fmla="*/ 4030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945" h="120901">
                  <a:moveTo>
                    <a:pt x="98960" y="0"/>
                  </a:moveTo>
                  <a:lnTo>
                    <a:pt x="12986" y="0"/>
                  </a:lnTo>
                  <a:cubicBezTo>
                    <a:pt x="5821" y="0"/>
                    <a:pt x="0" y="5821"/>
                    <a:pt x="0" y="12538"/>
                  </a:cubicBezTo>
                  <a:lnTo>
                    <a:pt x="0" y="42091"/>
                  </a:lnTo>
                  <a:cubicBezTo>
                    <a:pt x="0" y="42091"/>
                    <a:pt x="0" y="42539"/>
                    <a:pt x="0" y="42539"/>
                  </a:cubicBezTo>
                  <a:cubicBezTo>
                    <a:pt x="0" y="42539"/>
                    <a:pt x="0" y="42987"/>
                    <a:pt x="0" y="42987"/>
                  </a:cubicBezTo>
                  <a:lnTo>
                    <a:pt x="0" y="82392"/>
                  </a:lnTo>
                  <a:cubicBezTo>
                    <a:pt x="0" y="82392"/>
                    <a:pt x="0" y="82840"/>
                    <a:pt x="0" y="82840"/>
                  </a:cubicBezTo>
                  <a:cubicBezTo>
                    <a:pt x="0" y="82840"/>
                    <a:pt x="0" y="83287"/>
                    <a:pt x="0" y="83287"/>
                  </a:cubicBezTo>
                  <a:lnTo>
                    <a:pt x="0" y="112393"/>
                  </a:lnTo>
                  <a:cubicBezTo>
                    <a:pt x="0" y="119558"/>
                    <a:pt x="5821" y="124931"/>
                    <a:pt x="12986" y="124931"/>
                  </a:cubicBezTo>
                  <a:lnTo>
                    <a:pt x="76123" y="124931"/>
                  </a:lnTo>
                  <a:cubicBezTo>
                    <a:pt x="77466" y="124931"/>
                    <a:pt x="78362" y="124035"/>
                    <a:pt x="78362" y="122692"/>
                  </a:cubicBezTo>
                  <a:cubicBezTo>
                    <a:pt x="78362" y="121349"/>
                    <a:pt x="77466" y="120453"/>
                    <a:pt x="76123" y="120453"/>
                  </a:cubicBezTo>
                  <a:lnTo>
                    <a:pt x="12986" y="120453"/>
                  </a:lnTo>
                  <a:cubicBezTo>
                    <a:pt x="8508" y="120453"/>
                    <a:pt x="4478" y="116871"/>
                    <a:pt x="4478" y="112393"/>
                  </a:cubicBezTo>
                  <a:lnTo>
                    <a:pt x="4478" y="84631"/>
                  </a:lnTo>
                  <a:lnTo>
                    <a:pt x="69406" y="84631"/>
                  </a:lnTo>
                  <a:cubicBezTo>
                    <a:pt x="70750" y="84631"/>
                    <a:pt x="71645" y="83735"/>
                    <a:pt x="71645" y="82392"/>
                  </a:cubicBezTo>
                  <a:cubicBezTo>
                    <a:pt x="71645" y="81048"/>
                    <a:pt x="70750" y="80153"/>
                    <a:pt x="69406" y="80153"/>
                  </a:cubicBezTo>
                  <a:lnTo>
                    <a:pt x="4478" y="80153"/>
                  </a:lnTo>
                  <a:lnTo>
                    <a:pt x="4478" y="44330"/>
                  </a:lnTo>
                  <a:lnTo>
                    <a:pt x="107468" y="44330"/>
                  </a:lnTo>
                  <a:lnTo>
                    <a:pt x="107468" y="68958"/>
                  </a:lnTo>
                  <a:cubicBezTo>
                    <a:pt x="107468" y="70302"/>
                    <a:pt x="108363" y="71197"/>
                    <a:pt x="109707" y="71197"/>
                  </a:cubicBezTo>
                  <a:cubicBezTo>
                    <a:pt x="111050" y="71197"/>
                    <a:pt x="111945" y="70302"/>
                    <a:pt x="111945" y="68958"/>
                  </a:cubicBezTo>
                  <a:lnTo>
                    <a:pt x="111945" y="12538"/>
                  </a:lnTo>
                  <a:cubicBezTo>
                    <a:pt x="111945" y="5373"/>
                    <a:pt x="106124" y="0"/>
                    <a:pt x="98960" y="0"/>
                  </a:cubicBezTo>
                  <a:close/>
                  <a:moveTo>
                    <a:pt x="4478" y="40300"/>
                  </a:moveTo>
                  <a:lnTo>
                    <a:pt x="4478" y="12538"/>
                  </a:lnTo>
                  <a:cubicBezTo>
                    <a:pt x="4478" y="8060"/>
                    <a:pt x="8508" y="4478"/>
                    <a:pt x="12986" y="4478"/>
                  </a:cubicBezTo>
                  <a:lnTo>
                    <a:pt x="98960" y="4478"/>
                  </a:lnTo>
                  <a:cubicBezTo>
                    <a:pt x="103438" y="4478"/>
                    <a:pt x="107468" y="8060"/>
                    <a:pt x="107468" y="12538"/>
                  </a:cubicBezTo>
                  <a:lnTo>
                    <a:pt x="107468" y="40300"/>
                  </a:lnTo>
                  <a:lnTo>
                    <a:pt x="4478" y="40300"/>
                  </a:lnTo>
                  <a:close/>
                </a:path>
              </a:pathLst>
            </a:custGeom>
            <a:solidFill>
              <a:srgbClr val="231F20"/>
            </a:solidFill>
            <a:ln w="4474" cap="flat">
              <a:noFill/>
              <a:prstDash val="solid"/>
              <a:miter/>
            </a:ln>
          </p:spPr>
          <p:txBody>
            <a:bodyPr rtlCol="0" anchor="ctr"/>
            <a:lstStyle/>
            <a:p>
              <a:endParaRPr lang="en-US"/>
            </a:p>
          </p:txBody>
        </p:sp>
        <p:sp>
          <p:nvSpPr>
            <p:cNvPr id="4266" name="Freeform: Shape 4265">
              <a:extLst>
                <a:ext uri="{FF2B5EF4-FFF2-40B4-BE49-F238E27FC236}">
                  <a16:creationId xmlns:a16="http://schemas.microsoft.com/office/drawing/2014/main" id="{750A629A-194D-4C1B-8D4D-E6B6E8B39475}"/>
                </a:ext>
              </a:extLst>
            </p:cNvPr>
            <p:cNvSpPr/>
            <p:nvPr/>
          </p:nvSpPr>
          <p:spPr>
            <a:xfrm>
              <a:off x="1739149" y="2978730"/>
              <a:ext cx="44778" cy="44778"/>
            </a:xfrm>
            <a:custGeom>
              <a:avLst/>
              <a:gdLst>
                <a:gd name="connsiteX0" fmla="*/ 42539 w 44778"/>
                <a:gd name="connsiteY0" fmla="*/ 10747 h 44778"/>
                <a:gd name="connsiteX1" fmla="*/ 23285 w 44778"/>
                <a:gd name="connsiteY1" fmla="*/ 0 h 44778"/>
                <a:gd name="connsiteX2" fmla="*/ 23285 w 44778"/>
                <a:gd name="connsiteY2" fmla="*/ 0 h 44778"/>
                <a:gd name="connsiteX3" fmla="*/ 22837 w 44778"/>
                <a:gd name="connsiteY3" fmla="*/ 0 h 44778"/>
                <a:gd name="connsiteX4" fmla="*/ 22389 w 44778"/>
                <a:gd name="connsiteY4" fmla="*/ 0 h 44778"/>
                <a:gd name="connsiteX5" fmla="*/ 21941 w 44778"/>
                <a:gd name="connsiteY5" fmla="*/ 0 h 44778"/>
                <a:gd name="connsiteX6" fmla="*/ 21493 w 44778"/>
                <a:gd name="connsiteY6" fmla="*/ 0 h 44778"/>
                <a:gd name="connsiteX7" fmla="*/ 21046 w 44778"/>
                <a:gd name="connsiteY7" fmla="*/ 0 h 44778"/>
                <a:gd name="connsiteX8" fmla="*/ 20598 w 44778"/>
                <a:gd name="connsiteY8" fmla="*/ 0 h 44778"/>
                <a:gd name="connsiteX9" fmla="*/ 20598 w 44778"/>
                <a:gd name="connsiteY9" fmla="*/ 0 h 44778"/>
                <a:gd name="connsiteX10" fmla="*/ 1343 w 44778"/>
                <a:gd name="connsiteY10" fmla="*/ 10747 h 44778"/>
                <a:gd name="connsiteX11" fmla="*/ 0 w 44778"/>
                <a:gd name="connsiteY11" fmla="*/ 12986 h 44778"/>
                <a:gd name="connsiteX12" fmla="*/ 21941 w 44778"/>
                <a:gd name="connsiteY12" fmla="*/ 48808 h 44778"/>
                <a:gd name="connsiteX13" fmla="*/ 22389 w 44778"/>
                <a:gd name="connsiteY13" fmla="*/ 48808 h 44778"/>
                <a:gd name="connsiteX14" fmla="*/ 22389 w 44778"/>
                <a:gd name="connsiteY14" fmla="*/ 48808 h 44778"/>
                <a:gd name="connsiteX15" fmla="*/ 22389 w 44778"/>
                <a:gd name="connsiteY15" fmla="*/ 48808 h 44778"/>
                <a:gd name="connsiteX16" fmla="*/ 22389 w 44778"/>
                <a:gd name="connsiteY16" fmla="*/ 48808 h 44778"/>
                <a:gd name="connsiteX17" fmla="*/ 22389 w 44778"/>
                <a:gd name="connsiteY17" fmla="*/ 48808 h 44778"/>
                <a:gd name="connsiteX18" fmla="*/ 22837 w 44778"/>
                <a:gd name="connsiteY18" fmla="*/ 48808 h 44778"/>
                <a:gd name="connsiteX19" fmla="*/ 44778 w 44778"/>
                <a:gd name="connsiteY19" fmla="*/ 12986 h 44778"/>
                <a:gd name="connsiteX20" fmla="*/ 42539 w 44778"/>
                <a:gd name="connsiteY20" fmla="*/ 10747 h 44778"/>
                <a:gd name="connsiteX21" fmla="*/ 21941 w 44778"/>
                <a:gd name="connsiteY21" fmla="*/ 44330 h 44778"/>
                <a:gd name="connsiteX22" fmla="*/ 4030 w 44778"/>
                <a:gd name="connsiteY22" fmla="*/ 14329 h 44778"/>
                <a:gd name="connsiteX23" fmla="*/ 21941 w 44778"/>
                <a:gd name="connsiteY23" fmla="*/ 4478 h 44778"/>
                <a:gd name="connsiteX24" fmla="*/ 39853 w 44778"/>
                <a:gd name="connsiteY24" fmla="*/ 14329 h 44778"/>
                <a:gd name="connsiteX25" fmla="*/ 21941 w 44778"/>
                <a:gd name="connsiteY25" fmla="*/ 4433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778" h="44778">
                  <a:moveTo>
                    <a:pt x="42539" y="10747"/>
                  </a:moveTo>
                  <a:cubicBezTo>
                    <a:pt x="33136" y="7612"/>
                    <a:pt x="23285" y="0"/>
                    <a:pt x="23285" y="0"/>
                  </a:cubicBezTo>
                  <a:cubicBezTo>
                    <a:pt x="23285" y="0"/>
                    <a:pt x="23285" y="0"/>
                    <a:pt x="23285" y="0"/>
                  </a:cubicBezTo>
                  <a:cubicBezTo>
                    <a:pt x="23285" y="0"/>
                    <a:pt x="22837" y="0"/>
                    <a:pt x="22837" y="0"/>
                  </a:cubicBezTo>
                  <a:cubicBezTo>
                    <a:pt x="22837" y="0"/>
                    <a:pt x="22389" y="0"/>
                    <a:pt x="22389" y="0"/>
                  </a:cubicBezTo>
                  <a:cubicBezTo>
                    <a:pt x="22389" y="0"/>
                    <a:pt x="21941" y="0"/>
                    <a:pt x="21941" y="0"/>
                  </a:cubicBezTo>
                  <a:cubicBezTo>
                    <a:pt x="21941" y="0"/>
                    <a:pt x="21493" y="0"/>
                    <a:pt x="21493" y="0"/>
                  </a:cubicBezTo>
                  <a:cubicBezTo>
                    <a:pt x="21493" y="0"/>
                    <a:pt x="21046" y="0"/>
                    <a:pt x="21046" y="0"/>
                  </a:cubicBezTo>
                  <a:cubicBezTo>
                    <a:pt x="21046" y="0"/>
                    <a:pt x="20598" y="0"/>
                    <a:pt x="20598" y="0"/>
                  </a:cubicBezTo>
                  <a:cubicBezTo>
                    <a:pt x="20598" y="0"/>
                    <a:pt x="20598" y="0"/>
                    <a:pt x="20598" y="0"/>
                  </a:cubicBezTo>
                  <a:cubicBezTo>
                    <a:pt x="20598" y="0"/>
                    <a:pt x="10747" y="7612"/>
                    <a:pt x="1343" y="10747"/>
                  </a:cubicBezTo>
                  <a:cubicBezTo>
                    <a:pt x="448" y="11195"/>
                    <a:pt x="0" y="12090"/>
                    <a:pt x="0" y="12986"/>
                  </a:cubicBezTo>
                  <a:cubicBezTo>
                    <a:pt x="0" y="44330"/>
                    <a:pt x="21941" y="48808"/>
                    <a:pt x="21941" y="48808"/>
                  </a:cubicBezTo>
                  <a:cubicBezTo>
                    <a:pt x="21941" y="48808"/>
                    <a:pt x="22389" y="48808"/>
                    <a:pt x="22389" y="48808"/>
                  </a:cubicBezTo>
                  <a:cubicBezTo>
                    <a:pt x="22389" y="48808"/>
                    <a:pt x="22389" y="48808"/>
                    <a:pt x="22389" y="48808"/>
                  </a:cubicBezTo>
                  <a:lnTo>
                    <a:pt x="22389" y="48808"/>
                  </a:lnTo>
                  <a:lnTo>
                    <a:pt x="22389" y="48808"/>
                  </a:lnTo>
                  <a:cubicBezTo>
                    <a:pt x="22389" y="48808"/>
                    <a:pt x="22389" y="48808"/>
                    <a:pt x="22389" y="48808"/>
                  </a:cubicBezTo>
                  <a:cubicBezTo>
                    <a:pt x="22389" y="48808"/>
                    <a:pt x="22837" y="48808"/>
                    <a:pt x="22837" y="48808"/>
                  </a:cubicBezTo>
                  <a:cubicBezTo>
                    <a:pt x="22837" y="48808"/>
                    <a:pt x="44778" y="43883"/>
                    <a:pt x="44778" y="12986"/>
                  </a:cubicBezTo>
                  <a:cubicBezTo>
                    <a:pt x="44330" y="12090"/>
                    <a:pt x="43435" y="11195"/>
                    <a:pt x="42539" y="10747"/>
                  </a:cubicBezTo>
                  <a:close/>
                  <a:moveTo>
                    <a:pt x="21941" y="44330"/>
                  </a:moveTo>
                  <a:cubicBezTo>
                    <a:pt x="19255" y="43435"/>
                    <a:pt x="4478" y="38509"/>
                    <a:pt x="4030" y="14329"/>
                  </a:cubicBezTo>
                  <a:cubicBezTo>
                    <a:pt x="11642" y="11642"/>
                    <a:pt x="18807" y="6269"/>
                    <a:pt x="21941" y="4478"/>
                  </a:cubicBezTo>
                  <a:cubicBezTo>
                    <a:pt x="25076" y="6717"/>
                    <a:pt x="32240" y="11642"/>
                    <a:pt x="39853" y="14329"/>
                  </a:cubicBezTo>
                  <a:cubicBezTo>
                    <a:pt x="38957" y="38509"/>
                    <a:pt x="24628" y="43883"/>
                    <a:pt x="21941" y="44330"/>
                  </a:cubicBezTo>
                  <a:close/>
                </a:path>
              </a:pathLst>
            </a:custGeom>
            <a:solidFill>
              <a:srgbClr val="231F20"/>
            </a:solidFill>
            <a:ln w="4474" cap="flat">
              <a:noFill/>
              <a:prstDash val="solid"/>
              <a:miter/>
            </a:ln>
          </p:spPr>
          <p:txBody>
            <a:bodyPr rtlCol="0" anchor="ctr"/>
            <a:lstStyle/>
            <a:p>
              <a:endParaRPr lang="en-US"/>
            </a:p>
          </p:txBody>
        </p:sp>
      </p:grpSp>
      <p:grpSp>
        <p:nvGrpSpPr>
          <p:cNvPr id="4267" name="Group 4266">
            <a:extLst>
              <a:ext uri="{FF2B5EF4-FFF2-40B4-BE49-F238E27FC236}">
                <a16:creationId xmlns:a16="http://schemas.microsoft.com/office/drawing/2014/main" id="{0FA0904A-9F24-4903-A6B2-0D21E2D0E38D}"/>
              </a:ext>
              <a:ext uri="{C183D7F6-B498-43B3-948B-1728B52AA6E4}">
                <adec:decorative xmlns:adec="http://schemas.microsoft.com/office/drawing/2017/decorative" val="1"/>
              </a:ext>
            </a:extLst>
          </p:cNvPr>
          <p:cNvGrpSpPr>
            <a:grpSpLocks noChangeAspect="1"/>
          </p:cNvGrpSpPr>
          <p:nvPr/>
        </p:nvGrpSpPr>
        <p:grpSpPr>
          <a:xfrm>
            <a:off x="2909309" y="3638382"/>
            <a:ext cx="147768" cy="138476"/>
            <a:chOff x="2950063" y="2902943"/>
            <a:chExt cx="147768" cy="138476"/>
          </a:xfrm>
        </p:grpSpPr>
        <p:sp>
          <p:nvSpPr>
            <p:cNvPr id="4268" name="Freeform: Shape 4267">
              <a:extLst>
                <a:ext uri="{FF2B5EF4-FFF2-40B4-BE49-F238E27FC236}">
                  <a16:creationId xmlns:a16="http://schemas.microsoft.com/office/drawing/2014/main" id="{B73C7937-3737-4C29-BC67-4ED74C172833}"/>
                </a:ext>
              </a:extLst>
            </p:cNvPr>
            <p:cNvSpPr/>
            <p:nvPr/>
          </p:nvSpPr>
          <p:spPr>
            <a:xfrm>
              <a:off x="3002005" y="2902943"/>
              <a:ext cx="49256" cy="40300"/>
            </a:xfrm>
            <a:custGeom>
              <a:avLst/>
              <a:gdLst>
                <a:gd name="connsiteX0" fmla="*/ 46458 w 49255"/>
                <a:gd name="connsiteY0" fmla="*/ 44442 h 40300"/>
                <a:gd name="connsiteX1" fmla="*/ 2127 w 49255"/>
                <a:gd name="connsiteY1" fmla="*/ 44442 h 40300"/>
                <a:gd name="connsiteX2" fmla="*/ 336 w 49255"/>
                <a:gd name="connsiteY2" fmla="*/ 43547 h 40300"/>
                <a:gd name="connsiteX3" fmla="*/ 336 w 49255"/>
                <a:gd name="connsiteY3" fmla="*/ 41308 h 40300"/>
                <a:gd name="connsiteX4" fmla="*/ 22725 w 49255"/>
                <a:gd name="connsiteY4" fmla="*/ 1007 h 40300"/>
                <a:gd name="connsiteX5" fmla="*/ 26755 w 49255"/>
                <a:gd name="connsiteY5" fmla="*/ 1007 h 40300"/>
                <a:gd name="connsiteX6" fmla="*/ 49144 w 49255"/>
                <a:gd name="connsiteY6" fmla="*/ 41308 h 40300"/>
                <a:gd name="connsiteX7" fmla="*/ 49144 w 49255"/>
                <a:gd name="connsiteY7" fmla="*/ 43547 h 40300"/>
                <a:gd name="connsiteX8" fmla="*/ 46458 w 49255"/>
                <a:gd name="connsiteY8" fmla="*/ 44442 h 40300"/>
                <a:gd name="connsiteX9" fmla="*/ 5709 w 49255"/>
                <a:gd name="connsiteY9" fmla="*/ 39965 h 40300"/>
                <a:gd name="connsiteX10" fmla="*/ 42427 w 49255"/>
                <a:gd name="connsiteY10" fmla="*/ 39965 h 40300"/>
                <a:gd name="connsiteX11" fmla="*/ 24068 w 49255"/>
                <a:gd name="connsiteY11" fmla="*/ 6381 h 40300"/>
                <a:gd name="connsiteX12" fmla="*/ 5709 w 49255"/>
                <a:gd name="connsiteY12" fmla="*/ 3996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55" h="40300">
                  <a:moveTo>
                    <a:pt x="46458" y="44442"/>
                  </a:moveTo>
                  <a:lnTo>
                    <a:pt x="2127" y="44442"/>
                  </a:lnTo>
                  <a:cubicBezTo>
                    <a:pt x="1231" y="44442"/>
                    <a:pt x="784" y="43995"/>
                    <a:pt x="336" y="43547"/>
                  </a:cubicBezTo>
                  <a:cubicBezTo>
                    <a:pt x="-112" y="42651"/>
                    <a:pt x="-112" y="42203"/>
                    <a:pt x="336" y="41308"/>
                  </a:cubicBezTo>
                  <a:lnTo>
                    <a:pt x="22725" y="1007"/>
                  </a:lnTo>
                  <a:cubicBezTo>
                    <a:pt x="23620" y="-336"/>
                    <a:pt x="25859" y="-336"/>
                    <a:pt x="26755" y="1007"/>
                  </a:cubicBezTo>
                  <a:lnTo>
                    <a:pt x="49144" y="41308"/>
                  </a:lnTo>
                  <a:cubicBezTo>
                    <a:pt x="49592" y="42203"/>
                    <a:pt x="49592" y="42651"/>
                    <a:pt x="49144" y="43547"/>
                  </a:cubicBezTo>
                  <a:cubicBezTo>
                    <a:pt x="47801" y="43995"/>
                    <a:pt x="47353" y="44442"/>
                    <a:pt x="46458" y="44442"/>
                  </a:cubicBezTo>
                  <a:close/>
                  <a:moveTo>
                    <a:pt x="5709" y="39965"/>
                  </a:moveTo>
                  <a:lnTo>
                    <a:pt x="42427" y="39965"/>
                  </a:lnTo>
                  <a:lnTo>
                    <a:pt x="24068" y="6381"/>
                  </a:lnTo>
                  <a:lnTo>
                    <a:pt x="5709" y="39965"/>
                  </a:lnTo>
                  <a:close/>
                </a:path>
              </a:pathLst>
            </a:custGeom>
            <a:solidFill>
              <a:srgbClr val="231F20"/>
            </a:solidFill>
            <a:ln w="4474" cap="flat">
              <a:noFill/>
              <a:prstDash val="solid"/>
              <a:miter/>
            </a:ln>
          </p:spPr>
          <p:txBody>
            <a:bodyPr rtlCol="0" anchor="ctr"/>
            <a:lstStyle/>
            <a:p>
              <a:endParaRPr lang="en-US"/>
            </a:p>
          </p:txBody>
        </p:sp>
        <p:sp>
          <p:nvSpPr>
            <p:cNvPr id="4269" name="Freeform: Shape 4268">
              <a:extLst>
                <a:ext uri="{FF2B5EF4-FFF2-40B4-BE49-F238E27FC236}">
                  <a16:creationId xmlns:a16="http://schemas.microsoft.com/office/drawing/2014/main" id="{A37F91E9-6768-423E-8279-E05C4067845A}"/>
                </a:ext>
              </a:extLst>
            </p:cNvPr>
            <p:cNvSpPr/>
            <p:nvPr/>
          </p:nvSpPr>
          <p:spPr>
            <a:xfrm>
              <a:off x="2980064" y="2956341"/>
              <a:ext cx="89556" cy="31345"/>
            </a:xfrm>
            <a:custGeom>
              <a:avLst/>
              <a:gdLst>
                <a:gd name="connsiteX0" fmla="*/ 90788 w 89556"/>
                <a:gd name="connsiteY0" fmla="*/ 31345 h 31344"/>
                <a:gd name="connsiteX1" fmla="*/ 2127 w 89556"/>
                <a:gd name="connsiteY1" fmla="*/ 31345 h 31344"/>
                <a:gd name="connsiteX2" fmla="*/ 336 w 89556"/>
                <a:gd name="connsiteY2" fmla="*/ 30449 h 31344"/>
                <a:gd name="connsiteX3" fmla="*/ 336 w 89556"/>
                <a:gd name="connsiteY3" fmla="*/ 28210 h 31344"/>
                <a:gd name="connsiteX4" fmla="*/ 15113 w 89556"/>
                <a:gd name="connsiteY4" fmla="*/ 1343 h 31344"/>
                <a:gd name="connsiteX5" fmla="*/ 16904 w 89556"/>
                <a:gd name="connsiteY5" fmla="*/ 0 h 31344"/>
                <a:gd name="connsiteX6" fmla="*/ 76011 w 89556"/>
                <a:gd name="connsiteY6" fmla="*/ 0 h 31344"/>
                <a:gd name="connsiteX7" fmla="*/ 77802 w 89556"/>
                <a:gd name="connsiteY7" fmla="*/ 1343 h 31344"/>
                <a:gd name="connsiteX8" fmla="*/ 92579 w 89556"/>
                <a:gd name="connsiteY8" fmla="*/ 28210 h 31344"/>
                <a:gd name="connsiteX9" fmla="*/ 92579 w 89556"/>
                <a:gd name="connsiteY9" fmla="*/ 30449 h 31344"/>
                <a:gd name="connsiteX10" fmla="*/ 90788 w 89556"/>
                <a:gd name="connsiteY10" fmla="*/ 31345 h 31344"/>
                <a:gd name="connsiteX11" fmla="*/ 5709 w 89556"/>
                <a:gd name="connsiteY11" fmla="*/ 26867 h 31344"/>
                <a:gd name="connsiteX12" fmla="*/ 86758 w 89556"/>
                <a:gd name="connsiteY12" fmla="*/ 26867 h 31344"/>
                <a:gd name="connsiteX13" fmla="*/ 74220 w 89556"/>
                <a:gd name="connsiteY13" fmla="*/ 4478 h 31344"/>
                <a:gd name="connsiteX14" fmla="*/ 17799 w 89556"/>
                <a:gd name="connsiteY14" fmla="*/ 4478 h 31344"/>
                <a:gd name="connsiteX15" fmla="*/ 5709 w 89556"/>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56" h="31344">
                  <a:moveTo>
                    <a:pt x="90788" y="31345"/>
                  </a:moveTo>
                  <a:lnTo>
                    <a:pt x="2127" y="31345"/>
                  </a:lnTo>
                  <a:cubicBezTo>
                    <a:pt x="1232" y="31345"/>
                    <a:pt x="784" y="30897"/>
                    <a:pt x="336" y="30449"/>
                  </a:cubicBezTo>
                  <a:cubicBezTo>
                    <a:pt x="-112" y="29553"/>
                    <a:pt x="-112" y="29106"/>
                    <a:pt x="336" y="28210"/>
                  </a:cubicBezTo>
                  <a:lnTo>
                    <a:pt x="15113" y="1343"/>
                  </a:lnTo>
                  <a:cubicBezTo>
                    <a:pt x="15560" y="448"/>
                    <a:pt x="16456" y="0"/>
                    <a:pt x="16904" y="0"/>
                  </a:cubicBezTo>
                  <a:lnTo>
                    <a:pt x="76011" y="0"/>
                  </a:lnTo>
                  <a:cubicBezTo>
                    <a:pt x="76907" y="0"/>
                    <a:pt x="77354" y="448"/>
                    <a:pt x="77802" y="1343"/>
                  </a:cubicBezTo>
                  <a:lnTo>
                    <a:pt x="92579" y="28210"/>
                  </a:lnTo>
                  <a:cubicBezTo>
                    <a:pt x="93027" y="29106"/>
                    <a:pt x="93027" y="29553"/>
                    <a:pt x="92579" y="30449"/>
                  </a:cubicBezTo>
                  <a:cubicBezTo>
                    <a:pt x="92131" y="30897"/>
                    <a:pt x="91236" y="31345"/>
                    <a:pt x="90788" y="31345"/>
                  </a:cubicBezTo>
                  <a:close/>
                  <a:moveTo>
                    <a:pt x="5709" y="26867"/>
                  </a:moveTo>
                  <a:lnTo>
                    <a:pt x="86758" y="26867"/>
                  </a:lnTo>
                  <a:lnTo>
                    <a:pt x="74220" y="4478"/>
                  </a:lnTo>
                  <a:lnTo>
                    <a:pt x="17799" y="4478"/>
                  </a:lnTo>
                  <a:lnTo>
                    <a:pt x="5709" y="26867"/>
                  </a:lnTo>
                  <a:close/>
                </a:path>
              </a:pathLst>
            </a:custGeom>
            <a:solidFill>
              <a:srgbClr val="231F20"/>
            </a:solidFill>
            <a:ln w="4474" cap="flat">
              <a:noFill/>
              <a:prstDash val="solid"/>
              <a:miter/>
            </a:ln>
          </p:spPr>
          <p:txBody>
            <a:bodyPr rtlCol="0" anchor="ctr"/>
            <a:lstStyle/>
            <a:p>
              <a:endParaRPr lang="en-US"/>
            </a:p>
          </p:txBody>
        </p:sp>
        <p:sp>
          <p:nvSpPr>
            <p:cNvPr id="4270" name="Freeform: Shape 4269">
              <a:extLst>
                <a:ext uri="{FF2B5EF4-FFF2-40B4-BE49-F238E27FC236}">
                  <a16:creationId xmlns:a16="http://schemas.microsoft.com/office/drawing/2014/main" id="{6B43C766-3296-48B8-99D7-D8A65AF9E168}"/>
                </a:ext>
              </a:extLst>
            </p:cNvPr>
            <p:cNvSpPr/>
            <p:nvPr/>
          </p:nvSpPr>
          <p:spPr>
            <a:xfrm>
              <a:off x="2950063" y="2996641"/>
              <a:ext cx="147768" cy="44778"/>
            </a:xfrm>
            <a:custGeom>
              <a:avLst/>
              <a:gdLst>
                <a:gd name="connsiteX0" fmla="*/ 149895 w 147767"/>
                <a:gd name="connsiteY0" fmla="*/ 44778 h 44778"/>
                <a:gd name="connsiteX1" fmla="*/ 2127 w 147767"/>
                <a:gd name="connsiteY1" fmla="*/ 44778 h 44778"/>
                <a:gd name="connsiteX2" fmla="*/ 336 w 147767"/>
                <a:gd name="connsiteY2" fmla="*/ 43883 h 44778"/>
                <a:gd name="connsiteX3" fmla="*/ 336 w 147767"/>
                <a:gd name="connsiteY3" fmla="*/ 41644 h 44778"/>
                <a:gd name="connsiteX4" fmla="*/ 22277 w 147767"/>
                <a:gd name="connsiteY4" fmla="*/ 1343 h 44778"/>
                <a:gd name="connsiteX5" fmla="*/ 24068 w 147767"/>
                <a:gd name="connsiteY5" fmla="*/ 0 h 44778"/>
                <a:gd name="connsiteX6" fmla="*/ 127954 w 147767"/>
                <a:gd name="connsiteY6" fmla="*/ 0 h 44778"/>
                <a:gd name="connsiteX7" fmla="*/ 129745 w 147767"/>
                <a:gd name="connsiteY7" fmla="*/ 1343 h 44778"/>
                <a:gd name="connsiteX8" fmla="*/ 151686 w 147767"/>
                <a:gd name="connsiteY8" fmla="*/ 41644 h 44778"/>
                <a:gd name="connsiteX9" fmla="*/ 151686 w 147767"/>
                <a:gd name="connsiteY9" fmla="*/ 43883 h 44778"/>
                <a:gd name="connsiteX10" fmla="*/ 149895 w 147767"/>
                <a:gd name="connsiteY10" fmla="*/ 44778 h 44778"/>
                <a:gd name="connsiteX11" fmla="*/ 6157 w 147767"/>
                <a:gd name="connsiteY11" fmla="*/ 40300 h 44778"/>
                <a:gd name="connsiteX12" fmla="*/ 146313 w 147767"/>
                <a:gd name="connsiteY12" fmla="*/ 40300 h 44778"/>
                <a:gd name="connsiteX13" fmla="*/ 126610 w 147767"/>
                <a:gd name="connsiteY13" fmla="*/ 4478 h 44778"/>
                <a:gd name="connsiteX14" fmla="*/ 25859 w 147767"/>
                <a:gd name="connsiteY14" fmla="*/ 4478 h 44778"/>
                <a:gd name="connsiteX15" fmla="*/ 6157 w 147767"/>
                <a:gd name="connsiteY15" fmla="*/ 40300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44778">
                  <a:moveTo>
                    <a:pt x="149895" y="44778"/>
                  </a:moveTo>
                  <a:lnTo>
                    <a:pt x="2127" y="44778"/>
                  </a:lnTo>
                  <a:cubicBezTo>
                    <a:pt x="1231" y="44778"/>
                    <a:pt x="783" y="44330"/>
                    <a:pt x="336" y="43883"/>
                  </a:cubicBezTo>
                  <a:cubicBezTo>
                    <a:pt x="-112" y="42987"/>
                    <a:pt x="-112" y="42539"/>
                    <a:pt x="336" y="41644"/>
                  </a:cubicBezTo>
                  <a:lnTo>
                    <a:pt x="22277" y="1343"/>
                  </a:lnTo>
                  <a:cubicBezTo>
                    <a:pt x="22725" y="448"/>
                    <a:pt x="23620" y="0"/>
                    <a:pt x="24068" y="0"/>
                  </a:cubicBezTo>
                  <a:lnTo>
                    <a:pt x="127954" y="0"/>
                  </a:lnTo>
                  <a:cubicBezTo>
                    <a:pt x="128849" y="0"/>
                    <a:pt x="129745" y="448"/>
                    <a:pt x="129745" y="1343"/>
                  </a:cubicBezTo>
                  <a:lnTo>
                    <a:pt x="151686" y="41644"/>
                  </a:lnTo>
                  <a:cubicBezTo>
                    <a:pt x="152134" y="42539"/>
                    <a:pt x="152134" y="42987"/>
                    <a:pt x="151686" y="43883"/>
                  </a:cubicBezTo>
                  <a:cubicBezTo>
                    <a:pt x="151686" y="44330"/>
                    <a:pt x="150790" y="44778"/>
                    <a:pt x="149895" y="44778"/>
                  </a:cubicBezTo>
                  <a:close/>
                  <a:moveTo>
                    <a:pt x="6157" y="40300"/>
                  </a:moveTo>
                  <a:lnTo>
                    <a:pt x="146313" y="40300"/>
                  </a:lnTo>
                  <a:lnTo>
                    <a:pt x="126610" y="4478"/>
                  </a:lnTo>
                  <a:lnTo>
                    <a:pt x="25859" y="4478"/>
                  </a:lnTo>
                  <a:lnTo>
                    <a:pt x="6157" y="40300"/>
                  </a:lnTo>
                  <a:close/>
                </a:path>
              </a:pathLst>
            </a:custGeom>
            <a:solidFill>
              <a:srgbClr val="231F20"/>
            </a:solidFill>
            <a:ln w="4474" cap="flat">
              <a:noFill/>
              <a:prstDash val="solid"/>
              <a:miter/>
            </a:ln>
          </p:spPr>
          <p:txBody>
            <a:bodyPr rtlCol="0" anchor="ctr"/>
            <a:lstStyle/>
            <a:p>
              <a:endParaRPr lang="en-US"/>
            </a:p>
          </p:txBody>
        </p:sp>
      </p:grpSp>
      <p:grpSp>
        <p:nvGrpSpPr>
          <p:cNvPr id="4271" name="Group 4270">
            <a:extLst>
              <a:ext uri="{FF2B5EF4-FFF2-40B4-BE49-F238E27FC236}">
                <a16:creationId xmlns:a16="http://schemas.microsoft.com/office/drawing/2014/main" id="{7E53EF97-4CC3-4779-962B-51110A8B5B41}"/>
              </a:ext>
              <a:ext uri="{C183D7F6-B498-43B3-948B-1728B52AA6E4}">
                <adec:decorative xmlns:adec="http://schemas.microsoft.com/office/drawing/2017/decorative" val="1"/>
              </a:ext>
            </a:extLst>
          </p:cNvPr>
          <p:cNvGrpSpPr>
            <a:grpSpLocks noChangeAspect="1"/>
          </p:cNvGrpSpPr>
          <p:nvPr/>
        </p:nvGrpSpPr>
        <p:grpSpPr>
          <a:xfrm>
            <a:off x="3171149" y="3638046"/>
            <a:ext cx="147768" cy="138813"/>
            <a:chOff x="3211903" y="2902607"/>
            <a:chExt cx="147768" cy="138813"/>
          </a:xfrm>
        </p:grpSpPr>
        <p:sp>
          <p:nvSpPr>
            <p:cNvPr id="4272" name="Freeform: Shape 4271">
              <a:extLst>
                <a:ext uri="{FF2B5EF4-FFF2-40B4-BE49-F238E27FC236}">
                  <a16:creationId xmlns:a16="http://schemas.microsoft.com/office/drawing/2014/main" id="{3B3900A3-D62B-4219-B622-945BF34A04D3}"/>
                </a:ext>
              </a:extLst>
            </p:cNvPr>
            <p:cNvSpPr/>
            <p:nvPr/>
          </p:nvSpPr>
          <p:spPr>
            <a:xfrm>
              <a:off x="3211903" y="2956341"/>
              <a:ext cx="147768" cy="31345"/>
            </a:xfrm>
            <a:custGeom>
              <a:avLst/>
              <a:gdLst>
                <a:gd name="connsiteX0" fmla="*/ 147768 w 147767"/>
                <a:gd name="connsiteY0" fmla="*/ 13433 h 31344"/>
                <a:gd name="connsiteX1" fmla="*/ 55525 w 147767"/>
                <a:gd name="connsiteY1" fmla="*/ 13433 h 31344"/>
                <a:gd name="connsiteX2" fmla="*/ 40300 w 147767"/>
                <a:gd name="connsiteY2" fmla="*/ 0 h 31344"/>
                <a:gd name="connsiteX3" fmla="*/ 25076 w 147767"/>
                <a:gd name="connsiteY3" fmla="*/ 13433 h 31344"/>
                <a:gd name="connsiteX4" fmla="*/ 0 w 147767"/>
                <a:gd name="connsiteY4" fmla="*/ 13433 h 31344"/>
                <a:gd name="connsiteX5" fmla="*/ 0 w 147767"/>
                <a:gd name="connsiteY5" fmla="*/ 17911 h 31344"/>
                <a:gd name="connsiteX6" fmla="*/ 25076 w 147767"/>
                <a:gd name="connsiteY6" fmla="*/ 17911 h 31344"/>
                <a:gd name="connsiteX7" fmla="*/ 40300 w 147767"/>
                <a:gd name="connsiteY7" fmla="*/ 31345 h 31344"/>
                <a:gd name="connsiteX8" fmla="*/ 55525 w 147767"/>
                <a:gd name="connsiteY8" fmla="*/ 17911 h 31344"/>
                <a:gd name="connsiteX9" fmla="*/ 147768 w 147767"/>
                <a:gd name="connsiteY9" fmla="*/ 17911 h 31344"/>
                <a:gd name="connsiteX10" fmla="*/ 147768 w 147767"/>
                <a:gd name="connsiteY10" fmla="*/ 13433 h 31344"/>
                <a:gd name="connsiteX11" fmla="*/ 40300 w 147767"/>
                <a:gd name="connsiteY11" fmla="*/ 26867 h 31344"/>
                <a:gd name="connsiteX12" fmla="*/ 29106 w 147767"/>
                <a:gd name="connsiteY12" fmla="*/ 15672 h 31344"/>
                <a:gd name="connsiteX13" fmla="*/ 40300 w 147767"/>
                <a:gd name="connsiteY13" fmla="*/ 4478 h 31344"/>
                <a:gd name="connsiteX14" fmla="*/ 51495 w 147767"/>
                <a:gd name="connsiteY14" fmla="*/ 15672 h 31344"/>
                <a:gd name="connsiteX15" fmla="*/ 40300 w 147767"/>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31344">
                  <a:moveTo>
                    <a:pt x="147768" y="13433"/>
                  </a:moveTo>
                  <a:lnTo>
                    <a:pt x="55525" y="13433"/>
                  </a:lnTo>
                  <a:cubicBezTo>
                    <a:pt x="54629" y="5821"/>
                    <a:pt x="47912" y="0"/>
                    <a:pt x="40300" y="0"/>
                  </a:cubicBezTo>
                  <a:cubicBezTo>
                    <a:pt x="32240" y="0"/>
                    <a:pt x="25971" y="5821"/>
                    <a:pt x="25076" y="13433"/>
                  </a:cubicBezTo>
                  <a:lnTo>
                    <a:pt x="0" y="13433"/>
                  </a:lnTo>
                  <a:lnTo>
                    <a:pt x="0" y="17911"/>
                  </a:lnTo>
                  <a:lnTo>
                    <a:pt x="25076" y="17911"/>
                  </a:lnTo>
                  <a:cubicBezTo>
                    <a:pt x="25971" y="25523"/>
                    <a:pt x="32688" y="31345"/>
                    <a:pt x="40300" y="31345"/>
                  </a:cubicBezTo>
                  <a:cubicBezTo>
                    <a:pt x="48360" y="31345"/>
                    <a:pt x="54629" y="25523"/>
                    <a:pt x="55525" y="17911"/>
                  </a:cubicBezTo>
                  <a:lnTo>
                    <a:pt x="147768" y="17911"/>
                  </a:lnTo>
                  <a:lnTo>
                    <a:pt x="147768" y="13433"/>
                  </a:lnTo>
                  <a:close/>
                  <a:moveTo>
                    <a:pt x="40300" y="26867"/>
                  </a:moveTo>
                  <a:cubicBezTo>
                    <a:pt x="34031" y="26867"/>
                    <a:pt x="29106" y="21941"/>
                    <a:pt x="29106" y="15672"/>
                  </a:cubicBezTo>
                  <a:cubicBezTo>
                    <a:pt x="29106" y="9403"/>
                    <a:pt x="34031" y="4478"/>
                    <a:pt x="40300" y="4478"/>
                  </a:cubicBezTo>
                  <a:cubicBezTo>
                    <a:pt x="46569" y="4478"/>
                    <a:pt x="51495" y="9403"/>
                    <a:pt x="51495" y="15672"/>
                  </a:cubicBezTo>
                  <a:cubicBezTo>
                    <a:pt x="51495" y="21493"/>
                    <a:pt x="46569" y="26867"/>
                    <a:pt x="40300" y="26867"/>
                  </a:cubicBezTo>
                  <a:close/>
                </a:path>
              </a:pathLst>
            </a:custGeom>
            <a:solidFill>
              <a:srgbClr val="231F20"/>
            </a:solidFill>
            <a:ln w="4474" cap="flat">
              <a:noFill/>
              <a:prstDash val="solid"/>
              <a:miter/>
            </a:ln>
          </p:spPr>
          <p:txBody>
            <a:bodyPr rtlCol="0" anchor="ctr"/>
            <a:lstStyle/>
            <a:p>
              <a:endParaRPr lang="en-US"/>
            </a:p>
          </p:txBody>
        </p:sp>
        <p:sp>
          <p:nvSpPr>
            <p:cNvPr id="4273" name="Freeform: Shape 4272">
              <a:extLst>
                <a:ext uri="{FF2B5EF4-FFF2-40B4-BE49-F238E27FC236}">
                  <a16:creationId xmlns:a16="http://schemas.microsoft.com/office/drawing/2014/main" id="{129A5599-722C-45F8-BEDC-0B5980FD2D80}"/>
                </a:ext>
              </a:extLst>
            </p:cNvPr>
            <p:cNvSpPr/>
            <p:nvPr/>
          </p:nvSpPr>
          <p:spPr>
            <a:xfrm>
              <a:off x="3211903" y="2902607"/>
              <a:ext cx="147768" cy="31345"/>
            </a:xfrm>
            <a:custGeom>
              <a:avLst/>
              <a:gdLst>
                <a:gd name="connsiteX0" fmla="*/ 147768 w 147767"/>
                <a:gd name="connsiteY0" fmla="*/ 13433 h 31344"/>
                <a:gd name="connsiteX1" fmla="*/ 95825 w 147767"/>
                <a:gd name="connsiteY1" fmla="*/ 13433 h 31344"/>
                <a:gd name="connsiteX2" fmla="*/ 80601 w 147767"/>
                <a:gd name="connsiteY2" fmla="*/ 0 h 31344"/>
                <a:gd name="connsiteX3" fmla="*/ 65376 w 147767"/>
                <a:gd name="connsiteY3" fmla="*/ 13433 h 31344"/>
                <a:gd name="connsiteX4" fmla="*/ 0 w 147767"/>
                <a:gd name="connsiteY4" fmla="*/ 13433 h 31344"/>
                <a:gd name="connsiteX5" fmla="*/ 0 w 147767"/>
                <a:gd name="connsiteY5" fmla="*/ 17911 h 31344"/>
                <a:gd name="connsiteX6" fmla="*/ 65376 w 147767"/>
                <a:gd name="connsiteY6" fmla="*/ 17911 h 31344"/>
                <a:gd name="connsiteX7" fmla="*/ 80601 w 147767"/>
                <a:gd name="connsiteY7" fmla="*/ 31345 h 31344"/>
                <a:gd name="connsiteX8" fmla="*/ 95825 w 147767"/>
                <a:gd name="connsiteY8" fmla="*/ 17911 h 31344"/>
                <a:gd name="connsiteX9" fmla="*/ 147768 w 147767"/>
                <a:gd name="connsiteY9" fmla="*/ 17911 h 31344"/>
                <a:gd name="connsiteX10" fmla="*/ 147768 w 147767"/>
                <a:gd name="connsiteY10" fmla="*/ 13433 h 31344"/>
                <a:gd name="connsiteX11" fmla="*/ 80601 w 147767"/>
                <a:gd name="connsiteY11" fmla="*/ 26867 h 31344"/>
                <a:gd name="connsiteX12" fmla="*/ 69406 w 147767"/>
                <a:gd name="connsiteY12" fmla="*/ 15672 h 31344"/>
                <a:gd name="connsiteX13" fmla="*/ 80601 w 147767"/>
                <a:gd name="connsiteY13" fmla="*/ 4478 h 31344"/>
                <a:gd name="connsiteX14" fmla="*/ 91795 w 147767"/>
                <a:gd name="connsiteY14" fmla="*/ 15672 h 31344"/>
                <a:gd name="connsiteX15" fmla="*/ 80601 w 147767"/>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31344">
                  <a:moveTo>
                    <a:pt x="147768" y="13433"/>
                  </a:moveTo>
                  <a:lnTo>
                    <a:pt x="95825" y="13433"/>
                  </a:lnTo>
                  <a:cubicBezTo>
                    <a:pt x="94930" y="5821"/>
                    <a:pt x="88213" y="0"/>
                    <a:pt x="80601" y="0"/>
                  </a:cubicBezTo>
                  <a:cubicBezTo>
                    <a:pt x="72540" y="0"/>
                    <a:pt x="66272" y="5821"/>
                    <a:pt x="65376" y="13433"/>
                  </a:cubicBezTo>
                  <a:lnTo>
                    <a:pt x="0" y="13433"/>
                  </a:lnTo>
                  <a:lnTo>
                    <a:pt x="0" y="17911"/>
                  </a:lnTo>
                  <a:lnTo>
                    <a:pt x="65376" y="17911"/>
                  </a:lnTo>
                  <a:cubicBezTo>
                    <a:pt x="66272" y="25523"/>
                    <a:pt x="72988" y="31345"/>
                    <a:pt x="80601" y="31345"/>
                  </a:cubicBezTo>
                  <a:cubicBezTo>
                    <a:pt x="88661" y="31345"/>
                    <a:pt x="94930" y="25523"/>
                    <a:pt x="95825" y="17911"/>
                  </a:cubicBezTo>
                  <a:lnTo>
                    <a:pt x="147768" y="17911"/>
                  </a:lnTo>
                  <a:lnTo>
                    <a:pt x="147768" y="13433"/>
                  </a:lnTo>
                  <a:close/>
                  <a:moveTo>
                    <a:pt x="80601" y="26867"/>
                  </a:moveTo>
                  <a:cubicBezTo>
                    <a:pt x="74332" y="26867"/>
                    <a:pt x="69406" y="21941"/>
                    <a:pt x="69406" y="15672"/>
                  </a:cubicBezTo>
                  <a:cubicBezTo>
                    <a:pt x="69406" y="9403"/>
                    <a:pt x="74332" y="4478"/>
                    <a:pt x="80601" y="4478"/>
                  </a:cubicBezTo>
                  <a:cubicBezTo>
                    <a:pt x="86870" y="4478"/>
                    <a:pt x="91795" y="9403"/>
                    <a:pt x="91795" y="15672"/>
                  </a:cubicBezTo>
                  <a:cubicBezTo>
                    <a:pt x="91795" y="21493"/>
                    <a:pt x="86870" y="26867"/>
                    <a:pt x="80601" y="26867"/>
                  </a:cubicBezTo>
                  <a:close/>
                </a:path>
              </a:pathLst>
            </a:custGeom>
            <a:solidFill>
              <a:srgbClr val="231F20"/>
            </a:solidFill>
            <a:ln w="4474" cap="flat">
              <a:noFill/>
              <a:prstDash val="solid"/>
              <a:miter/>
            </a:ln>
          </p:spPr>
          <p:txBody>
            <a:bodyPr rtlCol="0" anchor="ctr"/>
            <a:lstStyle/>
            <a:p>
              <a:endParaRPr lang="en-US"/>
            </a:p>
          </p:txBody>
        </p:sp>
        <p:sp>
          <p:nvSpPr>
            <p:cNvPr id="4274" name="Freeform: Shape 4273">
              <a:extLst>
                <a:ext uri="{FF2B5EF4-FFF2-40B4-BE49-F238E27FC236}">
                  <a16:creationId xmlns:a16="http://schemas.microsoft.com/office/drawing/2014/main" id="{EC2ACA7C-44F5-454F-9D7D-9C92A2EE4B2D}"/>
                </a:ext>
              </a:extLst>
            </p:cNvPr>
            <p:cNvSpPr/>
            <p:nvPr/>
          </p:nvSpPr>
          <p:spPr>
            <a:xfrm>
              <a:off x="3211903" y="3010075"/>
              <a:ext cx="147768" cy="31345"/>
            </a:xfrm>
            <a:custGeom>
              <a:avLst/>
              <a:gdLst>
                <a:gd name="connsiteX0" fmla="*/ 147768 w 147767"/>
                <a:gd name="connsiteY0" fmla="*/ 13433 h 31344"/>
                <a:gd name="connsiteX1" fmla="*/ 95825 w 147767"/>
                <a:gd name="connsiteY1" fmla="*/ 13433 h 31344"/>
                <a:gd name="connsiteX2" fmla="*/ 80601 w 147767"/>
                <a:gd name="connsiteY2" fmla="*/ 0 h 31344"/>
                <a:gd name="connsiteX3" fmla="*/ 65376 w 147767"/>
                <a:gd name="connsiteY3" fmla="*/ 13433 h 31344"/>
                <a:gd name="connsiteX4" fmla="*/ 0 w 147767"/>
                <a:gd name="connsiteY4" fmla="*/ 13433 h 31344"/>
                <a:gd name="connsiteX5" fmla="*/ 0 w 147767"/>
                <a:gd name="connsiteY5" fmla="*/ 17911 h 31344"/>
                <a:gd name="connsiteX6" fmla="*/ 65376 w 147767"/>
                <a:gd name="connsiteY6" fmla="*/ 17911 h 31344"/>
                <a:gd name="connsiteX7" fmla="*/ 80601 w 147767"/>
                <a:gd name="connsiteY7" fmla="*/ 31345 h 31344"/>
                <a:gd name="connsiteX8" fmla="*/ 95825 w 147767"/>
                <a:gd name="connsiteY8" fmla="*/ 17911 h 31344"/>
                <a:gd name="connsiteX9" fmla="*/ 147768 w 147767"/>
                <a:gd name="connsiteY9" fmla="*/ 17911 h 31344"/>
                <a:gd name="connsiteX10" fmla="*/ 147768 w 147767"/>
                <a:gd name="connsiteY10" fmla="*/ 13433 h 31344"/>
                <a:gd name="connsiteX11" fmla="*/ 80601 w 147767"/>
                <a:gd name="connsiteY11" fmla="*/ 26867 h 31344"/>
                <a:gd name="connsiteX12" fmla="*/ 69406 w 147767"/>
                <a:gd name="connsiteY12" fmla="*/ 15672 h 31344"/>
                <a:gd name="connsiteX13" fmla="*/ 80601 w 147767"/>
                <a:gd name="connsiteY13" fmla="*/ 4478 h 31344"/>
                <a:gd name="connsiteX14" fmla="*/ 91795 w 147767"/>
                <a:gd name="connsiteY14" fmla="*/ 15672 h 31344"/>
                <a:gd name="connsiteX15" fmla="*/ 80601 w 147767"/>
                <a:gd name="connsiteY15" fmla="*/ 2686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31344">
                  <a:moveTo>
                    <a:pt x="147768" y="13433"/>
                  </a:moveTo>
                  <a:lnTo>
                    <a:pt x="95825" y="13433"/>
                  </a:lnTo>
                  <a:cubicBezTo>
                    <a:pt x="94930" y="5821"/>
                    <a:pt x="88213" y="0"/>
                    <a:pt x="80601" y="0"/>
                  </a:cubicBezTo>
                  <a:cubicBezTo>
                    <a:pt x="72540" y="0"/>
                    <a:pt x="66272" y="5821"/>
                    <a:pt x="65376" y="13433"/>
                  </a:cubicBezTo>
                  <a:lnTo>
                    <a:pt x="0" y="13433"/>
                  </a:lnTo>
                  <a:lnTo>
                    <a:pt x="0" y="17911"/>
                  </a:lnTo>
                  <a:lnTo>
                    <a:pt x="65376" y="17911"/>
                  </a:lnTo>
                  <a:cubicBezTo>
                    <a:pt x="66272" y="25523"/>
                    <a:pt x="72988" y="31345"/>
                    <a:pt x="80601" y="31345"/>
                  </a:cubicBezTo>
                  <a:cubicBezTo>
                    <a:pt x="88661" y="31345"/>
                    <a:pt x="94930" y="25523"/>
                    <a:pt x="95825" y="17911"/>
                  </a:cubicBezTo>
                  <a:lnTo>
                    <a:pt x="147768" y="17911"/>
                  </a:lnTo>
                  <a:lnTo>
                    <a:pt x="147768" y="13433"/>
                  </a:lnTo>
                  <a:close/>
                  <a:moveTo>
                    <a:pt x="80601" y="26867"/>
                  </a:moveTo>
                  <a:cubicBezTo>
                    <a:pt x="74332" y="26867"/>
                    <a:pt x="69406" y="21941"/>
                    <a:pt x="69406" y="15672"/>
                  </a:cubicBezTo>
                  <a:cubicBezTo>
                    <a:pt x="69406" y="9403"/>
                    <a:pt x="74332" y="4478"/>
                    <a:pt x="80601" y="4478"/>
                  </a:cubicBezTo>
                  <a:cubicBezTo>
                    <a:pt x="86870" y="4478"/>
                    <a:pt x="91795" y="9403"/>
                    <a:pt x="91795" y="15672"/>
                  </a:cubicBezTo>
                  <a:cubicBezTo>
                    <a:pt x="91795" y="21493"/>
                    <a:pt x="86870" y="26867"/>
                    <a:pt x="80601" y="26867"/>
                  </a:cubicBezTo>
                  <a:close/>
                </a:path>
              </a:pathLst>
            </a:custGeom>
            <a:solidFill>
              <a:srgbClr val="231F20"/>
            </a:solidFill>
            <a:ln w="4474" cap="flat">
              <a:noFill/>
              <a:prstDash val="solid"/>
              <a:miter/>
            </a:ln>
          </p:spPr>
          <p:txBody>
            <a:bodyPr rtlCol="0" anchor="ctr"/>
            <a:lstStyle/>
            <a:p>
              <a:endParaRPr lang="en-US"/>
            </a:p>
          </p:txBody>
        </p:sp>
      </p:grpSp>
      <p:sp>
        <p:nvSpPr>
          <p:cNvPr id="4275" name="Freeform: Shape 4274">
            <a:extLst>
              <a:ext uri="{FF2B5EF4-FFF2-40B4-BE49-F238E27FC236}">
                <a16:creationId xmlns:a16="http://schemas.microsoft.com/office/drawing/2014/main" id="{BFDC7F40-DD0E-4670-9B96-DBBA23A9FDF4}"/>
              </a:ext>
              <a:ext uri="{C183D7F6-B498-43B3-948B-1728B52AA6E4}">
                <adec:decorative xmlns:adec="http://schemas.microsoft.com/office/drawing/2017/decorative" val="1"/>
              </a:ext>
            </a:extLst>
          </p:cNvPr>
          <p:cNvSpPr>
            <a:spLocks noChangeAspect="1"/>
          </p:cNvSpPr>
          <p:nvPr/>
        </p:nvSpPr>
        <p:spPr>
          <a:xfrm>
            <a:off x="3452804" y="3624613"/>
            <a:ext cx="138812" cy="138812"/>
          </a:xfrm>
          <a:custGeom>
            <a:avLst/>
            <a:gdLst>
              <a:gd name="connsiteX0" fmla="*/ 136573 w 138812"/>
              <a:gd name="connsiteY0" fmla="*/ 134335 h 138812"/>
              <a:gd name="connsiteX1" fmla="*/ 125379 w 138812"/>
              <a:gd name="connsiteY1" fmla="*/ 134335 h 138812"/>
              <a:gd name="connsiteX2" fmla="*/ 125379 w 138812"/>
              <a:gd name="connsiteY2" fmla="*/ 42539 h 138812"/>
              <a:gd name="connsiteX3" fmla="*/ 123140 w 138812"/>
              <a:gd name="connsiteY3" fmla="*/ 40300 h 138812"/>
              <a:gd name="connsiteX4" fmla="*/ 96273 w 138812"/>
              <a:gd name="connsiteY4" fmla="*/ 40300 h 138812"/>
              <a:gd name="connsiteX5" fmla="*/ 94034 w 138812"/>
              <a:gd name="connsiteY5" fmla="*/ 42539 h 138812"/>
              <a:gd name="connsiteX6" fmla="*/ 94034 w 138812"/>
              <a:gd name="connsiteY6" fmla="*/ 134335 h 138812"/>
              <a:gd name="connsiteX7" fmla="*/ 85079 w 138812"/>
              <a:gd name="connsiteY7" fmla="*/ 134335 h 138812"/>
              <a:gd name="connsiteX8" fmla="*/ 85079 w 138812"/>
              <a:gd name="connsiteY8" fmla="*/ 15672 h 138812"/>
              <a:gd name="connsiteX9" fmla="*/ 82840 w 138812"/>
              <a:gd name="connsiteY9" fmla="*/ 13433 h 138812"/>
              <a:gd name="connsiteX10" fmla="*/ 55973 w 138812"/>
              <a:gd name="connsiteY10" fmla="*/ 13433 h 138812"/>
              <a:gd name="connsiteX11" fmla="*/ 53734 w 138812"/>
              <a:gd name="connsiteY11" fmla="*/ 15672 h 138812"/>
              <a:gd name="connsiteX12" fmla="*/ 53734 w 138812"/>
              <a:gd name="connsiteY12" fmla="*/ 134335 h 138812"/>
              <a:gd name="connsiteX13" fmla="*/ 44778 w 138812"/>
              <a:gd name="connsiteY13" fmla="*/ 134335 h 138812"/>
              <a:gd name="connsiteX14" fmla="*/ 44778 w 138812"/>
              <a:gd name="connsiteY14" fmla="*/ 55973 h 138812"/>
              <a:gd name="connsiteX15" fmla="*/ 42539 w 138812"/>
              <a:gd name="connsiteY15" fmla="*/ 53734 h 138812"/>
              <a:gd name="connsiteX16" fmla="*/ 15672 w 138812"/>
              <a:gd name="connsiteY16" fmla="*/ 53734 h 138812"/>
              <a:gd name="connsiteX17" fmla="*/ 13433 w 138812"/>
              <a:gd name="connsiteY17" fmla="*/ 55973 h 138812"/>
              <a:gd name="connsiteX18" fmla="*/ 13433 w 138812"/>
              <a:gd name="connsiteY18" fmla="*/ 134335 h 138812"/>
              <a:gd name="connsiteX19" fmla="*/ 4478 w 138812"/>
              <a:gd name="connsiteY19" fmla="*/ 134335 h 138812"/>
              <a:gd name="connsiteX20" fmla="*/ 4478 w 138812"/>
              <a:gd name="connsiteY20" fmla="*/ 2239 h 138812"/>
              <a:gd name="connsiteX21" fmla="*/ 2239 w 138812"/>
              <a:gd name="connsiteY21" fmla="*/ 0 h 138812"/>
              <a:gd name="connsiteX22" fmla="*/ 0 w 138812"/>
              <a:gd name="connsiteY22" fmla="*/ 2239 h 138812"/>
              <a:gd name="connsiteX23" fmla="*/ 0 w 138812"/>
              <a:gd name="connsiteY23" fmla="*/ 136573 h 138812"/>
              <a:gd name="connsiteX24" fmla="*/ 2239 w 138812"/>
              <a:gd name="connsiteY24" fmla="*/ 138812 h 138812"/>
              <a:gd name="connsiteX25" fmla="*/ 15672 w 138812"/>
              <a:gd name="connsiteY25" fmla="*/ 138812 h 138812"/>
              <a:gd name="connsiteX26" fmla="*/ 42539 w 138812"/>
              <a:gd name="connsiteY26" fmla="*/ 138812 h 138812"/>
              <a:gd name="connsiteX27" fmla="*/ 55973 w 138812"/>
              <a:gd name="connsiteY27" fmla="*/ 138812 h 138812"/>
              <a:gd name="connsiteX28" fmla="*/ 82840 w 138812"/>
              <a:gd name="connsiteY28" fmla="*/ 138812 h 138812"/>
              <a:gd name="connsiteX29" fmla="*/ 96273 w 138812"/>
              <a:gd name="connsiteY29" fmla="*/ 138812 h 138812"/>
              <a:gd name="connsiteX30" fmla="*/ 123140 w 138812"/>
              <a:gd name="connsiteY30" fmla="*/ 138812 h 138812"/>
              <a:gd name="connsiteX31" fmla="*/ 136573 w 138812"/>
              <a:gd name="connsiteY31" fmla="*/ 138812 h 138812"/>
              <a:gd name="connsiteX32" fmla="*/ 138812 w 138812"/>
              <a:gd name="connsiteY32" fmla="*/ 136573 h 138812"/>
              <a:gd name="connsiteX33" fmla="*/ 136573 w 138812"/>
              <a:gd name="connsiteY33" fmla="*/ 134335 h 138812"/>
              <a:gd name="connsiteX34" fmla="*/ 17911 w 138812"/>
              <a:gd name="connsiteY34" fmla="*/ 134335 h 138812"/>
              <a:gd name="connsiteX35" fmla="*/ 17911 w 138812"/>
              <a:gd name="connsiteY35" fmla="*/ 58212 h 138812"/>
              <a:gd name="connsiteX36" fmla="*/ 40300 w 138812"/>
              <a:gd name="connsiteY36" fmla="*/ 58212 h 138812"/>
              <a:gd name="connsiteX37" fmla="*/ 40300 w 138812"/>
              <a:gd name="connsiteY37" fmla="*/ 134335 h 138812"/>
              <a:gd name="connsiteX38" fmla="*/ 17911 w 138812"/>
              <a:gd name="connsiteY38" fmla="*/ 134335 h 138812"/>
              <a:gd name="connsiteX39" fmla="*/ 58212 w 138812"/>
              <a:gd name="connsiteY39" fmla="*/ 134335 h 138812"/>
              <a:gd name="connsiteX40" fmla="*/ 58212 w 138812"/>
              <a:gd name="connsiteY40" fmla="*/ 17911 h 138812"/>
              <a:gd name="connsiteX41" fmla="*/ 80601 w 138812"/>
              <a:gd name="connsiteY41" fmla="*/ 17911 h 138812"/>
              <a:gd name="connsiteX42" fmla="*/ 80601 w 138812"/>
              <a:gd name="connsiteY42" fmla="*/ 134335 h 138812"/>
              <a:gd name="connsiteX43" fmla="*/ 58212 w 138812"/>
              <a:gd name="connsiteY43" fmla="*/ 134335 h 138812"/>
              <a:gd name="connsiteX44" fmla="*/ 98512 w 138812"/>
              <a:gd name="connsiteY44" fmla="*/ 134335 h 138812"/>
              <a:gd name="connsiteX45" fmla="*/ 98512 w 138812"/>
              <a:gd name="connsiteY45" fmla="*/ 44778 h 138812"/>
              <a:gd name="connsiteX46" fmla="*/ 120901 w 138812"/>
              <a:gd name="connsiteY46" fmla="*/ 44778 h 138812"/>
              <a:gd name="connsiteX47" fmla="*/ 120901 w 138812"/>
              <a:gd name="connsiteY47" fmla="*/ 134335 h 138812"/>
              <a:gd name="connsiteX48" fmla="*/ 98512 w 138812"/>
              <a:gd name="connsiteY48"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8812" h="138812">
                <a:moveTo>
                  <a:pt x="136573" y="134335"/>
                </a:moveTo>
                <a:lnTo>
                  <a:pt x="125379" y="134335"/>
                </a:lnTo>
                <a:lnTo>
                  <a:pt x="125379" y="42539"/>
                </a:lnTo>
                <a:cubicBezTo>
                  <a:pt x="125379" y="41196"/>
                  <a:pt x="124483" y="40300"/>
                  <a:pt x="123140" y="40300"/>
                </a:cubicBezTo>
                <a:lnTo>
                  <a:pt x="96273" y="40300"/>
                </a:lnTo>
                <a:cubicBezTo>
                  <a:pt x="94930" y="40300"/>
                  <a:pt x="94034" y="41196"/>
                  <a:pt x="94034" y="42539"/>
                </a:cubicBezTo>
                <a:lnTo>
                  <a:pt x="94034" y="134335"/>
                </a:lnTo>
                <a:lnTo>
                  <a:pt x="85079" y="134335"/>
                </a:lnTo>
                <a:lnTo>
                  <a:pt x="85079" y="15672"/>
                </a:lnTo>
                <a:cubicBezTo>
                  <a:pt x="85079" y="14329"/>
                  <a:pt x="84183" y="13433"/>
                  <a:pt x="82840" y="13433"/>
                </a:cubicBezTo>
                <a:lnTo>
                  <a:pt x="55973" y="13433"/>
                </a:lnTo>
                <a:cubicBezTo>
                  <a:pt x="54629" y="13433"/>
                  <a:pt x="53734" y="14329"/>
                  <a:pt x="53734" y="15672"/>
                </a:cubicBezTo>
                <a:lnTo>
                  <a:pt x="53734" y="134335"/>
                </a:lnTo>
                <a:lnTo>
                  <a:pt x="44778" y="134335"/>
                </a:lnTo>
                <a:lnTo>
                  <a:pt x="44778" y="55973"/>
                </a:lnTo>
                <a:cubicBezTo>
                  <a:pt x="44778" y="54629"/>
                  <a:pt x="43883" y="53734"/>
                  <a:pt x="42539" y="53734"/>
                </a:cubicBezTo>
                <a:lnTo>
                  <a:pt x="15672" y="53734"/>
                </a:lnTo>
                <a:cubicBezTo>
                  <a:pt x="14329" y="53734"/>
                  <a:pt x="13433" y="54629"/>
                  <a:pt x="13433" y="55973"/>
                </a:cubicBezTo>
                <a:lnTo>
                  <a:pt x="13433" y="134335"/>
                </a:lnTo>
                <a:lnTo>
                  <a:pt x="4478" y="134335"/>
                </a:lnTo>
                <a:lnTo>
                  <a:pt x="4478" y="2239"/>
                </a:lnTo>
                <a:cubicBezTo>
                  <a:pt x="4478" y="895"/>
                  <a:pt x="3582" y="0"/>
                  <a:pt x="2239" y="0"/>
                </a:cubicBezTo>
                <a:cubicBezTo>
                  <a:pt x="896" y="0"/>
                  <a:pt x="0" y="895"/>
                  <a:pt x="0" y="2239"/>
                </a:cubicBezTo>
                <a:lnTo>
                  <a:pt x="0" y="136573"/>
                </a:lnTo>
                <a:cubicBezTo>
                  <a:pt x="0" y="137917"/>
                  <a:pt x="896" y="138812"/>
                  <a:pt x="2239" y="138812"/>
                </a:cubicBezTo>
                <a:lnTo>
                  <a:pt x="15672" y="138812"/>
                </a:lnTo>
                <a:lnTo>
                  <a:pt x="42539" y="138812"/>
                </a:lnTo>
                <a:lnTo>
                  <a:pt x="55973" y="138812"/>
                </a:lnTo>
                <a:lnTo>
                  <a:pt x="82840" y="138812"/>
                </a:lnTo>
                <a:lnTo>
                  <a:pt x="96273" y="138812"/>
                </a:lnTo>
                <a:lnTo>
                  <a:pt x="123140" y="138812"/>
                </a:lnTo>
                <a:lnTo>
                  <a:pt x="136573" y="138812"/>
                </a:lnTo>
                <a:cubicBezTo>
                  <a:pt x="137917" y="138812"/>
                  <a:pt x="138812" y="137917"/>
                  <a:pt x="138812" y="136573"/>
                </a:cubicBezTo>
                <a:cubicBezTo>
                  <a:pt x="138812" y="135230"/>
                  <a:pt x="137469" y="134335"/>
                  <a:pt x="136573" y="134335"/>
                </a:cubicBezTo>
                <a:close/>
                <a:moveTo>
                  <a:pt x="17911" y="134335"/>
                </a:moveTo>
                <a:lnTo>
                  <a:pt x="17911" y="58212"/>
                </a:lnTo>
                <a:lnTo>
                  <a:pt x="40300" y="58212"/>
                </a:lnTo>
                <a:lnTo>
                  <a:pt x="40300" y="134335"/>
                </a:lnTo>
                <a:lnTo>
                  <a:pt x="17911" y="134335"/>
                </a:lnTo>
                <a:close/>
                <a:moveTo>
                  <a:pt x="58212" y="134335"/>
                </a:moveTo>
                <a:lnTo>
                  <a:pt x="58212" y="17911"/>
                </a:lnTo>
                <a:lnTo>
                  <a:pt x="80601" y="17911"/>
                </a:lnTo>
                <a:lnTo>
                  <a:pt x="80601" y="134335"/>
                </a:lnTo>
                <a:lnTo>
                  <a:pt x="58212" y="134335"/>
                </a:lnTo>
                <a:close/>
                <a:moveTo>
                  <a:pt x="98512" y="134335"/>
                </a:moveTo>
                <a:lnTo>
                  <a:pt x="98512" y="44778"/>
                </a:lnTo>
                <a:lnTo>
                  <a:pt x="120901" y="44778"/>
                </a:lnTo>
                <a:lnTo>
                  <a:pt x="120901" y="134335"/>
                </a:lnTo>
                <a:lnTo>
                  <a:pt x="98512" y="134335"/>
                </a:lnTo>
                <a:close/>
              </a:path>
            </a:pathLst>
          </a:custGeom>
          <a:solidFill>
            <a:srgbClr val="231F20"/>
          </a:solidFill>
          <a:ln w="4474" cap="flat">
            <a:noFill/>
            <a:prstDash val="solid"/>
            <a:miter/>
          </a:ln>
        </p:spPr>
        <p:txBody>
          <a:bodyPr rtlCol="0" anchor="ctr"/>
          <a:lstStyle/>
          <a:p>
            <a:endParaRPr lang="en-US"/>
          </a:p>
        </p:txBody>
      </p:sp>
      <p:grpSp>
        <p:nvGrpSpPr>
          <p:cNvPr id="4276" name="Group 4275">
            <a:extLst>
              <a:ext uri="{FF2B5EF4-FFF2-40B4-BE49-F238E27FC236}">
                <a16:creationId xmlns:a16="http://schemas.microsoft.com/office/drawing/2014/main" id="{E51C4508-241F-4CE3-843B-A3999618389A}"/>
              </a:ext>
              <a:ext uri="{C183D7F6-B498-43B3-948B-1728B52AA6E4}">
                <adec:decorative xmlns:adec="http://schemas.microsoft.com/office/drawing/2017/decorative" val="1"/>
              </a:ext>
            </a:extLst>
          </p:cNvPr>
          <p:cNvGrpSpPr>
            <a:grpSpLocks noChangeAspect="1"/>
          </p:cNvGrpSpPr>
          <p:nvPr/>
        </p:nvGrpSpPr>
        <p:grpSpPr>
          <a:xfrm>
            <a:off x="4228810" y="3638046"/>
            <a:ext cx="152245" cy="138812"/>
            <a:chOff x="4269564" y="2902607"/>
            <a:chExt cx="152245" cy="138812"/>
          </a:xfrm>
        </p:grpSpPr>
        <p:sp>
          <p:nvSpPr>
            <p:cNvPr id="4277" name="Freeform: Shape 4276">
              <a:extLst>
                <a:ext uri="{FF2B5EF4-FFF2-40B4-BE49-F238E27FC236}">
                  <a16:creationId xmlns:a16="http://schemas.microsoft.com/office/drawing/2014/main" id="{EFB3E7DE-C329-47D5-A2C7-42E38F1D1B78}"/>
                </a:ext>
              </a:extLst>
            </p:cNvPr>
            <p:cNvSpPr/>
            <p:nvPr/>
          </p:nvSpPr>
          <p:spPr>
            <a:xfrm>
              <a:off x="4269564" y="2942907"/>
              <a:ext cx="44778" cy="98512"/>
            </a:xfrm>
            <a:custGeom>
              <a:avLst/>
              <a:gdLst>
                <a:gd name="connsiteX0" fmla="*/ 42539 w 44778"/>
                <a:gd name="connsiteY0" fmla="*/ 98512 h 98511"/>
                <a:gd name="connsiteX1" fmla="*/ 2239 w 44778"/>
                <a:gd name="connsiteY1" fmla="*/ 98512 h 98511"/>
                <a:gd name="connsiteX2" fmla="*/ 0 w 44778"/>
                <a:gd name="connsiteY2" fmla="*/ 96273 h 98511"/>
                <a:gd name="connsiteX3" fmla="*/ 0 w 44778"/>
                <a:gd name="connsiteY3" fmla="*/ 2239 h 98511"/>
                <a:gd name="connsiteX4" fmla="*/ 2239 w 44778"/>
                <a:gd name="connsiteY4" fmla="*/ 0 h 98511"/>
                <a:gd name="connsiteX5" fmla="*/ 33584 w 44778"/>
                <a:gd name="connsiteY5" fmla="*/ 0 h 98511"/>
                <a:gd name="connsiteX6" fmla="*/ 44778 w 44778"/>
                <a:gd name="connsiteY6" fmla="*/ 11195 h 98511"/>
                <a:gd name="connsiteX7" fmla="*/ 44778 w 44778"/>
                <a:gd name="connsiteY7" fmla="*/ 96273 h 98511"/>
                <a:gd name="connsiteX8" fmla="*/ 42539 w 44778"/>
                <a:gd name="connsiteY8" fmla="*/ 98512 h 98511"/>
                <a:gd name="connsiteX9" fmla="*/ 4478 w 44778"/>
                <a:gd name="connsiteY9" fmla="*/ 94034 h 98511"/>
                <a:gd name="connsiteX10" fmla="*/ 40300 w 44778"/>
                <a:gd name="connsiteY10" fmla="*/ 94034 h 98511"/>
                <a:gd name="connsiteX11" fmla="*/ 40300 w 44778"/>
                <a:gd name="connsiteY11" fmla="*/ 11195 h 98511"/>
                <a:gd name="connsiteX12" fmla="*/ 33584 w 44778"/>
                <a:gd name="connsiteY12" fmla="*/ 4478 h 98511"/>
                <a:gd name="connsiteX13" fmla="*/ 4478 w 44778"/>
                <a:gd name="connsiteY13" fmla="*/ 4478 h 98511"/>
                <a:gd name="connsiteX14" fmla="*/ 4478 w 44778"/>
                <a:gd name="connsiteY14" fmla="*/ 9403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78" h="98511">
                  <a:moveTo>
                    <a:pt x="42539" y="98512"/>
                  </a:moveTo>
                  <a:lnTo>
                    <a:pt x="2239" y="98512"/>
                  </a:lnTo>
                  <a:cubicBezTo>
                    <a:pt x="896" y="98512"/>
                    <a:pt x="0" y="97616"/>
                    <a:pt x="0" y="96273"/>
                  </a:cubicBezTo>
                  <a:lnTo>
                    <a:pt x="0" y="2239"/>
                  </a:lnTo>
                  <a:cubicBezTo>
                    <a:pt x="0" y="895"/>
                    <a:pt x="896" y="0"/>
                    <a:pt x="2239" y="0"/>
                  </a:cubicBezTo>
                  <a:lnTo>
                    <a:pt x="33584" y="0"/>
                  </a:lnTo>
                  <a:cubicBezTo>
                    <a:pt x="39853" y="0"/>
                    <a:pt x="44778" y="4925"/>
                    <a:pt x="44778" y="11195"/>
                  </a:cubicBezTo>
                  <a:lnTo>
                    <a:pt x="44778" y="96273"/>
                  </a:lnTo>
                  <a:cubicBezTo>
                    <a:pt x="44778" y="97169"/>
                    <a:pt x="43435" y="98512"/>
                    <a:pt x="42539" y="98512"/>
                  </a:cubicBezTo>
                  <a:close/>
                  <a:moveTo>
                    <a:pt x="4478" y="94034"/>
                  </a:moveTo>
                  <a:lnTo>
                    <a:pt x="40300" y="94034"/>
                  </a:lnTo>
                  <a:lnTo>
                    <a:pt x="40300" y="11195"/>
                  </a:lnTo>
                  <a:cubicBezTo>
                    <a:pt x="40300" y="7612"/>
                    <a:pt x="37166" y="4478"/>
                    <a:pt x="33584" y="4478"/>
                  </a:cubicBezTo>
                  <a:lnTo>
                    <a:pt x="4478" y="4478"/>
                  </a:lnTo>
                  <a:lnTo>
                    <a:pt x="4478" y="94034"/>
                  </a:lnTo>
                  <a:close/>
                </a:path>
              </a:pathLst>
            </a:custGeom>
            <a:solidFill>
              <a:srgbClr val="231F20"/>
            </a:solidFill>
            <a:ln w="4474" cap="flat">
              <a:noFill/>
              <a:prstDash val="solid"/>
              <a:miter/>
            </a:ln>
          </p:spPr>
          <p:txBody>
            <a:bodyPr rtlCol="0" anchor="ctr"/>
            <a:lstStyle/>
            <a:p>
              <a:endParaRPr lang="en-US"/>
            </a:p>
          </p:txBody>
        </p:sp>
        <p:sp>
          <p:nvSpPr>
            <p:cNvPr id="4278" name="Freeform: Shape 4277">
              <a:extLst>
                <a:ext uri="{FF2B5EF4-FFF2-40B4-BE49-F238E27FC236}">
                  <a16:creationId xmlns:a16="http://schemas.microsoft.com/office/drawing/2014/main" id="{DA6FB6DF-33E8-496A-95D6-B39B14BF0AF7}"/>
                </a:ext>
              </a:extLst>
            </p:cNvPr>
            <p:cNvSpPr/>
            <p:nvPr/>
          </p:nvSpPr>
          <p:spPr>
            <a:xfrm>
              <a:off x="4377031" y="2929474"/>
              <a:ext cx="44778" cy="111945"/>
            </a:xfrm>
            <a:custGeom>
              <a:avLst/>
              <a:gdLst>
                <a:gd name="connsiteX0" fmla="*/ 42539 w 44778"/>
                <a:gd name="connsiteY0" fmla="*/ 111945 h 111945"/>
                <a:gd name="connsiteX1" fmla="*/ 2239 w 44778"/>
                <a:gd name="connsiteY1" fmla="*/ 111945 h 111945"/>
                <a:gd name="connsiteX2" fmla="*/ 0 w 44778"/>
                <a:gd name="connsiteY2" fmla="*/ 109707 h 111945"/>
                <a:gd name="connsiteX3" fmla="*/ 0 w 44778"/>
                <a:gd name="connsiteY3" fmla="*/ 2239 h 111945"/>
                <a:gd name="connsiteX4" fmla="*/ 2239 w 44778"/>
                <a:gd name="connsiteY4" fmla="*/ 0 h 111945"/>
                <a:gd name="connsiteX5" fmla="*/ 33584 w 44778"/>
                <a:gd name="connsiteY5" fmla="*/ 0 h 111945"/>
                <a:gd name="connsiteX6" fmla="*/ 44778 w 44778"/>
                <a:gd name="connsiteY6" fmla="*/ 11195 h 111945"/>
                <a:gd name="connsiteX7" fmla="*/ 44778 w 44778"/>
                <a:gd name="connsiteY7" fmla="*/ 109707 h 111945"/>
                <a:gd name="connsiteX8" fmla="*/ 42539 w 44778"/>
                <a:gd name="connsiteY8" fmla="*/ 111945 h 111945"/>
                <a:gd name="connsiteX9" fmla="*/ 4478 w 44778"/>
                <a:gd name="connsiteY9" fmla="*/ 107468 h 111945"/>
                <a:gd name="connsiteX10" fmla="*/ 40300 w 44778"/>
                <a:gd name="connsiteY10" fmla="*/ 107468 h 111945"/>
                <a:gd name="connsiteX11" fmla="*/ 40300 w 44778"/>
                <a:gd name="connsiteY11" fmla="*/ 11195 h 111945"/>
                <a:gd name="connsiteX12" fmla="*/ 33584 w 44778"/>
                <a:gd name="connsiteY12" fmla="*/ 4478 h 111945"/>
                <a:gd name="connsiteX13" fmla="*/ 4478 w 44778"/>
                <a:gd name="connsiteY13" fmla="*/ 4478 h 111945"/>
                <a:gd name="connsiteX14" fmla="*/ 4478 w 44778"/>
                <a:gd name="connsiteY14"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78" h="111945">
                  <a:moveTo>
                    <a:pt x="42539" y="111945"/>
                  </a:moveTo>
                  <a:lnTo>
                    <a:pt x="2239" y="111945"/>
                  </a:lnTo>
                  <a:cubicBezTo>
                    <a:pt x="896" y="111945"/>
                    <a:pt x="0" y="111050"/>
                    <a:pt x="0" y="109707"/>
                  </a:cubicBezTo>
                  <a:lnTo>
                    <a:pt x="0" y="2239"/>
                  </a:lnTo>
                  <a:cubicBezTo>
                    <a:pt x="0" y="895"/>
                    <a:pt x="896" y="0"/>
                    <a:pt x="2239" y="0"/>
                  </a:cubicBezTo>
                  <a:lnTo>
                    <a:pt x="33584" y="0"/>
                  </a:lnTo>
                  <a:cubicBezTo>
                    <a:pt x="39853" y="0"/>
                    <a:pt x="44778" y="4925"/>
                    <a:pt x="44778" y="11195"/>
                  </a:cubicBezTo>
                  <a:lnTo>
                    <a:pt x="44778" y="109707"/>
                  </a:lnTo>
                  <a:cubicBezTo>
                    <a:pt x="44778" y="110602"/>
                    <a:pt x="43435" y="111945"/>
                    <a:pt x="42539" y="111945"/>
                  </a:cubicBezTo>
                  <a:close/>
                  <a:moveTo>
                    <a:pt x="4478" y="107468"/>
                  </a:moveTo>
                  <a:lnTo>
                    <a:pt x="40300" y="107468"/>
                  </a:lnTo>
                  <a:lnTo>
                    <a:pt x="40300" y="11195"/>
                  </a:lnTo>
                  <a:cubicBezTo>
                    <a:pt x="40300" y="7612"/>
                    <a:pt x="37166" y="4478"/>
                    <a:pt x="33584" y="4478"/>
                  </a:cubicBezTo>
                  <a:lnTo>
                    <a:pt x="4478" y="4478"/>
                  </a:lnTo>
                  <a:lnTo>
                    <a:pt x="4478" y="107468"/>
                  </a:lnTo>
                  <a:close/>
                </a:path>
              </a:pathLst>
            </a:custGeom>
            <a:solidFill>
              <a:srgbClr val="231F20"/>
            </a:solidFill>
            <a:ln w="4474" cap="flat">
              <a:noFill/>
              <a:prstDash val="solid"/>
              <a:miter/>
            </a:ln>
          </p:spPr>
          <p:txBody>
            <a:bodyPr rtlCol="0" anchor="ctr"/>
            <a:lstStyle/>
            <a:p>
              <a:endParaRPr lang="en-US"/>
            </a:p>
          </p:txBody>
        </p:sp>
        <p:sp>
          <p:nvSpPr>
            <p:cNvPr id="4279" name="Freeform: Shape 4278">
              <a:extLst>
                <a:ext uri="{FF2B5EF4-FFF2-40B4-BE49-F238E27FC236}">
                  <a16:creationId xmlns:a16="http://schemas.microsoft.com/office/drawing/2014/main" id="{F556E6F9-876D-445C-B395-7679B84878A6}"/>
                </a:ext>
              </a:extLst>
            </p:cNvPr>
            <p:cNvSpPr/>
            <p:nvPr/>
          </p:nvSpPr>
          <p:spPr>
            <a:xfrm>
              <a:off x="4323298" y="2902607"/>
              <a:ext cx="44778" cy="138812"/>
            </a:xfrm>
            <a:custGeom>
              <a:avLst/>
              <a:gdLst>
                <a:gd name="connsiteX0" fmla="*/ 42539 w 44778"/>
                <a:gd name="connsiteY0" fmla="*/ 138812 h 138812"/>
                <a:gd name="connsiteX1" fmla="*/ 2239 w 44778"/>
                <a:gd name="connsiteY1" fmla="*/ 138812 h 138812"/>
                <a:gd name="connsiteX2" fmla="*/ 0 w 44778"/>
                <a:gd name="connsiteY2" fmla="*/ 136573 h 138812"/>
                <a:gd name="connsiteX3" fmla="*/ 0 w 44778"/>
                <a:gd name="connsiteY3" fmla="*/ 2239 h 138812"/>
                <a:gd name="connsiteX4" fmla="*/ 2239 w 44778"/>
                <a:gd name="connsiteY4" fmla="*/ 0 h 138812"/>
                <a:gd name="connsiteX5" fmla="*/ 33584 w 44778"/>
                <a:gd name="connsiteY5" fmla="*/ 0 h 138812"/>
                <a:gd name="connsiteX6" fmla="*/ 44778 w 44778"/>
                <a:gd name="connsiteY6" fmla="*/ 11195 h 138812"/>
                <a:gd name="connsiteX7" fmla="*/ 44778 w 44778"/>
                <a:gd name="connsiteY7" fmla="*/ 136573 h 138812"/>
                <a:gd name="connsiteX8" fmla="*/ 42539 w 44778"/>
                <a:gd name="connsiteY8" fmla="*/ 138812 h 138812"/>
                <a:gd name="connsiteX9" fmla="*/ 4478 w 44778"/>
                <a:gd name="connsiteY9" fmla="*/ 134335 h 138812"/>
                <a:gd name="connsiteX10" fmla="*/ 40300 w 44778"/>
                <a:gd name="connsiteY10" fmla="*/ 134335 h 138812"/>
                <a:gd name="connsiteX11" fmla="*/ 40300 w 44778"/>
                <a:gd name="connsiteY11" fmla="*/ 11195 h 138812"/>
                <a:gd name="connsiteX12" fmla="*/ 33584 w 44778"/>
                <a:gd name="connsiteY12" fmla="*/ 4478 h 138812"/>
                <a:gd name="connsiteX13" fmla="*/ 4478 w 44778"/>
                <a:gd name="connsiteY13" fmla="*/ 4478 h 138812"/>
                <a:gd name="connsiteX14" fmla="*/ 4478 w 44778"/>
                <a:gd name="connsiteY14"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78" h="138812">
                  <a:moveTo>
                    <a:pt x="42539" y="138812"/>
                  </a:moveTo>
                  <a:lnTo>
                    <a:pt x="2239" y="138812"/>
                  </a:lnTo>
                  <a:cubicBezTo>
                    <a:pt x="896" y="138812"/>
                    <a:pt x="0" y="137917"/>
                    <a:pt x="0" y="136573"/>
                  </a:cubicBezTo>
                  <a:lnTo>
                    <a:pt x="0" y="2239"/>
                  </a:lnTo>
                  <a:cubicBezTo>
                    <a:pt x="0" y="895"/>
                    <a:pt x="896" y="0"/>
                    <a:pt x="2239" y="0"/>
                  </a:cubicBezTo>
                  <a:lnTo>
                    <a:pt x="33584" y="0"/>
                  </a:lnTo>
                  <a:cubicBezTo>
                    <a:pt x="39853" y="0"/>
                    <a:pt x="44778" y="4925"/>
                    <a:pt x="44778" y="11195"/>
                  </a:cubicBezTo>
                  <a:lnTo>
                    <a:pt x="44778" y="136573"/>
                  </a:lnTo>
                  <a:cubicBezTo>
                    <a:pt x="44778" y="137469"/>
                    <a:pt x="43435" y="138812"/>
                    <a:pt x="42539" y="138812"/>
                  </a:cubicBezTo>
                  <a:close/>
                  <a:moveTo>
                    <a:pt x="4478" y="134335"/>
                  </a:moveTo>
                  <a:lnTo>
                    <a:pt x="40300" y="134335"/>
                  </a:lnTo>
                  <a:lnTo>
                    <a:pt x="40300" y="11195"/>
                  </a:lnTo>
                  <a:cubicBezTo>
                    <a:pt x="40300" y="7612"/>
                    <a:pt x="37166" y="4478"/>
                    <a:pt x="33584" y="4478"/>
                  </a:cubicBezTo>
                  <a:lnTo>
                    <a:pt x="4478" y="4478"/>
                  </a:lnTo>
                  <a:lnTo>
                    <a:pt x="4478" y="134335"/>
                  </a:lnTo>
                  <a:close/>
                </a:path>
              </a:pathLst>
            </a:custGeom>
            <a:solidFill>
              <a:srgbClr val="231F20"/>
            </a:solidFill>
            <a:ln w="4474" cap="flat">
              <a:noFill/>
              <a:prstDash val="solid"/>
              <a:miter/>
            </a:ln>
          </p:spPr>
          <p:txBody>
            <a:bodyPr rtlCol="0" anchor="ctr"/>
            <a:lstStyle/>
            <a:p>
              <a:endParaRPr lang="en-US"/>
            </a:p>
          </p:txBody>
        </p:sp>
      </p:grpSp>
      <p:grpSp>
        <p:nvGrpSpPr>
          <p:cNvPr id="4280" name="Group 4279">
            <a:extLst>
              <a:ext uri="{FF2B5EF4-FFF2-40B4-BE49-F238E27FC236}">
                <a16:creationId xmlns:a16="http://schemas.microsoft.com/office/drawing/2014/main" id="{F66A7CFB-E946-496B-AFA6-0D8A67453F58}"/>
              </a:ext>
              <a:ext uri="{C183D7F6-B498-43B3-948B-1728B52AA6E4}">
                <adec:decorative xmlns:adec="http://schemas.microsoft.com/office/drawing/2017/decorative" val="1"/>
              </a:ext>
            </a:extLst>
          </p:cNvPr>
          <p:cNvGrpSpPr>
            <a:grpSpLocks noChangeAspect="1"/>
          </p:cNvGrpSpPr>
          <p:nvPr/>
        </p:nvGrpSpPr>
        <p:grpSpPr>
          <a:xfrm>
            <a:off x="3685650" y="3644763"/>
            <a:ext cx="161201" cy="128961"/>
            <a:chOff x="3726404" y="2909324"/>
            <a:chExt cx="161201" cy="128961"/>
          </a:xfrm>
        </p:grpSpPr>
        <p:sp>
          <p:nvSpPr>
            <p:cNvPr id="4281" name="Freeform: Shape 4280">
              <a:extLst>
                <a:ext uri="{FF2B5EF4-FFF2-40B4-BE49-F238E27FC236}">
                  <a16:creationId xmlns:a16="http://schemas.microsoft.com/office/drawing/2014/main" id="{74E191B3-1313-40B1-9EAA-6577900DFCC1}"/>
                </a:ext>
              </a:extLst>
            </p:cNvPr>
            <p:cNvSpPr/>
            <p:nvPr/>
          </p:nvSpPr>
          <p:spPr>
            <a:xfrm>
              <a:off x="3739390" y="2953206"/>
              <a:ext cx="138812" cy="85079"/>
            </a:xfrm>
            <a:custGeom>
              <a:avLst/>
              <a:gdLst>
                <a:gd name="connsiteX0" fmla="*/ 136573 w 138812"/>
                <a:gd name="connsiteY0" fmla="*/ 32240 h 85078"/>
                <a:gd name="connsiteX1" fmla="*/ 134335 w 138812"/>
                <a:gd name="connsiteY1" fmla="*/ 34479 h 85078"/>
                <a:gd name="connsiteX2" fmla="*/ 134335 w 138812"/>
                <a:gd name="connsiteY2" fmla="*/ 83735 h 85078"/>
                <a:gd name="connsiteX3" fmla="*/ 98512 w 138812"/>
                <a:gd name="connsiteY3" fmla="*/ 83735 h 85078"/>
                <a:gd name="connsiteX4" fmla="*/ 98512 w 138812"/>
                <a:gd name="connsiteY4" fmla="*/ 2239 h 85078"/>
                <a:gd name="connsiteX5" fmla="*/ 96273 w 138812"/>
                <a:gd name="connsiteY5" fmla="*/ 0 h 85078"/>
                <a:gd name="connsiteX6" fmla="*/ 94034 w 138812"/>
                <a:gd name="connsiteY6" fmla="*/ 2239 h 85078"/>
                <a:gd name="connsiteX7" fmla="*/ 94034 w 138812"/>
                <a:gd name="connsiteY7" fmla="*/ 83735 h 85078"/>
                <a:gd name="connsiteX8" fmla="*/ 44778 w 138812"/>
                <a:gd name="connsiteY8" fmla="*/ 83735 h 85078"/>
                <a:gd name="connsiteX9" fmla="*/ 44778 w 138812"/>
                <a:gd name="connsiteY9" fmla="*/ 52838 h 85078"/>
                <a:gd name="connsiteX10" fmla="*/ 42539 w 138812"/>
                <a:gd name="connsiteY10" fmla="*/ 50599 h 85078"/>
                <a:gd name="connsiteX11" fmla="*/ 40300 w 138812"/>
                <a:gd name="connsiteY11" fmla="*/ 52838 h 85078"/>
                <a:gd name="connsiteX12" fmla="*/ 40300 w 138812"/>
                <a:gd name="connsiteY12" fmla="*/ 83735 h 85078"/>
                <a:gd name="connsiteX13" fmla="*/ 4478 w 138812"/>
                <a:gd name="connsiteY13" fmla="*/ 83735 h 85078"/>
                <a:gd name="connsiteX14" fmla="*/ 4478 w 138812"/>
                <a:gd name="connsiteY14" fmla="*/ 12986 h 85078"/>
                <a:gd name="connsiteX15" fmla="*/ 2239 w 138812"/>
                <a:gd name="connsiteY15" fmla="*/ 10747 h 85078"/>
                <a:gd name="connsiteX16" fmla="*/ 0 w 138812"/>
                <a:gd name="connsiteY16" fmla="*/ 12986 h 85078"/>
                <a:gd name="connsiteX17" fmla="*/ 0 w 138812"/>
                <a:gd name="connsiteY17" fmla="*/ 85974 h 85078"/>
                <a:gd name="connsiteX18" fmla="*/ 2239 w 138812"/>
                <a:gd name="connsiteY18" fmla="*/ 88213 h 85078"/>
                <a:gd name="connsiteX19" fmla="*/ 136573 w 138812"/>
                <a:gd name="connsiteY19" fmla="*/ 88213 h 85078"/>
                <a:gd name="connsiteX20" fmla="*/ 138812 w 138812"/>
                <a:gd name="connsiteY20" fmla="*/ 85974 h 85078"/>
                <a:gd name="connsiteX21" fmla="*/ 138812 w 138812"/>
                <a:gd name="connsiteY21" fmla="*/ 34479 h 85078"/>
                <a:gd name="connsiteX22" fmla="*/ 136573 w 138812"/>
                <a:gd name="connsiteY22" fmla="*/ 32240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812" h="85078">
                  <a:moveTo>
                    <a:pt x="136573" y="32240"/>
                  </a:moveTo>
                  <a:cubicBezTo>
                    <a:pt x="135230" y="32240"/>
                    <a:pt x="134335" y="33136"/>
                    <a:pt x="134335" y="34479"/>
                  </a:cubicBezTo>
                  <a:lnTo>
                    <a:pt x="134335" y="83735"/>
                  </a:lnTo>
                  <a:lnTo>
                    <a:pt x="98512" y="83735"/>
                  </a:lnTo>
                  <a:lnTo>
                    <a:pt x="98512" y="2239"/>
                  </a:lnTo>
                  <a:cubicBezTo>
                    <a:pt x="98512" y="896"/>
                    <a:pt x="97616" y="0"/>
                    <a:pt x="96273" y="0"/>
                  </a:cubicBezTo>
                  <a:cubicBezTo>
                    <a:pt x="94930" y="0"/>
                    <a:pt x="94034" y="896"/>
                    <a:pt x="94034" y="2239"/>
                  </a:cubicBezTo>
                  <a:lnTo>
                    <a:pt x="94034" y="83735"/>
                  </a:lnTo>
                  <a:lnTo>
                    <a:pt x="44778" y="83735"/>
                  </a:lnTo>
                  <a:lnTo>
                    <a:pt x="44778" y="52838"/>
                  </a:lnTo>
                  <a:cubicBezTo>
                    <a:pt x="44778" y="51495"/>
                    <a:pt x="43883" y="50599"/>
                    <a:pt x="42539" y="50599"/>
                  </a:cubicBezTo>
                  <a:cubicBezTo>
                    <a:pt x="41196" y="50599"/>
                    <a:pt x="40300" y="51495"/>
                    <a:pt x="40300" y="52838"/>
                  </a:cubicBezTo>
                  <a:lnTo>
                    <a:pt x="40300" y="83735"/>
                  </a:lnTo>
                  <a:lnTo>
                    <a:pt x="4478" y="83735"/>
                  </a:lnTo>
                  <a:lnTo>
                    <a:pt x="4478" y="12986"/>
                  </a:lnTo>
                  <a:cubicBezTo>
                    <a:pt x="4478" y="11642"/>
                    <a:pt x="3582" y="10747"/>
                    <a:pt x="2239" y="10747"/>
                  </a:cubicBezTo>
                  <a:cubicBezTo>
                    <a:pt x="896" y="10747"/>
                    <a:pt x="0" y="11642"/>
                    <a:pt x="0" y="12986"/>
                  </a:cubicBezTo>
                  <a:lnTo>
                    <a:pt x="0" y="85974"/>
                  </a:lnTo>
                  <a:cubicBezTo>
                    <a:pt x="0" y="87317"/>
                    <a:pt x="896" y="88213"/>
                    <a:pt x="2239" y="88213"/>
                  </a:cubicBezTo>
                  <a:lnTo>
                    <a:pt x="136573" y="88213"/>
                  </a:lnTo>
                  <a:cubicBezTo>
                    <a:pt x="137917" y="88213"/>
                    <a:pt x="138812" y="87317"/>
                    <a:pt x="138812" y="85974"/>
                  </a:cubicBezTo>
                  <a:lnTo>
                    <a:pt x="138812" y="34479"/>
                  </a:lnTo>
                  <a:cubicBezTo>
                    <a:pt x="138812" y="33136"/>
                    <a:pt x="137917" y="32240"/>
                    <a:pt x="136573" y="32240"/>
                  </a:cubicBezTo>
                  <a:close/>
                </a:path>
              </a:pathLst>
            </a:custGeom>
            <a:solidFill>
              <a:srgbClr val="231F20"/>
            </a:solidFill>
            <a:ln w="4474" cap="flat">
              <a:noFill/>
              <a:prstDash val="solid"/>
              <a:miter/>
            </a:ln>
          </p:spPr>
          <p:txBody>
            <a:bodyPr rtlCol="0" anchor="ctr"/>
            <a:lstStyle/>
            <a:p>
              <a:endParaRPr lang="en-US"/>
            </a:p>
          </p:txBody>
        </p:sp>
        <p:sp>
          <p:nvSpPr>
            <p:cNvPr id="4282" name="Freeform: Shape 4281">
              <a:extLst>
                <a:ext uri="{FF2B5EF4-FFF2-40B4-BE49-F238E27FC236}">
                  <a16:creationId xmlns:a16="http://schemas.microsoft.com/office/drawing/2014/main" id="{E7F476C7-8F1F-49F1-8993-BE0435A2DAEF}"/>
                </a:ext>
              </a:extLst>
            </p:cNvPr>
            <p:cNvSpPr/>
            <p:nvPr/>
          </p:nvSpPr>
          <p:spPr>
            <a:xfrm>
              <a:off x="3726404" y="2909324"/>
              <a:ext cx="161201" cy="76123"/>
            </a:xfrm>
            <a:custGeom>
              <a:avLst/>
              <a:gdLst>
                <a:gd name="connsiteX0" fmla="*/ 149559 w 161201"/>
                <a:gd name="connsiteY0" fmla="*/ 33584 h 76122"/>
                <a:gd name="connsiteX1" fmla="*/ 140156 w 161201"/>
                <a:gd name="connsiteY1" fmla="*/ 36718 h 76122"/>
                <a:gd name="connsiteX2" fmla="*/ 124483 w 161201"/>
                <a:gd name="connsiteY2" fmla="*/ 20598 h 76122"/>
                <a:gd name="connsiteX3" fmla="*/ 125379 w 161201"/>
                <a:gd name="connsiteY3" fmla="*/ 15672 h 76122"/>
                <a:gd name="connsiteX4" fmla="*/ 109707 w 161201"/>
                <a:gd name="connsiteY4" fmla="*/ 0 h 76122"/>
                <a:gd name="connsiteX5" fmla="*/ 94034 w 161201"/>
                <a:gd name="connsiteY5" fmla="*/ 15672 h 76122"/>
                <a:gd name="connsiteX6" fmla="*/ 94930 w 161201"/>
                <a:gd name="connsiteY6" fmla="*/ 20598 h 76122"/>
                <a:gd name="connsiteX7" fmla="*/ 64481 w 161201"/>
                <a:gd name="connsiteY7" fmla="*/ 50151 h 76122"/>
                <a:gd name="connsiteX8" fmla="*/ 55973 w 161201"/>
                <a:gd name="connsiteY8" fmla="*/ 47465 h 76122"/>
                <a:gd name="connsiteX9" fmla="*/ 46569 w 161201"/>
                <a:gd name="connsiteY9" fmla="*/ 50599 h 76122"/>
                <a:gd name="connsiteX10" fmla="*/ 28210 w 161201"/>
                <a:gd name="connsiteY10" fmla="*/ 31792 h 76122"/>
                <a:gd name="connsiteX11" fmla="*/ 31345 w 161201"/>
                <a:gd name="connsiteY11" fmla="*/ 22389 h 76122"/>
                <a:gd name="connsiteX12" fmla="*/ 15672 w 161201"/>
                <a:gd name="connsiteY12" fmla="*/ 6717 h 76122"/>
                <a:gd name="connsiteX13" fmla="*/ 0 w 161201"/>
                <a:gd name="connsiteY13" fmla="*/ 22389 h 76122"/>
                <a:gd name="connsiteX14" fmla="*/ 15672 w 161201"/>
                <a:gd name="connsiteY14" fmla="*/ 38061 h 76122"/>
                <a:gd name="connsiteX15" fmla="*/ 25076 w 161201"/>
                <a:gd name="connsiteY15" fmla="*/ 34927 h 76122"/>
                <a:gd name="connsiteX16" fmla="*/ 43435 w 161201"/>
                <a:gd name="connsiteY16" fmla="*/ 53734 h 76122"/>
                <a:gd name="connsiteX17" fmla="*/ 40300 w 161201"/>
                <a:gd name="connsiteY17" fmla="*/ 63137 h 76122"/>
                <a:gd name="connsiteX18" fmla="*/ 55973 w 161201"/>
                <a:gd name="connsiteY18" fmla="*/ 78809 h 76122"/>
                <a:gd name="connsiteX19" fmla="*/ 71645 w 161201"/>
                <a:gd name="connsiteY19" fmla="*/ 63137 h 76122"/>
                <a:gd name="connsiteX20" fmla="*/ 67615 w 161201"/>
                <a:gd name="connsiteY20" fmla="*/ 53286 h 76122"/>
                <a:gd name="connsiteX21" fmla="*/ 96721 w 161201"/>
                <a:gd name="connsiteY21" fmla="*/ 25076 h 76122"/>
                <a:gd name="connsiteX22" fmla="*/ 109707 w 161201"/>
                <a:gd name="connsiteY22" fmla="*/ 31345 h 76122"/>
                <a:gd name="connsiteX23" fmla="*/ 122244 w 161201"/>
                <a:gd name="connsiteY23" fmla="*/ 25076 h 76122"/>
                <a:gd name="connsiteX24" fmla="*/ 137021 w 161201"/>
                <a:gd name="connsiteY24" fmla="*/ 40300 h 76122"/>
                <a:gd name="connsiteX25" fmla="*/ 133887 w 161201"/>
                <a:gd name="connsiteY25" fmla="*/ 49256 h 76122"/>
                <a:gd name="connsiteX26" fmla="*/ 149559 w 161201"/>
                <a:gd name="connsiteY26" fmla="*/ 64928 h 76122"/>
                <a:gd name="connsiteX27" fmla="*/ 165232 w 161201"/>
                <a:gd name="connsiteY27" fmla="*/ 49256 h 76122"/>
                <a:gd name="connsiteX28" fmla="*/ 149559 w 161201"/>
                <a:gd name="connsiteY28" fmla="*/ 33584 h 76122"/>
                <a:gd name="connsiteX29" fmla="*/ 4030 w 161201"/>
                <a:gd name="connsiteY29" fmla="*/ 22389 h 76122"/>
                <a:gd name="connsiteX30" fmla="*/ 15225 w 161201"/>
                <a:gd name="connsiteY30" fmla="*/ 11195 h 76122"/>
                <a:gd name="connsiteX31" fmla="*/ 26419 w 161201"/>
                <a:gd name="connsiteY31" fmla="*/ 22389 h 76122"/>
                <a:gd name="connsiteX32" fmla="*/ 15225 w 161201"/>
                <a:gd name="connsiteY32" fmla="*/ 33584 h 76122"/>
                <a:gd name="connsiteX33" fmla="*/ 4030 w 161201"/>
                <a:gd name="connsiteY33" fmla="*/ 22389 h 76122"/>
                <a:gd name="connsiteX34" fmla="*/ 55525 w 161201"/>
                <a:gd name="connsiteY34" fmla="*/ 73884 h 76122"/>
                <a:gd name="connsiteX35" fmla="*/ 44331 w 161201"/>
                <a:gd name="connsiteY35" fmla="*/ 62689 h 76122"/>
                <a:gd name="connsiteX36" fmla="*/ 55525 w 161201"/>
                <a:gd name="connsiteY36" fmla="*/ 51495 h 76122"/>
                <a:gd name="connsiteX37" fmla="*/ 66720 w 161201"/>
                <a:gd name="connsiteY37" fmla="*/ 62689 h 76122"/>
                <a:gd name="connsiteX38" fmla="*/ 55525 w 161201"/>
                <a:gd name="connsiteY38" fmla="*/ 73884 h 76122"/>
                <a:gd name="connsiteX39" fmla="*/ 109259 w 161201"/>
                <a:gd name="connsiteY39" fmla="*/ 26419 h 76122"/>
                <a:gd name="connsiteX40" fmla="*/ 98064 w 161201"/>
                <a:gd name="connsiteY40" fmla="*/ 15225 h 76122"/>
                <a:gd name="connsiteX41" fmla="*/ 109259 w 161201"/>
                <a:gd name="connsiteY41" fmla="*/ 4030 h 76122"/>
                <a:gd name="connsiteX42" fmla="*/ 120453 w 161201"/>
                <a:gd name="connsiteY42" fmla="*/ 15225 h 76122"/>
                <a:gd name="connsiteX43" fmla="*/ 109259 w 161201"/>
                <a:gd name="connsiteY43" fmla="*/ 26419 h 76122"/>
                <a:gd name="connsiteX44" fmla="*/ 149559 w 161201"/>
                <a:gd name="connsiteY44" fmla="*/ 60003 h 76122"/>
                <a:gd name="connsiteX45" fmla="*/ 138365 w 161201"/>
                <a:gd name="connsiteY45" fmla="*/ 48808 h 76122"/>
                <a:gd name="connsiteX46" fmla="*/ 149559 w 161201"/>
                <a:gd name="connsiteY46" fmla="*/ 37614 h 76122"/>
                <a:gd name="connsiteX47" fmla="*/ 160754 w 161201"/>
                <a:gd name="connsiteY47" fmla="*/ 48808 h 76122"/>
                <a:gd name="connsiteX48" fmla="*/ 149559 w 161201"/>
                <a:gd name="connsiteY48" fmla="*/ 60003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201" h="76122">
                  <a:moveTo>
                    <a:pt x="149559" y="33584"/>
                  </a:moveTo>
                  <a:cubicBezTo>
                    <a:pt x="145977" y="33584"/>
                    <a:pt x="142843" y="34927"/>
                    <a:pt x="140156" y="36718"/>
                  </a:cubicBezTo>
                  <a:lnTo>
                    <a:pt x="124483" y="20598"/>
                  </a:lnTo>
                  <a:cubicBezTo>
                    <a:pt x="124931" y="19255"/>
                    <a:pt x="125379" y="17463"/>
                    <a:pt x="125379" y="15672"/>
                  </a:cubicBezTo>
                  <a:cubicBezTo>
                    <a:pt x="125379" y="7164"/>
                    <a:pt x="118215" y="0"/>
                    <a:pt x="109707" y="0"/>
                  </a:cubicBezTo>
                  <a:cubicBezTo>
                    <a:pt x="101199" y="0"/>
                    <a:pt x="94034" y="6717"/>
                    <a:pt x="94034" y="15672"/>
                  </a:cubicBezTo>
                  <a:cubicBezTo>
                    <a:pt x="94034" y="17463"/>
                    <a:pt x="94482" y="18807"/>
                    <a:pt x="94930" y="20598"/>
                  </a:cubicBezTo>
                  <a:lnTo>
                    <a:pt x="64481" y="50151"/>
                  </a:lnTo>
                  <a:cubicBezTo>
                    <a:pt x="61794" y="48808"/>
                    <a:pt x="59107" y="47465"/>
                    <a:pt x="55973" y="47465"/>
                  </a:cubicBezTo>
                  <a:cubicBezTo>
                    <a:pt x="52391" y="47465"/>
                    <a:pt x="49256" y="48808"/>
                    <a:pt x="46569" y="50599"/>
                  </a:cubicBezTo>
                  <a:lnTo>
                    <a:pt x="28210" y="31792"/>
                  </a:lnTo>
                  <a:cubicBezTo>
                    <a:pt x="30449" y="29106"/>
                    <a:pt x="31345" y="25971"/>
                    <a:pt x="31345" y="22389"/>
                  </a:cubicBezTo>
                  <a:cubicBezTo>
                    <a:pt x="31345" y="13881"/>
                    <a:pt x="24180" y="6717"/>
                    <a:pt x="15672" y="6717"/>
                  </a:cubicBezTo>
                  <a:cubicBezTo>
                    <a:pt x="7165" y="6717"/>
                    <a:pt x="0" y="13433"/>
                    <a:pt x="0" y="22389"/>
                  </a:cubicBezTo>
                  <a:cubicBezTo>
                    <a:pt x="0" y="31345"/>
                    <a:pt x="7165" y="38061"/>
                    <a:pt x="15672" y="38061"/>
                  </a:cubicBezTo>
                  <a:cubicBezTo>
                    <a:pt x="19255" y="38061"/>
                    <a:pt x="22389" y="36718"/>
                    <a:pt x="25076" y="34927"/>
                  </a:cubicBezTo>
                  <a:lnTo>
                    <a:pt x="43435" y="53734"/>
                  </a:lnTo>
                  <a:cubicBezTo>
                    <a:pt x="41644" y="56420"/>
                    <a:pt x="40300" y="59555"/>
                    <a:pt x="40300" y="63137"/>
                  </a:cubicBezTo>
                  <a:cubicBezTo>
                    <a:pt x="40300" y="71645"/>
                    <a:pt x="47465" y="78809"/>
                    <a:pt x="55973" y="78809"/>
                  </a:cubicBezTo>
                  <a:cubicBezTo>
                    <a:pt x="64481" y="78809"/>
                    <a:pt x="71645" y="72093"/>
                    <a:pt x="71645" y="63137"/>
                  </a:cubicBezTo>
                  <a:cubicBezTo>
                    <a:pt x="71645" y="59107"/>
                    <a:pt x="70302" y="55973"/>
                    <a:pt x="67615" y="53286"/>
                  </a:cubicBezTo>
                  <a:lnTo>
                    <a:pt x="96721" y="25076"/>
                  </a:lnTo>
                  <a:cubicBezTo>
                    <a:pt x="99408" y="29106"/>
                    <a:pt x="104333" y="31345"/>
                    <a:pt x="109707" y="31345"/>
                  </a:cubicBezTo>
                  <a:cubicBezTo>
                    <a:pt x="115080" y="31345"/>
                    <a:pt x="119558" y="28658"/>
                    <a:pt x="122244" y="25076"/>
                  </a:cubicBezTo>
                  <a:lnTo>
                    <a:pt x="137021" y="40300"/>
                  </a:lnTo>
                  <a:cubicBezTo>
                    <a:pt x="135230" y="42987"/>
                    <a:pt x="133887" y="46121"/>
                    <a:pt x="133887" y="49256"/>
                  </a:cubicBezTo>
                  <a:cubicBezTo>
                    <a:pt x="133887" y="57764"/>
                    <a:pt x="141051" y="64928"/>
                    <a:pt x="149559" y="64928"/>
                  </a:cubicBezTo>
                  <a:cubicBezTo>
                    <a:pt x="158067" y="64928"/>
                    <a:pt x="165232" y="58212"/>
                    <a:pt x="165232" y="49256"/>
                  </a:cubicBezTo>
                  <a:cubicBezTo>
                    <a:pt x="165232" y="40300"/>
                    <a:pt x="158515" y="33584"/>
                    <a:pt x="149559" y="33584"/>
                  </a:cubicBezTo>
                  <a:close/>
                  <a:moveTo>
                    <a:pt x="4030" y="22389"/>
                  </a:moveTo>
                  <a:cubicBezTo>
                    <a:pt x="4030" y="16120"/>
                    <a:pt x="8956" y="11195"/>
                    <a:pt x="15225" y="11195"/>
                  </a:cubicBezTo>
                  <a:cubicBezTo>
                    <a:pt x="21493" y="11195"/>
                    <a:pt x="26419" y="16120"/>
                    <a:pt x="26419" y="22389"/>
                  </a:cubicBezTo>
                  <a:cubicBezTo>
                    <a:pt x="26419" y="28658"/>
                    <a:pt x="21493" y="33584"/>
                    <a:pt x="15225" y="33584"/>
                  </a:cubicBezTo>
                  <a:cubicBezTo>
                    <a:pt x="8956" y="33584"/>
                    <a:pt x="4030" y="28210"/>
                    <a:pt x="4030" y="22389"/>
                  </a:cubicBezTo>
                  <a:close/>
                  <a:moveTo>
                    <a:pt x="55525" y="73884"/>
                  </a:moveTo>
                  <a:cubicBezTo>
                    <a:pt x="49256" y="73884"/>
                    <a:pt x="44331" y="68958"/>
                    <a:pt x="44331" y="62689"/>
                  </a:cubicBezTo>
                  <a:cubicBezTo>
                    <a:pt x="44331" y="56420"/>
                    <a:pt x="49256" y="51495"/>
                    <a:pt x="55525" y="51495"/>
                  </a:cubicBezTo>
                  <a:cubicBezTo>
                    <a:pt x="61794" y="51495"/>
                    <a:pt x="66720" y="56420"/>
                    <a:pt x="66720" y="62689"/>
                  </a:cubicBezTo>
                  <a:cubicBezTo>
                    <a:pt x="67167" y="68958"/>
                    <a:pt x="61794" y="73884"/>
                    <a:pt x="55525" y="73884"/>
                  </a:cubicBezTo>
                  <a:close/>
                  <a:moveTo>
                    <a:pt x="109259" y="26419"/>
                  </a:moveTo>
                  <a:cubicBezTo>
                    <a:pt x="102990" y="26419"/>
                    <a:pt x="98064" y="21493"/>
                    <a:pt x="98064" y="15225"/>
                  </a:cubicBezTo>
                  <a:cubicBezTo>
                    <a:pt x="98064" y="8956"/>
                    <a:pt x="102990" y="4030"/>
                    <a:pt x="109259" y="4030"/>
                  </a:cubicBezTo>
                  <a:cubicBezTo>
                    <a:pt x="115528" y="4030"/>
                    <a:pt x="120453" y="8956"/>
                    <a:pt x="120453" y="15225"/>
                  </a:cubicBezTo>
                  <a:cubicBezTo>
                    <a:pt x="120901" y="21493"/>
                    <a:pt x="115528" y="26419"/>
                    <a:pt x="109259" y="26419"/>
                  </a:cubicBezTo>
                  <a:close/>
                  <a:moveTo>
                    <a:pt x="149559" y="60003"/>
                  </a:moveTo>
                  <a:cubicBezTo>
                    <a:pt x="143290" y="60003"/>
                    <a:pt x="138365" y="55077"/>
                    <a:pt x="138365" y="48808"/>
                  </a:cubicBezTo>
                  <a:cubicBezTo>
                    <a:pt x="138365" y="42539"/>
                    <a:pt x="143290" y="37614"/>
                    <a:pt x="149559" y="37614"/>
                  </a:cubicBezTo>
                  <a:cubicBezTo>
                    <a:pt x="155828" y="37614"/>
                    <a:pt x="160754" y="42539"/>
                    <a:pt x="160754" y="48808"/>
                  </a:cubicBezTo>
                  <a:cubicBezTo>
                    <a:pt x="161201" y="55077"/>
                    <a:pt x="155828" y="60003"/>
                    <a:pt x="149559" y="60003"/>
                  </a:cubicBezTo>
                  <a:close/>
                </a:path>
              </a:pathLst>
            </a:custGeom>
            <a:solidFill>
              <a:srgbClr val="231F20"/>
            </a:solidFill>
            <a:ln w="4474" cap="flat">
              <a:noFill/>
              <a:prstDash val="solid"/>
              <a:miter/>
            </a:ln>
          </p:spPr>
          <p:txBody>
            <a:bodyPr rtlCol="0" anchor="ctr"/>
            <a:lstStyle/>
            <a:p>
              <a:endParaRPr lang="en-US"/>
            </a:p>
          </p:txBody>
        </p:sp>
      </p:grpSp>
      <p:grpSp>
        <p:nvGrpSpPr>
          <p:cNvPr id="4283" name="Group 4282">
            <a:extLst>
              <a:ext uri="{FF2B5EF4-FFF2-40B4-BE49-F238E27FC236}">
                <a16:creationId xmlns:a16="http://schemas.microsoft.com/office/drawing/2014/main" id="{8C809DC4-CE7A-402A-AB77-BB558980331F}"/>
              </a:ext>
              <a:ext uri="{C183D7F6-B498-43B3-948B-1728B52AA6E4}">
                <adec:decorative xmlns:adec="http://schemas.microsoft.com/office/drawing/2017/decorative" val="1"/>
              </a:ext>
            </a:extLst>
          </p:cNvPr>
          <p:cNvGrpSpPr>
            <a:grpSpLocks noChangeAspect="1"/>
          </p:cNvGrpSpPr>
          <p:nvPr/>
        </p:nvGrpSpPr>
        <p:grpSpPr>
          <a:xfrm>
            <a:off x="3972007" y="3636703"/>
            <a:ext cx="134335" cy="134335"/>
            <a:chOff x="4012761" y="2901264"/>
            <a:chExt cx="134335" cy="134335"/>
          </a:xfrm>
        </p:grpSpPr>
        <p:sp>
          <p:nvSpPr>
            <p:cNvPr id="4284" name="Freeform: Shape 4283">
              <a:extLst>
                <a:ext uri="{FF2B5EF4-FFF2-40B4-BE49-F238E27FC236}">
                  <a16:creationId xmlns:a16="http://schemas.microsoft.com/office/drawing/2014/main" id="{568E4E32-E542-4E6D-AC9C-BC9759DEF985}"/>
                </a:ext>
              </a:extLst>
            </p:cNvPr>
            <p:cNvSpPr/>
            <p:nvPr/>
          </p:nvSpPr>
          <p:spPr>
            <a:xfrm>
              <a:off x="4012761" y="2901264"/>
              <a:ext cx="134335" cy="134335"/>
            </a:xfrm>
            <a:custGeom>
              <a:avLst/>
              <a:gdLst>
                <a:gd name="connsiteX0" fmla="*/ 135902 w 134334"/>
                <a:gd name="connsiteY0" fmla="*/ 124483 h 134334"/>
                <a:gd name="connsiteX1" fmla="*/ 135902 w 134334"/>
                <a:gd name="connsiteY1" fmla="*/ 124483 h 134334"/>
                <a:gd name="connsiteX2" fmla="*/ 135902 w 134334"/>
                <a:gd name="connsiteY2" fmla="*/ 124036 h 134334"/>
                <a:gd name="connsiteX3" fmla="*/ 135902 w 134334"/>
                <a:gd name="connsiteY3" fmla="*/ 124036 h 134334"/>
                <a:gd name="connsiteX4" fmla="*/ 135006 w 134334"/>
                <a:gd name="connsiteY4" fmla="*/ 123140 h 134334"/>
                <a:gd name="connsiteX5" fmla="*/ 124707 w 134334"/>
                <a:gd name="connsiteY5" fmla="*/ 113289 h 134334"/>
                <a:gd name="connsiteX6" fmla="*/ 121573 w 134334"/>
                <a:gd name="connsiteY6" fmla="*/ 113289 h 134334"/>
                <a:gd name="connsiteX7" fmla="*/ 121573 w 134334"/>
                <a:gd name="connsiteY7" fmla="*/ 116423 h 134334"/>
                <a:gd name="connsiteX8" fmla="*/ 128290 w 134334"/>
                <a:gd name="connsiteY8" fmla="*/ 122692 h 134334"/>
                <a:gd name="connsiteX9" fmla="*/ 15448 w 134334"/>
                <a:gd name="connsiteY9" fmla="*/ 122692 h 134334"/>
                <a:gd name="connsiteX10" fmla="*/ 15448 w 134334"/>
                <a:gd name="connsiteY10" fmla="*/ 7165 h 134334"/>
                <a:gd name="connsiteX11" fmla="*/ 21717 w 134334"/>
                <a:gd name="connsiteY11" fmla="*/ 13881 h 134334"/>
                <a:gd name="connsiteX12" fmla="*/ 23508 w 134334"/>
                <a:gd name="connsiteY12" fmla="*/ 14777 h 134334"/>
                <a:gd name="connsiteX13" fmla="*/ 24852 w 134334"/>
                <a:gd name="connsiteY13" fmla="*/ 14329 h 134334"/>
                <a:gd name="connsiteX14" fmla="*/ 24852 w 134334"/>
                <a:gd name="connsiteY14" fmla="*/ 11195 h 134334"/>
                <a:gd name="connsiteX15" fmla="*/ 14553 w 134334"/>
                <a:gd name="connsiteY15" fmla="*/ 448 h 134334"/>
                <a:gd name="connsiteX16" fmla="*/ 14553 w 134334"/>
                <a:gd name="connsiteY16" fmla="*/ 448 h 134334"/>
                <a:gd name="connsiteX17" fmla="*/ 14553 w 134334"/>
                <a:gd name="connsiteY17" fmla="*/ 448 h 134334"/>
                <a:gd name="connsiteX18" fmla="*/ 14105 w 134334"/>
                <a:gd name="connsiteY18" fmla="*/ 448 h 134334"/>
                <a:gd name="connsiteX19" fmla="*/ 13657 w 134334"/>
                <a:gd name="connsiteY19" fmla="*/ 0 h 134334"/>
                <a:gd name="connsiteX20" fmla="*/ 13210 w 134334"/>
                <a:gd name="connsiteY20" fmla="*/ 0 h 134334"/>
                <a:gd name="connsiteX21" fmla="*/ 12762 w 134334"/>
                <a:gd name="connsiteY21" fmla="*/ 0 h 134334"/>
                <a:gd name="connsiteX22" fmla="*/ 12314 w 134334"/>
                <a:gd name="connsiteY22" fmla="*/ 0 h 134334"/>
                <a:gd name="connsiteX23" fmla="*/ 11866 w 134334"/>
                <a:gd name="connsiteY23" fmla="*/ 0 h 134334"/>
                <a:gd name="connsiteX24" fmla="*/ 11418 w 134334"/>
                <a:gd name="connsiteY24" fmla="*/ 448 h 134334"/>
                <a:gd name="connsiteX25" fmla="*/ 10971 w 134334"/>
                <a:gd name="connsiteY25" fmla="*/ 448 h 134334"/>
                <a:gd name="connsiteX26" fmla="*/ 10971 w 134334"/>
                <a:gd name="connsiteY26" fmla="*/ 448 h 134334"/>
                <a:gd name="connsiteX27" fmla="*/ 10971 w 134334"/>
                <a:gd name="connsiteY27" fmla="*/ 448 h 134334"/>
                <a:gd name="connsiteX28" fmla="*/ 672 w 134334"/>
                <a:gd name="connsiteY28" fmla="*/ 11642 h 134334"/>
                <a:gd name="connsiteX29" fmla="*/ 672 w 134334"/>
                <a:gd name="connsiteY29" fmla="*/ 14777 h 134334"/>
                <a:gd name="connsiteX30" fmla="*/ 2015 w 134334"/>
                <a:gd name="connsiteY30" fmla="*/ 15225 h 134334"/>
                <a:gd name="connsiteX31" fmla="*/ 3806 w 134334"/>
                <a:gd name="connsiteY31" fmla="*/ 14329 h 134334"/>
                <a:gd name="connsiteX32" fmla="*/ 10075 w 134334"/>
                <a:gd name="connsiteY32" fmla="*/ 7612 h 134334"/>
                <a:gd name="connsiteX33" fmla="*/ 10075 w 134334"/>
                <a:gd name="connsiteY33" fmla="*/ 124931 h 134334"/>
                <a:gd name="connsiteX34" fmla="*/ 12314 w 134334"/>
                <a:gd name="connsiteY34" fmla="*/ 127170 h 134334"/>
                <a:gd name="connsiteX35" fmla="*/ 127842 w 134334"/>
                <a:gd name="connsiteY35" fmla="*/ 127170 h 134334"/>
                <a:gd name="connsiteX36" fmla="*/ 121125 w 134334"/>
                <a:gd name="connsiteY36" fmla="*/ 133439 h 134334"/>
                <a:gd name="connsiteX37" fmla="*/ 121125 w 134334"/>
                <a:gd name="connsiteY37" fmla="*/ 136573 h 134334"/>
                <a:gd name="connsiteX38" fmla="*/ 122916 w 134334"/>
                <a:gd name="connsiteY38" fmla="*/ 137469 h 134334"/>
                <a:gd name="connsiteX39" fmla="*/ 124259 w 134334"/>
                <a:gd name="connsiteY39" fmla="*/ 137021 h 134334"/>
                <a:gd name="connsiteX40" fmla="*/ 135006 w 134334"/>
                <a:gd name="connsiteY40" fmla="*/ 126722 h 134334"/>
                <a:gd name="connsiteX41" fmla="*/ 135006 w 134334"/>
                <a:gd name="connsiteY41" fmla="*/ 126722 h 134334"/>
                <a:gd name="connsiteX42" fmla="*/ 135006 w 134334"/>
                <a:gd name="connsiteY42" fmla="*/ 126722 h 134334"/>
                <a:gd name="connsiteX43" fmla="*/ 135006 w 134334"/>
                <a:gd name="connsiteY43" fmla="*/ 126274 h 134334"/>
                <a:gd name="connsiteX44" fmla="*/ 135454 w 134334"/>
                <a:gd name="connsiteY44" fmla="*/ 125827 h 134334"/>
                <a:gd name="connsiteX45" fmla="*/ 135454 w 134334"/>
                <a:gd name="connsiteY45" fmla="*/ 125379 h 134334"/>
                <a:gd name="connsiteX46" fmla="*/ 135902 w 134334"/>
                <a:gd name="connsiteY46" fmla="*/ 124483 h 134334"/>
                <a:gd name="connsiteX47" fmla="*/ 135902 w 134334"/>
                <a:gd name="connsiteY47" fmla="*/ 124483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34334" h="134334">
                  <a:moveTo>
                    <a:pt x="135902" y="124483"/>
                  </a:moveTo>
                  <a:cubicBezTo>
                    <a:pt x="135902" y="124483"/>
                    <a:pt x="135902" y="124483"/>
                    <a:pt x="135902" y="124483"/>
                  </a:cubicBezTo>
                  <a:cubicBezTo>
                    <a:pt x="135902" y="124483"/>
                    <a:pt x="135902" y="124036"/>
                    <a:pt x="135902" y="124036"/>
                  </a:cubicBezTo>
                  <a:cubicBezTo>
                    <a:pt x="135902" y="124036"/>
                    <a:pt x="135902" y="124036"/>
                    <a:pt x="135902" y="124036"/>
                  </a:cubicBezTo>
                  <a:cubicBezTo>
                    <a:pt x="135902" y="123588"/>
                    <a:pt x="135454" y="123140"/>
                    <a:pt x="135006" y="123140"/>
                  </a:cubicBezTo>
                  <a:lnTo>
                    <a:pt x="124707" y="113289"/>
                  </a:lnTo>
                  <a:cubicBezTo>
                    <a:pt x="123812" y="112393"/>
                    <a:pt x="122468" y="112393"/>
                    <a:pt x="121573" y="113289"/>
                  </a:cubicBezTo>
                  <a:cubicBezTo>
                    <a:pt x="120677" y="114184"/>
                    <a:pt x="120677" y="115528"/>
                    <a:pt x="121573" y="116423"/>
                  </a:cubicBezTo>
                  <a:lnTo>
                    <a:pt x="128290" y="122692"/>
                  </a:lnTo>
                  <a:lnTo>
                    <a:pt x="15448" y="122692"/>
                  </a:lnTo>
                  <a:lnTo>
                    <a:pt x="15448" y="7165"/>
                  </a:lnTo>
                  <a:lnTo>
                    <a:pt x="21717" y="13881"/>
                  </a:lnTo>
                  <a:cubicBezTo>
                    <a:pt x="22165" y="14329"/>
                    <a:pt x="22613" y="14777"/>
                    <a:pt x="23508" y="14777"/>
                  </a:cubicBezTo>
                  <a:cubicBezTo>
                    <a:pt x="23956" y="14777"/>
                    <a:pt x="24404" y="14777"/>
                    <a:pt x="24852" y="14329"/>
                  </a:cubicBezTo>
                  <a:cubicBezTo>
                    <a:pt x="25747" y="13433"/>
                    <a:pt x="25747" y="12090"/>
                    <a:pt x="24852" y="11195"/>
                  </a:cubicBezTo>
                  <a:lnTo>
                    <a:pt x="14553" y="448"/>
                  </a:lnTo>
                  <a:cubicBezTo>
                    <a:pt x="14553" y="448"/>
                    <a:pt x="14553" y="448"/>
                    <a:pt x="14553" y="448"/>
                  </a:cubicBezTo>
                  <a:cubicBezTo>
                    <a:pt x="14553" y="448"/>
                    <a:pt x="14553" y="448"/>
                    <a:pt x="14553" y="448"/>
                  </a:cubicBezTo>
                  <a:cubicBezTo>
                    <a:pt x="14553" y="448"/>
                    <a:pt x="14553" y="448"/>
                    <a:pt x="14105" y="448"/>
                  </a:cubicBezTo>
                  <a:cubicBezTo>
                    <a:pt x="14105" y="448"/>
                    <a:pt x="13657" y="448"/>
                    <a:pt x="13657" y="0"/>
                  </a:cubicBezTo>
                  <a:cubicBezTo>
                    <a:pt x="13657" y="0"/>
                    <a:pt x="13210" y="0"/>
                    <a:pt x="13210" y="0"/>
                  </a:cubicBezTo>
                  <a:cubicBezTo>
                    <a:pt x="13210" y="0"/>
                    <a:pt x="12762" y="0"/>
                    <a:pt x="12762" y="0"/>
                  </a:cubicBezTo>
                  <a:cubicBezTo>
                    <a:pt x="12762" y="0"/>
                    <a:pt x="12314" y="0"/>
                    <a:pt x="12314" y="0"/>
                  </a:cubicBezTo>
                  <a:cubicBezTo>
                    <a:pt x="12314" y="0"/>
                    <a:pt x="11866" y="0"/>
                    <a:pt x="11866" y="0"/>
                  </a:cubicBezTo>
                  <a:cubicBezTo>
                    <a:pt x="11866" y="0"/>
                    <a:pt x="11418" y="0"/>
                    <a:pt x="11418" y="448"/>
                  </a:cubicBezTo>
                  <a:cubicBezTo>
                    <a:pt x="11418" y="448"/>
                    <a:pt x="11418" y="448"/>
                    <a:pt x="10971" y="448"/>
                  </a:cubicBezTo>
                  <a:cubicBezTo>
                    <a:pt x="10971" y="448"/>
                    <a:pt x="10971" y="448"/>
                    <a:pt x="10971" y="448"/>
                  </a:cubicBezTo>
                  <a:cubicBezTo>
                    <a:pt x="10971" y="448"/>
                    <a:pt x="10971" y="448"/>
                    <a:pt x="10971" y="448"/>
                  </a:cubicBezTo>
                  <a:lnTo>
                    <a:pt x="672" y="11642"/>
                  </a:lnTo>
                  <a:cubicBezTo>
                    <a:pt x="-224" y="12538"/>
                    <a:pt x="-224" y="13881"/>
                    <a:pt x="672" y="14777"/>
                  </a:cubicBezTo>
                  <a:cubicBezTo>
                    <a:pt x="1119" y="15225"/>
                    <a:pt x="1567" y="15225"/>
                    <a:pt x="2015" y="15225"/>
                  </a:cubicBezTo>
                  <a:cubicBezTo>
                    <a:pt x="2463" y="15225"/>
                    <a:pt x="3358" y="14777"/>
                    <a:pt x="3806" y="14329"/>
                  </a:cubicBezTo>
                  <a:lnTo>
                    <a:pt x="10075" y="7612"/>
                  </a:lnTo>
                  <a:lnTo>
                    <a:pt x="10075" y="124931"/>
                  </a:lnTo>
                  <a:cubicBezTo>
                    <a:pt x="10075" y="126274"/>
                    <a:pt x="10971" y="127170"/>
                    <a:pt x="12314" y="127170"/>
                  </a:cubicBezTo>
                  <a:lnTo>
                    <a:pt x="127842" y="127170"/>
                  </a:lnTo>
                  <a:lnTo>
                    <a:pt x="121125" y="133439"/>
                  </a:lnTo>
                  <a:cubicBezTo>
                    <a:pt x="120229" y="134335"/>
                    <a:pt x="120229" y="135678"/>
                    <a:pt x="121125" y="136573"/>
                  </a:cubicBezTo>
                  <a:cubicBezTo>
                    <a:pt x="121573" y="137021"/>
                    <a:pt x="122020" y="137469"/>
                    <a:pt x="122916" y="137469"/>
                  </a:cubicBezTo>
                  <a:cubicBezTo>
                    <a:pt x="123364" y="137469"/>
                    <a:pt x="123812" y="137469"/>
                    <a:pt x="124259" y="137021"/>
                  </a:cubicBezTo>
                  <a:lnTo>
                    <a:pt x="135006" y="126722"/>
                  </a:lnTo>
                  <a:cubicBezTo>
                    <a:pt x="135006" y="126722"/>
                    <a:pt x="135006" y="126722"/>
                    <a:pt x="135006" y="126722"/>
                  </a:cubicBezTo>
                  <a:cubicBezTo>
                    <a:pt x="135006" y="126722"/>
                    <a:pt x="135006" y="126722"/>
                    <a:pt x="135006" y="126722"/>
                  </a:cubicBezTo>
                  <a:cubicBezTo>
                    <a:pt x="135006" y="126722"/>
                    <a:pt x="135006" y="126722"/>
                    <a:pt x="135006" y="126274"/>
                  </a:cubicBezTo>
                  <a:cubicBezTo>
                    <a:pt x="135006" y="126274"/>
                    <a:pt x="135006" y="125827"/>
                    <a:pt x="135454" y="125827"/>
                  </a:cubicBezTo>
                  <a:cubicBezTo>
                    <a:pt x="135454" y="125827"/>
                    <a:pt x="135454" y="125379"/>
                    <a:pt x="135454" y="125379"/>
                  </a:cubicBezTo>
                  <a:cubicBezTo>
                    <a:pt x="135902" y="124483"/>
                    <a:pt x="135902" y="124483"/>
                    <a:pt x="135902" y="124483"/>
                  </a:cubicBezTo>
                  <a:cubicBezTo>
                    <a:pt x="135902" y="124483"/>
                    <a:pt x="135902" y="124483"/>
                    <a:pt x="135902" y="124483"/>
                  </a:cubicBezTo>
                  <a:close/>
                </a:path>
              </a:pathLst>
            </a:custGeom>
            <a:solidFill>
              <a:srgbClr val="231F20"/>
            </a:solidFill>
            <a:ln w="4474" cap="flat">
              <a:noFill/>
              <a:prstDash val="solid"/>
              <a:miter/>
            </a:ln>
          </p:spPr>
          <p:txBody>
            <a:bodyPr rtlCol="0" anchor="ctr"/>
            <a:lstStyle/>
            <a:p>
              <a:endParaRPr lang="en-US"/>
            </a:p>
          </p:txBody>
        </p:sp>
        <p:sp>
          <p:nvSpPr>
            <p:cNvPr id="4285" name="Freeform: Shape 4284">
              <a:extLst>
                <a:ext uri="{FF2B5EF4-FFF2-40B4-BE49-F238E27FC236}">
                  <a16:creationId xmlns:a16="http://schemas.microsoft.com/office/drawing/2014/main" id="{B41C26FB-622E-4991-BFA2-3E9C2177C56B}"/>
                </a:ext>
              </a:extLst>
            </p:cNvPr>
            <p:cNvSpPr/>
            <p:nvPr/>
          </p:nvSpPr>
          <p:spPr>
            <a:xfrm>
              <a:off x="4036941" y="2929026"/>
              <a:ext cx="107468" cy="71645"/>
            </a:xfrm>
            <a:custGeom>
              <a:avLst/>
              <a:gdLst>
                <a:gd name="connsiteX0" fmla="*/ 111722 w 107467"/>
                <a:gd name="connsiteY0" fmla="*/ 4030 h 71645"/>
                <a:gd name="connsiteX1" fmla="*/ 111274 w 107467"/>
                <a:gd name="connsiteY1" fmla="*/ 2239 h 71645"/>
                <a:gd name="connsiteX2" fmla="*/ 109931 w 107467"/>
                <a:gd name="connsiteY2" fmla="*/ 1343 h 71645"/>
                <a:gd name="connsiteX3" fmla="*/ 91124 w 107467"/>
                <a:gd name="connsiteY3" fmla="*/ 0 h 71645"/>
                <a:gd name="connsiteX4" fmla="*/ 88885 w 107467"/>
                <a:gd name="connsiteY4" fmla="*/ 2239 h 71645"/>
                <a:gd name="connsiteX5" fmla="*/ 91124 w 107467"/>
                <a:gd name="connsiteY5" fmla="*/ 4478 h 71645"/>
                <a:gd name="connsiteX6" fmla="*/ 105005 w 107467"/>
                <a:gd name="connsiteY6" fmla="*/ 5373 h 71645"/>
                <a:gd name="connsiteX7" fmla="*/ 69182 w 107467"/>
                <a:gd name="connsiteY7" fmla="*/ 39853 h 71645"/>
                <a:gd name="connsiteX8" fmla="*/ 43659 w 107467"/>
                <a:gd name="connsiteY8" fmla="*/ 27315 h 71645"/>
                <a:gd name="connsiteX9" fmla="*/ 40972 w 107467"/>
                <a:gd name="connsiteY9" fmla="*/ 27762 h 71645"/>
                <a:gd name="connsiteX10" fmla="*/ 672 w 107467"/>
                <a:gd name="connsiteY10" fmla="*/ 68063 h 71645"/>
                <a:gd name="connsiteX11" fmla="*/ 672 w 107467"/>
                <a:gd name="connsiteY11" fmla="*/ 71197 h 71645"/>
                <a:gd name="connsiteX12" fmla="*/ 2463 w 107467"/>
                <a:gd name="connsiteY12" fmla="*/ 71645 h 71645"/>
                <a:gd name="connsiteX13" fmla="*/ 4254 w 107467"/>
                <a:gd name="connsiteY13" fmla="*/ 71197 h 71645"/>
                <a:gd name="connsiteX14" fmla="*/ 43211 w 107467"/>
                <a:gd name="connsiteY14" fmla="*/ 32240 h 71645"/>
                <a:gd name="connsiteX15" fmla="*/ 68735 w 107467"/>
                <a:gd name="connsiteY15" fmla="*/ 44778 h 71645"/>
                <a:gd name="connsiteX16" fmla="*/ 71421 w 107467"/>
                <a:gd name="connsiteY16" fmla="*/ 44330 h 71645"/>
                <a:gd name="connsiteX17" fmla="*/ 107692 w 107467"/>
                <a:gd name="connsiteY17" fmla="*/ 9403 h 71645"/>
                <a:gd name="connsiteX18" fmla="*/ 106796 w 107467"/>
                <a:gd name="connsiteY18" fmla="*/ 22389 h 71645"/>
                <a:gd name="connsiteX19" fmla="*/ 109035 w 107467"/>
                <a:gd name="connsiteY19" fmla="*/ 24628 h 71645"/>
                <a:gd name="connsiteX20" fmla="*/ 109035 w 107467"/>
                <a:gd name="connsiteY20" fmla="*/ 24628 h 71645"/>
                <a:gd name="connsiteX21" fmla="*/ 111274 w 107467"/>
                <a:gd name="connsiteY21" fmla="*/ 22389 h 71645"/>
                <a:gd name="connsiteX22" fmla="*/ 111722 w 107467"/>
                <a:gd name="connsiteY22" fmla="*/ 4030 h 71645"/>
                <a:gd name="connsiteX23" fmla="*/ 111722 w 107467"/>
                <a:gd name="connsiteY23" fmla="*/ 4030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467" h="71645">
                  <a:moveTo>
                    <a:pt x="111722" y="4030"/>
                  </a:moveTo>
                  <a:cubicBezTo>
                    <a:pt x="111722" y="3582"/>
                    <a:pt x="111722" y="2687"/>
                    <a:pt x="111274" y="2239"/>
                  </a:cubicBezTo>
                  <a:cubicBezTo>
                    <a:pt x="110826" y="1791"/>
                    <a:pt x="110378" y="1343"/>
                    <a:pt x="109931" y="1343"/>
                  </a:cubicBezTo>
                  <a:lnTo>
                    <a:pt x="91124" y="0"/>
                  </a:lnTo>
                  <a:cubicBezTo>
                    <a:pt x="89780" y="0"/>
                    <a:pt x="88885" y="895"/>
                    <a:pt x="88885" y="2239"/>
                  </a:cubicBezTo>
                  <a:cubicBezTo>
                    <a:pt x="88885" y="3582"/>
                    <a:pt x="89780" y="4478"/>
                    <a:pt x="91124" y="4478"/>
                  </a:cubicBezTo>
                  <a:lnTo>
                    <a:pt x="105005" y="5373"/>
                  </a:lnTo>
                  <a:lnTo>
                    <a:pt x="69182" y="39853"/>
                  </a:lnTo>
                  <a:lnTo>
                    <a:pt x="43659" y="27315"/>
                  </a:lnTo>
                  <a:cubicBezTo>
                    <a:pt x="42763" y="26867"/>
                    <a:pt x="41868" y="26867"/>
                    <a:pt x="40972" y="27762"/>
                  </a:cubicBezTo>
                  <a:lnTo>
                    <a:pt x="672" y="68063"/>
                  </a:lnTo>
                  <a:cubicBezTo>
                    <a:pt x="-224" y="68958"/>
                    <a:pt x="-224" y="70302"/>
                    <a:pt x="672" y="71197"/>
                  </a:cubicBezTo>
                  <a:cubicBezTo>
                    <a:pt x="1120" y="71645"/>
                    <a:pt x="1567" y="71645"/>
                    <a:pt x="2463" y="71645"/>
                  </a:cubicBezTo>
                  <a:cubicBezTo>
                    <a:pt x="3359" y="71645"/>
                    <a:pt x="3806" y="71645"/>
                    <a:pt x="4254" y="71197"/>
                  </a:cubicBezTo>
                  <a:lnTo>
                    <a:pt x="43211" y="32240"/>
                  </a:lnTo>
                  <a:lnTo>
                    <a:pt x="68735" y="44778"/>
                  </a:lnTo>
                  <a:cubicBezTo>
                    <a:pt x="69630" y="45226"/>
                    <a:pt x="70526" y="45226"/>
                    <a:pt x="71421" y="44330"/>
                  </a:cubicBezTo>
                  <a:lnTo>
                    <a:pt x="107692" y="9403"/>
                  </a:lnTo>
                  <a:lnTo>
                    <a:pt x="106796" y="22389"/>
                  </a:lnTo>
                  <a:cubicBezTo>
                    <a:pt x="106796" y="23732"/>
                    <a:pt x="107692" y="24628"/>
                    <a:pt x="109035" y="24628"/>
                  </a:cubicBezTo>
                  <a:cubicBezTo>
                    <a:pt x="109035" y="24628"/>
                    <a:pt x="109035" y="24628"/>
                    <a:pt x="109035" y="24628"/>
                  </a:cubicBezTo>
                  <a:cubicBezTo>
                    <a:pt x="110378" y="24628"/>
                    <a:pt x="111274" y="23732"/>
                    <a:pt x="111274" y="22389"/>
                  </a:cubicBezTo>
                  <a:lnTo>
                    <a:pt x="111722" y="4030"/>
                  </a:lnTo>
                  <a:cubicBezTo>
                    <a:pt x="111722" y="4030"/>
                    <a:pt x="111722" y="4030"/>
                    <a:pt x="111722" y="4030"/>
                  </a:cubicBezTo>
                  <a:close/>
                </a:path>
              </a:pathLst>
            </a:custGeom>
            <a:solidFill>
              <a:srgbClr val="231F20"/>
            </a:solidFill>
            <a:ln w="4474" cap="flat">
              <a:noFill/>
              <a:prstDash val="solid"/>
              <a:miter/>
            </a:ln>
          </p:spPr>
          <p:txBody>
            <a:bodyPr rtlCol="0" anchor="ctr"/>
            <a:lstStyle/>
            <a:p>
              <a:endParaRPr lang="en-US"/>
            </a:p>
          </p:txBody>
        </p:sp>
      </p:grpSp>
      <p:grpSp>
        <p:nvGrpSpPr>
          <p:cNvPr id="4286" name="Group 4285">
            <a:extLst>
              <a:ext uri="{FF2B5EF4-FFF2-40B4-BE49-F238E27FC236}">
                <a16:creationId xmlns:a16="http://schemas.microsoft.com/office/drawing/2014/main" id="{A8DD256C-AFFB-436B-8C0F-3E2C0C6671F1}"/>
              </a:ext>
              <a:ext uri="{C183D7F6-B498-43B3-948B-1728B52AA6E4}">
                <adec:decorative xmlns:adec="http://schemas.microsoft.com/office/drawing/2017/decorative" val="1"/>
              </a:ext>
            </a:extLst>
          </p:cNvPr>
          <p:cNvGrpSpPr>
            <a:grpSpLocks noChangeAspect="1"/>
          </p:cNvGrpSpPr>
          <p:nvPr/>
        </p:nvGrpSpPr>
        <p:grpSpPr>
          <a:xfrm>
            <a:off x="4498374" y="3624613"/>
            <a:ext cx="152654" cy="149111"/>
            <a:chOff x="4539128" y="2889174"/>
            <a:chExt cx="152654" cy="149111"/>
          </a:xfrm>
        </p:grpSpPr>
        <p:sp>
          <p:nvSpPr>
            <p:cNvPr id="4287" name="Freeform: Shape 4286">
              <a:extLst>
                <a:ext uri="{FF2B5EF4-FFF2-40B4-BE49-F238E27FC236}">
                  <a16:creationId xmlns:a16="http://schemas.microsoft.com/office/drawing/2014/main" id="{9847108F-C8A5-48A4-851C-C4BEA3B5836E}"/>
                </a:ext>
              </a:extLst>
            </p:cNvPr>
            <p:cNvSpPr/>
            <p:nvPr/>
          </p:nvSpPr>
          <p:spPr>
            <a:xfrm>
              <a:off x="4539536" y="2889174"/>
              <a:ext cx="152246" cy="76123"/>
            </a:xfrm>
            <a:custGeom>
              <a:avLst/>
              <a:gdLst>
                <a:gd name="connsiteX0" fmla="*/ 151838 w 152245"/>
                <a:gd name="connsiteY0" fmla="*/ 895 h 76122"/>
                <a:gd name="connsiteX1" fmla="*/ 151838 w 152245"/>
                <a:gd name="connsiteY1" fmla="*/ 895 h 76122"/>
                <a:gd name="connsiteX2" fmla="*/ 150943 w 152245"/>
                <a:gd name="connsiteY2" fmla="*/ 0 h 76122"/>
                <a:gd name="connsiteX3" fmla="*/ 150943 w 152245"/>
                <a:gd name="connsiteY3" fmla="*/ 0 h 76122"/>
                <a:gd name="connsiteX4" fmla="*/ 150943 w 152245"/>
                <a:gd name="connsiteY4" fmla="*/ 0 h 76122"/>
                <a:gd name="connsiteX5" fmla="*/ 150047 w 152245"/>
                <a:gd name="connsiteY5" fmla="*/ 0 h 76122"/>
                <a:gd name="connsiteX6" fmla="*/ 126763 w 152245"/>
                <a:gd name="connsiteY6" fmla="*/ 0 h 76122"/>
                <a:gd name="connsiteX7" fmla="*/ 124524 w 152245"/>
                <a:gd name="connsiteY7" fmla="*/ 2239 h 76122"/>
                <a:gd name="connsiteX8" fmla="*/ 126763 w 152245"/>
                <a:gd name="connsiteY8" fmla="*/ 4478 h 76122"/>
                <a:gd name="connsiteX9" fmla="*/ 144674 w 152245"/>
                <a:gd name="connsiteY9" fmla="*/ 4478 h 76122"/>
                <a:gd name="connsiteX10" fmla="*/ 76163 w 152245"/>
                <a:gd name="connsiteY10" fmla="*/ 70749 h 76122"/>
                <a:gd name="connsiteX11" fmla="*/ 40789 w 152245"/>
                <a:gd name="connsiteY11" fmla="*/ 44778 h 76122"/>
                <a:gd name="connsiteX12" fmla="*/ 38102 w 152245"/>
                <a:gd name="connsiteY12" fmla="*/ 44778 h 76122"/>
                <a:gd name="connsiteX13" fmla="*/ 936 w 152245"/>
                <a:gd name="connsiteY13" fmla="*/ 72093 h 76122"/>
                <a:gd name="connsiteX14" fmla="*/ 488 w 152245"/>
                <a:gd name="connsiteY14" fmla="*/ 75227 h 76122"/>
                <a:gd name="connsiteX15" fmla="*/ 2279 w 152245"/>
                <a:gd name="connsiteY15" fmla="*/ 76123 h 76122"/>
                <a:gd name="connsiteX16" fmla="*/ 3623 w 152245"/>
                <a:gd name="connsiteY16" fmla="*/ 75675 h 76122"/>
                <a:gd name="connsiteX17" fmla="*/ 39445 w 152245"/>
                <a:gd name="connsiteY17" fmla="*/ 49256 h 76122"/>
                <a:gd name="connsiteX18" fmla="*/ 75268 w 152245"/>
                <a:gd name="connsiteY18" fmla="*/ 75675 h 76122"/>
                <a:gd name="connsiteX19" fmla="*/ 77954 w 152245"/>
                <a:gd name="connsiteY19" fmla="*/ 75675 h 76122"/>
                <a:gd name="connsiteX20" fmla="*/ 148256 w 152245"/>
                <a:gd name="connsiteY20" fmla="*/ 8060 h 76122"/>
                <a:gd name="connsiteX21" fmla="*/ 148256 w 152245"/>
                <a:gd name="connsiteY21" fmla="*/ 25971 h 76122"/>
                <a:gd name="connsiteX22" fmla="*/ 150495 w 152245"/>
                <a:gd name="connsiteY22" fmla="*/ 28210 h 76122"/>
                <a:gd name="connsiteX23" fmla="*/ 152734 w 152245"/>
                <a:gd name="connsiteY23" fmla="*/ 25971 h 76122"/>
                <a:gd name="connsiteX24" fmla="*/ 152734 w 152245"/>
                <a:gd name="connsiteY24" fmla="*/ 2687 h 76122"/>
                <a:gd name="connsiteX25" fmla="*/ 151838 w 152245"/>
                <a:gd name="connsiteY25" fmla="*/ 895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45" h="76122">
                  <a:moveTo>
                    <a:pt x="151838" y="895"/>
                  </a:moveTo>
                  <a:cubicBezTo>
                    <a:pt x="151838" y="895"/>
                    <a:pt x="151838" y="895"/>
                    <a:pt x="151838" y="895"/>
                  </a:cubicBezTo>
                  <a:cubicBezTo>
                    <a:pt x="151391" y="448"/>
                    <a:pt x="151391" y="0"/>
                    <a:pt x="150943" y="0"/>
                  </a:cubicBezTo>
                  <a:cubicBezTo>
                    <a:pt x="150943" y="0"/>
                    <a:pt x="150943" y="0"/>
                    <a:pt x="150943" y="0"/>
                  </a:cubicBezTo>
                  <a:lnTo>
                    <a:pt x="150943" y="0"/>
                  </a:lnTo>
                  <a:cubicBezTo>
                    <a:pt x="150495" y="0"/>
                    <a:pt x="150495" y="0"/>
                    <a:pt x="150047" y="0"/>
                  </a:cubicBezTo>
                  <a:lnTo>
                    <a:pt x="126763" y="0"/>
                  </a:lnTo>
                  <a:cubicBezTo>
                    <a:pt x="125419" y="0"/>
                    <a:pt x="124524" y="895"/>
                    <a:pt x="124524" y="2239"/>
                  </a:cubicBezTo>
                  <a:cubicBezTo>
                    <a:pt x="124524" y="3582"/>
                    <a:pt x="125419" y="4478"/>
                    <a:pt x="126763" y="4478"/>
                  </a:cubicBezTo>
                  <a:lnTo>
                    <a:pt x="144674" y="4478"/>
                  </a:lnTo>
                  <a:lnTo>
                    <a:pt x="76163" y="70749"/>
                  </a:lnTo>
                  <a:lnTo>
                    <a:pt x="40789" y="44778"/>
                  </a:lnTo>
                  <a:cubicBezTo>
                    <a:pt x="39893" y="44330"/>
                    <a:pt x="38997" y="44330"/>
                    <a:pt x="38102" y="44778"/>
                  </a:cubicBezTo>
                  <a:lnTo>
                    <a:pt x="936" y="72093"/>
                  </a:lnTo>
                  <a:cubicBezTo>
                    <a:pt x="40" y="72988"/>
                    <a:pt x="-407" y="74332"/>
                    <a:pt x="488" y="75227"/>
                  </a:cubicBezTo>
                  <a:cubicBezTo>
                    <a:pt x="936" y="75675"/>
                    <a:pt x="1384" y="76123"/>
                    <a:pt x="2279" y="76123"/>
                  </a:cubicBezTo>
                  <a:cubicBezTo>
                    <a:pt x="2727" y="76123"/>
                    <a:pt x="3175" y="76123"/>
                    <a:pt x="3623" y="75675"/>
                  </a:cubicBezTo>
                  <a:lnTo>
                    <a:pt x="39445" y="49256"/>
                  </a:lnTo>
                  <a:lnTo>
                    <a:pt x="75268" y="75675"/>
                  </a:lnTo>
                  <a:cubicBezTo>
                    <a:pt x="76163" y="76123"/>
                    <a:pt x="77507" y="76123"/>
                    <a:pt x="77954" y="75675"/>
                  </a:cubicBezTo>
                  <a:lnTo>
                    <a:pt x="148256" y="8060"/>
                  </a:lnTo>
                  <a:lnTo>
                    <a:pt x="148256" y="25971"/>
                  </a:lnTo>
                  <a:cubicBezTo>
                    <a:pt x="148256" y="27315"/>
                    <a:pt x="149152" y="28210"/>
                    <a:pt x="150495" y="28210"/>
                  </a:cubicBezTo>
                  <a:cubicBezTo>
                    <a:pt x="151838" y="28210"/>
                    <a:pt x="152734" y="27315"/>
                    <a:pt x="152734" y="25971"/>
                  </a:cubicBezTo>
                  <a:lnTo>
                    <a:pt x="152734" y="2687"/>
                  </a:lnTo>
                  <a:cubicBezTo>
                    <a:pt x="152286" y="1791"/>
                    <a:pt x="151838" y="1343"/>
                    <a:pt x="151838" y="895"/>
                  </a:cubicBezTo>
                  <a:close/>
                </a:path>
              </a:pathLst>
            </a:custGeom>
            <a:solidFill>
              <a:srgbClr val="231F20"/>
            </a:solidFill>
            <a:ln w="4474" cap="flat">
              <a:noFill/>
              <a:prstDash val="solid"/>
              <a:miter/>
            </a:ln>
          </p:spPr>
          <p:txBody>
            <a:bodyPr rtlCol="0" anchor="ctr"/>
            <a:lstStyle/>
            <a:p>
              <a:endParaRPr lang="en-US"/>
            </a:p>
          </p:txBody>
        </p:sp>
        <p:sp>
          <p:nvSpPr>
            <p:cNvPr id="4288" name="Freeform: Shape 4287">
              <a:extLst>
                <a:ext uri="{FF2B5EF4-FFF2-40B4-BE49-F238E27FC236}">
                  <a16:creationId xmlns:a16="http://schemas.microsoft.com/office/drawing/2014/main" id="{4CE3984E-3F28-4169-9539-93D3651A7F4F}"/>
                </a:ext>
              </a:extLst>
            </p:cNvPr>
            <p:cNvSpPr/>
            <p:nvPr/>
          </p:nvSpPr>
          <p:spPr>
            <a:xfrm>
              <a:off x="4539128" y="2930817"/>
              <a:ext cx="152246" cy="107468"/>
            </a:xfrm>
            <a:custGeom>
              <a:avLst/>
              <a:gdLst>
                <a:gd name="connsiteX0" fmla="*/ 152694 w 152245"/>
                <a:gd name="connsiteY0" fmla="*/ 1791 h 107467"/>
                <a:gd name="connsiteX1" fmla="*/ 152694 w 152245"/>
                <a:gd name="connsiteY1" fmla="*/ 1343 h 107467"/>
                <a:gd name="connsiteX2" fmla="*/ 152246 w 152245"/>
                <a:gd name="connsiteY2" fmla="*/ 896 h 107467"/>
                <a:gd name="connsiteX3" fmla="*/ 152246 w 152245"/>
                <a:gd name="connsiteY3" fmla="*/ 448 h 107467"/>
                <a:gd name="connsiteX4" fmla="*/ 152246 w 152245"/>
                <a:gd name="connsiteY4" fmla="*/ 448 h 107467"/>
                <a:gd name="connsiteX5" fmla="*/ 151798 w 152245"/>
                <a:gd name="connsiteY5" fmla="*/ 0 h 107467"/>
                <a:gd name="connsiteX6" fmla="*/ 151350 w 152245"/>
                <a:gd name="connsiteY6" fmla="*/ 0 h 107467"/>
                <a:gd name="connsiteX7" fmla="*/ 150903 w 152245"/>
                <a:gd name="connsiteY7" fmla="*/ 0 h 107467"/>
                <a:gd name="connsiteX8" fmla="*/ 150455 w 152245"/>
                <a:gd name="connsiteY8" fmla="*/ 0 h 107467"/>
                <a:gd name="connsiteX9" fmla="*/ 150455 w 152245"/>
                <a:gd name="connsiteY9" fmla="*/ 0 h 107467"/>
                <a:gd name="connsiteX10" fmla="*/ 150007 w 152245"/>
                <a:gd name="connsiteY10" fmla="*/ 0 h 107467"/>
                <a:gd name="connsiteX11" fmla="*/ 149559 w 152245"/>
                <a:gd name="connsiteY11" fmla="*/ 0 h 107467"/>
                <a:gd name="connsiteX12" fmla="*/ 149111 w 152245"/>
                <a:gd name="connsiteY12" fmla="*/ 448 h 107467"/>
                <a:gd name="connsiteX13" fmla="*/ 148664 w 152245"/>
                <a:gd name="connsiteY13" fmla="*/ 448 h 107467"/>
                <a:gd name="connsiteX14" fmla="*/ 76123 w 152245"/>
                <a:gd name="connsiteY14" fmla="*/ 64928 h 107467"/>
                <a:gd name="connsiteX15" fmla="*/ 40748 w 152245"/>
                <a:gd name="connsiteY15" fmla="*/ 38509 h 107467"/>
                <a:gd name="connsiteX16" fmla="*/ 40748 w 152245"/>
                <a:gd name="connsiteY16" fmla="*/ 38509 h 107467"/>
                <a:gd name="connsiteX17" fmla="*/ 39405 w 152245"/>
                <a:gd name="connsiteY17" fmla="*/ 38061 h 107467"/>
                <a:gd name="connsiteX18" fmla="*/ 39405 w 152245"/>
                <a:gd name="connsiteY18" fmla="*/ 38061 h 107467"/>
                <a:gd name="connsiteX19" fmla="*/ 38061 w 152245"/>
                <a:gd name="connsiteY19" fmla="*/ 38509 h 107467"/>
                <a:gd name="connsiteX20" fmla="*/ 38061 w 152245"/>
                <a:gd name="connsiteY20" fmla="*/ 38509 h 107467"/>
                <a:gd name="connsiteX21" fmla="*/ 896 w 152245"/>
                <a:gd name="connsiteY21" fmla="*/ 66272 h 107467"/>
                <a:gd name="connsiteX22" fmla="*/ 896 w 152245"/>
                <a:gd name="connsiteY22" fmla="*/ 66272 h 107467"/>
                <a:gd name="connsiteX23" fmla="*/ 448 w 152245"/>
                <a:gd name="connsiteY23" fmla="*/ 66719 h 107467"/>
                <a:gd name="connsiteX24" fmla="*/ 0 w 152245"/>
                <a:gd name="connsiteY24" fmla="*/ 67167 h 107467"/>
                <a:gd name="connsiteX25" fmla="*/ 0 w 152245"/>
                <a:gd name="connsiteY25" fmla="*/ 67615 h 107467"/>
                <a:gd name="connsiteX26" fmla="*/ 0 w 152245"/>
                <a:gd name="connsiteY26" fmla="*/ 68063 h 107467"/>
                <a:gd name="connsiteX27" fmla="*/ 0 w 152245"/>
                <a:gd name="connsiteY27" fmla="*/ 68063 h 107467"/>
                <a:gd name="connsiteX28" fmla="*/ 0 w 152245"/>
                <a:gd name="connsiteY28" fmla="*/ 108363 h 107467"/>
                <a:gd name="connsiteX29" fmla="*/ 2239 w 152245"/>
                <a:gd name="connsiteY29" fmla="*/ 110602 h 107467"/>
                <a:gd name="connsiteX30" fmla="*/ 4478 w 152245"/>
                <a:gd name="connsiteY30" fmla="*/ 108363 h 107467"/>
                <a:gd name="connsiteX31" fmla="*/ 4478 w 152245"/>
                <a:gd name="connsiteY31" fmla="*/ 69406 h 107467"/>
                <a:gd name="connsiteX32" fmla="*/ 37166 w 152245"/>
                <a:gd name="connsiteY32" fmla="*/ 45226 h 107467"/>
                <a:gd name="connsiteX33" fmla="*/ 37166 w 152245"/>
                <a:gd name="connsiteY33" fmla="*/ 108811 h 107467"/>
                <a:gd name="connsiteX34" fmla="*/ 39405 w 152245"/>
                <a:gd name="connsiteY34" fmla="*/ 111050 h 107467"/>
                <a:gd name="connsiteX35" fmla="*/ 41644 w 152245"/>
                <a:gd name="connsiteY35" fmla="*/ 108811 h 107467"/>
                <a:gd name="connsiteX36" fmla="*/ 41644 w 152245"/>
                <a:gd name="connsiteY36" fmla="*/ 45226 h 107467"/>
                <a:gd name="connsiteX37" fmla="*/ 74332 w 152245"/>
                <a:gd name="connsiteY37" fmla="*/ 69406 h 107467"/>
                <a:gd name="connsiteX38" fmla="*/ 74332 w 152245"/>
                <a:gd name="connsiteY38" fmla="*/ 108363 h 107467"/>
                <a:gd name="connsiteX39" fmla="*/ 76571 w 152245"/>
                <a:gd name="connsiteY39" fmla="*/ 110602 h 107467"/>
                <a:gd name="connsiteX40" fmla="*/ 78810 w 152245"/>
                <a:gd name="connsiteY40" fmla="*/ 108363 h 107467"/>
                <a:gd name="connsiteX41" fmla="*/ 78810 w 152245"/>
                <a:gd name="connsiteY41" fmla="*/ 68958 h 107467"/>
                <a:gd name="connsiteX42" fmla="*/ 111498 w 152245"/>
                <a:gd name="connsiteY42" fmla="*/ 39853 h 107467"/>
                <a:gd name="connsiteX43" fmla="*/ 111498 w 152245"/>
                <a:gd name="connsiteY43" fmla="*/ 107915 h 107467"/>
                <a:gd name="connsiteX44" fmla="*/ 113737 w 152245"/>
                <a:gd name="connsiteY44" fmla="*/ 110154 h 107467"/>
                <a:gd name="connsiteX45" fmla="*/ 115976 w 152245"/>
                <a:gd name="connsiteY45" fmla="*/ 107915 h 107467"/>
                <a:gd name="connsiteX46" fmla="*/ 115976 w 152245"/>
                <a:gd name="connsiteY46" fmla="*/ 37166 h 107467"/>
                <a:gd name="connsiteX47" fmla="*/ 115528 w 152245"/>
                <a:gd name="connsiteY47" fmla="*/ 36270 h 107467"/>
                <a:gd name="connsiteX48" fmla="*/ 148216 w 152245"/>
                <a:gd name="connsiteY48" fmla="*/ 7165 h 107467"/>
                <a:gd name="connsiteX49" fmla="*/ 148216 w 152245"/>
                <a:gd name="connsiteY49" fmla="*/ 108363 h 107467"/>
                <a:gd name="connsiteX50" fmla="*/ 150455 w 152245"/>
                <a:gd name="connsiteY50" fmla="*/ 110602 h 107467"/>
                <a:gd name="connsiteX51" fmla="*/ 152694 w 152245"/>
                <a:gd name="connsiteY51" fmla="*/ 108363 h 107467"/>
                <a:gd name="connsiteX52" fmla="*/ 152694 w 152245"/>
                <a:gd name="connsiteY52" fmla="*/ 1791 h 107467"/>
                <a:gd name="connsiteX53" fmla="*/ 152694 w 152245"/>
                <a:gd name="connsiteY53" fmla="*/ 179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2245" h="107467">
                  <a:moveTo>
                    <a:pt x="152694" y="1791"/>
                  </a:moveTo>
                  <a:cubicBezTo>
                    <a:pt x="152694" y="1791"/>
                    <a:pt x="152694" y="1343"/>
                    <a:pt x="152694" y="1343"/>
                  </a:cubicBezTo>
                  <a:cubicBezTo>
                    <a:pt x="152694" y="1343"/>
                    <a:pt x="152694" y="896"/>
                    <a:pt x="152246" y="896"/>
                  </a:cubicBezTo>
                  <a:cubicBezTo>
                    <a:pt x="152246" y="896"/>
                    <a:pt x="152246" y="896"/>
                    <a:pt x="152246" y="448"/>
                  </a:cubicBezTo>
                  <a:cubicBezTo>
                    <a:pt x="152246" y="448"/>
                    <a:pt x="152246" y="448"/>
                    <a:pt x="152246" y="448"/>
                  </a:cubicBezTo>
                  <a:cubicBezTo>
                    <a:pt x="152246" y="448"/>
                    <a:pt x="151798" y="448"/>
                    <a:pt x="151798" y="0"/>
                  </a:cubicBezTo>
                  <a:cubicBezTo>
                    <a:pt x="151798" y="0"/>
                    <a:pt x="151798" y="0"/>
                    <a:pt x="151350" y="0"/>
                  </a:cubicBezTo>
                  <a:cubicBezTo>
                    <a:pt x="151350" y="0"/>
                    <a:pt x="150903" y="0"/>
                    <a:pt x="150903" y="0"/>
                  </a:cubicBezTo>
                  <a:cubicBezTo>
                    <a:pt x="150903" y="0"/>
                    <a:pt x="150455" y="0"/>
                    <a:pt x="150455" y="0"/>
                  </a:cubicBezTo>
                  <a:cubicBezTo>
                    <a:pt x="150455" y="0"/>
                    <a:pt x="150455" y="0"/>
                    <a:pt x="150455" y="0"/>
                  </a:cubicBezTo>
                  <a:cubicBezTo>
                    <a:pt x="150455" y="0"/>
                    <a:pt x="150455" y="0"/>
                    <a:pt x="150007" y="0"/>
                  </a:cubicBezTo>
                  <a:cubicBezTo>
                    <a:pt x="150007" y="0"/>
                    <a:pt x="149559" y="0"/>
                    <a:pt x="149559" y="0"/>
                  </a:cubicBezTo>
                  <a:cubicBezTo>
                    <a:pt x="149559" y="0"/>
                    <a:pt x="149111" y="0"/>
                    <a:pt x="149111" y="448"/>
                  </a:cubicBezTo>
                  <a:cubicBezTo>
                    <a:pt x="149111" y="448"/>
                    <a:pt x="149111" y="448"/>
                    <a:pt x="148664" y="448"/>
                  </a:cubicBezTo>
                  <a:lnTo>
                    <a:pt x="76123" y="64928"/>
                  </a:lnTo>
                  <a:lnTo>
                    <a:pt x="40748" y="38509"/>
                  </a:lnTo>
                  <a:cubicBezTo>
                    <a:pt x="40748" y="38509"/>
                    <a:pt x="40748" y="38509"/>
                    <a:pt x="40748" y="38509"/>
                  </a:cubicBezTo>
                  <a:cubicBezTo>
                    <a:pt x="40300" y="38061"/>
                    <a:pt x="39853" y="38061"/>
                    <a:pt x="39405" y="38061"/>
                  </a:cubicBezTo>
                  <a:cubicBezTo>
                    <a:pt x="39405" y="38061"/>
                    <a:pt x="39405" y="38061"/>
                    <a:pt x="39405" y="38061"/>
                  </a:cubicBezTo>
                  <a:cubicBezTo>
                    <a:pt x="38957" y="38061"/>
                    <a:pt x="38509" y="38061"/>
                    <a:pt x="38061" y="38509"/>
                  </a:cubicBezTo>
                  <a:cubicBezTo>
                    <a:pt x="38061" y="38509"/>
                    <a:pt x="38061" y="38509"/>
                    <a:pt x="38061" y="38509"/>
                  </a:cubicBezTo>
                  <a:lnTo>
                    <a:pt x="896" y="66272"/>
                  </a:lnTo>
                  <a:cubicBezTo>
                    <a:pt x="896" y="66272"/>
                    <a:pt x="896" y="66272"/>
                    <a:pt x="896" y="66272"/>
                  </a:cubicBezTo>
                  <a:cubicBezTo>
                    <a:pt x="896" y="66272"/>
                    <a:pt x="896" y="66272"/>
                    <a:pt x="448" y="66719"/>
                  </a:cubicBezTo>
                  <a:cubicBezTo>
                    <a:pt x="448" y="66719"/>
                    <a:pt x="448" y="66719"/>
                    <a:pt x="0" y="67167"/>
                  </a:cubicBezTo>
                  <a:cubicBezTo>
                    <a:pt x="0" y="67167"/>
                    <a:pt x="0" y="67615"/>
                    <a:pt x="0" y="67615"/>
                  </a:cubicBezTo>
                  <a:cubicBezTo>
                    <a:pt x="0" y="67615"/>
                    <a:pt x="0" y="68063"/>
                    <a:pt x="0" y="68063"/>
                  </a:cubicBezTo>
                  <a:cubicBezTo>
                    <a:pt x="0" y="68063"/>
                    <a:pt x="0" y="68063"/>
                    <a:pt x="0" y="68063"/>
                  </a:cubicBezTo>
                  <a:lnTo>
                    <a:pt x="0" y="108363"/>
                  </a:lnTo>
                  <a:cubicBezTo>
                    <a:pt x="0" y="109707"/>
                    <a:pt x="896" y="110602"/>
                    <a:pt x="2239" y="110602"/>
                  </a:cubicBezTo>
                  <a:cubicBezTo>
                    <a:pt x="3582" y="110602"/>
                    <a:pt x="4478" y="109707"/>
                    <a:pt x="4478" y="108363"/>
                  </a:cubicBezTo>
                  <a:lnTo>
                    <a:pt x="4478" y="69406"/>
                  </a:lnTo>
                  <a:lnTo>
                    <a:pt x="37166" y="45226"/>
                  </a:lnTo>
                  <a:lnTo>
                    <a:pt x="37166" y="108811"/>
                  </a:lnTo>
                  <a:cubicBezTo>
                    <a:pt x="37166" y="110154"/>
                    <a:pt x="38061" y="111050"/>
                    <a:pt x="39405" y="111050"/>
                  </a:cubicBezTo>
                  <a:cubicBezTo>
                    <a:pt x="40748" y="111050"/>
                    <a:pt x="41644" y="110154"/>
                    <a:pt x="41644" y="108811"/>
                  </a:cubicBezTo>
                  <a:lnTo>
                    <a:pt x="41644" y="45226"/>
                  </a:lnTo>
                  <a:lnTo>
                    <a:pt x="74332" y="69406"/>
                  </a:lnTo>
                  <a:lnTo>
                    <a:pt x="74332" y="108363"/>
                  </a:lnTo>
                  <a:cubicBezTo>
                    <a:pt x="74332" y="109707"/>
                    <a:pt x="75227" y="110602"/>
                    <a:pt x="76571" y="110602"/>
                  </a:cubicBezTo>
                  <a:cubicBezTo>
                    <a:pt x="77914" y="110602"/>
                    <a:pt x="78810" y="109707"/>
                    <a:pt x="78810" y="108363"/>
                  </a:cubicBezTo>
                  <a:lnTo>
                    <a:pt x="78810" y="68958"/>
                  </a:lnTo>
                  <a:lnTo>
                    <a:pt x="111498" y="39853"/>
                  </a:lnTo>
                  <a:lnTo>
                    <a:pt x="111498" y="107915"/>
                  </a:lnTo>
                  <a:cubicBezTo>
                    <a:pt x="111498" y="109259"/>
                    <a:pt x="112393" y="110154"/>
                    <a:pt x="113737" y="110154"/>
                  </a:cubicBezTo>
                  <a:cubicBezTo>
                    <a:pt x="115080" y="110154"/>
                    <a:pt x="115976" y="109259"/>
                    <a:pt x="115976" y="107915"/>
                  </a:cubicBezTo>
                  <a:lnTo>
                    <a:pt x="115976" y="37166"/>
                  </a:lnTo>
                  <a:cubicBezTo>
                    <a:pt x="115976" y="36718"/>
                    <a:pt x="115976" y="36270"/>
                    <a:pt x="115528" y="36270"/>
                  </a:cubicBezTo>
                  <a:lnTo>
                    <a:pt x="148216" y="7165"/>
                  </a:lnTo>
                  <a:lnTo>
                    <a:pt x="148216" y="108363"/>
                  </a:lnTo>
                  <a:cubicBezTo>
                    <a:pt x="148216" y="109707"/>
                    <a:pt x="149111" y="110602"/>
                    <a:pt x="150455" y="110602"/>
                  </a:cubicBezTo>
                  <a:cubicBezTo>
                    <a:pt x="151798" y="110602"/>
                    <a:pt x="152694" y="109707"/>
                    <a:pt x="152694" y="108363"/>
                  </a:cubicBezTo>
                  <a:lnTo>
                    <a:pt x="152694" y="1791"/>
                  </a:lnTo>
                  <a:cubicBezTo>
                    <a:pt x="152694" y="1791"/>
                    <a:pt x="152694" y="1791"/>
                    <a:pt x="152694" y="1791"/>
                  </a:cubicBezTo>
                  <a:close/>
                </a:path>
              </a:pathLst>
            </a:custGeom>
            <a:solidFill>
              <a:srgbClr val="231F20"/>
            </a:solidFill>
            <a:ln w="4474" cap="flat">
              <a:noFill/>
              <a:prstDash val="solid"/>
              <a:miter/>
            </a:ln>
          </p:spPr>
          <p:txBody>
            <a:bodyPr rtlCol="0" anchor="ctr"/>
            <a:lstStyle/>
            <a:p>
              <a:endParaRPr lang="en-US"/>
            </a:p>
          </p:txBody>
        </p:sp>
      </p:grpSp>
      <p:grpSp>
        <p:nvGrpSpPr>
          <p:cNvPr id="4289" name="Group 4288">
            <a:extLst>
              <a:ext uri="{FF2B5EF4-FFF2-40B4-BE49-F238E27FC236}">
                <a16:creationId xmlns:a16="http://schemas.microsoft.com/office/drawing/2014/main" id="{1C8001AC-A797-431B-BC68-30271E751BC0}"/>
              </a:ext>
              <a:ext uri="{C183D7F6-B498-43B3-948B-1728B52AA6E4}">
                <adec:decorative xmlns:adec="http://schemas.microsoft.com/office/drawing/2017/decorative" val="1"/>
              </a:ext>
            </a:extLst>
          </p:cNvPr>
          <p:cNvGrpSpPr>
            <a:grpSpLocks noChangeAspect="1"/>
          </p:cNvGrpSpPr>
          <p:nvPr/>
        </p:nvGrpSpPr>
        <p:grpSpPr>
          <a:xfrm>
            <a:off x="4758088" y="3621702"/>
            <a:ext cx="152918" cy="155156"/>
            <a:chOff x="4798842" y="2886263"/>
            <a:chExt cx="152918" cy="155156"/>
          </a:xfrm>
        </p:grpSpPr>
        <p:sp>
          <p:nvSpPr>
            <p:cNvPr id="4290" name="Freeform: Shape 4289">
              <a:extLst>
                <a:ext uri="{FF2B5EF4-FFF2-40B4-BE49-F238E27FC236}">
                  <a16:creationId xmlns:a16="http://schemas.microsoft.com/office/drawing/2014/main" id="{409D31B6-D6F2-4A15-8DE3-5D398AAEB6FE}"/>
                </a:ext>
              </a:extLst>
            </p:cNvPr>
            <p:cNvSpPr/>
            <p:nvPr/>
          </p:nvSpPr>
          <p:spPr>
            <a:xfrm>
              <a:off x="4799514" y="2886263"/>
              <a:ext cx="152246" cy="71645"/>
            </a:xfrm>
            <a:custGeom>
              <a:avLst/>
              <a:gdLst>
                <a:gd name="connsiteX0" fmla="*/ 152470 w 152245"/>
                <a:gd name="connsiteY0" fmla="*/ 50823 h 71645"/>
                <a:gd name="connsiteX1" fmla="*/ 150231 w 152245"/>
                <a:gd name="connsiteY1" fmla="*/ 48584 h 71645"/>
                <a:gd name="connsiteX2" fmla="*/ 147992 w 152245"/>
                <a:gd name="connsiteY2" fmla="*/ 50823 h 71645"/>
                <a:gd name="connsiteX3" fmla="*/ 147992 w 152245"/>
                <a:gd name="connsiteY3" fmla="*/ 69630 h 71645"/>
                <a:gd name="connsiteX4" fmla="*/ 110826 w 152245"/>
                <a:gd name="connsiteY4" fmla="*/ 43211 h 71645"/>
                <a:gd name="connsiteX5" fmla="*/ 108139 w 152245"/>
                <a:gd name="connsiteY5" fmla="*/ 43211 h 71645"/>
                <a:gd name="connsiteX6" fmla="*/ 75899 w 152245"/>
                <a:gd name="connsiteY6" fmla="*/ 68734 h 71645"/>
                <a:gd name="connsiteX7" fmla="*/ 3806 w 152245"/>
                <a:gd name="connsiteY7" fmla="*/ 672 h 71645"/>
                <a:gd name="connsiteX8" fmla="*/ 672 w 152245"/>
                <a:gd name="connsiteY8" fmla="*/ 672 h 71645"/>
                <a:gd name="connsiteX9" fmla="*/ 672 w 152245"/>
                <a:gd name="connsiteY9" fmla="*/ 3806 h 71645"/>
                <a:gd name="connsiteX10" fmla="*/ 74108 w 152245"/>
                <a:gd name="connsiteY10" fmla="*/ 73660 h 71645"/>
                <a:gd name="connsiteX11" fmla="*/ 77242 w 152245"/>
                <a:gd name="connsiteY11" fmla="*/ 73660 h 71645"/>
                <a:gd name="connsiteX12" fmla="*/ 109483 w 152245"/>
                <a:gd name="connsiteY12" fmla="*/ 47689 h 71645"/>
                <a:gd name="connsiteX13" fmla="*/ 143066 w 152245"/>
                <a:gd name="connsiteY13" fmla="*/ 71421 h 71645"/>
                <a:gd name="connsiteX14" fmla="*/ 126946 w 152245"/>
                <a:gd name="connsiteY14" fmla="*/ 71421 h 71645"/>
                <a:gd name="connsiteX15" fmla="*/ 124707 w 152245"/>
                <a:gd name="connsiteY15" fmla="*/ 73660 h 71645"/>
                <a:gd name="connsiteX16" fmla="*/ 126946 w 152245"/>
                <a:gd name="connsiteY16" fmla="*/ 75899 h 71645"/>
                <a:gd name="connsiteX17" fmla="*/ 150231 w 152245"/>
                <a:gd name="connsiteY17" fmla="*/ 75899 h 71645"/>
                <a:gd name="connsiteX18" fmla="*/ 151126 w 152245"/>
                <a:gd name="connsiteY18" fmla="*/ 75451 h 71645"/>
                <a:gd name="connsiteX19" fmla="*/ 151126 w 152245"/>
                <a:gd name="connsiteY19" fmla="*/ 75451 h 71645"/>
                <a:gd name="connsiteX20" fmla="*/ 151126 w 152245"/>
                <a:gd name="connsiteY20" fmla="*/ 75451 h 71645"/>
                <a:gd name="connsiteX21" fmla="*/ 151574 w 152245"/>
                <a:gd name="connsiteY21" fmla="*/ 75003 h 71645"/>
                <a:gd name="connsiteX22" fmla="*/ 151574 w 152245"/>
                <a:gd name="connsiteY22" fmla="*/ 74556 h 71645"/>
                <a:gd name="connsiteX23" fmla="*/ 152022 w 152245"/>
                <a:gd name="connsiteY23" fmla="*/ 73660 h 71645"/>
                <a:gd name="connsiteX24" fmla="*/ 152022 w 152245"/>
                <a:gd name="connsiteY24" fmla="*/ 50823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2245" h="71645">
                  <a:moveTo>
                    <a:pt x="152470" y="50823"/>
                  </a:moveTo>
                  <a:cubicBezTo>
                    <a:pt x="152470" y="49480"/>
                    <a:pt x="151574" y="48584"/>
                    <a:pt x="150231" y="48584"/>
                  </a:cubicBezTo>
                  <a:cubicBezTo>
                    <a:pt x="148887" y="48584"/>
                    <a:pt x="147992" y="49480"/>
                    <a:pt x="147992" y="50823"/>
                  </a:cubicBezTo>
                  <a:lnTo>
                    <a:pt x="147992" y="69630"/>
                  </a:lnTo>
                  <a:lnTo>
                    <a:pt x="110826" y="43211"/>
                  </a:lnTo>
                  <a:cubicBezTo>
                    <a:pt x="109930" y="42763"/>
                    <a:pt x="109035" y="42763"/>
                    <a:pt x="108139" y="43211"/>
                  </a:cubicBezTo>
                  <a:lnTo>
                    <a:pt x="75899" y="68734"/>
                  </a:lnTo>
                  <a:lnTo>
                    <a:pt x="3806" y="672"/>
                  </a:lnTo>
                  <a:cubicBezTo>
                    <a:pt x="2910" y="-224"/>
                    <a:pt x="1567" y="-224"/>
                    <a:pt x="672" y="672"/>
                  </a:cubicBezTo>
                  <a:cubicBezTo>
                    <a:pt x="-224" y="1567"/>
                    <a:pt x="-224" y="2911"/>
                    <a:pt x="672" y="3806"/>
                  </a:cubicBezTo>
                  <a:lnTo>
                    <a:pt x="74108" y="73660"/>
                  </a:lnTo>
                  <a:cubicBezTo>
                    <a:pt x="75003" y="74556"/>
                    <a:pt x="76347" y="74556"/>
                    <a:pt x="77242" y="73660"/>
                  </a:cubicBezTo>
                  <a:lnTo>
                    <a:pt x="109483" y="47689"/>
                  </a:lnTo>
                  <a:lnTo>
                    <a:pt x="143066" y="71421"/>
                  </a:lnTo>
                  <a:lnTo>
                    <a:pt x="126946" y="71421"/>
                  </a:lnTo>
                  <a:cubicBezTo>
                    <a:pt x="125603" y="71421"/>
                    <a:pt x="124707" y="72317"/>
                    <a:pt x="124707" y="73660"/>
                  </a:cubicBezTo>
                  <a:cubicBezTo>
                    <a:pt x="124707" y="75003"/>
                    <a:pt x="125603" y="75899"/>
                    <a:pt x="126946" y="75899"/>
                  </a:cubicBezTo>
                  <a:lnTo>
                    <a:pt x="150231" y="75899"/>
                  </a:lnTo>
                  <a:cubicBezTo>
                    <a:pt x="150678" y="75899"/>
                    <a:pt x="150678" y="75899"/>
                    <a:pt x="151126" y="75451"/>
                  </a:cubicBezTo>
                  <a:cubicBezTo>
                    <a:pt x="151126" y="75451"/>
                    <a:pt x="151126" y="75451"/>
                    <a:pt x="151126" y="75451"/>
                  </a:cubicBezTo>
                  <a:cubicBezTo>
                    <a:pt x="151126" y="75451"/>
                    <a:pt x="151126" y="75451"/>
                    <a:pt x="151126" y="75451"/>
                  </a:cubicBezTo>
                  <a:cubicBezTo>
                    <a:pt x="151574" y="75451"/>
                    <a:pt x="151574" y="75003"/>
                    <a:pt x="151574" y="75003"/>
                  </a:cubicBezTo>
                  <a:cubicBezTo>
                    <a:pt x="151574" y="75003"/>
                    <a:pt x="151574" y="75003"/>
                    <a:pt x="151574" y="74556"/>
                  </a:cubicBezTo>
                  <a:cubicBezTo>
                    <a:pt x="151574" y="74108"/>
                    <a:pt x="152022" y="74108"/>
                    <a:pt x="152022" y="73660"/>
                  </a:cubicBezTo>
                  <a:lnTo>
                    <a:pt x="152022" y="50823"/>
                  </a:lnTo>
                  <a:close/>
                </a:path>
              </a:pathLst>
            </a:custGeom>
            <a:solidFill>
              <a:srgbClr val="231F20"/>
            </a:solidFill>
            <a:ln w="4474" cap="flat">
              <a:noFill/>
              <a:prstDash val="solid"/>
              <a:miter/>
            </a:ln>
          </p:spPr>
          <p:txBody>
            <a:bodyPr rtlCol="0" anchor="ctr"/>
            <a:lstStyle/>
            <a:p>
              <a:endParaRPr lang="en-US"/>
            </a:p>
          </p:txBody>
        </p:sp>
        <p:sp>
          <p:nvSpPr>
            <p:cNvPr id="4291" name="Freeform: Shape 4290">
              <a:extLst>
                <a:ext uri="{FF2B5EF4-FFF2-40B4-BE49-F238E27FC236}">
                  <a16:creationId xmlns:a16="http://schemas.microsoft.com/office/drawing/2014/main" id="{F7A58666-4DF3-4F7E-A0B5-45A1E09A0960}"/>
                </a:ext>
              </a:extLst>
            </p:cNvPr>
            <p:cNvSpPr/>
            <p:nvPr/>
          </p:nvSpPr>
          <p:spPr>
            <a:xfrm>
              <a:off x="4798842" y="2929474"/>
              <a:ext cx="152246" cy="111945"/>
            </a:xfrm>
            <a:custGeom>
              <a:avLst/>
              <a:gdLst>
                <a:gd name="connsiteX0" fmla="*/ 152694 w 152245"/>
                <a:gd name="connsiteY0" fmla="*/ 68958 h 111945"/>
                <a:gd name="connsiteX1" fmla="*/ 152694 w 152245"/>
                <a:gd name="connsiteY1" fmla="*/ 68511 h 111945"/>
                <a:gd name="connsiteX2" fmla="*/ 152694 w 152245"/>
                <a:gd name="connsiteY2" fmla="*/ 68063 h 111945"/>
                <a:gd name="connsiteX3" fmla="*/ 152246 w 152245"/>
                <a:gd name="connsiteY3" fmla="*/ 67615 h 111945"/>
                <a:gd name="connsiteX4" fmla="*/ 151798 w 152245"/>
                <a:gd name="connsiteY4" fmla="*/ 67167 h 111945"/>
                <a:gd name="connsiteX5" fmla="*/ 151798 w 152245"/>
                <a:gd name="connsiteY5" fmla="*/ 67167 h 111945"/>
                <a:gd name="connsiteX6" fmla="*/ 114632 w 152245"/>
                <a:gd name="connsiteY6" fmla="*/ 40300 h 111945"/>
                <a:gd name="connsiteX7" fmla="*/ 114632 w 152245"/>
                <a:gd name="connsiteY7" fmla="*/ 40300 h 111945"/>
                <a:gd name="connsiteX8" fmla="*/ 114632 w 152245"/>
                <a:gd name="connsiteY8" fmla="*/ 40300 h 111945"/>
                <a:gd name="connsiteX9" fmla="*/ 114184 w 152245"/>
                <a:gd name="connsiteY9" fmla="*/ 40300 h 111945"/>
                <a:gd name="connsiteX10" fmla="*/ 113737 w 152245"/>
                <a:gd name="connsiteY10" fmla="*/ 40300 h 111945"/>
                <a:gd name="connsiteX11" fmla="*/ 113289 w 152245"/>
                <a:gd name="connsiteY11" fmla="*/ 40300 h 111945"/>
                <a:gd name="connsiteX12" fmla="*/ 113289 w 152245"/>
                <a:gd name="connsiteY12" fmla="*/ 40300 h 111945"/>
                <a:gd name="connsiteX13" fmla="*/ 113289 w 152245"/>
                <a:gd name="connsiteY13" fmla="*/ 40300 h 111945"/>
                <a:gd name="connsiteX14" fmla="*/ 112841 w 152245"/>
                <a:gd name="connsiteY14" fmla="*/ 40300 h 111945"/>
                <a:gd name="connsiteX15" fmla="*/ 112393 w 152245"/>
                <a:gd name="connsiteY15" fmla="*/ 40300 h 111945"/>
                <a:gd name="connsiteX16" fmla="*/ 111945 w 152245"/>
                <a:gd name="connsiteY16" fmla="*/ 40300 h 111945"/>
                <a:gd name="connsiteX17" fmla="*/ 111945 w 152245"/>
                <a:gd name="connsiteY17" fmla="*/ 40300 h 111945"/>
                <a:gd name="connsiteX18" fmla="*/ 111945 w 152245"/>
                <a:gd name="connsiteY18" fmla="*/ 40300 h 111945"/>
                <a:gd name="connsiteX19" fmla="*/ 76571 w 152245"/>
                <a:gd name="connsiteY19" fmla="*/ 66272 h 111945"/>
                <a:gd name="connsiteX20" fmla="*/ 4030 w 152245"/>
                <a:gd name="connsiteY20" fmla="*/ 448 h 111945"/>
                <a:gd name="connsiteX21" fmla="*/ 3582 w 152245"/>
                <a:gd name="connsiteY21" fmla="*/ 448 h 111945"/>
                <a:gd name="connsiteX22" fmla="*/ 3135 w 152245"/>
                <a:gd name="connsiteY22" fmla="*/ 0 h 111945"/>
                <a:gd name="connsiteX23" fmla="*/ 2687 w 152245"/>
                <a:gd name="connsiteY23" fmla="*/ 0 h 111945"/>
                <a:gd name="connsiteX24" fmla="*/ 2239 w 152245"/>
                <a:gd name="connsiteY24" fmla="*/ 0 h 111945"/>
                <a:gd name="connsiteX25" fmla="*/ 2239 w 152245"/>
                <a:gd name="connsiteY25" fmla="*/ 0 h 111945"/>
                <a:gd name="connsiteX26" fmla="*/ 1791 w 152245"/>
                <a:gd name="connsiteY26" fmla="*/ 0 h 111945"/>
                <a:gd name="connsiteX27" fmla="*/ 1343 w 152245"/>
                <a:gd name="connsiteY27" fmla="*/ 0 h 111945"/>
                <a:gd name="connsiteX28" fmla="*/ 896 w 152245"/>
                <a:gd name="connsiteY28" fmla="*/ 0 h 111945"/>
                <a:gd name="connsiteX29" fmla="*/ 448 w 152245"/>
                <a:gd name="connsiteY29" fmla="*/ 448 h 111945"/>
                <a:gd name="connsiteX30" fmla="*/ 448 w 152245"/>
                <a:gd name="connsiteY30" fmla="*/ 448 h 111945"/>
                <a:gd name="connsiteX31" fmla="*/ 448 w 152245"/>
                <a:gd name="connsiteY31" fmla="*/ 895 h 111945"/>
                <a:gd name="connsiteX32" fmla="*/ 0 w 152245"/>
                <a:gd name="connsiteY32" fmla="*/ 1343 h 111945"/>
                <a:gd name="connsiteX33" fmla="*/ 0 w 152245"/>
                <a:gd name="connsiteY33" fmla="*/ 1791 h 111945"/>
                <a:gd name="connsiteX34" fmla="*/ 0 w 152245"/>
                <a:gd name="connsiteY34" fmla="*/ 2239 h 111945"/>
                <a:gd name="connsiteX35" fmla="*/ 0 w 152245"/>
                <a:gd name="connsiteY35" fmla="*/ 109707 h 111945"/>
                <a:gd name="connsiteX36" fmla="*/ 2239 w 152245"/>
                <a:gd name="connsiteY36" fmla="*/ 111945 h 111945"/>
                <a:gd name="connsiteX37" fmla="*/ 4478 w 152245"/>
                <a:gd name="connsiteY37" fmla="*/ 109707 h 111945"/>
                <a:gd name="connsiteX38" fmla="*/ 4478 w 152245"/>
                <a:gd name="connsiteY38" fmla="*/ 7164 h 111945"/>
                <a:gd name="connsiteX39" fmla="*/ 37166 w 152245"/>
                <a:gd name="connsiteY39" fmla="*/ 36718 h 111945"/>
                <a:gd name="connsiteX40" fmla="*/ 37166 w 152245"/>
                <a:gd name="connsiteY40" fmla="*/ 109707 h 111945"/>
                <a:gd name="connsiteX41" fmla="*/ 39405 w 152245"/>
                <a:gd name="connsiteY41" fmla="*/ 111945 h 111945"/>
                <a:gd name="connsiteX42" fmla="*/ 41644 w 152245"/>
                <a:gd name="connsiteY42" fmla="*/ 109707 h 111945"/>
                <a:gd name="connsiteX43" fmla="*/ 41644 w 152245"/>
                <a:gd name="connsiteY43" fmla="*/ 40748 h 111945"/>
                <a:gd name="connsiteX44" fmla="*/ 74332 w 152245"/>
                <a:gd name="connsiteY44" fmla="*/ 70302 h 111945"/>
                <a:gd name="connsiteX45" fmla="*/ 74332 w 152245"/>
                <a:gd name="connsiteY45" fmla="*/ 109707 h 111945"/>
                <a:gd name="connsiteX46" fmla="*/ 76571 w 152245"/>
                <a:gd name="connsiteY46" fmla="*/ 111945 h 111945"/>
                <a:gd name="connsiteX47" fmla="*/ 78810 w 152245"/>
                <a:gd name="connsiteY47" fmla="*/ 109707 h 111945"/>
                <a:gd name="connsiteX48" fmla="*/ 78810 w 152245"/>
                <a:gd name="connsiteY48" fmla="*/ 70749 h 111945"/>
                <a:gd name="connsiteX49" fmla="*/ 111498 w 152245"/>
                <a:gd name="connsiteY49" fmla="*/ 47017 h 111945"/>
                <a:gd name="connsiteX50" fmla="*/ 111498 w 152245"/>
                <a:gd name="connsiteY50" fmla="*/ 109707 h 111945"/>
                <a:gd name="connsiteX51" fmla="*/ 113737 w 152245"/>
                <a:gd name="connsiteY51" fmla="*/ 111945 h 111945"/>
                <a:gd name="connsiteX52" fmla="*/ 115976 w 152245"/>
                <a:gd name="connsiteY52" fmla="*/ 109707 h 111945"/>
                <a:gd name="connsiteX53" fmla="*/ 115976 w 152245"/>
                <a:gd name="connsiteY53" fmla="*/ 47017 h 111945"/>
                <a:gd name="connsiteX54" fmla="*/ 148664 w 152245"/>
                <a:gd name="connsiteY54" fmla="*/ 70749 h 111945"/>
                <a:gd name="connsiteX55" fmla="*/ 148664 w 152245"/>
                <a:gd name="connsiteY55" fmla="*/ 109707 h 111945"/>
                <a:gd name="connsiteX56" fmla="*/ 150903 w 152245"/>
                <a:gd name="connsiteY56" fmla="*/ 111945 h 111945"/>
                <a:gd name="connsiteX57" fmla="*/ 153141 w 152245"/>
                <a:gd name="connsiteY57" fmla="*/ 109707 h 111945"/>
                <a:gd name="connsiteX58" fmla="*/ 152694 w 152245"/>
                <a:gd name="connsiteY58" fmla="*/ 68958 h 111945"/>
                <a:gd name="connsiteX59" fmla="*/ 152694 w 152245"/>
                <a:gd name="connsiteY59" fmla="*/ 6895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2245" h="111945">
                  <a:moveTo>
                    <a:pt x="152694" y="68958"/>
                  </a:moveTo>
                  <a:cubicBezTo>
                    <a:pt x="152694" y="68958"/>
                    <a:pt x="152694" y="68511"/>
                    <a:pt x="152694" y="68511"/>
                  </a:cubicBezTo>
                  <a:cubicBezTo>
                    <a:pt x="152694" y="68511"/>
                    <a:pt x="152694" y="68063"/>
                    <a:pt x="152694" y="68063"/>
                  </a:cubicBezTo>
                  <a:cubicBezTo>
                    <a:pt x="152694" y="68063"/>
                    <a:pt x="152694" y="67615"/>
                    <a:pt x="152246" y="67615"/>
                  </a:cubicBezTo>
                  <a:cubicBezTo>
                    <a:pt x="152246" y="67615"/>
                    <a:pt x="152246" y="67167"/>
                    <a:pt x="151798" y="67167"/>
                  </a:cubicBezTo>
                  <a:cubicBezTo>
                    <a:pt x="151798" y="67167"/>
                    <a:pt x="151798" y="67167"/>
                    <a:pt x="151798" y="67167"/>
                  </a:cubicBezTo>
                  <a:lnTo>
                    <a:pt x="114632" y="40300"/>
                  </a:lnTo>
                  <a:cubicBezTo>
                    <a:pt x="114632" y="40300"/>
                    <a:pt x="114632" y="40300"/>
                    <a:pt x="114632" y="40300"/>
                  </a:cubicBezTo>
                  <a:cubicBezTo>
                    <a:pt x="114632" y="40300"/>
                    <a:pt x="114632" y="40300"/>
                    <a:pt x="114632" y="40300"/>
                  </a:cubicBezTo>
                  <a:cubicBezTo>
                    <a:pt x="114632" y="40300"/>
                    <a:pt x="114632" y="40300"/>
                    <a:pt x="114184" y="40300"/>
                  </a:cubicBezTo>
                  <a:cubicBezTo>
                    <a:pt x="114184" y="40300"/>
                    <a:pt x="114184" y="40300"/>
                    <a:pt x="113737" y="40300"/>
                  </a:cubicBezTo>
                  <a:cubicBezTo>
                    <a:pt x="113737" y="40300"/>
                    <a:pt x="113737" y="40300"/>
                    <a:pt x="113289" y="40300"/>
                  </a:cubicBezTo>
                  <a:cubicBezTo>
                    <a:pt x="113289" y="40300"/>
                    <a:pt x="113289" y="40300"/>
                    <a:pt x="113289" y="40300"/>
                  </a:cubicBezTo>
                  <a:cubicBezTo>
                    <a:pt x="113289" y="40300"/>
                    <a:pt x="113289" y="40300"/>
                    <a:pt x="113289" y="40300"/>
                  </a:cubicBezTo>
                  <a:cubicBezTo>
                    <a:pt x="113289" y="40300"/>
                    <a:pt x="113289" y="40300"/>
                    <a:pt x="112841" y="40300"/>
                  </a:cubicBezTo>
                  <a:cubicBezTo>
                    <a:pt x="112841" y="40300"/>
                    <a:pt x="112841" y="40300"/>
                    <a:pt x="112393" y="40300"/>
                  </a:cubicBezTo>
                  <a:cubicBezTo>
                    <a:pt x="112393" y="40300"/>
                    <a:pt x="112393" y="40300"/>
                    <a:pt x="111945" y="40300"/>
                  </a:cubicBezTo>
                  <a:cubicBezTo>
                    <a:pt x="111945" y="40300"/>
                    <a:pt x="111945" y="40300"/>
                    <a:pt x="111945" y="40300"/>
                  </a:cubicBezTo>
                  <a:cubicBezTo>
                    <a:pt x="111945" y="40300"/>
                    <a:pt x="111945" y="40300"/>
                    <a:pt x="111945" y="40300"/>
                  </a:cubicBezTo>
                  <a:lnTo>
                    <a:pt x="76571" y="66272"/>
                  </a:lnTo>
                  <a:lnTo>
                    <a:pt x="4030" y="448"/>
                  </a:lnTo>
                  <a:cubicBezTo>
                    <a:pt x="4030" y="448"/>
                    <a:pt x="4030" y="448"/>
                    <a:pt x="3582" y="448"/>
                  </a:cubicBezTo>
                  <a:cubicBezTo>
                    <a:pt x="3582" y="448"/>
                    <a:pt x="3135" y="448"/>
                    <a:pt x="3135" y="0"/>
                  </a:cubicBezTo>
                  <a:cubicBezTo>
                    <a:pt x="3135" y="0"/>
                    <a:pt x="2687" y="0"/>
                    <a:pt x="2687" y="0"/>
                  </a:cubicBezTo>
                  <a:cubicBezTo>
                    <a:pt x="2687" y="0"/>
                    <a:pt x="2687" y="0"/>
                    <a:pt x="2239" y="0"/>
                  </a:cubicBezTo>
                  <a:cubicBezTo>
                    <a:pt x="2239" y="0"/>
                    <a:pt x="2239" y="0"/>
                    <a:pt x="2239" y="0"/>
                  </a:cubicBezTo>
                  <a:cubicBezTo>
                    <a:pt x="2239" y="0"/>
                    <a:pt x="1791" y="0"/>
                    <a:pt x="1791" y="0"/>
                  </a:cubicBezTo>
                  <a:cubicBezTo>
                    <a:pt x="1791" y="0"/>
                    <a:pt x="1343" y="0"/>
                    <a:pt x="1343" y="0"/>
                  </a:cubicBezTo>
                  <a:cubicBezTo>
                    <a:pt x="1343" y="0"/>
                    <a:pt x="1343" y="0"/>
                    <a:pt x="896" y="0"/>
                  </a:cubicBezTo>
                  <a:cubicBezTo>
                    <a:pt x="896" y="0"/>
                    <a:pt x="448" y="0"/>
                    <a:pt x="448" y="448"/>
                  </a:cubicBezTo>
                  <a:cubicBezTo>
                    <a:pt x="448" y="448"/>
                    <a:pt x="448" y="448"/>
                    <a:pt x="448" y="448"/>
                  </a:cubicBezTo>
                  <a:cubicBezTo>
                    <a:pt x="448" y="448"/>
                    <a:pt x="448" y="448"/>
                    <a:pt x="448" y="895"/>
                  </a:cubicBezTo>
                  <a:cubicBezTo>
                    <a:pt x="448" y="895"/>
                    <a:pt x="448" y="1343"/>
                    <a:pt x="0" y="1343"/>
                  </a:cubicBezTo>
                  <a:cubicBezTo>
                    <a:pt x="0" y="1343"/>
                    <a:pt x="0" y="1791"/>
                    <a:pt x="0" y="1791"/>
                  </a:cubicBezTo>
                  <a:cubicBezTo>
                    <a:pt x="0" y="1791"/>
                    <a:pt x="0" y="1791"/>
                    <a:pt x="0" y="2239"/>
                  </a:cubicBezTo>
                  <a:lnTo>
                    <a:pt x="0" y="109707"/>
                  </a:lnTo>
                  <a:cubicBezTo>
                    <a:pt x="0" y="111050"/>
                    <a:pt x="896" y="111945"/>
                    <a:pt x="2239" y="111945"/>
                  </a:cubicBezTo>
                  <a:cubicBezTo>
                    <a:pt x="3582" y="111945"/>
                    <a:pt x="4478" y="111050"/>
                    <a:pt x="4478" y="109707"/>
                  </a:cubicBezTo>
                  <a:lnTo>
                    <a:pt x="4478" y="7164"/>
                  </a:lnTo>
                  <a:lnTo>
                    <a:pt x="37166" y="36718"/>
                  </a:lnTo>
                  <a:lnTo>
                    <a:pt x="37166" y="109707"/>
                  </a:lnTo>
                  <a:cubicBezTo>
                    <a:pt x="37166" y="111050"/>
                    <a:pt x="38061" y="111945"/>
                    <a:pt x="39405" y="111945"/>
                  </a:cubicBezTo>
                  <a:cubicBezTo>
                    <a:pt x="40748" y="111945"/>
                    <a:pt x="41644" y="111050"/>
                    <a:pt x="41644" y="109707"/>
                  </a:cubicBezTo>
                  <a:lnTo>
                    <a:pt x="41644" y="40748"/>
                  </a:lnTo>
                  <a:lnTo>
                    <a:pt x="74332" y="70302"/>
                  </a:lnTo>
                  <a:lnTo>
                    <a:pt x="74332" y="109707"/>
                  </a:lnTo>
                  <a:cubicBezTo>
                    <a:pt x="74332" y="111050"/>
                    <a:pt x="75227" y="111945"/>
                    <a:pt x="76571" y="111945"/>
                  </a:cubicBezTo>
                  <a:cubicBezTo>
                    <a:pt x="77914" y="111945"/>
                    <a:pt x="78810" y="111050"/>
                    <a:pt x="78810" y="109707"/>
                  </a:cubicBezTo>
                  <a:lnTo>
                    <a:pt x="78810" y="70749"/>
                  </a:lnTo>
                  <a:lnTo>
                    <a:pt x="111498" y="47017"/>
                  </a:lnTo>
                  <a:lnTo>
                    <a:pt x="111498" y="109707"/>
                  </a:lnTo>
                  <a:cubicBezTo>
                    <a:pt x="111498" y="111050"/>
                    <a:pt x="112393" y="111945"/>
                    <a:pt x="113737" y="111945"/>
                  </a:cubicBezTo>
                  <a:cubicBezTo>
                    <a:pt x="115080" y="111945"/>
                    <a:pt x="115976" y="111050"/>
                    <a:pt x="115976" y="109707"/>
                  </a:cubicBezTo>
                  <a:lnTo>
                    <a:pt x="115976" y="47017"/>
                  </a:lnTo>
                  <a:lnTo>
                    <a:pt x="148664" y="70749"/>
                  </a:lnTo>
                  <a:lnTo>
                    <a:pt x="148664" y="109707"/>
                  </a:lnTo>
                  <a:cubicBezTo>
                    <a:pt x="148664" y="111050"/>
                    <a:pt x="149559" y="111945"/>
                    <a:pt x="150903" y="111945"/>
                  </a:cubicBezTo>
                  <a:cubicBezTo>
                    <a:pt x="152246" y="111945"/>
                    <a:pt x="153141" y="111050"/>
                    <a:pt x="153141" y="109707"/>
                  </a:cubicBezTo>
                  <a:lnTo>
                    <a:pt x="152694" y="68958"/>
                  </a:lnTo>
                  <a:cubicBezTo>
                    <a:pt x="152694" y="69406"/>
                    <a:pt x="152694" y="68958"/>
                    <a:pt x="152694" y="68958"/>
                  </a:cubicBezTo>
                  <a:close/>
                </a:path>
              </a:pathLst>
            </a:custGeom>
            <a:solidFill>
              <a:srgbClr val="231F20"/>
            </a:solidFill>
            <a:ln w="4474" cap="flat">
              <a:noFill/>
              <a:prstDash val="solid"/>
              <a:miter/>
            </a:ln>
          </p:spPr>
          <p:txBody>
            <a:bodyPr rtlCol="0" anchor="ctr"/>
            <a:lstStyle/>
            <a:p>
              <a:endParaRPr lang="en-US"/>
            </a:p>
          </p:txBody>
        </p:sp>
      </p:grpSp>
      <p:grpSp>
        <p:nvGrpSpPr>
          <p:cNvPr id="4292" name="Group 4291">
            <a:extLst>
              <a:ext uri="{FF2B5EF4-FFF2-40B4-BE49-F238E27FC236}">
                <a16:creationId xmlns:a16="http://schemas.microsoft.com/office/drawing/2014/main" id="{05E9D982-77F1-41D5-AC11-6D0BE0A34733}"/>
              </a:ext>
              <a:ext uri="{C183D7F6-B498-43B3-948B-1728B52AA6E4}">
                <adec:decorative xmlns:adec="http://schemas.microsoft.com/office/drawing/2017/decorative" val="1"/>
              </a:ext>
            </a:extLst>
          </p:cNvPr>
          <p:cNvGrpSpPr>
            <a:grpSpLocks noChangeAspect="1"/>
          </p:cNvGrpSpPr>
          <p:nvPr/>
        </p:nvGrpSpPr>
        <p:grpSpPr>
          <a:xfrm>
            <a:off x="5019145" y="3638046"/>
            <a:ext cx="152246" cy="138812"/>
            <a:chOff x="5059899" y="2902607"/>
            <a:chExt cx="152246" cy="138812"/>
          </a:xfrm>
        </p:grpSpPr>
        <p:sp>
          <p:nvSpPr>
            <p:cNvPr id="4293" name="Freeform: Shape 4292">
              <a:extLst>
                <a:ext uri="{FF2B5EF4-FFF2-40B4-BE49-F238E27FC236}">
                  <a16:creationId xmlns:a16="http://schemas.microsoft.com/office/drawing/2014/main" id="{BB82A47C-FFCD-470F-AF1D-C671F73F1938}"/>
                </a:ext>
              </a:extLst>
            </p:cNvPr>
            <p:cNvSpPr/>
            <p:nvPr/>
          </p:nvSpPr>
          <p:spPr>
            <a:xfrm>
              <a:off x="5059899" y="2902607"/>
              <a:ext cx="152246" cy="138812"/>
            </a:xfrm>
            <a:custGeom>
              <a:avLst/>
              <a:gdLst>
                <a:gd name="connsiteX0" fmla="*/ 150007 w 152245"/>
                <a:gd name="connsiteY0" fmla="*/ 138812 h 138812"/>
                <a:gd name="connsiteX1" fmla="*/ 2239 w 152245"/>
                <a:gd name="connsiteY1" fmla="*/ 138812 h 138812"/>
                <a:gd name="connsiteX2" fmla="*/ 0 w 152245"/>
                <a:gd name="connsiteY2" fmla="*/ 136573 h 138812"/>
                <a:gd name="connsiteX3" fmla="*/ 0 w 152245"/>
                <a:gd name="connsiteY3" fmla="*/ 2239 h 138812"/>
                <a:gd name="connsiteX4" fmla="*/ 2239 w 152245"/>
                <a:gd name="connsiteY4" fmla="*/ 0 h 138812"/>
                <a:gd name="connsiteX5" fmla="*/ 4478 w 152245"/>
                <a:gd name="connsiteY5" fmla="*/ 2239 h 138812"/>
                <a:gd name="connsiteX6" fmla="*/ 4478 w 152245"/>
                <a:gd name="connsiteY6" fmla="*/ 134335 h 138812"/>
                <a:gd name="connsiteX7" fmla="*/ 150007 w 152245"/>
                <a:gd name="connsiteY7" fmla="*/ 134335 h 138812"/>
                <a:gd name="connsiteX8" fmla="*/ 152246 w 152245"/>
                <a:gd name="connsiteY8" fmla="*/ 136573 h 138812"/>
                <a:gd name="connsiteX9" fmla="*/ 150007 w 152245"/>
                <a:gd name="connsiteY9" fmla="*/ 138812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38812">
                  <a:moveTo>
                    <a:pt x="150007" y="138812"/>
                  </a:moveTo>
                  <a:lnTo>
                    <a:pt x="2239" y="138812"/>
                  </a:lnTo>
                  <a:cubicBezTo>
                    <a:pt x="896" y="138812"/>
                    <a:pt x="0" y="137917"/>
                    <a:pt x="0" y="136573"/>
                  </a:cubicBezTo>
                  <a:lnTo>
                    <a:pt x="0" y="2239"/>
                  </a:lnTo>
                  <a:cubicBezTo>
                    <a:pt x="0" y="895"/>
                    <a:pt x="896" y="0"/>
                    <a:pt x="2239" y="0"/>
                  </a:cubicBezTo>
                  <a:cubicBezTo>
                    <a:pt x="3582" y="0"/>
                    <a:pt x="4478" y="895"/>
                    <a:pt x="4478" y="2239"/>
                  </a:cubicBezTo>
                  <a:lnTo>
                    <a:pt x="4478" y="134335"/>
                  </a:lnTo>
                  <a:lnTo>
                    <a:pt x="150007" y="134335"/>
                  </a:lnTo>
                  <a:cubicBezTo>
                    <a:pt x="151350" y="134335"/>
                    <a:pt x="152246" y="135230"/>
                    <a:pt x="152246" y="136573"/>
                  </a:cubicBezTo>
                  <a:cubicBezTo>
                    <a:pt x="152246" y="137917"/>
                    <a:pt x="150903" y="138812"/>
                    <a:pt x="150007" y="138812"/>
                  </a:cubicBezTo>
                  <a:close/>
                </a:path>
              </a:pathLst>
            </a:custGeom>
            <a:solidFill>
              <a:srgbClr val="231F20"/>
            </a:solidFill>
            <a:ln w="4474" cap="flat">
              <a:noFill/>
              <a:prstDash val="solid"/>
              <a:miter/>
            </a:ln>
          </p:spPr>
          <p:txBody>
            <a:bodyPr rtlCol="0" anchor="ctr"/>
            <a:lstStyle/>
            <a:p>
              <a:endParaRPr lang="en-US"/>
            </a:p>
          </p:txBody>
        </p:sp>
        <p:sp>
          <p:nvSpPr>
            <p:cNvPr id="4294" name="Freeform: Shape 4293">
              <a:extLst>
                <a:ext uri="{FF2B5EF4-FFF2-40B4-BE49-F238E27FC236}">
                  <a16:creationId xmlns:a16="http://schemas.microsoft.com/office/drawing/2014/main" id="{B37DD02E-AB24-4023-A50C-EC5E40016595}"/>
                </a:ext>
              </a:extLst>
            </p:cNvPr>
            <p:cNvSpPr/>
            <p:nvPr/>
          </p:nvSpPr>
          <p:spPr>
            <a:xfrm>
              <a:off x="5086766" y="2929474"/>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2"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2"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sp>
          <p:nvSpPr>
            <p:cNvPr id="4295" name="Freeform: Shape 4294">
              <a:extLst>
                <a:ext uri="{FF2B5EF4-FFF2-40B4-BE49-F238E27FC236}">
                  <a16:creationId xmlns:a16="http://schemas.microsoft.com/office/drawing/2014/main" id="{7C0FBC1D-D9F8-44C1-A7BA-7CF2CB4F125D}"/>
                </a:ext>
              </a:extLst>
            </p:cNvPr>
            <p:cNvSpPr/>
            <p:nvPr/>
          </p:nvSpPr>
          <p:spPr>
            <a:xfrm>
              <a:off x="5113632" y="2942907"/>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2"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2"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sp>
          <p:nvSpPr>
            <p:cNvPr id="4296" name="Freeform: Shape 4295">
              <a:extLst>
                <a:ext uri="{FF2B5EF4-FFF2-40B4-BE49-F238E27FC236}">
                  <a16:creationId xmlns:a16="http://schemas.microsoft.com/office/drawing/2014/main" id="{136A582B-85D9-4C29-983D-93AABD1F0901}"/>
                </a:ext>
              </a:extLst>
            </p:cNvPr>
            <p:cNvSpPr/>
            <p:nvPr/>
          </p:nvSpPr>
          <p:spPr>
            <a:xfrm>
              <a:off x="5140499" y="2956341"/>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2"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2"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sp>
          <p:nvSpPr>
            <p:cNvPr id="4297" name="Freeform: Shape 4296">
              <a:extLst>
                <a:ext uri="{FF2B5EF4-FFF2-40B4-BE49-F238E27FC236}">
                  <a16:creationId xmlns:a16="http://schemas.microsoft.com/office/drawing/2014/main" id="{27691373-F306-4CC3-8F09-30463827FACE}"/>
                </a:ext>
              </a:extLst>
            </p:cNvPr>
            <p:cNvSpPr/>
            <p:nvPr/>
          </p:nvSpPr>
          <p:spPr>
            <a:xfrm>
              <a:off x="5167366" y="2929474"/>
              <a:ext cx="17911" cy="71645"/>
            </a:xfrm>
            <a:custGeom>
              <a:avLst/>
              <a:gdLst>
                <a:gd name="connsiteX0" fmla="*/ 15672 w 17911"/>
                <a:gd name="connsiteY0" fmla="*/ 13433 h 71645"/>
                <a:gd name="connsiteX1" fmla="*/ 11195 w 17911"/>
                <a:gd name="connsiteY1" fmla="*/ 13433 h 71645"/>
                <a:gd name="connsiteX2" fmla="*/ 11195 w 17911"/>
                <a:gd name="connsiteY2" fmla="*/ 2239 h 71645"/>
                <a:gd name="connsiteX3" fmla="*/ 8956 w 17911"/>
                <a:gd name="connsiteY3" fmla="*/ 0 h 71645"/>
                <a:gd name="connsiteX4" fmla="*/ 6717 w 17911"/>
                <a:gd name="connsiteY4" fmla="*/ 2239 h 71645"/>
                <a:gd name="connsiteX5" fmla="*/ 6717 w 17911"/>
                <a:gd name="connsiteY5" fmla="*/ 13433 h 71645"/>
                <a:gd name="connsiteX6" fmla="*/ 2239 w 17911"/>
                <a:gd name="connsiteY6" fmla="*/ 13433 h 71645"/>
                <a:gd name="connsiteX7" fmla="*/ 0 w 17911"/>
                <a:gd name="connsiteY7" fmla="*/ 15672 h 71645"/>
                <a:gd name="connsiteX8" fmla="*/ 0 w 17911"/>
                <a:gd name="connsiteY8" fmla="*/ 55973 h 71645"/>
                <a:gd name="connsiteX9" fmla="*/ 2239 w 17911"/>
                <a:gd name="connsiteY9" fmla="*/ 58212 h 71645"/>
                <a:gd name="connsiteX10" fmla="*/ 6717 w 17911"/>
                <a:gd name="connsiteY10" fmla="*/ 58212 h 71645"/>
                <a:gd name="connsiteX11" fmla="*/ 6717 w 17911"/>
                <a:gd name="connsiteY11" fmla="*/ 69406 h 71645"/>
                <a:gd name="connsiteX12" fmla="*/ 8956 w 17911"/>
                <a:gd name="connsiteY12" fmla="*/ 71645 h 71645"/>
                <a:gd name="connsiteX13" fmla="*/ 11195 w 17911"/>
                <a:gd name="connsiteY13" fmla="*/ 69406 h 71645"/>
                <a:gd name="connsiteX14" fmla="*/ 11195 w 17911"/>
                <a:gd name="connsiteY14" fmla="*/ 58212 h 71645"/>
                <a:gd name="connsiteX15" fmla="*/ 15672 w 17911"/>
                <a:gd name="connsiteY15" fmla="*/ 58212 h 71645"/>
                <a:gd name="connsiteX16" fmla="*/ 17911 w 17911"/>
                <a:gd name="connsiteY16" fmla="*/ 55973 h 71645"/>
                <a:gd name="connsiteX17" fmla="*/ 17911 w 17911"/>
                <a:gd name="connsiteY17" fmla="*/ 15672 h 71645"/>
                <a:gd name="connsiteX18" fmla="*/ 15672 w 17911"/>
                <a:gd name="connsiteY18" fmla="*/ 13433 h 71645"/>
                <a:gd name="connsiteX19" fmla="*/ 13433 w 17911"/>
                <a:gd name="connsiteY19" fmla="*/ 53734 h 71645"/>
                <a:gd name="connsiteX20" fmla="*/ 4478 w 17911"/>
                <a:gd name="connsiteY20" fmla="*/ 53734 h 71645"/>
                <a:gd name="connsiteX21" fmla="*/ 4478 w 17911"/>
                <a:gd name="connsiteY21" fmla="*/ 17911 h 71645"/>
                <a:gd name="connsiteX22" fmla="*/ 13433 w 17911"/>
                <a:gd name="connsiteY22" fmla="*/ 17911 h 71645"/>
                <a:gd name="connsiteX23" fmla="*/ 13433 w 17911"/>
                <a:gd name="connsiteY23" fmla="*/ 53734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11" h="71645">
                  <a:moveTo>
                    <a:pt x="15672" y="13433"/>
                  </a:moveTo>
                  <a:lnTo>
                    <a:pt x="11195" y="13433"/>
                  </a:lnTo>
                  <a:lnTo>
                    <a:pt x="11195" y="2239"/>
                  </a:lnTo>
                  <a:cubicBezTo>
                    <a:pt x="11195" y="895"/>
                    <a:pt x="10299" y="0"/>
                    <a:pt x="8956" y="0"/>
                  </a:cubicBezTo>
                  <a:cubicBezTo>
                    <a:pt x="7613" y="0"/>
                    <a:pt x="6717" y="895"/>
                    <a:pt x="6717" y="2239"/>
                  </a:cubicBezTo>
                  <a:lnTo>
                    <a:pt x="6717" y="13433"/>
                  </a:lnTo>
                  <a:lnTo>
                    <a:pt x="2239" y="13433"/>
                  </a:lnTo>
                  <a:cubicBezTo>
                    <a:pt x="896" y="13433"/>
                    <a:pt x="0" y="14329"/>
                    <a:pt x="0" y="15672"/>
                  </a:cubicBezTo>
                  <a:lnTo>
                    <a:pt x="0" y="55973"/>
                  </a:lnTo>
                  <a:cubicBezTo>
                    <a:pt x="0" y="57316"/>
                    <a:pt x="896" y="58212"/>
                    <a:pt x="2239" y="58212"/>
                  </a:cubicBezTo>
                  <a:lnTo>
                    <a:pt x="6717" y="58212"/>
                  </a:lnTo>
                  <a:lnTo>
                    <a:pt x="6717" y="69406"/>
                  </a:lnTo>
                  <a:cubicBezTo>
                    <a:pt x="6717" y="70749"/>
                    <a:pt x="7613" y="71645"/>
                    <a:pt x="8956" y="71645"/>
                  </a:cubicBezTo>
                  <a:cubicBezTo>
                    <a:pt x="10299" y="71645"/>
                    <a:pt x="11195" y="70749"/>
                    <a:pt x="11195" y="69406"/>
                  </a:cubicBezTo>
                  <a:lnTo>
                    <a:pt x="11195" y="58212"/>
                  </a:lnTo>
                  <a:lnTo>
                    <a:pt x="15672" y="58212"/>
                  </a:lnTo>
                  <a:cubicBezTo>
                    <a:pt x="17016" y="58212"/>
                    <a:pt x="17911" y="57316"/>
                    <a:pt x="17911" y="55973"/>
                  </a:cubicBezTo>
                  <a:lnTo>
                    <a:pt x="17911" y="15672"/>
                  </a:lnTo>
                  <a:cubicBezTo>
                    <a:pt x="17911" y="14329"/>
                    <a:pt x="16568" y="13433"/>
                    <a:pt x="15672" y="13433"/>
                  </a:cubicBezTo>
                  <a:close/>
                  <a:moveTo>
                    <a:pt x="13433" y="53734"/>
                  </a:moveTo>
                  <a:lnTo>
                    <a:pt x="4478" y="53734"/>
                  </a:lnTo>
                  <a:lnTo>
                    <a:pt x="4478" y="17911"/>
                  </a:lnTo>
                  <a:lnTo>
                    <a:pt x="13433" y="17911"/>
                  </a:lnTo>
                  <a:lnTo>
                    <a:pt x="13433" y="53734"/>
                  </a:lnTo>
                  <a:close/>
                </a:path>
              </a:pathLst>
            </a:custGeom>
            <a:solidFill>
              <a:srgbClr val="231F20"/>
            </a:solidFill>
            <a:ln w="4474" cap="flat">
              <a:noFill/>
              <a:prstDash val="solid"/>
              <a:miter/>
            </a:ln>
          </p:spPr>
          <p:txBody>
            <a:bodyPr rtlCol="0" anchor="ctr"/>
            <a:lstStyle/>
            <a:p>
              <a:endParaRPr lang="en-US"/>
            </a:p>
          </p:txBody>
        </p:sp>
      </p:grpSp>
      <p:grpSp>
        <p:nvGrpSpPr>
          <p:cNvPr id="4298" name="Group 4297">
            <a:extLst>
              <a:ext uri="{FF2B5EF4-FFF2-40B4-BE49-F238E27FC236}">
                <a16:creationId xmlns:a16="http://schemas.microsoft.com/office/drawing/2014/main" id="{5AD940E8-A1D0-428A-944A-7C762480BB92}"/>
              </a:ext>
              <a:ext uri="{C183D7F6-B498-43B3-948B-1728B52AA6E4}">
                <adec:decorative xmlns:adec="http://schemas.microsoft.com/office/drawing/2017/decorative" val="1"/>
              </a:ext>
            </a:extLst>
          </p:cNvPr>
          <p:cNvGrpSpPr>
            <a:grpSpLocks noChangeAspect="1"/>
          </p:cNvGrpSpPr>
          <p:nvPr/>
        </p:nvGrpSpPr>
        <p:grpSpPr>
          <a:xfrm>
            <a:off x="5272589" y="3621478"/>
            <a:ext cx="155381" cy="155381"/>
            <a:chOff x="5313343" y="2886039"/>
            <a:chExt cx="155381" cy="155381"/>
          </a:xfrm>
        </p:grpSpPr>
        <p:sp>
          <p:nvSpPr>
            <p:cNvPr id="4299" name="Freeform: Shape 4298">
              <a:extLst>
                <a:ext uri="{FF2B5EF4-FFF2-40B4-BE49-F238E27FC236}">
                  <a16:creationId xmlns:a16="http://schemas.microsoft.com/office/drawing/2014/main" id="{E3E100D0-2637-4422-9900-09360A7DF35A}"/>
                </a:ext>
              </a:extLst>
            </p:cNvPr>
            <p:cNvSpPr/>
            <p:nvPr/>
          </p:nvSpPr>
          <p:spPr>
            <a:xfrm>
              <a:off x="5313343" y="2889174"/>
              <a:ext cx="152246" cy="152246"/>
            </a:xfrm>
            <a:custGeom>
              <a:avLst/>
              <a:gdLst>
                <a:gd name="connsiteX0" fmla="*/ 76123 w 152245"/>
                <a:gd name="connsiteY0" fmla="*/ 152246 h 152245"/>
                <a:gd name="connsiteX1" fmla="*/ 0 w 152245"/>
                <a:gd name="connsiteY1" fmla="*/ 76123 h 152245"/>
                <a:gd name="connsiteX2" fmla="*/ 76123 w 152245"/>
                <a:gd name="connsiteY2" fmla="*/ 0 h 152245"/>
                <a:gd name="connsiteX3" fmla="*/ 78362 w 152245"/>
                <a:gd name="connsiteY3" fmla="*/ 2239 h 152245"/>
                <a:gd name="connsiteX4" fmla="*/ 78362 w 152245"/>
                <a:gd name="connsiteY4" fmla="*/ 73884 h 152245"/>
                <a:gd name="connsiteX5" fmla="*/ 150007 w 152245"/>
                <a:gd name="connsiteY5" fmla="*/ 73884 h 152245"/>
                <a:gd name="connsiteX6" fmla="*/ 152246 w 152245"/>
                <a:gd name="connsiteY6" fmla="*/ 76123 h 152245"/>
                <a:gd name="connsiteX7" fmla="*/ 76123 w 152245"/>
                <a:gd name="connsiteY7" fmla="*/ 152246 h 152245"/>
                <a:gd name="connsiteX8" fmla="*/ 73884 w 152245"/>
                <a:gd name="connsiteY8" fmla="*/ 4478 h 152245"/>
                <a:gd name="connsiteX9" fmla="*/ 4478 w 152245"/>
                <a:gd name="connsiteY9" fmla="*/ 76123 h 152245"/>
                <a:gd name="connsiteX10" fmla="*/ 76123 w 152245"/>
                <a:gd name="connsiteY10" fmla="*/ 147768 h 152245"/>
                <a:gd name="connsiteX11" fmla="*/ 147768 w 152245"/>
                <a:gd name="connsiteY11" fmla="*/ 78362 h 152245"/>
                <a:gd name="connsiteX12" fmla="*/ 76123 w 152245"/>
                <a:gd name="connsiteY12" fmla="*/ 78362 h 152245"/>
                <a:gd name="connsiteX13" fmla="*/ 73884 w 152245"/>
                <a:gd name="connsiteY13" fmla="*/ 76123 h 152245"/>
                <a:gd name="connsiteX14" fmla="*/ 73884 w 152245"/>
                <a:gd name="connsiteY14"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245" h="152245">
                  <a:moveTo>
                    <a:pt x="76123" y="152246"/>
                  </a:moveTo>
                  <a:cubicBezTo>
                    <a:pt x="34032" y="152246"/>
                    <a:pt x="0" y="118214"/>
                    <a:pt x="0" y="76123"/>
                  </a:cubicBezTo>
                  <a:cubicBezTo>
                    <a:pt x="0" y="34031"/>
                    <a:pt x="34032" y="0"/>
                    <a:pt x="76123" y="0"/>
                  </a:cubicBezTo>
                  <a:cubicBezTo>
                    <a:pt x="77466" y="0"/>
                    <a:pt x="78362" y="895"/>
                    <a:pt x="78362" y="2239"/>
                  </a:cubicBezTo>
                  <a:lnTo>
                    <a:pt x="78362" y="73884"/>
                  </a:lnTo>
                  <a:lnTo>
                    <a:pt x="150007" y="73884"/>
                  </a:lnTo>
                  <a:cubicBezTo>
                    <a:pt x="151350" y="73884"/>
                    <a:pt x="152246" y="74779"/>
                    <a:pt x="152246" y="76123"/>
                  </a:cubicBezTo>
                  <a:cubicBezTo>
                    <a:pt x="152246" y="117767"/>
                    <a:pt x="118215" y="152246"/>
                    <a:pt x="76123" y="152246"/>
                  </a:cubicBezTo>
                  <a:close/>
                  <a:moveTo>
                    <a:pt x="73884" y="4478"/>
                  </a:moveTo>
                  <a:cubicBezTo>
                    <a:pt x="35375" y="5821"/>
                    <a:pt x="4478" y="37166"/>
                    <a:pt x="4478" y="76123"/>
                  </a:cubicBezTo>
                  <a:cubicBezTo>
                    <a:pt x="4478" y="115528"/>
                    <a:pt x="36718" y="147768"/>
                    <a:pt x="76123" y="147768"/>
                  </a:cubicBezTo>
                  <a:cubicBezTo>
                    <a:pt x="115080" y="147768"/>
                    <a:pt x="146425" y="116871"/>
                    <a:pt x="147768" y="78362"/>
                  </a:cubicBezTo>
                  <a:lnTo>
                    <a:pt x="76123" y="78362"/>
                  </a:lnTo>
                  <a:cubicBezTo>
                    <a:pt x="74780" y="78362"/>
                    <a:pt x="73884" y="77466"/>
                    <a:pt x="73884" y="76123"/>
                  </a:cubicBezTo>
                  <a:lnTo>
                    <a:pt x="73884" y="4478"/>
                  </a:lnTo>
                  <a:close/>
                </a:path>
              </a:pathLst>
            </a:custGeom>
            <a:solidFill>
              <a:srgbClr val="231F20"/>
            </a:solidFill>
            <a:ln w="4474" cap="flat">
              <a:noFill/>
              <a:prstDash val="solid"/>
              <a:miter/>
            </a:ln>
          </p:spPr>
          <p:txBody>
            <a:bodyPr rtlCol="0" anchor="ctr"/>
            <a:lstStyle/>
            <a:p>
              <a:endParaRPr lang="en-US"/>
            </a:p>
          </p:txBody>
        </p:sp>
        <p:sp>
          <p:nvSpPr>
            <p:cNvPr id="4300" name="Freeform: Shape 4299">
              <a:extLst>
                <a:ext uri="{FF2B5EF4-FFF2-40B4-BE49-F238E27FC236}">
                  <a16:creationId xmlns:a16="http://schemas.microsoft.com/office/drawing/2014/main" id="{43A64AE2-8712-42C4-B17B-9E3EE520B578}"/>
                </a:ext>
              </a:extLst>
            </p:cNvPr>
            <p:cNvSpPr/>
            <p:nvPr/>
          </p:nvSpPr>
          <p:spPr>
            <a:xfrm>
              <a:off x="5397079" y="2886039"/>
              <a:ext cx="71645" cy="71645"/>
            </a:xfrm>
            <a:custGeom>
              <a:avLst/>
              <a:gdLst>
                <a:gd name="connsiteX0" fmla="*/ 69406 w 71645"/>
                <a:gd name="connsiteY0" fmla="*/ 71645 h 71645"/>
                <a:gd name="connsiteX1" fmla="*/ 2239 w 71645"/>
                <a:gd name="connsiteY1" fmla="*/ 71645 h 71645"/>
                <a:gd name="connsiteX2" fmla="*/ 0 w 71645"/>
                <a:gd name="connsiteY2" fmla="*/ 69406 h 71645"/>
                <a:gd name="connsiteX3" fmla="*/ 0 w 71645"/>
                <a:gd name="connsiteY3" fmla="*/ 2239 h 71645"/>
                <a:gd name="connsiteX4" fmla="*/ 2239 w 71645"/>
                <a:gd name="connsiteY4" fmla="*/ 0 h 71645"/>
                <a:gd name="connsiteX5" fmla="*/ 71645 w 71645"/>
                <a:gd name="connsiteY5" fmla="*/ 69406 h 71645"/>
                <a:gd name="connsiteX6" fmla="*/ 69406 w 71645"/>
                <a:gd name="connsiteY6" fmla="*/ 71645 h 71645"/>
                <a:gd name="connsiteX7" fmla="*/ 4478 w 71645"/>
                <a:gd name="connsiteY7" fmla="*/ 67167 h 71645"/>
                <a:gd name="connsiteX8" fmla="*/ 67167 w 71645"/>
                <a:gd name="connsiteY8" fmla="*/ 67167 h 71645"/>
                <a:gd name="connsiteX9" fmla="*/ 4478 w 71645"/>
                <a:gd name="connsiteY9" fmla="*/ 4478 h 71645"/>
                <a:gd name="connsiteX10" fmla="*/ 4478 w 71645"/>
                <a:gd name="connsiteY10" fmla="*/ 67167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645" h="71645">
                  <a:moveTo>
                    <a:pt x="69406" y="71645"/>
                  </a:moveTo>
                  <a:lnTo>
                    <a:pt x="2239" y="71645"/>
                  </a:lnTo>
                  <a:cubicBezTo>
                    <a:pt x="895" y="71645"/>
                    <a:pt x="0" y="70749"/>
                    <a:pt x="0" y="69406"/>
                  </a:cubicBezTo>
                  <a:lnTo>
                    <a:pt x="0" y="2239"/>
                  </a:lnTo>
                  <a:cubicBezTo>
                    <a:pt x="0" y="896"/>
                    <a:pt x="895" y="0"/>
                    <a:pt x="2239" y="0"/>
                  </a:cubicBezTo>
                  <a:cubicBezTo>
                    <a:pt x="40300" y="0"/>
                    <a:pt x="71645" y="31345"/>
                    <a:pt x="71645" y="69406"/>
                  </a:cubicBezTo>
                  <a:cubicBezTo>
                    <a:pt x="71645" y="70749"/>
                    <a:pt x="70749" y="71645"/>
                    <a:pt x="69406" y="71645"/>
                  </a:cubicBezTo>
                  <a:close/>
                  <a:moveTo>
                    <a:pt x="4478" y="67167"/>
                  </a:moveTo>
                  <a:lnTo>
                    <a:pt x="67167" y="67167"/>
                  </a:lnTo>
                  <a:cubicBezTo>
                    <a:pt x="65824" y="33136"/>
                    <a:pt x="38509" y="5821"/>
                    <a:pt x="4478" y="4478"/>
                  </a:cubicBezTo>
                  <a:lnTo>
                    <a:pt x="4478" y="67167"/>
                  </a:lnTo>
                  <a:close/>
                </a:path>
              </a:pathLst>
            </a:custGeom>
            <a:solidFill>
              <a:srgbClr val="231F20"/>
            </a:solidFill>
            <a:ln w="4474" cap="flat">
              <a:noFill/>
              <a:prstDash val="solid"/>
              <a:miter/>
            </a:ln>
          </p:spPr>
          <p:txBody>
            <a:bodyPr rtlCol="0" anchor="ctr"/>
            <a:lstStyle/>
            <a:p>
              <a:endParaRPr lang="en-US"/>
            </a:p>
          </p:txBody>
        </p:sp>
      </p:grpSp>
      <p:sp>
        <p:nvSpPr>
          <p:cNvPr id="4301" name="Freeform: Shape 4300">
            <a:extLst>
              <a:ext uri="{FF2B5EF4-FFF2-40B4-BE49-F238E27FC236}">
                <a16:creationId xmlns:a16="http://schemas.microsoft.com/office/drawing/2014/main" id="{76E1AFFF-C023-4691-8A3C-D4A83B8DAE1A}"/>
              </a:ext>
              <a:ext uri="{C183D7F6-B498-43B3-948B-1728B52AA6E4}">
                <adec:decorative xmlns:adec="http://schemas.microsoft.com/office/drawing/2017/decorative" val="1"/>
              </a:ext>
            </a:extLst>
          </p:cNvPr>
          <p:cNvSpPr>
            <a:spLocks noChangeAspect="1"/>
          </p:cNvSpPr>
          <p:nvPr/>
        </p:nvSpPr>
        <p:spPr>
          <a:xfrm>
            <a:off x="5533646" y="3624613"/>
            <a:ext cx="152246" cy="152246"/>
          </a:xfrm>
          <a:custGeom>
            <a:avLst/>
            <a:gdLst>
              <a:gd name="connsiteX0" fmla="*/ 150007 w 152245"/>
              <a:gd name="connsiteY0" fmla="*/ 107468 h 152245"/>
              <a:gd name="connsiteX1" fmla="*/ 132096 w 152245"/>
              <a:gd name="connsiteY1" fmla="*/ 107468 h 152245"/>
              <a:gd name="connsiteX2" fmla="*/ 132096 w 152245"/>
              <a:gd name="connsiteY2" fmla="*/ 82840 h 152245"/>
              <a:gd name="connsiteX3" fmla="*/ 129857 w 152245"/>
              <a:gd name="connsiteY3" fmla="*/ 80601 h 152245"/>
              <a:gd name="connsiteX4" fmla="*/ 78362 w 152245"/>
              <a:gd name="connsiteY4" fmla="*/ 80601 h 152245"/>
              <a:gd name="connsiteX5" fmla="*/ 78362 w 152245"/>
              <a:gd name="connsiteY5" fmla="*/ 44778 h 152245"/>
              <a:gd name="connsiteX6" fmla="*/ 96273 w 152245"/>
              <a:gd name="connsiteY6" fmla="*/ 44778 h 152245"/>
              <a:gd name="connsiteX7" fmla="*/ 98512 w 152245"/>
              <a:gd name="connsiteY7" fmla="*/ 42539 h 152245"/>
              <a:gd name="connsiteX8" fmla="*/ 98512 w 152245"/>
              <a:gd name="connsiteY8" fmla="*/ 2239 h 152245"/>
              <a:gd name="connsiteX9" fmla="*/ 96273 w 152245"/>
              <a:gd name="connsiteY9" fmla="*/ 0 h 152245"/>
              <a:gd name="connsiteX10" fmla="*/ 55973 w 152245"/>
              <a:gd name="connsiteY10" fmla="*/ 0 h 152245"/>
              <a:gd name="connsiteX11" fmla="*/ 53734 w 152245"/>
              <a:gd name="connsiteY11" fmla="*/ 2239 h 152245"/>
              <a:gd name="connsiteX12" fmla="*/ 53734 w 152245"/>
              <a:gd name="connsiteY12" fmla="*/ 42539 h 152245"/>
              <a:gd name="connsiteX13" fmla="*/ 55973 w 152245"/>
              <a:gd name="connsiteY13" fmla="*/ 44778 h 152245"/>
              <a:gd name="connsiteX14" fmla="*/ 73884 w 152245"/>
              <a:gd name="connsiteY14" fmla="*/ 44778 h 152245"/>
              <a:gd name="connsiteX15" fmla="*/ 73884 w 152245"/>
              <a:gd name="connsiteY15" fmla="*/ 80601 h 152245"/>
              <a:gd name="connsiteX16" fmla="*/ 22389 w 152245"/>
              <a:gd name="connsiteY16" fmla="*/ 80601 h 152245"/>
              <a:gd name="connsiteX17" fmla="*/ 20150 w 152245"/>
              <a:gd name="connsiteY17" fmla="*/ 82840 h 152245"/>
              <a:gd name="connsiteX18" fmla="*/ 20150 w 152245"/>
              <a:gd name="connsiteY18" fmla="*/ 107468 h 152245"/>
              <a:gd name="connsiteX19" fmla="*/ 2239 w 152245"/>
              <a:gd name="connsiteY19" fmla="*/ 107468 h 152245"/>
              <a:gd name="connsiteX20" fmla="*/ 0 w 152245"/>
              <a:gd name="connsiteY20" fmla="*/ 109707 h 152245"/>
              <a:gd name="connsiteX21" fmla="*/ 0 w 152245"/>
              <a:gd name="connsiteY21" fmla="*/ 150007 h 152245"/>
              <a:gd name="connsiteX22" fmla="*/ 2239 w 152245"/>
              <a:gd name="connsiteY22" fmla="*/ 152246 h 152245"/>
              <a:gd name="connsiteX23" fmla="*/ 42539 w 152245"/>
              <a:gd name="connsiteY23" fmla="*/ 152246 h 152245"/>
              <a:gd name="connsiteX24" fmla="*/ 44778 w 152245"/>
              <a:gd name="connsiteY24" fmla="*/ 150007 h 152245"/>
              <a:gd name="connsiteX25" fmla="*/ 44778 w 152245"/>
              <a:gd name="connsiteY25" fmla="*/ 109707 h 152245"/>
              <a:gd name="connsiteX26" fmla="*/ 42539 w 152245"/>
              <a:gd name="connsiteY26" fmla="*/ 107468 h 152245"/>
              <a:gd name="connsiteX27" fmla="*/ 24628 w 152245"/>
              <a:gd name="connsiteY27" fmla="*/ 107468 h 152245"/>
              <a:gd name="connsiteX28" fmla="*/ 24628 w 152245"/>
              <a:gd name="connsiteY28" fmla="*/ 85079 h 152245"/>
              <a:gd name="connsiteX29" fmla="*/ 127618 w 152245"/>
              <a:gd name="connsiteY29" fmla="*/ 85079 h 152245"/>
              <a:gd name="connsiteX30" fmla="*/ 127618 w 152245"/>
              <a:gd name="connsiteY30" fmla="*/ 107468 h 152245"/>
              <a:gd name="connsiteX31" fmla="*/ 109707 w 152245"/>
              <a:gd name="connsiteY31" fmla="*/ 107468 h 152245"/>
              <a:gd name="connsiteX32" fmla="*/ 107468 w 152245"/>
              <a:gd name="connsiteY32" fmla="*/ 109707 h 152245"/>
              <a:gd name="connsiteX33" fmla="*/ 107468 w 152245"/>
              <a:gd name="connsiteY33" fmla="*/ 150007 h 152245"/>
              <a:gd name="connsiteX34" fmla="*/ 109707 w 152245"/>
              <a:gd name="connsiteY34" fmla="*/ 152246 h 152245"/>
              <a:gd name="connsiteX35" fmla="*/ 150007 w 152245"/>
              <a:gd name="connsiteY35" fmla="*/ 152246 h 152245"/>
              <a:gd name="connsiteX36" fmla="*/ 152246 w 152245"/>
              <a:gd name="connsiteY36" fmla="*/ 150007 h 152245"/>
              <a:gd name="connsiteX37" fmla="*/ 152246 w 152245"/>
              <a:gd name="connsiteY37" fmla="*/ 109707 h 152245"/>
              <a:gd name="connsiteX38" fmla="*/ 150007 w 152245"/>
              <a:gd name="connsiteY38" fmla="*/ 107468 h 152245"/>
              <a:gd name="connsiteX39" fmla="*/ 58212 w 152245"/>
              <a:gd name="connsiteY39" fmla="*/ 4478 h 152245"/>
              <a:gd name="connsiteX40" fmla="*/ 94034 w 152245"/>
              <a:gd name="connsiteY40" fmla="*/ 4478 h 152245"/>
              <a:gd name="connsiteX41" fmla="*/ 94034 w 152245"/>
              <a:gd name="connsiteY41" fmla="*/ 40300 h 152245"/>
              <a:gd name="connsiteX42" fmla="*/ 58212 w 152245"/>
              <a:gd name="connsiteY42" fmla="*/ 40300 h 152245"/>
              <a:gd name="connsiteX43" fmla="*/ 58212 w 152245"/>
              <a:gd name="connsiteY43" fmla="*/ 4478 h 152245"/>
              <a:gd name="connsiteX44" fmla="*/ 40300 w 152245"/>
              <a:gd name="connsiteY44" fmla="*/ 147768 h 152245"/>
              <a:gd name="connsiteX45" fmla="*/ 4478 w 152245"/>
              <a:gd name="connsiteY45" fmla="*/ 147768 h 152245"/>
              <a:gd name="connsiteX46" fmla="*/ 4478 w 152245"/>
              <a:gd name="connsiteY46" fmla="*/ 111945 h 152245"/>
              <a:gd name="connsiteX47" fmla="*/ 40300 w 152245"/>
              <a:gd name="connsiteY47" fmla="*/ 111945 h 152245"/>
              <a:gd name="connsiteX48" fmla="*/ 40300 w 152245"/>
              <a:gd name="connsiteY48" fmla="*/ 147768 h 152245"/>
              <a:gd name="connsiteX49" fmla="*/ 147768 w 152245"/>
              <a:gd name="connsiteY49" fmla="*/ 147768 h 152245"/>
              <a:gd name="connsiteX50" fmla="*/ 111945 w 152245"/>
              <a:gd name="connsiteY50" fmla="*/ 147768 h 152245"/>
              <a:gd name="connsiteX51" fmla="*/ 111945 w 152245"/>
              <a:gd name="connsiteY51" fmla="*/ 111945 h 152245"/>
              <a:gd name="connsiteX52" fmla="*/ 147768 w 152245"/>
              <a:gd name="connsiteY52" fmla="*/ 111945 h 152245"/>
              <a:gd name="connsiteX53" fmla="*/ 147768 w 152245"/>
              <a:gd name="connsiteY53"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2245" h="152245">
                <a:moveTo>
                  <a:pt x="150007" y="107468"/>
                </a:moveTo>
                <a:lnTo>
                  <a:pt x="132096" y="107468"/>
                </a:lnTo>
                <a:lnTo>
                  <a:pt x="132096" y="82840"/>
                </a:lnTo>
                <a:cubicBezTo>
                  <a:pt x="132096" y="81496"/>
                  <a:pt x="131200" y="80601"/>
                  <a:pt x="129857" y="80601"/>
                </a:cubicBezTo>
                <a:lnTo>
                  <a:pt x="78362" y="80601"/>
                </a:lnTo>
                <a:lnTo>
                  <a:pt x="78362" y="44778"/>
                </a:lnTo>
                <a:lnTo>
                  <a:pt x="96273" y="44778"/>
                </a:lnTo>
                <a:cubicBezTo>
                  <a:pt x="97617" y="44778"/>
                  <a:pt x="98512" y="43883"/>
                  <a:pt x="98512" y="42539"/>
                </a:cubicBezTo>
                <a:lnTo>
                  <a:pt x="98512" y="2239"/>
                </a:lnTo>
                <a:cubicBezTo>
                  <a:pt x="98512" y="895"/>
                  <a:pt x="97617" y="0"/>
                  <a:pt x="96273" y="0"/>
                </a:cubicBezTo>
                <a:lnTo>
                  <a:pt x="55973" y="0"/>
                </a:lnTo>
                <a:cubicBezTo>
                  <a:pt x="54629" y="0"/>
                  <a:pt x="53734" y="895"/>
                  <a:pt x="53734" y="2239"/>
                </a:cubicBezTo>
                <a:lnTo>
                  <a:pt x="53734" y="42539"/>
                </a:lnTo>
                <a:cubicBezTo>
                  <a:pt x="53734" y="43883"/>
                  <a:pt x="54629" y="44778"/>
                  <a:pt x="55973" y="44778"/>
                </a:cubicBezTo>
                <a:lnTo>
                  <a:pt x="73884" y="44778"/>
                </a:lnTo>
                <a:lnTo>
                  <a:pt x="73884" y="80601"/>
                </a:lnTo>
                <a:lnTo>
                  <a:pt x="22389" y="80601"/>
                </a:lnTo>
                <a:cubicBezTo>
                  <a:pt x="21046" y="80601"/>
                  <a:pt x="20150" y="81496"/>
                  <a:pt x="20150" y="82840"/>
                </a:cubicBezTo>
                <a:lnTo>
                  <a:pt x="20150" y="107468"/>
                </a:lnTo>
                <a:lnTo>
                  <a:pt x="2239" y="107468"/>
                </a:lnTo>
                <a:cubicBezTo>
                  <a:pt x="895" y="107468"/>
                  <a:pt x="0" y="108363"/>
                  <a:pt x="0" y="109707"/>
                </a:cubicBezTo>
                <a:lnTo>
                  <a:pt x="0" y="150007"/>
                </a:lnTo>
                <a:cubicBezTo>
                  <a:pt x="0" y="151350"/>
                  <a:pt x="895" y="152246"/>
                  <a:pt x="2239" y="152246"/>
                </a:cubicBezTo>
                <a:lnTo>
                  <a:pt x="42539" y="152246"/>
                </a:lnTo>
                <a:cubicBezTo>
                  <a:pt x="43883" y="152246"/>
                  <a:pt x="44778" y="151350"/>
                  <a:pt x="44778" y="150007"/>
                </a:cubicBezTo>
                <a:lnTo>
                  <a:pt x="44778" y="109707"/>
                </a:lnTo>
                <a:cubicBezTo>
                  <a:pt x="44778" y="108363"/>
                  <a:pt x="43883" y="107468"/>
                  <a:pt x="42539" y="107468"/>
                </a:cubicBezTo>
                <a:lnTo>
                  <a:pt x="24628" y="107468"/>
                </a:lnTo>
                <a:lnTo>
                  <a:pt x="24628" y="85079"/>
                </a:lnTo>
                <a:lnTo>
                  <a:pt x="127618" y="85079"/>
                </a:lnTo>
                <a:lnTo>
                  <a:pt x="127618" y="107468"/>
                </a:lnTo>
                <a:lnTo>
                  <a:pt x="109707" y="107468"/>
                </a:lnTo>
                <a:cubicBezTo>
                  <a:pt x="108363" y="107468"/>
                  <a:pt x="107468" y="108363"/>
                  <a:pt x="107468" y="109707"/>
                </a:cubicBezTo>
                <a:lnTo>
                  <a:pt x="107468" y="150007"/>
                </a:lnTo>
                <a:cubicBezTo>
                  <a:pt x="107468" y="151350"/>
                  <a:pt x="108363" y="152246"/>
                  <a:pt x="109707" y="152246"/>
                </a:cubicBezTo>
                <a:lnTo>
                  <a:pt x="150007" y="152246"/>
                </a:lnTo>
                <a:cubicBezTo>
                  <a:pt x="151350" y="152246"/>
                  <a:pt x="152246" y="151350"/>
                  <a:pt x="152246" y="150007"/>
                </a:cubicBezTo>
                <a:lnTo>
                  <a:pt x="152246" y="109707"/>
                </a:lnTo>
                <a:cubicBezTo>
                  <a:pt x="152246" y="108363"/>
                  <a:pt x="150902" y="107468"/>
                  <a:pt x="150007" y="107468"/>
                </a:cubicBezTo>
                <a:close/>
                <a:moveTo>
                  <a:pt x="58212" y="4478"/>
                </a:moveTo>
                <a:lnTo>
                  <a:pt x="94034" y="4478"/>
                </a:lnTo>
                <a:lnTo>
                  <a:pt x="94034" y="40300"/>
                </a:lnTo>
                <a:lnTo>
                  <a:pt x="58212" y="40300"/>
                </a:lnTo>
                <a:lnTo>
                  <a:pt x="58212" y="4478"/>
                </a:lnTo>
                <a:close/>
                <a:moveTo>
                  <a:pt x="40300" y="147768"/>
                </a:moveTo>
                <a:lnTo>
                  <a:pt x="4478" y="147768"/>
                </a:lnTo>
                <a:lnTo>
                  <a:pt x="4478" y="111945"/>
                </a:lnTo>
                <a:lnTo>
                  <a:pt x="40300" y="111945"/>
                </a:lnTo>
                <a:lnTo>
                  <a:pt x="40300" y="147768"/>
                </a:lnTo>
                <a:close/>
                <a:moveTo>
                  <a:pt x="147768" y="147768"/>
                </a:moveTo>
                <a:lnTo>
                  <a:pt x="111945" y="147768"/>
                </a:lnTo>
                <a:lnTo>
                  <a:pt x="111945" y="111945"/>
                </a:lnTo>
                <a:lnTo>
                  <a:pt x="147768" y="111945"/>
                </a:lnTo>
                <a:lnTo>
                  <a:pt x="147768" y="147768"/>
                </a:lnTo>
                <a:close/>
              </a:path>
            </a:pathLst>
          </a:custGeom>
          <a:solidFill>
            <a:srgbClr val="231F20"/>
          </a:solidFill>
          <a:ln w="4474" cap="flat">
            <a:noFill/>
            <a:prstDash val="solid"/>
            <a:miter/>
          </a:ln>
        </p:spPr>
        <p:txBody>
          <a:bodyPr rtlCol="0" anchor="ctr"/>
          <a:lstStyle/>
          <a:p>
            <a:endParaRPr lang="en-US"/>
          </a:p>
        </p:txBody>
      </p:sp>
      <p:sp>
        <p:nvSpPr>
          <p:cNvPr id="4302" name="Freeform: Shape 4301">
            <a:extLst>
              <a:ext uri="{FF2B5EF4-FFF2-40B4-BE49-F238E27FC236}">
                <a16:creationId xmlns:a16="http://schemas.microsoft.com/office/drawing/2014/main" id="{2384CB53-3CCF-4CB7-8C50-9765318E56D7}"/>
              </a:ext>
              <a:ext uri="{C183D7F6-B498-43B3-948B-1728B52AA6E4}">
                <adec:decorative xmlns:adec="http://schemas.microsoft.com/office/drawing/2017/decorative" val="1"/>
              </a:ext>
            </a:extLst>
          </p:cNvPr>
          <p:cNvSpPr>
            <a:spLocks noChangeAspect="1"/>
          </p:cNvSpPr>
          <p:nvPr/>
        </p:nvSpPr>
        <p:spPr>
          <a:xfrm>
            <a:off x="1596748" y="3934925"/>
            <a:ext cx="161201" cy="152246"/>
          </a:xfrm>
          <a:custGeom>
            <a:avLst/>
            <a:gdLst>
              <a:gd name="connsiteX0" fmla="*/ 150455 w 161201"/>
              <a:gd name="connsiteY0" fmla="*/ 120453 h 152245"/>
              <a:gd name="connsiteX1" fmla="*/ 141499 w 161201"/>
              <a:gd name="connsiteY1" fmla="*/ 123588 h 152245"/>
              <a:gd name="connsiteX2" fmla="*/ 130752 w 161201"/>
              <a:gd name="connsiteY2" fmla="*/ 113289 h 152245"/>
              <a:gd name="connsiteX3" fmla="*/ 139708 w 161201"/>
              <a:gd name="connsiteY3" fmla="*/ 89556 h 152245"/>
              <a:gd name="connsiteX4" fmla="*/ 103885 w 161201"/>
              <a:gd name="connsiteY4" fmla="*/ 53734 h 152245"/>
              <a:gd name="connsiteX5" fmla="*/ 102542 w 161201"/>
              <a:gd name="connsiteY5" fmla="*/ 53734 h 152245"/>
              <a:gd name="connsiteX6" fmla="*/ 100751 w 161201"/>
              <a:gd name="connsiteY6" fmla="*/ 30449 h 152245"/>
              <a:gd name="connsiteX7" fmla="*/ 111945 w 161201"/>
              <a:gd name="connsiteY7" fmla="*/ 15672 h 152245"/>
              <a:gd name="connsiteX8" fmla="*/ 96273 w 161201"/>
              <a:gd name="connsiteY8" fmla="*/ 0 h 152245"/>
              <a:gd name="connsiteX9" fmla="*/ 80601 w 161201"/>
              <a:gd name="connsiteY9" fmla="*/ 15672 h 152245"/>
              <a:gd name="connsiteX10" fmla="*/ 96273 w 161201"/>
              <a:gd name="connsiteY10" fmla="*/ 31345 h 152245"/>
              <a:gd name="connsiteX11" fmla="*/ 96273 w 161201"/>
              <a:gd name="connsiteY11" fmla="*/ 31345 h 152245"/>
              <a:gd name="connsiteX12" fmla="*/ 98064 w 161201"/>
              <a:gd name="connsiteY12" fmla="*/ 54182 h 152245"/>
              <a:gd name="connsiteX13" fmla="*/ 75675 w 161201"/>
              <a:gd name="connsiteY13" fmla="*/ 67167 h 152245"/>
              <a:gd name="connsiteX14" fmla="*/ 29554 w 161201"/>
              <a:gd name="connsiteY14" fmla="*/ 36718 h 152245"/>
              <a:gd name="connsiteX15" fmla="*/ 31345 w 161201"/>
              <a:gd name="connsiteY15" fmla="*/ 29106 h 152245"/>
              <a:gd name="connsiteX16" fmla="*/ 15672 w 161201"/>
              <a:gd name="connsiteY16" fmla="*/ 13433 h 152245"/>
              <a:gd name="connsiteX17" fmla="*/ 0 w 161201"/>
              <a:gd name="connsiteY17" fmla="*/ 29106 h 152245"/>
              <a:gd name="connsiteX18" fmla="*/ 15672 w 161201"/>
              <a:gd name="connsiteY18" fmla="*/ 44778 h 152245"/>
              <a:gd name="connsiteX19" fmla="*/ 26867 w 161201"/>
              <a:gd name="connsiteY19" fmla="*/ 40300 h 152245"/>
              <a:gd name="connsiteX20" fmla="*/ 72988 w 161201"/>
              <a:gd name="connsiteY20" fmla="*/ 70749 h 152245"/>
              <a:gd name="connsiteX21" fmla="*/ 67615 w 161201"/>
              <a:gd name="connsiteY21" fmla="*/ 89556 h 152245"/>
              <a:gd name="connsiteX22" fmla="*/ 69854 w 161201"/>
              <a:gd name="connsiteY22" fmla="*/ 102094 h 152245"/>
              <a:gd name="connsiteX23" fmla="*/ 26867 w 161201"/>
              <a:gd name="connsiteY23" fmla="*/ 125827 h 152245"/>
              <a:gd name="connsiteX24" fmla="*/ 15672 w 161201"/>
              <a:gd name="connsiteY24" fmla="*/ 121349 h 152245"/>
              <a:gd name="connsiteX25" fmla="*/ 0 w 161201"/>
              <a:gd name="connsiteY25" fmla="*/ 137021 h 152245"/>
              <a:gd name="connsiteX26" fmla="*/ 15672 w 161201"/>
              <a:gd name="connsiteY26" fmla="*/ 152693 h 152245"/>
              <a:gd name="connsiteX27" fmla="*/ 31345 w 161201"/>
              <a:gd name="connsiteY27" fmla="*/ 137021 h 152245"/>
              <a:gd name="connsiteX28" fmla="*/ 29554 w 161201"/>
              <a:gd name="connsiteY28" fmla="*/ 129857 h 152245"/>
              <a:gd name="connsiteX29" fmla="*/ 71645 w 161201"/>
              <a:gd name="connsiteY29" fmla="*/ 106572 h 152245"/>
              <a:gd name="connsiteX30" fmla="*/ 103438 w 161201"/>
              <a:gd name="connsiteY30" fmla="*/ 125827 h 152245"/>
              <a:gd name="connsiteX31" fmla="*/ 126722 w 161201"/>
              <a:gd name="connsiteY31" fmla="*/ 116871 h 152245"/>
              <a:gd name="connsiteX32" fmla="*/ 137469 w 161201"/>
              <a:gd name="connsiteY32" fmla="*/ 127170 h 152245"/>
              <a:gd name="connsiteX33" fmla="*/ 133887 w 161201"/>
              <a:gd name="connsiteY33" fmla="*/ 137021 h 152245"/>
              <a:gd name="connsiteX34" fmla="*/ 149559 w 161201"/>
              <a:gd name="connsiteY34" fmla="*/ 152693 h 152245"/>
              <a:gd name="connsiteX35" fmla="*/ 165232 w 161201"/>
              <a:gd name="connsiteY35" fmla="*/ 137021 h 152245"/>
              <a:gd name="connsiteX36" fmla="*/ 150455 w 161201"/>
              <a:gd name="connsiteY36" fmla="*/ 120453 h 152245"/>
              <a:gd name="connsiteX37" fmla="*/ 85079 w 161201"/>
              <a:gd name="connsiteY37" fmla="*/ 15225 h 152245"/>
              <a:gd name="connsiteX38" fmla="*/ 96273 w 161201"/>
              <a:gd name="connsiteY38" fmla="*/ 4030 h 152245"/>
              <a:gd name="connsiteX39" fmla="*/ 107468 w 161201"/>
              <a:gd name="connsiteY39" fmla="*/ 15225 h 152245"/>
              <a:gd name="connsiteX40" fmla="*/ 96273 w 161201"/>
              <a:gd name="connsiteY40" fmla="*/ 26419 h 152245"/>
              <a:gd name="connsiteX41" fmla="*/ 85079 w 161201"/>
              <a:gd name="connsiteY41" fmla="*/ 15225 h 152245"/>
              <a:gd name="connsiteX42" fmla="*/ 16120 w 161201"/>
              <a:gd name="connsiteY42" fmla="*/ 39853 h 152245"/>
              <a:gd name="connsiteX43" fmla="*/ 4926 w 161201"/>
              <a:gd name="connsiteY43" fmla="*/ 28658 h 152245"/>
              <a:gd name="connsiteX44" fmla="*/ 16120 w 161201"/>
              <a:gd name="connsiteY44" fmla="*/ 17463 h 152245"/>
              <a:gd name="connsiteX45" fmla="*/ 27315 w 161201"/>
              <a:gd name="connsiteY45" fmla="*/ 28658 h 152245"/>
              <a:gd name="connsiteX46" fmla="*/ 25076 w 161201"/>
              <a:gd name="connsiteY46" fmla="*/ 35375 h 152245"/>
              <a:gd name="connsiteX47" fmla="*/ 25076 w 161201"/>
              <a:gd name="connsiteY47" fmla="*/ 35375 h 152245"/>
              <a:gd name="connsiteX48" fmla="*/ 25076 w 161201"/>
              <a:gd name="connsiteY48" fmla="*/ 35375 h 152245"/>
              <a:gd name="connsiteX49" fmla="*/ 16120 w 161201"/>
              <a:gd name="connsiteY49" fmla="*/ 39853 h 152245"/>
              <a:gd name="connsiteX50" fmla="*/ 16120 w 161201"/>
              <a:gd name="connsiteY50" fmla="*/ 147320 h 152245"/>
              <a:gd name="connsiteX51" fmla="*/ 4926 w 161201"/>
              <a:gd name="connsiteY51" fmla="*/ 136126 h 152245"/>
              <a:gd name="connsiteX52" fmla="*/ 16120 w 161201"/>
              <a:gd name="connsiteY52" fmla="*/ 124931 h 152245"/>
              <a:gd name="connsiteX53" fmla="*/ 27315 w 161201"/>
              <a:gd name="connsiteY53" fmla="*/ 136126 h 152245"/>
              <a:gd name="connsiteX54" fmla="*/ 16120 w 161201"/>
              <a:gd name="connsiteY54" fmla="*/ 147320 h 152245"/>
              <a:gd name="connsiteX55" fmla="*/ 75227 w 161201"/>
              <a:gd name="connsiteY55" fmla="*/ 102094 h 152245"/>
              <a:gd name="connsiteX56" fmla="*/ 75227 w 161201"/>
              <a:gd name="connsiteY56" fmla="*/ 101647 h 152245"/>
              <a:gd name="connsiteX57" fmla="*/ 75227 w 161201"/>
              <a:gd name="connsiteY57" fmla="*/ 101199 h 152245"/>
              <a:gd name="connsiteX58" fmla="*/ 72988 w 161201"/>
              <a:gd name="connsiteY58" fmla="*/ 89109 h 152245"/>
              <a:gd name="connsiteX59" fmla="*/ 104333 w 161201"/>
              <a:gd name="connsiteY59" fmla="*/ 57764 h 152245"/>
              <a:gd name="connsiteX60" fmla="*/ 135678 w 161201"/>
              <a:gd name="connsiteY60" fmla="*/ 89109 h 152245"/>
              <a:gd name="connsiteX61" fmla="*/ 104333 w 161201"/>
              <a:gd name="connsiteY61" fmla="*/ 120453 h 152245"/>
              <a:gd name="connsiteX62" fmla="*/ 75227 w 161201"/>
              <a:gd name="connsiteY62" fmla="*/ 102094 h 152245"/>
              <a:gd name="connsiteX63" fmla="*/ 150455 w 161201"/>
              <a:gd name="connsiteY63" fmla="*/ 147320 h 152245"/>
              <a:gd name="connsiteX64" fmla="*/ 139260 w 161201"/>
              <a:gd name="connsiteY64" fmla="*/ 136126 h 152245"/>
              <a:gd name="connsiteX65" fmla="*/ 150455 w 161201"/>
              <a:gd name="connsiteY65" fmla="*/ 124931 h 152245"/>
              <a:gd name="connsiteX66" fmla="*/ 161649 w 161201"/>
              <a:gd name="connsiteY66" fmla="*/ 136126 h 152245"/>
              <a:gd name="connsiteX67" fmla="*/ 150455 w 161201"/>
              <a:gd name="connsiteY67" fmla="*/ 14732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1201" h="152245">
                <a:moveTo>
                  <a:pt x="150455" y="120453"/>
                </a:moveTo>
                <a:cubicBezTo>
                  <a:pt x="146872" y="120453"/>
                  <a:pt x="144186" y="121349"/>
                  <a:pt x="141499" y="123588"/>
                </a:cubicBezTo>
                <a:lnTo>
                  <a:pt x="130752" y="113289"/>
                </a:lnTo>
                <a:cubicBezTo>
                  <a:pt x="136573" y="107020"/>
                  <a:pt x="139708" y="98512"/>
                  <a:pt x="139708" y="89556"/>
                </a:cubicBezTo>
                <a:cubicBezTo>
                  <a:pt x="139708" y="69854"/>
                  <a:pt x="123588" y="53734"/>
                  <a:pt x="103885" y="53734"/>
                </a:cubicBezTo>
                <a:cubicBezTo>
                  <a:pt x="103438" y="53734"/>
                  <a:pt x="102990" y="53734"/>
                  <a:pt x="102542" y="53734"/>
                </a:cubicBezTo>
                <a:lnTo>
                  <a:pt x="100751" y="30449"/>
                </a:lnTo>
                <a:cubicBezTo>
                  <a:pt x="107020" y="28658"/>
                  <a:pt x="111945" y="22389"/>
                  <a:pt x="111945" y="15672"/>
                </a:cubicBezTo>
                <a:cubicBezTo>
                  <a:pt x="111945" y="7165"/>
                  <a:pt x="104781" y="0"/>
                  <a:pt x="96273" y="0"/>
                </a:cubicBezTo>
                <a:cubicBezTo>
                  <a:pt x="87765" y="0"/>
                  <a:pt x="80601" y="7165"/>
                  <a:pt x="80601" y="15672"/>
                </a:cubicBezTo>
                <a:cubicBezTo>
                  <a:pt x="80601" y="24180"/>
                  <a:pt x="87765" y="31345"/>
                  <a:pt x="96273" y="31345"/>
                </a:cubicBezTo>
                <a:cubicBezTo>
                  <a:pt x="96273" y="31345"/>
                  <a:pt x="96273" y="31345"/>
                  <a:pt x="96273" y="31345"/>
                </a:cubicBezTo>
                <a:lnTo>
                  <a:pt x="98064" y="54182"/>
                </a:lnTo>
                <a:cubicBezTo>
                  <a:pt x="89109" y="55525"/>
                  <a:pt x="81496" y="60451"/>
                  <a:pt x="75675" y="67167"/>
                </a:cubicBezTo>
                <a:lnTo>
                  <a:pt x="29554" y="36718"/>
                </a:lnTo>
                <a:cubicBezTo>
                  <a:pt x="30897" y="34479"/>
                  <a:pt x="31345" y="31793"/>
                  <a:pt x="31345" y="29106"/>
                </a:cubicBezTo>
                <a:cubicBezTo>
                  <a:pt x="31345" y="20598"/>
                  <a:pt x="24180" y="13433"/>
                  <a:pt x="15672" y="13433"/>
                </a:cubicBezTo>
                <a:cubicBezTo>
                  <a:pt x="7164" y="13433"/>
                  <a:pt x="0" y="20598"/>
                  <a:pt x="0" y="29106"/>
                </a:cubicBezTo>
                <a:cubicBezTo>
                  <a:pt x="0" y="37614"/>
                  <a:pt x="7164" y="44778"/>
                  <a:pt x="15672" y="44778"/>
                </a:cubicBezTo>
                <a:cubicBezTo>
                  <a:pt x="20150" y="44778"/>
                  <a:pt x="23732" y="42987"/>
                  <a:pt x="26867" y="40300"/>
                </a:cubicBezTo>
                <a:lnTo>
                  <a:pt x="72988" y="70749"/>
                </a:lnTo>
                <a:cubicBezTo>
                  <a:pt x="69406" y="76123"/>
                  <a:pt x="67615" y="82840"/>
                  <a:pt x="67615" y="89556"/>
                </a:cubicBezTo>
                <a:cubicBezTo>
                  <a:pt x="67615" y="94034"/>
                  <a:pt x="68511" y="98064"/>
                  <a:pt x="69854" y="102094"/>
                </a:cubicBezTo>
                <a:lnTo>
                  <a:pt x="26867" y="125827"/>
                </a:lnTo>
                <a:cubicBezTo>
                  <a:pt x="24180" y="123140"/>
                  <a:pt x="20150" y="121349"/>
                  <a:pt x="15672" y="121349"/>
                </a:cubicBezTo>
                <a:cubicBezTo>
                  <a:pt x="7164" y="121349"/>
                  <a:pt x="0" y="128513"/>
                  <a:pt x="0" y="137021"/>
                </a:cubicBezTo>
                <a:cubicBezTo>
                  <a:pt x="0" y="145529"/>
                  <a:pt x="7164" y="152693"/>
                  <a:pt x="15672" y="152693"/>
                </a:cubicBezTo>
                <a:cubicBezTo>
                  <a:pt x="24180" y="152693"/>
                  <a:pt x="31345" y="145529"/>
                  <a:pt x="31345" y="137021"/>
                </a:cubicBezTo>
                <a:cubicBezTo>
                  <a:pt x="31345" y="134335"/>
                  <a:pt x="30449" y="131648"/>
                  <a:pt x="29554" y="129857"/>
                </a:cubicBezTo>
                <a:lnTo>
                  <a:pt x="71645" y="106572"/>
                </a:lnTo>
                <a:cubicBezTo>
                  <a:pt x="77466" y="118214"/>
                  <a:pt x="89556" y="125827"/>
                  <a:pt x="103438" y="125827"/>
                </a:cubicBezTo>
                <a:cubicBezTo>
                  <a:pt x="112393" y="125827"/>
                  <a:pt x="120453" y="122692"/>
                  <a:pt x="126722" y="116871"/>
                </a:cubicBezTo>
                <a:lnTo>
                  <a:pt x="137469" y="127170"/>
                </a:lnTo>
                <a:cubicBezTo>
                  <a:pt x="135230" y="129857"/>
                  <a:pt x="133887" y="132991"/>
                  <a:pt x="133887" y="137021"/>
                </a:cubicBezTo>
                <a:cubicBezTo>
                  <a:pt x="133887" y="145529"/>
                  <a:pt x="141051" y="152693"/>
                  <a:pt x="149559" y="152693"/>
                </a:cubicBezTo>
                <a:cubicBezTo>
                  <a:pt x="158067" y="152693"/>
                  <a:pt x="165232" y="145529"/>
                  <a:pt x="165232" y="137021"/>
                </a:cubicBezTo>
                <a:cubicBezTo>
                  <a:pt x="166127" y="127618"/>
                  <a:pt x="158962" y="120453"/>
                  <a:pt x="150455" y="120453"/>
                </a:cubicBezTo>
                <a:close/>
                <a:moveTo>
                  <a:pt x="85079" y="15225"/>
                </a:moveTo>
                <a:cubicBezTo>
                  <a:pt x="85079" y="8956"/>
                  <a:pt x="90004" y="4030"/>
                  <a:pt x="96273" y="4030"/>
                </a:cubicBezTo>
                <a:cubicBezTo>
                  <a:pt x="102542" y="4030"/>
                  <a:pt x="107468" y="8956"/>
                  <a:pt x="107468" y="15225"/>
                </a:cubicBezTo>
                <a:cubicBezTo>
                  <a:pt x="107468" y="21493"/>
                  <a:pt x="102542" y="26419"/>
                  <a:pt x="96273" y="26419"/>
                </a:cubicBezTo>
                <a:cubicBezTo>
                  <a:pt x="90004" y="26419"/>
                  <a:pt x="85079" y="21493"/>
                  <a:pt x="85079" y="15225"/>
                </a:cubicBezTo>
                <a:close/>
                <a:moveTo>
                  <a:pt x="16120" y="39853"/>
                </a:moveTo>
                <a:cubicBezTo>
                  <a:pt x="9851" y="39853"/>
                  <a:pt x="4926" y="34927"/>
                  <a:pt x="4926" y="28658"/>
                </a:cubicBezTo>
                <a:cubicBezTo>
                  <a:pt x="4926" y="22389"/>
                  <a:pt x="9851" y="17463"/>
                  <a:pt x="16120" y="17463"/>
                </a:cubicBezTo>
                <a:cubicBezTo>
                  <a:pt x="22389" y="17463"/>
                  <a:pt x="27315" y="22389"/>
                  <a:pt x="27315" y="28658"/>
                </a:cubicBezTo>
                <a:cubicBezTo>
                  <a:pt x="27315" y="31345"/>
                  <a:pt x="26419" y="33584"/>
                  <a:pt x="25076" y="35375"/>
                </a:cubicBezTo>
                <a:cubicBezTo>
                  <a:pt x="25076" y="35375"/>
                  <a:pt x="25076" y="35375"/>
                  <a:pt x="25076" y="35375"/>
                </a:cubicBezTo>
                <a:cubicBezTo>
                  <a:pt x="25076" y="35375"/>
                  <a:pt x="25076" y="35375"/>
                  <a:pt x="25076" y="35375"/>
                </a:cubicBezTo>
                <a:cubicBezTo>
                  <a:pt x="22837" y="38061"/>
                  <a:pt x="19702" y="39853"/>
                  <a:pt x="16120" y="39853"/>
                </a:cubicBezTo>
                <a:close/>
                <a:moveTo>
                  <a:pt x="16120" y="147320"/>
                </a:moveTo>
                <a:cubicBezTo>
                  <a:pt x="9851" y="147320"/>
                  <a:pt x="4926" y="142395"/>
                  <a:pt x="4926" y="136126"/>
                </a:cubicBezTo>
                <a:cubicBezTo>
                  <a:pt x="4926" y="129857"/>
                  <a:pt x="9851" y="124931"/>
                  <a:pt x="16120" y="124931"/>
                </a:cubicBezTo>
                <a:cubicBezTo>
                  <a:pt x="22389" y="124931"/>
                  <a:pt x="27315" y="129857"/>
                  <a:pt x="27315" y="136126"/>
                </a:cubicBezTo>
                <a:cubicBezTo>
                  <a:pt x="27315" y="142395"/>
                  <a:pt x="22389" y="147320"/>
                  <a:pt x="16120" y="147320"/>
                </a:cubicBezTo>
                <a:close/>
                <a:moveTo>
                  <a:pt x="75227" y="102094"/>
                </a:moveTo>
                <a:cubicBezTo>
                  <a:pt x="75227" y="102094"/>
                  <a:pt x="75227" y="101647"/>
                  <a:pt x="75227" y="101647"/>
                </a:cubicBezTo>
                <a:cubicBezTo>
                  <a:pt x="75227" y="101647"/>
                  <a:pt x="75227" y="101647"/>
                  <a:pt x="75227" y="101199"/>
                </a:cubicBezTo>
                <a:cubicBezTo>
                  <a:pt x="73436" y="97616"/>
                  <a:pt x="72988" y="93586"/>
                  <a:pt x="72988" y="89109"/>
                </a:cubicBezTo>
                <a:cubicBezTo>
                  <a:pt x="72988" y="71645"/>
                  <a:pt x="86870" y="57764"/>
                  <a:pt x="104333" y="57764"/>
                </a:cubicBezTo>
                <a:cubicBezTo>
                  <a:pt x="121797" y="57764"/>
                  <a:pt x="135678" y="71645"/>
                  <a:pt x="135678" y="89109"/>
                </a:cubicBezTo>
                <a:cubicBezTo>
                  <a:pt x="135678" y="106572"/>
                  <a:pt x="121797" y="120453"/>
                  <a:pt x="104333" y="120453"/>
                </a:cubicBezTo>
                <a:cubicBezTo>
                  <a:pt x="91348" y="120453"/>
                  <a:pt x="80153" y="112841"/>
                  <a:pt x="75227" y="102094"/>
                </a:cubicBezTo>
                <a:close/>
                <a:moveTo>
                  <a:pt x="150455" y="147320"/>
                </a:moveTo>
                <a:cubicBezTo>
                  <a:pt x="144186" y="147320"/>
                  <a:pt x="139260" y="142395"/>
                  <a:pt x="139260" y="136126"/>
                </a:cubicBezTo>
                <a:cubicBezTo>
                  <a:pt x="139260" y="129857"/>
                  <a:pt x="144186" y="124931"/>
                  <a:pt x="150455" y="124931"/>
                </a:cubicBezTo>
                <a:cubicBezTo>
                  <a:pt x="156724" y="124931"/>
                  <a:pt x="161649" y="129857"/>
                  <a:pt x="161649" y="136126"/>
                </a:cubicBezTo>
                <a:cubicBezTo>
                  <a:pt x="161649" y="142395"/>
                  <a:pt x="156724" y="147320"/>
                  <a:pt x="150455" y="147320"/>
                </a:cubicBezTo>
                <a:close/>
              </a:path>
            </a:pathLst>
          </a:custGeom>
          <a:solidFill>
            <a:srgbClr val="231F20"/>
          </a:solidFill>
          <a:ln w="4474" cap="flat">
            <a:noFill/>
            <a:prstDash val="solid"/>
            <a:miter/>
          </a:ln>
        </p:spPr>
        <p:txBody>
          <a:bodyPr rtlCol="0" anchor="ctr"/>
          <a:lstStyle/>
          <a:p>
            <a:endParaRPr lang="en-US"/>
          </a:p>
        </p:txBody>
      </p:sp>
      <p:grpSp>
        <p:nvGrpSpPr>
          <p:cNvPr id="4303" name="Group 4302">
            <a:extLst>
              <a:ext uri="{FF2B5EF4-FFF2-40B4-BE49-F238E27FC236}">
                <a16:creationId xmlns:a16="http://schemas.microsoft.com/office/drawing/2014/main" id="{F9545B19-99F5-418C-BD5B-FD5E376A0E0C}"/>
              </a:ext>
              <a:ext uri="{C183D7F6-B498-43B3-948B-1728B52AA6E4}">
                <adec:decorative xmlns:adec="http://schemas.microsoft.com/office/drawing/2017/decorative" val="1"/>
              </a:ext>
            </a:extLst>
          </p:cNvPr>
          <p:cNvGrpSpPr>
            <a:grpSpLocks noChangeAspect="1"/>
          </p:cNvGrpSpPr>
          <p:nvPr/>
        </p:nvGrpSpPr>
        <p:grpSpPr>
          <a:xfrm>
            <a:off x="4498822" y="3941642"/>
            <a:ext cx="151083" cy="133711"/>
            <a:chOff x="4539576" y="3206203"/>
            <a:chExt cx="151083" cy="133711"/>
          </a:xfrm>
        </p:grpSpPr>
        <p:sp>
          <p:nvSpPr>
            <p:cNvPr id="4304" name="Freeform: Shape 4303">
              <a:extLst>
                <a:ext uri="{FF2B5EF4-FFF2-40B4-BE49-F238E27FC236}">
                  <a16:creationId xmlns:a16="http://schemas.microsoft.com/office/drawing/2014/main" id="{5347FD7B-4EBA-446F-A9D6-8D41A7B687F1}"/>
                </a:ext>
              </a:extLst>
            </p:cNvPr>
            <p:cNvSpPr/>
            <p:nvPr/>
          </p:nvSpPr>
          <p:spPr>
            <a:xfrm>
              <a:off x="4579877" y="3252884"/>
              <a:ext cx="67167" cy="85079"/>
            </a:xfrm>
            <a:custGeom>
              <a:avLst/>
              <a:gdLst>
                <a:gd name="connsiteX0" fmla="*/ 71197 w 67167"/>
                <a:gd name="connsiteY0" fmla="*/ 21382 h 85078"/>
                <a:gd name="connsiteX1" fmla="*/ 71197 w 67167"/>
                <a:gd name="connsiteY1" fmla="*/ 21382 h 85078"/>
                <a:gd name="connsiteX2" fmla="*/ 70302 w 67167"/>
                <a:gd name="connsiteY2" fmla="*/ 20486 h 85078"/>
                <a:gd name="connsiteX3" fmla="*/ 70302 w 67167"/>
                <a:gd name="connsiteY3" fmla="*/ 20486 h 85078"/>
                <a:gd name="connsiteX4" fmla="*/ 36718 w 67167"/>
                <a:gd name="connsiteY4" fmla="*/ 336 h 85078"/>
                <a:gd name="connsiteX5" fmla="*/ 34479 w 67167"/>
                <a:gd name="connsiteY5" fmla="*/ 336 h 85078"/>
                <a:gd name="connsiteX6" fmla="*/ 895 w 67167"/>
                <a:gd name="connsiteY6" fmla="*/ 20486 h 85078"/>
                <a:gd name="connsiteX7" fmla="*/ 0 w 67167"/>
                <a:gd name="connsiteY7" fmla="*/ 21382 h 85078"/>
                <a:gd name="connsiteX8" fmla="*/ 0 w 67167"/>
                <a:gd name="connsiteY8" fmla="*/ 21829 h 85078"/>
                <a:gd name="connsiteX9" fmla="*/ 0 w 67167"/>
                <a:gd name="connsiteY9" fmla="*/ 22725 h 85078"/>
                <a:gd name="connsiteX10" fmla="*/ 0 w 67167"/>
                <a:gd name="connsiteY10" fmla="*/ 22725 h 85078"/>
                <a:gd name="connsiteX11" fmla="*/ 0 w 67167"/>
                <a:gd name="connsiteY11" fmla="*/ 63025 h 85078"/>
                <a:gd name="connsiteX12" fmla="*/ 895 w 67167"/>
                <a:gd name="connsiteY12" fmla="*/ 64817 h 85078"/>
                <a:gd name="connsiteX13" fmla="*/ 34479 w 67167"/>
                <a:gd name="connsiteY13" fmla="*/ 84967 h 85078"/>
                <a:gd name="connsiteX14" fmla="*/ 34479 w 67167"/>
                <a:gd name="connsiteY14" fmla="*/ 84967 h 85078"/>
                <a:gd name="connsiteX15" fmla="*/ 35375 w 67167"/>
                <a:gd name="connsiteY15" fmla="*/ 85414 h 85078"/>
                <a:gd name="connsiteX16" fmla="*/ 35375 w 67167"/>
                <a:gd name="connsiteY16" fmla="*/ 85414 h 85078"/>
                <a:gd name="connsiteX17" fmla="*/ 35375 w 67167"/>
                <a:gd name="connsiteY17" fmla="*/ 85414 h 85078"/>
                <a:gd name="connsiteX18" fmla="*/ 35375 w 67167"/>
                <a:gd name="connsiteY18" fmla="*/ 85414 h 85078"/>
                <a:gd name="connsiteX19" fmla="*/ 35375 w 67167"/>
                <a:gd name="connsiteY19" fmla="*/ 85414 h 85078"/>
                <a:gd name="connsiteX20" fmla="*/ 36270 w 67167"/>
                <a:gd name="connsiteY20" fmla="*/ 84967 h 85078"/>
                <a:gd name="connsiteX21" fmla="*/ 36270 w 67167"/>
                <a:gd name="connsiteY21" fmla="*/ 84967 h 85078"/>
                <a:gd name="connsiteX22" fmla="*/ 36270 w 67167"/>
                <a:gd name="connsiteY22" fmla="*/ 84967 h 85078"/>
                <a:gd name="connsiteX23" fmla="*/ 69854 w 67167"/>
                <a:gd name="connsiteY23" fmla="*/ 64817 h 85078"/>
                <a:gd name="connsiteX24" fmla="*/ 70749 w 67167"/>
                <a:gd name="connsiteY24" fmla="*/ 63025 h 85078"/>
                <a:gd name="connsiteX25" fmla="*/ 70749 w 67167"/>
                <a:gd name="connsiteY25" fmla="*/ 22725 h 85078"/>
                <a:gd name="connsiteX26" fmla="*/ 71197 w 67167"/>
                <a:gd name="connsiteY26" fmla="*/ 21382 h 85078"/>
                <a:gd name="connsiteX27" fmla="*/ 35823 w 67167"/>
                <a:gd name="connsiteY27" fmla="*/ 4814 h 85078"/>
                <a:gd name="connsiteX28" fmla="*/ 64928 w 67167"/>
                <a:gd name="connsiteY28" fmla="*/ 22277 h 85078"/>
                <a:gd name="connsiteX29" fmla="*/ 35823 w 67167"/>
                <a:gd name="connsiteY29" fmla="*/ 39741 h 85078"/>
                <a:gd name="connsiteX30" fmla="*/ 6717 w 67167"/>
                <a:gd name="connsiteY30" fmla="*/ 22277 h 85078"/>
                <a:gd name="connsiteX31" fmla="*/ 35823 w 67167"/>
                <a:gd name="connsiteY31" fmla="*/ 4814 h 85078"/>
                <a:gd name="connsiteX32" fmla="*/ 33584 w 67167"/>
                <a:gd name="connsiteY32" fmla="*/ 78698 h 85078"/>
                <a:gd name="connsiteX33" fmla="*/ 4478 w 67167"/>
                <a:gd name="connsiteY33" fmla="*/ 61234 h 85078"/>
                <a:gd name="connsiteX34" fmla="*/ 4478 w 67167"/>
                <a:gd name="connsiteY34" fmla="*/ 26307 h 85078"/>
                <a:gd name="connsiteX35" fmla="*/ 33584 w 67167"/>
                <a:gd name="connsiteY35" fmla="*/ 43771 h 85078"/>
                <a:gd name="connsiteX36" fmla="*/ 33584 w 67167"/>
                <a:gd name="connsiteY36" fmla="*/ 78698 h 85078"/>
                <a:gd name="connsiteX37" fmla="*/ 38061 w 67167"/>
                <a:gd name="connsiteY37" fmla="*/ 78698 h 85078"/>
                <a:gd name="connsiteX38" fmla="*/ 38061 w 67167"/>
                <a:gd name="connsiteY38" fmla="*/ 43771 h 85078"/>
                <a:gd name="connsiteX39" fmla="*/ 67167 w 67167"/>
                <a:gd name="connsiteY39" fmla="*/ 26307 h 85078"/>
                <a:gd name="connsiteX40" fmla="*/ 67167 w 67167"/>
                <a:gd name="connsiteY40" fmla="*/ 61234 h 85078"/>
                <a:gd name="connsiteX41" fmla="*/ 38061 w 67167"/>
                <a:gd name="connsiteY41" fmla="*/ 7869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7167" h="85078">
                  <a:moveTo>
                    <a:pt x="71197" y="21382"/>
                  </a:moveTo>
                  <a:cubicBezTo>
                    <a:pt x="71197" y="21382"/>
                    <a:pt x="71197" y="21382"/>
                    <a:pt x="71197" y="21382"/>
                  </a:cubicBezTo>
                  <a:cubicBezTo>
                    <a:pt x="70749" y="20934"/>
                    <a:pt x="70749" y="20934"/>
                    <a:pt x="70302" y="20486"/>
                  </a:cubicBezTo>
                  <a:cubicBezTo>
                    <a:pt x="70302" y="20486"/>
                    <a:pt x="70302" y="20486"/>
                    <a:pt x="70302" y="20486"/>
                  </a:cubicBezTo>
                  <a:lnTo>
                    <a:pt x="36718" y="336"/>
                  </a:lnTo>
                  <a:cubicBezTo>
                    <a:pt x="35823" y="-112"/>
                    <a:pt x="34927" y="-112"/>
                    <a:pt x="34479" y="336"/>
                  </a:cubicBezTo>
                  <a:lnTo>
                    <a:pt x="895" y="20486"/>
                  </a:lnTo>
                  <a:cubicBezTo>
                    <a:pt x="448" y="20486"/>
                    <a:pt x="448" y="20934"/>
                    <a:pt x="0" y="21382"/>
                  </a:cubicBezTo>
                  <a:cubicBezTo>
                    <a:pt x="0" y="21382"/>
                    <a:pt x="0" y="21382"/>
                    <a:pt x="0" y="21829"/>
                  </a:cubicBezTo>
                  <a:cubicBezTo>
                    <a:pt x="0" y="22277"/>
                    <a:pt x="0" y="22277"/>
                    <a:pt x="0" y="22725"/>
                  </a:cubicBezTo>
                  <a:cubicBezTo>
                    <a:pt x="0" y="22725"/>
                    <a:pt x="0" y="22725"/>
                    <a:pt x="0" y="22725"/>
                  </a:cubicBezTo>
                  <a:lnTo>
                    <a:pt x="0" y="63025"/>
                  </a:lnTo>
                  <a:cubicBezTo>
                    <a:pt x="0" y="63921"/>
                    <a:pt x="448" y="64369"/>
                    <a:pt x="895" y="64817"/>
                  </a:cubicBezTo>
                  <a:lnTo>
                    <a:pt x="34479" y="84967"/>
                  </a:lnTo>
                  <a:cubicBezTo>
                    <a:pt x="34479" y="84967"/>
                    <a:pt x="34479" y="84967"/>
                    <a:pt x="34479" y="84967"/>
                  </a:cubicBezTo>
                  <a:cubicBezTo>
                    <a:pt x="34927" y="84967"/>
                    <a:pt x="35375" y="85414"/>
                    <a:pt x="35375" y="85414"/>
                  </a:cubicBezTo>
                  <a:cubicBezTo>
                    <a:pt x="35375" y="85414"/>
                    <a:pt x="35375" y="85414"/>
                    <a:pt x="35375" y="85414"/>
                  </a:cubicBezTo>
                  <a:lnTo>
                    <a:pt x="35375" y="85414"/>
                  </a:lnTo>
                  <a:lnTo>
                    <a:pt x="35375" y="85414"/>
                  </a:lnTo>
                  <a:cubicBezTo>
                    <a:pt x="35375" y="85414"/>
                    <a:pt x="35375" y="85414"/>
                    <a:pt x="35375" y="85414"/>
                  </a:cubicBezTo>
                  <a:cubicBezTo>
                    <a:pt x="35823" y="85414"/>
                    <a:pt x="36270" y="85414"/>
                    <a:pt x="36270" y="84967"/>
                  </a:cubicBezTo>
                  <a:cubicBezTo>
                    <a:pt x="36270" y="84967"/>
                    <a:pt x="36270" y="84967"/>
                    <a:pt x="36270" y="84967"/>
                  </a:cubicBezTo>
                  <a:cubicBezTo>
                    <a:pt x="36270" y="84967"/>
                    <a:pt x="36270" y="84967"/>
                    <a:pt x="36270" y="84967"/>
                  </a:cubicBezTo>
                  <a:lnTo>
                    <a:pt x="69854" y="64817"/>
                  </a:lnTo>
                  <a:cubicBezTo>
                    <a:pt x="70749" y="64369"/>
                    <a:pt x="70749" y="63473"/>
                    <a:pt x="70749" y="63025"/>
                  </a:cubicBezTo>
                  <a:lnTo>
                    <a:pt x="70749" y="22725"/>
                  </a:lnTo>
                  <a:cubicBezTo>
                    <a:pt x="71645" y="22277"/>
                    <a:pt x="71645" y="21829"/>
                    <a:pt x="71197" y="21382"/>
                  </a:cubicBezTo>
                  <a:close/>
                  <a:moveTo>
                    <a:pt x="35823" y="4814"/>
                  </a:moveTo>
                  <a:lnTo>
                    <a:pt x="64928" y="22277"/>
                  </a:lnTo>
                  <a:lnTo>
                    <a:pt x="35823" y="39741"/>
                  </a:lnTo>
                  <a:lnTo>
                    <a:pt x="6717" y="22277"/>
                  </a:lnTo>
                  <a:lnTo>
                    <a:pt x="35823" y="4814"/>
                  </a:lnTo>
                  <a:close/>
                  <a:moveTo>
                    <a:pt x="33584" y="78698"/>
                  </a:moveTo>
                  <a:lnTo>
                    <a:pt x="4478" y="61234"/>
                  </a:lnTo>
                  <a:lnTo>
                    <a:pt x="4478" y="26307"/>
                  </a:lnTo>
                  <a:lnTo>
                    <a:pt x="33584" y="43771"/>
                  </a:lnTo>
                  <a:lnTo>
                    <a:pt x="33584" y="78698"/>
                  </a:lnTo>
                  <a:close/>
                  <a:moveTo>
                    <a:pt x="38061" y="78698"/>
                  </a:moveTo>
                  <a:lnTo>
                    <a:pt x="38061" y="43771"/>
                  </a:lnTo>
                  <a:lnTo>
                    <a:pt x="67167" y="26307"/>
                  </a:lnTo>
                  <a:lnTo>
                    <a:pt x="67167" y="61234"/>
                  </a:lnTo>
                  <a:lnTo>
                    <a:pt x="38061" y="78698"/>
                  </a:lnTo>
                  <a:close/>
                </a:path>
              </a:pathLst>
            </a:custGeom>
            <a:solidFill>
              <a:srgbClr val="231F20"/>
            </a:solidFill>
            <a:ln w="4474" cap="flat">
              <a:noFill/>
              <a:prstDash val="solid"/>
              <a:miter/>
            </a:ln>
          </p:spPr>
          <p:txBody>
            <a:bodyPr rtlCol="0" anchor="ctr"/>
            <a:lstStyle/>
            <a:p>
              <a:endParaRPr lang="en-US"/>
            </a:p>
          </p:txBody>
        </p:sp>
        <p:sp>
          <p:nvSpPr>
            <p:cNvPr id="4305" name="Freeform: Shape 4304">
              <a:extLst>
                <a:ext uri="{FF2B5EF4-FFF2-40B4-BE49-F238E27FC236}">
                  <a16:creationId xmlns:a16="http://schemas.microsoft.com/office/drawing/2014/main" id="{5E2D65DA-92FD-4C1B-889F-0CA884DD2F4D}"/>
                </a:ext>
              </a:extLst>
            </p:cNvPr>
            <p:cNvSpPr/>
            <p:nvPr/>
          </p:nvSpPr>
          <p:spPr>
            <a:xfrm>
              <a:off x="4605106" y="3206203"/>
              <a:ext cx="17911" cy="35823"/>
            </a:xfrm>
            <a:custGeom>
              <a:avLst/>
              <a:gdLst>
                <a:gd name="connsiteX0" fmla="*/ 19549 w 17911"/>
                <a:gd name="connsiteY0" fmla="*/ 6269 h 35822"/>
                <a:gd name="connsiteX1" fmla="*/ 11937 w 17911"/>
                <a:gd name="connsiteY1" fmla="*/ 0 h 35822"/>
                <a:gd name="connsiteX2" fmla="*/ 11489 w 17911"/>
                <a:gd name="connsiteY2" fmla="*/ 0 h 35822"/>
                <a:gd name="connsiteX3" fmla="*/ 11041 w 17911"/>
                <a:gd name="connsiteY3" fmla="*/ 0 h 35822"/>
                <a:gd name="connsiteX4" fmla="*/ 11041 w 17911"/>
                <a:gd name="connsiteY4" fmla="*/ 0 h 35822"/>
                <a:gd name="connsiteX5" fmla="*/ 10593 w 17911"/>
                <a:gd name="connsiteY5" fmla="*/ 0 h 35822"/>
                <a:gd name="connsiteX6" fmla="*/ 10145 w 17911"/>
                <a:gd name="connsiteY6" fmla="*/ 0 h 35822"/>
                <a:gd name="connsiteX7" fmla="*/ 10145 w 17911"/>
                <a:gd name="connsiteY7" fmla="*/ 0 h 35822"/>
                <a:gd name="connsiteX8" fmla="*/ 10145 w 17911"/>
                <a:gd name="connsiteY8" fmla="*/ 0 h 35822"/>
                <a:gd name="connsiteX9" fmla="*/ 9698 w 17911"/>
                <a:gd name="connsiteY9" fmla="*/ 0 h 35822"/>
                <a:gd name="connsiteX10" fmla="*/ 9250 w 17911"/>
                <a:gd name="connsiteY10" fmla="*/ 0 h 35822"/>
                <a:gd name="connsiteX11" fmla="*/ 8802 w 17911"/>
                <a:gd name="connsiteY11" fmla="*/ 0 h 35822"/>
                <a:gd name="connsiteX12" fmla="*/ 8354 w 17911"/>
                <a:gd name="connsiteY12" fmla="*/ 0 h 35822"/>
                <a:gd name="connsiteX13" fmla="*/ 742 w 17911"/>
                <a:gd name="connsiteY13" fmla="*/ 6269 h 35822"/>
                <a:gd name="connsiteX14" fmla="*/ 294 w 17911"/>
                <a:gd name="connsiteY14" fmla="*/ 9403 h 35822"/>
                <a:gd name="connsiteX15" fmla="*/ 2085 w 17911"/>
                <a:gd name="connsiteY15" fmla="*/ 10299 h 35822"/>
                <a:gd name="connsiteX16" fmla="*/ 3429 w 17911"/>
                <a:gd name="connsiteY16" fmla="*/ 9851 h 35822"/>
                <a:gd name="connsiteX17" fmla="*/ 7459 w 17911"/>
                <a:gd name="connsiteY17" fmla="*/ 6717 h 35822"/>
                <a:gd name="connsiteX18" fmla="*/ 7459 w 17911"/>
                <a:gd name="connsiteY18" fmla="*/ 34031 h 35822"/>
                <a:gd name="connsiteX19" fmla="*/ 9698 w 17911"/>
                <a:gd name="connsiteY19" fmla="*/ 36270 h 35822"/>
                <a:gd name="connsiteX20" fmla="*/ 11937 w 17911"/>
                <a:gd name="connsiteY20" fmla="*/ 34031 h 35822"/>
                <a:gd name="connsiteX21" fmla="*/ 11937 w 17911"/>
                <a:gd name="connsiteY21" fmla="*/ 6717 h 35822"/>
                <a:gd name="connsiteX22" fmla="*/ 15966 w 17911"/>
                <a:gd name="connsiteY22" fmla="*/ 9851 h 35822"/>
                <a:gd name="connsiteX23" fmla="*/ 17310 w 17911"/>
                <a:gd name="connsiteY23" fmla="*/ 10299 h 35822"/>
                <a:gd name="connsiteX24" fmla="*/ 19101 w 17911"/>
                <a:gd name="connsiteY24" fmla="*/ 9403 h 35822"/>
                <a:gd name="connsiteX25" fmla="*/ 19549 w 17911"/>
                <a:gd name="connsiteY25" fmla="*/ 6269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911" h="35822">
                  <a:moveTo>
                    <a:pt x="19549" y="6269"/>
                  </a:moveTo>
                  <a:lnTo>
                    <a:pt x="11937" y="0"/>
                  </a:lnTo>
                  <a:cubicBezTo>
                    <a:pt x="11937" y="0"/>
                    <a:pt x="11937" y="0"/>
                    <a:pt x="11489" y="0"/>
                  </a:cubicBezTo>
                  <a:cubicBezTo>
                    <a:pt x="11489" y="0"/>
                    <a:pt x="11489" y="0"/>
                    <a:pt x="11041" y="0"/>
                  </a:cubicBezTo>
                  <a:cubicBezTo>
                    <a:pt x="11041" y="0"/>
                    <a:pt x="11041" y="0"/>
                    <a:pt x="11041" y="0"/>
                  </a:cubicBezTo>
                  <a:cubicBezTo>
                    <a:pt x="11041" y="0"/>
                    <a:pt x="10593" y="0"/>
                    <a:pt x="10593" y="0"/>
                  </a:cubicBezTo>
                  <a:cubicBezTo>
                    <a:pt x="10593" y="0"/>
                    <a:pt x="10593" y="0"/>
                    <a:pt x="10145" y="0"/>
                  </a:cubicBezTo>
                  <a:cubicBezTo>
                    <a:pt x="10145" y="0"/>
                    <a:pt x="10145" y="0"/>
                    <a:pt x="10145" y="0"/>
                  </a:cubicBezTo>
                  <a:cubicBezTo>
                    <a:pt x="10145" y="0"/>
                    <a:pt x="10145" y="0"/>
                    <a:pt x="10145" y="0"/>
                  </a:cubicBezTo>
                  <a:cubicBezTo>
                    <a:pt x="10145" y="0"/>
                    <a:pt x="9698" y="0"/>
                    <a:pt x="9698" y="0"/>
                  </a:cubicBezTo>
                  <a:cubicBezTo>
                    <a:pt x="9698" y="0"/>
                    <a:pt x="9250" y="0"/>
                    <a:pt x="9250" y="0"/>
                  </a:cubicBezTo>
                  <a:cubicBezTo>
                    <a:pt x="9250" y="0"/>
                    <a:pt x="8802" y="0"/>
                    <a:pt x="8802" y="0"/>
                  </a:cubicBezTo>
                  <a:cubicBezTo>
                    <a:pt x="8802" y="0"/>
                    <a:pt x="8802" y="0"/>
                    <a:pt x="8354" y="0"/>
                  </a:cubicBezTo>
                  <a:lnTo>
                    <a:pt x="742" y="6269"/>
                  </a:lnTo>
                  <a:cubicBezTo>
                    <a:pt x="-154" y="7165"/>
                    <a:pt x="-154" y="8508"/>
                    <a:pt x="294" y="9403"/>
                  </a:cubicBezTo>
                  <a:cubicBezTo>
                    <a:pt x="742" y="9851"/>
                    <a:pt x="1190" y="10299"/>
                    <a:pt x="2085" y="10299"/>
                  </a:cubicBezTo>
                  <a:cubicBezTo>
                    <a:pt x="2533" y="10299"/>
                    <a:pt x="2981" y="10299"/>
                    <a:pt x="3429" y="9851"/>
                  </a:cubicBezTo>
                  <a:lnTo>
                    <a:pt x="7459" y="6717"/>
                  </a:lnTo>
                  <a:lnTo>
                    <a:pt x="7459" y="34031"/>
                  </a:lnTo>
                  <a:cubicBezTo>
                    <a:pt x="7459" y="35375"/>
                    <a:pt x="8354" y="36270"/>
                    <a:pt x="9698" y="36270"/>
                  </a:cubicBezTo>
                  <a:cubicBezTo>
                    <a:pt x="11041" y="36270"/>
                    <a:pt x="11937" y="35375"/>
                    <a:pt x="11937" y="34031"/>
                  </a:cubicBezTo>
                  <a:lnTo>
                    <a:pt x="11937" y="6717"/>
                  </a:lnTo>
                  <a:lnTo>
                    <a:pt x="15966" y="9851"/>
                  </a:lnTo>
                  <a:cubicBezTo>
                    <a:pt x="16414" y="10299"/>
                    <a:pt x="16862" y="10299"/>
                    <a:pt x="17310" y="10299"/>
                  </a:cubicBezTo>
                  <a:cubicBezTo>
                    <a:pt x="17758" y="10299"/>
                    <a:pt x="18653" y="9851"/>
                    <a:pt x="19101" y="9403"/>
                  </a:cubicBezTo>
                  <a:cubicBezTo>
                    <a:pt x="20444" y="8508"/>
                    <a:pt x="20444" y="7165"/>
                    <a:pt x="19549" y="6269"/>
                  </a:cubicBezTo>
                  <a:close/>
                </a:path>
              </a:pathLst>
            </a:custGeom>
            <a:solidFill>
              <a:srgbClr val="231F20"/>
            </a:solidFill>
            <a:ln w="4474" cap="flat">
              <a:noFill/>
              <a:prstDash val="solid"/>
              <a:miter/>
            </a:ln>
          </p:spPr>
          <p:txBody>
            <a:bodyPr rtlCol="0" anchor="ctr"/>
            <a:lstStyle/>
            <a:p>
              <a:endParaRPr lang="en-US"/>
            </a:p>
          </p:txBody>
        </p:sp>
        <p:sp>
          <p:nvSpPr>
            <p:cNvPr id="4306" name="Freeform: Shape 4305">
              <a:extLst>
                <a:ext uri="{FF2B5EF4-FFF2-40B4-BE49-F238E27FC236}">
                  <a16:creationId xmlns:a16="http://schemas.microsoft.com/office/drawing/2014/main" id="{5C38665D-C2BD-4546-9B03-0833293C5D11}"/>
                </a:ext>
              </a:extLst>
            </p:cNvPr>
            <p:cNvSpPr/>
            <p:nvPr/>
          </p:nvSpPr>
          <p:spPr>
            <a:xfrm>
              <a:off x="4539576" y="3317525"/>
              <a:ext cx="31345" cy="22389"/>
            </a:xfrm>
            <a:custGeom>
              <a:avLst/>
              <a:gdLst>
                <a:gd name="connsiteX0" fmla="*/ 32240 w 31344"/>
                <a:gd name="connsiteY0" fmla="*/ 1071 h 22389"/>
                <a:gd name="connsiteX1" fmla="*/ 29106 w 31344"/>
                <a:gd name="connsiteY1" fmla="*/ 176 h 22389"/>
                <a:gd name="connsiteX2" fmla="*/ 5373 w 31344"/>
                <a:gd name="connsiteY2" fmla="*/ 14057 h 22389"/>
                <a:gd name="connsiteX3" fmla="*/ 6269 w 31344"/>
                <a:gd name="connsiteY3" fmla="*/ 9131 h 22389"/>
                <a:gd name="connsiteX4" fmla="*/ 4478 w 31344"/>
                <a:gd name="connsiteY4" fmla="*/ 6445 h 22389"/>
                <a:gd name="connsiteX5" fmla="*/ 1791 w 31344"/>
                <a:gd name="connsiteY5" fmla="*/ 8236 h 22389"/>
                <a:gd name="connsiteX6" fmla="*/ 0 w 31344"/>
                <a:gd name="connsiteY6" fmla="*/ 18087 h 22389"/>
                <a:gd name="connsiteX7" fmla="*/ 0 w 31344"/>
                <a:gd name="connsiteY7" fmla="*/ 18535 h 22389"/>
                <a:gd name="connsiteX8" fmla="*/ 0 w 31344"/>
                <a:gd name="connsiteY8" fmla="*/ 18982 h 22389"/>
                <a:gd name="connsiteX9" fmla="*/ 0 w 31344"/>
                <a:gd name="connsiteY9" fmla="*/ 18982 h 22389"/>
                <a:gd name="connsiteX10" fmla="*/ 0 w 31344"/>
                <a:gd name="connsiteY10" fmla="*/ 19430 h 22389"/>
                <a:gd name="connsiteX11" fmla="*/ 0 w 31344"/>
                <a:gd name="connsiteY11" fmla="*/ 19878 h 22389"/>
                <a:gd name="connsiteX12" fmla="*/ 0 w 31344"/>
                <a:gd name="connsiteY12" fmla="*/ 19878 h 22389"/>
                <a:gd name="connsiteX13" fmla="*/ 0 w 31344"/>
                <a:gd name="connsiteY13" fmla="*/ 19878 h 22389"/>
                <a:gd name="connsiteX14" fmla="*/ 448 w 31344"/>
                <a:gd name="connsiteY14" fmla="*/ 20326 h 22389"/>
                <a:gd name="connsiteX15" fmla="*/ 895 w 31344"/>
                <a:gd name="connsiteY15" fmla="*/ 20774 h 22389"/>
                <a:gd name="connsiteX16" fmla="*/ 895 w 31344"/>
                <a:gd name="connsiteY16" fmla="*/ 20774 h 22389"/>
                <a:gd name="connsiteX17" fmla="*/ 895 w 31344"/>
                <a:gd name="connsiteY17" fmla="*/ 20774 h 22389"/>
                <a:gd name="connsiteX18" fmla="*/ 895 w 31344"/>
                <a:gd name="connsiteY18" fmla="*/ 20774 h 22389"/>
                <a:gd name="connsiteX19" fmla="*/ 10299 w 31344"/>
                <a:gd name="connsiteY19" fmla="*/ 23908 h 22389"/>
                <a:gd name="connsiteX20" fmla="*/ 11195 w 31344"/>
                <a:gd name="connsiteY20" fmla="*/ 23908 h 22389"/>
                <a:gd name="connsiteX21" fmla="*/ 13433 w 31344"/>
                <a:gd name="connsiteY21" fmla="*/ 22565 h 22389"/>
                <a:gd name="connsiteX22" fmla="*/ 12090 w 31344"/>
                <a:gd name="connsiteY22" fmla="*/ 19878 h 22389"/>
                <a:gd name="connsiteX23" fmla="*/ 7164 w 31344"/>
                <a:gd name="connsiteY23" fmla="*/ 18087 h 22389"/>
                <a:gd name="connsiteX24" fmla="*/ 30897 w 31344"/>
                <a:gd name="connsiteY24" fmla="*/ 4206 h 22389"/>
                <a:gd name="connsiteX25" fmla="*/ 32240 w 31344"/>
                <a:gd name="connsiteY25" fmla="*/ 1071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1344" h="22389">
                  <a:moveTo>
                    <a:pt x="32240" y="1071"/>
                  </a:moveTo>
                  <a:cubicBezTo>
                    <a:pt x="31792" y="176"/>
                    <a:pt x="30449" y="-272"/>
                    <a:pt x="29106" y="176"/>
                  </a:cubicBezTo>
                  <a:lnTo>
                    <a:pt x="5373" y="14057"/>
                  </a:lnTo>
                  <a:lnTo>
                    <a:pt x="6269" y="9131"/>
                  </a:lnTo>
                  <a:cubicBezTo>
                    <a:pt x="6717" y="7788"/>
                    <a:pt x="5821" y="6892"/>
                    <a:pt x="4478" y="6445"/>
                  </a:cubicBezTo>
                  <a:cubicBezTo>
                    <a:pt x="3134" y="5997"/>
                    <a:pt x="2239" y="6892"/>
                    <a:pt x="1791" y="8236"/>
                  </a:cubicBezTo>
                  <a:lnTo>
                    <a:pt x="0" y="18087"/>
                  </a:lnTo>
                  <a:cubicBezTo>
                    <a:pt x="0" y="18087"/>
                    <a:pt x="0" y="18087"/>
                    <a:pt x="0" y="18535"/>
                  </a:cubicBezTo>
                  <a:cubicBezTo>
                    <a:pt x="0" y="18535"/>
                    <a:pt x="0" y="18982"/>
                    <a:pt x="0" y="18982"/>
                  </a:cubicBezTo>
                  <a:cubicBezTo>
                    <a:pt x="0" y="18982"/>
                    <a:pt x="0" y="18982"/>
                    <a:pt x="0" y="18982"/>
                  </a:cubicBezTo>
                  <a:cubicBezTo>
                    <a:pt x="0" y="18982"/>
                    <a:pt x="0" y="19430"/>
                    <a:pt x="0" y="19430"/>
                  </a:cubicBezTo>
                  <a:cubicBezTo>
                    <a:pt x="0" y="19430"/>
                    <a:pt x="0" y="19430"/>
                    <a:pt x="0" y="19878"/>
                  </a:cubicBezTo>
                  <a:cubicBezTo>
                    <a:pt x="0" y="19878"/>
                    <a:pt x="0" y="19878"/>
                    <a:pt x="0" y="19878"/>
                  </a:cubicBezTo>
                  <a:cubicBezTo>
                    <a:pt x="0" y="19878"/>
                    <a:pt x="0" y="19878"/>
                    <a:pt x="0" y="19878"/>
                  </a:cubicBezTo>
                  <a:cubicBezTo>
                    <a:pt x="0" y="19878"/>
                    <a:pt x="0" y="19878"/>
                    <a:pt x="448" y="20326"/>
                  </a:cubicBezTo>
                  <a:cubicBezTo>
                    <a:pt x="448" y="20326"/>
                    <a:pt x="448" y="20326"/>
                    <a:pt x="895" y="20774"/>
                  </a:cubicBezTo>
                  <a:cubicBezTo>
                    <a:pt x="895" y="20774"/>
                    <a:pt x="895" y="20774"/>
                    <a:pt x="895" y="20774"/>
                  </a:cubicBezTo>
                  <a:cubicBezTo>
                    <a:pt x="895" y="20774"/>
                    <a:pt x="895" y="20774"/>
                    <a:pt x="895" y="20774"/>
                  </a:cubicBezTo>
                  <a:cubicBezTo>
                    <a:pt x="895" y="20774"/>
                    <a:pt x="895" y="20774"/>
                    <a:pt x="895" y="20774"/>
                  </a:cubicBezTo>
                  <a:lnTo>
                    <a:pt x="10299" y="23908"/>
                  </a:lnTo>
                  <a:cubicBezTo>
                    <a:pt x="10747" y="23908"/>
                    <a:pt x="10747" y="23908"/>
                    <a:pt x="11195" y="23908"/>
                  </a:cubicBezTo>
                  <a:cubicBezTo>
                    <a:pt x="12090" y="23908"/>
                    <a:pt x="12986" y="23460"/>
                    <a:pt x="13433" y="22565"/>
                  </a:cubicBezTo>
                  <a:cubicBezTo>
                    <a:pt x="13881" y="21221"/>
                    <a:pt x="13433" y="20326"/>
                    <a:pt x="12090" y="19878"/>
                  </a:cubicBezTo>
                  <a:lnTo>
                    <a:pt x="7164" y="18087"/>
                  </a:lnTo>
                  <a:lnTo>
                    <a:pt x="30897" y="4206"/>
                  </a:lnTo>
                  <a:cubicBezTo>
                    <a:pt x="32240" y="3310"/>
                    <a:pt x="32688" y="1967"/>
                    <a:pt x="32240" y="1071"/>
                  </a:cubicBezTo>
                  <a:close/>
                </a:path>
              </a:pathLst>
            </a:custGeom>
            <a:solidFill>
              <a:srgbClr val="231F20"/>
            </a:solidFill>
            <a:ln w="4474" cap="flat">
              <a:noFill/>
              <a:prstDash val="solid"/>
              <a:miter/>
            </a:ln>
          </p:spPr>
          <p:txBody>
            <a:bodyPr rtlCol="0" anchor="ctr"/>
            <a:lstStyle/>
            <a:p>
              <a:endParaRPr lang="en-US"/>
            </a:p>
          </p:txBody>
        </p:sp>
        <p:sp>
          <p:nvSpPr>
            <p:cNvPr id="4307" name="Freeform: Shape 4306">
              <a:extLst>
                <a:ext uri="{FF2B5EF4-FFF2-40B4-BE49-F238E27FC236}">
                  <a16:creationId xmlns:a16="http://schemas.microsoft.com/office/drawing/2014/main" id="{3FE2853B-46B3-46EE-BA69-7DD7BF7965DB}"/>
                </a:ext>
              </a:extLst>
            </p:cNvPr>
            <p:cNvSpPr/>
            <p:nvPr/>
          </p:nvSpPr>
          <p:spPr>
            <a:xfrm>
              <a:off x="4659314" y="3316985"/>
              <a:ext cx="31345" cy="22389"/>
            </a:xfrm>
            <a:custGeom>
              <a:avLst/>
              <a:gdLst>
                <a:gd name="connsiteX0" fmla="*/ 32508 w 31344"/>
                <a:gd name="connsiteY0" fmla="*/ 19075 h 22389"/>
                <a:gd name="connsiteX1" fmla="*/ 32508 w 31344"/>
                <a:gd name="connsiteY1" fmla="*/ 19075 h 22389"/>
                <a:gd name="connsiteX2" fmla="*/ 32508 w 31344"/>
                <a:gd name="connsiteY2" fmla="*/ 18627 h 22389"/>
                <a:gd name="connsiteX3" fmla="*/ 32508 w 31344"/>
                <a:gd name="connsiteY3" fmla="*/ 18179 h 22389"/>
                <a:gd name="connsiteX4" fmla="*/ 30717 w 31344"/>
                <a:gd name="connsiteY4" fmla="*/ 8328 h 22389"/>
                <a:gd name="connsiteX5" fmla="*/ 28030 w 31344"/>
                <a:gd name="connsiteY5" fmla="*/ 6537 h 22389"/>
                <a:gd name="connsiteX6" fmla="*/ 26239 w 31344"/>
                <a:gd name="connsiteY6" fmla="*/ 9223 h 22389"/>
                <a:gd name="connsiteX7" fmla="*/ 27135 w 31344"/>
                <a:gd name="connsiteY7" fmla="*/ 14149 h 22389"/>
                <a:gd name="connsiteX8" fmla="*/ 3402 w 31344"/>
                <a:gd name="connsiteY8" fmla="*/ 268 h 22389"/>
                <a:gd name="connsiteX9" fmla="*/ 268 w 31344"/>
                <a:gd name="connsiteY9" fmla="*/ 1163 h 22389"/>
                <a:gd name="connsiteX10" fmla="*/ 1164 w 31344"/>
                <a:gd name="connsiteY10" fmla="*/ 4298 h 22389"/>
                <a:gd name="connsiteX11" fmla="*/ 24896 w 31344"/>
                <a:gd name="connsiteY11" fmla="*/ 18179 h 22389"/>
                <a:gd name="connsiteX12" fmla="*/ 19970 w 31344"/>
                <a:gd name="connsiteY12" fmla="*/ 19970 h 22389"/>
                <a:gd name="connsiteX13" fmla="*/ 18627 w 31344"/>
                <a:gd name="connsiteY13" fmla="*/ 22657 h 22389"/>
                <a:gd name="connsiteX14" fmla="*/ 20866 w 31344"/>
                <a:gd name="connsiteY14" fmla="*/ 24000 h 22389"/>
                <a:gd name="connsiteX15" fmla="*/ 21761 w 31344"/>
                <a:gd name="connsiteY15" fmla="*/ 24000 h 22389"/>
                <a:gd name="connsiteX16" fmla="*/ 31165 w 31344"/>
                <a:gd name="connsiteY16" fmla="*/ 20866 h 22389"/>
                <a:gd name="connsiteX17" fmla="*/ 31165 w 31344"/>
                <a:gd name="connsiteY17" fmla="*/ 20866 h 22389"/>
                <a:gd name="connsiteX18" fmla="*/ 31165 w 31344"/>
                <a:gd name="connsiteY18" fmla="*/ 20866 h 22389"/>
                <a:gd name="connsiteX19" fmla="*/ 31165 w 31344"/>
                <a:gd name="connsiteY19" fmla="*/ 20866 h 22389"/>
                <a:gd name="connsiteX20" fmla="*/ 31613 w 31344"/>
                <a:gd name="connsiteY20" fmla="*/ 20418 h 22389"/>
                <a:gd name="connsiteX21" fmla="*/ 32060 w 31344"/>
                <a:gd name="connsiteY21" fmla="*/ 19970 h 22389"/>
                <a:gd name="connsiteX22" fmla="*/ 32060 w 31344"/>
                <a:gd name="connsiteY22" fmla="*/ 19970 h 22389"/>
                <a:gd name="connsiteX23" fmla="*/ 32060 w 31344"/>
                <a:gd name="connsiteY23" fmla="*/ 19970 h 22389"/>
                <a:gd name="connsiteX24" fmla="*/ 32508 w 31344"/>
                <a:gd name="connsiteY24" fmla="*/ 19075 h 22389"/>
                <a:gd name="connsiteX25" fmla="*/ 32508 w 31344"/>
                <a:gd name="connsiteY25" fmla="*/ 19075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1344" h="22389">
                  <a:moveTo>
                    <a:pt x="32508" y="19075"/>
                  </a:moveTo>
                  <a:cubicBezTo>
                    <a:pt x="32508" y="19075"/>
                    <a:pt x="32508" y="19075"/>
                    <a:pt x="32508" y="19075"/>
                  </a:cubicBezTo>
                  <a:cubicBezTo>
                    <a:pt x="32508" y="18627"/>
                    <a:pt x="32508" y="18627"/>
                    <a:pt x="32508" y="18627"/>
                  </a:cubicBezTo>
                  <a:cubicBezTo>
                    <a:pt x="32508" y="18627"/>
                    <a:pt x="32508" y="18627"/>
                    <a:pt x="32508" y="18179"/>
                  </a:cubicBezTo>
                  <a:lnTo>
                    <a:pt x="30717" y="8328"/>
                  </a:lnTo>
                  <a:cubicBezTo>
                    <a:pt x="30269" y="6984"/>
                    <a:pt x="29374" y="6089"/>
                    <a:pt x="28030" y="6537"/>
                  </a:cubicBezTo>
                  <a:cubicBezTo>
                    <a:pt x="26687" y="6984"/>
                    <a:pt x="25792" y="7880"/>
                    <a:pt x="26239" y="9223"/>
                  </a:cubicBezTo>
                  <a:lnTo>
                    <a:pt x="27135" y="14149"/>
                  </a:lnTo>
                  <a:lnTo>
                    <a:pt x="3402" y="268"/>
                  </a:lnTo>
                  <a:cubicBezTo>
                    <a:pt x="2507" y="-180"/>
                    <a:pt x="1164" y="-180"/>
                    <a:pt x="268" y="1163"/>
                  </a:cubicBezTo>
                  <a:cubicBezTo>
                    <a:pt x="-180" y="2059"/>
                    <a:pt x="-180" y="3402"/>
                    <a:pt x="1164" y="4298"/>
                  </a:cubicBezTo>
                  <a:lnTo>
                    <a:pt x="24896" y="18179"/>
                  </a:lnTo>
                  <a:lnTo>
                    <a:pt x="19970" y="19970"/>
                  </a:lnTo>
                  <a:cubicBezTo>
                    <a:pt x="18627" y="20418"/>
                    <a:pt x="18179" y="21761"/>
                    <a:pt x="18627" y="22657"/>
                  </a:cubicBezTo>
                  <a:cubicBezTo>
                    <a:pt x="19075" y="23552"/>
                    <a:pt x="19970" y="24000"/>
                    <a:pt x="20866" y="24000"/>
                  </a:cubicBezTo>
                  <a:cubicBezTo>
                    <a:pt x="21314" y="24000"/>
                    <a:pt x="21314" y="24000"/>
                    <a:pt x="21761" y="24000"/>
                  </a:cubicBezTo>
                  <a:lnTo>
                    <a:pt x="31165" y="20866"/>
                  </a:lnTo>
                  <a:cubicBezTo>
                    <a:pt x="31165" y="20866"/>
                    <a:pt x="31165" y="20866"/>
                    <a:pt x="31165" y="20866"/>
                  </a:cubicBezTo>
                  <a:cubicBezTo>
                    <a:pt x="31165" y="20866"/>
                    <a:pt x="31165" y="20866"/>
                    <a:pt x="31165" y="20866"/>
                  </a:cubicBezTo>
                  <a:cubicBezTo>
                    <a:pt x="31165" y="20866"/>
                    <a:pt x="31165" y="20866"/>
                    <a:pt x="31165" y="20866"/>
                  </a:cubicBezTo>
                  <a:cubicBezTo>
                    <a:pt x="31165" y="20866"/>
                    <a:pt x="31165" y="20866"/>
                    <a:pt x="31613" y="20418"/>
                  </a:cubicBezTo>
                  <a:cubicBezTo>
                    <a:pt x="31613" y="20418"/>
                    <a:pt x="31613" y="20418"/>
                    <a:pt x="32060" y="19970"/>
                  </a:cubicBezTo>
                  <a:cubicBezTo>
                    <a:pt x="32060" y="19970"/>
                    <a:pt x="32060" y="19970"/>
                    <a:pt x="32060" y="19970"/>
                  </a:cubicBezTo>
                  <a:cubicBezTo>
                    <a:pt x="32060" y="19970"/>
                    <a:pt x="32060" y="19970"/>
                    <a:pt x="32060" y="19970"/>
                  </a:cubicBezTo>
                  <a:cubicBezTo>
                    <a:pt x="32060" y="19522"/>
                    <a:pt x="32060" y="19522"/>
                    <a:pt x="32508" y="19075"/>
                  </a:cubicBezTo>
                  <a:cubicBezTo>
                    <a:pt x="32508" y="19522"/>
                    <a:pt x="32508" y="19075"/>
                    <a:pt x="32508" y="19075"/>
                  </a:cubicBezTo>
                  <a:close/>
                </a:path>
              </a:pathLst>
            </a:custGeom>
            <a:solidFill>
              <a:srgbClr val="231F20"/>
            </a:solidFill>
            <a:ln w="4474" cap="flat">
              <a:noFill/>
              <a:prstDash val="solid"/>
              <a:miter/>
            </a:ln>
          </p:spPr>
          <p:txBody>
            <a:bodyPr rtlCol="0" anchor="ctr"/>
            <a:lstStyle/>
            <a:p>
              <a:endParaRPr lang="en-US"/>
            </a:p>
          </p:txBody>
        </p:sp>
      </p:grpSp>
      <p:sp>
        <p:nvSpPr>
          <p:cNvPr id="4308" name="Freeform: Shape 4307">
            <a:extLst>
              <a:ext uri="{FF2B5EF4-FFF2-40B4-BE49-F238E27FC236}">
                <a16:creationId xmlns:a16="http://schemas.microsoft.com/office/drawing/2014/main" id="{9B026AA0-1560-4C55-A3B5-A2FAC4670D01}"/>
              </a:ext>
              <a:ext uri="{C183D7F6-B498-43B3-948B-1728B52AA6E4}">
                <adec:decorative xmlns:adec="http://schemas.microsoft.com/office/drawing/2017/decorative" val="1"/>
              </a:ext>
            </a:extLst>
          </p:cNvPr>
          <p:cNvSpPr>
            <a:spLocks noChangeAspect="1"/>
          </p:cNvSpPr>
          <p:nvPr/>
        </p:nvSpPr>
        <p:spPr>
          <a:xfrm>
            <a:off x="5018697" y="3934589"/>
            <a:ext cx="152246" cy="147768"/>
          </a:xfrm>
          <a:custGeom>
            <a:avLst/>
            <a:gdLst>
              <a:gd name="connsiteX0" fmla="*/ 152693 w 152245"/>
              <a:gd name="connsiteY0" fmla="*/ 86758 h 147767"/>
              <a:gd name="connsiteX1" fmla="*/ 152693 w 152245"/>
              <a:gd name="connsiteY1" fmla="*/ 85862 h 147767"/>
              <a:gd name="connsiteX2" fmla="*/ 152693 w 152245"/>
              <a:gd name="connsiteY2" fmla="*/ 85414 h 147767"/>
              <a:gd name="connsiteX3" fmla="*/ 151798 w 152245"/>
              <a:gd name="connsiteY3" fmla="*/ 84519 h 147767"/>
              <a:gd name="connsiteX4" fmla="*/ 151798 w 152245"/>
              <a:gd name="connsiteY4" fmla="*/ 84519 h 147767"/>
              <a:gd name="connsiteX5" fmla="*/ 151798 w 152245"/>
              <a:gd name="connsiteY5" fmla="*/ 84519 h 147767"/>
              <a:gd name="connsiteX6" fmla="*/ 151798 w 152245"/>
              <a:gd name="connsiteY6" fmla="*/ 84519 h 147767"/>
              <a:gd name="connsiteX7" fmla="*/ 115976 w 152245"/>
              <a:gd name="connsiteY7" fmla="*/ 63921 h 147767"/>
              <a:gd name="connsiteX8" fmla="*/ 115976 w 152245"/>
              <a:gd name="connsiteY8" fmla="*/ 23173 h 147767"/>
              <a:gd name="connsiteX9" fmla="*/ 115528 w 152245"/>
              <a:gd name="connsiteY9" fmla="*/ 22277 h 147767"/>
              <a:gd name="connsiteX10" fmla="*/ 115528 w 152245"/>
              <a:gd name="connsiteY10" fmla="*/ 21829 h 147767"/>
              <a:gd name="connsiteX11" fmla="*/ 115080 w 152245"/>
              <a:gd name="connsiteY11" fmla="*/ 21382 h 147767"/>
              <a:gd name="connsiteX12" fmla="*/ 115080 w 152245"/>
              <a:gd name="connsiteY12" fmla="*/ 21382 h 147767"/>
              <a:gd name="connsiteX13" fmla="*/ 77914 w 152245"/>
              <a:gd name="connsiteY13" fmla="*/ 336 h 147767"/>
              <a:gd name="connsiteX14" fmla="*/ 75675 w 152245"/>
              <a:gd name="connsiteY14" fmla="*/ 336 h 147767"/>
              <a:gd name="connsiteX15" fmla="*/ 38509 w 152245"/>
              <a:gd name="connsiteY15" fmla="*/ 21382 h 147767"/>
              <a:gd name="connsiteX16" fmla="*/ 1343 w 152245"/>
              <a:gd name="connsiteY16" fmla="*/ 42427 h 147767"/>
              <a:gd name="connsiteX17" fmla="*/ 1343 w 152245"/>
              <a:gd name="connsiteY17" fmla="*/ 42427 h 147767"/>
              <a:gd name="connsiteX18" fmla="*/ 1343 w 152245"/>
              <a:gd name="connsiteY18" fmla="*/ 42427 h 147767"/>
              <a:gd name="connsiteX19" fmla="*/ 896 w 152245"/>
              <a:gd name="connsiteY19" fmla="*/ 42875 h 147767"/>
              <a:gd name="connsiteX20" fmla="*/ 448 w 152245"/>
              <a:gd name="connsiteY20" fmla="*/ 43323 h 147767"/>
              <a:gd name="connsiteX21" fmla="*/ 0 w 152245"/>
              <a:gd name="connsiteY21" fmla="*/ 44666 h 147767"/>
              <a:gd name="connsiteX22" fmla="*/ 0 w 152245"/>
              <a:gd name="connsiteY22" fmla="*/ 86758 h 147767"/>
              <a:gd name="connsiteX23" fmla="*/ 1343 w 152245"/>
              <a:gd name="connsiteY23" fmla="*/ 88549 h 147767"/>
              <a:gd name="connsiteX24" fmla="*/ 112393 w 152245"/>
              <a:gd name="connsiteY24" fmla="*/ 151686 h 147767"/>
              <a:gd name="connsiteX25" fmla="*/ 113289 w 152245"/>
              <a:gd name="connsiteY25" fmla="*/ 152134 h 147767"/>
              <a:gd name="connsiteX26" fmla="*/ 113289 w 152245"/>
              <a:gd name="connsiteY26" fmla="*/ 152134 h 147767"/>
              <a:gd name="connsiteX27" fmla="*/ 113289 w 152245"/>
              <a:gd name="connsiteY27" fmla="*/ 152134 h 147767"/>
              <a:gd name="connsiteX28" fmla="*/ 113289 w 152245"/>
              <a:gd name="connsiteY28" fmla="*/ 152134 h 147767"/>
              <a:gd name="connsiteX29" fmla="*/ 114184 w 152245"/>
              <a:gd name="connsiteY29" fmla="*/ 151686 h 147767"/>
              <a:gd name="connsiteX30" fmla="*/ 114184 w 152245"/>
              <a:gd name="connsiteY30" fmla="*/ 151686 h 147767"/>
              <a:gd name="connsiteX31" fmla="*/ 151350 w 152245"/>
              <a:gd name="connsiteY31" fmla="*/ 130640 h 147767"/>
              <a:gd name="connsiteX32" fmla="*/ 152693 w 152245"/>
              <a:gd name="connsiteY32" fmla="*/ 128849 h 147767"/>
              <a:gd name="connsiteX33" fmla="*/ 152693 w 152245"/>
              <a:gd name="connsiteY33" fmla="*/ 86758 h 147767"/>
              <a:gd name="connsiteX34" fmla="*/ 152693 w 152245"/>
              <a:gd name="connsiteY34" fmla="*/ 86758 h 147767"/>
              <a:gd name="connsiteX35" fmla="*/ 113289 w 152245"/>
              <a:gd name="connsiteY35" fmla="*/ 105117 h 147767"/>
              <a:gd name="connsiteX36" fmla="*/ 81048 w 152245"/>
              <a:gd name="connsiteY36" fmla="*/ 86758 h 147767"/>
              <a:gd name="connsiteX37" fmla="*/ 113289 w 152245"/>
              <a:gd name="connsiteY37" fmla="*/ 68399 h 147767"/>
              <a:gd name="connsiteX38" fmla="*/ 145529 w 152245"/>
              <a:gd name="connsiteY38" fmla="*/ 86758 h 147767"/>
              <a:gd name="connsiteX39" fmla="*/ 113289 w 152245"/>
              <a:gd name="connsiteY39" fmla="*/ 105117 h 147767"/>
              <a:gd name="connsiteX40" fmla="*/ 7164 w 152245"/>
              <a:gd name="connsiteY40" fmla="*/ 44666 h 147767"/>
              <a:gd name="connsiteX41" fmla="*/ 37166 w 152245"/>
              <a:gd name="connsiteY41" fmla="*/ 27651 h 147767"/>
              <a:gd name="connsiteX42" fmla="*/ 37166 w 152245"/>
              <a:gd name="connsiteY42" fmla="*/ 62130 h 147767"/>
              <a:gd name="connsiteX43" fmla="*/ 17464 w 152245"/>
              <a:gd name="connsiteY43" fmla="*/ 50935 h 147767"/>
              <a:gd name="connsiteX44" fmla="*/ 7164 w 152245"/>
              <a:gd name="connsiteY44" fmla="*/ 44666 h 147767"/>
              <a:gd name="connsiteX45" fmla="*/ 111050 w 152245"/>
              <a:gd name="connsiteY45" fmla="*/ 64369 h 147767"/>
              <a:gd name="connsiteX46" fmla="*/ 78362 w 152245"/>
              <a:gd name="connsiteY46" fmla="*/ 82728 h 147767"/>
              <a:gd name="connsiteX47" fmla="*/ 78362 w 152245"/>
              <a:gd name="connsiteY47" fmla="*/ 45562 h 147767"/>
              <a:gd name="connsiteX48" fmla="*/ 110602 w 152245"/>
              <a:gd name="connsiteY48" fmla="*/ 27203 h 147767"/>
              <a:gd name="connsiteX49" fmla="*/ 111050 w 152245"/>
              <a:gd name="connsiteY49" fmla="*/ 64369 h 147767"/>
              <a:gd name="connsiteX50" fmla="*/ 76571 w 152245"/>
              <a:gd name="connsiteY50" fmla="*/ 5261 h 147767"/>
              <a:gd name="connsiteX51" fmla="*/ 108811 w 152245"/>
              <a:gd name="connsiteY51" fmla="*/ 23621 h 147767"/>
              <a:gd name="connsiteX52" fmla="*/ 76571 w 152245"/>
              <a:gd name="connsiteY52" fmla="*/ 41980 h 147767"/>
              <a:gd name="connsiteX53" fmla="*/ 44331 w 152245"/>
              <a:gd name="connsiteY53" fmla="*/ 23621 h 147767"/>
              <a:gd name="connsiteX54" fmla="*/ 76571 w 152245"/>
              <a:gd name="connsiteY54" fmla="*/ 5261 h 147767"/>
              <a:gd name="connsiteX55" fmla="*/ 4925 w 152245"/>
              <a:gd name="connsiteY55" fmla="*/ 48696 h 147767"/>
              <a:gd name="connsiteX56" fmla="*/ 17016 w 152245"/>
              <a:gd name="connsiteY56" fmla="*/ 55413 h 147767"/>
              <a:gd name="connsiteX57" fmla="*/ 38509 w 152245"/>
              <a:gd name="connsiteY57" fmla="*/ 67503 h 147767"/>
              <a:gd name="connsiteX58" fmla="*/ 38509 w 152245"/>
              <a:gd name="connsiteY58" fmla="*/ 67503 h 147767"/>
              <a:gd name="connsiteX59" fmla="*/ 38957 w 152245"/>
              <a:gd name="connsiteY59" fmla="*/ 67503 h 147767"/>
              <a:gd name="connsiteX60" fmla="*/ 39405 w 152245"/>
              <a:gd name="connsiteY60" fmla="*/ 67503 h 147767"/>
              <a:gd name="connsiteX61" fmla="*/ 39405 w 152245"/>
              <a:gd name="connsiteY61" fmla="*/ 67503 h 147767"/>
              <a:gd name="connsiteX62" fmla="*/ 39405 w 152245"/>
              <a:gd name="connsiteY62" fmla="*/ 67503 h 147767"/>
              <a:gd name="connsiteX63" fmla="*/ 39405 w 152245"/>
              <a:gd name="connsiteY63" fmla="*/ 67503 h 147767"/>
              <a:gd name="connsiteX64" fmla="*/ 39405 w 152245"/>
              <a:gd name="connsiteY64" fmla="*/ 67503 h 147767"/>
              <a:gd name="connsiteX65" fmla="*/ 39853 w 152245"/>
              <a:gd name="connsiteY65" fmla="*/ 67503 h 147767"/>
              <a:gd name="connsiteX66" fmla="*/ 40300 w 152245"/>
              <a:gd name="connsiteY66" fmla="*/ 67503 h 147767"/>
              <a:gd name="connsiteX67" fmla="*/ 40748 w 152245"/>
              <a:gd name="connsiteY67" fmla="*/ 67503 h 147767"/>
              <a:gd name="connsiteX68" fmla="*/ 40748 w 152245"/>
              <a:gd name="connsiteY68" fmla="*/ 67503 h 147767"/>
              <a:gd name="connsiteX69" fmla="*/ 41196 w 152245"/>
              <a:gd name="connsiteY69" fmla="*/ 67503 h 147767"/>
              <a:gd name="connsiteX70" fmla="*/ 41644 w 152245"/>
              <a:gd name="connsiteY70" fmla="*/ 67055 h 147767"/>
              <a:gd name="connsiteX71" fmla="*/ 41644 w 152245"/>
              <a:gd name="connsiteY71" fmla="*/ 67055 h 147767"/>
              <a:gd name="connsiteX72" fmla="*/ 41644 w 152245"/>
              <a:gd name="connsiteY72" fmla="*/ 67055 h 147767"/>
              <a:gd name="connsiteX73" fmla="*/ 41644 w 152245"/>
              <a:gd name="connsiteY73" fmla="*/ 67055 h 147767"/>
              <a:gd name="connsiteX74" fmla="*/ 41644 w 152245"/>
              <a:gd name="connsiteY74" fmla="*/ 66607 h 147767"/>
              <a:gd name="connsiteX75" fmla="*/ 41644 w 152245"/>
              <a:gd name="connsiteY75" fmla="*/ 66160 h 147767"/>
              <a:gd name="connsiteX76" fmla="*/ 41644 w 152245"/>
              <a:gd name="connsiteY76" fmla="*/ 66160 h 147767"/>
              <a:gd name="connsiteX77" fmla="*/ 41644 w 152245"/>
              <a:gd name="connsiteY77" fmla="*/ 27651 h 147767"/>
              <a:gd name="connsiteX78" fmla="*/ 74332 w 152245"/>
              <a:gd name="connsiteY78" fmla="*/ 46010 h 147767"/>
              <a:gd name="connsiteX79" fmla="*/ 74332 w 152245"/>
              <a:gd name="connsiteY79" fmla="*/ 86310 h 147767"/>
              <a:gd name="connsiteX80" fmla="*/ 74332 w 152245"/>
              <a:gd name="connsiteY80" fmla="*/ 86758 h 147767"/>
              <a:gd name="connsiteX81" fmla="*/ 74332 w 152245"/>
              <a:gd name="connsiteY81" fmla="*/ 87206 h 147767"/>
              <a:gd name="connsiteX82" fmla="*/ 74332 w 152245"/>
              <a:gd name="connsiteY82" fmla="*/ 87653 h 147767"/>
              <a:gd name="connsiteX83" fmla="*/ 74332 w 152245"/>
              <a:gd name="connsiteY83" fmla="*/ 88101 h 147767"/>
              <a:gd name="connsiteX84" fmla="*/ 74332 w 152245"/>
              <a:gd name="connsiteY84" fmla="*/ 88549 h 147767"/>
              <a:gd name="connsiteX85" fmla="*/ 74332 w 152245"/>
              <a:gd name="connsiteY85" fmla="*/ 88549 h 147767"/>
              <a:gd name="connsiteX86" fmla="*/ 74780 w 152245"/>
              <a:gd name="connsiteY86" fmla="*/ 88997 h 147767"/>
              <a:gd name="connsiteX87" fmla="*/ 75227 w 152245"/>
              <a:gd name="connsiteY87" fmla="*/ 89445 h 147767"/>
              <a:gd name="connsiteX88" fmla="*/ 75227 w 152245"/>
              <a:gd name="connsiteY88" fmla="*/ 89445 h 147767"/>
              <a:gd name="connsiteX89" fmla="*/ 111050 w 152245"/>
              <a:gd name="connsiteY89" fmla="*/ 110042 h 147767"/>
              <a:gd name="connsiteX90" fmla="*/ 111050 w 152245"/>
              <a:gd name="connsiteY90" fmla="*/ 147208 h 147767"/>
              <a:gd name="connsiteX91" fmla="*/ 4478 w 152245"/>
              <a:gd name="connsiteY91" fmla="*/ 86758 h 147767"/>
              <a:gd name="connsiteX92" fmla="*/ 4478 w 152245"/>
              <a:gd name="connsiteY92" fmla="*/ 48696 h 147767"/>
              <a:gd name="connsiteX93" fmla="*/ 148216 w 152245"/>
              <a:gd name="connsiteY93" fmla="*/ 127506 h 147767"/>
              <a:gd name="connsiteX94" fmla="*/ 115528 w 152245"/>
              <a:gd name="connsiteY94" fmla="*/ 145865 h 147767"/>
              <a:gd name="connsiteX95" fmla="*/ 115528 w 152245"/>
              <a:gd name="connsiteY95" fmla="*/ 108699 h 147767"/>
              <a:gd name="connsiteX96" fmla="*/ 148216 w 152245"/>
              <a:gd name="connsiteY96" fmla="*/ 90340 h 147767"/>
              <a:gd name="connsiteX97" fmla="*/ 148216 w 152245"/>
              <a:gd name="connsiteY97" fmla="*/ 12750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52245" h="147767">
                <a:moveTo>
                  <a:pt x="152693" y="86758"/>
                </a:moveTo>
                <a:cubicBezTo>
                  <a:pt x="152693" y="86310"/>
                  <a:pt x="152693" y="86310"/>
                  <a:pt x="152693" y="85862"/>
                </a:cubicBezTo>
                <a:cubicBezTo>
                  <a:pt x="152693" y="85862"/>
                  <a:pt x="152693" y="85862"/>
                  <a:pt x="152693" y="85414"/>
                </a:cubicBezTo>
                <a:cubicBezTo>
                  <a:pt x="152693" y="84967"/>
                  <a:pt x="152246" y="84967"/>
                  <a:pt x="151798" y="84519"/>
                </a:cubicBezTo>
                <a:cubicBezTo>
                  <a:pt x="151798" y="84519"/>
                  <a:pt x="151798" y="84519"/>
                  <a:pt x="151798" y="84519"/>
                </a:cubicBezTo>
                <a:cubicBezTo>
                  <a:pt x="151798" y="84519"/>
                  <a:pt x="151798" y="84519"/>
                  <a:pt x="151798" y="84519"/>
                </a:cubicBezTo>
                <a:cubicBezTo>
                  <a:pt x="151798" y="84519"/>
                  <a:pt x="151798" y="84519"/>
                  <a:pt x="151798" y="84519"/>
                </a:cubicBezTo>
                <a:lnTo>
                  <a:pt x="115976" y="63921"/>
                </a:lnTo>
                <a:lnTo>
                  <a:pt x="115976" y="23173"/>
                </a:lnTo>
                <a:cubicBezTo>
                  <a:pt x="115976" y="22725"/>
                  <a:pt x="115976" y="22277"/>
                  <a:pt x="115528" y="22277"/>
                </a:cubicBezTo>
                <a:cubicBezTo>
                  <a:pt x="115528" y="22277"/>
                  <a:pt x="115528" y="22277"/>
                  <a:pt x="115528" y="21829"/>
                </a:cubicBezTo>
                <a:cubicBezTo>
                  <a:pt x="115528" y="21829"/>
                  <a:pt x="115080" y="21382"/>
                  <a:pt x="115080" y="21382"/>
                </a:cubicBezTo>
                <a:cubicBezTo>
                  <a:pt x="115080" y="21382"/>
                  <a:pt x="115080" y="21382"/>
                  <a:pt x="115080" y="21382"/>
                </a:cubicBezTo>
                <a:lnTo>
                  <a:pt x="77914" y="336"/>
                </a:lnTo>
                <a:cubicBezTo>
                  <a:pt x="77019" y="-112"/>
                  <a:pt x="76571" y="-112"/>
                  <a:pt x="75675" y="336"/>
                </a:cubicBezTo>
                <a:lnTo>
                  <a:pt x="38509" y="21382"/>
                </a:lnTo>
                <a:lnTo>
                  <a:pt x="1343" y="42427"/>
                </a:lnTo>
                <a:cubicBezTo>
                  <a:pt x="1343" y="42427"/>
                  <a:pt x="1343" y="42427"/>
                  <a:pt x="1343" y="42427"/>
                </a:cubicBezTo>
                <a:cubicBezTo>
                  <a:pt x="1343" y="42427"/>
                  <a:pt x="1343" y="42427"/>
                  <a:pt x="1343" y="42427"/>
                </a:cubicBezTo>
                <a:cubicBezTo>
                  <a:pt x="896" y="42427"/>
                  <a:pt x="896" y="42875"/>
                  <a:pt x="896" y="42875"/>
                </a:cubicBezTo>
                <a:cubicBezTo>
                  <a:pt x="896" y="42875"/>
                  <a:pt x="896" y="42875"/>
                  <a:pt x="448" y="43323"/>
                </a:cubicBezTo>
                <a:cubicBezTo>
                  <a:pt x="448" y="43771"/>
                  <a:pt x="0" y="44218"/>
                  <a:pt x="0" y="44666"/>
                </a:cubicBezTo>
                <a:lnTo>
                  <a:pt x="0" y="86758"/>
                </a:lnTo>
                <a:cubicBezTo>
                  <a:pt x="0" y="87653"/>
                  <a:pt x="448" y="88101"/>
                  <a:pt x="1343" y="88549"/>
                </a:cubicBezTo>
                <a:lnTo>
                  <a:pt x="112393" y="151686"/>
                </a:lnTo>
                <a:cubicBezTo>
                  <a:pt x="112841" y="151686"/>
                  <a:pt x="113289" y="152134"/>
                  <a:pt x="113289" y="152134"/>
                </a:cubicBezTo>
                <a:lnTo>
                  <a:pt x="113289" y="152134"/>
                </a:lnTo>
                <a:lnTo>
                  <a:pt x="113289" y="152134"/>
                </a:lnTo>
                <a:cubicBezTo>
                  <a:pt x="113289" y="152134"/>
                  <a:pt x="113289" y="152134"/>
                  <a:pt x="113289" y="152134"/>
                </a:cubicBezTo>
                <a:cubicBezTo>
                  <a:pt x="113737" y="152134"/>
                  <a:pt x="114184" y="152134"/>
                  <a:pt x="114184" y="151686"/>
                </a:cubicBezTo>
                <a:lnTo>
                  <a:pt x="114184" y="151686"/>
                </a:lnTo>
                <a:lnTo>
                  <a:pt x="151350" y="130640"/>
                </a:lnTo>
                <a:cubicBezTo>
                  <a:pt x="152246" y="130193"/>
                  <a:pt x="152693" y="129297"/>
                  <a:pt x="152693" y="128849"/>
                </a:cubicBezTo>
                <a:lnTo>
                  <a:pt x="152693" y="86758"/>
                </a:lnTo>
                <a:cubicBezTo>
                  <a:pt x="152693" y="86758"/>
                  <a:pt x="152693" y="86758"/>
                  <a:pt x="152693" y="86758"/>
                </a:cubicBezTo>
                <a:close/>
                <a:moveTo>
                  <a:pt x="113289" y="105117"/>
                </a:moveTo>
                <a:lnTo>
                  <a:pt x="81048" y="86758"/>
                </a:lnTo>
                <a:lnTo>
                  <a:pt x="113289" y="68399"/>
                </a:lnTo>
                <a:lnTo>
                  <a:pt x="145529" y="86758"/>
                </a:lnTo>
                <a:lnTo>
                  <a:pt x="113289" y="105117"/>
                </a:lnTo>
                <a:close/>
                <a:moveTo>
                  <a:pt x="7164" y="44666"/>
                </a:moveTo>
                <a:lnTo>
                  <a:pt x="37166" y="27651"/>
                </a:lnTo>
                <a:lnTo>
                  <a:pt x="37166" y="62130"/>
                </a:lnTo>
                <a:lnTo>
                  <a:pt x="17464" y="50935"/>
                </a:lnTo>
                <a:lnTo>
                  <a:pt x="7164" y="44666"/>
                </a:lnTo>
                <a:close/>
                <a:moveTo>
                  <a:pt x="111050" y="64369"/>
                </a:moveTo>
                <a:lnTo>
                  <a:pt x="78362" y="82728"/>
                </a:lnTo>
                <a:lnTo>
                  <a:pt x="78362" y="45562"/>
                </a:lnTo>
                <a:lnTo>
                  <a:pt x="110602" y="27203"/>
                </a:lnTo>
                <a:lnTo>
                  <a:pt x="111050" y="64369"/>
                </a:lnTo>
                <a:close/>
                <a:moveTo>
                  <a:pt x="76571" y="5261"/>
                </a:moveTo>
                <a:lnTo>
                  <a:pt x="108811" y="23621"/>
                </a:lnTo>
                <a:lnTo>
                  <a:pt x="76571" y="41980"/>
                </a:lnTo>
                <a:lnTo>
                  <a:pt x="44331" y="23621"/>
                </a:lnTo>
                <a:lnTo>
                  <a:pt x="76571" y="5261"/>
                </a:lnTo>
                <a:close/>
                <a:moveTo>
                  <a:pt x="4925" y="48696"/>
                </a:moveTo>
                <a:lnTo>
                  <a:pt x="17016" y="55413"/>
                </a:lnTo>
                <a:lnTo>
                  <a:pt x="38509" y="67503"/>
                </a:lnTo>
                <a:cubicBezTo>
                  <a:pt x="38509" y="67503"/>
                  <a:pt x="38509" y="67503"/>
                  <a:pt x="38509" y="67503"/>
                </a:cubicBezTo>
                <a:cubicBezTo>
                  <a:pt x="38509" y="67503"/>
                  <a:pt x="38957" y="67503"/>
                  <a:pt x="38957" y="67503"/>
                </a:cubicBezTo>
                <a:cubicBezTo>
                  <a:pt x="38957" y="67503"/>
                  <a:pt x="39405" y="67503"/>
                  <a:pt x="39405" y="67503"/>
                </a:cubicBezTo>
                <a:cubicBezTo>
                  <a:pt x="39405" y="67503"/>
                  <a:pt x="39405" y="67503"/>
                  <a:pt x="39405" y="67503"/>
                </a:cubicBezTo>
                <a:cubicBezTo>
                  <a:pt x="39405" y="67503"/>
                  <a:pt x="39405" y="67503"/>
                  <a:pt x="39405" y="67503"/>
                </a:cubicBezTo>
                <a:lnTo>
                  <a:pt x="39405" y="67503"/>
                </a:lnTo>
                <a:lnTo>
                  <a:pt x="39405" y="67503"/>
                </a:lnTo>
                <a:cubicBezTo>
                  <a:pt x="39405" y="67503"/>
                  <a:pt x="39405" y="67503"/>
                  <a:pt x="39853" y="67503"/>
                </a:cubicBezTo>
                <a:cubicBezTo>
                  <a:pt x="39853" y="67503"/>
                  <a:pt x="40300" y="67503"/>
                  <a:pt x="40300" y="67503"/>
                </a:cubicBezTo>
                <a:cubicBezTo>
                  <a:pt x="40300" y="67503"/>
                  <a:pt x="40300" y="67503"/>
                  <a:pt x="40748" y="67503"/>
                </a:cubicBezTo>
                <a:cubicBezTo>
                  <a:pt x="40748" y="67503"/>
                  <a:pt x="40748" y="67503"/>
                  <a:pt x="40748" y="67503"/>
                </a:cubicBezTo>
                <a:cubicBezTo>
                  <a:pt x="40748" y="67503"/>
                  <a:pt x="40748" y="67503"/>
                  <a:pt x="41196" y="67503"/>
                </a:cubicBezTo>
                <a:cubicBezTo>
                  <a:pt x="41196" y="67503"/>
                  <a:pt x="41196" y="67055"/>
                  <a:pt x="41644" y="67055"/>
                </a:cubicBezTo>
                <a:cubicBezTo>
                  <a:pt x="41644" y="67055"/>
                  <a:pt x="41644" y="67055"/>
                  <a:pt x="41644" y="67055"/>
                </a:cubicBezTo>
                <a:cubicBezTo>
                  <a:pt x="41644" y="67055"/>
                  <a:pt x="41644" y="67055"/>
                  <a:pt x="41644" y="67055"/>
                </a:cubicBezTo>
                <a:cubicBezTo>
                  <a:pt x="41644" y="67055"/>
                  <a:pt x="41644" y="67055"/>
                  <a:pt x="41644" y="67055"/>
                </a:cubicBezTo>
                <a:cubicBezTo>
                  <a:pt x="41644" y="67055"/>
                  <a:pt x="41644" y="66607"/>
                  <a:pt x="41644" y="66607"/>
                </a:cubicBezTo>
                <a:cubicBezTo>
                  <a:pt x="41644" y="66607"/>
                  <a:pt x="41644" y="66160"/>
                  <a:pt x="41644" y="66160"/>
                </a:cubicBezTo>
                <a:cubicBezTo>
                  <a:pt x="41644" y="66160"/>
                  <a:pt x="41644" y="66160"/>
                  <a:pt x="41644" y="66160"/>
                </a:cubicBezTo>
                <a:lnTo>
                  <a:pt x="41644" y="27651"/>
                </a:lnTo>
                <a:lnTo>
                  <a:pt x="74332" y="46010"/>
                </a:lnTo>
                <a:lnTo>
                  <a:pt x="74332" y="86310"/>
                </a:lnTo>
                <a:cubicBezTo>
                  <a:pt x="74332" y="86310"/>
                  <a:pt x="74332" y="86310"/>
                  <a:pt x="74332" y="86758"/>
                </a:cubicBezTo>
                <a:cubicBezTo>
                  <a:pt x="74332" y="86758"/>
                  <a:pt x="74332" y="87206"/>
                  <a:pt x="74332" y="87206"/>
                </a:cubicBezTo>
                <a:cubicBezTo>
                  <a:pt x="74332" y="87206"/>
                  <a:pt x="74332" y="87653"/>
                  <a:pt x="74332" y="87653"/>
                </a:cubicBezTo>
                <a:cubicBezTo>
                  <a:pt x="74332" y="87653"/>
                  <a:pt x="74332" y="88101"/>
                  <a:pt x="74332" y="88101"/>
                </a:cubicBezTo>
                <a:cubicBezTo>
                  <a:pt x="74332" y="88101"/>
                  <a:pt x="74332" y="88101"/>
                  <a:pt x="74332" y="88549"/>
                </a:cubicBezTo>
                <a:cubicBezTo>
                  <a:pt x="74332" y="88549"/>
                  <a:pt x="74332" y="88549"/>
                  <a:pt x="74332" y="88549"/>
                </a:cubicBezTo>
                <a:cubicBezTo>
                  <a:pt x="74332" y="88549"/>
                  <a:pt x="74332" y="88997"/>
                  <a:pt x="74780" y="88997"/>
                </a:cubicBezTo>
                <a:cubicBezTo>
                  <a:pt x="75227" y="88997"/>
                  <a:pt x="74780" y="88997"/>
                  <a:pt x="75227" y="89445"/>
                </a:cubicBezTo>
                <a:cubicBezTo>
                  <a:pt x="75227" y="89445"/>
                  <a:pt x="75227" y="89445"/>
                  <a:pt x="75227" y="89445"/>
                </a:cubicBezTo>
                <a:lnTo>
                  <a:pt x="111050" y="110042"/>
                </a:lnTo>
                <a:lnTo>
                  <a:pt x="111050" y="147208"/>
                </a:lnTo>
                <a:lnTo>
                  <a:pt x="4478" y="86758"/>
                </a:lnTo>
                <a:lnTo>
                  <a:pt x="4478" y="48696"/>
                </a:lnTo>
                <a:close/>
                <a:moveTo>
                  <a:pt x="148216" y="127506"/>
                </a:moveTo>
                <a:lnTo>
                  <a:pt x="115528" y="145865"/>
                </a:lnTo>
                <a:lnTo>
                  <a:pt x="115528" y="108699"/>
                </a:lnTo>
                <a:lnTo>
                  <a:pt x="148216" y="90340"/>
                </a:lnTo>
                <a:lnTo>
                  <a:pt x="148216" y="127506"/>
                </a:lnTo>
                <a:close/>
              </a:path>
            </a:pathLst>
          </a:custGeom>
          <a:solidFill>
            <a:srgbClr val="231F20"/>
          </a:solidFill>
          <a:ln w="4474" cap="flat">
            <a:noFill/>
            <a:prstDash val="solid"/>
            <a:miter/>
          </a:ln>
        </p:spPr>
        <p:txBody>
          <a:bodyPr rtlCol="0" anchor="ctr"/>
          <a:lstStyle/>
          <a:p>
            <a:endParaRPr lang="en-US"/>
          </a:p>
        </p:txBody>
      </p:sp>
      <p:grpSp>
        <p:nvGrpSpPr>
          <p:cNvPr id="4309" name="Group 4308">
            <a:extLst>
              <a:ext uri="{FF2B5EF4-FFF2-40B4-BE49-F238E27FC236}">
                <a16:creationId xmlns:a16="http://schemas.microsoft.com/office/drawing/2014/main" id="{034D2B7D-C3C0-470C-B0E6-2029375A5FE6}"/>
              </a:ext>
              <a:ext uri="{C183D7F6-B498-43B3-948B-1728B52AA6E4}">
                <adec:decorative xmlns:adec="http://schemas.microsoft.com/office/drawing/2017/decorative" val="1"/>
              </a:ext>
            </a:extLst>
          </p:cNvPr>
          <p:cNvGrpSpPr>
            <a:grpSpLocks noChangeAspect="1"/>
          </p:cNvGrpSpPr>
          <p:nvPr/>
        </p:nvGrpSpPr>
        <p:grpSpPr>
          <a:xfrm>
            <a:off x="4758536" y="3961344"/>
            <a:ext cx="147768" cy="111945"/>
            <a:chOff x="4799290" y="3225905"/>
            <a:chExt cx="147768" cy="111945"/>
          </a:xfrm>
        </p:grpSpPr>
        <p:sp>
          <p:nvSpPr>
            <p:cNvPr id="4310" name="Freeform: Shape 4309">
              <a:extLst>
                <a:ext uri="{FF2B5EF4-FFF2-40B4-BE49-F238E27FC236}">
                  <a16:creationId xmlns:a16="http://schemas.microsoft.com/office/drawing/2014/main" id="{0FEE0398-7AD0-4CC4-A29F-67525FC9F95F}"/>
                </a:ext>
              </a:extLst>
            </p:cNvPr>
            <p:cNvSpPr/>
            <p:nvPr/>
          </p:nvSpPr>
          <p:spPr>
            <a:xfrm>
              <a:off x="4799290" y="3225905"/>
              <a:ext cx="147768" cy="111945"/>
            </a:xfrm>
            <a:custGeom>
              <a:avLst/>
              <a:gdLst>
                <a:gd name="connsiteX0" fmla="*/ 150007 w 147767"/>
                <a:gd name="connsiteY0" fmla="*/ 0 h 111945"/>
                <a:gd name="connsiteX1" fmla="*/ 2239 w 147767"/>
                <a:gd name="connsiteY1" fmla="*/ 0 h 111945"/>
                <a:gd name="connsiteX2" fmla="*/ 0 w 147767"/>
                <a:gd name="connsiteY2" fmla="*/ 2239 h 111945"/>
                <a:gd name="connsiteX3" fmla="*/ 0 w 147767"/>
                <a:gd name="connsiteY3" fmla="*/ 96273 h 111945"/>
                <a:gd name="connsiteX4" fmla="*/ 2239 w 147767"/>
                <a:gd name="connsiteY4" fmla="*/ 98512 h 111945"/>
                <a:gd name="connsiteX5" fmla="*/ 73884 w 147767"/>
                <a:gd name="connsiteY5" fmla="*/ 98512 h 111945"/>
                <a:gd name="connsiteX6" fmla="*/ 73884 w 147767"/>
                <a:gd name="connsiteY6" fmla="*/ 107468 h 111945"/>
                <a:gd name="connsiteX7" fmla="*/ 63137 w 147767"/>
                <a:gd name="connsiteY7" fmla="*/ 107468 h 111945"/>
                <a:gd name="connsiteX8" fmla="*/ 60898 w 147767"/>
                <a:gd name="connsiteY8" fmla="*/ 109707 h 111945"/>
                <a:gd name="connsiteX9" fmla="*/ 63137 w 147767"/>
                <a:gd name="connsiteY9" fmla="*/ 111946 h 111945"/>
                <a:gd name="connsiteX10" fmla="*/ 88661 w 147767"/>
                <a:gd name="connsiteY10" fmla="*/ 111946 h 111945"/>
                <a:gd name="connsiteX11" fmla="*/ 90900 w 147767"/>
                <a:gd name="connsiteY11" fmla="*/ 109707 h 111945"/>
                <a:gd name="connsiteX12" fmla="*/ 88661 w 147767"/>
                <a:gd name="connsiteY12" fmla="*/ 107468 h 111945"/>
                <a:gd name="connsiteX13" fmla="*/ 77914 w 147767"/>
                <a:gd name="connsiteY13" fmla="*/ 107468 h 111945"/>
                <a:gd name="connsiteX14" fmla="*/ 77914 w 147767"/>
                <a:gd name="connsiteY14" fmla="*/ 98512 h 111945"/>
                <a:gd name="connsiteX15" fmla="*/ 149559 w 147767"/>
                <a:gd name="connsiteY15" fmla="*/ 98512 h 111945"/>
                <a:gd name="connsiteX16" fmla="*/ 151798 w 147767"/>
                <a:gd name="connsiteY16" fmla="*/ 96273 h 111945"/>
                <a:gd name="connsiteX17" fmla="*/ 151798 w 147767"/>
                <a:gd name="connsiteY17" fmla="*/ 2239 h 111945"/>
                <a:gd name="connsiteX18" fmla="*/ 150007 w 147767"/>
                <a:gd name="connsiteY18" fmla="*/ 0 h 111945"/>
                <a:gd name="connsiteX19" fmla="*/ 147768 w 147767"/>
                <a:gd name="connsiteY19" fmla="*/ 94034 h 111945"/>
                <a:gd name="connsiteX20" fmla="*/ 4478 w 147767"/>
                <a:gd name="connsiteY20" fmla="*/ 94034 h 111945"/>
                <a:gd name="connsiteX21" fmla="*/ 4478 w 147767"/>
                <a:gd name="connsiteY21" fmla="*/ 4478 h 111945"/>
                <a:gd name="connsiteX22" fmla="*/ 147768 w 147767"/>
                <a:gd name="connsiteY22" fmla="*/ 4478 h 111945"/>
                <a:gd name="connsiteX23" fmla="*/ 147768 w 147767"/>
                <a:gd name="connsiteY23" fmla="*/ 94034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7767" h="111945">
                  <a:moveTo>
                    <a:pt x="150007" y="0"/>
                  </a:moveTo>
                  <a:lnTo>
                    <a:pt x="2239" y="0"/>
                  </a:lnTo>
                  <a:cubicBezTo>
                    <a:pt x="895" y="0"/>
                    <a:pt x="0" y="896"/>
                    <a:pt x="0" y="2239"/>
                  </a:cubicBezTo>
                  <a:lnTo>
                    <a:pt x="0" y="96273"/>
                  </a:lnTo>
                  <a:cubicBezTo>
                    <a:pt x="0" y="97616"/>
                    <a:pt x="895" y="98512"/>
                    <a:pt x="2239" y="98512"/>
                  </a:cubicBezTo>
                  <a:lnTo>
                    <a:pt x="73884" y="98512"/>
                  </a:lnTo>
                  <a:lnTo>
                    <a:pt x="73884" y="107468"/>
                  </a:lnTo>
                  <a:lnTo>
                    <a:pt x="63137" y="107468"/>
                  </a:lnTo>
                  <a:cubicBezTo>
                    <a:pt x="61794" y="107468"/>
                    <a:pt x="60898" y="108363"/>
                    <a:pt x="60898" y="109707"/>
                  </a:cubicBezTo>
                  <a:cubicBezTo>
                    <a:pt x="60898" y="111050"/>
                    <a:pt x="61794" y="111946"/>
                    <a:pt x="63137" y="111946"/>
                  </a:cubicBezTo>
                  <a:lnTo>
                    <a:pt x="88661" y="111946"/>
                  </a:lnTo>
                  <a:cubicBezTo>
                    <a:pt x="90004" y="111946"/>
                    <a:pt x="90900" y="111050"/>
                    <a:pt x="90900" y="109707"/>
                  </a:cubicBezTo>
                  <a:cubicBezTo>
                    <a:pt x="90900" y="108363"/>
                    <a:pt x="90004" y="107468"/>
                    <a:pt x="88661" y="107468"/>
                  </a:cubicBezTo>
                  <a:lnTo>
                    <a:pt x="77914" y="107468"/>
                  </a:lnTo>
                  <a:lnTo>
                    <a:pt x="77914" y="98512"/>
                  </a:lnTo>
                  <a:lnTo>
                    <a:pt x="149559" y="98512"/>
                  </a:lnTo>
                  <a:cubicBezTo>
                    <a:pt x="150902" y="98512"/>
                    <a:pt x="151798" y="97616"/>
                    <a:pt x="151798" y="96273"/>
                  </a:cubicBezTo>
                  <a:lnTo>
                    <a:pt x="151798" y="2239"/>
                  </a:lnTo>
                  <a:cubicBezTo>
                    <a:pt x="152246" y="1343"/>
                    <a:pt x="150902" y="0"/>
                    <a:pt x="150007" y="0"/>
                  </a:cubicBezTo>
                  <a:close/>
                  <a:moveTo>
                    <a:pt x="147768" y="94034"/>
                  </a:moveTo>
                  <a:lnTo>
                    <a:pt x="4478" y="94034"/>
                  </a:lnTo>
                  <a:lnTo>
                    <a:pt x="4478" y="4478"/>
                  </a:lnTo>
                  <a:lnTo>
                    <a:pt x="147768" y="4478"/>
                  </a:lnTo>
                  <a:lnTo>
                    <a:pt x="147768" y="94034"/>
                  </a:lnTo>
                  <a:close/>
                </a:path>
              </a:pathLst>
            </a:custGeom>
            <a:solidFill>
              <a:srgbClr val="231F20"/>
            </a:solidFill>
            <a:ln w="4474" cap="flat">
              <a:noFill/>
              <a:prstDash val="solid"/>
              <a:miter/>
            </a:ln>
          </p:spPr>
          <p:txBody>
            <a:bodyPr rtlCol="0" anchor="ctr"/>
            <a:lstStyle/>
            <a:p>
              <a:endParaRPr lang="en-US"/>
            </a:p>
          </p:txBody>
        </p:sp>
        <p:sp>
          <p:nvSpPr>
            <p:cNvPr id="4311" name="Freeform: Shape 4310">
              <a:extLst>
                <a:ext uri="{FF2B5EF4-FFF2-40B4-BE49-F238E27FC236}">
                  <a16:creationId xmlns:a16="http://schemas.microsoft.com/office/drawing/2014/main" id="{ADD6F07A-8F7B-4B82-8040-60BF17F7C43F}"/>
                </a:ext>
              </a:extLst>
            </p:cNvPr>
            <p:cNvSpPr/>
            <p:nvPr/>
          </p:nvSpPr>
          <p:spPr>
            <a:xfrm>
              <a:off x="4839590" y="3232734"/>
              <a:ext cx="67167" cy="80601"/>
            </a:xfrm>
            <a:custGeom>
              <a:avLst/>
              <a:gdLst>
                <a:gd name="connsiteX0" fmla="*/ 71197 w 67167"/>
                <a:gd name="connsiteY0" fmla="*/ 21382 h 80600"/>
                <a:gd name="connsiteX1" fmla="*/ 71197 w 67167"/>
                <a:gd name="connsiteY1" fmla="*/ 21382 h 80600"/>
                <a:gd name="connsiteX2" fmla="*/ 70302 w 67167"/>
                <a:gd name="connsiteY2" fmla="*/ 20486 h 80600"/>
                <a:gd name="connsiteX3" fmla="*/ 70302 w 67167"/>
                <a:gd name="connsiteY3" fmla="*/ 20486 h 80600"/>
                <a:gd name="connsiteX4" fmla="*/ 36718 w 67167"/>
                <a:gd name="connsiteY4" fmla="*/ 336 h 80600"/>
                <a:gd name="connsiteX5" fmla="*/ 34479 w 67167"/>
                <a:gd name="connsiteY5" fmla="*/ 336 h 80600"/>
                <a:gd name="connsiteX6" fmla="*/ 895 w 67167"/>
                <a:gd name="connsiteY6" fmla="*/ 20486 h 80600"/>
                <a:gd name="connsiteX7" fmla="*/ 0 w 67167"/>
                <a:gd name="connsiteY7" fmla="*/ 21382 h 80600"/>
                <a:gd name="connsiteX8" fmla="*/ 0 w 67167"/>
                <a:gd name="connsiteY8" fmla="*/ 21829 h 80600"/>
                <a:gd name="connsiteX9" fmla="*/ 0 w 67167"/>
                <a:gd name="connsiteY9" fmla="*/ 22725 h 80600"/>
                <a:gd name="connsiteX10" fmla="*/ 0 w 67167"/>
                <a:gd name="connsiteY10" fmla="*/ 22725 h 80600"/>
                <a:gd name="connsiteX11" fmla="*/ 0 w 67167"/>
                <a:gd name="connsiteY11" fmla="*/ 62578 h 80600"/>
                <a:gd name="connsiteX12" fmla="*/ 895 w 67167"/>
                <a:gd name="connsiteY12" fmla="*/ 64369 h 80600"/>
                <a:gd name="connsiteX13" fmla="*/ 34479 w 67167"/>
                <a:gd name="connsiteY13" fmla="*/ 84519 h 80600"/>
                <a:gd name="connsiteX14" fmla="*/ 34479 w 67167"/>
                <a:gd name="connsiteY14" fmla="*/ 84519 h 80600"/>
                <a:gd name="connsiteX15" fmla="*/ 35375 w 67167"/>
                <a:gd name="connsiteY15" fmla="*/ 84967 h 80600"/>
                <a:gd name="connsiteX16" fmla="*/ 35375 w 67167"/>
                <a:gd name="connsiteY16" fmla="*/ 84967 h 80600"/>
                <a:gd name="connsiteX17" fmla="*/ 35375 w 67167"/>
                <a:gd name="connsiteY17" fmla="*/ 84967 h 80600"/>
                <a:gd name="connsiteX18" fmla="*/ 35375 w 67167"/>
                <a:gd name="connsiteY18" fmla="*/ 84967 h 80600"/>
                <a:gd name="connsiteX19" fmla="*/ 35375 w 67167"/>
                <a:gd name="connsiteY19" fmla="*/ 84967 h 80600"/>
                <a:gd name="connsiteX20" fmla="*/ 36270 w 67167"/>
                <a:gd name="connsiteY20" fmla="*/ 84519 h 80600"/>
                <a:gd name="connsiteX21" fmla="*/ 36270 w 67167"/>
                <a:gd name="connsiteY21" fmla="*/ 84519 h 80600"/>
                <a:gd name="connsiteX22" fmla="*/ 36270 w 67167"/>
                <a:gd name="connsiteY22" fmla="*/ 84519 h 80600"/>
                <a:gd name="connsiteX23" fmla="*/ 69854 w 67167"/>
                <a:gd name="connsiteY23" fmla="*/ 64369 h 80600"/>
                <a:gd name="connsiteX24" fmla="*/ 70749 w 67167"/>
                <a:gd name="connsiteY24" fmla="*/ 62578 h 80600"/>
                <a:gd name="connsiteX25" fmla="*/ 70749 w 67167"/>
                <a:gd name="connsiteY25" fmla="*/ 22725 h 80600"/>
                <a:gd name="connsiteX26" fmla="*/ 71197 w 67167"/>
                <a:gd name="connsiteY26" fmla="*/ 21382 h 80600"/>
                <a:gd name="connsiteX27" fmla="*/ 35823 w 67167"/>
                <a:gd name="connsiteY27" fmla="*/ 4814 h 80600"/>
                <a:gd name="connsiteX28" fmla="*/ 64928 w 67167"/>
                <a:gd name="connsiteY28" fmla="*/ 22277 h 80600"/>
                <a:gd name="connsiteX29" fmla="*/ 35823 w 67167"/>
                <a:gd name="connsiteY29" fmla="*/ 39741 h 80600"/>
                <a:gd name="connsiteX30" fmla="*/ 6717 w 67167"/>
                <a:gd name="connsiteY30" fmla="*/ 22277 h 80600"/>
                <a:gd name="connsiteX31" fmla="*/ 35823 w 67167"/>
                <a:gd name="connsiteY31" fmla="*/ 4814 h 80600"/>
                <a:gd name="connsiteX32" fmla="*/ 33584 w 67167"/>
                <a:gd name="connsiteY32" fmla="*/ 78250 h 80600"/>
                <a:gd name="connsiteX33" fmla="*/ 4478 w 67167"/>
                <a:gd name="connsiteY33" fmla="*/ 60786 h 80600"/>
                <a:gd name="connsiteX34" fmla="*/ 4478 w 67167"/>
                <a:gd name="connsiteY34" fmla="*/ 25859 h 80600"/>
                <a:gd name="connsiteX35" fmla="*/ 33584 w 67167"/>
                <a:gd name="connsiteY35" fmla="*/ 43323 h 80600"/>
                <a:gd name="connsiteX36" fmla="*/ 33584 w 67167"/>
                <a:gd name="connsiteY36" fmla="*/ 78250 h 80600"/>
                <a:gd name="connsiteX37" fmla="*/ 38061 w 67167"/>
                <a:gd name="connsiteY37" fmla="*/ 78250 h 80600"/>
                <a:gd name="connsiteX38" fmla="*/ 38061 w 67167"/>
                <a:gd name="connsiteY38" fmla="*/ 43323 h 80600"/>
                <a:gd name="connsiteX39" fmla="*/ 67167 w 67167"/>
                <a:gd name="connsiteY39" fmla="*/ 25859 h 80600"/>
                <a:gd name="connsiteX40" fmla="*/ 67167 w 67167"/>
                <a:gd name="connsiteY40" fmla="*/ 60786 h 80600"/>
                <a:gd name="connsiteX41" fmla="*/ 38061 w 67167"/>
                <a:gd name="connsiteY41" fmla="*/ 7825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7167" h="80600">
                  <a:moveTo>
                    <a:pt x="71197" y="21382"/>
                  </a:moveTo>
                  <a:cubicBezTo>
                    <a:pt x="71197" y="21382"/>
                    <a:pt x="71197" y="21382"/>
                    <a:pt x="71197" y="21382"/>
                  </a:cubicBezTo>
                  <a:cubicBezTo>
                    <a:pt x="70749" y="20934"/>
                    <a:pt x="70749" y="20934"/>
                    <a:pt x="70302" y="20486"/>
                  </a:cubicBezTo>
                  <a:cubicBezTo>
                    <a:pt x="70302" y="20486"/>
                    <a:pt x="70302" y="20486"/>
                    <a:pt x="70302" y="20486"/>
                  </a:cubicBezTo>
                  <a:lnTo>
                    <a:pt x="36718" y="336"/>
                  </a:lnTo>
                  <a:cubicBezTo>
                    <a:pt x="35823" y="-112"/>
                    <a:pt x="34927" y="-112"/>
                    <a:pt x="34479" y="336"/>
                  </a:cubicBezTo>
                  <a:lnTo>
                    <a:pt x="895" y="20486"/>
                  </a:lnTo>
                  <a:cubicBezTo>
                    <a:pt x="448" y="20486"/>
                    <a:pt x="448" y="20934"/>
                    <a:pt x="0" y="21382"/>
                  </a:cubicBezTo>
                  <a:cubicBezTo>
                    <a:pt x="0" y="21382"/>
                    <a:pt x="0" y="21382"/>
                    <a:pt x="0" y="21829"/>
                  </a:cubicBezTo>
                  <a:cubicBezTo>
                    <a:pt x="0" y="22277"/>
                    <a:pt x="0" y="22277"/>
                    <a:pt x="0" y="22725"/>
                  </a:cubicBezTo>
                  <a:cubicBezTo>
                    <a:pt x="0" y="22725"/>
                    <a:pt x="0" y="22725"/>
                    <a:pt x="0" y="22725"/>
                  </a:cubicBezTo>
                  <a:lnTo>
                    <a:pt x="0" y="62578"/>
                  </a:lnTo>
                  <a:cubicBezTo>
                    <a:pt x="0" y="63473"/>
                    <a:pt x="448" y="63921"/>
                    <a:pt x="895" y="64369"/>
                  </a:cubicBezTo>
                  <a:lnTo>
                    <a:pt x="34479" y="84519"/>
                  </a:lnTo>
                  <a:cubicBezTo>
                    <a:pt x="34479" y="84519"/>
                    <a:pt x="34479" y="84519"/>
                    <a:pt x="34479" y="84519"/>
                  </a:cubicBezTo>
                  <a:cubicBezTo>
                    <a:pt x="34927" y="84519"/>
                    <a:pt x="35375" y="84967"/>
                    <a:pt x="35375" y="84967"/>
                  </a:cubicBezTo>
                  <a:lnTo>
                    <a:pt x="35375" y="84967"/>
                  </a:lnTo>
                  <a:lnTo>
                    <a:pt x="35375" y="84967"/>
                  </a:lnTo>
                  <a:cubicBezTo>
                    <a:pt x="35375" y="84967"/>
                    <a:pt x="35375" y="84967"/>
                    <a:pt x="35375" y="84967"/>
                  </a:cubicBezTo>
                  <a:cubicBezTo>
                    <a:pt x="35375" y="84967"/>
                    <a:pt x="35375" y="84967"/>
                    <a:pt x="35375" y="84967"/>
                  </a:cubicBezTo>
                  <a:cubicBezTo>
                    <a:pt x="35823" y="84967"/>
                    <a:pt x="36270" y="84967"/>
                    <a:pt x="36270" y="84519"/>
                  </a:cubicBezTo>
                  <a:cubicBezTo>
                    <a:pt x="36270" y="84519"/>
                    <a:pt x="36270" y="84519"/>
                    <a:pt x="36270" y="84519"/>
                  </a:cubicBezTo>
                  <a:cubicBezTo>
                    <a:pt x="36270" y="84519"/>
                    <a:pt x="36270" y="84519"/>
                    <a:pt x="36270" y="84519"/>
                  </a:cubicBezTo>
                  <a:lnTo>
                    <a:pt x="69854" y="64369"/>
                  </a:lnTo>
                  <a:cubicBezTo>
                    <a:pt x="70749" y="63921"/>
                    <a:pt x="70749" y="63025"/>
                    <a:pt x="70749" y="62578"/>
                  </a:cubicBezTo>
                  <a:lnTo>
                    <a:pt x="70749" y="22725"/>
                  </a:lnTo>
                  <a:cubicBezTo>
                    <a:pt x="71645" y="21829"/>
                    <a:pt x="71197" y="21829"/>
                    <a:pt x="71197" y="21382"/>
                  </a:cubicBezTo>
                  <a:close/>
                  <a:moveTo>
                    <a:pt x="35823" y="4814"/>
                  </a:moveTo>
                  <a:lnTo>
                    <a:pt x="64928" y="22277"/>
                  </a:lnTo>
                  <a:lnTo>
                    <a:pt x="35823" y="39741"/>
                  </a:lnTo>
                  <a:lnTo>
                    <a:pt x="6717" y="22277"/>
                  </a:lnTo>
                  <a:lnTo>
                    <a:pt x="35823" y="4814"/>
                  </a:lnTo>
                  <a:close/>
                  <a:moveTo>
                    <a:pt x="33584" y="78250"/>
                  </a:moveTo>
                  <a:lnTo>
                    <a:pt x="4478" y="60786"/>
                  </a:lnTo>
                  <a:lnTo>
                    <a:pt x="4478" y="25859"/>
                  </a:lnTo>
                  <a:lnTo>
                    <a:pt x="33584" y="43323"/>
                  </a:lnTo>
                  <a:lnTo>
                    <a:pt x="33584" y="78250"/>
                  </a:lnTo>
                  <a:close/>
                  <a:moveTo>
                    <a:pt x="38061" y="78250"/>
                  </a:moveTo>
                  <a:lnTo>
                    <a:pt x="38061" y="43323"/>
                  </a:lnTo>
                  <a:lnTo>
                    <a:pt x="67167" y="25859"/>
                  </a:lnTo>
                  <a:lnTo>
                    <a:pt x="67167" y="60786"/>
                  </a:lnTo>
                  <a:lnTo>
                    <a:pt x="38061" y="78250"/>
                  </a:lnTo>
                  <a:close/>
                </a:path>
              </a:pathLst>
            </a:custGeom>
            <a:solidFill>
              <a:srgbClr val="231F20"/>
            </a:solidFill>
            <a:ln w="4474" cap="flat">
              <a:noFill/>
              <a:prstDash val="solid"/>
              <a:miter/>
            </a:ln>
          </p:spPr>
          <p:txBody>
            <a:bodyPr rtlCol="0" anchor="ctr"/>
            <a:lstStyle/>
            <a:p>
              <a:endParaRPr lang="en-US"/>
            </a:p>
          </p:txBody>
        </p:sp>
      </p:grpSp>
      <p:sp>
        <p:nvSpPr>
          <p:cNvPr id="4312" name="Freeform: Shape 4311">
            <a:extLst>
              <a:ext uri="{FF2B5EF4-FFF2-40B4-BE49-F238E27FC236}">
                <a16:creationId xmlns:a16="http://schemas.microsoft.com/office/drawing/2014/main" id="{A9695B03-BE23-45AA-9EB0-25288AD7CD35}"/>
              </a:ext>
              <a:ext uri="{C183D7F6-B498-43B3-948B-1728B52AA6E4}">
                <adec:decorative xmlns:adec="http://schemas.microsoft.com/office/drawing/2017/decorative" val="1"/>
              </a:ext>
            </a:extLst>
          </p:cNvPr>
          <p:cNvSpPr>
            <a:spLocks noChangeAspect="1"/>
          </p:cNvSpPr>
          <p:nvPr/>
        </p:nvSpPr>
        <p:spPr>
          <a:xfrm>
            <a:off x="4228810" y="3947911"/>
            <a:ext cx="138812" cy="134335"/>
          </a:xfrm>
          <a:custGeom>
            <a:avLst/>
            <a:gdLst>
              <a:gd name="connsiteX0" fmla="*/ 138365 w 138812"/>
              <a:gd name="connsiteY0" fmla="*/ 96273 h 134334"/>
              <a:gd name="connsiteX1" fmla="*/ 138365 w 138812"/>
              <a:gd name="connsiteY1" fmla="*/ 2239 h 134334"/>
              <a:gd name="connsiteX2" fmla="*/ 138365 w 138812"/>
              <a:gd name="connsiteY2" fmla="*/ 2239 h 134334"/>
              <a:gd name="connsiteX3" fmla="*/ 138365 w 138812"/>
              <a:gd name="connsiteY3" fmla="*/ 1343 h 134334"/>
              <a:gd name="connsiteX4" fmla="*/ 137917 w 138812"/>
              <a:gd name="connsiteY4" fmla="*/ 448 h 134334"/>
              <a:gd name="connsiteX5" fmla="*/ 137917 w 138812"/>
              <a:gd name="connsiteY5" fmla="*/ 448 h 134334"/>
              <a:gd name="connsiteX6" fmla="*/ 137917 w 138812"/>
              <a:gd name="connsiteY6" fmla="*/ 448 h 134334"/>
              <a:gd name="connsiteX7" fmla="*/ 137469 w 138812"/>
              <a:gd name="connsiteY7" fmla="*/ 0 h 134334"/>
              <a:gd name="connsiteX8" fmla="*/ 136573 w 138812"/>
              <a:gd name="connsiteY8" fmla="*/ 0 h 134334"/>
              <a:gd name="connsiteX9" fmla="*/ 136573 w 138812"/>
              <a:gd name="connsiteY9" fmla="*/ 0 h 134334"/>
              <a:gd name="connsiteX10" fmla="*/ 136573 w 138812"/>
              <a:gd name="connsiteY10" fmla="*/ 0 h 134334"/>
              <a:gd name="connsiteX11" fmla="*/ 136573 w 138812"/>
              <a:gd name="connsiteY11" fmla="*/ 0 h 134334"/>
              <a:gd name="connsiteX12" fmla="*/ 42539 w 138812"/>
              <a:gd name="connsiteY12" fmla="*/ 0 h 134334"/>
              <a:gd name="connsiteX13" fmla="*/ 42539 w 138812"/>
              <a:gd name="connsiteY13" fmla="*/ 0 h 134334"/>
              <a:gd name="connsiteX14" fmla="*/ 41644 w 138812"/>
              <a:gd name="connsiteY14" fmla="*/ 0 h 134334"/>
              <a:gd name="connsiteX15" fmla="*/ 40748 w 138812"/>
              <a:gd name="connsiteY15" fmla="*/ 448 h 134334"/>
              <a:gd name="connsiteX16" fmla="*/ 40748 w 138812"/>
              <a:gd name="connsiteY16" fmla="*/ 448 h 134334"/>
              <a:gd name="connsiteX17" fmla="*/ 896 w 138812"/>
              <a:gd name="connsiteY17" fmla="*/ 40300 h 134334"/>
              <a:gd name="connsiteX18" fmla="*/ 0 w 138812"/>
              <a:gd name="connsiteY18" fmla="*/ 42091 h 134334"/>
              <a:gd name="connsiteX19" fmla="*/ 0 w 138812"/>
              <a:gd name="connsiteY19" fmla="*/ 136126 h 134334"/>
              <a:gd name="connsiteX20" fmla="*/ 2239 w 138812"/>
              <a:gd name="connsiteY20" fmla="*/ 138365 h 134334"/>
              <a:gd name="connsiteX21" fmla="*/ 96273 w 138812"/>
              <a:gd name="connsiteY21" fmla="*/ 138365 h 134334"/>
              <a:gd name="connsiteX22" fmla="*/ 97169 w 138812"/>
              <a:gd name="connsiteY22" fmla="*/ 138365 h 134334"/>
              <a:gd name="connsiteX23" fmla="*/ 98064 w 138812"/>
              <a:gd name="connsiteY23" fmla="*/ 137917 h 134334"/>
              <a:gd name="connsiteX24" fmla="*/ 98064 w 138812"/>
              <a:gd name="connsiteY24" fmla="*/ 137917 h 134334"/>
              <a:gd name="connsiteX25" fmla="*/ 138365 w 138812"/>
              <a:gd name="connsiteY25" fmla="*/ 97616 h 134334"/>
              <a:gd name="connsiteX26" fmla="*/ 138365 w 138812"/>
              <a:gd name="connsiteY26" fmla="*/ 97616 h 134334"/>
              <a:gd name="connsiteX27" fmla="*/ 138812 w 138812"/>
              <a:gd name="connsiteY27" fmla="*/ 97169 h 134334"/>
              <a:gd name="connsiteX28" fmla="*/ 138365 w 138812"/>
              <a:gd name="connsiteY28" fmla="*/ 96273 h 134334"/>
              <a:gd name="connsiteX29" fmla="*/ 138365 w 138812"/>
              <a:gd name="connsiteY29" fmla="*/ 96273 h 134334"/>
              <a:gd name="connsiteX30" fmla="*/ 138365 w 138812"/>
              <a:gd name="connsiteY30" fmla="*/ 96273 h 134334"/>
              <a:gd name="connsiteX31" fmla="*/ 138365 w 138812"/>
              <a:gd name="connsiteY31" fmla="*/ 96273 h 134334"/>
              <a:gd name="connsiteX32" fmla="*/ 133887 w 138812"/>
              <a:gd name="connsiteY32" fmla="*/ 94034 h 134334"/>
              <a:gd name="connsiteX33" fmla="*/ 98064 w 138812"/>
              <a:gd name="connsiteY33" fmla="*/ 94034 h 134334"/>
              <a:gd name="connsiteX34" fmla="*/ 98064 w 138812"/>
              <a:gd name="connsiteY34" fmla="*/ 43435 h 134334"/>
              <a:gd name="connsiteX35" fmla="*/ 133887 w 138812"/>
              <a:gd name="connsiteY35" fmla="*/ 7612 h 134334"/>
              <a:gd name="connsiteX36" fmla="*/ 133887 w 138812"/>
              <a:gd name="connsiteY36" fmla="*/ 94034 h 134334"/>
              <a:gd name="connsiteX37" fmla="*/ 44778 w 138812"/>
              <a:gd name="connsiteY37" fmla="*/ 94034 h 134334"/>
              <a:gd name="connsiteX38" fmla="*/ 44778 w 138812"/>
              <a:gd name="connsiteY38" fmla="*/ 44778 h 134334"/>
              <a:gd name="connsiteX39" fmla="*/ 94034 w 138812"/>
              <a:gd name="connsiteY39" fmla="*/ 44778 h 134334"/>
              <a:gd name="connsiteX40" fmla="*/ 94034 w 138812"/>
              <a:gd name="connsiteY40" fmla="*/ 94034 h 134334"/>
              <a:gd name="connsiteX41" fmla="*/ 44778 w 138812"/>
              <a:gd name="connsiteY41" fmla="*/ 94034 h 134334"/>
              <a:gd name="connsiteX42" fmla="*/ 95378 w 138812"/>
              <a:gd name="connsiteY42" fmla="*/ 40300 h 134334"/>
              <a:gd name="connsiteX43" fmla="*/ 44778 w 138812"/>
              <a:gd name="connsiteY43" fmla="*/ 40300 h 134334"/>
              <a:gd name="connsiteX44" fmla="*/ 44778 w 138812"/>
              <a:gd name="connsiteY44" fmla="*/ 4478 h 134334"/>
              <a:gd name="connsiteX45" fmla="*/ 131200 w 138812"/>
              <a:gd name="connsiteY45" fmla="*/ 4478 h 134334"/>
              <a:gd name="connsiteX46" fmla="*/ 95378 w 138812"/>
              <a:gd name="connsiteY46" fmla="*/ 40300 h 134334"/>
              <a:gd name="connsiteX47" fmla="*/ 40300 w 138812"/>
              <a:gd name="connsiteY47" fmla="*/ 40300 h 134334"/>
              <a:gd name="connsiteX48" fmla="*/ 7612 w 138812"/>
              <a:gd name="connsiteY48" fmla="*/ 40300 h 134334"/>
              <a:gd name="connsiteX49" fmla="*/ 40300 w 138812"/>
              <a:gd name="connsiteY49" fmla="*/ 7612 h 134334"/>
              <a:gd name="connsiteX50" fmla="*/ 40300 w 138812"/>
              <a:gd name="connsiteY50" fmla="*/ 40300 h 134334"/>
              <a:gd name="connsiteX51" fmla="*/ 4478 w 138812"/>
              <a:gd name="connsiteY51" fmla="*/ 44778 h 134334"/>
              <a:gd name="connsiteX52" fmla="*/ 40300 w 138812"/>
              <a:gd name="connsiteY52" fmla="*/ 44778 h 134334"/>
              <a:gd name="connsiteX53" fmla="*/ 40300 w 138812"/>
              <a:gd name="connsiteY53" fmla="*/ 95378 h 134334"/>
              <a:gd name="connsiteX54" fmla="*/ 4478 w 138812"/>
              <a:gd name="connsiteY54" fmla="*/ 131200 h 134334"/>
              <a:gd name="connsiteX55" fmla="*/ 4478 w 138812"/>
              <a:gd name="connsiteY55" fmla="*/ 44778 h 134334"/>
              <a:gd name="connsiteX56" fmla="*/ 43435 w 138812"/>
              <a:gd name="connsiteY56" fmla="*/ 98512 h 134334"/>
              <a:gd name="connsiteX57" fmla="*/ 94034 w 138812"/>
              <a:gd name="connsiteY57" fmla="*/ 98512 h 134334"/>
              <a:gd name="connsiteX58" fmla="*/ 94034 w 138812"/>
              <a:gd name="connsiteY58" fmla="*/ 134335 h 134334"/>
              <a:gd name="connsiteX59" fmla="*/ 7612 w 138812"/>
              <a:gd name="connsiteY59" fmla="*/ 134335 h 134334"/>
              <a:gd name="connsiteX60" fmla="*/ 43435 w 138812"/>
              <a:gd name="connsiteY60" fmla="*/ 98512 h 134334"/>
              <a:gd name="connsiteX61" fmla="*/ 98512 w 138812"/>
              <a:gd name="connsiteY61" fmla="*/ 98512 h 134334"/>
              <a:gd name="connsiteX62" fmla="*/ 131200 w 138812"/>
              <a:gd name="connsiteY62" fmla="*/ 98512 h 134334"/>
              <a:gd name="connsiteX63" fmla="*/ 98512 w 138812"/>
              <a:gd name="connsiteY63" fmla="*/ 131200 h 134334"/>
              <a:gd name="connsiteX64" fmla="*/ 98512 w 138812"/>
              <a:gd name="connsiteY64" fmla="*/ 98512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38812" h="134334">
                <a:moveTo>
                  <a:pt x="138365" y="96273"/>
                </a:moveTo>
                <a:lnTo>
                  <a:pt x="138365" y="2239"/>
                </a:lnTo>
                <a:cubicBezTo>
                  <a:pt x="138365" y="2239"/>
                  <a:pt x="138365" y="2239"/>
                  <a:pt x="138365" y="2239"/>
                </a:cubicBezTo>
                <a:cubicBezTo>
                  <a:pt x="138365" y="1791"/>
                  <a:pt x="138365" y="1791"/>
                  <a:pt x="138365" y="1343"/>
                </a:cubicBezTo>
                <a:cubicBezTo>
                  <a:pt x="138365" y="896"/>
                  <a:pt x="137917" y="896"/>
                  <a:pt x="137917" y="448"/>
                </a:cubicBezTo>
                <a:cubicBezTo>
                  <a:pt x="137917" y="448"/>
                  <a:pt x="137917" y="448"/>
                  <a:pt x="137917" y="448"/>
                </a:cubicBezTo>
                <a:cubicBezTo>
                  <a:pt x="137917" y="448"/>
                  <a:pt x="137917" y="448"/>
                  <a:pt x="137917" y="448"/>
                </a:cubicBezTo>
                <a:cubicBezTo>
                  <a:pt x="137917" y="448"/>
                  <a:pt x="137469" y="0"/>
                  <a:pt x="137469" y="0"/>
                </a:cubicBezTo>
                <a:cubicBezTo>
                  <a:pt x="137021" y="0"/>
                  <a:pt x="137021" y="0"/>
                  <a:pt x="136573" y="0"/>
                </a:cubicBezTo>
                <a:cubicBezTo>
                  <a:pt x="136573" y="0"/>
                  <a:pt x="136573" y="0"/>
                  <a:pt x="136573" y="0"/>
                </a:cubicBezTo>
                <a:lnTo>
                  <a:pt x="136573" y="0"/>
                </a:lnTo>
                <a:cubicBezTo>
                  <a:pt x="136573" y="0"/>
                  <a:pt x="136573" y="0"/>
                  <a:pt x="136573" y="0"/>
                </a:cubicBezTo>
                <a:lnTo>
                  <a:pt x="42539" y="0"/>
                </a:lnTo>
                <a:cubicBezTo>
                  <a:pt x="42539" y="0"/>
                  <a:pt x="42539" y="0"/>
                  <a:pt x="42539" y="0"/>
                </a:cubicBezTo>
                <a:cubicBezTo>
                  <a:pt x="42092" y="0"/>
                  <a:pt x="42092" y="0"/>
                  <a:pt x="41644" y="0"/>
                </a:cubicBezTo>
                <a:cubicBezTo>
                  <a:pt x="41196" y="0"/>
                  <a:pt x="41196" y="448"/>
                  <a:pt x="40748" y="448"/>
                </a:cubicBezTo>
                <a:cubicBezTo>
                  <a:pt x="40748" y="448"/>
                  <a:pt x="40748" y="448"/>
                  <a:pt x="40748" y="448"/>
                </a:cubicBezTo>
                <a:lnTo>
                  <a:pt x="896" y="40300"/>
                </a:lnTo>
                <a:cubicBezTo>
                  <a:pt x="448" y="40748"/>
                  <a:pt x="0" y="41196"/>
                  <a:pt x="0" y="42091"/>
                </a:cubicBezTo>
                <a:lnTo>
                  <a:pt x="0" y="136126"/>
                </a:lnTo>
                <a:cubicBezTo>
                  <a:pt x="0" y="137469"/>
                  <a:pt x="896" y="138365"/>
                  <a:pt x="2239" y="138365"/>
                </a:cubicBezTo>
                <a:lnTo>
                  <a:pt x="96273" y="138365"/>
                </a:lnTo>
                <a:cubicBezTo>
                  <a:pt x="96721" y="138365"/>
                  <a:pt x="96721" y="138365"/>
                  <a:pt x="97169" y="138365"/>
                </a:cubicBezTo>
                <a:cubicBezTo>
                  <a:pt x="97617" y="138365"/>
                  <a:pt x="97617" y="137917"/>
                  <a:pt x="98064" y="137917"/>
                </a:cubicBezTo>
                <a:lnTo>
                  <a:pt x="98064" y="137917"/>
                </a:lnTo>
                <a:lnTo>
                  <a:pt x="138365" y="97616"/>
                </a:lnTo>
                <a:cubicBezTo>
                  <a:pt x="138365" y="97616"/>
                  <a:pt x="138365" y="97616"/>
                  <a:pt x="138365" y="97616"/>
                </a:cubicBezTo>
                <a:cubicBezTo>
                  <a:pt x="138365" y="97616"/>
                  <a:pt x="138812" y="97169"/>
                  <a:pt x="138812" y="97169"/>
                </a:cubicBezTo>
                <a:cubicBezTo>
                  <a:pt x="138365" y="96721"/>
                  <a:pt x="138365" y="96721"/>
                  <a:pt x="138365" y="96273"/>
                </a:cubicBezTo>
                <a:cubicBezTo>
                  <a:pt x="138365" y="96273"/>
                  <a:pt x="138365" y="96273"/>
                  <a:pt x="138365" y="96273"/>
                </a:cubicBezTo>
                <a:lnTo>
                  <a:pt x="138365" y="96273"/>
                </a:lnTo>
                <a:cubicBezTo>
                  <a:pt x="138365" y="96273"/>
                  <a:pt x="138365" y="96273"/>
                  <a:pt x="138365" y="96273"/>
                </a:cubicBezTo>
                <a:close/>
                <a:moveTo>
                  <a:pt x="133887" y="94034"/>
                </a:moveTo>
                <a:lnTo>
                  <a:pt x="98064" y="94034"/>
                </a:lnTo>
                <a:lnTo>
                  <a:pt x="98064" y="43435"/>
                </a:lnTo>
                <a:lnTo>
                  <a:pt x="133887" y="7612"/>
                </a:lnTo>
                <a:lnTo>
                  <a:pt x="133887" y="94034"/>
                </a:lnTo>
                <a:close/>
                <a:moveTo>
                  <a:pt x="44778" y="94034"/>
                </a:moveTo>
                <a:lnTo>
                  <a:pt x="44778" y="44778"/>
                </a:lnTo>
                <a:lnTo>
                  <a:pt x="94034" y="44778"/>
                </a:lnTo>
                <a:lnTo>
                  <a:pt x="94034" y="94034"/>
                </a:lnTo>
                <a:lnTo>
                  <a:pt x="44778" y="94034"/>
                </a:lnTo>
                <a:close/>
                <a:moveTo>
                  <a:pt x="95378" y="40300"/>
                </a:moveTo>
                <a:lnTo>
                  <a:pt x="44778" y="40300"/>
                </a:lnTo>
                <a:lnTo>
                  <a:pt x="44778" y="4478"/>
                </a:lnTo>
                <a:lnTo>
                  <a:pt x="131200" y="4478"/>
                </a:lnTo>
                <a:lnTo>
                  <a:pt x="95378" y="40300"/>
                </a:lnTo>
                <a:close/>
                <a:moveTo>
                  <a:pt x="40300" y="40300"/>
                </a:moveTo>
                <a:lnTo>
                  <a:pt x="7612" y="40300"/>
                </a:lnTo>
                <a:lnTo>
                  <a:pt x="40300" y="7612"/>
                </a:lnTo>
                <a:lnTo>
                  <a:pt x="40300" y="40300"/>
                </a:lnTo>
                <a:close/>
                <a:moveTo>
                  <a:pt x="4478" y="44778"/>
                </a:moveTo>
                <a:lnTo>
                  <a:pt x="40300" y="44778"/>
                </a:lnTo>
                <a:lnTo>
                  <a:pt x="40300" y="95378"/>
                </a:lnTo>
                <a:lnTo>
                  <a:pt x="4478" y="131200"/>
                </a:lnTo>
                <a:lnTo>
                  <a:pt x="4478" y="44778"/>
                </a:lnTo>
                <a:close/>
                <a:moveTo>
                  <a:pt x="43435" y="98512"/>
                </a:moveTo>
                <a:lnTo>
                  <a:pt x="94034" y="98512"/>
                </a:lnTo>
                <a:lnTo>
                  <a:pt x="94034" y="134335"/>
                </a:lnTo>
                <a:lnTo>
                  <a:pt x="7612" y="134335"/>
                </a:lnTo>
                <a:lnTo>
                  <a:pt x="43435" y="98512"/>
                </a:lnTo>
                <a:close/>
                <a:moveTo>
                  <a:pt x="98512" y="98512"/>
                </a:moveTo>
                <a:lnTo>
                  <a:pt x="131200" y="98512"/>
                </a:lnTo>
                <a:lnTo>
                  <a:pt x="98512" y="131200"/>
                </a:lnTo>
                <a:lnTo>
                  <a:pt x="98512" y="98512"/>
                </a:lnTo>
                <a:close/>
              </a:path>
            </a:pathLst>
          </a:custGeom>
          <a:solidFill>
            <a:srgbClr val="231F20"/>
          </a:solidFill>
          <a:ln w="4474" cap="flat">
            <a:noFill/>
            <a:prstDash val="solid"/>
            <a:miter/>
          </a:ln>
        </p:spPr>
        <p:txBody>
          <a:bodyPr rtlCol="0" anchor="ctr"/>
          <a:lstStyle/>
          <a:p>
            <a:endParaRPr lang="en-US"/>
          </a:p>
        </p:txBody>
      </p:sp>
      <p:grpSp>
        <p:nvGrpSpPr>
          <p:cNvPr id="4313" name="Group 4312">
            <a:extLst>
              <a:ext uri="{FF2B5EF4-FFF2-40B4-BE49-F238E27FC236}">
                <a16:creationId xmlns:a16="http://schemas.microsoft.com/office/drawing/2014/main" id="{95039123-F4BB-4B60-9395-D77FED5D9F8B}"/>
              </a:ext>
              <a:ext uri="{C183D7F6-B498-43B3-948B-1728B52AA6E4}">
                <adec:decorative xmlns:adec="http://schemas.microsoft.com/office/drawing/2017/decorative" val="1"/>
              </a:ext>
            </a:extLst>
          </p:cNvPr>
          <p:cNvGrpSpPr>
            <a:grpSpLocks noChangeAspect="1"/>
          </p:cNvGrpSpPr>
          <p:nvPr/>
        </p:nvGrpSpPr>
        <p:grpSpPr>
          <a:xfrm>
            <a:off x="3440714" y="3934925"/>
            <a:ext cx="138812" cy="152246"/>
            <a:chOff x="3481468" y="3199486"/>
            <a:chExt cx="138812" cy="152246"/>
          </a:xfrm>
        </p:grpSpPr>
        <p:sp>
          <p:nvSpPr>
            <p:cNvPr id="4314" name="Freeform: Shape 4313">
              <a:extLst>
                <a:ext uri="{FF2B5EF4-FFF2-40B4-BE49-F238E27FC236}">
                  <a16:creationId xmlns:a16="http://schemas.microsoft.com/office/drawing/2014/main" id="{1A94115E-8787-46E0-B8EA-C52384470E4B}"/>
                </a:ext>
              </a:extLst>
            </p:cNvPr>
            <p:cNvSpPr/>
            <p:nvPr/>
          </p:nvSpPr>
          <p:spPr>
            <a:xfrm>
              <a:off x="3494278" y="3297375"/>
              <a:ext cx="8956" cy="8956"/>
            </a:xfrm>
            <a:custGeom>
              <a:avLst/>
              <a:gdLst>
                <a:gd name="connsiteX0" fmla="*/ 1967 w 8955"/>
                <a:gd name="connsiteY0" fmla="*/ 9131 h 8955"/>
                <a:gd name="connsiteX1" fmla="*/ 176 w 8955"/>
                <a:gd name="connsiteY1" fmla="*/ 7788 h 8955"/>
                <a:gd name="connsiteX2" fmla="*/ 1071 w 8955"/>
                <a:gd name="connsiteY2" fmla="*/ 4654 h 8955"/>
                <a:gd name="connsiteX3" fmla="*/ 9579 w 8955"/>
                <a:gd name="connsiteY3" fmla="*/ 176 h 8955"/>
                <a:gd name="connsiteX4" fmla="*/ 12713 w 8955"/>
                <a:gd name="connsiteY4" fmla="*/ 1071 h 8955"/>
                <a:gd name="connsiteX5" fmla="*/ 11818 w 8955"/>
                <a:gd name="connsiteY5" fmla="*/ 4206 h 8955"/>
                <a:gd name="connsiteX6" fmla="*/ 3310 w 8955"/>
                <a:gd name="connsiteY6" fmla="*/ 8683 h 8955"/>
                <a:gd name="connsiteX7" fmla="*/ 1967 w 8955"/>
                <a:gd name="connsiteY7" fmla="*/ 913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1967" y="9131"/>
                  </a:moveTo>
                  <a:cubicBezTo>
                    <a:pt x="1071" y="9131"/>
                    <a:pt x="623" y="8683"/>
                    <a:pt x="176" y="7788"/>
                  </a:cubicBezTo>
                  <a:cubicBezTo>
                    <a:pt x="-272" y="6892"/>
                    <a:pt x="176" y="5549"/>
                    <a:pt x="1071" y="4654"/>
                  </a:cubicBezTo>
                  <a:lnTo>
                    <a:pt x="9579" y="176"/>
                  </a:lnTo>
                  <a:cubicBezTo>
                    <a:pt x="10475" y="-272"/>
                    <a:pt x="11818" y="176"/>
                    <a:pt x="12713" y="1071"/>
                  </a:cubicBezTo>
                  <a:cubicBezTo>
                    <a:pt x="13161" y="1967"/>
                    <a:pt x="12713" y="3310"/>
                    <a:pt x="11818" y="4206"/>
                  </a:cubicBezTo>
                  <a:lnTo>
                    <a:pt x="3310" y="8683"/>
                  </a:lnTo>
                  <a:cubicBezTo>
                    <a:pt x="2862" y="9131"/>
                    <a:pt x="2415" y="9131"/>
                    <a:pt x="1967" y="9131"/>
                  </a:cubicBezTo>
                  <a:close/>
                </a:path>
              </a:pathLst>
            </a:custGeom>
            <a:solidFill>
              <a:srgbClr val="231F20"/>
            </a:solidFill>
            <a:ln w="4474" cap="flat">
              <a:noFill/>
              <a:prstDash val="solid"/>
              <a:miter/>
            </a:ln>
          </p:spPr>
          <p:txBody>
            <a:bodyPr rtlCol="0" anchor="ctr"/>
            <a:lstStyle/>
            <a:p>
              <a:endParaRPr lang="en-US"/>
            </a:p>
          </p:txBody>
        </p:sp>
        <p:sp>
          <p:nvSpPr>
            <p:cNvPr id="4315" name="Freeform: Shape 4314">
              <a:extLst>
                <a:ext uri="{FF2B5EF4-FFF2-40B4-BE49-F238E27FC236}">
                  <a16:creationId xmlns:a16="http://schemas.microsoft.com/office/drawing/2014/main" id="{4CE2061D-ED1E-4363-B94A-60DDE5C65005}"/>
                </a:ext>
              </a:extLst>
            </p:cNvPr>
            <p:cNvSpPr/>
            <p:nvPr/>
          </p:nvSpPr>
          <p:spPr>
            <a:xfrm>
              <a:off x="3591894" y="3297375"/>
              <a:ext cx="8956" cy="8956"/>
            </a:xfrm>
            <a:custGeom>
              <a:avLst/>
              <a:gdLst>
                <a:gd name="connsiteX0" fmla="*/ 10475 w 8955"/>
                <a:gd name="connsiteY0" fmla="*/ 9131 h 8955"/>
                <a:gd name="connsiteX1" fmla="*/ 9579 w 8955"/>
                <a:gd name="connsiteY1" fmla="*/ 8683 h 8955"/>
                <a:gd name="connsiteX2" fmla="*/ 1071 w 8955"/>
                <a:gd name="connsiteY2" fmla="*/ 4206 h 8955"/>
                <a:gd name="connsiteX3" fmla="*/ 176 w 8955"/>
                <a:gd name="connsiteY3" fmla="*/ 1071 h 8955"/>
                <a:gd name="connsiteX4" fmla="*/ 3310 w 8955"/>
                <a:gd name="connsiteY4" fmla="*/ 176 h 8955"/>
                <a:gd name="connsiteX5" fmla="*/ 11818 w 8955"/>
                <a:gd name="connsiteY5" fmla="*/ 4654 h 8955"/>
                <a:gd name="connsiteX6" fmla="*/ 12713 w 8955"/>
                <a:gd name="connsiteY6" fmla="*/ 7788 h 8955"/>
                <a:gd name="connsiteX7" fmla="*/ 10475 w 8955"/>
                <a:gd name="connsiteY7" fmla="*/ 913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10475" y="9131"/>
                  </a:moveTo>
                  <a:cubicBezTo>
                    <a:pt x="10027" y="9131"/>
                    <a:pt x="9579" y="9131"/>
                    <a:pt x="9579" y="8683"/>
                  </a:cubicBezTo>
                  <a:lnTo>
                    <a:pt x="1071" y="4206"/>
                  </a:lnTo>
                  <a:cubicBezTo>
                    <a:pt x="176" y="3758"/>
                    <a:pt x="-272" y="2415"/>
                    <a:pt x="176" y="1071"/>
                  </a:cubicBezTo>
                  <a:cubicBezTo>
                    <a:pt x="624" y="176"/>
                    <a:pt x="1967" y="-272"/>
                    <a:pt x="3310" y="176"/>
                  </a:cubicBezTo>
                  <a:lnTo>
                    <a:pt x="11818" y="4654"/>
                  </a:lnTo>
                  <a:cubicBezTo>
                    <a:pt x="12713" y="5101"/>
                    <a:pt x="13161" y="6445"/>
                    <a:pt x="12713" y="7788"/>
                  </a:cubicBezTo>
                  <a:cubicBezTo>
                    <a:pt x="11818" y="8683"/>
                    <a:pt x="10922" y="9131"/>
                    <a:pt x="10475" y="9131"/>
                  </a:cubicBezTo>
                  <a:close/>
                </a:path>
              </a:pathLst>
            </a:custGeom>
            <a:solidFill>
              <a:srgbClr val="231F20"/>
            </a:solidFill>
            <a:ln w="4474" cap="flat">
              <a:noFill/>
              <a:prstDash val="solid"/>
              <a:miter/>
            </a:ln>
          </p:spPr>
          <p:txBody>
            <a:bodyPr rtlCol="0" anchor="ctr"/>
            <a:lstStyle/>
            <a:p>
              <a:endParaRPr lang="en-US"/>
            </a:p>
          </p:txBody>
        </p:sp>
        <p:sp>
          <p:nvSpPr>
            <p:cNvPr id="4316" name="Freeform: Shape 4315">
              <a:extLst>
                <a:ext uri="{FF2B5EF4-FFF2-40B4-BE49-F238E27FC236}">
                  <a16:creationId xmlns:a16="http://schemas.microsoft.com/office/drawing/2014/main" id="{DB336D50-BC94-4795-B8FC-188907D9FCFB}"/>
                </a:ext>
              </a:extLst>
            </p:cNvPr>
            <p:cNvSpPr/>
            <p:nvPr/>
          </p:nvSpPr>
          <p:spPr>
            <a:xfrm>
              <a:off x="3547292" y="3215159"/>
              <a:ext cx="4478" cy="13433"/>
            </a:xfrm>
            <a:custGeom>
              <a:avLst/>
              <a:gdLst>
                <a:gd name="connsiteX0" fmla="*/ 2239 w 4477"/>
                <a:gd name="connsiteY0" fmla="*/ 13881 h 13433"/>
                <a:gd name="connsiteX1" fmla="*/ 0 w 4477"/>
                <a:gd name="connsiteY1" fmla="*/ 11642 h 13433"/>
                <a:gd name="connsiteX2" fmla="*/ 0 w 4477"/>
                <a:gd name="connsiteY2" fmla="*/ 2239 h 13433"/>
                <a:gd name="connsiteX3" fmla="*/ 2239 w 4477"/>
                <a:gd name="connsiteY3" fmla="*/ 0 h 13433"/>
                <a:gd name="connsiteX4" fmla="*/ 2239 w 4477"/>
                <a:gd name="connsiteY4" fmla="*/ 0 h 13433"/>
                <a:gd name="connsiteX5" fmla="*/ 4478 w 4477"/>
                <a:gd name="connsiteY5" fmla="*/ 2239 h 13433"/>
                <a:gd name="connsiteX6" fmla="*/ 4478 w 4477"/>
                <a:gd name="connsiteY6" fmla="*/ 11642 h 13433"/>
                <a:gd name="connsiteX7" fmla="*/ 2239 w 4477"/>
                <a:gd name="connsiteY7" fmla="*/ 13881 h 13433"/>
                <a:gd name="connsiteX8" fmla="*/ 2239 w 4477"/>
                <a:gd name="connsiteY8" fmla="*/ 13881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7" h="13433">
                  <a:moveTo>
                    <a:pt x="2239" y="13881"/>
                  </a:moveTo>
                  <a:cubicBezTo>
                    <a:pt x="896" y="13881"/>
                    <a:pt x="0" y="12986"/>
                    <a:pt x="0" y="11642"/>
                  </a:cubicBezTo>
                  <a:lnTo>
                    <a:pt x="0" y="2239"/>
                  </a:lnTo>
                  <a:cubicBezTo>
                    <a:pt x="0" y="896"/>
                    <a:pt x="896" y="0"/>
                    <a:pt x="2239" y="0"/>
                  </a:cubicBezTo>
                  <a:cubicBezTo>
                    <a:pt x="2239" y="0"/>
                    <a:pt x="2239" y="0"/>
                    <a:pt x="2239" y="0"/>
                  </a:cubicBezTo>
                  <a:cubicBezTo>
                    <a:pt x="3582" y="0"/>
                    <a:pt x="4478" y="896"/>
                    <a:pt x="4478" y="2239"/>
                  </a:cubicBezTo>
                  <a:lnTo>
                    <a:pt x="4478" y="11642"/>
                  </a:lnTo>
                  <a:cubicBezTo>
                    <a:pt x="4478" y="12986"/>
                    <a:pt x="3135" y="13881"/>
                    <a:pt x="2239" y="13881"/>
                  </a:cubicBezTo>
                  <a:cubicBezTo>
                    <a:pt x="2239" y="13881"/>
                    <a:pt x="2239" y="13881"/>
                    <a:pt x="2239" y="13881"/>
                  </a:cubicBezTo>
                  <a:close/>
                </a:path>
              </a:pathLst>
            </a:custGeom>
            <a:solidFill>
              <a:srgbClr val="231F20"/>
            </a:solidFill>
            <a:ln w="4474" cap="flat">
              <a:noFill/>
              <a:prstDash val="solid"/>
              <a:miter/>
            </a:ln>
          </p:spPr>
          <p:txBody>
            <a:bodyPr rtlCol="0" anchor="ctr"/>
            <a:lstStyle/>
            <a:p>
              <a:endParaRPr lang="en-US"/>
            </a:p>
          </p:txBody>
        </p:sp>
        <p:sp>
          <p:nvSpPr>
            <p:cNvPr id="4317" name="Freeform: Shape 4316">
              <a:extLst>
                <a:ext uri="{FF2B5EF4-FFF2-40B4-BE49-F238E27FC236}">
                  <a16:creationId xmlns:a16="http://schemas.microsoft.com/office/drawing/2014/main" id="{CC44EEDD-F402-4660-B45B-70D6A27809FD}"/>
                </a:ext>
              </a:extLst>
            </p:cNvPr>
            <p:cNvSpPr/>
            <p:nvPr/>
          </p:nvSpPr>
          <p:spPr>
            <a:xfrm>
              <a:off x="3481468" y="3199486"/>
              <a:ext cx="138812" cy="152246"/>
            </a:xfrm>
            <a:custGeom>
              <a:avLst/>
              <a:gdLst>
                <a:gd name="connsiteX0" fmla="*/ 137469 w 138812"/>
                <a:gd name="connsiteY0" fmla="*/ 38957 h 152245"/>
                <a:gd name="connsiteX1" fmla="*/ 137021 w 138812"/>
                <a:gd name="connsiteY1" fmla="*/ 38061 h 152245"/>
                <a:gd name="connsiteX2" fmla="*/ 137021 w 138812"/>
                <a:gd name="connsiteY2" fmla="*/ 38061 h 152245"/>
                <a:gd name="connsiteX3" fmla="*/ 136573 w 138812"/>
                <a:gd name="connsiteY3" fmla="*/ 37614 h 152245"/>
                <a:gd name="connsiteX4" fmla="*/ 136573 w 138812"/>
                <a:gd name="connsiteY4" fmla="*/ 37614 h 152245"/>
                <a:gd name="connsiteX5" fmla="*/ 69406 w 138812"/>
                <a:gd name="connsiteY5" fmla="*/ 448 h 152245"/>
                <a:gd name="connsiteX6" fmla="*/ 69406 w 138812"/>
                <a:gd name="connsiteY6" fmla="*/ 448 h 152245"/>
                <a:gd name="connsiteX7" fmla="*/ 68511 w 138812"/>
                <a:gd name="connsiteY7" fmla="*/ 0 h 152245"/>
                <a:gd name="connsiteX8" fmla="*/ 68511 w 138812"/>
                <a:gd name="connsiteY8" fmla="*/ 0 h 152245"/>
                <a:gd name="connsiteX9" fmla="*/ 67615 w 138812"/>
                <a:gd name="connsiteY9" fmla="*/ 448 h 152245"/>
                <a:gd name="connsiteX10" fmla="*/ 67615 w 138812"/>
                <a:gd name="connsiteY10" fmla="*/ 448 h 152245"/>
                <a:gd name="connsiteX11" fmla="*/ 448 w 138812"/>
                <a:gd name="connsiteY11" fmla="*/ 37614 h 152245"/>
                <a:gd name="connsiteX12" fmla="*/ 448 w 138812"/>
                <a:gd name="connsiteY12" fmla="*/ 37614 h 152245"/>
                <a:gd name="connsiteX13" fmla="*/ 448 w 138812"/>
                <a:gd name="connsiteY13" fmla="*/ 37614 h 152245"/>
                <a:gd name="connsiteX14" fmla="*/ 448 w 138812"/>
                <a:gd name="connsiteY14" fmla="*/ 37614 h 152245"/>
                <a:gd name="connsiteX15" fmla="*/ 0 w 138812"/>
                <a:gd name="connsiteY15" fmla="*/ 38061 h 152245"/>
                <a:gd name="connsiteX16" fmla="*/ 0 w 138812"/>
                <a:gd name="connsiteY16" fmla="*/ 38509 h 152245"/>
                <a:gd name="connsiteX17" fmla="*/ 0 w 138812"/>
                <a:gd name="connsiteY17" fmla="*/ 39405 h 152245"/>
                <a:gd name="connsiteX18" fmla="*/ 0 w 138812"/>
                <a:gd name="connsiteY18" fmla="*/ 39405 h 152245"/>
                <a:gd name="connsiteX19" fmla="*/ 0 w 138812"/>
                <a:gd name="connsiteY19" fmla="*/ 113289 h 152245"/>
                <a:gd name="connsiteX20" fmla="*/ 0 w 138812"/>
                <a:gd name="connsiteY20" fmla="*/ 113289 h 152245"/>
                <a:gd name="connsiteX21" fmla="*/ 448 w 138812"/>
                <a:gd name="connsiteY21" fmla="*/ 114184 h 152245"/>
                <a:gd name="connsiteX22" fmla="*/ 448 w 138812"/>
                <a:gd name="connsiteY22" fmla="*/ 114184 h 152245"/>
                <a:gd name="connsiteX23" fmla="*/ 896 w 138812"/>
                <a:gd name="connsiteY23" fmla="*/ 114632 h 152245"/>
                <a:gd name="connsiteX24" fmla="*/ 1344 w 138812"/>
                <a:gd name="connsiteY24" fmla="*/ 115080 h 152245"/>
                <a:gd name="connsiteX25" fmla="*/ 1344 w 138812"/>
                <a:gd name="connsiteY25" fmla="*/ 115080 h 152245"/>
                <a:gd name="connsiteX26" fmla="*/ 68511 w 138812"/>
                <a:gd name="connsiteY26" fmla="*/ 152246 h 152245"/>
                <a:gd name="connsiteX27" fmla="*/ 69406 w 138812"/>
                <a:gd name="connsiteY27" fmla="*/ 152693 h 152245"/>
                <a:gd name="connsiteX28" fmla="*/ 69406 w 138812"/>
                <a:gd name="connsiteY28" fmla="*/ 152693 h 152245"/>
                <a:gd name="connsiteX29" fmla="*/ 69406 w 138812"/>
                <a:gd name="connsiteY29" fmla="*/ 152693 h 152245"/>
                <a:gd name="connsiteX30" fmla="*/ 70302 w 138812"/>
                <a:gd name="connsiteY30" fmla="*/ 152246 h 152245"/>
                <a:gd name="connsiteX31" fmla="*/ 137469 w 138812"/>
                <a:gd name="connsiteY31" fmla="*/ 115080 h 152245"/>
                <a:gd name="connsiteX32" fmla="*/ 137469 w 138812"/>
                <a:gd name="connsiteY32" fmla="*/ 115080 h 152245"/>
                <a:gd name="connsiteX33" fmla="*/ 137917 w 138812"/>
                <a:gd name="connsiteY33" fmla="*/ 114632 h 152245"/>
                <a:gd name="connsiteX34" fmla="*/ 138365 w 138812"/>
                <a:gd name="connsiteY34" fmla="*/ 114184 h 152245"/>
                <a:gd name="connsiteX35" fmla="*/ 138365 w 138812"/>
                <a:gd name="connsiteY35" fmla="*/ 114184 h 152245"/>
                <a:gd name="connsiteX36" fmla="*/ 138812 w 138812"/>
                <a:gd name="connsiteY36" fmla="*/ 113289 h 152245"/>
                <a:gd name="connsiteX37" fmla="*/ 138812 w 138812"/>
                <a:gd name="connsiteY37" fmla="*/ 113289 h 152245"/>
                <a:gd name="connsiteX38" fmla="*/ 138812 w 138812"/>
                <a:gd name="connsiteY38" fmla="*/ 38957 h 152245"/>
                <a:gd name="connsiteX39" fmla="*/ 130305 w 138812"/>
                <a:gd name="connsiteY39" fmla="*/ 107468 h 152245"/>
                <a:gd name="connsiteX40" fmla="*/ 127170 w 138812"/>
                <a:gd name="connsiteY40" fmla="*/ 108363 h 152245"/>
                <a:gd name="connsiteX41" fmla="*/ 128066 w 138812"/>
                <a:gd name="connsiteY41" fmla="*/ 111498 h 152245"/>
                <a:gd name="connsiteX42" fmla="*/ 130305 w 138812"/>
                <a:gd name="connsiteY42" fmla="*/ 112841 h 152245"/>
                <a:gd name="connsiteX43" fmla="*/ 69854 w 138812"/>
                <a:gd name="connsiteY43" fmla="*/ 145977 h 152245"/>
                <a:gd name="connsiteX44" fmla="*/ 69854 w 138812"/>
                <a:gd name="connsiteY44" fmla="*/ 109707 h 152245"/>
                <a:gd name="connsiteX45" fmla="*/ 97169 w 138812"/>
                <a:gd name="connsiteY45" fmla="*/ 94482 h 152245"/>
                <a:gd name="connsiteX46" fmla="*/ 102990 w 138812"/>
                <a:gd name="connsiteY46" fmla="*/ 97616 h 152245"/>
                <a:gd name="connsiteX47" fmla="*/ 103885 w 138812"/>
                <a:gd name="connsiteY47" fmla="*/ 98064 h 152245"/>
                <a:gd name="connsiteX48" fmla="*/ 105677 w 138812"/>
                <a:gd name="connsiteY48" fmla="*/ 96721 h 152245"/>
                <a:gd name="connsiteX49" fmla="*/ 104781 w 138812"/>
                <a:gd name="connsiteY49" fmla="*/ 93586 h 152245"/>
                <a:gd name="connsiteX50" fmla="*/ 99408 w 138812"/>
                <a:gd name="connsiteY50" fmla="*/ 90452 h 152245"/>
                <a:gd name="connsiteX51" fmla="*/ 99408 w 138812"/>
                <a:gd name="connsiteY51" fmla="*/ 60451 h 152245"/>
                <a:gd name="connsiteX52" fmla="*/ 132544 w 138812"/>
                <a:gd name="connsiteY52" fmla="*/ 42091 h 152245"/>
                <a:gd name="connsiteX53" fmla="*/ 132544 w 138812"/>
                <a:gd name="connsiteY53" fmla="*/ 108363 h 152245"/>
                <a:gd name="connsiteX54" fmla="*/ 130305 w 138812"/>
                <a:gd name="connsiteY54" fmla="*/ 107468 h 152245"/>
                <a:gd name="connsiteX55" fmla="*/ 68063 w 138812"/>
                <a:gd name="connsiteY55" fmla="*/ 45674 h 152245"/>
                <a:gd name="connsiteX56" fmla="*/ 93139 w 138812"/>
                <a:gd name="connsiteY56" fmla="*/ 59555 h 152245"/>
                <a:gd name="connsiteX57" fmla="*/ 68063 w 138812"/>
                <a:gd name="connsiteY57" fmla="*/ 73436 h 152245"/>
                <a:gd name="connsiteX58" fmla="*/ 42987 w 138812"/>
                <a:gd name="connsiteY58" fmla="*/ 59555 h 152245"/>
                <a:gd name="connsiteX59" fmla="*/ 68063 w 138812"/>
                <a:gd name="connsiteY59" fmla="*/ 45674 h 152245"/>
                <a:gd name="connsiteX60" fmla="*/ 70302 w 138812"/>
                <a:gd name="connsiteY60" fmla="*/ 77019 h 152245"/>
                <a:gd name="connsiteX61" fmla="*/ 95378 w 138812"/>
                <a:gd name="connsiteY61" fmla="*/ 63137 h 152245"/>
                <a:gd name="connsiteX62" fmla="*/ 95378 w 138812"/>
                <a:gd name="connsiteY62" fmla="*/ 90900 h 152245"/>
                <a:gd name="connsiteX63" fmla="*/ 70302 w 138812"/>
                <a:gd name="connsiteY63" fmla="*/ 104781 h 152245"/>
                <a:gd name="connsiteX64" fmla="*/ 70302 w 138812"/>
                <a:gd name="connsiteY64" fmla="*/ 77019 h 152245"/>
                <a:gd name="connsiteX65" fmla="*/ 40300 w 138812"/>
                <a:gd name="connsiteY65" fmla="*/ 63137 h 152245"/>
                <a:gd name="connsiteX66" fmla="*/ 65376 w 138812"/>
                <a:gd name="connsiteY66" fmla="*/ 77019 h 152245"/>
                <a:gd name="connsiteX67" fmla="*/ 65376 w 138812"/>
                <a:gd name="connsiteY67" fmla="*/ 104781 h 152245"/>
                <a:gd name="connsiteX68" fmla="*/ 40300 w 138812"/>
                <a:gd name="connsiteY68" fmla="*/ 90900 h 152245"/>
                <a:gd name="connsiteX69" fmla="*/ 40300 w 138812"/>
                <a:gd name="connsiteY69" fmla="*/ 63137 h 152245"/>
                <a:gd name="connsiteX70" fmla="*/ 97617 w 138812"/>
                <a:gd name="connsiteY70" fmla="*/ 56868 h 152245"/>
                <a:gd name="connsiteX71" fmla="*/ 70302 w 138812"/>
                <a:gd name="connsiteY71" fmla="*/ 41644 h 152245"/>
                <a:gd name="connsiteX72" fmla="*/ 70302 w 138812"/>
                <a:gd name="connsiteY72" fmla="*/ 36270 h 152245"/>
                <a:gd name="connsiteX73" fmla="*/ 68063 w 138812"/>
                <a:gd name="connsiteY73" fmla="*/ 34031 h 152245"/>
                <a:gd name="connsiteX74" fmla="*/ 65824 w 138812"/>
                <a:gd name="connsiteY74" fmla="*/ 36270 h 152245"/>
                <a:gd name="connsiteX75" fmla="*/ 65824 w 138812"/>
                <a:gd name="connsiteY75" fmla="*/ 41644 h 152245"/>
                <a:gd name="connsiteX76" fmla="*/ 38509 w 138812"/>
                <a:gd name="connsiteY76" fmla="*/ 56868 h 152245"/>
                <a:gd name="connsiteX77" fmla="*/ 5821 w 138812"/>
                <a:gd name="connsiteY77" fmla="*/ 38957 h 152245"/>
                <a:gd name="connsiteX78" fmla="*/ 66272 w 138812"/>
                <a:gd name="connsiteY78" fmla="*/ 5821 h 152245"/>
                <a:gd name="connsiteX79" fmla="*/ 66272 w 138812"/>
                <a:gd name="connsiteY79" fmla="*/ 9403 h 152245"/>
                <a:gd name="connsiteX80" fmla="*/ 68511 w 138812"/>
                <a:gd name="connsiteY80" fmla="*/ 11642 h 152245"/>
                <a:gd name="connsiteX81" fmla="*/ 68511 w 138812"/>
                <a:gd name="connsiteY81" fmla="*/ 11642 h 152245"/>
                <a:gd name="connsiteX82" fmla="*/ 70750 w 138812"/>
                <a:gd name="connsiteY82" fmla="*/ 9403 h 152245"/>
                <a:gd name="connsiteX83" fmla="*/ 70750 w 138812"/>
                <a:gd name="connsiteY83" fmla="*/ 5821 h 152245"/>
                <a:gd name="connsiteX84" fmla="*/ 131200 w 138812"/>
                <a:gd name="connsiteY84" fmla="*/ 38957 h 152245"/>
                <a:gd name="connsiteX85" fmla="*/ 97617 w 138812"/>
                <a:gd name="connsiteY85" fmla="*/ 56868 h 152245"/>
                <a:gd name="connsiteX86" fmla="*/ 5373 w 138812"/>
                <a:gd name="connsiteY86" fmla="*/ 112841 h 152245"/>
                <a:gd name="connsiteX87" fmla="*/ 7612 w 138812"/>
                <a:gd name="connsiteY87" fmla="*/ 111498 h 152245"/>
                <a:gd name="connsiteX88" fmla="*/ 8508 w 138812"/>
                <a:gd name="connsiteY88" fmla="*/ 108363 h 152245"/>
                <a:gd name="connsiteX89" fmla="*/ 5373 w 138812"/>
                <a:gd name="connsiteY89" fmla="*/ 107468 h 152245"/>
                <a:gd name="connsiteX90" fmla="*/ 2687 w 138812"/>
                <a:gd name="connsiteY90" fmla="*/ 108811 h 152245"/>
                <a:gd name="connsiteX91" fmla="*/ 2687 w 138812"/>
                <a:gd name="connsiteY91" fmla="*/ 42539 h 152245"/>
                <a:gd name="connsiteX92" fmla="*/ 35823 w 138812"/>
                <a:gd name="connsiteY92" fmla="*/ 60898 h 152245"/>
                <a:gd name="connsiteX93" fmla="*/ 35823 w 138812"/>
                <a:gd name="connsiteY93" fmla="*/ 90900 h 152245"/>
                <a:gd name="connsiteX94" fmla="*/ 30449 w 138812"/>
                <a:gd name="connsiteY94" fmla="*/ 94034 h 152245"/>
                <a:gd name="connsiteX95" fmla="*/ 29554 w 138812"/>
                <a:gd name="connsiteY95" fmla="*/ 97169 h 152245"/>
                <a:gd name="connsiteX96" fmla="*/ 31345 w 138812"/>
                <a:gd name="connsiteY96" fmla="*/ 98512 h 152245"/>
                <a:gd name="connsiteX97" fmla="*/ 32240 w 138812"/>
                <a:gd name="connsiteY97" fmla="*/ 98064 h 152245"/>
                <a:gd name="connsiteX98" fmla="*/ 38061 w 138812"/>
                <a:gd name="connsiteY98" fmla="*/ 94930 h 152245"/>
                <a:gd name="connsiteX99" fmla="*/ 65376 w 138812"/>
                <a:gd name="connsiteY99" fmla="*/ 110154 h 152245"/>
                <a:gd name="connsiteX100" fmla="*/ 65376 w 138812"/>
                <a:gd name="connsiteY100" fmla="*/ 146425 h 152245"/>
                <a:gd name="connsiteX101" fmla="*/ 5373 w 138812"/>
                <a:gd name="connsiteY101" fmla="*/ 112841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38812" h="152245">
                  <a:moveTo>
                    <a:pt x="137469" y="38957"/>
                  </a:moveTo>
                  <a:cubicBezTo>
                    <a:pt x="137469" y="38509"/>
                    <a:pt x="137469" y="38061"/>
                    <a:pt x="137021" y="38061"/>
                  </a:cubicBezTo>
                  <a:cubicBezTo>
                    <a:pt x="137021" y="38061"/>
                    <a:pt x="137021" y="38061"/>
                    <a:pt x="137021" y="38061"/>
                  </a:cubicBezTo>
                  <a:cubicBezTo>
                    <a:pt x="137021" y="37614"/>
                    <a:pt x="136573" y="37614"/>
                    <a:pt x="136573" y="37614"/>
                  </a:cubicBezTo>
                  <a:cubicBezTo>
                    <a:pt x="136573" y="37614"/>
                    <a:pt x="136573" y="37614"/>
                    <a:pt x="136573" y="37614"/>
                  </a:cubicBezTo>
                  <a:lnTo>
                    <a:pt x="69406" y="448"/>
                  </a:lnTo>
                  <a:cubicBezTo>
                    <a:pt x="69406" y="448"/>
                    <a:pt x="69406" y="448"/>
                    <a:pt x="69406" y="448"/>
                  </a:cubicBezTo>
                  <a:cubicBezTo>
                    <a:pt x="68959" y="448"/>
                    <a:pt x="68959" y="0"/>
                    <a:pt x="68511" y="0"/>
                  </a:cubicBezTo>
                  <a:cubicBezTo>
                    <a:pt x="68511" y="0"/>
                    <a:pt x="68511" y="0"/>
                    <a:pt x="68511" y="0"/>
                  </a:cubicBezTo>
                  <a:cubicBezTo>
                    <a:pt x="68063" y="0"/>
                    <a:pt x="67615" y="0"/>
                    <a:pt x="67615" y="448"/>
                  </a:cubicBezTo>
                  <a:cubicBezTo>
                    <a:pt x="67615" y="448"/>
                    <a:pt x="67615" y="448"/>
                    <a:pt x="67615" y="448"/>
                  </a:cubicBezTo>
                  <a:lnTo>
                    <a:pt x="448" y="37614"/>
                  </a:lnTo>
                  <a:cubicBezTo>
                    <a:pt x="448" y="37614"/>
                    <a:pt x="448" y="37614"/>
                    <a:pt x="448" y="37614"/>
                  </a:cubicBezTo>
                  <a:cubicBezTo>
                    <a:pt x="448" y="37614"/>
                    <a:pt x="448" y="37614"/>
                    <a:pt x="448" y="37614"/>
                  </a:cubicBezTo>
                  <a:cubicBezTo>
                    <a:pt x="448" y="37614"/>
                    <a:pt x="448" y="37614"/>
                    <a:pt x="448" y="37614"/>
                  </a:cubicBezTo>
                  <a:cubicBezTo>
                    <a:pt x="0" y="37614"/>
                    <a:pt x="0" y="38061"/>
                    <a:pt x="0" y="38061"/>
                  </a:cubicBezTo>
                  <a:cubicBezTo>
                    <a:pt x="0" y="38061"/>
                    <a:pt x="0" y="38061"/>
                    <a:pt x="0" y="38509"/>
                  </a:cubicBezTo>
                  <a:cubicBezTo>
                    <a:pt x="0" y="38957"/>
                    <a:pt x="0" y="38957"/>
                    <a:pt x="0" y="39405"/>
                  </a:cubicBezTo>
                  <a:cubicBezTo>
                    <a:pt x="0" y="39405"/>
                    <a:pt x="0" y="39405"/>
                    <a:pt x="0" y="39405"/>
                  </a:cubicBezTo>
                  <a:lnTo>
                    <a:pt x="0" y="113289"/>
                  </a:lnTo>
                  <a:cubicBezTo>
                    <a:pt x="0" y="113289"/>
                    <a:pt x="0" y="113289"/>
                    <a:pt x="0" y="113289"/>
                  </a:cubicBezTo>
                  <a:cubicBezTo>
                    <a:pt x="0" y="113737"/>
                    <a:pt x="0" y="114184"/>
                    <a:pt x="448" y="114184"/>
                  </a:cubicBezTo>
                  <a:cubicBezTo>
                    <a:pt x="448" y="114184"/>
                    <a:pt x="448" y="114184"/>
                    <a:pt x="448" y="114184"/>
                  </a:cubicBezTo>
                  <a:cubicBezTo>
                    <a:pt x="448" y="114184"/>
                    <a:pt x="896" y="114632"/>
                    <a:pt x="896" y="114632"/>
                  </a:cubicBezTo>
                  <a:cubicBezTo>
                    <a:pt x="896" y="114632"/>
                    <a:pt x="896" y="115080"/>
                    <a:pt x="1344" y="115080"/>
                  </a:cubicBezTo>
                  <a:cubicBezTo>
                    <a:pt x="1344" y="115080"/>
                    <a:pt x="1344" y="115080"/>
                    <a:pt x="1344" y="115080"/>
                  </a:cubicBezTo>
                  <a:lnTo>
                    <a:pt x="68511" y="152246"/>
                  </a:lnTo>
                  <a:cubicBezTo>
                    <a:pt x="68959" y="152246"/>
                    <a:pt x="69406" y="152693"/>
                    <a:pt x="69406" y="152693"/>
                  </a:cubicBezTo>
                  <a:lnTo>
                    <a:pt x="69406" y="152693"/>
                  </a:lnTo>
                  <a:lnTo>
                    <a:pt x="69406" y="152693"/>
                  </a:lnTo>
                  <a:cubicBezTo>
                    <a:pt x="69854" y="152693"/>
                    <a:pt x="70302" y="152693"/>
                    <a:pt x="70302" y="152246"/>
                  </a:cubicBezTo>
                  <a:lnTo>
                    <a:pt x="137469" y="115080"/>
                  </a:lnTo>
                  <a:cubicBezTo>
                    <a:pt x="137469" y="115080"/>
                    <a:pt x="137469" y="115080"/>
                    <a:pt x="137469" y="115080"/>
                  </a:cubicBezTo>
                  <a:cubicBezTo>
                    <a:pt x="137469" y="115080"/>
                    <a:pt x="137917" y="114632"/>
                    <a:pt x="137917" y="114632"/>
                  </a:cubicBezTo>
                  <a:cubicBezTo>
                    <a:pt x="137917" y="114632"/>
                    <a:pt x="138365" y="114184"/>
                    <a:pt x="138365" y="114184"/>
                  </a:cubicBezTo>
                  <a:cubicBezTo>
                    <a:pt x="138365" y="114184"/>
                    <a:pt x="138365" y="114184"/>
                    <a:pt x="138365" y="114184"/>
                  </a:cubicBezTo>
                  <a:cubicBezTo>
                    <a:pt x="138365" y="113737"/>
                    <a:pt x="138812" y="113737"/>
                    <a:pt x="138812" y="113289"/>
                  </a:cubicBezTo>
                  <a:cubicBezTo>
                    <a:pt x="138812" y="113289"/>
                    <a:pt x="138812" y="113289"/>
                    <a:pt x="138812" y="113289"/>
                  </a:cubicBezTo>
                  <a:lnTo>
                    <a:pt x="138812" y="38957"/>
                  </a:lnTo>
                  <a:close/>
                  <a:moveTo>
                    <a:pt x="130305" y="107468"/>
                  </a:moveTo>
                  <a:cubicBezTo>
                    <a:pt x="129409" y="107020"/>
                    <a:pt x="128066" y="107468"/>
                    <a:pt x="127170" y="108363"/>
                  </a:cubicBezTo>
                  <a:cubicBezTo>
                    <a:pt x="126722" y="109259"/>
                    <a:pt x="127170" y="110602"/>
                    <a:pt x="128066" y="111498"/>
                  </a:cubicBezTo>
                  <a:lnTo>
                    <a:pt x="130305" y="112841"/>
                  </a:lnTo>
                  <a:lnTo>
                    <a:pt x="69854" y="145977"/>
                  </a:lnTo>
                  <a:lnTo>
                    <a:pt x="69854" y="109707"/>
                  </a:lnTo>
                  <a:lnTo>
                    <a:pt x="97169" y="94482"/>
                  </a:lnTo>
                  <a:lnTo>
                    <a:pt x="102990" y="97616"/>
                  </a:lnTo>
                  <a:cubicBezTo>
                    <a:pt x="103438" y="97616"/>
                    <a:pt x="103885" y="98064"/>
                    <a:pt x="103885" y="98064"/>
                  </a:cubicBezTo>
                  <a:cubicBezTo>
                    <a:pt x="104781" y="98064"/>
                    <a:pt x="105229" y="97616"/>
                    <a:pt x="105677" y="96721"/>
                  </a:cubicBezTo>
                  <a:cubicBezTo>
                    <a:pt x="106124" y="95825"/>
                    <a:pt x="105677" y="94482"/>
                    <a:pt x="104781" y="93586"/>
                  </a:cubicBezTo>
                  <a:lnTo>
                    <a:pt x="99408" y="90452"/>
                  </a:lnTo>
                  <a:lnTo>
                    <a:pt x="99408" y="60451"/>
                  </a:lnTo>
                  <a:lnTo>
                    <a:pt x="132544" y="42091"/>
                  </a:lnTo>
                  <a:lnTo>
                    <a:pt x="132544" y="108363"/>
                  </a:lnTo>
                  <a:lnTo>
                    <a:pt x="130305" y="107468"/>
                  </a:lnTo>
                  <a:close/>
                  <a:moveTo>
                    <a:pt x="68063" y="45674"/>
                  </a:moveTo>
                  <a:lnTo>
                    <a:pt x="93139" y="59555"/>
                  </a:lnTo>
                  <a:lnTo>
                    <a:pt x="68063" y="73436"/>
                  </a:lnTo>
                  <a:lnTo>
                    <a:pt x="42987" y="59555"/>
                  </a:lnTo>
                  <a:lnTo>
                    <a:pt x="68063" y="45674"/>
                  </a:lnTo>
                  <a:close/>
                  <a:moveTo>
                    <a:pt x="70302" y="77019"/>
                  </a:moveTo>
                  <a:lnTo>
                    <a:pt x="95378" y="63137"/>
                  </a:lnTo>
                  <a:lnTo>
                    <a:pt x="95378" y="90900"/>
                  </a:lnTo>
                  <a:lnTo>
                    <a:pt x="70302" y="104781"/>
                  </a:lnTo>
                  <a:lnTo>
                    <a:pt x="70302" y="77019"/>
                  </a:lnTo>
                  <a:close/>
                  <a:moveTo>
                    <a:pt x="40300" y="63137"/>
                  </a:moveTo>
                  <a:lnTo>
                    <a:pt x="65376" y="77019"/>
                  </a:lnTo>
                  <a:lnTo>
                    <a:pt x="65376" y="104781"/>
                  </a:lnTo>
                  <a:lnTo>
                    <a:pt x="40300" y="90900"/>
                  </a:lnTo>
                  <a:lnTo>
                    <a:pt x="40300" y="63137"/>
                  </a:lnTo>
                  <a:close/>
                  <a:moveTo>
                    <a:pt x="97617" y="56868"/>
                  </a:moveTo>
                  <a:lnTo>
                    <a:pt x="70302" y="41644"/>
                  </a:lnTo>
                  <a:lnTo>
                    <a:pt x="70302" y="36270"/>
                  </a:lnTo>
                  <a:cubicBezTo>
                    <a:pt x="70302" y="34927"/>
                    <a:pt x="69406" y="34031"/>
                    <a:pt x="68063" y="34031"/>
                  </a:cubicBezTo>
                  <a:cubicBezTo>
                    <a:pt x="66720" y="34031"/>
                    <a:pt x="65824" y="34927"/>
                    <a:pt x="65824" y="36270"/>
                  </a:cubicBezTo>
                  <a:lnTo>
                    <a:pt x="65824" y="41644"/>
                  </a:lnTo>
                  <a:lnTo>
                    <a:pt x="38509" y="56868"/>
                  </a:lnTo>
                  <a:lnTo>
                    <a:pt x="5821" y="38957"/>
                  </a:lnTo>
                  <a:lnTo>
                    <a:pt x="66272" y="5821"/>
                  </a:lnTo>
                  <a:lnTo>
                    <a:pt x="66272" y="9403"/>
                  </a:lnTo>
                  <a:cubicBezTo>
                    <a:pt x="66272" y="10747"/>
                    <a:pt x="67167" y="11642"/>
                    <a:pt x="68511" y="11642"/>
                  </a:cubicBezTo>
                  <a:cubicBezTo>
                    <a:pt x="68511" y="11642"/>
                    <a:pt x="68511" y="11642"/>
                    <a:pt x="68511" y="11642"/>
                  </a:cubicBezTo>
                  <a:cubicBezTo>
                    <a:pt x="69854" y="11642"/>
                    <a:pt x="70750" y="10747"/>
                    <a:pt x="70750" y="9403"/>
                  </a:cubicBezTo>
                  <a:lnTo>
                    <a:pt x="70750" y="5821"/>
                  </a:lnTo>
                  <a:lnTo>
                    <a:pt x="131200" y="38957"/>
                  </a:lnTo>
                  <a:lnTo>
                    <a:pt x="97617" y="56868"/>
                  </a:lnTo>
                  <a:close/>
                  <a:moveTo>
                    <a:pt x="5373" y="112841"/>
                  </a:moveTo>
                  <a:lnTo>
                    <a:pt x="7612" y="111498"/>
                  </a:lnTo>
                  <a:cubicBezTo>
                    <a:pt x="8508" y="111050"/>
                    <a:pt x="8956" y="109707"/>
                    <a:pt x="8508" y="108363"/>
                  </a:cubicBezTo>
                  <a:cubicBezTo>
                    <a:pt x="8060" y="107468"/>
                    <a:pt x="6717" y="107020"/>
                    <a:pt x="5373" y="107468"/>
                  </a:cubicBezTo>
                  <a:lnTo>
                    <a:pt x="2687" y="108811"/>
                  </a:lnTo>
                  <a:lnTo>
                    <a:pt x="2687" y="42539"/>
                  </a:lnTo>
                  <a:lnTo>
                    <a:pt x="35823" y="60898"/>
                  </a:lnTo>
                  <a:lnTo>
                    <a:pt x="35823" y="90900"/>
                  </a:lnTo>
                  <a:lnTo>
                    <a:pt x="30449" y="94034"/>
                  </a:lnTo>
                  <a:cubicBezTo>
                    <a:pt x="29554" y="94482"/>
                    <a:pt x="29106" y="95825"/>
                    <a:pt x="29554" y="97169"/>
                  </a:cubicBezTo>
                  <a:cubicBezTo>
                    <a:pt x="30001" y="98064"/>
                    <a:pt x="30897" y="98512"/>
                    <a:pt x="31345" y="98512"/>
                  </a:cubicBezTo>
                  <a:cubicBezTo>
                    <a:pt x="31793" y="98512"/>
                    <a:pt x="32240" y="98512"/>
                    <a:pt x="32240" y="98064"/>
                  </a:cubicBezTo>
                  <a:lnTo>
                    <a:pt x="38061" y="94930"/>
                  </a:lnTo>
                  <a:lnTo>
                    <a:pt x="65376" y="110154"/>
                  </a:lnTo>
                  <a:lnTo>
                    <a:pt x="65376" y="146425"/>
                  </a:lnTo>
                  <a:lnTo>
                    <a:pt x="5373" y="112841"/>
                  </a:lnTo>
                  <a:close/>
                </a:path>
              </a:pathLst>
            </a:custGeom>
            <a:solidFill>
              <a:srgbClr val="231F20"/>
            </a:solidFill>
            <a:ln w="4474" cap="flat">
              <a:noFill/>
              <a:prstDash val="solid"/>
              <a:miter/>
            </a:ln>
          </p:spPr>
          <p:txBody>
            <a:bodyPr rtlCol="0" anchor="ctr"/>
            <a:lstStyle/>
            <a:p>
              <a:endParaRPr lang="en-US"/>
            </a:p>
          </p:txBody>
        </p:sp>
      </p:grpSp>
      <p:sp>
        <p:nvSpPr>
          <p:cNvPr id="4318" name="Freeform: Shape 4317">
            <a:extLst>
              <a:ext uri="{FF2B5EF4-FFF2-40B4-BE49-F238E27FC236}">
                <a16:creationId xmlns:a16="http://schemas.microsoft.com/office/drawing/2014/main" id="{3A765177-92AC-4536-B689-4D3AAFD7D149}"/>
              </a:ext>
              <a:ext uri="{C183D7F6-B498-43B3-948B-1728B52AA6E4}">
                <adec:decorative xmlns:adec="http://schemas.microsoft.com/office/drawing/2017/decorative" val="1"/>
              </a:ext>
            </a:extLst>
          </p:cNvPr>
          <p:cNvSpPr>
            <a:spLocks noChangeAspect="1"/>
          </p:cNvSpPr>
          <p:nvPr/>
        </p:nvSpPr>
        <p:spPr>
          <a:xfrm>
            <a:off x="544461" y="3934478"/>
            <a:ext cx="147768" cy="152246"/>
          </a:xfrm>
          <a:custGeom>
            <a:avLst/>
            <a:gdLst>
              <a:gd name="connsiteX0" fmla="*/ 150007 w 147767"/>
              <a:gd name="connsiteY0" fmla="*/ 107468 h 152245"/>
              <a:gd name="connsiteX1" fmla="*/ 132096 w 147767"/>
              <a:gd name="connsiteY1" fmla="*/ 107468 h 152245"/>
              <a:gd name="connsiteX2" fmla="*/ 132096 w 147767"/>
              <a:gd name="connsiteY2" fmla="*/ 82840 h 152245"/>
              <a:gd name="connsiteX3" fmla="*/ 129857 w 147767"/>
              <a:gd name="connsiteY3" fmla="*/ 80601 h 152245"/>
              <a:gd name="connsiteX4" fmla="*/ 78362 w 147767"/>
              <a:gd name="connsiteY4" fmla="*/ 80601 h 152245"/>
              <a:gd name="connsiteX5" fmla="*/ 78362 w 147767"/>
              <a:gd name="connsiteY5" fmla="*/ 44778 h 152245"/>
              <a:gd name="connsiteX6" fmla="*/ 96273 w 147767"/>
              <a:gd name="connsiteY6" fmla="*/ 44778 h 152245"/>
              <a:gd name="connsiteX7" fmla="*/ 98512 w 147767"/>
              <a:gd name="connsiteY7" fmla="*/ 42539 h 152245"/>
              <a:gd name="connsiteX8" fmla="*/ 98512 w 147767"/>
              <a:gd name="connsiteY8" fmla="*/ 2239 h 152245"/>
              <a:gd name="connsiteX9" fmla="*/ 96273 w 147767"/>
              <a:gd name="connsiteY9" fmla="*/ 0 h 152245"/>
              <a:gd name="connsiteX10" fmla="*/ 55973 w 147767"/>
              <a:gd name="connsiteY10" fmla="*/ 0 h 152245"/>
              <a:gd name="connsiteX11" fmla="*/ 53734 w 147767"/>
              <a:gd name="connsiteY11" fmla="*/ 2239 h 152245"/>
              <a:gd name="connsiteX12" fmla="*/ 53734 w 147767"/>
              <a:gd name="connsiteY12" fmla="*/ 42539 h 152245"/>
              <a:gd name="connsiteX13" fmla="*/ 55973 w 147767"/>
              <a:gd name="connsiteY13" fmla="*/ 44778 h 152245"/>
              <a:gd name="connsiteX14" fmla="*/ 73884 w 147767"/>
              <a:gd name="connsiteY14" fmla="*/ 44778 h 152245"/>
              <a:gd name="connsiteX15" fmla="*/ 73884 w 147767"/>
              <a:gd name="connsiteY15" fmla="*/ 80601 h 152245"/>
              <a:gd name="connsiteX16" fmla="*/ 22389 w 147767"/>
              <a:gd name="connsiteY16" fmla="*/ 80601 h 152245"/>
              <a:gd name="connsiteX17" fmla="*/ 20150 w 147767"/>
              <a:gd name="connsiteY17" fmla="*/ 82840 h 152245"/>
              <a:gd name="connsiteX18" fmla="*/ 20150 w 147767"/>
              <a:gd name="connsiteY18" fmla="*/ 107468 h 152245"/>
              <a:gd name="connsiteX19" fmla="*/ 2239 w 147767"/>
              <a:gd name="connsiteY19" fmla="*/ 107468 h 152245"/>
              <a:gd name="connsiteX20" fmla="*/ 0 w 147767"/>
              <a:gd name="connsiteY20" fmla="*/ 109707 h 152245"/>
              <a:gd name="connsiteX21" fmla="*/ 0 w 147767"/>
              <a:gd name="connsiteY21" fmla="*/ 150007 h 152245"/>
              <a:gd name="connsiteX22" fmla="*/ 2239 w 147767"/>
              <a:gd name="connsiteY22" fmla="*/ 152246 h 152245"/>
              <a:gd name="connsiteX23" fmla="*/ 42539 w 147767"/>
              <a:gd name="connsiteY23" fmla="*/ 152246 h 152245"/>
              <a:gd name="connsiteX24" fmla="*/ 44778 w 147767"/>
              <a:gd name="connsiteY24" fmla="*/ 150007 h 152245"/>
              <a:gd name="connsiteX25" fmla="*/ 44778 w 147767"/>
              <a:gd name="connsiteY25" fmla="*/ 109707 h 152245"/>
              <a:gd name="connsiteX26" fmla="*/ 42539 w 147767"/>
              <a:gd name="connsiteY26" fmla="*/ 107468 h 152245"/>
              <a:gd name="connsiteX27" fmla="*/ 24628 w 147767"/>
              <a:gd name="connsiteY27" fmla="*/ 107468 h 152245"/>
              <a:gd name="connsiteX28" fmla="*/ 24628 w 147767"/>
              <a:gd name="connsiteY28" fmla="*/ 85079 h 152245"/>
              <a:gd name="connsiteX29" fmla="*/ 73884 w 147767"/>
              <a:gd name="connsiteY29" fmla="*/ 85079 h 152245"/>
              <a:gd name="connsiteX30" fmla="*/ 73884 w 147767"/>
              <a:gd name="connsiteY30" fmla="*/ 107468 h 152245"/>
              <a:gd name="connsiteX31" fmla="*/ 55973 w 147767"/>
              <a:gd name="connsiteY31" fmla="*/ 107468 h 152245"/>
              <a:gd name="connsiteX32" fmla="*/ 53734 w 147767"/>
              <a:gd name="connsiteY32" fmla="*/ 109707 h 152245"/>
              <a:gd name="connsiteX33" fmla="*/ 53734 w 147767"/>
              <a:gd name="connsiteY33" fmla="*/ 150007 h 152245"/>
              <a:gd name="connsiteX34" fmla="*/ 55973 w 147767"/>
              <a:gd name="connsiteY34" fmla="*/ 152246 h 152245"/>
              <a:gd name="connsiteX35" fmla="*/ 96273 w 147767"/>
              <a:gd name="connsiteY35" fmla="*/ 152246 h 152245"/>
              <a:gd name="connsiteX36" fmla="*/ 98512 w 147767"/>
              <a:gd name="connsiteY36" fmla="*/ 150007 h 152245"/>
              <a:gd name="connsiteX37" fmla="*/ 98512 w 147767"/>
              <a:gd name="connsiteY37" fmla="*/ 109707 h 152245"/>
              <a:gd name="connsiteX38" fmla="*/ 96273 w 147767"/>
              <a:gd name="connsiteY38" fmla="*/ 107468 h 152245"/>
              <a:gd name="connsiteX39" fmla="*/ 78362 w 147767"/>
              <a:gd name="connsiteY39" fmla="*/ 107468 h 152245"/>
              <a:gd name="connsiteX40" fmla="*/ 78362 w 147767"/>
              <a:gd name="connsiteY40" fmla="*/ 85079 h 152245"/>
              <a:gd name="connsiteX41" fmla="*/ 127618 w 147767"/>
              <a:gd name="connsiteY41" fmla="*/ 85079 h 152245"/>
              <a:gd name="connsiteX42" fmla="*/ 127618 w 147767"/>
              <a:gd name="connsiteY42" fmla="*/ 107468 h 152245"/>
              <a:gd name="connsiteX43" fmla="*/ 109707 w 147767"/>
              <a:gd name="connsiteY43" fmla="*/ 107468 h 152245"/>
              <a:gd name="connsiteX44" fmla="*/ 107468 w 147767"/>
              <a:gd name="connsiteY44" fmla="*/ 109707 h 152245"/>
              <a:gd name="connsiteX45" fmla="*/ 107468 w 147767"/>
              <a:gd name="connsiteY45" fmla="*/ 150007 h 152245"/>
              <a:gd name="connsiteX46" fmla="*/ 109707 w 147767"/>
              <a:gd name="connsiteY46" fmla="*/ 152246 h 152245"/>
              <a:gd name="connsiteX47" fmla="*/ 150007 w 147767"/>
              <a:gd name="connsiteY47" fmla="*/ 152246 h 152245"/>
              <a:gd name="connsiteX48" fmla="*/ 152246 w 147767"/>
              <a:gd name="connsiteY48" fmla="*/ 150007 h 152245"/>
              <a:gd name="connsiteX49" fmla="*/ 152246 w 147767"/>
              <a:gd name="connsiteY49" fmla="*/ 109707 h 152245"/>
              <a:gd name="connsiteX50" fmla="*/ 150007 w 147767"/>
              <a:gd name="connsiteY50" fmla="*/ 107468 h 152245"/>
              <a:gd name="connsiteX51" fmla="*/ 58212 w 147767"/>
              <a:gd name="connsiteY51" fmla="*/ 4478 h 152245"/>
              <a:gd name="connsiteX52" fmla="*/ 94034 w 147767"/>
              <a:gd name="connsiteY52" fmla="*/ 4478 h 152245"/>
              <a:gd name="connsiteX53" fmla="*/ 94034 w 147767"/>
              <a:gd name="connsiteY53" fmla="*/ 40300 h 152245"/>
              <a:gd name="connsiteX54" fmla="*/ 58212 w 147767"/>
              <a:gd name="connsiteY54" fmla="*/ 40300 h 152245"/>
              <a:gd name="connsiteX55" fmla="*/ 58212 w 147767"/>
              <a:gd name="connsiteY55" fmla="*/ 4478 h 152245"/>
              <a:gd name="connsiteX56" fmla="*/ 40300 w 147767"/>
              <a:gd name="connsiteY56" fmla="*/ 147768 h 152245"/>
              <a:gd name="connsiteX57" fmla="*/ 4478 w 147767"/>
              <a:gd name="connsiteY57" fmla="*/ 147768 h 152245"/>
              <a:gd name="connsiteX58" fmla="*/ 4478 w 147767"/>
              <a:gd name="connsiteY58" fmla="*/ 111946 h 152245"/>
              <a:gd name="connsiteX59" fmla="*/ 40300 w 147767"/>
              <a:gd name="connsiteY59" fmla="*/ 111946 h 152245"/>
              <a:gd name="connsiteX60" fmla="*/ 40300 w 147767"/>
              <a:gd name="connsiteY60" fmla="*/ 147768 h 152245"/>
              <a:gd name="connsiteX61" fmla="*/ 94034 w 147767"/>
              <a:gd name="connsiteY61" fmla="*/ 147768 h 152245"/>
              <a:gd name="connsiteX62" fmla="*/ 58212 w 147767"/>
              <a:gd name="connsiteY62" fmla="*/ 147768 h 152245"/>
              <a:gd name="connsiteX63" fmla="*/ 58212 w 147767"/>
              <a:gd name="connsiteY63" fmla="*/ 111946 h 152245"/>
              <a:gd name="connsiteX64" fmla="*/ 94034 w 147767"/>
              <a:gd name="connsiteY64" fmla="*/ 111946 h 152245"/>
              <a:gd name="connsiteX65" fmla="*/ 94034 w 147767"/>
              <a:gd name="connsiteY65" fmla="*/ 147768 h 152245"/>
              <a:gd name="connsiteX66" fmla="*/ 147768 w 147767"/>
              <a:gd name="connsiteY66" fmla="*/ 147768 h 152245"/>
              <a:gd name="connsiteX67" fmla="*/ 111945 w 147767"/>
              <a:gd name="connsiteY67" fmla="*/ 147768 h 152245"/>
              <a:gd name="connsiteX68" fmla="*/ 111945 w 147767"/>
              <a:gd name="connsiteY68" fmla="*/ 111946 h 152245"/>
              <a:gd name="connsiteX69" fmla="*/ 147768 w 147767"/>
              <a:gd name="connsiteY69" fmla="*/ 111946 h 152245"/>
              <a:gd name="connsiteX70" fmla="*/ 147768 w 147767"/>
              <a:gd name="connsiteY70"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47767" h="152245">
                <a:moveTo>
                  <a:pt x="150007" y="107468"/>
                </a:moveTo>
                <a:lnTo>
                  <a:pt x="132096" y="107468"/>
                </a:lnTo>
                <a:lnTo>
                  <a:pt x="132096" y="82840"/>
                </a:lnTo>
                <a:cubicBezTo>
                  <a:pt x="132096" y="81496"/>
                  <a:pt x="131200" y="80601"/>
                  <a:pt x="129857" y="80601"/>
                </a:cubicBezTo>
                <a:lnTo>
                  <a:pt x="78362" y="80601"/>
                </a:lnTo>
                <a:lnTo>
                  <a:pt x="78362" y="44778"/>
                </a:lnTo>
                <a:lnTo>
                  <a:pt x="96273" y="44778"/>
                </a:lnTo>
                <a:cubicBezTo>
                  <a:pt x="97616" y="44778"/>
                  <a:pt x="98512" y="43883"/>
                  <a:pt x="98512" y="42539"/>
                </a:cubicBezTo>
                <a:lnTo>
                  <a:pt x="98512" y="2239"/>
                </a:lnTo>
                <a:cubicBezTo>
                  <a:pt x="98512" y="896"/>
                  <a:pt x="97616" y="0"/>
                  <a:pt x="96273" y="0"/>
                </a:cubicBezTo>
                <a:lnTo>
                  <a:pt x="55973" y="0"/>
                </a:lnTo>
                <a:cubicBezTo>
                  <a:pt x="54629" y="0"/>
                  <a:pt x="53734" y="896"/>
                  <a:pt x="53734" y="2239"/>
                </a:cubicBezTo>
                <a:lnTo>
                  <a:pt x="53734" y="42539"/>
                </a:lnTo>
                <a:cubicBezTo>
                  <a:pt x="53734" y="43883"/>
                  <a:pt x="54629" y="44778"/>
                  <a:pt x="55973" y="44778"/>
                </a:cubicBezTo>
                <a:lnTo>
                  <a:pt x="73884" y="44778"/>
                </a:lnTo>
                <a:lnTo>
                  <a:pt x="73884" y="80601"/>
                </a:lnTo>
                <a:lnTo>
                  <a:pt x="22389" y="80601"/>
                </a:lnTo>
                <a:cubicBezTo>
                  <a:pt x="21046" y="80601"/>
                  <a:pt x="20150" y="81496"/>
                  <a:pt x="20150" y="82840"/>
                </a:cubicBezTo>
                <a:lnTo>
                  <a:pt x="20150" y="107468"/>
                </a:lnTo>
                <a:lnTo>
                  <a:pt x="2239" y="107468"/>
                </a:lnTo>
                <a:cubicBezTo>
                  <a:pt x="896" y="107468"/>
                  <a:pt x="0" y="108363"/>
                  <a:pt x="0" y="109707"/>
                </a:cubicBezTo>
                <a:lnTo>
                  <a:pt x="0" y="150007"/>
                </a:lnTo>
                <a:cubicBezTo>
                  <a:pt x="0" y="151350"/>
                  <a:pt x="896" y="152246"/>
                  <a:pt x="2239" y="152246"/>
                </a:cubicBezTo>
                <a:lnTo>
                  <a:pt x="42539" y="152246"/>
                </a:lnTo>
                <a:cubicBezTo>
                  <a:pt x="43883" y="152246"/>
                  <a:pt x="44778" y="151350"/>
                  <a:pt x="44778" y="150007"/>
                </a:cubicBezTo>
                <a:lnTo>
                  <a:pt x="44778" y="109707"/>
                </a:lnTo>
                <a:cubicBezTo>
                  <a:pt x="44778" y="108363"/>
                  <a:pt x="43883" y="107468"/>
                  <a:pt x="42539" y="107468"/>
                </a:cubicBezTo>
                <a:lnTo>
                  <a:pt x="24628" y="107468"/>
                </a:lnTo>
                <a:lnTo>
                  <a:pt x="24628" y="85079"/>
                </a:lnTo>
                <a:lnTo>
                  <a:pt x="73884" y="85079"/>
                </a:lnTo>
                <a:lnTo>
                  <a:pt x="73884" y="107468"/>
                </a:lnTo>
                <a:lnTo>
                  <a:pt x="55973" y="107468"/>
                </a:lnTo>
                <a:cubicBezTo>
                  <a:pt x="54629" y="107468"/>
                  <a:pt x="53734" y="108363"/>
                  <a:pt x="53734" y="109707"/>
                </a:cubicBezTo>
                <a:lnTo>
                  <a:pt x="53734" y="150007"/>
                </a:lnTo>
                <a:cubicBezTo>
                  <a:pt x="53734" y="151350"/>
                  <a:pt x="54629" y="152246"/>
                  <a:pt x="55973" y="152246"/>
                </a:cubicBezTo>
                <a:lnTo>
                  <a:pt x="96273" y="152246"/>
                </a:lnTo>
                <a:cubicBezTo>
                  <a:pt x="97616" y="152246"/>
                  <a:pt x="98512" y="151350"/>
                  <a:pt x="98512" y="150007"/>
                </a:cubicBezTo>
                <a:lnTo>
                  <a:pt x="98512" y="109707"/>
                </a:lnTo>
                <a:cubicBezTo>
                  <a:pt x="98512" y="108363"/>
                  <a:pt x="97616" y="107468"/>
                  <a:pt x="96273" y="107468"/>
                </a:cubicBezTo>
                <a:lnTo>
                  <a:pt x="78362" y="107468"/>
                </a:lnTo>
                <a:lnTo>
                  <a:pt x="78362" y="85079"/>
                </a:lnTo>
                <a:lnTo>
                  <a:pt x="127618" y="85079"/>
                </a:lnTo>
                <a:lnTo>
                  <a:pt x="127618" y="107468"/>
                </a:lnTo>
                <a:lnTo>
                  <a:pt x="109707" y="107468"/>
                </a:lnTo>
                <a:cubicBezTo>
                  <a:pt x="108363" y="107468"/>
                  <a:pt x="107468" y="108363"/>
                  <a:pt x="107468" y="109707"/>
                </a:cubicBezTo>
                <a:lnTo>
                  <a:pt x="107468" y="150007"/>
                </a:lnTo>
                <a:cubicBezTo>
                  <a:pt x="107468" y="151350"/>
                  <a:pt x="108363" y="152246"/>
                  <a:pt x="109707" y="152246"/>
                </a:cubicBezTo>
                <a:lnTo>
                  <a:pt x="150007" y="152246"/>
                </a:lnTo>
                <a:cubicBezTo>
                  <a:pt x="151350" y="152246"/>
                  <a:pt x="152246" y="151350"/>
                  <a:pt x="152246" y="150007"/>
                </a:cubicBezTo>
                <a:lnTo>
                  <a:pt x="152246" y="109707"/>
                </a:lnTo>
                <a:cubicBezTo>
                  <a:pt x="152246" y="108811"/>
                  <a:pt x="150902" y="107468"/>
                  <a:pt x="150007" y="107468"/>
                </a:cubicBezTo>
                <a:close/>
                <a:moveTo>
                  <a:pt x="58212" y="4478"/>
                </a:moveTo>
                <a:lnTo>
                  <a:pt x="94034" y="4478"/>
                </a:lnTo>
                <a:lnTo>
                  <a:pt x="94034" y="40300"/>
                </a:lnTo>
                <a:lnTo>
                  <a:pt x="58212" y="40300"/>
                </a:lnTo>
                <a:lnTo>
                  <a:pt x="58212" y="4478"/>
                </a:lnTo>
                <a:close/>
                <a:moveTo>
                  <a:pt x="40300" y="147768"/>
                </a:moveTo>
                <a:lnTo>
                  <a:pt x="4478" y="147768"/>
                </a:lnTo>
                <a:lnTo>
                  <a:pt x="4478" y="111946"/>
                </a:lnTo>
                <a:lnTo>
                  <a:pt x="40300" y="111946"/>
                </a:lnTo>
                <a:lnTo>
                  <a:pt x="40300" y="147768"/>
                </a:lnTo>
                <a:close/>
                <a:moveTo>
                  <a:pt x="94034" y="147768"/>
                </a:moveTo>
                <a:lnTo>
                  <a:pt x="58212" y="147768"/>
                </a:lnTo>
                <a:lnTo>
                  <a:pt x="58212" y="111946"/>
                </a:lnTo>
                <a:lnTo>
                  <a:pt x="94034" y="111946"/>
                </a:lnTo>
                <a:lnTo>
                  <a:pt x="94034" y="147768"/>
                </a:lnTo>
                <a:close/>
                <a:moveTo>
                  <a:pt x="147768" y="147768"/>
                </a:moveTo>
                <a:lnTo>
                  <a:pt x="111945" y="147768"/>
                </a:lnTo>
                <a:lnTo>
                  <a:pt x="111945" y="111946"/>
                </a:lnTo>
                <a:lnTo>
                  <a:pt x="147768" y="111946"/>
                </a:lnTo>
                <a:lnTo>
                  <a:pt x="147768" y="147768"/>
                </a:lnTo>
                <a:close/>
              </a:path>
            </a:pathLst>
          </a:custGeom>
          <a:solidFill>
            <a:srgbClr val="231F20"/>
          </a:solidFill>
          <a:ln w="4474" cap="flat">
            <a:noFill/>
            <a:prstDash val="solid"/>
            <a:miter/>
          </a:ln>
        </p:spPr>
        <p:txBody>
          <a:bodyPr rtlCol="0" anchor="ctr"/>
          <a:lstStyle/>
          <a:p>
            <a:endParaRPr lang="en-US"/>
          </a:p>
        </p:txBody>
      </p:sp>
      <p:sp>
        <p:nvSpPr>
          <p:cNvPr id="4319" name="Freeform: Shape 4318">
            <a:extLst>
              <a:ext uri="{FF2B5EF4-FFF2-40B4-BE49-F238E27FC236}">
                <a16:creationId xmlns:a16="http://schemas.microsoft.com/office/drawing/2014/main" id="{A72B5149-032B-4072-A8B0-E59EAB4A7C10}"/>
              </a:ext>
              <a:ext uri="{C183D7F6-B498-43B3-948B-1728B52AA6E4}">
                <adec:decorative xmlns:adec="http://schemas.microsoft.com/office/drawing/2017/decorative" val="1"/>
              </a:ext>
            </a:extLst>
          </p:cNvPr>
          <p:cNvSpPr>
            <a:spLocks noChangeAspect="1"/>
          </p:cNvSpPr>
          <p:nvPr/>
        </p:nvSpPr>
        <p:spPr>
          <a:xfrm>
            <a:off x="1073508" y="3934925"/>
            <a:ext cx="134335" cy="147768"/>
          </a:xfrm>
          <a:custGeom>
            <a:avLst/>
            <a:gdLst>
              <a:gd name="connsiteX0" fmla="*/ 103669 w 134334"/>
              <a:gd name="connsiteY0" fmla="*/ 80153 h 147767"/>
              <a:gd name="connsiteX1" fmla="*/ 73667 w 134334"/>
              <a:gd name="connsiteY1" fmla="*/ 96273 h 147767"/>
              <a:gd name="connsiteX2" fmla="*/ 57099 w 134334"/>
              <a:gd name="connsiteY2" fmla="*/ 84631 h 147767"/>
              <a:gd name="connsiteX3" fmla="*/ 56652 w 134334"/>
              <a:gd name="connsiteY3" fmla="*/ 64928 h 147767"/>
              <a:gd name="connsiteX4" fmla="*/ 50831 w 134334"/>
              <a:gd name="connsiteY4" fmla="*/ 55973 h 147767"/>
              <a:gd name="connsiteX5" fmla="*/ 69190 w 134334"/>
              <a:gd name="connsiteY5" fmla="*/ 37614 h 147767"/>
              <a:gd name="connsiteX6" fmla="*/ 79489 w 134334"/>
              <a:gd name="connsiteY6" fmla="*/ 40300 h 147767"/>
              <a:gd name="connsiteX7" fmla="*/ 93818 w 134334"/>
              <a:gd name="connsiteY7" fmla="*/ 34479 h 147767"/>
              <a:gd name="connsiteX8" fmla="*/ 93818 w 134334"/>
              <a:gd name="connsiteY8" fmla="*/ 5821 h 147767"/>
              <a:gd name="connsiteX9" fmla="*/ 79489 w 134334"/>
              <a:gd name="connsiteY9" fmla="*/ 0 h 147767"/>
              <a:gd name="connsiteX10" fmla="*/ 65160 w 134334"/>
              <a:gd name="connsiteY10" fmla="*/ 5821 h 147767"/>
              <a:gd name="connsiteX11" fmla="*/ 65160 w 134334"/>
              <a:gd name="connsiteY11" fmla="*/ 34479 h 147767"/>
              <a:gd name="connsiteX12" fmla="*/ 65607 w 134334"/>
              <a:gd name="connsiteY12" fmla="*/ 34927 h 147767"/>
              <a:gd name="connsiteX13" fmla="*/ 47248 w 134334"/>
              <a:gd name="connsiteY13" fmla="*/ 52838 h 147767"/>
              <a:gd name="connsiteX14" fmla="*/ 40532 w 134334"/>
              <a:gd name="connsiteY14" fmla="*/ 48808 h 147767"/>
              <a:gd name="connsiteX15" fmla="*/ 18142 w 134334"/>
              <a:gd name="connsiteY15" fmla="*/ 48360 h 147767"/>
              <a:gd name="connsiteX16" fmla="*/ 2022 w 134334"/>
              <a:gd name="connsiteY16" fmla="*/ 86422 h 147767"/>
              <a:gd name="connsiteX17" fmla="*/ 28889 w 134334"/>
              <a:gd name="connsiteY17" fmla="*/ 104781 h 147767"/>
              <a:gd name="connsiteX18" fmla="*/ 39636 w 134334"/>
              <a:gd name="connsiteY18" fmla="*/ 102542 h 147767"/>
              <a:gd name="connsiteX19" fmla="*/ 54413 w 134334"/>
              <a:gd name="connsiteY19" fmla="*/ 88661 h 147767"/>
              <a:gd name="connsiteX20" fmla="*/ 70533 w 134334"/>
              <a:gd name="connsiteY20" fmla="*/ 99855 h 147767"/>
              <a:gd name="connsiteX21" fmla="*/ 66951 w 134334"/>
              <a:gd name="connsiteY21" fmla="*/ 115976 h 147767"/>
              <a:gd name="connsiteX22" fmla="*/ 102773 w 134334"/>
              <a:gd name="connsiteY22" fmla="*/ 151798 h 147767"/>
              <a:gd name="connsiteX23" fmla="*/ 138596 w 134334"/>
              <a:gd name="connsiteY23" fmla="*/ 115976 h 147767"/>
              <a:gd name="connsiteX24" fmla="*/ 103669 w 134334"/>
              <a:gd name="connsiteY24" fmla="*/ 80153 h 147767"/>
              <a:gd name="connsiteX25" fmla="*/ 64264 w 134334"/>
              <a:gd name="connsiteY25" fmla="*/ 20598 h 147767"/>
              <a:gd name="connsiteX26" fmla="*/ 68742 w 134334"/>
              <a:gd name="connsiteY26" fmla="*/ 9403 h 147767"/>
              <a:gd name="connsiteX27" fmla="*/ 79936 w 134334"/>
              <a:gd name="connsiteY27" fmla="*/ 4926 h 147767"/>
              <a:gd name="connsiteX28" fmla="*/ 91131 w 134334"/>
              <a:gd name="connsiteY28" fmla="*/ 9403 h 147767"/>
              <a:gd name="connsiteX29" fmla="*/ 95609 w 134334"/>
              <a:gd name="connsiteY29" fmla="*/ 20598 h 147767"/>
              <a:gd name="connsiteX30" fmla="*/ 91131 w 134334"/>
              <a:gd name="connsiteY30" fmla="*/ 31793 h 147767"/>
              <a:gd name="connsiteX31" fmla="*/ 69190 w 134334"/>
              <a:gd name="connsiteY31" fmla="*/ 31793 h 147767"/>
              <a:gd name="connsiteX32" fmla="*/ 64264 w 134334"/>
              <a:gd name="connsiteY32" fmla="*/ 20598 h 147767"/>
              <a:gd name="connsiteX33" fmla="*/ 38740 w 134334"/>
              <a:gd name="connsiteY33" fmla="*/ 98512 h 147767"/>
              <a:gd name="connsiteX34" fmla="*/ 6500 w 134334"/>
              <a:gd name="connsiteY34" fmla="*/ 84631 h 147767"/>
              <a:gd name="connsiteX35" fmla="*/ 20381 w 134334"/>
              <a:gd name="connsiteY35" fmla="*/ 52391 h 147767"/>
              <a:gd name="connsiteX36" fmla="*/ 29785 w 134334"/>
              <a:gd name="connsiteY36" fmla="*/ 50599 h 147767"/>
              <a:gd name="connsiteX37" fmla="*/ 39636 w 134334"/>
              <a:gd name="connsiteY37" fmla="*/ 52391 h 147767"/>
              <a:gd name="connsiteX38" fmla="*/ 52622 w 134334"/>
              <a:gd name="connsiteY38" fmla="*/ 65824 h 147767"/>
              <a:gd name="connsiteX39" fmla="*/ 52622 w 134334"/>
              <a:gd name="connsiteY39" fmla="*/ 84631 h 147767"/>
              <a:gd name="connsiteX40" fmla="*/ 38740 w 134334"/>
              <a:gd name="connsiteY40" fmla="*/ 98512 h 147767"/>
              <a:gd name="connsiteX41" fmla="*/ 103669 w 134334"/>
              <a:gd name="connsiteY41" fmla="*/ 147320 h 147767"/>
              <a:gd name="connsiteX42" fmla="*/ 72324 w 134334"/>
              <a:gd name="connsiteY42" fmla="*/ 115976 h 147767"/>
              <a:gd name="connsiteX43" fmla="*/ 103669 w 134334"/>
              <a:gd name="connsiteY43" fmla="*/ 84631 h 147767"/>
              <a:gd name="connsiteX44" fmla="*/ 135013 w 134334"/>
              <a:gd name="connsiteY44" fmla="*/ 115976 h 147767"/>
              <a:gd name="connsiteX45" fmla="*/ 103669 w 134334"/>
              <a:gd name="connsiteY45" fmla="*/ 147320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34334" h="147767">
                <a:moveTo>
                  <a:pt x="103669" y="80153"/>
                </a:moveTo>
                <a:cubicBezTo>
                  <a:pt x="91131" y="80153"/>
                  <a:pt x="80384" y="86422"/>
                  <a:pt x="73667" y="96273"/>
                </a:cubicBezTo>
                <a:lnTo>
                  <a:pt x="57099" y="84631"/>
                </a:lnTo>
                <a:cubicBezTo>
                  <a:pt x="59338" y="78362"/>
                  <a:pt x="58891" y="71197"/>
                  <a:pt x="56652" y="64928"/>
                </a:cubicBezTo>
                <a:cubicBezTo>
                  <a:pt x="55308" y="61794"/>
                  <a:pt x="53517" y="58659"/>
                  <a:pt x="50831" y="55973"/>
                </a:cubicBezTo>
                <a:lnTo>
                  <a:pt x="69190" y="37614"/>
                </a:lnTo>
                <a:cubicBezTo>
                  <a:pt x="72324" y="39405"/>
                  <a:pt x="75906" y="40300"/>
                  <a:pt x="79489" y="40300"/>
                </a:cubicBezTo>
                <a:cubicBezTo>
                  <a:pt x="84414" y="40300"/>
                  <a:pt x="89788" y="38509"/>
                  <a:pt x="93818" y="34479"/>
                </a:cubicBezTo>
                <a:cubicBezTo>
                  <a:pt x="101878" y="26419"/>
                  <a:pt x="101878" y="13881"/>
                  <a:pt x="93818" y="5821"/>
                </a:cubicBezTo>
                <a:cubicBezTo>
                  <a:pt x="90235" y="2239"/>
                  <a:pt x="84862" y="0"/>
                  <a:pt x="79489" y="0"/>
                </a:cubicBezTo>
                <a:cubicBezTo>
                  <a:pt x="74115" y="0"/>
                  <a:pt x="69190" y="2239"/>
                  <a:pt x="65160" y="5821"/>
                </a:cubicBezTo>
                <a:cubicBezTo>
                  <a:pt x="57099" y="13881"/>
                  <a:pt x="57099" y="26419"/>
                  <a:pt x="65160" y="34479"/>
                </a:cubicBezTo>
                <a:cubicBezTo>
                  <a:pt x="65160" y="34479"/>
                  <a:pt x="65607" y="34927"/>
                  <a:pt x="65607" y="34927"/>
                </a:cubicBezTo>
                <a:lnTo>
                  <a:pt x="47248" y="52838"/>
                </a:lnTo>
                <a:cubicBezTo>
                  <a:pt x="45009" y="51047"/>
                  <a:pt x="43218" y="49704"/>
                  <a:pt x="40532" y="48808"/>
                </a:cubicBezTo>
                <a:cubicBezTo>
                  <a:pt x="33367" y="45674"/>
                  <a:pt x="25307" y="45674"/>
                  <a:pt x="18142" y="48360"/>
                </a:cubicBezTo>
                <a:cubicBezTo>
                  <a:pt x="3366" y="54182"/>
                  <a:pt x="-3799" y="71197"/>
                  <a:pt x="2022" y="86422"/>
                </a:cubicBezTo>
                <a:cubicBezTo>
                  <a:pt x="6500" y="97616"/>
                  <a:pt x="17695" y="104781"/>
                  <a:pt x="28889" y="104781"/>
                </a:cubicBezTo>
                <a:cubicBezTo>
                  <a:pt x="32471" y="104781"/>
                  <a:pt x="36054" y="103885"/>
                  <a:pt x="39636" y="102542"/>
                </a:cubicBezTo>
                <a:cubicBezTo>
                  <a:pt x="46353" y="99855"/>
                  <a:pt x="51278" y="94930"/>
                  <a:pt x="54413" y="88661"/>
                </a:cubicBezTo>
                <a:lnTo>
                  <a:pt x="70533" y="99855"/>
                </a:lnTo>
                <a:cubicBezTo>
                  <a:pt x="68294" y="104781"/>
                  <a:pt x="66951" y="110154"/>
                  <a:pt x="66951" y="115976"/>
                </a:cubicBezTo>
                <a:cubicBezTo>
                  <a:pt x="66951" y="135678"/>
                  <a:pt x="83071" y="151798"/>
                  <a:pt x="102773" y="151798"/>
                </a:cubicBezTo>
                <a:cubicBezTo>
                  <a:pt x="122476" y="151798"/>
                  <a:pt x="138596" y="135678"/>
                  <a:pt x="138596" y="115976"/>
                </a:cubicBezTo>
                <a:cubicBezTo>
                  <a:pt x="139491" y="96273"/>
                  <a:pt x="123371" y="80153"/>
                  <a:pt x="103669" y="80153"/>
                </a:cubicBezTo>
                <a:close/>
                <a:moveTo>
                  <a:pt x="64264" y="20598"/>
                </a:moveTo>
                <a:cubicBezTo>
                  <a:pt x="64264" y="16568"/>
                  <a:pt x="66055" y="12538"/>
                  <a:pt x="68742" y="9403"/>
                </a:cubicBezTo>
                <a:cubicBezTo>
                  <a:pt x="71876" y="6269"/>
                  <a:pt x="75459" y="4926"/>
                  <a:pt x="79936" y="4926"/>
                </a:cubicBezTo>
                <a:cubicBezTo>
                  <a:pt x="83966" y="4926"/>
                  <a:pt x="87996" y="6717"/>
                  <a:pt x="91131" y="9403"/>
                </a:cubicBezTo>
                <a:cubicBezTo>
                  <a:pt x="94265" y="12538"/>
                  <a:pt x="95609" y="16120"/>
                  <a:pt x="95609" y="20598"/>
                </a:cubicBezTo>
                <a:cubicBezTo>
                  <a:pt x="95609" y="24628"/>
                  <a:pt x="93818" y="28658"/>
                  <a:pt x="91131" y="31793"/>
                </a:cubicBezTo>
                <a:cubicBezTo>
                  <a:pt x="84862" y="38061"/>
                  <a:pt x="75011" y="38061"/>
                  <a:pt x="69190" y="31793"/>
                </a:cubicBezTo>
                <a:cubicBezTo>
                  <a:pt x="65607" y="28658"/>
                  <a:pt x="64264" y="24628"/>
                  <a:pt x="64264" y="20598"/>
                </a:cubicBezTo>
                <a:close/>
                <a:moveTo>
                  <a:pt x="38740" y="98512"/>
                </a:moveTo>
                <a:cubicBezTo>
                  <a:pt x="26203" y="103437"/>
                  <a:pt x="11873" y="97616"/>
                  <a:pt x="6500" y="84631"/>
                </a:cubicBezTo>
                <a:cubicBezTo>
                  <a:pt x="1575" y="72093"/>
                  <a:pt x="7396" y="57764"/>
                  <a:pt x="20381" y="52391"/>
                </a:cubicBezTo>
                <a:cubicBezTo>
                  <a:pt x="23516" y="51047"/>
                  <a:pt x="26650" y="50599"/>
                  <a:pt x="29785" y="50599"/>
                </a:cubicBezTo>
                <a:cubicBezTo>
                  <a:pt x="32919" y="50599"/>
                  <a:pt x="36501" y="51047"/>
                  <a:pt x="39636" y="52391"/>
                </a:cubicBezTo>
                <a:cubicBezTo>
                  <a:pt x="45905" y="55077"/>
                  <a:pt x="50383" y="59555"/>
                  <a:pt x="52622" y="65824"/>
                </a:cubicBezTo>
                <a:cubicBezTo>
                  <a:pt x="54861" y="72093"/>
                  <a:pt x="54861" y="78809"/>
                  <a:pt x="52622" y="84631"/>
                </a:cubicBezTo>
                <a:cubicBezTo>
                  <a:pt x="49935" y="91348"/>
                  <a:pt x="45009" y="96273"/>
                  <a:pt x="38740" y="98512"/>
                </a:cubicBezTo>
                <a:close/>
                <a:moveTo>
                  <a:pt x="103669" y="147320"/>
                </a:moveTo>
                <a:cubicBezTo>
                  <a:pt x="86205" y="147320"/>
                  <a:pt x="72324" y="133439"/>
                  <a:pt x="72324" y="115976"/>
                </a:cubicBezTo>
                <a:cubicBezTo>
                  <a:pt x="72324" y="98512"/>
                  <a:pt x="86205" y="84631"/>
                  <a:pt x="103669" y="84631"/>
                </a:cubicBezTo>
                <a:cubicBezTo>
                  <a:pt x="121132" y="84631"/>
                  <a:pt x="135013" y="98512"/>
                  <a:pt x="135013" y="115976"/>
                </a:cubicBezTo>
                <a:cubicBezTo>
                  <a:pt x="135013" y="133439"/>
                  <a:pt x="120684" y="147320"/>
                  <a:pt x="103669" y="147320"/>
                </a:cubicBezTo>
                <a:close/>
              </a:path>
            </a:pathLst>
          </a:custGeom>
          <a:solidFill>
            <a:srgbClr val="231F20"/>
          </a:solidFill>
          <a:ln w="4474" cap="flat">
            <a:noFill/>
            <a:prstDash val="solid"/>
            <a:miter/>
          </a:ln>
        </p:spPr>
        <p:txBody>
          <a:bodyPr rtlCol="0" anchor="ctr"/>
          <a:lstStyle/>
          <a:p>
            <a:endParaRPr lang="en-US"/>
          </a:p>
        </p:txBody>
      </p:sp>
      <p:sp>
        <p:nvSpPr>
          <p:cNvPr id="4320" name="Freeform: Shape 4319">
            <a:extLst>
              <a:ext uri="{FF2B5EF4-FFF2-40B4-BE49-F238E27FC236}">
                <a16:creationId xmlns:a16="http://schemas.microsoft.com/office/drawing/2014/main" id="{8A5EF600-1DC7-4291-9850-6C57A58C2DB3}"/>
              </a:ext>
              <a:ext uri="{C183D7F6-B498-43B3-948B-1728B52AA6E4}">
                <adec:decorative xmlns:adec="http://schemas.microsoft.com/office/drawing/2017/decorative" val="1"/>
              </a:ext>
            </a:extLst>
          </p:cNvPr>
          <p:cNvSpPr>
            <a:spLocks noChangeAspect="1"/>
          </p:cNvSpPr>
          <p:nvPr/>
        </p:nvSpPr>
        <p:spPr>
          <a:xfrm>
            <a:off x="804175" y="3947911"/>
            <a:ext cx="125379" cy="129857"/>
          </a:xfrm>
          <a:custGeom>
            <a:avLst/>
            <a:gdLst>
              <a:gd name="connsiteX0" fmla="*/ 102990 w 125378"/>
              <a:gd name="connsiteY0" fmla="*/ 89109 h 129856"/>
              <a:gd name="connsiteX1" fmla="*/ 83735 w 125378"/>
              <a:gd name="connsiteY1" fmla="*/ 99855 h 129856"/>
              <a:gd name="connsiteX2" fmla="*/ 64481 w 125378"/>
              <a:gd name="connsiteY2" fmla="*/ 90900 h 129856"/>
              <a:gd name="connsiteX3" fmla="*/ 71645 w 125378"/>
              <a:gd name="connsiteY3" fmla="*/ 69406 h 129856"/>
              <a:gd name="connsiteX4" fmla="*/ 66272 w 125378"/>
              <a:gd name="connsiteY4" fmla="*/ 50152 h 129856"/>
              <a:gd name="connsiteX5" fmla="*/ 85526 w 125378"/>
              <a:gd name="connsiteY5" fmla="*/ 36270 h 129856"/>
              <a:gd name="connsiteX6" fmla="*/ 102990 w 125378"/>
              <a:gd name="connsiteY6" fmla="*/ 44778 h 129856"/>
              <a:gd name="connsiteX7" fmla="*/ 125379 w 125378"/>
              <a:gd name="connsiteY7" fmla="*/ 22389 h 129856"/>
              <a:gd name="connsiteX8" fmla="*/ 102990 w 125378"/>
              <a:gd name="connsiteY8" fmla="*/ 0 h 129856"/>
              <a:gd name="connsiteX9" fmla="*/ 80601 w 125378"/>
              <a:gd name="connsiteY9" fmla="*/ 22389 h 129856"/>
              <a:gd name="connsiteX10" fmla="*/ 83287 w 125378"/>
              <a:gd name="connsiteY10" fmla="*/ 32240 h 129856"/>
              <a:gd name="connsiteX11" fmla="*/ 63585 w 125378"/>
              <a:gd name="connsiteY11" fmla="*/ 46569 h 129856"/>
              <a:gd name="connsiteX12" fmla="*/ 35823 w 125378"/>
              <a:gd name="connsiteY12" fmla="*/ 33584 h 129856"/>
              <a:gd name="connsiteX13" fmla="*/ 0 w 125378"/>
              <a:gd name="connsiteY13" fmla="*/ 69406 h 129856"/>
              <a:gd name="connsiteX14" fmla="*/ 35823 w 125378"/>
              <a:gd name="connsiteY14" fmla="*/ 105229 h 129856"/>
              <a:gd name="connsiteX15" fmla="*/ 61346 w 125378"/>
              <a:gd name="connsiteY15" fmla="*/ 94482 h 129856"/>
              <a:gd name="connsiteX16" fmla="*/ 81944 w 125378"/>
              <a:gd name="connsiteY16" fmla="*/ 104333 h 129856"/>
              <a:gd name="connsiteX17" fmla="*/ 80601 w 125378"/>
              <a:gd name="connsiteY17" fmla="*/ 111498 h 129856"/>
              <a:gd name="connsiteX18" fmla="*/ 102990 w 125378"/>
              <a:gd name="connsiteY18" fmla="*/ 133887 h 129856"/>
              <a:gd name="connsiteX19" fmla="*/ 125379 w 125378"/>
              <a:gd name="connsiteY19" fmla="*/ 111498 h 129856"/>
              <a:gd name="connsiteX20" fmla="*/ 102990 w 125378"/>
              <a:gd name="connsiteY20" fmla="*/ 89109 h 129856"/>
              <a:gd name="connsiteX21" fmla="*/ 102542 w 125378"/>
              <a:gd name="connsiteY21" fmla="*/ 4478 h 129856"/>
              <a:gd name="connsiteX22" fmla="*/ 120453 w 125378"/>
              <a:gd name="connsiteY22" fmla="*/ 22389 h 129856"/>
              <a:gd name="connsiteX23" fmla="*/ 102542 w 125378"/>
              <a:gd name="connsiteY23" fmla="*/ 40300 h 129856"/>
              <a:gd name="connsiteX24" fmla="*/ 84631 w 125378"/>
              <a:gd name="connsiteY24" fmla="*/ 22389 h 129856"/>
              <a:gd name="connsiteX25" fmla="*/ 102542 w 125378"/>
              <a:gd name="connsiteY25" fmla="*/ 4478 h 129856"/>
              <a:gd name="connsiteX26" fmla="*/ 35375 w 125378"/>
              <a:gd name="connsiteY26" fmla="*/ 100751 h 129856"/>
              <a:gd name="connsiteX27" fmla="*/ 4030 w 125378"/>
              <a:gd name="connsiteY27" fmla="*/ 69406 h 129856"/>
              <a:gd name="connsiteX28" fmla="*/ 35375 w 125378"/>
              <a:gd name="connsiteY28" fmla="*/ 38061 h 129856"/>
              <a:gd name="connsiteX29" fmla="*/ 66719 w 125378"/>
              <a:gd name="connsiteY29" fmla="*/ 69406 h 129856"/>
              <a:gd name="connsiteX30" fmla="*/ 35375 w 125378"/>
              <a:gd name="connsiteY30" fmla="*/ 100751 h 129856"/>
              <a:gd name="connsiteX31" fmla="*/ 102990 w 125378"/>
              <a:gd name="connsiteY31" fmla="*/ 129409 h 129856"/>
              <a:gd name="connsiteX32" fmla="*/ 85079 w 125378"/>
              <a:gd name="connsiteY32" fmla="*/ 111498 h 129856"/>
              <a:gd name="connsiteX33" fmla="*/ 102990 w 125378"/>
              <a:gd name="connsiteY33" fmla="*/ 93586 h 129856"/>
              <a:gd name="connsiteX34" fmla="*/ 120901 w 125378"/>
              <a:gd name="connsiteY34" fmla="*/ 111498 h 129856"/>
              <a:gd name="connsiteX35" fmla="*/ 102990 w 125378"/>
              <a:gd name="connsiteY35" fmla="*/ 12940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5378" h="129856">
                <a:moveTo>
                  <a:pt x="102990" y="89109"/>
                </a:moveTo>
                <a:cubicBezTo>
                  <a:pt x="94930" y="89109"/>
                  <a:pt x="87765" y="93586"/>
                  <a:pt x="83735" y="99855"/>
                </a:cubicBezTo>
                <a:lnTo>
                  <a:pt x="64481" y="90900"/>
                </a:lnTo>
                <a:cubicBezTo>
                  <a:pt x="68958" y="85079"/>
                  <a:pt x="71645" y="77466"/>
                  <a:pt x="71645" y="69406"/>
                </a:cubicBezTo>
                <a:cubicBezTo>
                  <a:pt x="71645" y="62242"/>
                  <a:pt x="69406" y="55973"/>
                  <a:pt x="66272" y="50152"/>
                </a:cubicBezTo>
                <a:lnTo>
                  <a:pt x="85526" y="36270"/>
                </a:lnTo>
                <a:cubicBezTo>
                  <a:pt x="89556" y="41644"/>
                  <a:pt x="95825" y="44778"/>
                  <a:pt x="102990" y="44778"/>
                </a:cubicBezTo>
                <a:cubicBezTo>
                  <a:pt x="115528" y="44778"/>
                  <a:pt x="125379" y="34927"/>
                  <a:pt x="125379" y="22389"/>
                </a:cubicBezTo>
                <a:cubicBezTo>
                  <a:pt x="125379" y="9851"/>
                  <a:pt x="115528" y="0"/>
                  <a:pt x="102990" y="0"/>
                </a:cubicBezTo>
                <a:cubicBezTo>
                  <a:pt x="90452" y="0"/>
                  <a:pt x="80601" y="9851"/>
                  <a:pt x="80601" y="22389"/>
                </a:cubicBezTo>
                <a:cubicBezTo>
                  <a:pt x="80601" y="25971"/>
                  <a:pt x="81496" y="29554"/>
                  <a:pt x="83287" y="32240"/>
                </a:cubicBezTo>
                <a:lnTo>
                  <a:pt x="63585" y="46569"/>
                </a:lnTo>
                <a:cubicBezTo>
                  <a:pt x="56868" y="38509"/>
                  <a:pt x="47017" y="33584"/>
                  <a:pt x="35823" y="33584"/>
                </a:cubicBezTo>
                <a:cubicBezTo>
                  <a:pt x="16120" y="33584"/>
                  <a:pt x="0" y="49704"/>
                  <a:pt x="0" y="69406"/>
                </a:cubicBezTo>
                <a:cubicBezTo>
                  <a:pt x="0" y="89109"/>
                  <a:pt x="16120" y="105229"/>
                  <a:pt x="35823" y="105229"/>
                </a:cubicBezTo>
                <a:cubicBezTo>
                  <a:pt x="45674" y="105229"/>
                  <a:pt x="55077" y="101199"/>
                  <a:pt x="61346" y="94482"/>
                </a:cubicBezTo>
                <a:lnTo>
                  <a:pt x="81944" y="104333"/>
                </a:lnTo>
                <a:cubicBezTo>
                  <a:pt x="81049" y="106572"/>
                  <a:pt x="80601" y="109259"/>
                  <a:pt x="80601" y="111498"/>
                </a:cubicBezTo>
                <a:cubicBezTo>
                  <a:pt x="80601" y="124035"/>
                  <a:pt x="90452" y="133887"/>
                  <a:pt x="102990" y="133887"/>
                </a:cubicBezTo>
                <a:cubicBezTo>
                  <a:pt x="115528" y="133887"/>
                  <a:pt x="125379" y="124035"/>
                  <a:pt x="125379" y="111498"/>
                </a:cubicBezTo>
                <a:cubicBezTo>
                  <a:pt x="125379" y="98960"/>
                  <a:pt x="115080" y="89109"/>
                  <a:pt x="102990" y="89109"/>
                </a:cubicBezTo>
                <a:close/>
                <a:moveTo>
                  <a:pt x="102542" y="4478"/>
                </a:moveTo>
                <a:cubicBezTo>
                  <a:pt x="112393" y="4478"/>
                  <a:pt x="120453" y="12538"/>
                  <a:pt x="120453" y="22389"/>
                </a:cubicBezTo>
                <a:cubicBezTo>
                  <a:pt x="120453" y="32240"/>
                  <a:pt x="112393" y="40300"/>
                  <a:pt x="102542" y="40300"/>
                </a:cubicBezTo>
                <a:cubicBezTo>
                  <a:pt x="92691" y="40300"/>
                  <a:pt x="84631" y="32240"/>
                  <a:pt x="84631" y="22389"/>
                </a:cubicBezTo>
                <a:cubicBezTo>
                  <a:pt x="84631" y="12538"/>
                  <a:pt x="92691" y="4478"/>
                  <a:pt x="102542" y="4478"/>
                </a:cubicBezTo>
                <a:close/>
                <a:moveTo>
                  <a:pt x="35375" y="100751"/>
                </a:moveTo>
                <a:cubicBezTo>
                  <a:pt x="17911" y="100751"/>
                  <a:pt x="4030" y="86870"/>
                  <a:pt x="4030" y="69406"/>
                </a:cubicBezTo>
                <a:cubicBezTo>
                  <a:pt x="4030" y="51943"/>
                  <a:pt x="17911" y="38061"/>
                  <a:pt x="35375" y="38061"/>
                </a:cubicBezTo>
                <a:cubicBezTo>
                  <a:pt x="52838" y="38061"/>
                  <a:pt x="66719" y="51943"/>
                  <a:pt x="66719" y="69406"/>
                </a:cubicBezTo>
                <a:cubicBezTo>
                  <a:pt x="66719" y="86870"/>
                  <a:pt x="52838" y="100751"/>
                  <a:pt x="35375" y="100751"/>
                </a:cubicBezTo>
                <a:close/>
                <a:moveTo>
                  <a:pt x="102990" y="129409"/>
                </a:moveTo>
                <a:cubicBezTo>
                  <a:pt x="93139" y="129409"/>
                  <a:pt x="85079" y="121349"/>
                  <a:pt x="85079" y="111498"/>
                </a:cubicBezTo>
                <a:cubicBezTo>
                  <a:pt x="85079" y="101646"/>
                  <a:pt x="93139" y="93586"/>
                  <a:pt x="102990" y="93586"/>
                </a:cubicBezTo>
                <a:cubicBezTo>
                  <a:pt x="112841" y="93586"/>
                  <a:pt x="120901" y="101646"/>
                  <a:pt x="120901" y="111498"/>
                </a:cubicBezTo>
                <a:cubicBezTo>
                  <a:pt x="120901" y="121349"/>
                  <a:pt x="112841" y="129409"/>
                  <a:pt x="102990" y="129409"/>
                </a:cubicBezTo>
                <a:close/>
              </a:path>
            </a:pathLst>
          </a:custGeom>
          <a:solidFill>
            <a:srgbClr val="231F20"/>
          </a:solidFill>
          <a:ln w="4474" cap="flat">
            <a:noFill/>
            <a:prstDash val="solid"/>
            <a:miter/>
          </a:ln>
        </p:spPr>
        <p:txBody>
          <a:bodyPr rtlCol="0" anchor="ctr"/>
          <a:lstStyle/>
          <a:p>
            <a:endParaRPr lang="en-US"/>
          </a:p>
        </p:txBody>
      </p:sp>
      <p:sp>
        <p:nvSpPr>
          <p:cNvPr id="4321" name="Freeform: Shape 4320">
            <a:extLst>
              <a:ext uri="{FF2B5EF4-FFF2-40B4-BE49-F238E27FC236}">
                <a16:creationId xmlns:a16="http://schemas.microsoft.com/office/drawing/2014/main" id="{47299D7C-8D1D-40C9-BB69-8F3908952874}"/>
              </a:ext>
              <a:ext uri="{C183D7F6-B498-43B3-948B-1728B52AA6E4}">
                <adec:decorative xmlns:adec="http://schemas.microsoft.com/office/drawing/2017/decorative" val="1"/>
              </a:ext>
            </a:extLst>
          </p:cNvPr>
          <p:cNvSpPr>
            <a:spLocks noChangeAspect="1"/>
          </p:cNvSpPr>
          <p:nvPr/>
        </p:nvSpPr>
        <p:spPr>
          <a:xfrm>
            <a:off x="1320019" y="3934478"/>
            <a:ext cx="165679" cy="147768"/>
          </a:xfrm>
          <a:custGeom>
            <a:avLst/>
            <a:gdLst>
              <a:gd name="connsiteX0" fmla="*/ 137021 w 165679"/>
              <a:gd name="connsiteY0" fmla="*/ 58212 h 147767"/>
              <a:gd name="connsiteX1" fmla="*/ 166127 w 165679"/>
              <a:gd name="connsiteY1" fmla="*/ 29106 h 147767"/>
              <a:gd name="connsiteX2" fmla="*/ 137021 w 165679"/>
              <a:gd name="connsiteY2" fmla="*/ 0 h 147767"/>
              <a:gd name="connsiteX3" fmla="*/ 107915 w 165679"/>
              <a:gd name="connsiteY3" fmla="*/ 29106 h 147767"/>
              <a:gd name="connsiteX4" fmla="*/ 129857 w 165679"/>
              <a:gd name="connsiteY4" fmla="*/ 57316 h 147767"/>
              <a:gd name="connsiteX5" fmla="*/ 119558 w 165679"/>
              <a:gd name="connsiteY5" fmla="*/ 107915 h 147767"/>
              <a:gd name="connsiteX6" fmla="*/ 116871 w 165679"/>
              <a:gd name="connsiteY6" fmla="*/ 107468 h 147767"/>
              <a:gd name="connsiteX7" fmla="*/ 106124 w 165679"/>
              <a:gd name="connsiteY7" fmla="*/ 110154 h 147767"/>
              <a:gd name="connsiteX8" fmla="*/ 64481 w 165679"/>
              <a:gd name="connsiteY8" fmla="*/ 51943 h 147767"/>
              <a:gd name="connsiteX9" fmla="*/ 71645 w 165679"/>
              <a:gd name="connsiteY9" fmla="*/ 35375 h 147767"/>
              <a:gd name="connsiteX10" fmla="*/ 49256 w 165679"/>
              <a:gd name="connsiteY10" fmla="*/ 12986 h 147767"/>
              <a:gd name="connsiteX11" fmla="*/ 26867 w 165679"/>
              <a:gd name="connsiteY11" fmla="*/ 35375 h 147767"/>
              <a:gd name="connsiteX12" fmla="*/ 40748 w 165679"/>
              <a:gd name="connsiteY12" fmla="*/ 55973 h 147767"/>
              <a:gd name="connsiteX13" fmla="*/ 27762 w 165679"/>
              <a:gd name="connsiteY13" fmla="*/ 94482 h 147767"/>
              <a:gd name="connsiteX14" fmla="*/ 22389 w 165679"/>
              <a:gd name="connsiteY14" fmla="*/ 93586 h 147767"/>
              <a:gd name="connsiteX15" fmla="*/ 0 w 165679"/>
              <a:gd name="connsiteY15" fmla="*/ 115975 h 147767"/>
              <a:gd name="connsiteX16" fmla="*/ 22389 w 165679"/>
              <a:gd name="connsiteY16" fmla="*/ 138365 h 147767"/>
              <a:gd name="connsiteX17" fmla="*/ 44778 w 165679"/>
              <a:gd name="connsiteY17" fmla="*/ 115975 h 147767"/>
              <a:gd name="connsiteX18" fmla="*/ 32240 w 165679"/>
              <a:gd name="connsiteY18" fmla="*/ 95825 h 147767"/>
              <a:gd name="connsiteX19" fmla="*/ 45226 w 165679"/>
              <a:gd name="connsiteY19" fmla="*/ 57316 h 147767"/>
              <a:gd name="connsiteX20" fmla="*/ 49256 w 165679"/>
              <a:gd name="connsiteY20" fmla="*/ 57764 h 147767"/>
              <a:gd name="connsiteX21" fmla="*/ 60898 w 165679"/>
              <a:gd name="connsiteY21" fmla="*/ 54629 h 147767"/>
              <a:gd name="connsiteX22" fmla="*/ 102094 w 165679"/>
              <a:gd name="connsiteY22" fmla="*/ 112393 h 147767"/>
              <a:gd name="connsiteX23" fmla="*/ 94034 w 165679"/>
              <a:gd name="connsiteY23" fmla="*/ 129409 h 147767"/>
              <a:gd name="connsiteX24" fmla="*/ 116423 w 165679"/>
              <a:gd name="connsiteY24" fmla="*/ 151798 h 147767"/>
              <a:gd name="connsiteX25" fmla="*/ 138812 w 165679"/>
              <a:gd name="connsiteY25" fmla="*/ 129409 h 147767"/>
              <a:gd name="connsiteX26" fmla="*/ 123588 w 165679"/>
              <a:gd name="connsiteY26" fmla="*/ 108363 h 147767"/>
              <a:gd name="connsiteX27" fmla="*/ 133887 w 165679"/>
              <a:gd name="connsiteY27" fmla="*/ 57764 h 147767"/>
              <a:gd name="connsiteX28" fmla="*/ 137021 w 165679"/>
              <a:gd name="connsiteY28" fmla="*/ 58212 h 147767"/>
              <a:gd name="connsiteX29" fmla="*/ 40748 w 165679"/>
              <a:gd name="connsiteY29" fmla="*/ 116423 h 147767"/>
              <a:gd name="connsiteX30" fmla="*/ 22837 w 165679"/>
              <a:gd name="connsiteY30" fmla="*/ 134335 h 147767"/>
              <a:gd name="connsiteX31" fmla="*/ 4926 w 165679"/>
              <a:gd name="connsiteY31" fmla="*/ 116423 h 147767"/>
              <a:gd name="connsiteX32" fmla="*/ 22837 w 165679"/>
              <a:gd name="connsiteY32" fmla="*/ 98512 h 147767"/>
              <a:gd name="connsiteX33" fmla="*/ 40748 w 165679"/>
              <a:gd name="connsiteY33" fmla="*/ 116423 h 147767"/>
              <a:gd name="connsiteX34" fmla="*/ 31793 w 165679"/>
              <a:gd name="connsiteY34" fmla="*/ 35823 h 147767"/>
              <a:gd name="connsiteX35" fmla="*/ 49704 w 165679"/>
              <a:gd name="connsiteY35" fmla="*/ 17911 h 147767"/>
              <a:gd name="connsiteX36" fmla="*/ 67615 w 165679"/>
              <a:gd name="connsiteY36" fmla="*/ 35823 h 147767"/>
              <a:gd name="connsiteX37" fmla="*/ 49704 w 165679"/>
              <a:gd name="connsiteY37" fmla="*/ 53734 h 147767"/>
              <a:gd name="connsiteX38" fmla="*/ 31793 w 165679"/>
              <a:gd name="connsiteY38" fmla="*/ 35823 h 147767"/>
              <a:gd name="connsiteX39" fmla="*/ 134782 w 165679"/>
              <a:gd name="connsiteY39" fmla="*/ 129857 h 147767"/>
              <a:gd name="connsiteX40" fmla="*/ 116871 w 165679"/>
              <a:gd name="connsiteY40" fmla="*/ 147768 h 147767"/>
              <a:gd name="connsiteX41" fmla="*/ 98960 w 165679"/>
              <a:gd name="connsiteY41" fmla="*/ 129857 h 147767"/>
              <a:gd name="connsiteX42" fmla="*/ 116871 w 165679"/>
              <a:gd name="connsiteY42" fmla="*/ 111946 h 147767"/>
              <a:gd name="connsiteX43" fmla="*/ 134782 w 165679"/>
              <a:gd name="connsiteY43" fmla="*/ 129857 h 147767"/>
              <a:gd name="connsiteX44" fmla="*/ 112393 w 165679"/>
              <a:gd name="connsiteY44" fmla="*/ 29106 h 147767"/>
              <a:gd name="connsiteX45" fmla="*/ 137021 w 165679"/>
              <a:gd name="connsiteY45" fmla="*/ 4478 h 147767"/>
              <a:gd name="connsiteX46" fmla="*/ 161649 w 165679"/>
              <a:gd name="connsiteY46" fmla="*/ 29106 h 147767"/>
              <a:gd name="connsiteX47" fmla="*/ 137021 w 165679"/>
              <a:gd name="connsiteY47" fmla="*/ 53734 h 147767"/>
              <a:gd name="connsiteX48" fmla="*/ 133439 w 165679"/>
              <a:gd name="connsiteY48" fmla="*/ 53286 h 147767"/>
              <a:gd name="connsiteX49" fmla="*/ 132991 w 165679"/>
              <a:gd name="connsiteY49" fmla="*/ 53286 h 147767"/>
              <a:gd name="connsiteX50" fmla="*/ 132096 w 165679"/>
              <a:gd name="connsiteY50" fmla="*/ 53286 h 147767"/>
              <a:gd name="connsiteX51" fmla="*/ 112393 w 165679"/>
              <a:gd name="connsiteY51" fmla="*/ 2910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65679" h="147767">
                <a:moveTo>
                  <a:pt x="137021" y="58212"/>
                </a:moveTo>
                <a:cubicBezTo>
                  <a:pt x="153141" y="58212"/>
                  <a:pt x="166127" y="45226"/>
                  <a:pt x="166127" y="29106"/>
                </a:cubicBezTo>
                <a:cubicBezTo>
                  <a:pt x="166127" y="12986"/>
                  <a:pt x="153141" y="0"/>
                  <a:pt x="137021" y="0"/>
                </a:cubicBezTo>
                <a:cubicBezTo>
                  <a:pt x="120901" y="0"/>
                  <a:pt x="107915" y="12986"/>
                  <a:pt x="107915" y="29106"/>
                </a:cubicBezTo>
                <a:cubicBezTo>
                  <a:pt x="107915" y="42539"/>
                  <a:pt x="117319" y="54182"/>
                  <a:pt x="129857" y="57316"/>
                </a:cubicBezTo>
                <a:lnTo>
                  <a:pt x="119558" y="107915"/>
                </a:lnTo>
                <a:cubicBezTo>
                  <a:pt x="118662" y="107915"/>
                  <a:pt x="117767" y="107468"/>
                  <a:pt x="116871" y="107468"/>
                </a:cubicBezTo>
                <a:cubicBezTo>
                  <a:pt x="112841" y="107468"/>
                  <a:pt x="109707" y="108363"/>
                  <a:pt x="106124" y="110154"/>
                </a:cubicBezTo>
                <a:lnTo>
                  <a:pt x="64481" y="51943"/>
                </a:lnTo>
                <a:cubicBezTo>
                  <a:pt x="68958" y="47913"/>
                  <a:pt x="71645" y="42091"/>
                  <a:pt x="71645" y="35375"/>
                </a:cubicBezTo>
                <a:cubicBezTo>
                  <a:pt x="71645" y="22837"/>
                  <a:pt x="61794" y="12986"/>
                  <a:pt x="49256" y="12986"/>
                </a:cubicBezTo>
                <a:cubicBezTo>
                  <a:pt x="36718" y="12986"/>
                  <a:pt x="26867" y="22837"/>
                  <a:pt x="26867" y="35375"/>
                </a:cubicBezTo>
                <a:cubicBezTo>
                  <a:pt x="26867" y="44778"/>
                  <a:pt x="32688" y="52838"/>
                  <a:pt x="40748" y="55973"/>
                </a:cubicBezTo>
                <a:lnTo>
                  <a:pt x="27762" y="94482"/>
                </a:lnTo>
                <a:cubicBezTo>
                  <a:pt x="25971" y="94034"/>
                  <a:pt x="24180" y="93586"/>
                  <a:pt x="22389" y="93586"/>
                </a:cubicBezTo>
                <a:cubicBezTo>
                  <a:pt x="9851" y="93586"/>
                  <a:pt x="0" y="103438"/>
                  <a:pt x="0" y="115975"/>
                </a:cubicBezTo>
                <a:cubicBezTo>
                  <a:pt x="0" y="128513"/>
                  <a:pt x="9851" y="138365"/>
                  <a:pt x="22389" y="138365"/>
                </a:cubicBezTo>
                <a:cubicBezTo>
                  <a:pt x="34927" y="138365"/>
                  <a:pt x="44778" y="128513"/>
                  <a:pt x="44778" y="115975"/>
                </a:cubicBezTo>
                <a:cubicBezTo>
                  <a:pt x="44778" y="107020"/>
                  <a:pt x="39405" y="99407"/>
                  <a:pt x="32240" y="95825"/>
                </a:cubicBezTo>
                <a:lnTo>
                  <a:pt x="45226" y="57316"/>
                </a:lnTo>
                <a:cubicBezTo>
                  <a:pt x="46569" y="57764"/>
                  <a:pt x="47913" y="57764"/>
                  <a:pt x="49256" y="57764"/>
                </a:cubicBezTo>
                <a:cubicBezTo>
                  <a:pt x="53734" y="57764"/>
                  <a:pt x="57316" y="56421"/>
                  <a:pt x="60898" y="54629"/>
                </a:cubicBezTo>
                <a:lnTo>
                  <a:pt x="102094" y="112393"/>
                </a:lnTo>
                <a:cubicBezTo>
                  <a:pt x="97169" y="116423"/>
                  <a:pt x="94034" y="122692"/>
                  <a:pt x="94034" y="129409"/>
                </a:cubicBezTo>
                <a:cubicBezTo>
                  <a:pt x="94034" y="141947"/>
                  <a:pt x="103885" y="151798"/>
                  <a:pt x="116423" y="151798"/>
                </a:cubicBezTo>
                <a:cubicBezTo>
                  <a:pt x="128961" y="151798"/>
                  <a:pt x="138812" y="141947"/>
                  <a:pt x="138812" y="129409"/>
                </a:cubicBezTo>
                <a:cubicBezTo>
                  <a:pt x="138812" y="119558"/>
                  <a:pt x="132543" y="111498"/>
                  <a:pt x="123588" y="108363"/>
                </a:cubicBezTo>
                <a:lnTo>
                  <a:pt x="133887" y="57764"/>
                </a:lnTo>
                <a:cubicBezTo>
                  <a:pt x="135230" y="58212"/>
                  <a:pt x="136126" y="58212"/>
                  <a:pt x="137021" y="58212"/>
                </a:cubicBezTo>
                <a:close/>
                <a:moveTo>
                  <a:pt x="40748" y="116423"/>
                </a:moveTo>
                <a:cubicBezTo>
                  <a:pt x="40748" y="126274"/>
                  <a:pt x="32688" y="134335"/>
                  <a:pt x="22837" y="134335"/>
                </a:cubicBezTo>
                <a:cubicBezTo>
                  <a:pt x="12986" y="134335"/>
                  <a:pt x="4926" y="126274"/>
                  <a:pt x="4926" y="116423"/>
                </a:cubicBezTo>
                <a:cubicBezTo>
                  <a:pt x="4926" y="106572"/>
                  <a:pt x="12986" y="98512"/>
                  <a:pt x="22837" y="98512"/>
                </a:cubicBezTo>
                <a:cubicBezTo>
                  <a:pt x="32688" y="98512"/>
                  <a:pt x="40748" y="106572"/>
                  <a:pt x="40748" y="116423"/>
                </a:cubicBezTo>
                <a:close/>
                <a:moveTo>
                  <a:pt x="31793" y="35823"/>
                </a:moveTo>
                <a:cubicBezTo>
                  <a:pt x="31793" y="25971"/>
                  <a:pt x="39853" y="17911"/>
                  <a:pt x="49704" y="17911"/>
                </a:cubicBezTo>
                <a:cubicBezTo>
                  <a:pt x="59555" y="17911"/>
                  <a:pt x="67615" y="25971"/>
                  <a:pt x="67615" y="35823"/>
                </a:cubicBezTo>
                <a:cubicBezTo>
                  <a:pt x="67615" y="45674"/>
                  <a:pt x="59555" y="53734"/>
                  <a:pt x="49704" y="53734"/>
                </a:cubicBezTo>
                <a:cubicBezTo>
                  <a:pt x="39853" y="53734"/>
                  <a:pt x="31793" y="45674"/>
                  <a:pt x="31793" y="35823"/>
                </a:cubicBezTo>
                <a:close/>
                <a:moveTo>
                  <a:pt x="134782" y="129857"/>
                </a:moveTo>
                <a:cubicBezTo>
                  <a:pt x="134782" y="139708"/>
                  <a:pt x="126722" y="147768"/>
                  <a:pt x="116871" y="147768"/>
                </a:cubicBezTo>
                <a:cubicBezTo>
                  <a:pt x="107020" y="147768"/>
                  <a:pt x="98960" y="139708"/>
                  <a:pt x="98960" y="129857"/>
                </a:cubicBezTo>
                <a:cubicBezTo>
                  <a:pt x="98960" y="120006"/>
                  <a:pt x="107020" y="111946"/>
                  <a:pt x="116871" y="111946"/>
                </a:cubicBezTo>
                <a:cubicBezTo>
                  <a:pt x="126722" y="111946"/>
                  <a:pt x="134782" y="120006"/>
                  <a:pt x="134782" y="129857"/>
                </a:cubicBezTo>
                <a:close/>
                <a:moveTo>
                  <a:pt x="112393" y="29106"/>
                </a:moveTo>
                <a:cubicBezTo>
                  <a:pt x="112393" y="15672"/>
                  <a:pt x="123588" y="4478"/>
                  <a:pt x="137021" y="4478"/>
                </a:cubicBezTo>
                <a:cubicBezTo>
                  <a:pt x="150455" y="4478"/>
                  <a:pt x="161649" y="15672"/>
                  <a:pt x="161649" y="29106"/>
                </a:cubicBezTo>
                <a:cubicBezTo>
                  <a:pt x="161649" y="42539"/>
                  <a:pt x="150455" y="53734"/>
                  <a:pt x="137021" y="53734"/>
                </a:cubicBezTo>
                <a:cubicBezTo>
                  <a:pt x="135678" y="53734"/>
                  <a:pt x="134335" y="53734"/>
                  <a:pt x="133439" y="53286"/>
                </a:cubicBezTo>
                <a:cubicBezTo>
                  <a:pt x="133439" y="53286"/>
                  <a:pt x="132991" y="53286"/>
                  <a:pt x="132991" y="53286"/>
                </a:cubicBezTo>
                <a:cubicBezTo>
                  <a:pt x="132543" y="53286"/>
                  <a:pt x="132543" y="53286"/>
                  <a:pt x="132096" y="53286"/>
                </a:cubicBezTo>
                <a:cubicBezTo>
                  <a:pt x="120901" y="51047"/>
                  <a:pt x="112393" y="41196"/>
                  <a:pt x="112393" y="29106"/>
                </a:cubicBezTo>
                <a:close/>
              </a:path>
            </a:pathLst>
          </a:custGeom>
          <a:solidFill>
            <a:srgbClr val="231F20"/>
          </a:solidFill>
          <a:ln w="4474" cap="flat">
            <a:noFill/>
            <a:prstDash val="solid"/>
            <a:miter/>
          </a:ln>
        </p:spPr>
        <p:txBody>
          <a:bodyPr rtlCol="0" anchor="ctr"/>
          <a:lstStyle/>
          <a:p>
            <a:endParaRPr lang="en-US"/>
          </a:p>
        </p:txBody>
      </p:sp>
      <p:sp>
        <p:nvSpPr>
          <p:cNvPr id="4322" name="Freeform: Shape 4321">
            <a:extLst>
              <a:ext uri="{FF2B5EF4-FFF2-40B4-BE49-F238E27FC236}">
                <a16:creationId xmlns:a16="http://schemas.microsoft.com/office/drawing/2014/main" id="{7597EB49-37F1-49F9-86AE-2EA2E37C84D1}"/>
              </a:ext>
              <a:ext uri="{C183D7F6-B498-43B3-948B-1728B52AA6E4}">
                <adec:decorative xmlns:adec="http://schemas.microsoft.com/office/drawing/2017/decorative" val="1"/>
              </a:ext>
            </a:extLst>
          </p:cNvPr>
          <p:cNvSpPr>
            <a:spLocks noChangeAspect="1"/>
          </p:cNvSpPr>
          <p:nvPr/>
        </p:nvSpPr>
        <p:spPr>
          <a:xfrm>
            <a:off x="1869000" y="3947911"/>
            <a:ext cx="143290" cy="134335"/>
          </a:xfrm>
          <a:custGeom>
            <a:avLst/>
            <a:gdLst>
              <a:gd name="connsiteX0" fmla="*/ 128066 w 143290"/>
              <a:gd name="connsiteY0" fmla="*/ 76123 h 134334"/>
              <a:gd name="connsiteX1" fmla="*/ 114184 w 143290"/>
              <a:gd name="connsiteY1" fmla="*/ 82840 h 134334"/>
              <a:gd name="connsiteX2" fmla="*/ 99407 w 143290"/>
              <a:gd name="connsiteY2" fmla="*/ 74332 h 134334"/>
              <a:gd name="connsiteX3" fmla="*/ 102990 w 143290"/>
              <a:gd name="connsiteY3" fmla="*/ 60451 h 134334"/>
              <a:gd name="connsiteX4" fmla="*/ 96273 w 143290"/>
              <a:gd name="connsiteY4" fmla="*/ 41644 h 134334"/>
              <a:gd name="connsiteX5" fmla="*/ 107468 w 143290"/>
              <a:gd name="connsiteY5" fmla="*/ 31345 h 134334"/>
              <a:gd name="connsiteX6" fmla="*/ 119110 w 143290"/>
              <a:gd name="connsiteY6" fmla="*/ 35823 h 134334"/>
              <a:gd name="connsiteX7" fmla="*/ 137021 w 143290"/>
              <a:gd name="connsiteY7" fmla="*/ 17911 h 134334"/>
              <a:gd name="connsiteX8" fmla="*/ 119110 w 143290"/>
              <a:gd name="connsiteY8" fmla="*/ 0 h 134334"/>
              <a:gd name="connsiteX9" fmla="*/ 101199 w 143290"/>
              <a:gd name="connsiteY9" fmla="*/ 17911 h 134334"/>
              <a:gd name="connsiteX10" fmla="*/ 104333 w 143290"/>
              <a:gd name="connsiteY10" fmla="*/ 28210 h 134334"/>
              <a:gd name="connsiteX11" fmla="*/ 92691 w 143290"/>
              <a:gd name="connsiteY11" fmla="*/ 38509 h 134334"/>
              <a:gd name="connsiteX12" fmla="*/ 72988 w 143290"/>
              <a:gd name="connsiteY12" fmla="*/ 30897 h 134334"/>
              <a:gd name="connsiteX13" fmla="*/ 54182 w 143290"/>
              <a:gd name="connsiteY13" fmla="*/ 37614 h 134334"/>
              <a:gd name="connsiteX14" fmla="*/ 44330 w 143290"/>
              <a:gd name="connsiteY14" fmla="*/ 27315 h 134334"/>
              <a:gd name="connsiteX15" fmla="*/ 47465 w 143290"/>
              <a:gd name="connsiteY15" fmla="*/ 18359 h 134334"/>
              <a:gd name="connsiteX16" fmla="*/ 33136 w 143290"/>
              <a:gd name="connsiteY16" fmla="*/ 4030 h 134334"/>
              <a:gd name="connsiteX17" fmla="*/ 18807 w 143290"/>
              <a:gd name="connsiteY17" fmla="*/ 18359 h 134334"/>
              <a:gd name="connsiteX18" fmla="*/ 33136 w 143290"/>
              <a:gd name="connsiteY18" fmla="*/ 32688 h 134334"/>
              <a:gd name="connsiteX19" fmla="*/ 40748 w 143290"/>
              <a:gd name="connsiteY19" fmla="*/ 30449 h 134334"/>
              <a:gd name="connsiteX20" fmla="*/ 50599 w 143290"/>
              <a:gd name="connsiteY20" fmla="*/ 40748 h 134334"/>
              <a:gd name="connsiteX21" fmla="*/ 42987 w 143290"/>
              <a:gd name="connsiteY21" fmla="*/ 60451 h 134334"/>
              <a:gd name="connsiteX22" fmla="*/ 46569 w 143290"/>
              <a:gd name="connsiteY22" fmla="*/ 74332 h 134334"/>
              <a:gd name="connsiteX23" fmla="*/ 31793 w 143290"/>
              <a:gd name="connsiteY23" fmla="*/ 82840 h 134334"/>
              <a:gd name="connsiteX24" fmla="*/ 17911 w 143290"/>
              <a:gd name="connsiteY24" fmla="*/ 76123 h 134334"/>
              <a:gd name="connsiteX25" fmla="*/ 0 w 143290"/>
              <a:gd name="connsiteY25" fmla="*/ 94034 h 134334"/>
              <a:gd name="connsiteX26" fmla="*/ 17911 w 143290"/>
              <a:gd name="connsiteY26" fmla="*/ 111946 h 134334"/>
              <a:gd name="connsiteX27" fmla="*/ 35823 w 143290"/>
              <a:gd name="connsiteY27" fmla="*/ 94034 h 134334"/>
              <a:gd name="connsiteX28" fmla="*/ 34479 w 143290"/>
              <a:gd name="connsiteY28" fmla="*/ 86870 h 134334"/>
              <a:gd name="connsiteX29" fmla="*/ 49256 w 143290"/>
              <a:gd name="connsiteY29" fmla="*/ 77914 h 134334"/>
              <a:gd name="connsiteX30" fmla="*/ 70749 w 143290"/>
              <a:gd name="connsiteY30" fmla="*/ 89556 h 134334"/>
              <a:gd name="connsiteX31" fmla="*/ 70749 w 143290"/>
              <a:gd name="connsiteY31" fmla="*/ 109707 h 134334"/>
              <a:gd name="connsiteX32" fmla="*/ 58659 w 143290"/>
              <a:gd name="connsiteY32" fmla="*/ 124035 h 134334"/>
              <a:gd name="connsiteX33" fmla="*/ 72988 w 143290"/>
              <a:gd name="connsiteY33" fmla="*/ 138365 h 134334"/>
              <a:gd name="connsiteX34" fmla="*/ 87317 w 143290"/>
              <a:gd name="connsiteY34" fmla="*/ 124035 h 134334"/>
              <a:gd name="connsiteX35" fmla="*/ 75227 w 143290"/>
              <a:gd name="connsiteY35" fmla="*/ 109707 h 134334"/>
              <a:gd name="connsiteX36" fmla="*/ 75227 w 143290"/>
              <a:gd name="connsiteY36" fmla="*/ 89556 h 134334"/>
              <a:gd name="connsiteX37" fmla="*/ 96721 w 143290"/>
              <a:gd name="connsiteY37" fmla="*/ 77466 h 134334"/>
              <a:gd name="connsiteX38" fmla="*/ 111498 w 143290"/>
              <a:gd name="connsiteY38" fmla="*/ 85974 h 134334"/>
              <a:gd name="connsiteX39" fmla="*/ 109707 w 143290"/>
              <a:gd name="connsiteY39" fmla="*/ 93586 h 134334"/>
              <a:gd name="connsiteX40" fmla="*/ 127618 w 143290"/>
              <a:gd name="connsiteY40" fmla="*/ 111498 h 134334"/>
              <a:gd name="connsiteX41" fmla="*/ 145529 w 143290"/>
              <a:gd name="connsiteY41" fmla="*/ 93586 h 134334"/>
              <a:gd name="connsiteX42" fmla="*/ 128066 w 143290"/>
              <a:gd name="connsiteY42" fmla="*/ 76123 h 134334"/>
              <a:gd name="connsiteX43" fmla="*/ 118662 w 143290"/>
              <a:gd name="connsiteY43" fmla="*/ 4478 h 134334"/>
              <a:gd name="connsiteX44" fmla="*/ 132096 w 143290"/>
              <a:gd name="connsiteY44" fmla="*/ 17911 h 134334"/>
              <a:gd name="connsiteX45" fmla="*/ 118662 w 143290"/>
              <a:gd name="connsiteY45" fmla="*/ 31345 h 134334"/>
              <a:gd name="connsiteX46" fmla="*/ 105229 w 143290"/>
              <a:gd name="connsiteY46" fmla="*/ 17911 h 134334"/>
              <a:gd name="connsiteX47" fmla="*/ 118662 w 143290"/>
              <a:gd name="connsiteY47" fmla="*/ 4478 h 134334"/>
              <a:gd name="connsiteX48" fmla="*/ 33584 w 143290"/>
              <a:gd name="connsiteY48" fmla="*/ 27763 h 134334"/>
              <a:gd name="connsiteX49" fmla="*/ 23732 w 143290"/>
              <a:gd name="connsiteY49" fmla="*/ 17911 h 134334"/>
              <a:gd name="connsiteX50" fmla="*/ 33584 w 143290"/>
              <a:gd name="connsiteY50" fmla="*/ 8060 h 134334"/>
              <a:gd name="connsiteX51" fmla="*/ 43435 w 143290"/>
              <a:gd name="connsiteY51" fmla="*/ 17911 h 134334"/>
              <a:gd name="connsiteX52" fmla="*/ 33584 w 143290"/>
              <a:gd name="connsiteY52" fmla="*/ 27763 h 134334"/>
              <a:gd name="connsiteX53" fmla="*/ 18359 w 143290"/>
              <a:gd name="connsiteY53" fmla="*/ 107468 h 134334"/>
              <a:gd name="connsiteX54" fmla="*/ 4926 w 143290"/>
              <a:gd name="connsiteY54" fmla="*/ 94034 h 134334"/>
              <a:gd name="connsiteX55" fmla="*/ 18359 w 143290"/>
              <a:gd name="connsiteY55" fmla="*/ 80601 h 134334"/>
              <a:gd name="connsiteX56" fmla="*/ 31793 w 143290"/>
              <a:gd name="connsiteY56" fmla="*/ 94034 h 134334"/>
              <a:gd name="connsiteX57" fmla="*/ 18359 w 143290"/>
              <a:gd name="connsiteY57" fmla="*/ 107468 h 134334"/>
              <a:gd name="connsiteX58" fmla="*/ 83287 w 143290"/>
              <a:gd name="connsiteY58" fmla="*/ 124483 h 134334"/>
              <a:gd name="connsiteX59" fmla="*/ 73436 w 143290"/>
              <a:gd name="connsiteY59" fmla="*/ 134335 h 134334"/>
              <a:gd name="connsiteX60" fmla="*/ 63585 w 143290"/>
              <a:gd name="connsiteY60" fmla="*/ 124483 h 134334"/>
              <a:gd name="connsiteX61" fmla="*/ 73436 w 143290"/>
              <a:gd name="connsiteY61" fmla="*/ 114632 h 134334"/>
              <a:gd name="connsiteX62" fmla="*/ 83287 w 143290"/>
              <a:gd name="connsiteY62" fmla="*/ 124483 h 134334"/>
              <a:gd name="connsiteX63" fmla="*/ 72988 w 143290"/>
              <a:gd name="connsiteY63" fmla="*/ 85526 h 134334"/>
              <a:gd name="connsiteX64" fmla="*/ 47913 w 143290"/>
              <a:gd name="connsiteY64" fmla="*/ 60451 h 134334"/>
              <a:gd name="connsiteX65" fmla="*/ 72988 w 143290"/>
              <a:gd name="connsiteY65" fmla="*/ 35375 h 134334"/>
              <a:gd name="connsiteX66" fmla="*/ 98064 w 143290"/>
              <a:gd name="connsiteY66" fmla="*/ 60451 h 134334"/>
              <a:gd name="connsiteX67" fmla="*/ 72988 w 143290"/>
              <a:gd name="connsiteY67" fmla="*/ 85526 h 134334"/>
              <a:gd name="connsiteX68" fmla="*/ 128066 w 143290"/>
              <a:gd name="connsiteY68" fmla="*/ 107468 h 134334"/>
              <a:gd name="connsiteX69" fmla="*/ 114632 w 143290"/>
              <a:gd name="connsiteY69" fmla="*/ 94034 h 134334"/>
              <a:gd name="connsiteX70" fmla="*/ 116423 w 143290"/>
              <a:gd name="connsiteY70" fmla="*/ 87318 h 134334"/>
              <a:gd name="connsiteX71" fmla="*/ 116871 w 143290"/>
              <a:gd name="connsiteY71" fmla="*/ 86870 h 134334"/>
              <a:gd name="connsiteX72" fmla="*/ 117319 w 143290"/>
              <a:gd name="connsiteY72" fmla="*/ 85974 h 134334"/>
              <a:gd name="connsiteX73" fmla="*/ 128066 w 143290"/>
              <a:gd name="connsiteY73" fmla="*/ 80601 h 134334"/>
              <a:gd name="connsiteX74" fmla="*/ 141499 w 143290"/>
              <a:gd name="connsiteY74" fmla="*/ 94034 h 134334"/>
              <a:gd name="connsiteX75" fmla="*/ 128066 w 143290"/>
              <a:gd name="connsiteY75" fmla="*/ 107468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43290" h="134334">
                <a:moveTo>
                  <a:pt x="128066" y="76123"/>
                </a:moveTo>
                <a:cubicBezTo>
                  <a:pt x="122692" y="76123"/>
                  <a:pt x="117767" y="78810"/>
                  <a:pt x="114184" y="82840"/>
                </a:cubicBezTo>
                <a:lnTo>
                  <a:pt x="99407" y="74332"/>
                </a:lnTo>
                <a:cubicBezTo>
                  <a:pt x="101646" y="70302"/>
                  <a:pt x="102990" y="65376"/>
                  <a:pt x="102990" y="60451"/>
                </a:cubicBezTo>
                <a:cubicBezTo>
                  <a:pt x="102990" y="53286"/>
                  <a:pt x="100303" y="46569"/>
                  <a:pt x="96273" y="41644"/>
                </a:cubicBezTo>
                <a:lnTo>
                  <a:pt x="107468" y="31345"/>
                </a:lnTo>
                <a:cubicBezTo>
                  <a:pt x="110602" y="34031"/>
                  <a:pt x="114632" y="35823"/>
                  <a:pt x="119110" y="35823"/>
                </a:cubicBezTo>
                <a:cubicBezTo>
                  <a:pt x="128961" y="35823"/>
                  <a:pt x="137021" y="27763"/>
                  <a:pt x="137021" y="17911"/>
                </a:cubicBezTo>
                <a:cubicBezTo>
                  <a:pt x="137021" y="8060"/>
                  <a:pt x="128961" y="0"/>
                  <a:pt x="119110" y="0"/>
                </a:cubicBezTo>
                <a:cubicBezTo>
                  <a:pt x="109259" y="0"/>
                  <a:pt x="101199" y="8060"/>
                  <a:pt x="101199" y="17911"/>
                </a:cubicBezTo>
                <a:cubicBezTo>
                  <a:pt x="101199" y="21494"/>
                  <a:pt x="102542" y="25076"/>
                  <a:pt x="104333" y="28210"/>
                </a:cubicBezTo>
                <a:lnTo>
                  <a:pt x="92691" y="38509"/>
                </a:lnTo>
                <a:cubicBezTo>
                  <a:pt x="87317" y="34031"/>
                  <a:pt x="80601" y="30897"/>
                  <a:pt x="72988" y="30897"/>
                </a:cubicBezTo>
                <a:cubicBezTo>
                  <a:pt x="65824" y="30897"/>
                  <a:pt x="59555" y="33584"/>
                  <a:pt x="54182" y="37614"/>
                </a:cubicBezTo>
                <a:lnTo>
                  <a:pt x="44330" y="27315"/>
                </a:lnTo>
                <a:cubicBezTo>
                  <a:pt x="46569" y="24628"/>
                  <a:pt x="47465" y="21494"/>
                  <a:pt x="47465" y="18359"/>
                </a:cubicBezTo>
                <a:cubicBezTo>
                  <a:pt x="47465" y="10299"/>
                  <a:pt x="41196" y="4030"/>
                  <a:pt x="33136" y="4030"/>
                </a:cubicBezTo>
                <a:cubicBezTo>
                  <a:pt x="25076" y="4030"/>
                  <a:pt x="18807" y="10299"/>
                  <a:pt x="18807" y="18359"/>
                </a:cubicBezTo>
                <a:cubicBezTo>
                  <a:pt x="18807" y="26419"/>
                  <a:pt x="25076" y="32688"/>
                  <a:pt x="33136" y="32688"/>
                </a:cubicBezTo>
                <a:cubicBezTo>
                  <a:pt x="35823" y="32688"/>
                  <a:pt x="38509" y="31793"/>
                  <a:pt x="40748" y="30449"/>
                </a:cubicBezTo>
                <a:lnTo>
                  <a:pt x="50599" y="40748"/>
                </a:lnTo>
                <a:cubicBezTo>
                  <a:pt x="45674" y="46122"/>
                  <a:pt x="42987" y="52838"/>
                  <a:pt x="42987" y="60451"/>
                </a:cubicBezTo>
                <a:cubicBezTo>
                  <a:pt x="42987" y="65376"/>
                  <a:pt x="44330" y="70302"/>
                  <a:pt x="46569" y="74332"/>
                </a:cubicBezTo>
                <a:lnTo>
                  <a:pt x="31793" y="82840"/>
                </a:lnTo>
                <a:cubicBezTo>
                  <a:pt x="28658" y="78810"/>
                  <a:pt x="23732" y="76123"/>
                  <a:pt x="17911" y="76123"/>
                </a:cubicBezTo>
                <a:cubicBezTo>
                  <a:pt x="8060" y="76123"/>
                  <a:pt x="0" y="84183"/>
                  <a:pt x="0" y="94034"/>
                </a:cubicBezTo>
                <a:cubicBezTo>
                  <a:pt x="0" y="103885"/>
                  <a:pt x="8060" y="111946"/>
                  <a:pt x="17911" y="111946"/>
                </a:cubicBezTo>
                <a:cubicBezTo>
                  <a:pt x="27762" y="111946"/>
                  <a:pt x="35823" y="103885"/>
                  <a:pt x="35823" y="94034"/>
                </a:cubicBezTo>
                <a:cubicBezTo>
                  <a:pt x="35823" y="91347"/>
                  <a:pt x="35375" y="89109"/>
                  <a:pt x="34479" y="86870"/>
                </a:cubicBezTo>
                <a:lnTo>
                  <a:pt x="49256" y="77914"/>
                </a:lnTo>
                <a:cubicBezTo>
                  <a:pt x="54182" y="84631"/>
                  <a:pt x="61794" y="89109"/>
                  <a:pt x="70749" y="89556"/>
                </a:cubicBezTo>
                <a:lnTo>
                  <a:pt x="70749" y="109707"/>
                </a:lnTo>
                <a:cubicBezTo>
                  <a:pt x="64033" y="110602"/>
                  <a:pt x="58659" y="116871"/>
                  <a:pt x="58659" y="124035"/>
                </a:cubicBezTo>
                <a:cubicBezTo>
                  <a:pt x="58659" y="132096"/>
                  <a:pt x="64928" y="138365"/>
                  <a:pt x="72988" y="138365"/>
                </a:cubicBezTo>
                <a:cubicBezTo>
                  <a:pt x="81049" y="138365"/>
                  <a:pt x="87317" y="132096"/>
                  <a:pt x="87317" y="124035"/>
                </a:cubicBezTo>
                <a:cubicBezTo>
                  <a:pt x="87317" y="116871"/>
                  <a:pt x="81944" y="111050"/>
                  <a:pt x="75227" y="109707"/>
                </a:cubicBezTo>
                <a:lnTo>
                  <a:pt x="75227" y="89556"/>
                </a:lnTo>
                <a:cubicBezTo>
                  <a:pt x="84183" y="89109"/>
                  <a:pt x="91795" y="84183"/>
                  <a:pt x="96721" y="77466"/>
                </a:cubicBezTo>
                <a:lnTo>
                  <a:pt x="111498" y="85974"/>
                </a:lnTo>
                <a:cubicBezTo>
                  <a:pt x="110602" y="88213"/>
                  <a:pt x="109707" y="90900"/>
                  <a:pt x="109707" y="93586"/>
                </a:cubicBezTo>
                <a:cubicBezTo>
                  <a:pt x="109707" y="103438"/>
                  <a:pt x="117767" y="111498"/>
                  <a:pt x="127618" y="111498"/>
                </a:cubicBezTo>
                <a:cubicBezTo>
                  <a:pt x="137469" y="111498"/>
                  <a:pt x="145529" y="103438"/>
                  <a:pt x="145529" y="93586"/>
                </a:cubicBezTo>
                <a:cubicBezTo>
                  <a:pt x="145977" y="84183"/>
                  <a:pt x="137917" y="76123"/>
                  <a:pt x="128066" y="76123"/>
                </a:cubicBezTo>
                <a:close/>
                <a:moveTo>
                  <a:pt x="118662" y="4478"/>
                </a:moveTo>
                <a:cubicBezTo>
                  <a:pt x="125827" y="4478"/>
                  <a:pt x="132096" y="10299"/>
                  <a:pt x="132096" y="17911"/>
                </a:cubicBezTo>
                <a:cubicBezTo>
                  <a:pt x="132096" y="25076"/>
                  <a:pt x="126274" y="31345"/>
                  <a:pt x="118662" y="31345"/>
                </a:cubicBezTo>
                <a:cubicBezTo>
                  <a:pt x="111498" y="31345"/>
                  <a:pt x="105229" y="25524"/>
                  <a:pt x="105229" y="17911"/>
                </a:cubicBezTo>
                <a:cubicBezTo>
                  <a:pt x="105677" y="10299"/>
                  <a:pt x="111498" y="4478"/>
                  <a:pt x="118662" y="4478"/>
                </a:cubicBezTo>
                <a:close/>
                <a:moveTo>
                  <a:pt x="33584" y="27763"/>
                </a:moveTo>
                <a:cubicBezTo>
                  <a:pt x="28210" y="27763"/>
                  <a:pt x="23732" y="23285"/>
                  <a:pt x="23732" y="17911"/>
                </a:cubicBezTo>
                <a:cubicBezTo>
                  <a:pt x="23732" y="12538"/>
                  <a:pt x="28210" y="8060"/>
                  <a:pt x="33584" y="8060"/>
                </a:cubicBezTo>
                <a:cubicBezTo>
                  <a:pt x="38957" y="8060"/>
                  <a:pt x="43435" y="12538"/>
                  <a:pt x="43435" y="17911"/>
                </a:cubicBezTo>
                <a:cubicBezTo>
                  <a:pt x="43435" y="23285"/>
                  <a:pt x="38957" y="27763"/>
                  <a:pt x="33584" y="27763"/>
                </a:cubicBezTo>
                <a:close/>
                <a:moveTo>
                  <a:pt x="18359" y="107468"/>
                </a:moveTo>
                <a:cubicBezTo>
                  <a:pt x="11195" y="107468"/>
                  <a:pt x="4926" y="101646"/>
                  <a:pt x="4926" y="94034"/>
                </a:cubicBezTo>
                <a:cubicBezTo>
                  <a:pt x="4926" y="86870"/>
                  <a:pt x="10747" y="80601"/>
                  <a:pt x="18359" y="80601"/>
                </a:cubicBezTo>
                <a:cubicBezTo>
                  <a:pt x="25523" y="80601"/>
                  <a:pt x="31793" y="86422"/>
                  <a:pt x="31793" y="94034"/>
                </a:cubicBezTo>
                <a:cubicBezTo>
                  <a:pt x="31345" y="101199"/>
                  <a:pt x="25523" y="107468"/>
                  <a:pt x="18359" y="107468"/>
                </a:cubicBezTo>
                <a:close/>
                <a:moveTo>
                  <a:pt x="83287" y="124483"/>
                </a:moveTo>
                <a:cubicBezTo>
                  <a:pt x="83287" y="129857"/>
                  <a:pt x="78810" y="134335"/>
                  <a:pt x="73436" y="134335"/>
                </a:cubicBezTo>
                <a:cubicBezTo>
                  <a:pt x="68063" y="134335"/>
                  <a:pt x="63585" y="129857"/>
                  <a:pt x="63585" y="124483"/>
                </a:cubicBezTo>
                <a:cubicBezTo>
                  <a:pt x="63585" y="119110"/>
                  <a:pt x="68063" y="114632"/>
                  <a:pt x="73436" y="114632"/>
                </a:cubicBezTo>
                <a:cubicBezTo>
                  <a:pt x="78810" y="114632"/>
                  <a:pt x="83287" y="119110"/>
                  <a:pt x="83287" y="124483"/>
                </a:cubicBezTo>
                <a:close/>
                <a:moveTo>
                  <a:pt x="72988" y="85526"/>
                </a:moveTo>
                <a:cubicBezTo>
                  <a:pt x="59107" y="85526"/>
                  <a:pt x="47913" y="74332"/>
                  <a:pt x="47913" y="60451"/>
                </a:cubicBezTo>
                <a:cubicBezTo>
                  <a:pt x="47913" y="46569"/>
                  <a:pt x="59107" y="35375"/>
                  <a:pt x="72988" y="35375"/>
                </a:cubicBezTo>
                <a:cubicBezTo>
                  <a:pt x="86870" y="35375"/>
                  <a:pt x="98064" y="46569"/>
                  <a:pt x="98064" y="60451"/>
                </a:cubicBezTo>
                <a:cubicBezTo>
                  <a:pt x="98064" y="74332"/>
                  <a:pt x="86870" y="85526"/>
                  <a:pt x="72988" y="85526"/>
                </a:cubicBezTo>
                <a:close/>
                <a:moveTo>
                  <a:pt x="128066" y="107468"/>
                </a:moveTo>
                <a:cubicBezTo>
                  <a:pt x="120901" y="107468"/>
                  <a:pt x="114632" y="101646"/>
                  <a:pt x="114632" y="94034"/>
                </a:cubicBezTo>
                <a:cubicBezTo>
                  <a:pt x="114632" y="91795"/>
                  <a:pt x="115528" y="89556"/>
                  <a:pt x="116423" y="87318"/>
                </a:cubicBezTo>
                <a:cubicBezTo>
                  <a:pt x="116423" y="87318"/>
                  <a:pt x="116871" y="86870"/>
                  <a:pt x="116871" y="86870"/>
                </a:cubicBezTo>
                <a:cubicBezTo>
                  <a:pt x="116871" y="86422"/>
                  <a:pt x="116871" y="86422"/>
                  <a:pt x="117319" y="85974"/>
                </a:cubicBezTo>
                <a:cubicBezTo>
                  <a:pt x="119558" y="82840"/>
                  <a:pt x="123588" y="80601"/>
                  <a:pt x="128066" y="80601"/>
                </a:cubicBezTo>
                <a:cubicBezTo>
                  <a:pt x="135230" y="80601"/>
                  <a:pt x="141499" y="86422"/>
                  <a:pt x="141499" y="94034"/>
                </a:cubicBezTo>
                <a:cubicBezTo>
                  <a:pt x="141499" y="101199"/>
                  <a:pt x="135230" y="107468"/>
                  <a:pt x="128066" y="107468"/>
                </a:cubicBezTo>
                <a:close/>
              </a:path>
            </a:pathLst>
          </a:custGeom>
          <a:solidFill>
            <a:srgbClr val="231F20"/>
          </a:solidFill>
          <a:ln w="4474" cap="flat">
            <a:noFill/>
            <a:prstDash val="solid"/>
            <a:miter/>
          </a:ln>
        </p:spPr>
        <p:txBody>
          <a:bodyPr rtlCol="0" anchor="ctr"/>
          <a:lstStyle/>
          <a:p>
            <a:endParaRPr lang="en-US"/>
          </a:p>
        </p:txBody>
      </p:sp>
      <p:grpSp>
        <p:nvGrpSpPr>
          <p:cNvPr id="4323" name="Group 4322">
            <a:extLst>
              <a:ext uri="{FF2B5EF4-FFF2-40B4-BE49-F238E27FC236}">
                <a16:creationId xmlns:a16="http://schemas.microsoft.com/office/drawing/2014/main" id="{F0AB550F-6BE7-49EB-AFFC-DBF3763FA778}"/>
              </a:ext>
              <a:ext uri="{C183D7F6-B498-43B3-948B-1728B52AA6E4}">
                <adec:decorative xmlns:adec="http://schemas.microsoft.com/office/drawing/2017/decorative" val="1"/>
              </a:ext>
            </a:extLst>
          </p:cNvPr>
          <p:cNvGrpSpPr>
            <a:grpSpLocks noChangeAspect="1"/>
          </p:cNvGrpSpPr>
          <p:nvPr/>
        </p:nvGrpSpPr>
        <p:grpSpPr>
          <a:xfrm>
            <a:off x="2144957" y="3939851"/>
            <a:ext cx="138812" cy="129857"/>
            <a:chOff x="2185711" y="3204412"/>
            <a:chExt cx="138812" cy="129857"/>
          </a:xfrm>
        </p:grpSpPr>
        <p:sp>
          <p:nvSpPr>
            <p:cNvPr id="4324" name="Freeform: Shape 4323">
              <a:extLst>
                <a:ext uri="{FF2B5EF4-FFF2-40B4-BE49-F238E27FC236}">
                  <a16:creationId xmlns:a16="http://schemas.microsoft.com/office/drawing/2014/main" id="{E17CC9DA-7C78-4523-A58D-8BC4CE080304}"/>
                </a:ext>
              </a:extLst>
            </p:cNvPr>
            <p:cNvSpPr/>
            <p:nvPr/>
          </p:nvSpPr>
          <p:spPr>
            <a:xfrm>
              <a:off x="2193647" y="3278296"/>
              <a:ext cx="8956" cy="22389"/>
            </a:xfrm>
            <a:custGeom>
              <a:avLst/>
              <a:gdLst>
                <a:gd name="connsiteX0" fmla="*/ 8060 w 8955"/>
                <a:gd name="connsiteY0" fmla="*/ 25524 h 22389"/>
                <a:gd name="connsiteX1" fmla="*/ 5821 w 8955"/>
                <a:gd name="connsiteY1" fmla="*/ 24180 h 22389"/>
                <a:gd name="connsiteX2" fmla="*/ 0 w 8955"/>
                <a:gd name="connsiteY2" fmla="*/ 2239 h 22389"/>
                <a:gd name="connsiteX3" fmla="*/ 2239 w 8955"/>
                <a:gd name="connsiteY3" fmla="*/ 0 h 22389"/>
                <a:gd name="connsiteX4" fmla="*/ 4478 w 8955"/>
                <a:gd name="connsiteY4" fmla="*/ 2239 h 22389"/>
                <a:gd name="connsiteX5" fmla="*/ 9851 w 8955"/>
                <a:gd name="connsiteY5" fmla="*/ 22389 h 22389"/>
                <a:gd name="connsiteX6" fmla="*/ 8956 w 8955"/>
                <a:gd name="connsiteY6" fmla="*/ 25524 h 22389"/>
                <a:gd name="connsiteX7" fmla="*/ 8060 w 8955"/>
                <a:gd name="connsiteY7" fmla="*/ 25524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22389">
                  <a:moveTo>
                    <a:pt x="8060" y="25524"/>
                  </a:moveTo>
                  <a:cubicBezTo>
                    <a:pt x="7165" y="25524"/>
                    <a:pt x="6269" y="25076"/>
                    <a:pt x="5821" y="24180"/>
                  </a:cubicBezTo>
                  <a:cubicBezTo>
                    <a:pt x="2687" y="17464"/>
                    <a:pt x="448" y="9851"/>
                    <a:pt x="0" y="2239"/>
                  </a:cubicBezTo>
                  <a:cubicBezTo>
                    <a:pt x="0" y="896"/>
                    <a:pt x="896" y="0"/>
                    <a:pt x="2239" y="0"/>
                  </a:cubicBezTo>
                  <a:cubicBezTo>
                    <a:pt x="3582" y="0"/>
                    <a:pt x="4478" y="896"/>
                    <a:pt x="4478" y="2239"/>
                  </a:cubicBezTo>
                  <a:cubicBezTo>
                    <a:pt x="4926" y="9404"/>
                    <a:pt x="6717" y="16120"/>
                    <a:pt x="9851" y="22389"/>
                  </a:cubicBezTo>
                  <a:cubicBezTo>
                    <a:pt x="10299" y="23285"/>
                    <a:pt x="9851" y="24628"/>
                    <a:pt x="8956" y="25524"/>
                  </a:cubicBezTo>
                  <a:cubicBezTo>
                    <a:pt x="8956" y="25524"/>
                    <a:pt x="8508" y="25524"/>
                    <a:pt x="8060" y="25524"/>
                  </a:cubicBezTo>
                  <a:close/>
                </a:path>
              </a:pathLst>
            </a:custGeom>
            <a:solidFill>
              <a:srgbClr val="231F20"/>
            </a:solidFill>
            <a:ln w="4474" cap="flat">
              <a:noFill/>
              <a:prstDash val="solid"/>
              <a:miter/>
            </a:ln>
          </p:spPr>
          <p:txBody>
            <a:bodyPr rtlCol="0" anchor="ctr"/>
            <a:lstStyle/>
            <a:p>
              <a:endParaRPr lang="en-US"/>
            </a:p>
          </p:txBody>
        </p:sp>
        <p:sp>
          <p:nvSpPr>
            <p:cNvPr id="4325" name="Freeform: Shape 4324">
              <a:extLst>
                <a:ext uri="{FF2B5EF4-FFF2-40B4-BE49-F238E27FC236}">
                  <a16:creationId xmlns:a16="http://schemas.microsoft.com/office/drawing/2014/main" id="{2D635D2E-4630-4746-A509-3749EFBF7322}"/>
                </a:ext>
              </a:extLst>
            </p:cNvPr>
            <p:cNvSpPr/>
            <p:nvPr/>
          </p:nvSpPr>
          <p:spPr>
            <a:xfrm>
              <a:off x="2238426" y="3329672"/>
              <a:ext cx="31345" cy="4478"/>
            </a:xfrm>
            <a:custGeom>
              <a:avLst/>
              <a:gdLst>
                <a:gd name="connsiteX0" fmla="*/ 15672 w 31344"/>
                <a:gd name="connsiteY0" fmla="*/ 7284 h 4477"/>
                <a:gd name="connsiteX1" fmla="*/ 1791 w 31344"/>
                <a:gd name="connsiteY1" fmla="*/ 5492 h 4477"/>
                <a:gd name="connsiteX2" fmla="*/ 0 w 31344"/>
                <a:gd name="connsiteY2" fmla="*/ 2806 h 4477"/>
                <a:gd name="connsiteX3" fmla="*/ 2687 w 31344"/>
                <a:gd name="connsiteY3" fmla="*/ 1015 h 4477"/>
                <a:gd name="connsiteX4" fmla="*/ 31345 w 31344"/>
                <a:gd name="connsiteY4" fmla="*/ 119 h 4477"/>
                <a:gd name="connsiteX5" fmla="*/ 34031 w 31344"/>
                <a:gd name="connsiteY5" fmla="*/ 1463 h 4477"/>
                <a:gd name="connsiteX6" fmla="*/ 32688 w 31344"/>
                <a:gd name="connsiteY6" fmla="*/ 4149 h 4477"/>
                <a:gd name="connsiteX7" fmla="*/ 15672 w 31344"/>
                <a:gd name="connsiteY7" fmla="*/ 7284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4477">
                  <a:moveTo>
                    <a:pt x="15672" y="7284"/>
                  </a:moveTo>
                  <a:cubicBezTo>
                    <a:pt x="10747" y="7284"/>
                    <a:pt x="6269" y="6836"/>
                    <a:pt x="1791" y="5492"/>
                  </a:cubicBezTo>
                  <a:cubicBezTo>
                    <a:pt x="448" y="5045"/>
                    <a:pt x="0" y="4149"/>
                    <a:pt x="0" y="2806"/>
                  </a:cubicBezTo>
                  <a:cubicBezTo>
                    <a:pt x="448" y="1463"/>
                    <a:pt x="1343" y="1015"/>
                    <a:pt x="2687" y="1015"/>
                  </a:cubicBezTo>
                  <a:cubicBezTo>
                    <a:pt x="12090" y="3254"/>
                    <a:pt x="21941" y="2806"/>
                    <a:pt x="31345" y="119"/>
                  </a:cubicBezTo>
                  <a:cubicBezTo>
                    <a:pt x="32688" y="-329"/>
                    <a:pt x="33584" y="567"/>
                    <a:pt x="34031" y="1463"/>
                  </a:cubicBezTo>
                  <a:cubicBezTo>
                    <a:pt x="34479" y="2806"/>
                    <a:pt x="33584" y="3702"/>
                    <a:pt x="32688" y="4149"/>
                  </a:cubicBezTo>
                  <a:cubicBezTo>
                    <a:pt x="27315" y="6388"/>
                    <a:pt x="21493" y="7284"/>
                    <a:pt x="15672" y="7284"/>
                  </a:cubicBezTo>
                  <a:close/>
                </a:path>
              </a:pathLst>
            </a:custGeom>
            <a:solidFill>
              <a:srgbClr val="231F20"/>
            </a:solidFill>
            <a:ln w="4474" cap="flat">
              <a:noFill/>
              <a:prstDash val="solid"/>
              <a:miter/>
            </a:ln>
          </p:spPr>
          <p:txBody>
            <a:bodyPr rtlCol="0" anchor="ctr"/>
            <a:lstStyle/>
            <a:p>
              <a:endParaRPr lang="en-US"/>
            </a:p>
          </p:txBody>
        </p:sp>
        <p:sp>
          <p:nvSpPr>
            <p:cNvPr id="4326" name="Freeform: Shape 4325">
              <a:extLst>
                <a:ext uri="{FF2B5EF4-FFF2-40B4-BE49-F238E27FC236}">
                  <a16:creationId xmlns:a16="http://schemas.microsoft.com/office/drawing/2014/main" id="{5E67B1AF-E83D-4276-99B7-A16E2D7D6AD6}"/>
                </a:ext>
              </a:extLst>
            </p:cNvPr>
            <p:cNvSpPr/>
            <p:nvPr/>
          </p:nvSpPr>
          <p:spPr>
            <a:xfrm>
              <a:off x="2304977" y="3277848"/>
              <a:ext cx="4478" cy="22389"/>
            </a:xfrm>
            <a:custGeom>
              <a:avLst/>
              <a:gdLst>
                <a:gd name="connsiteX0" fmla="*/ 2407 w 4477"/>
                <a:gd name="connsiteY0" fmla="*/ 23732 h 22389"/>
                <a:gd name="connsiteX1" fmla="*/ 1511 w 4477"/>
                <a:gd name="connsiteY1" fmla="*/ 23732 h 22389"/>
                <a:gd name="connsiteX2" fmla="*/ 168 w 4477"/>
                <a:gd name="connsiteY2" fmla="*/ 20598 h 22389"/>
                <a:gd name="connsiteX3" fmla="*/ 4198 w 4477"/>
                <a:gd name="connsiteY3" fmla="*/ 2239 h 22389"/>
                <a:gd name="connsiteX4" fmla="*/ 6437 w 4477"/>
                <a:gd name="connsiteY4" fmla="*/ 0 h 22389"/>
                <a:gd name="connsiteX5" fmla="*/ 8676 w 4477"/>
                <a:gd name="connsiteY5" fmla="*/ 2239 h 22389"/>
                <a:gd name="connsiteX6" fmla="*/ 4198 w 4477"/>
                <a:gd name="connsiteY6" fmla="*/ 21941 h 22389"/>
                <a:gd name="connsiteX7" fmla="*/ 2407 w 4477"/>
                <a:gd name="connsiteY7" fmla="*/ 23732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22389">
                  <a:moveTo>
                    <a:pt x="2407" y="23732"/>
                  </a:moveTo>
                  <a:cubicBezTo>
                    <a:pt x="1959" y="23732"/>
                    <a:pt x="1959" y="23732"/>
                    <a:pt x="1511" y="23732"/>
                  </a:cubicBezTo>
                  <a:cubicBezTo>
                    <a:pt x="168" y="23285"/>
                    <a:pt x="-280" y="21941"/>
                    <a:pt x="168" y="20598"/>
                  </a:cubicBezTo>
                  <a:cubicBezTo>
                    <a:pt x="2407" y="14777"/>
                    <a:pt x="4198" y="8508"/>
                    <a:pt x="4198" y="2239"/>
                  </a:cubicBezTo>
                  <a:cubicBezTo>
                    <a:pt x="4198" y="896"/>
                    <a:pt x="5541" y="0"/>
                    <a:pt x="6437" y="0"/>
                  </a:cubicBezTo>
                  <a:cubicBezTo>
                    <a:pt x="7780" y="0"/>
                    <a:pt x="8676" y="1343"/>
                    <a:pt x="8676" y="2239"/>
                  </a:cubicBezTo>
                  <a:cubicBezTo>
                    <a:pt x="8228" y="8956"/>
                    <a:pt x="6885" y="15672"/>
                    <a:pt x="4198" y="21941"/>
                  </a:cubicBezTo>
                  <a:cubicBezTo>
                    <a:pt x="4198" y="23285"/>
                    <a:pt x="3302" y="23732"/>
                    <a:pt x="2407" y="23732"/>
                  </a:cubicBezTo>
                  <a:close/>
                </a:path>
              </a:pathLst>
            </a:custGeom>
            <a:solidFill>
              <a:srgbClr val="231F20"/>
            </a:solidFill>
            <a:ln w="4474" cap="flat">
              <a:noFill/>
              <a:prstDash val="solid"/>
              <a:miter/>
            </a:ln>
          </p:spPr>
          <p:txBody>
            <a:bodyPr rtlCol="0" anchor="ctr"/>
            <a:lstStyle/>
            <a:p>
              <a:endParaRPr lang="en-US"/>
            </a:p>
          </p:txBody>
        </p:sp>
        <p:sp>
          <p:nvSpPr>
            <p:cNvPr id="4327" name="Freeform: Shape 4326">
              <a:extLst>
                <a:ext uri="{FF2B5EF4-FFF2-40B4-BE49-F238E27FC236}">
                  <a16:creationId xmlns:a16="http://schemas.microsoft.com/office/drawing/2014/main" id="{1F63F401-4DD3-4FFF-A84F-8538FE6A91AA}"/>
                </a:ext>
              </a:extLst>
            </p:cNvPr>
            <p:cNvSpPr/>
            <p:nvPr/>
          </p:nvSpPr>
          <p:spPr>
            <a:xfrm>
              <a:off x="2277012" y="3222400"/>
              <a:ext cx="17911" cy="13433"/>
            </a:xfrm>
            <a:custGeom>
              <a:avLst/>
              <a:gdLst>
                <a:gd name="connsiteX0" fmla="*/ 16491 w 17911"/>
                <a:gd name="connsiteY0" fmla="*/ 14252 h 13433"/>
                <a:gd name="connsiteX1" fmla="*/ 15148 w 17911"/>
                <a:gd name="connsiteY1" fmla="*/ 13804 h 13433"/>
                <a:gd name="connsiteX2" fmla="*/ 1266 w 17911"/>
                <a:gd name="connsiteY2" fmla="*/ 4401 h 13433"/>
                <a:gd name="connsiteX3" fmla="*/ 371 w 17911"/>
                <a:gd name="connsiteY3" fmla="*/ 1266 h 13433"/>
                <a:gd name="connsiteX4" fmla="*/ 3505 w 17911"/>
                <a:gd name="connsiteY4" fmla="*/ 371 h 13433"/>
                <a:gd name="connsiteX5" fmla="*/ 18282 w 17911"/>
                <a:gd name="connsiteY5" fmla="*/ 10222 h 13433"/>
                <a:gd name="connsiteX6" fmla="*/ 18282 w 17911"/>
                <a:gd name="connsiteY6" fmla="*/ 13357 h 13433"/>
                <a:gd name="connsiteX7" fmla="*/ 16491 w 17911"/>
                <a:gd name="connsiteY7" fmla="*/ 14252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13433">
                  <a:moveTo>
                    <a:pt x="16491" y="14252"/>
                  </a:moveTo>
                  <a:cubicBezTo>
                    <a:pt x="16043" y="14252"/>
                    <a:pt x="15596" y="14252"/>
                    <a:pt x="15148" y="13804"/>
                  </a:cubicBezTo>
                  <a:cubicBezTo>
                    <a:pt x="11118" y="10222"/>
                    <a:pt x="6192" y="7088"/>
                    <a:pt x="1266" y="4401"/>
                  </a:cubicBezTo>
                  <a:cubicBezTo>
                    <a:pt x="371" y="3953"/>
                    <a:pt x="-525" y="2610"/>
                    <a:pt x="371" y="1266"/>
                  </a:cubicBezTo>
                  <a:cubicBezTo>
                    <a:pt x="819" y="371"/>
                    <a:pt x="2162" y="-525"/>
                    <a:pt x="3505" y="371"/>
                  </a:cubicBezTo>
                  <a:cubicBezTo>
                    <a:pt x="8879" y="3058"/>
                    <a:pt x="13804" y="6192"/>
                    <a:pt x="18282" y="10222"/>
                  </a:cubicBezTo>
                  <a:cubicBezTo>
                    <a:pt x="19178" y="11118"/>
                    <a:pt x="19178" y="12461"/>
                    <a:pt x="18282" y="13357"/>
                  </a:cubicBezTo>
                  <a:cubicBezTo>
                    <a:pt x="17387" y="13804"/>
                    <a:pt x="16939" y="14252"/>
                    <a:pt x="16491" y="14252"/>
                  </a:cubicBezTo>
                  <a:close/>
                </a:path>
              </a:pathLst>
            </a:custGeom>
            <a:solidFill>
              <a:srgbClr val="231F20"/>
            </a:solidFill>
            <a:ln w="4474" cap="flat">
              <a:noFill/>
              <a:prstDash val="solid"/>
              <a:miter/>
            </a:ln>
          </p:spPr>
          <p:txBody>
            <a:bodyPr rtlCol="0" anchor="ctr"/>
            <a:lstStyle/>
            <a:p>
              <a:endParaRPr lang="en-US"/>
            </a:p>
          </p:txBody>
        </p:sp>
        <p:sp>
          <p:nvSpPr>
            <p:cNvPr id="4328" name="Freeform: Shape 4327">
              <a:extLst>
                <a:ext uri="{FF2B5EF4-FFF2-40B4-BE49-F238E27FC236}">
                  <a16:creationId xmlns:a16="http://schemas.microsoft.com/office/drawing/2014/main" id="{FB3DF25B-D36C-44F7-8E54-A21A2604B800}"/>
                </a:ext>
              </a:extLst>
            </p:cNvPr>
            <p:cNvSpPr/>
            <p:nvPr/>
          </p:nvSpPr>
          <p:spPr>
            <a:xfrm>
              <a:off x="2212678" y="3223043"/>
              <a:ext cx="13433" cy="8956"/>
            </a:xfrm>
            <a:custGeom>
              <a:avLst/>
              <a:gdLst>
                <a:gd name="connsiteX0" fmla="*/ 2463 w 13433"/>
                <a:gd name="connsiteY0" fmla="*/ 13161 h 8955"/>
                <a:gd name="connsiteX1" fmla="*/ 672 w 13433"/>
                <a:gd name="connsiteY1" fmla="*/ 12266 h 8955"/>
                <a:gd name="connsiteX2" fmla="*/ 672 w 13433"/>
                <a:gd name="connsiteY2" fmla="*/ 9131 h 8955"/>
                <a:gd name="connsiteX3" fmla="*/ 13657 w 13433"/>
                <a:gd name="connsiteY3" fmla="*/ 176 h 8955"/>
                <a:gd name="connsiteX4" fmla="*/ 16792 w 13433"/>
                <a:gd name="connsiteY4" fmla="*/ 1071 h 8955"/>
                <a:gd name="connsiteX5" fmla="*/ 15896 w 13433"/>
                <a:gd name="connsiteY5" fmla="*/ 4206 h 8955"/>
                <a:gd name="connsiteX6" fmla="*/ 4254 w 13433"/>
                <a:gd name="connsiteY6" fmla="*/ 12266 h 8955"/>
                <a:gd name="connsiteX7" fmla="*/ 2463 w 13433"/>
                <a:gd name="connsiteY7" fmla="*/ 1316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2463" y="13161"/>
                  </a:moveTo>
                  <a:cubicBezTo>
                    <a:pt x="2015" y="13161"/>
                    <a:pt x="1119" y="12714"/>
                    <a:pt x="672" y="12266"/>
                  </a:cubicBezTo>
                  <a:cubicBezTo>
                    <a:pt x="-224" y="11370"/>
                    <a:pt x="-224" y="10027"/>
                    <a:pt x="672" y="9131"/>
                  </a:cubicBezTo>
                  <a:cubicBezTo>
                    <a:pt x="4702" y="5549"/>
                    <a:pt x="8732" y="2415"/>
                    <a:pt x="13657" y="176"/>
                  </a:cubicBezTo>
                  <a:cubicBezTo>
                    <a:pt x="14553" y="-272"/>
                    <a:pt x="15896" y="176"/>
                    <a:pt x="16792" y="1071"/>
                  </a:cubicBezTo>
                  <a:cubicBezTo>
                    <a:pt x="17687" y="1967"/>
                    <a:pt x="16792" y="3310"/>
                    <a:pt x="15896" y="4206"/>
                  </a:cubicBezTo>
                  <a:cubicBezTo>
                    <a:pt x="11418" y="6445"/>
                    <a:pt x="7836" y="9131"/>
                    <a:pt x="4254" y="12266"/>
                  </a:cubicBezTo>
                  <a:cubicBezTo>
                    <a:pt x="3358" y="13161"/>
                    <a:pt x="2911" y="13161"/>
                    <a:pt x="2463" y="13161"/>
                  </a:cubicBezTo>
                  <a:close/>
                </a:path>
              </a:pathLst>
            </a:custGeom>
            <a:solidFill>
              <a:srgbClr val="231F20"/>
            </a:solidFill>
            <a:ln w="4474" cap="flat">
              <a:noFill/>
              <a:prstDash val="solid"/>
              <a:miter/>
            </a:ln>
          </p:spPr>
          <p:txBody>
            <a:bodyPr rtlCol="0" anchor="ctr"/>
            <a:lstStyle/>
            <a:p>
              <a:endParaRPr lang="en-US"/>
            </a:p>
          </p:txBody>
        </p:sp>
        <p:sp>
          <p:nvSpPr>
            <p:cNvPr id="4329" name="Freeform: Shape 4328">
              <a:extLst>
                <a:ext uri="{FF2B5EF4-FFF2-40B4-BE49-F238E27FC236}">
                  <a16:creationId xmlns:a16="http://schemas.microsoft.com/office/drawing/2014/main" id="{5C9A6D70-67EB-4515-B70B-58FE8253B405}"/>
                </a:ext>
              </a:extLst>
            </p:cNvPr>
            <p:cNvSpPr/>
            <p:nvPr/>
          </p:nvSpPr>
          <p:spPr>
            <a:xfrm>
              <a:off x="2234843" y="3318596"/>
              <a:ext cx="4478" cy="4478"/>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231F20"/>
            </a:solidFill>
            <a:ln w="4474" cap="flat">
              <a:noFill/>
              <a:prstDash val="solid"/>
              <a:miter/>
            </a:ln>
          </p:spPr>
          <p:txBody>
            <a:bodyPr rtlCol="0" anchor="ctr"/>
            <a:lstStyle/>
            <a:p>
              <a:endParaRPr lang="en-US"/>
            </a:p>
          </p:txBody>
        </p:sp>
        <p:sp>
          <p:nvSpPr>
            <p:cNvPr id="4330" name="Freeform: Shape 4329">
              <a:extLst>
                <a:ext uri="{FF2B5EF4-FFF2-40B4-BE49-F238E27FC236}">
                  <a16:creationId xmlns:a16="http://schemas.microsoft.com/office/drawing/2014/main" id="{EBB79F22-229F-460D-833A-8799595B9C67}"/>
                </a:ext>
              </a:extLst>
            </p:cNvPr>
            <p:cNvSpPr/>
            <p:nvPr/>
          </p:nvSpPr>
          <p:spPr>
            <a:xfrm>
              <a:off x="2185711" y="3204412"/>
              <a:ext cx="138812" cy="129857"/>
            </a:xfrm>
            <a:custGeom>
              <a:avLst/>
              <a:gdLst>
                <a:gd name="connsiteX0" fmla="*/ 125703 w 138812"/>
                <a:gd name="connsiteY0" fmla="*/ 35823 h 129856"/>
                <a:gd name="connsiteX1" fmla="*/ 105552 w 138812"/>
                <a:gd name="connsiteY1" fmla="*/ 48808 h 129856"/>
                <a:gd name="connsiteX2" fmla="*/ 105552 w 138812"/>
                <a:gd name="connsiteY2" fmla="*/ 56421 h 129856"/>
                <a:gd name="connsiteX3" fmla="*/ 88537 w 138812"/>
                <a:gd name="connsiteY3" fmla="*/ 63137 h 129856"/>
                <a:gd name="connsiteX4" fmla="*/ 70626 w 138812"/>
                <a:gd name="connsiteY4" fmla="*/ 50599 h 129856"/>
                <a:gd name="connsiteX5" fmla="*/ 70626 w 138812"/>
                <a:gd name="connsiteY5" fmla="*/ 33584 h 129856"/>
                <a:gd name="connsiteX6" fmla="*/ 85402 w 138812"/>
                <a:gd name="connsiteY6" fmla="*/ 17016 h 129856"/>
                <a:gd name="connsiteX7" fmla="*/ 68387 w 138812"/>
                <a:gd name="connsiteY7" fmla="*/ 0 h 129856"/>
                <a:gd name="connsiteX8" fmla="*/ 51371 w 138812"/>
                <a:gd name="connsiteY8" fmla="*/ 17016 h 129856"/>
                <a:gd name="connsiteX9" fmla="*/ 66148 w 138812"/>
                <a:gd name="connsiteY9" fmla="*/ 33584 h 129856"/>
                <a:gd name="connsiteX10" fmla="*/ 66148 w 138812"/>
                <a:gd name="connsiteY10" fmla="*/ 50599 h 129856"/>
                <a:gd name="connsiteX11" fmla="*/ 48684 w 138812"/>
                <a:gd name="connsiteY11" fmla="*/ 62689 h 129856"/>
                <a:gd name="connsiteX12" fmla="*/ 33460 w 138812"/>
                <a:gd name="connsiteY12" fmla="*/ 56868 h 129856"/>
                <a:gd name="connsiteX13" fmla="*/ 33460 w 138812"/>
                <a:gd name="connsiteY13" fmla="*/ 49256 h 129856"/>
                <a:gd name="connsiteX14" fmla="*/ 13310 w 138812"/>
                <a:gd name="connsiteY14" fmla="*/ 36270 h 129856"/>
                <a:gd name="connsiteX15" fmla="*/ 324 w 138812"/>
                <a:gd name="connsiteY15" fmla="*/ 56421 h 129856"/>
                <a:gd name="connsiteX16" fmla="*/ 7936 w 138812"/>
                <a:gd name="connsiteY16" fmla="*/ 67167 h 129856"/>
                <a:gd name="connsiteX17" fmla="*/ 16892 w 138812"/>
                <a:gd name="connsiteY17" fmla="*/ 69854 h 129856"/>
                <a:gd name="connsiteX18" fmla="*/ 20474 w 138812"/>
                <a:gd name="connsiteY18" fmla="*/ 69406 h 129856"/>
                <a:gd name="connsiteX19" fmla="*/ 31668 w 138812"/>
                <a:gd name="connsiteY19" fmla="*/ 60898 h 129856"/>
                <a:gd name="connsiteX20" fmla="*/ 46893 w 138812"/>
                <a:gd name="connsiteY20" fmla="*/ 66719 h 129856"/>
                <a:gd name="connsiteX21" fmla="*/ 45998 w 138812"/>
                <a:gd name="connsiteY21" fmla="*/ 72541 h 129856"/>
                <a:gd name="connsiteX22" fmla="*/ 51819 w 138812"/>
                <a:gd name="connsiteY22" fmla="*/ 87765 h 129856"/>
                <a:gd name="connsiteX23" fmla="*/ 40176 w 138812"/>
                <a:gd name="connsiteY23" fmla="*/ 100751 h 129856"/>
                <a:gd name="connsiteX24" fmla="*/ 31221 w 138812"/>
                <a:gd name="connsiteY24" fmla="*/ 98960 h 129856"/>
                <a:gd name="connsiteX25" fmla="*/ 19578 w 138812"/>
                <a:gd name="connsiteY25" fmla="*/ 104781 h 129856"/>
                <a:gd name="connsiteX26" fmla="*/ 15548 w 138812"/>
                <a:gd name="connsiteY26" fmla="*/ 117319 h 129856"/>
                <a:gd name="connsiteX27" fmla="*/ 21370 w 138812"/>
                <a:gd name="connsiteY27" fmla="*/ 128961 h 129856"/>
                <a:gd name="connsiteX28" fmla="*/ 32564 w 138812"/>
                <a:gd name="connsiteY28" fmla="*/ 132991 h 129856"/>
                <a:gd name="connsiteX29" fmla="*/ 33907 w 138812"/>
                <a:gd name="connsiteY29" fmla="*/ 132991 h 129856"/>
                <a:gd name="connsiteX30" fmla="*/ 49580 w 138812"/>
                <a:gd name="connsiteY30" fmla="*/ 114632 h 129856"/>
                <a:gd name="connsiteX31" fmla="*/ 44206 w 138812"/>
                <a:gd name="connsiteY31" fmla="*/ 103438 h 129856"/>
                <a:gd name="connsiteX32" fmla="*/ 55401 w 138812"/>
                <a:gd name="connsiteY32" fmla="*/ 90900 h 129856"/>
                <a:gd name="connsiteX33" fmla="*/ 68387 w 138812"/>
                <a:gd name="connsiteY33" fmla="*/ 95378 h 129856"/>
                <a:gd name="connsiteX34" fmla="*/ 82716 w 138812"/>
                <a:gd name="connsiteY34" fmla="*/ 90004 h 129856"/>
                <a:gd name="connsiteX35" fmla="*/ 94806 w 138812"/>
                <a:gd name="connsiteY35" fmla="*/ 103438 h 129856"/>
                <a:gd name="connsiteX36" fmla="*/ 89432 w 138812"/>
                <a:gd name="connsiteY36" fmla="*/ 114632 h 129856"/>
                <a:gd name="connsiteX37" fmla="*/ 105105 w 138812"/>
                <a:gd name="connsiteY37" fmla="*/ 132991 h 129856"/>
                <a:gd name="connsiteX38" fmla="*/ 106448 w 138812"/>
                <a:gd name="connsiteY38" fmla="*/ 132991 h 129856"/>
                <a:gd name="connsiteX39" fmla="*/ 123464 w 138812"/>
                <a:gd name="connsiteY39" fmla="*/ 117319 h 129856"/>
                <a:gd name="connsiteX40" fmla="*/ 119434 w 138812"/>
                <a:gd name="connsiteY40" fmla="*/ 104781 h 129856"/>
                <a:gd name="connsiteX41" fmla="*/ 107791 w 138812"/>
                <a:gd name="connsiteY41" fmla="*/ 98960 h 129856"/>
                <a:gd name="connsiteX42" fmla="*/ 98836 w 138812"/>
                <a:gd name="connsiteY42" fmla="*/ 100751 h 129856"/>
                <a:gd name="connsiteX43" fmla="*/ 85850 w 138812"/>
                <a:gd name="connsiteY43" fmla="*/ 86422 h 129856"/>
                <a:gd name="connsiteX44" fmla="*/ 90776 w 138812"/>
                <a:gd name="connsiteY44" fmla="*/ 72541 h 129856"/>
                <a:gd name="connsiteX45" fmla="*/ 89880 w 138812"/>
                <a:gd name="connsiteY45" fmla="*/ 67167 h 129856"/>
                <a:gd name="connsiteX46" fmla="*/ 106896 w 138812"/>
                <a:gd name="connsiteY46" fmla="*/ 60451 h 129856"/>
                <a:gd name="connsiteX47" fmla="*/ 118090 w 138812"/>
                <a:gd name="connsiteY47" fmla="*/ 68958 h 129856"/>
                <a:gd name="connsiteX48" fmla="*/ 121673 w 138812"/>
                <a:gd name="connsiteY48" fmla="*/ 69406 h 129856"/>
                <a:gd name="connsiteX49" fmla="*/ 130628 w 138812"/>
                <a:gd name="connsiteY49" fmla="*/ 66719 h 129856"/>
                <a:gd name="connsiteX50" fmla="*/ 138241 w 138812"/>
                <a:gd name="connsiteY50" fmla="*/ 55973 h 129856"/>
                <a:gd name="connsiteX51" fmla="*/ 125703 w 138812"/>
                <a:gd name="connsiteY51" fmla="*/ 35823 h 129856"/>
                <a:gd name="connsiteX52" fmla="*/ 19578 w 138812"/>
                <a:gd name="connsiteY52" fmla="*/ 64481 h 129856"/>
                <a:gd name="connsiteX53" fmla="*/ 4802 w 138812"/>
                <a:gd name="connsiteY53" fmla="*/ 55077 h 129856"/>
                <a:gd name="connsiteX54" fmla="*/ 14205 w 138812"/>
                <a:gd name="connsiteY54" fmla="*/ 40300 h 129856"/>
                <a:gd name="connsiteX55" fmla="*/ 16892 w 138812"/>
                <a:gd name="connsiteY55" fmla="*/ 39853 h 129856"/>
                <a:gd name="connsiteX56" fmla="*/ 28982 w 138812"/>
                <a:gd name="connsiteY56" fmla="*/ 49704 h 129856"/>
                <a:gd name="connsiteX57" fmla="*/ 19578 w 138812"/>
                <a:gd name="connsiteY57" fmla="*/ 64481 h 129856"/>
                <a:gd name="connsiteX58" fmla="*/ 55849 w 138812"/>
                <a:gd name="connsiteY58" fmla="*/ 16568 h 129856"/>
                <a:gd name="connsiteX59" fmla="*/ 68387 w 138812"/>
                <a:gd name="connsiteY59" fmla="*/ 4030 h 129856"/>
                <a:gd name="connsiteX60" fmla="*/ 80924 w 138812"/>
                <a:gd name="connsiteY60" fmla="*/ 16568 h 129856"/>
                <a:gd name="connsiteX61" fmla="*/ 68387 w 138812"/>
                <a:gd name="connsiteY61" fmla="*/ 29106 h 129856"/>
                <a:gd name="connsiteX62" fmla="*/ 55849 w 138812"/>
                <a:gd name="connsiteY62" fmla="*/ 16568 h 129856"/>
                <a:gd name="connsiteX63" fmla="*/ 41968 w 138812"/>
                <a:gd name="connsiteY63" fmla="*/ 123588 h 129856"/>
                <a:gd name="connsiteX64" fmla="*/ 33460 w 138812"/>
                <a:gd name="connsiteY64" fmla="*/ 128066 h 129856"/>
                <a:gd name="connsiteX65" fmla="*/ 24504 w 138812"/>
                <a:gd name="connsiteY65" fmla="*/ 124931 h 129856"/>
                <a:gd name="connsiteX66" fmla="*/ 20026 w 138812"/>
                <a:gd name="connsiteY66" fmla="*/ 116423 h 129856"/>
                <a:gd name="connsiteX67" fmla="*/ 23161 w 138812"/>
                <a:gd name="connsiteY67" fmla="*/ 107467 h 129856"/>
                <a:gd name="connsiteX68" fmla="*/ 31668 w 138812"/>
                <a:gd name="connsiteY68" fmla="*/ 102990 h 129856"/>
                <a:gd name="connsiteX69" fmla="*/ 32564 w 138812"/>
                <a:gd name="connsiteY69" fmla="*/ 102990 h 129856"/>
                <a:gd name="connsiteX70" fmla="*/ 40624 w 138812"/>
                <a:gd name="connsiteY70" fmla="*/ 106124 h 129856"/>
                <a:gd name="connsiteX71" fmla="*/ 45102 w 138812"/>
                <a:gd name="connsiteY71" fmla="*/ 114632 h 129856"/>
                <a:gd name="connsiteX72" fmla="*/ 41968 w 138812"/>
                <a:gd name="connsiteY72" fmla="*/ 123588 h 129856"/>
                <a:gd name="connsiteX73" fmla="*/ 107344 w 138812"/>
                <a:gd name="connsiteY73" fmla="*/ 102990 h 129856"/>
                <a:gd name="connsiteX74" fmla="*/ 115852 w 138812"/>
                <a:gd name="connsiteY74" fmla="*/ 107467 h 129856"/>
                <a:gd name="connsiteX75" fmla="*/ 118986 w 138812"/>
                <a:gd name="connsiteY75" fmla="*/ 116423 h 129856"/>
                <a:gd name="connsiteX76" fmla="*/ 114508 w 138812"/>
                <a:gd name="connsiteY76" fmla="*/ 124931 h 129856"/>
                <a:gd name="connsiteX77" fmla="*/ 105552 w 138812"/>
                <a:gd name="connsiteY77" fmla="*/ 128066 h 129856"/>
                <a:gd name="connsiteX78" fmla="*/ 97045 w 138812"/>
                <a:gd name="connsiteY78" fmla="*/ 123588 h 129856"/>
                <a:gd name="connsiteX79" fmla="*/ 93910 w 138812"/>
                <a:gd name="connsiteY79" fmla="*/ 114632 h 129856"/>
                <a:gd name="connsiteX80" fmla="*/ 98388 w 138812"/>
                <a:gd name="connsiteY80" fmla="*/ 106124 h 129856"/>
                <a:gd name="connsiteX81" fmla="*/ 106448 w 138812"/>
                <a:gd name="connsiteY81" fmla="*/ 102990 h 129856"/>
                <a:gd name="connsiteX82" fmla="*/ 107344 w 138812"/>
                <a:gd name="connsiteY82" fmla="*/ 102990 h 129856"/>
                <a:gd name="connsiteX83" fmla="*/ 68387 w 138812"/>
                <a:gd name="connsiteY83" fmla="*/ 90452 h 129856"/>
                <a:gd name="connsiteX84" fmla="*/ 56744 w 138812"/>
                <a:gd name="connsiteY84" fmla="*/ 85974 h 129856"/>
                <a:gd name="connsiteX85" fmla="*/ 56744 w 138812"/>
                <a:gd name="connsiteY85" fmla="*/ 85974 h 129856"/>
                <a:gd name="connsiteX86" fmla="*/ 56744 w 138812"/>
                <a:gd name="connsiteY86" fmla="*/ 85974 h 129856"/>
                <a:gd name="connsiteX87" fmla="*/ 50923 w 138812"/>
                <a:gd name="connsiteY87" fmla="*/ 72989 h 129856"/>
                <a:gd name="connsiteX88" fmla="*/ 68834 w 138812"/>
                <a:gd name="connsiteY88" fmla="*/ 55077 h 129856"/>
                <a:gd name="connsiteX89" fmla="*/ 86746 w 138812"/>
                <a:gd name="connsiteY89" fmla="*/ 72989 h 129856"/>
                <a:gd name="connsiteX90" fmla="*/ 68387 w 138812"/>
                <a:gd name="connsiteY90" fmla="*/ 90452 h 129856"/>
                <a:gd name="connsiteX91" fmla="*/ 134211 w 138812"/>
                <a:gd name="connsiteY91" fmla="*/ 55077 h 129856"/>
                <a:gd name="connsiteX92" fmla="*/ 119434 w 138812"/>
                <a:gd name="connsiteY92" fmla="*/ 64481 h 129856"/>
                <a:gd name="connsiteX93" fmla="*/ 110030 w 138812"/>
                <a:gd name="connsiteY93" fmla="*/ 49704 h 129856"/>
                <a:gd name="connsiteX94" fmla="*/ 122120 w 138812"/>
                <a:gd name="connsiteY94" fmla="*/ 39853 h 129856"/>
                <a:gd name="connsiteX95" fmla="*/ 124807 w 138812"/>
                <a:gd name="connsiteY95" fmla="*/ 40300 h 129856"/>
                <a:gd name="connsiteX96" fmla="*/ 134211 w 138812"/>
                <a:gd name="connsiteY96" fmla="*/ 55077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38812" h="129856">
                  <a:moveTo>
                    <a:pt x="125703" y="35823"/>
                  </a:moveTo>
                  <a:cubicBezTo>
                    <a:pt x="116747" y="33584"/>
                    <a:pt x="107344" y="39405"/>
                    <a:pt x="105552" y="48808"/>
                  </a:cubicBezTo>
                  <a:cubicBezTo>
                    <a:pt x="105105" y="51495"/>
                    <a:pt x="105105" y="54182"/>
                    <a:pt x="105552" y="56421"/>
                  </a:cubicBezTo>
                  <a:lnTo>
                    <a:pt x="88537" y="63137"/>
                  </a:lnTo>
                  <a:cubicBezTo>
                    <a:pt x="85402" y="56421"/>
                    <a:pt x="78686" y="51495"/>
                    <a:pt x="70626" y="50599"/>
                  </a:cubicBezTo>
                  <a:lnTo>
                    <a:pt x="70626" y="33584"/>
                  </a:lnTo>
                  <a:cubicBezTo>
                    <a:pt x="78686" y="32240"/>
                    <a:pt x="85402" y="25523"/>
                    <a:pt x="85402" y="17016"/>
                  </a:cubicBezTo>
                  <a:cubicBezTo>
                    <a:pt x="85402" y="7612"/>
                    <a:pt x="77790" y="0"/>
                    <a:pt x="68387" y="0"/>
                  </a:cubicBezTo>
                  <a:cubicBezTo>
                    <a:pt x="58983" y="0"/>
                    <a:pt x="51371" y="7612"/>
                    <a:pt x="51371" y="17016"/>
                  </a:cubicBezTo>
                  <a:cubicBezTo>
                    <a:pt x="51371" y="25523"/>
                    <a:pt x="58088" y="32688"/>
                    <a:pt x="66148" y="33584"/>
                  </a:cubicBezTo>
                  <a:lnTo>
                    <a:pt x="66148" y="50599"/>
                  </a:lnTo>
                  <a:cubicBezTo>
                    <a:pt x="58535" y="51495"/>
                    <a:pt x="51819" y="55973"/>
                    <a:pt x="48684" y="62689"/>
                  </a:cubicBezTo>
                  <a:lnTo>
                    <a:pt x="33460" y="56868"/>
                  </a:lnTo>
                  <a:cubicBezTo>
                    <a:pt x="33907" y="54182"/>
                    <a:pt x="34355" y="51943"/>
                    <a:pt x="33460" y="49256"/>
                  </a:cubicBezTo>
                  <a:cubicBezTo>
                    <a:pt x="31221" y="40300"/>
                    <a:pt x="22265" y="34479"/>
                    <a:pt x="13310" y="36270"/>
                  </a:cubicBezTo>
                  <a:cubicBezTo>
                    <a:pt x="4354" y="38509"/>
                    <a:pt x="-1467" y="47465"/>
                    <a:pt x="324" y="56421"/>
                  </a:cubicBezTo>
                  <a:cubicBezTo>
                    <a:pt x="1219" y="60898"/>
                    <a:pt x="3906" y="64481"/>
                    <a:pt x="7936" y="67167"/>
                  </a:cubicBezTo>
                  <a:cubicBezTo>
                    <a:pt x="10623" y="68958"/>
                    <a:pt x="13757" y="69854"/>
                    <a:pt x="16892" y="69854"/>
                  </a:cubicBezTo>
                  <a:cubicBezTo>
                    <a:pt x="18235" y="69854"/>
                    <a:pt x="19578" y="69854"/>
                    <a:pt x="20474" y="69406"/>
                  </a:cubicBezTo>
                  <a:cubicBezTo>
                    <a:pt x="25400" y="68511"/>
                    <a:pt x="29430" y="64928"/>
                    <a:pt x="31668" y="60898"/>
                  </a:cubicBezTo>
                  <a:lnTo>
                    <a:pt x="46893" y="66719"/>
                  </a:lnTo>
                  <a:cubicBezTo>
                    <a:pt x="46445" y="68511"/>
                    <a:pt x="45998" y="70750"/>
                    <a:pt x="45998" y="72541"/>
                  </a:cubicBezTo>
                  <a:cubicBezTo>
                    <a:pt x="45998" y="78362"/>
                    <a:pt x="48236" y="83735"/>
                    <a:pt x="51819" y="87765"/>
                  </a:cubicBezTo>
                  <a:lnTo>
                    <a:pt x="40176" y="100751"/>
                  </a:lnTo>
                  <a:cubicBezTo>
                    <a:pt x="37490" y="99407"/>
                    <a:pt x="34355" y="98512"/>
                    <a:pt x="31221" y="98960"/>
                  </a:cubicBezTo>
                  <a:cubicBezTo>
                    <a:pt x="26743" y="99407"/>
                    <a:pt x="22713" y="101199"/>
                    <a:pt x="19578" y="104781"/>
                  </a:cubicBezTo>
                  <a:cubicBezTo>
                    <a:pt x="16444" y="108363"/>
                    <a:pt x="15101" y="112393"/>
                    <a:pt x="15548" y="117319"/>
                  </a:cubicBezTo>
                  <a:cubicBezTo>
                    <a:pt x="15996" y="121797"/>
                    <a:pt x="17787" y="125827"/>
                    <a:pt x="21370" y="128961"/>
                  </a:cubicBezTo>
                  <a:cubicBezTo>
                    <a:pt x="24504" y="131648"/>
                    <a:pt x="28534" y="132991"/>
                    <a:pt x="32564" y="132991"/>
                  </a:cubicBezTo>
                  <a:cubicBezTo>
                    <a:pt x="33012" y="132991"/>
                    <a:pt x="33460" y="132991"/>
                    <a:pt x="33907" y="132991"/>
                  </a:cubicBezTo>
                  <a:cubicBezTo>
                    <a:pt x="43311" y="132095"/>
                    <a:pt x="50475" y="124035"/>
                    <a:pt x="49580" y="114632"/>
                  </a:cubicBezTo>
                  <a:cubicBezTo>
                    <a:pt x="49132" y="110154"/>
                    <a:pt x="47341" y="106572"/>
                    <a:pt x="44206" y="103438"/>
                  </a:cubicBezTo>
                  <a:lnTo>
                    <a:pt x="55401" y="90900"/>
                  </a:lnTo>
                  <a:cubicBezTo>
                    <a:pt x="58983" y="93586"/>
                    <a:pt x="63461" y="95378"/>
                    <a:pt x="68387" y="95378"/>
                  </a:cubicBezTo>
                  <a:cubicBezTo>
                    <a:pt x="73760" y="95378"/>
                    <a:pt x="78686" y="93139"/>
                    <a:pt x="82716" y="90004"/>
                  </a:cubicBezTo>
                  <a:lnTo>
                    <a:pt x="94806" y="103438"/>
                  </a:lnTo>
                  <a:cubicBezTo>
                    <a:pt x="91671" y="106572"/>
                    <a:pt x="89880" y="110154"/>
                    <a:pt x="89432" y="114632"/>
                  </a:cubicBezTo>
                  <a:cubicBezTo>
                    <a:pt x="88537" y="124035"/>
                    <a:pt x="95701" y="132095"/>
                    <a:pt x="105105" y="132991"/>
                  </a:cubicBezTo>
                  <a:cubicBezTo>
                    <a:pt x="105552" y="132991"/>
                    <a:pt x="106000" y="132991"/>
                    <a:pt x="106448" y="132991"/>
                  </a:cubicBezTo>
                  <a:cubicBezTo>
                    <a:pt x="115404" y="132991"/>
                    <a:pt x="122568" y="126274"/>
                    <a:pt x="123464" y="117319"/>
                  </a:cubicBezTo>
                  <a:cubicBezTo>
                    <a:pt x="123912" y="112841"/>
                    <a:pt x="122568" y="108363"/>
                    <a:pt x="119434" y="104781"/>
                  </a:cubicBezTo>
                  <a:cubicBezTo>
                    <a:pt x="116299" y="101199"/>
                    <a:pt x="112269" y="99407"/>
                    <a:pt x="107791" y="98960"/>
                  </a:cubicBezTo>
                  <a:cubicBezTo>
                    <a:pt x="104657" y="98512"/>
                    <a:pt x="101522" y="99407"/>
                    <a:pt x="98836" y="100751"/>
                  </a:cubicBezTo>
                  <a:lnTo>
                    <a:pt x="85850" y="86422"/>
                  </a:lnTo>
                  <a:cubicBezTo>
                    <a:pt x="88985" y="82392"/>
                    <a:pt x="90776" y="77914"/>
                    <a:pt x="90776" y="72541"/>
                  </a:cubicBezTo>
                  <a:cubicBezTo>
                    <a:pt x="90776" y="70750"/>
                    <a:pt x="90328" y="68958"/>
                    <a:pt x="89880" y="67167"/>
                  </a:cubicBezTo>
                  <a:lnTo>
                    <a:pt x="106896" y="60451"/>
                  </a:lnTo>
                  <a:cubicBezTo>
                    <a:pt x="109135" y="64481"/>
                    <a:pt x="113165" y="67615"/>
                    <a:pt x="118090" y="68958"/>
                  </a:cubicBezTo>
                  <a:cubicBezTo>
                    <a:pt x="119434" y="69406"/>
                    <a:pt x="120777" y="69406"/>
                    <a:pt x="121673" y="69406"/>
                  </a:cubicBezTo>
                  <a:cubicBezTo>
                    <a:pt x="124807" y="69406"/>
                    <a:pt x="127942" y="68511"/>
                    <a:pt x="130628" y="66719"/>
                  </a:cubicBezTo>
                  <a:cubicBezTo>
                    <a:pt x="134658" y="64481"/>
                    <a:pt x="137345" y="60451"/>
                    <a:pt x="138241" y="55973"/>
                  </a:cubicBezTo>
                  <a:cubicBezTo>
                    <a:pt x="140927" y="47017"/>
                    <a:pt x="135106" y="37614"/>
                    <a:pt x="125703" y="35823"/>
                  </a:cubicBezTo>
                  <a:close/>
                  <a:moveTo>
                    <a:pt x="19578" y="64481"/>
                  </a:moveTo>
                  <a:cubicBezTo>
                    <a:pt x="12862" y="65824"/>
                    <a:pt x="6145" y="61794"/>
                    <a:pt x="4802" y="55077"/>
                  </a:cubicBezTo>
                  <a:cubicBezTo>
                    <a:pt x="3458" y="48360"/>
                    <a:pt x="7488" y="41644"/>
                    <a:pt x="14205" y="40300"/>
                  </a:cubicBezTo>
                  <a:cubicBezTo>
                    <a:pt x="15101" y="40300"/>
                    <a:pt x="15996" y="39853"/>
                    <a:pt x="16892" y="39853"/>
                  </a:cubicBezTo>
                  <a:cubicBezTo>
                    <a:pt x="22713" y="39853"/>
                    <a:pt x="27638" y="43883"/>
                    <a:pt x="28982" y="49704"/>
                  </a:cubicBezTo>
                  <a:cubicBezTo>
                    <a:pt x="30325" y="56421"/>
                    <a:pt x="26295" y="63137"/>
                    <a:pt x="19578" y="64481"/>
                  </a:cubicBezTo>
                  <a:close/>
                  <a:moveTo>
                    <a:pt x="55849" y="16568"/>
                  </a:moveTo>
                  <a:cubicBezTo>
                    <a:pt x="55849" y="9851"/>
                    <a:pt x="61670" y="4030"/>
                    <a:pt x="68387" y="4030"/>
                  </a:cubicBezTo>
                  <a:cubicBezTo>
                    <a:pt x="75103" y="4030"/>
                    <a:pt x="80924" y="9851"/>
                    <a:pt x="80924" y="16568"/>
                  </a:cubicBezTo>
                  <a:cubicBezTo>
                    <a:pt x="80924" y="23285"/>
                    <a:pt x="75103" y="29106"/>
                    <a:pt x="68387" y="29106"/>
                  </a:cubicBezTo>
                  <a:cubicBezTo>
                    <a:pt x="61670" y="29106"/>
                    <a:pt x="55849" y="23732"/>
                    <a:pt x="55849" y="16568"/>
                  </a:cubicBezTo>
                  <a:close/>
                  <a:moveTo>
                    <a:pt x="41968" y="123588"/>
                  </a:moveTo>
                  <a:cubicBezTo>
                    <a:pt x="39729" y="126274"/>
                    <a:pt x="36594" y="127618"/>
                    <a:pt x="33460" y="128066"/>
                  </a:cubicBezTo>
                  <a:cubicBezTo>
                    <a:pt x="30325" y="128513"/>
                    <a:pt x="26743" y="127170"/>
                    <a:pt x="24504" y="124931"/>
                  </a:cubicBezTo>
                  <a:cubicBezTo>
                    <a:pt x="22265" y="122692"/>
                    <a:pt x="20474" y="119558"/>
                    <a:pt x="20026" y="116423"/>
                  </a:cubicBezTo>
                  <a:cubicBezTo>
                    <a:pt x="19578" y="113289"/>
                    <a:pt x="20922" y="109706"/>
                    <a:pt x="23161" y="107467"/>
                  </a:cubicBezTo>
                  <a:cubicBezTo>
                    <a:pt x="25400" y="105229"/>
                    <a:pt x="28534" y="103438"/>
                    <a:pt x="31668" y="102990"/>
                  </a:cubicBezTo>
                  <a:cubicBezTo>
                    <a:pt x="32116" y="102990"/>
                    <a:pt x="32116" y="102990"/>
                    <a:pt x="32564" y="102990"/>
                  </a:cubicBezTo>
                  <a:cubicBezTo>
                    <a:pt x="35699" y="102990"/>
                    <a:pt x="38385" y="103885"/>
                    <a:pt x="40624" y="106124"/>
                  </a:cubicBezTo>
                  <a:cubicBezTo>
                    <a:pt x="43311" y="108363"/>
                    <a:pt x="44654" y="111498"/>
                    <a:pt x="45102" y="114632"/>
                  </a:cubicBezTo>
                  <a:cubicBezTo>
                    <a:pt x="45102" y="118214"/>
                    <a:pt x="44206" y="121349"/>
                    <a:pt x="41968" y="123588"/>
                  </a:cubicBezTo>
                  <a:close/>
                  <a:moveTo>
                    <a:pt x="107344" y="102990"/>
                  </a:moveTo>
                  <a:cubicBezTo>
                    <a:pt x="110478" y="103438"/>
                    <a:pt x="113613" y="104781"/>
                    <a:pt x="115852" y="107467"/>
                  </a:cubicBezTo>
                  <a:cubicBezTo>
                    <a:pt x="118090" y="110154"/>
                    <a:pt x="118986" y="113289"/>
                    <a:pt x="118986" y="116423"/>
                  </a:cubicBezTo>
                  <a:cubicBezTo>
                    <a:pt x="118538" y="119558"/>
                    <a:pt x="117195" y="122692"/>
                    <a:pt x="114508" y="124931"/>
                  </a:cubicBezTo>
                  <a:cubicBezTo>
                    <a:pt x="111822" y="127170"/>
                    <a:pt x="108687" y="128066"/>
                    <a:pt x="105552" y="128066"/>
                  </a:cubicBezTo>
                  <a:cubicBezTo>
                    <a:pt x="102418" y="127618"/>
                    <a:pt x="99284" y="126274"/>
                    <a:pt x="97045" y="123588"/>
                  </a:cubicBezTo>
                  <a:cubicBezTo>
                    <a:pt x="94806" y="120901"/>
                    <a:pt x="93910" y="117767"/>
                    <a:pt x="93910" y="114632"/>
                  </a:cubicBezTo>
                  <a:cubicBezTo>
                    <a:pt x="94358" y="111498"/>
                    <a:pt x="95701" y="108363"/>
                    <a:pt x="98388" y="106124"/>
                  </a:cubicBezTo>
                  <a:cubicBezTo>
                    <a:pt x="100627" y="104333"/>
                    <a:pt x="103314" y="102990"/>
                    <a:pt x="106448" y="102990"/>
                  </a:cubicBezTo>
                  <a:cubicBezTo>
                    <a:pt x="106896" y="102990"/>
                    <a:pt x="106896" y="102990"/>
                    <a:pt x="107344" y="102990"/>
                  </a:cubicBezTo>
                  <a:close/>
                  <a:moveTo>
                    <a:pt x="68387" y="90452"/>
                  </a:moveTo>
                  <a:cubicBezTo>
                    <a:pt x="63909" y="90452"/>
                    <a:pt x="59879" y="88661"/>
                    <a:pt x="56744" y="85974"/>
                  </a:cubicBezTo>
                  <a:cubicBezTo>
                    <a:pt x="56744" y="85974"/>
                    <a:pt x="56744" y="85974"/>
                    <a:pt x="56744" y="85974"/>
                  </a:cubicBezTo>
                  <a:cubicBezTo>
                    <a:pt x="56744" y="85974"/>
                    <a:pt x="56744" y="85974"/>
                    <a:pt x="56744" y="85974"/>
                  </a:cubicBezTo>
                  <a:cubicBezTo>
                    <a:pt x="53162" y="82839"/>
                    <a:pt x="50923" y="77914"/>
                    <a:pt x="50923" y="72989"/>
                  </a:cubicBezTo>
                  <a:cubicBezTo>
                    <a:pt x="50923" y="63137"/>
                    <a:pt x="58983" y="55077"/>
                    <a:pt x="68834" y="55077"/>
                  </a:cubicBezTo>
                  <a:cubicBezTo>
                    <a:pt x="78686" y="55077"/>
                    <a:pt x="86746" y="63137"/>
                    <a:pt x="86746" y="72989"/>
                  </a:cubicBezTo>
                  <a:cubicBezTo>
                    <a:pt x="86746" y="82839"/>
                    <a:pt x="78238" y="90452"/>
                    <a:pt x="68387" y="90452"/>
                  </a:cubicBezTo>
                  <a:close/>
                  <a:moveTo>
                    <a:pt x="134211" y="55077"/>
                  </a:moveTo>
                  <a:cubicBezTo>
                    <a:pt x="132867" y="61794"/>
                    <a:pt x="126150" y="65824"/>
                    <a:pt x="119434" y="64481"/>
                  </a:cubicBezTo>
                  <a:cubicBezTo>
                    <a:pt x="112717" y="63137"/>
                    <a:pt x="108687" y="56421"/>
                    <a:pt x="110030" y="49704"/>
                  </a:cubicBezTo>
                  <a:cubicBezTo>
                    <a:pt x="111374" y="43883"/>
                    <a:pt x="116299" y="39853"/>
                    <a:pt x="122120" y="39853"/>
                  </a:cubicBezTo>
                  <a:cubicBezTo>
                    <a:pt x="123016" y="39853"/>
                    <a:pt x="123912" y="39853"/>
                    <a:pt x="124807" y="40300"/>
                  </a:cubicBezTo>
                  <a:cubicBezTo>
                    <a:pt x="131524" y="41644"/>
                    <a:pt x="136002" y="48360"/>
                    <a:pt x="134211" y="55077"/>
                  </a:cubicBezTo>
                  <a:close/>
                </a:path>
              </a:pathLst>
            </a:custGeom>
            <a:solidFill>
              <a:srgbClr val="231F20"/>
            </a:solidFill>
            <a:ln w="4474" cap="flat">
              <a:noFill/>
              <a:prstDash val="solid"/>
              <a:miter/>
            </a:ln>
          </p:spPr>
          <p:txBody>
            <a:bodyPr rtlCol="0" anchor="ctr"/>
            <a:lstStyle/>
            <a:p>
              <a:endParaRPr lang="en-US"/>
            </a:p>
          </p:txBody>
        </p:sp>
      </p:grpSp>
      <p:grpSp>
        <p:nvGrpSpPr>
          <p:cNvPr id="4331" name="Group 4330">
            <a:extLst>
              <a:ext uri="{FF2B5EF4-FFF2-40B4-BE49-F238E27FC236}">
                <a16:creationId xmlns:a16="http://schemas.microsoft.com/office/drawing/2014/main" id="{9BF6EA14-F1DB-4B2B-B0A8-FD2B26798540}"/>
              </a:ext>
              <a:ext uri="{C183D7F6-B498-43B3-948B-1728B52AA6E4}">
                <adec:decorative xmlns:adec="http://schemas.microsoft.com/office/drawing/2017/decorative" val="1"/>
              </a:ext>
            </a:extLst>
          </p:cNvPr>
          <p:cNvGrpSpPr>
            <a:grpSpLocks noChangeAspect="1"/>
          </p:cNvGrpSpPr>
          <p:nvPr/>
        </p:nvGrpSpPr>
        <p:grpSpPr>
          <a:xfrm>
            <a:off x="2915882" y="3937612"/>
            <a:ext cx="136634" cy="130633"/>
            <a:chOff x="2956636" y="3202173"/>
            <a:chExt cx="136634" cy="130633"/>
          </a:xfrm>
        </p:grpSpPr>
        <p:sp>
          <p:nvSpPr>
            <p:cNvPr id="4332" name="Freeform: Shape 4331">
              <a:extLst>
                <a:ext uri="{FF2B5EF4-FFF2-40B4-BE49-F238E27FC236}">
                  <a16:creationId xmlns:a16="http://schemas.microsoft.com/office/drawing/2014/main" id="{13F5AE91-B076-4506-83A8-E0CFDA998263}"/>
                </a:ext>
              </a:extLst>
            </p:cNvPr>
            <p:cNvSpPr/>
            <p:nvPr/>
          </p:nvSpPr>
          <p:spPr>
            <a:xfrm>
              <a:off x="3003685" y="3252772"/>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927"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688" y="4478"/>
                    <a:pt x="22389" y="4478"/>
                  </a:cubicBezTo>
                  <a:close/>
                </a:path>
              </a:pathLst>
            </a:custGeom>
            <a:solidFill>
              <a:srgbClr val="231F20"/>
            </a:solidFill>
            <a:ln w="4474" cap="flat">
              <a:noFill/>
              <a:prstDash val="solid"/>
              <a:miter/>
            </a:ln>
          </p:spPr>
          <p:txBody>
            <a:bodyPr rtlCol="0" anchor="ctr"/>
            <a:lstStyle/>
            <a:p>
              <a:endParaRPr lang="en-US"/>
            </a:p>
          </p:txBody>
        </p:sp>
        <p:sp>
          <p:nvSpPr>
            <p:cNvPr id="4333" name="Freeform: Shape 4332">
              <a:extLst>
                <a:ext uri="{FF2B5EF4-FFF2-40B4-BE49-F238E27FC236}">
                  <a16:creationId xmlns:a16="http://schemas.microsoft.com/office/drawing/2014/main" id="{B80F3D48-AE7F-42D5-B7A1-BAC5752EC8F7}"/>
                </a:ext>
              </a:extLst>
            </p:cNvPr>
            <p:cNvSpPr/>
            <p:nvPr/>
          </p:nvSpPr>
          <p:spPr>
            <a:xfrm>
              <a:off x="2972256" y="3301057"/>
              <a:ext cx="31345" cy="31345"/>
            </a:xfrm>
            <a:custGeom>
              <a:avLst/>
              <a:gdLst>
                <a:gd name="connsiteX0" fmla="*/ 17100 w 31344"/>
                <a:gd name="connsiteY0" fmla="*/ 34107 h 31344"/>
                <a:gd name="connsiteX1" fmla="*/ 5905 w 31344"/>
                <a:gd name="connsiteY1" fmla="*/ 30077 h 31344"/>
                <a:gd name="connsiteX2" fmla="*/ 84 w 31344"/>
                <a:gd name="connsiteY2" fmla="*/ 18435 h 31344"/>
                <a:gd name="connsiteX3" fmla="*/ 4114 w 31344"/>
                <a:gd name="connsiteY3" fmla="*/ 5897 h 31344"/>
                <a:gd name="connsiteX4" fmla="*/ 15756 w 31344"/>
                <a:gd name="connsiteY4" fmla="*/ 76 h 31344"/>
                <a:gd name="connsiteX5" fmla="*/ 34115 w 31344"/>
                <a:gd name="connsiteY5" fmla="*/ 15748 h 31344"/>
                <a:gd name="connsiteX6" fmla="*/ 34115 w 31344"/>
                <a:gd name="connsiteY6" fmla="*/ 15748 h 31344"/>
                <a:gd name="connsiteX7" fmla="*/ 30085 w 31344"/>
                <a:gd name="connsiteY7" fmla="*/ 28286 h 31344"/>
                <a:gd name="connsiteX8" fmla="*/ 18443 w 31344"/>
                <a:gd name="connsiteY8" fmla="*/ 34107 h 31344"/>
                <a:gd name="connsiteX9" fmla="*/ 17100 w 31344"/>
                <a:gd name="connsiteY9" fmla="*/ 34107 h 31344"/>
                <a:gd name="connsiteX10" fmla="*/ 17100 w 31344"/>
                <a:gd name="connsiteY10" fmla="*/ 4553 h 31344"/>
                <a:gd name="connsiteX11" fmla="*/ 16204 w 31344"/>
                <a:gd name="connsiteY11" fmla="*/ 4553 h 31344"/>
                <a:gd name="connsiteX12" fmla="*/ 7696 w 31344"/>
                <a:gd name="connsiteY12" fmla="*/ 9031 h 31344"/>
                <a:gd name="connsiteX13" fmla="*/ 4562 w 31344"/>
                <a:gd name="connsiteY13" fmla="*/ 17987 h 31344"/>
                <a:gd name="connsiteX14" fmla="*/ 9040 w 31344"/>
                <a:gd name="connsiteY14" fmla="*/ 26495 h 31344"/>
                <a:gd name="connsiteX15" fmla="*/ 17995 w 31344"/>
                <a:gd name="connsiteY15" fmla="*/ 29629 h 31344"/>
                <a:gd name="connsiteX16" fmla="*/ 26503 w 31344"/>
                <a:gd name="connsiteY16" fmla="*/ 25151 h 31344"/>
                <a:gd name="connsiteX17" fmla="*/ 29638 w 31344"/>
                <a:gd name="connsiteY17" fmla="*/ 16196 h 31344"/>
                <a:gd name="connsiteX18" fmla="*/ 29638 w 31344"/>
                <a:gd name="connsiteY18" fmla="*/ 16196 h 31344"/>
                <a:gd name="connsiteX19" fmla="*/ 17100 w 31344"/>
                <a:gd name="connsiteY19" fmla="*/ 4553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44" h="31344">
                  <a:moveTo>
                    <a:pt x="17100" y="34107"/>
                  </a:moveTo>
                  <a:cubicBezTo>
                    <a:pt x="13070" y="34107"/>
                    <a:pt x="9040" y="32764"/>
                    <a:pt x="5905" y="30077"/>
                  </a:cubicBezTo>
                  <a:cubicBezTo>
                    <a:pt x="2323" y="26943"/>
                    <a:pt x="532" y="22912"/>
                    <a:pt x="84" y="18435"/>
                  </a:cubicBezTo>
                  <a:cubicBezTo>
                    <a:pt x="-364" y="13957"/>
                    <a:pt x="979" y="9479"/>
                    <a:pt x="4114" y="5897"/>
                  </a:cubicBezTo>
                  <a:cubicBezTo>
                    <a:pt x="7248" y="2315"/>
                    <a:pt x="11279" y="523"/>
                    <a:pt x="15756" y="76"/>
                  </a:cubicBezTo>
                  <a:cubicBezTo>
                    <a:pt x="25160" y="-820"/>
                    <a:pt x="33220" y="6344"/>
                    <a:pt x="34115" y="15748"/>
                  </a:cubicBezTo>
                  <a:lnTo>
                    <a:pt x="34115" y="15748"/>
                  </a:lnTo>
                  <a:cubicBezTo>
                    <a:pt x="34563" y="20226"/>
                    <a:pt x="33220" y="24704"/>
                    <a:pt x="30085" y="28286"/>
                  </a:cubicBezTo>
                  <a:cubicBezTo>
                    <a:pt x="26951" y="31868"/>
                    <a:pt x="22921" y="33659"/>
                    <a:pt x="18443" y="34107"/>
                  </a:cubicBezTo>
                  <a:cubicBezTo>
                    <a:pt x="17995" y="34107"/>
                    <a:pt x="17547" y="34107"/>
                    <a:pt x="17100" y="34107"/>
                  </a:cubicBezTo>
                  <a:close/>
                  <a:moveTo>
                    <a:pt x="17100" y="4553"/>
                  </a:moveTo>
                  <a:cubicBezTo>
                    <a:pt x="16652" y="4553"/>
                    <a:pt x="16652" y="4553"/>
                    <a:pt x="16204" y="4553"/>
                  </a:cubicBezTo>
                  <a:cubicBezTo>
                    <a:pt x="13070" y="5001"/>
                    <a:pt x="9935" y="6344"/>
                    <a:pt x="7696" y="9031"/>
                  </a:cubicBezTo>
                  <a:cubicBezTo>
                    <a:pt x="5457" y="11718"/>
                    <a:pt x="4562" y="14852"/>
                    <a:pt x="4562" y="17987"/>
                  </a:cubicBezTo>
                  <a:cubicBezTo>
                    <a:pt x="5010" y="21121"/>
                    <a:pt x="6353" y="24256"/>
                    <a:pt x="9040" y="26495"/>
                  </a:cubicBezTo>
                  <a:cubicBezTo>
                    <a:pt x="11726" y="28734"/>
                    <a:pt x="14861" y="29629"/>
                    <a:pt x="17995" y="29629"/>
                  </a:cubicBezTo>
                  <a:cubicBezTo>
                    <a:pt x="21130" y="29181"/>
                    <a:pt x="24264" y="27838"/>
                    <a:pt x="26503" y="25151"/>
                  </a:cubicBezTo>
                  <a:cubicBezTo>
                    <a:pt x="28742" y="22465"/>
                    <a:pt x="29638" y="19330"/>
                    <a:pt x="29638" y="16196"/>
                  </a:cubicBezTo>
                  <a:lnTo>
                    <a:pt x="29638" y="16196"/>
                  </a:lnTo>
                  <a:cubicBezTo>
                    <a:pt x="29190" y="9479"/>
                    <a:pt x="23368" y="4553"/>
                    <a:pt x="17100" y="4553"/>
                  </a:cubicBezTo>
                  <a:close/>
                </a:path>
              </a:pathLst>
            </a:custGeom>
            <a:solidFill>
              <a:srgbClr val="231F20"/>
            </a:solidFill>
            <a:ln w="4474" cap="flat">
              <a:noFill/>
              <a:prstDash val="solid"/>
              <a:miter/>
            </a:ln>
          </p:spPr>
          <p:txBody>
            <a:bodyPr rtlCol="0" anchor="ctr"/>
            <a:lstStyle/>
            <a:p>
              <a:endParaRPr lang="en-US"/>
            </a:p>
          </p:txBody>
        </p:sp>
        <p:sp>
          <p:nvSpPr>
            <p:cNvPr id="4334" name="Freeform: Shape 4333">
              <a:extLst>
                <a:ext uri="{FF2B5EF4-FFF2-40B4-BE49-F238E27FC236}">
                  <a16:creationId xmlns:a16="http://schemas.microsoft.com/office/drawing/2014/main" id="{723464D6-FBF1-4131-85DE-16B57B04A4E5}"/>
                </a:ext>
              </a:extLst>
            </p:cNvPr>
            <p:cNvSpPr/>
            <p:nvPr/>
          </p:nvSpPr>
          <p:spPr>
            <a:xfrm>
              <a:off x="3008163" y="3202173"/>
              <a:ext cx="31345" cy="31345"/>
            </a:xfrm>
            <a:custGeom>
              <a:avLst/>
              <a:gdLst>
                <a:gd name="connsiteX0" fmla="*/ 17016 w 31344"/>
                <a:gd name="connsiteY0" fmla="*/ 34031 h 31344"/>
                <a:gd name="connsiteX1" fmla="*/ 0 w 31344"/>
                <a:gd name="connsiteY1" fmla="*/ 17016 h 31344"/>
                <a:gd name="connsiteX2" fmla="*/ 17016 w 31344"/>
                <a:gd name="connsiteY2" fmla="*/ 0 h 31344"/>
                <a:gd name="connsiteX3" fmla="*/ 34031 w 31344"/>
                <a:gd name="connsiteY3" fmla="*/ 17016 h 31344"/>
                <a:gd name="connsiteX4" fmla="*/ 17016 w 31344"/>
                <a:gd name="connsiteY4" fmla="*/ 34031 h 31344"/>
                <a:gd name="connsiteX5" fmla="*/ 17016 w 31344"/>
                <a:gd name="connsiteY5" fmla="*/ 4478 h 31344"/>
                <a:gd name="connsiteX6" fmla="*/ 4478 w 31344"/>
                <a:gd name="connsiteY6" fmla="*/ 17016 h 31344"/>
                <a:gd name="connsiteX7" fmla="*/ 17016 w 31344"/>
                <a:gd name="connsiteY7" fmla="*/ 29554 h 31344"/>
                <a:gd name="connsiteX8" fmla="*/ 29553 w 31344"/>
                <a:gd name="connsiteY8" fmla="*/ 17016 h 31344"/>
                <a:gd name="connsiteX9" fmla="*/ 17016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7016" y="34031"/>
                  </a:moveTo>
                  <a:cubicBezTo>
                    <a:pt x="7612" y="34031"/>
                    <a:pt x="0" y="26419"/>
                    <a:pt x="0" y="17016"/>
                  </a:cubicBezTo>
                  <a:cubicBezTo>
                    <a:pt x="0" y="7612"/>
                    <a:pt x="7612" y="0"/>
                    <a:pt x="17016" y="0"/>
                  </a:cubicBezTo>
                  <a:cubicBezTo>
                    <a:pt x="26419" y="0"/>
                    <a:pt x="34031" y="7612"/>
                    <a:pt x="34031" y="17016"/>
                  </a:cubicBezTo>
                  <a:cubicBezTo>
                    <a:pt x="34031" y="26419"/>
                    <a:pt x="26419" y="34031"/>
                    <a:pt x="17016" y="34031"/>
                  </a:cubicBezTo>
                  <a:close/>
                  <a:moveTo>
                    <a:pt x="17016" y="4478"/>
                  </a:moveTo>
                  <a:cubicBezTo>
                    <a:pt x="10299" y="4478"/>
                    <a:pt x="4478" y="10299"/>
                    <a:pt x="4478" y="17016"/>
                  </a:cubicBezTo>
                  <a:cubicBezTo>
                    <a:pt x="4478" y="23732"/>
                    <a:pt x="10299" y="29554"/>
                    <a:pt x="17016" y="29554"/>
                  </a:cubicBezTo>
                  <a:cubicBezTo>
                    <a:pt x="23732" y="29554"/>
                    <a:pt x="29553" y="23732"/>
                    <a:pt x="29553" y="17016"/>
                  </a:cubicBezTo>
                  <a:cubicBezTo>
                    <a:pt x="29553" y="10299"/>
                    <a:pt x="23732" y="4478"/>
                    <a:pt x="17016" y="4478"/>
                  </a:cubicBezTo>
                  <a:close/>
                </a:path>
              </a:pathLst>
            </a:custGeom>
            <a:solidFill>
              <a:srgbClr val="231F20"/>
            </a:solidFill>
            <a:ln w="4474" cap="flat">
              <a:noFill/>
              <a:prstDash val="solid"/>
              <a:miter/>
            </a:ln>
          </p:spPr>
          <p:txBody>
            <a:bodyPr rtlCol="0" anchor="ctr"/>
            <a:lstStyle/>
            <a:p>
              <a:endParaRPr lang="en-US"/>
            </a:p>
          </p:txBody>
        </p:sp>
        <p:sp>
          <p:nvSpPr>
            <p:cNvPr id="4335" name="Freeform: Shape 4334">
              <a:extLst>
                <a:ext uri="{FF2B5EF4-FFF2-40B4-BE49-F238E27FC236}">
                  <a16:creationId xmlns:a16="http://schemas.microsoft.com/office/drawing/2014/main" id="{2342EED8-CB68-46F0-90CA-DFF045B51A66}"/>
                </a:ext>
              </a:extLst>
            </p:cNvPr>
            <p:cNvSpPr/>
            <p:nvPr/>
          </p:nvSpPr>
          <p:spPr>
            <a:xfrm>
              <a:off x="2956636" y="3237516"/>
              <a:ext cx="31345" cy="31345"/>
            </a:xfrm>
            <a:custGeom>
              <a:avLst/>
              <a:gdLst>
                <a:gd name="connsiteX0" fmla="*/ 17047 w 31344"/>
                <a:gd name="connsiteY0" fmla="*/ 34063 h 31344"/>
                <a:gd name="connsiteX1" fmla="*/ 479 w 31344"/>
                <a:gd name="connsiteY1" fmla="*/ 20629 h 31344"/>
                <a:gd name="connsiteX2" fmla="*/ 13465 w 31344"/>
                <a:gd name="connsiteY2" fmla="*/ 479 h 31344"/>
                <a:gd name="connsiteX3" fmla="*/ 33615 w 31344"/>
                <a:gd name="connsiteY3" fmla="*/ 13465 h 31344"/>
                <a:gd name="connsiteX4" fmla="*/ 33615 w 31344"/>
                <a:gd name="connsiteY4" fmla="*/ 13465 h 31344"/>
                <a:gd name="connsiteX5" fmla="*/ 20629 w 31344"/>
                <a:gd name="connsiteY5" fmla="*/ 33615 h 31344"/>
                <a:gd name="connsiteX6" fmla="*/ 17047 w 31344"/>
                <a:gd name="connsiteY6" fmla="*/ 34063 h 31344"/>
                <a:gd name="connsiteX7" fmla="*/ 17047 w 31344"/>
                <a:gd name="connsiteY7" fmla="*/ 4509 h 31344"/>
                <a:gd name="connsiteX8" fmla="*/ 14360 w 31344"/>
                <a:gd name="connsiteY8" fmla="*/ 4957 h 31344"/>
                <a:gd name="connsiteX9" fmla="*/ 4957 w 31344"/>
                <a:gd name="connsiteY9" fmla="*/ 19734 h 31344"/>
                <a:gd name="connsiteX10" fmla="*/ 19734 w 31344"/>
                <a:gd name="connsiteY10" fmla="*/ 29137 h 31344"/>
                <a:gd name="connsiteX11" fmla="*/ 29137 w 31344"/>
                <a:gd name="connsiteY11" fmla="*/ 14360 h 31344"/>
                <a:gd name="connsiteX12" fmla="*/ 17047 w 31344"/>
                <a:gd name="connsiteY12" fmla="*/ 450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344" h="31344">
                  <a:moveTo>
                    <a:pt x="17047" y="34063"/>
                  </a:moveTo>
                  <a:cubicBezTo>
                    <a:pt x="9435" y="34063"/>
                    <a:pt x="2270" y="28689"/>
                    <a:pt x="479" y="20629"/>
                  </a:cubicBezTo>
                  <a:cubicBezTo>
                    <a:pt x="-1760" y="11674"/>
                    <a:pt x="4061" y="2270"/>
                    <a:pt x="13465" y="479"/>
                  </a:cubicBezTo>
                  <a:cubicBezTo>
                    <a:pt x="22421" y="-1760"/>
                    <a:pt x="31824" y="4061"/>
                    <a:pt x="33615" y="13465"/>
                  </a:cubicBezTo>
                  <a:lnTo>
                    <a:pt x="33615" y="13465"/>
                  </a:lnTo>
                  <a:cubicBezTo>
                    <a:pt x="35854" y="22420"/>
                    <a:pt x="30033" y="31824"/>
                    <a:pt x="20629" y="33615"/>
                  </a:cubicBezTo>
                  <a:cubicBezTo>
                    <a:pt x="19286" y="34063"/>
                    <a:pt x="18390" y="34063"/>
                    <a:pt x="17047" y="34063"/>
                  </a:cubicBezTo>
                  <a:close/>
                  <a:moveTo>
                    <a:pt x="17047" y="4509"/>
                  </a:moveTo>
                  <a:cubicBezTo>
                    <a:pt x="16152" y="4509"/>
                    <a:pt x="15256" y="4509"/>
                    <a:pt x="14360" y="4957"/>
                  </a:cubicBezTo>
                  <a:cubicBezTo>
                    <a:pt x="7644" y="6300"/>
                    <a:pt x="3614" y="13017"/>
                    <a:pt x="4957" y="19734"/>
                  </a:cubicBezTo>
                  <a:cubicBezTo>
                    <a:pt x="6300" y="26450"/>
                    <a:pt x="13017" y="30480"/>
                    <a:pt x="19734" y="29137"/>
                  </a:cubicBezTo>
                  <a:cubicBezTo>
                    <a:pt x="26450" y="27794"/>
                    <a:pt x="30481" y="21077"/>
                    <a:pt x="29137" y="14360"/>
                  </a:cubicBezTo>
                  <a:cubicBezTo>
                    <a:pt x="27794" y="8539"/>
                    <a:pt x="22868" y="4509"/>
                    <a:pt x="17047" y="4509"/>
                  </a:cubicBezTo>
                  <a:close/>
                </a:path>
              </a:pathLst>
            </a:custGeom>
            <a:solidFill>
              <a:srgbClr val="231F20"/>
            </a:solidFill>
            <a:ln w="4474" cap="flat">
              <a:noFill/>
              <a:prstDash val="solid"/>
              <a:miter/>
            </a:ln>
          </p:spPr>
          <p:txBody>
            <a:bodyPr rtlCol="0" anchor="ctr"/>
            <a:lstStyle/>
            <a:p>
              <a:endParaRPr lang="en-US"/>
            </a:p>
          </p:txBody>
        </p:sp>
        <p:sp>
          <p:nvSpPr>
            <p:cNvPr id="4336" name="Freeform: Shape 4335">
              <a:extLst>
                <a:ext uri="{FF2B5EF4-FFF2-40B4-BE49-F238E27FC236}">
                  <a16:creationId xmlns:a16="http://schemas.microsoft.com/office/drawing/2014/main" id="{91FC9E76-709E-4485-89D7-7D8E6DE0A9F3}"/>
                </a:ext>
              </a:extLst>
            </p:cNvPr>
            <p:cNvSpPr/>
            <p:nvPr/>
          </p:nvSpPr>
          <p:spPr>
            <a:xfrm>
              <a:off x="2965175" y="3278296"/>
              <a:ext cx="8956" cy="22389"/>
            </a:xfrm>
            <a:custGeom>
              <a:avLst/>
              <a:gdLst>
                <a:gd name="connsiteX0" fmla="*/ 7165 w 8955"/>
                <a:gd name="connsiteY0" fmla="*/ 22389 h 22389"/>
                <a:gd name="connsiteX1" fmla="*/ 4926 w 8955"/>
                <a:gd name="connsiteY1" fmla="*/ 21046 h 22389"/>
                <a:gd name="connsiteX2" fmla="*/ 0 w 8955"/>
                <a:gd name="connsiteY2" fmla="*/ 2239 h 22389"/>
                <a:gd name="connsiteX3" fmla="*/ 2239 w 8955"/>
                <a:gd name="connsiteY3" fmla="*/ 0 h 22389"/>
                <a:gd name="connsiteX4" fmla="*/ 4478 w 8955"/>
                <a:gd name="connsiteY4" fmla="*/ 2239 h 22389"/>
                <a:gd name="connsiteX5" fmla="*/ 8956 w 8955"/>
                <a:gd name="connsiteY5" fmla="*/ 19703 h 22389"/>
                <a:gd name="connsiteX6" fmla="*/ 7612 w 8955"/>
                <a:gd name="connsiteY6" fmla="*/ 22837 h 22389"/>
                <a:gd name="connsiteX7" fmla="*/ 7165 w 8955"/>
                <a:gd name="connsiteY7" fmla="*/ 22389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22389">
                  <a:moveTo>
                    <a:pt x="7165" y="22389"/>
                  </a:moveTo>
                  <a:cubicBezTo>
                    <a:pt x="6269" y="22389"/>
                    <a:pt x="5373" y="21941"/>
                    <a:pt x="4926" y="21046"/>
                  </a:cubicBezTo>
                  <a:cubicBezTo>
                    <a:pt x="2239" y="15225"/>
                    <a:pt x="448" y="8508"/>
                    <a:pt x="0" y="2239"/>
                  </a:cubicBezTo>
                  <a:cubicBezTo>
                    <a:pt x="0" y="896"/>
                    <a:pt x="896" y="0"/>
                    <a:pt x="2239" y="0"/>
                  </a:cubicBezTo>
                  <a:cubicBezTo>
                    <a:pt x="3582" y="0"/>
                    <a:pt x="4478" y="896"/>
                    <a:pt x="4478" y="2239"/>
                  </a:cubicBezTo>
                  <a:cubicBezTo>
                    <a:pt x="4926" y="8060"/>
                    <a:pt x="6717" y="14329"/>
                    <a:pt x="8956" y="19703"/>
                  </a:cubicBezTo>
                  <a:cubicBezTo>
                    <a:pt x="9404" y="21046"/>
                    <a:pt x="8956" y="21941"/>
                    <a:pt x="7612" y="22837"/>
                  </a:cubicBezTo>
                  <a:cubicBezTo>
                    <a:pt x="8060" y="22389"/>
                    <a:pt x="7612" y="22389"/>
                    <a:pt x="7165" y="22389"/>
                  </a:cubicBezTo>
                  <a:close/>
                </a:path>
              </a:pathLst>
            </a:custGeom>
            <a:solidFill>
              <a:srgbClr val="231F20"/>
            </a:solidFill>
            <a:ln w="4474" cap="flat">
              <a:noFill/>
              <a:prstDash val="solid"/>
              <a:miter/>
            </a:ln>
          </p:spPr>
          <p:txBody>
            <a:bodyPr rtlCol="0" anchor="ctr"/>
            <a:lstStyle/>
            <a:p>
              <a:endParaRPr lang="en-US"/>
            </a:p>
          </p:txBody>
        </p:sp>
        <p:sp>
          <p:nvSpPr>
            <p:cNvPr id="4337" name="Freeform: Shape 4336">
              <a:extLst>
                <a:ext uri="{FF2B5EF4-FFF2-40B4-BE49-F238E27FC236}">
                  <a16:creationId xmlns:a16="http://schemas.microsoft.com/office/drawing/2014/main" id="{74FE9794-BBFB-4FCC-A427-B2572145B591}"/>
                </a:ext>
              </a:extLst>
            </p:cNvPr>
            <p:cNvSpPr/>
            <p:nvPr/>
          </p:nvSpPr>
          <p:spPr>
            <a:xfrm>
              <a:off x="3009058" y="3328328"/>
              <a:ext cx="31345" cy="4478"/>
            </a:xfrm>
            <a:custGeom>
              <a:avLst/>
              <a:gdLst>
                <a:gd name="connsiteX0" fmla="*/ 16120 w 31344"/>
                <a:gd name="connsiteY0" fmla="*/ 6836 h 4477"/>
                <a:gd name="connsiteX1" fmla="*/ 1791 w 31344"/>
                <a:gd name="connsiteY1" fmla="*/ 5045 h 4477"/>
                <a:gd name="connsiteX2" fmla="*/ 0 w 31344"/>
                <a:gd name="connsiteY2" fmla="*/ 2358 h 4477"/>
                <a:gd name="connsiteX3" fmla="*/ 2687 w 31344"/>
                <a:gd name="connsiteY3" fmla="*/ 567 h 4477"/>
                <a:gd name="connsiteX4" fmla="*/ 30897 w 31344"/>
                <a:gd name="connsiteY4" fmla="*/ 119 h 4477"/>
                <a:gd name="connsiteX5" fmla="*/ 33584 w 31344"/>
                <a:gd name="connsiteY5" fmla="*/ 1462 h 4477"/>
                <a:gd name="connsiteX6" fmla="*/ 32240 w 31344"/>
                <a:gd name="connsiteY6" fmla="*/ 4149 h 4477"/>
                <a:gd name="connsiteX7" fmla="*/ 16120 w 31344"/>
                <a:gd name="connsiteY7" fmla="*/ 6836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4477">
                  <a:moveTo>
                    <a:pt x="16120" y="6836"/>
                  </a:moveTo>
                  <a:cubicBezTo>
                    <a:pt x="11195" y="6836"/>
                    <a:pt x="6717" y="6388"/>
                    <a:pt x="1791" y="5045"/>
                  </a:cubicBezTo>
                  <a:cubicBezTo>
                    <a:pt x="448" y="4597"/>
                    <a:pt x="0" y="3701"/>
                    <a:pt x="0" y="2358"/>
                  </a:cubicBezTo>
                  <a:cubicBezTo>
                    <a:pt x="448" y="1015"/>
                    <a:pt x="1344" y="567"/>
                    <a:pt x="2687" y="567"/>
                  </a:cubicBezTo>
                  <a:cubicBezTo>
                    <a:pt x="12090" y="2806"/>
                    <a:pt x="21494" y="2806"/>
                    <a:pt x="30897" y="119"/>
                  </a:cubicBezTo>
                  <a:cubicBezTo>
                    <a:pt x="32240" y="-329"/>
                    <a:pt x="33136" y="567"/>
                    <a:pt x="33584" y="1462"/>
                  </a:cubicBezTo>
                  <a:cubicBezTo>
                    <a:pt x="34032" y="2358"/>
                    <a:pt x="33136" y="3701"/>
                    <a:pt x="32240" y="4149"/>
                  </a:cubicBezTo>
                  <a:cubicBezTo>
                    <a:pt x="27315" y="5940"/>
                    <a:pt x="21494" y="6836"/>
                    <a:pt x="16120" y="6836"/>
                  </a:cubicBezTo>
                  <a:close/>
                </a:path>
              </a:pathLst>
            </a:custGeom>
            <a:solidFill>
              <a:srgbClr val="231F20"/>
            </a:solidFill>
            <a:ln w="4474" cap="flat">
              <a:noFill/>
              <a:prstDash val="solid"/>
              <a:miter/>
            </a:ln>
          </p:spPr>
          <p:txBody>
            <a:bodyPr rtlCol="0" anchor="ctr"/>
            <a:lstStyle/>
            <a:p>
              <a:endParaRPr lang="en-US"/>
            </a:p>
          </p:txBody>
        </p:sp>
        <p:sp>
          <p:nvSpPr>
            <p:cNvPr id="4338" name="Freeform: Shape 4337">
              <a:extLst>
                <a:ext uri="{FF2B5EF4-FFF2-40B4-BE49-F238E27FC236}">
                  <a16:creationId xmlns:a16="http://schemas.microsoft.com/office/drawing/2014/main" id="{B8BA6437-0D2C-4B0A-8C0F-4063A46323FB}"/>
                </a:ext>
              </a:extLst>
            </p:cNvPr>
            <p:cNvSpPr/>
            <p:nvPr/>
          </p:nvSpPr>
          <p:spPr>
            <a:xfrm>
              <a:off x="3076057" y="3275609"/>
              <a:ext cx="8956" cy="22389"/>
            </a:xfrm>
            <a:custGeom>
              <a:avLst/>
              <a:gdLst>
                <a:gd name="connsiteX0" fmla="*/ 2407 w 8955"/>
                <a:gd name="connsiteY0" fmla="*/ 25076 h 22389"/>
                <a:gd name="connsiteX1" fmla="*/ 1511 w 8955"/>
                <a:gd name="connsiteY1" fmla="*/ 25076 h 22389"/>
                <a:gd name="connsiteX2" fmla="*/ 168 w 8955"/>
                <a:gd name="connsiteY2" fmla="*/ 21941 h 22389"/>
                <a:gd name="connsiteX3" fmla="*/ 4646 w 8955"/>
                <a:gd name="connsiteY3" fmla="*/ 2239 h 22389"/>
                <a:gd name="connsiteX4" fmla="*/ 6885 w 8955"/>
                <a:gd name="connsiteY4" fmla="*/ 0 h 22389"/>
                <a:gd name="connsiteX5" fmla="*/ 9124 w 8955"/>
                <a:gd name="connsiteY5" fmla="*/ 2239 h 22389"/>
                <a:gd name="connsiteX6" fmla="*/ 4198 w 8955"/>
                <a:gd name="connsiteY6" fmla="*/ 23732 h 22389"/>
                <a:gd name="connsiteX7" fmla="*/ 2407 w 8955"/>
                <a:gd name="connsiteY7" fmla="*/ 25076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22389">
                  <a:moveTo>
                    <a:pt x="2407" y="25076"/>
                  </a:moveTo>
                  <a:cubicBezTo>
                    <a:pt x="1959" y="25076"/>
                    <a:pt x="1959" y="25076"/>
                    <a:pt x="1511" y="25076"/>
                  </a:cubicBezTo>
                  <a:cubicBezTo>
                    <a:pt x="168" y="24628"/>
                    <a:pt x="-280" y="23285"/>
                    <a:pt x="168" y="21941"/>
                  </a:cubicBezTo>
                  <a:cubicBezTo>
                    <a:pt x="2855" y="15672"/>
                    <a:pt x="4646" y="8956"/>
                    <a:pt x="4646" y="2239"/>
                  </a:cubicBezTo>
                  <a:cubicBezTo>
                    <a:pt x="4646" y="896"/>
                    <a:pt x="5989" y="0"/>
                    <a:pt x="6885" y="0"/>
                  </a:cubicBezTo>
                  <a:cubicBezTo>
                    <a:pt x="8228" y="0"/>
                    <a:pt x="9124" y="896"/>
                    <a:pt x="9124" y="2239"/>
                  </a:cubicBezTo>
                  <a:cubicBezTo>
                    <a:pt x="8676" y="9851"/>
                    <a:pt x="6885" y="17016"/>
                    <a:pt x="4198" y="23732"/>
                  </a:cubicBezTo>
                  <a:cubicBezTo>
                    <a:pt x="3750" y="24628"/>
                    <a:pt x="3302" y="25076"/>
                    <a:pt x="2407" y="25076"/>
                  </a:cubicBezTo>
                  <a:close/>
                </a:path>
              </a:pathLst>
            </a:custGeom>
            <a:solidFill>
              <a:srgbClr val="231F20"/>
            </a:solidFill>
            <a:ln w="4474" cap="flat">
              <a:noFill/>
              <a:prstDash val="solid"/>
              <a:miter/>
            </a:ln>
          </p:spPr>
          <p:txBody>
            <a:bodyPr rtlCol="0" anchor="ctr"/>
            <a:lstStyle/>
            <a:p>
              <a:endParaRPr lang="en-US"/>
            </a:p>
          </p:txBody>
        </p:sp>
        <p:sp>
          <p:nvSpPr>
            <p:cNvPr id="4339" name="Freeform: Shape 4338">
              <a:extLst>
                <a:ext uri="{FF2B5EF4-FFF2-40B4-BE49-F238E27FC236}">
                  <a16:creationId xmlns:a16="http://schemas.microsoft.com/office/drawing/2014/main" id="{D92071DC-A795-4C22-B073-3C90A33C725D}"/>
                </a:ext>
              </a:extLst>
            </p:cNvPr>
            <p:cNvSpPr/>
            <p:nvPr/>
          </p:nvSpPr>
          <p:spPr>
            <a:xfrm>
              <a:off x="3046504" y="3219469"/>
              <a:ext cx="17911" cy="13433"/>
            </a:xfrm>
            <a:custGeom>
              <a:avLst/>
              <a:gdLst>
                <a:gd name="connsiteX0" fmla="*/ 18975 w 17911"/>
                <a:gd name="connsiteY0" fmla="*/ 15840 h 13433"/>
                <a:gd name="connsiteX1" fmla="*/ 17631 w 17911"/>
                <a:gd name="connsiteY1" fmla="*/ 15392 h 13433"/>
                <a:gd name="connsiteX2" fmla="*/ 1511 w 17911"/>
                <a:gd name="connsiteY2" fmla="*/ 4646 h 13433"/>
                <a:gd name="connsiteX3" fmla="*/ 168 w 17911"/>
                <a:gd name="connsiteY3" fmla="*/ 1511 h 13433"/>
                <a:gd name="connsiteX4" fmla="*/ 3302 w 17911"/>
                <a:gd name="connsiteY4" fmla="*/ 168 h 13433"/>
                <a:gd name="connsiteX5" fmla="*/ 20766 w 17911"/>
                <a:gd name="connsiteY5" fmla="*/ 11810 h 13433"/>
                <a:gd name="connsiteX6" fmla="*/ 20766 w 17911"/>
                <a:gd name="connsiteY6" fmla="*/ 14945 h 13433"/>
                <a:gd name="connsiteX7" fmla="*/ 18975 w 17911"/>
                <a:gd name="connsiteY7" fmla="*/ 15840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13433">
                  <a:moveTo>
                    <a:pt x="18975" y="15840"/>
                  </a:moveTo>
                  <a:cubicBezTo>
                    <a:pt x="18527" y="15840"/>
                    <a:pt x="18079" y="15840"/>
                    <a:pt x="17631" y="15392"/>
                  </a:cubicBezTo>
                  <a:cubicBezTo>
                    <a:pt x="12706" y="10915"/>
                    <a:pt x="7332" y="7332"/>
                    <a:pt x="1511" y="4646"/>
                  </a:cubicBezTo>
                  <a:cubicBezTo>
                    <a:pt x="168" y="4198"/>
                    <a:pt x="-280" y="2855"/>
                    <a:pt x="168" y="1511"/>
                  </a:cubicBezTo>
                  <a:cubicBezTo>
                    <a:pt x="616" y="168"/>
                    <a:pt x="1959" y="-280"/>
                    <a:pt x="3302" y="168"/>
                  </a:cubicBezTo>
                  <a:cubicBezTo>
                    <a:pt x="9571" y="2855"/>
                    <a:pt x="15840" y="6885"/>
                    <a:pt x="20766" y="11810"/>
                  </a:cubicBezTo>
                  <a:cubicBezTo>
                    <a:pt x="21661" y="12706"/>
                    <a:pt x="21661" y="14049"/>
                    <a:pt x="20766" y="14945"/>
                  </a:cubicBezTo>
                  <a:cubicBezTo>
                    <a:pt x="20318" y="15840"/>
                    <a:pt x="19422" y="15840"/>
                    <a:pt x="18975" y="15840"/>
                  </a:cubicBezTo>
                  <a:close/>
                </a:path>
              </a:pathLst>
            </a:custGeom>
            <a:solidFill>
              <a:srgbClr val="231F20"/>
            </a:solidFill>
            <a:ln w="4474" cap="flat">
              <a:noFill/>
              <a:prstDash val="solid"/>
              <a:miter/>
            </a:ln>
          </p:spPr>
          <p:txBody>
            <a:bodyPr rtlCol="0" anchor="ctr"/>
            <a:lstStyle/>
            <a:p>
              <a:endParaRPr lang="en-US"/>
            </a:p>
          </p:txBody>
        </p:sp>
        <p:sp>
          <p:nvSpPr>
            <p:cNvPr id="4340" name="Freeform: Shape 4339">
              <a:extLst>
                <a:ext uri="{FF2B5EF4-FFF2-40B4-BE49-F238E27FC236}">
                  <a16:creationId xmlns:a16="http://schemas.microsoft.com/office/drawing/2014/main" id="{7A877E06-7EFE-4010-958B-14C7928BE626}"/>
                </a:ext>
              </a:extLst>
            </p:cNvPr>
            <p:cNvSpPr/>
            <p:nvPr/>
          </p:nvSpPr>
          <p:spPr>
            <a:xfrm>
              <a:off x="2983758" y="3220356"/>
              <a:ext cx="17911" cy="13433"/>
            </a:xfrm>
            <a:custGeom>
              <a:avLst/>
              <a:gdLst>
                <a:gd name="connsiteX0" fmla="*/ 2463 w 17911"/>
                <a:gd name="connsiteY0" fmla="*/ 14505 h 13433"/>
                <a:gd name="connsiteX1" fmla="*/ 672 w 17911"/>
                <a:gd name="connsiteY1" fmla="*/ 13609 h 13433"/>
                <a:gd name="connsiteX2" fmla="*/ 672 w 17911"/>
                <a:gd name="connsiteY2" fmla="*/ 10475 h 13433"/>
                <a:gd name="connsiteX3" fmla="*/ 15896 w 17911"/>
                <a:gd name="connsiteY3" fmla="*/ 176 h 13433"/>
                <a:gd name="connsiteX4" fmla="*/ 19031 w 17911"/>
                <a:gd name="connsiteY4" fmla="*/ 1071 h 13433"/>
                <a:gd name="connsiteX5" fmla="*/ 18135 w 17911"/>
                <a:gd name="connsiteY5" fmla="*/ 4206 h 13433"/>
                <a:gd name="connsiteX6" fmla="*/ 4254 w 17911"/>
                <a:gd name="connsiteY6" fmla="*/ 13609 h 13433"/>
                <a:gd name="connsiteX7" fmla="*/ 2463 w 17911"/>
                <a:gd name="connsiteY7" fmla="*/ 14505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13433">
                  <a:moveTo>
                    <a:pt x="2463" y="14505"/>
                  </a:moveTo>
                  <a:cubicBezTo>
                    <a:pt x="2015" y="14505"/>
                    <a:pt x="1119" y="14057"/>
                    <a:pt x="672" y="13609"/>
                  </a:cubicBezTo>
                  <a:cubicBezTo>
                    <a:pt x="-224" y="12714"/>
                    <a:pt x="-224" y="11370"/>
                    <a:pt x="672" y="10475"/>
                  </a:cubicBezTo>
                  <a:cubicBezTo>
                    <a:pt x="5149" y="6445"/>
                    <a:pt x="10075" y="2862"/>
                    <a:pt x="15896" y="176"/>
                  </a:cubicBezTo>
                  <a:cubicBezTo>
                    <a:pt x="16792" y="-272"/>
                    <a:pt x="18135" y="176"/>
                    <a:pt x="19031" y="1071"/>
                  </a:cubicBezTo>
                  <a:cubicBezTo>
                    <a:pt x="19478" y="1967"/>
                    <a:pt x="19031" y="3310"/>
                    <a:pt x="18135" y="4206"/>
                  </a:cubicBezTo>
                  <a:cubicBezTo>
                    <a:pt x="13210" y="6445"/>
                    <a:pt x="8284" y="10027"/>
                    <a:pt x="4254" y="13609"/>
                  </a:cubicBezTo>
                  <a:cubicBezTo>
                    <a:pt x="3358" y="14057"/>
                    <a:pt x="2910" y="14505"/>
                    <a:pt x="2463" y="14505"/>
                  </a:cubicBezTo>
                  <a:close/>
                </a:path>
              </a:pathLst>
            </a:custGeom>
            <a:solidFill>
              <a:srgbClr val="231F20"/>
            </a:solidFill>
            <a:ln w="4474" cap="flat">
              <a:noFill/>
              <a:prstDash val="solid"/>
              <a:miter/>
            </a:ln>
          </p:spPr>
          <p:txBody>
            <a:bodyPr rtlCol="0" anchor="ctr"/>
            <a:lstStyle/>
            <a:p>
              <a:endParaRPr lang="en-US"/>
            </a:p>
          </p:txBody>
        </p:sp>
        <p:sp>
          <p:nvSpPr>
            <p:cNvPr id="4341" name="Freeform: Shape 4340">
              <a:extLst>
                <a:ext uri="{FF2B5EF4-FFF2-40B4-BE49-F238E27FC236}">
                  <a16:creationId xmlns:a16="http://schemas.microsoft.com/office/drawing/2014/main" id="{C3FA123F-9E91-4E60-97D8-880B7C26644F}"/>
                </a:ext>
              </a:extLst>
            </p:cNvPr>
            <p:cNvSpPr/>
            <p:nvPr/>
          </p:nvSpPr>
          <p:spPr>
            <a:xfrm>
              <a:off x="3046140" y="3301049"/>
              <a:ext cx="31345" cy="31345"/>
            </a:xfrm>
            <a:custGeom>
              <a:avLst/>
              <a:gdLst>
                <a:gd name="connsiteX0" fmla="*/ 17100 w 31344"/>
                <a:gd name="connsiteY0" fmla="*/ 34115 h 31344"/>
                <a:gd name="connsiteX1" fmla="*/ 15756 w 31344"/>
                <a:gd name="connsiteY1" fmla="*/ 34115 h 31344"/>
                <a:gd name="connsiteX2" fmla="*/ 4114 w 31344"/>
                <a:gd name="connsiteY2" fmla="*/ 28294 h 31344"/>
                <a:gd name="connsiteX3" fmla="*/ 84 w 31344"/>
                <a:gd name="connsiteY3" fmla="*/ 15756 h 31344"/>
                <a:gd name="connsiteX4" fmla="*/ 84 w 31344"/>
                <a:gd name="connsiteY4" fmla="*/ 15756 h 31344"/>
                <a:gd name="connsiteX5" fmla="*/ 5905 w 31344"/>
                <a:gd name="connsiteY5" fmla="*/ 4114 h 31344"/>
                <a:gd name="connsiteX6" fmla="*/ 18443 w 31344"/>
                <a:gd name="connsiteY6" fmla="*/ 84 h 31344"/>
                <a:gd name="connsiteX7" fmla="*/ 34115 w 31344"/>
                <a:gd name="connsiteY7" fmla="*/ 18443 h 31344"/>
                <a:gd name="connsiteX8" fmla="*/ 28294 w 31344"/>
                <a:gd name="connsiteY8" fmla="*/ 30085 h 31344"/>
                <a:gd name="connsiteX9" fmla="*/ 17100 w 31344"/>
                <a:gd name="connsiteY9" fmla="*/ 34115 h 31344"/>
                <a:gd name="connsiteX10" fmla="*/ 17100 w 31344"/>
                <a:gd name="connsiteY10" fmla="*/ 4562 h 31344"/>
                <a:gd name="connsiteX11" fmla="*/ 9040 w 31344"/>
                <a:gd name="connsiteY11" fmla="*/ 7696 h 31344"/>
                <a:gd name="connsiteX12" fmla="*/ 4562 w 31344"/>
                <a:gd name="connsiteY12" fmla="*/ 16204 h 31344"/>
                <a:gd name="connsiteX13" fmla="*/ 4562 w 31344"/>
                <a:gd name="connsiteY13" fmla="*/ 16204 h 31344"/>
                <a:gd name="connsiteX14" fmla="*/ 7696 w 31344"/>
                <a:gd name="connsiteY14" fmla="*/ 25160 h 31344"/>
                <a:gd name="connsiteX15" fmla="*/ 16204 w 31344"/>
                <a:gd name="connsiteY15" fmla="*/ 29637 h 31344"/>
                <a:gd name="connsiteX16" fmla="*/ 25160 w 31344"/>
                <a:gd name="connsiteY16" fmla="*/ 26503 h 31344"/>
                <a:gd name="connsiteX17" fmla="*/ 29638 w 31344"/>
                <a:gd name="connsiteY17" fmla="*/ 17995 h 31344"/>
                <a:gd name="connsiteX18" fmla="*/ 17995 w 31344"/>
                <a:gd name="connsiteY18" fmla="*/ 4562 h 31344"/>
                <a:gd name="connsiteX19" fmla="*/ 17100 w 31344"/>
                <a:gd name="connsiteY19" fmla="*/ 4562 h 31344"/>
                <a:gd name="connsiteX20" fmla="*/ 2323 w 31344"/>
                <a:gd name="connsiteY20" fmla="*/ 15756 h 31344"/>
                <a:gd name="connsiteX21" fmla="*/ 2323 w 31344"/>
                <a:gd name="connsiteY21" fmla="*/ 15756 h 31344"/>
                <a:gd name="connsiteX22" fmla="*/ 2323 w 31344"/>
                <a:gd name="connsiteY22" fmla="*/ 15756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344" h="31344">
                  <a:moveTo>
                    <a:pt x="17100" y="34115"/>
                  </a:moveTo>
                  <a:cubicBezTo>
                    <a:pt x="16652" y="34115"/>
                    <a:pt x="16204" y="34115"/>
                    <a:pt x="15756" y="34115"/>
                  </a:cubicBezTo>
                  <a:cubicBezTo>
                    <a:pt x="11279" y="33668"/>
                    <a:pt x="7248" y="31876"/>
                    <a:pt x="4114" y="28294"/>
                  </a:cubicBezTo>
                  <a:cubicBezTo>
                    <a:pt x="979" y="24712"/>
                    <a:pt x="-364" y="20682"/>
                    <a:pt x="84" y="15756"/>
                  </a:cubicBezTo>
                  <a:lnTo>
                    <a:pt x="84" y="15756"/>
                  </a:lnTo>
                  <a:cubicBezTo>
                    <a:pt x="532" y="11279"/>
                    <a:pt x="2323" y="7248"/>
                    <a:pt x="5905" y="4114"/>
                  </a:cubicBezTo>
                  <a:cubicBezTo>
                    <a:pt x="9487" y="980"/>
                    <a:pt x="13517" y="-364"/>
                    <a:pt x="18443" y="84"/>
                  </a:cubicBezTo>
                  <a:cubicBezTo>
                    <a:pt x="27846" y="980"/>
                    <a:pt x="35011" y="9040"/>
                    <a:pt x="34115" y="18443"/>
                  </a:cubicBezTo>
                  <a:cubicBezTo>
                    <a:pt x="33668" y="22921"/>
                    <a:pt x="31876" y="26951"/>
                    <a:pt x="28294" y="30085"/>
                  </a:cubicBezTo>
                  <a:cubicBezTo>
                    <a:pt x="25160" y="32772"/>
                    <a:pt x="21130" y="34115"/>
                    <a:pt x="17100" y="34115"/>
                  </a:cubicBezTo>
                  <a:close/>
                  <a:moveTo>
                    <a:pt x="17100" y="4562"/>
                  </a:moveTo>
                  <a:cubicBezTo>
                    <a:pt x="13965" y="4562"/>
                    <a:pt x="11279" y="5457"/>
                    <a:pt x="9040" y="7696"/>
                  </a:cubicBezTo>
                  <a:cubicBezTo>
                    <a:pt x="6353" y="9935"/>
                    <a:pt x="5010" y="13070"/>
                    <a:pt x="4562" y="16204"/>
                  </a:cubicBezTo>
                  <a:lnTo>
                    <a:pt x="4562" y="16204"/>
                  </a:lnTo>
                  <a:cubicBezTo>
                    <a:pt x="4114" y="19339"/>
                    <a:pt x="5457" y="22921"/>
                    <a:pt x="7696" y="25160"/>
                  </a:cubicBezTo>
                  <a:cubicBezTo>
                    <a:pt x="9935" y="27399"/>
                    <a:pt x="13070" y="29190"/>
                    <a:pt x="16204" y="29637"/>
                  </a:cubicBezTo>
                  <a:cubicBezTo>
                    <a:pt x="19339" y="30085"/>
                    <a:pt x="22921" y="28742"/>
                    <a:pt x="25160" y="26503"/>
                  </a:cubicBezTo>
                  <a:cubicBezTo>
                    <a:pt x="27846" y="24264"/>
                    <a:pt x="29190" y="21130"/>
                    <a:pt x="29638" y="17995"/>
                  </a:cubicBezTo>
                  <a:cubicBezTo>
                    <a:pt x="30085" y="11279"/>
                    <a:pt x="25160" y="5009"/>
                    <a:pt x="17995" y="4562"/>
                  </a:cubicBezTo>
                  <a:cubicBezTo>
                    <a:pt x="17995" y="4562"/>
                    <a:pt x="17547" y="4562"/>
                    <a:pt x="17100" y="4562"/>
                  </a:cubicBezTo>
                  <a:close/>
                  <a:moveTo>
                    <a:pt x="2323" y="15756"/>
                  </a:moveTo>
                  <a:lnTo>
                    <a:pt x="2323" y="15756"/>
                  </a:lnTo>
                  <a:lnTo>
                    <a:pt x="2323" y="15756"/>
                  </a:lnTo>
                  <a:close/>
                </a:path>
              </a:pathLst>
            </a:custGeom>
            <a:solidFill>
              <a:srgbClr val="231F20"/>
            </a:solidFill>
            <a:ln w="4474" cap="flat">
              <a:noFill/>
              <a:prstDash val="solid"/>
              <a:miter/>
            </a:ln>
          </p:spPr>
          <p:txBody>
            <a:bodyPr rtlCol="0" anchor="ctr"/>
            <a:lstStyle/>
            <a:p>
              <a:endParaRPr lang="en-US"/>
            </a:p>
          </p:txBody>
        </p:sp>
        <p:sp>
          <p:nvSpPr>
            <p:cNvPr id="4342" name="Freeform: Shape 4341">
              <a:extLst>
                <a:ext uri="{FF2B5EF4-FFF2-40B4-BE49-F238E27FC236}">
                  <a16:creationId xmlns:a16="http://schemas.microsoft.com/office/drawing/2014/main" id="{0475E49C-E99F-4CEC-8CE0-DE15179CB39C}"/>
                </a:ext>
              </a:extLst>
            </p:cNvPr>
            <p:cNvSpPr/>
            <p:nvPr/>
          </p:nvSpPr>
          <p:spPr>
            <a:xfrm>
              <a:off x="3061925" y="3237205"/>
              <a:ext cx="31345" cy="31345"/>
            </a:xfrm>
            <a:custGeom>
              <a:avLst/>
              <a:gdLst>
                <a:gd name="connsiteX0" fmla="*/ 16987 w 31344"/>
                <a:gd name="connsiteY0" fmla="*/ 34375 h 31344"/>
                <a:gd name="connsiteX1" fmla="*/ 13405 w 31344"/>
                <a:gd name="connsiteY1" fmla="*/ 33927 h 31344"/>
                <a:gd name="connsiteX2" fmla="*/ 2658 w 31344"/>
                <a:gd name="connsiteY2" fmla="*/ 26314 h 31344"/>
                <a:gd name="connsiteX3" fmla="*/ 419 w 31344"/>
                <a:gd name="connsiteY3" fmla="*/ 13329 h 31344"/>
                <a:gd name="connsiteX4" fmla="*/ 8032 w 31344"/>
                <a:gd name="connsiteY4" fmla="*/ 2582 h 31344"/>
                <a:gd name="connsiteX5" fmla="*/ 21017 w 31344"/>
                <a:gd name="connsiteY5" fmla="*/ 343 h 31344"/>
                <a:gd name="connsiteX6" fmla="*/ 31764 w 31344"/>
                <a:gd name="connsiteY6" fmla="*/ 7956 h 31344"/>
                <a:gd name="connsiteX7" fmla="*/ 34003 w 31344"/>
                <a:gd name="connsiteY7" fmla="*/ 20941 h 31344"/>
                <a:gd name="connsiteX8" fmla="*/ 26390 w 31344"/>
                <a:gd name="connsiteY8" fmla="*/ 31688 h 31344"/>
                <a:gd name="connsiteX9" fmla="*/ 16987 w 31344"/>
                <a:gd name="connsiteY9" fmla="*/ 34375 h 31344"/>
                <a:gd name="connsiteX10" fmla="*/ 16987 w 31344"/>
                <a:gd name="connsiteY10" fmla="*/ 4821 h 31344"/>
                <a:gd name="connsiteX11" fmla="*/ 10270 w 31344"/>
                <a:gd name="connsiteY11" fmla="*/ 6612 h 31344"/>
                <a:gd name="connsiteX12" fmla="*/ 4897 w 31344"/>
                <a:gd name="connsiteY12" fmla="*/ 14224 h 31344"/>
                <a:gd name="connsiteX13" fmla="*/ 4897 w 31344"/>
                <a:gd name="connsiteY13" fmla="*/ 14224 h 31344"/>
                <a:gd name="connsiteX14" fmla="*/ 6688 w 31344"/>
                <a:gd name="connsiteY14" fmla="*/ 23628 h 31344"/>
                <a:gd name="connsiteX15" fmla="*/ 14300 w 31344"/>
                <a:gd name="connsiteY15" fmla="*/ 29001 h 31344"/>
                <a:gd name="connsiteX16" fmla="*/ 23704 w 31344"/>
                <a:gd name="connsiteY16" fmla="*/ 27210 h 31344"/>
                <a:gd name="connsiteX17" fmla="*/ 29077 w 31344"/>
                <a:gd name="connsiteY17" fmla="*/ 19598 h 31344"/>
                <a:gd name="connsiteX18" fmla="*/ 27286 w 31344"/>
                <a:gd name="connsiteY18" fmla="*/ 10194 h 31344"/>
                <a:gd name="connsiteX19" fmla="*/ 19674 w 31344"/>
                <a:gd name="connsiteY19" fmla="*/ 4821 h 31344"/>
                <a:gd name="connsiteX20" fmla="*/ 16987 w 31344"/>
                <a:gd name="connsiteY20" fmla="*/ 4821 h 31344"/>
                <a:gd name="connsiteX21" fmla="*/ 2658 w 31344"/>
                <a:gd name="connsiteY21" fmla="*/ 14224 h 31344"/>
                <a:gd name="connsiteX22" fmla="*/ 2658 w 31344"/>
                <a:gd name="connsiteY22" fmla="*/ 14224 h 31344"/>
                <a:gd name="connsiteX23" fmla="*/ 2658 w 31344"/>
                <a:gd name="connsiteY23" fmla="*/ 1422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344" h="31344">
                  <a:moveTo>
                    <a:pt x="16987" y="34375"/>
                  </a:moveTo>
                  <a:cubicBezTo>
                    <a:pt x="15644" y="34375"/>
                    <a:pt x="14300" y="34375"/>
                    <a:pt x="13405" y="33927"/>
                  </a:cubicBezTo>
                  <a:cubicBezTo>
                    <a:pt x="8927" y="33031"/>
                    <a:pt x="5345" y="30345"/>
                    <a:pt x="2658" y="26314"/>
                  </a:cubicBezTo>
                  <a:cubicBezTo>
                    <a:pt x="-29" y="22284"/>
                    <a:pt x="-476" y="17807"/>
                    <a:pt x="419" y="13329"/>
                  </a:cubicBezTo>
                  <a:cubicBezTo>
                    <a:pt x="1315" y="8851"/>
                    <a:pt x="4001" y="5269"/>
                    <a:pt x="8032" y="2582"/>
                  </a:cubicBezTo>
                  <a:cubicBezTo>
                    <a:pt x="12061" y="343"/>
                    <a:pt x="16539" y="-552"/>
                    <a:pt x="21017" y="343"/>
                  </a:cubicBezTo>
                  <a:cubicBezTo>
                    <a:pt x="25495" y="1239"/>
                    <a:pt x="29077" y="3925"/>
                    <a:pt x="31764" y="7956"/>
                  </a:cubicBezTo>
                  <a:cubicBezTo>
                    <a:pt x="34450" y="11986"/>
                    <a:pt x="34898" y="16463"/>
                    <a:pt x="34003" y="20941"/>
                  </a:cubicBezTo>
                  <a:cubicBezTo>
                    <a:pt x="33107" y="25419"/>
                    <a:pt x="30421" y="29001"/>
                    <a:pt x="26390" y="31688"/>
                  </a:cubicBezTo>
                  <a:cubicBezTo>
                    <a:pt x="23256" y="33479"/>
                    <a:pt x="20122" y="34375"/>
                    <a:pt x="16987" y="34375"/>
                  </a:cubicBezTo>
                  <a:close/>
                  <a:moveTo>
                    <a:pt x="16987" y="4821"/>
                  </a:moveTo>
                  <a:cubicBezTo>
                    <a:pt x="14748" y="4821"/>
                    <a:pt x="12509" y="5269"/>
                    <a:pt x="10270" y="6612"/>
                  </a:cubicBezTo>
                  <a:cubicBezTo>
                    <a:pt x="7584" y="8403"/>
                    <a:pt x="5345" y="11090"/>
                    <a:pt x="4897" y="14224"/>
                  </a:cubicBezTo>
                  <a:lnTo>
                    <a:pt x="4897" y="14224"/>
                  </a:lnTo>
                  <a:cubicBezTo>
                    <a:pt x="4001" y="17359"/>
                    <a:pt x="4897" y="20941"/>
                    <a:pt x="6688" y="23628"/>
                  </a:cubicBezTo>
                  <a:cubicBezTo>
                    <a:pt x="8479" y="26314"/>
                    <a:pt x="11166" y="28553"/>
                    <a:pt x="14300" y="29001"/>
                  </a:cubicBezTo>
                  <a:cubicBezTo>
                    <a:pt x="17435" y="29897"/>
                    <a:pt x="21017" y="29001"/>
                    <a:pt x="23704" y="27210"/>
                  </a:cubicBezTo>
                  <a:cubicBezTo>
                    <a:pt x="26390" y="25419"/>
                    <a:pt x="28629" y="22732"/>
                    <a:pt x="29077" y="19598"/>
                  </a:cubicBezTo>
                  <a:cubicBezTo>
                    <a:pt x="29973" y="16463"/>
                    <a:pt x="29077" y="12881"/>
                    <a:pt x="27286" y="10194"/>
                  </a:cubicBezTo>
                  <a:cubicBezTo>
                    <a:pt x="25495" y="7508"/>
                    <a:pt x="22808" y="5269"/>
                    <a:pt x="19674" y="4821"/>
                  </a:cubicBezTo>
                  <a:cubicBezTo>
                    <a:pt x="18778" y="5269"/>
                    <a:pt x="17883" y="4821"/>
                    <a:pt x="16987" y="4821"/>
                  </a:cubicBezTo>
                  <a:close/>
                  <a:moveTo>
                    <a:pt x="2658" y="14224"/>
                  </a:moveTo>
                  <a:lnTo>
                    <a:pt x="2658" y="14224"/>
                  </a:lnTo>
                  <a:lnTo>
                    <a:pt x="2658" y="14224"/>
                  </a:lnTo>
                  <a:close/>
                </a:path>
              </a:pathLst>
            </a:custGeom>
            <a:solidFill>
              <a:srgbClr val="231F20"/>
            </a:solidFill>
            <a:ln w="4474" cap="flat">
              <a:noFill/>
              <a:prstDash val="solid"/>
              <a:miter/>
            </a:ln>
          </p:spPr>
          <p:txBody>
            <a:bodyPr rtlCol="0" anchor="ctr"/>
            <a:lstStyle/>
            <a:p>
              <a:endParaRPr lang="en-US"/>
            </a:p>
          </p:txBody>
        </p:sp>
      </p:grpSp>
      <p:grpSp>
        <p:nvGrpSpPr>
          <p:cNvPr id="4343" name="Group 4342">
            <a:extLst>
              <a:ext uri="{FF2B5EF4-FFF2-40B4-BE49-F238E27FC236}">
                <a16:creationId xmlns:a16="http://schemas.microsoft.com/office/drawing/2014/main" id="{0423E0D7-3ED5-4919-8E01-7BEC1AA69DF4}"/>
              </a:ext>
              <a:ext uri="{C183D7F6-B498-43B3-948B-1728B52AA6E4}">
                <adec:decorative xmlns:adec="http://schemas.microsoft.com/office/drawing/2017/decorative" val="1"/>
              </a:ext>
            </a:extLst>
          </p:cNvPr>
          <p:cNvGrpSpPr>
            <a:grpSpLocks noChangeAspect="1"/>
          </p:cNvGrpSpPr>
          <p:nvPr/>
        </p:nvGrpSpPr>
        <p:grpSpPr>
          <a:xfrm>
            <a:off x="2661490" y="3945224"/>
            <a:ext cx="134542" cy="131471"/>
            <a:chOff x="2702244" y="3209785"/>
            <a:chExt cx="134542" cy="131471"/>
          </a:xfrm>
        </p:grpSpPr>
        <p:sp>
          <p:nvSpPr>
            <p:cNvPr id="4344" name="Freeform: Shape 4343">
              <a:extLst>
                <a:ext uri="{FF2B5EF4-FFF2-40B4-BE49-F238E27FC236}">
                  <a16:creationId xmlns:a16="http://schemas.microsoft.com/office/drawing/2014/main" id="{008BCF63-ECD8-4B4B-8BAB-89945FFD6AE2}"/>
                </a:ext>
              </a:extLst>
            </p:cNvPr>
            <p:cNvSpPr/>
            <p:nvPr/>
          </p:nvSpPr>
          <p:spPr>
            <a:xfrm>
              <a:off x="2748449" y="3259489"/>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479"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345" name="Freeform: Shape 4344">
              <a:extLst>
                <a:ext uri="{FF2B5EF4-FFF2-40B4-BE49-F238E27FC236}">
                  <a16:creationId xmlns:a16="http://schemas.microsoft.com/office/drawing/2014/main" id="{E8F28CB5-A318-4A8C-AF8C-71CCFC5D44B7}"/>
                </a:ext>
              </a:extLst>
            </p:cNvPr>
            <p:cNvSpPr/>
            <p:nvPr/>
          </p:nvSpPr>
          <p:spPr>
            <a:xfrm>
              <a:off x="2702244" y="3289854"/>
              <a:ext cx="31345" cy="31345"/>
            </a:xfrm>
            <a:custGeom>
              <a:avLst/>
              <a:gdLst>
                <a:gd name="connsiteX0" fmla="*/ 17100 w 31344"/>
                <a:gd name="connsiteY0" fmla="*/ 34115 h 31344"/>
                <a:gd name="connsiteX1" fmla="*/ 84 w 31344"/>
                <a:gd name="connsiteY1" fmla="*/ 18443 h 31344"/>
                <a:gd name="connsiteX2" fmla="*/ 4114 w 31344"/>
                <a:gd name="connsiteY2" fmla="*/ 5905 h 31344"/>
                <a:gd name="connsiteX3" fmla="*/ 15756 w 31344"/>
                <a:gd name="connsiteY3" fmla="*/ 84 h 31344"/>
                <a:gd name="connsiteX4" fmla="*/ 28294 w 31344"/>
                <a:gd name="connsiteY4" fmla="*/ 4114 h 31344"/>
                <a:gd name="connsiteX5" fmla="*/ 34115 w 31344"/>
                <a:gd name="connsiteY5" fmla="*/ 15756 h 31344"/>
                <a:gd name="connsiteX6" fmla="*/ 18443 w 31344"/>
                <a:gd name="connsiteY6" fmla="*/ 34115 h 31344"/>
                <a:gd name="connsiteX7" fmla="*/ 17100 w 31344"/>
                <a:gd name="connsiteY7" fmla="*/ 34115 h 31344"/>
                <a:gd name="connsiteX8" fmla="*/ 17100 w 31344"/>
                <a:gd name="connsiteY8" fmla="*/ 5009 h 31344"/>
                <a:gd name="connsiteX9" fmla="*/ 16204 w 31344"/>
                <a:gd name="connsiteY9" fmla="*/ 5009 h 31344"/>
                <a:gd name="connsiteX10" fmla="*/ 7696 w 31344"/>
                <a:gd name="connsiteY10" fmla="*/ 9487 h 31344"/>
                <a:gd name="connsiteX11" fmla="*/ 4562 w 31344"/>
                <a:gd name="connsiteY11" fmla="*/ 18443 h 31344"/>
                <a:gd name="connsiteX12" fmla="*/ 17995 w 31344"/>
                <a:gd name="connsiteY12" fmla="*/ 30085 h 31344"/>
                <a:gd name="connsiteX13" fmla="*/ 29638 w 31344"/>
                <a:gd name="connsiteY13" fmla="*/ 16652 h 31344"/>
                <a:gd name="connsiteX14" fmla="*/ 25160 w 31344"/>
                <a:gd name="connsiteY14" fmla="*/ 8144 h 31344"/>
                <a:gd name="connsiteX15" fmla="*/ 17100 w 31344"/>
                <a:gd name="connsiteY15" fmla="*/ 500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44" h="31344">
                  <a:moveTo>
                    <a:pt x="17100" y="34115"/>
                  </a:moveTo>
                  <a:cubicBezTo>
                    <a:pt x="8144" y="34115"/>
                    <a:pt x="979" y="27399"/>
                    <a:pt x="84" y="18443"/>
                  </a:cubicBezTo>
                  <a:cubicBezTo>
                    <a:pt x="-364" y="13965"/>
                    <a:pt x="979" y="9487"/>
                    <a:pt x="4114" y="5905"/>
                  </a:cubicBezTo>
                  <a:cubicBezTo>
                    <a:pt x="7249" y="2323"/>
                    <a:pt x="11279" y="532"/>
                    <a:pt x="15756" y="84"/>
                  </a:cubicBezTo>
                  <a:cubicBezTo>
                    <a:pt x="20234" y="-364"/>
                    <a:pt x="24712" y="980"/>
                    <a:pt x="28294" y="4114"/>
                  </a:cubicBezTo>
                  <a:cubicBezTo>
                    <a:pt x="31877" y="7248"/>
                    <a:pt x="33668" y="11279"/>
                    <a:pt x="34115" y="15756"/>
                  </a:cubicBezTo>
                  <a:cubicBezTo>
                    <a:pt x="35011" y="25160"/>
                    <a:pt x="27846" y="33220"/>
                    <a:pt x="18443" y="34115"/>
                  </a:cubicBezTo>
                  <a:cubicBezTo>
                    <a:pt x="17995" y="34115"/>
                    <a:pt x="17547" y="34115"/>
                    <a:pt x="17100" y="34115"/>
                  </a:cubicBezTo>
                  <a:close/>
                  <a:moveTo>
                    <a:pt x="17100" y="5009"/>
                  </a:moveTo>
                  <a:cubicBezTo>
                    <a:pt x="16652" y="5009"/>
                    <a:pt x="16652" y="5009"/>
                    <a:pt x="16204" y="5009"/>
                  </a:cubicBezTo>
                  <a:cubicBezTo>
                    <a:pt x="13070" y="5457"/>
                    <a:pt x="9935" y="6801"/>
                    <a:pt x="7696" y="9487"/>
                  </a:cubicBezTo>
                  <a:cubicBezTo>
                    <a:pt x="5457" y="12174"/>
                    <a:pt x="4562" y="15308"/>
                    <a:pt x="4562" y="18443"/>
                  </a:cubicBezTo>
                  <a:cubicBezTo>
                    <a:pt x="5010" y="25160"/>
                    <a:pt x="11279" y="30533"/>
                    <a:pt x="17995" y="30085"/>
                  </a:cubicBezTo>
                  <a:cubicBezTo>
                    <a:pt x="24712" y="29637"/>
                    <a:pt x="30085" y="23369"/>
                    <a:pt x="29638" y="16652"/>
                  </a:cubicBezTo>
                  <a:cubicBezTo>
                    <a:pt x="29190" y="13517"/>
                    <a:pt x="27846" y="10383"/>
                    <a:pt x="25160" y="8144"/>
                  </a:cubicBezTo>
                  <a:cubicBezTo>
                    <a:pt x="22921" y="5905"/>
                    <a:pt x="20234" y="5009"/>
                    <a:pt x="17100" y="5009"/>
                  </a:cubicBezTo>
                  <a:close/>
                </a:path>
              </a:pathLst>
            </a:custGeom>
            <a:solidFill>
              <a:srgbClr val="231F20"/>
            </a:solidFill>
            <a:ln w="4474" cap="flat">
              <a:noFill/>
              <a:prstDash val="solid"/>
              <a:miter/>
            </a:ln>
          </p:spPr>
          <p:txBody>
            <a:bodyPr rtlCol="0" anchor="ctr"/>
            <a:lstStyle/>
            <a:p>
              <a:endParaRPr lang="en-US"/>
            </a:p>
          </p:txBody>
        </p:sp>
        <p:sp>
          <p:nvSpPr>
            <p:cNvPr id="4346" name="Freeform: Shape 4345">
              <a:extLst>
                <a:ext uri="{FF2B5EF4-FFF2-40B4-BE49-F238E27FC236}">
                  <a16:creationId xmlns:a16="http://schemas.microsoft.com/office/drawing/2014/main" id="{3854997B-7DA3-464C-BD83-9E69E18217D7}"/>
                </a:ext>
              </a:extLst>
            </p:cNvPr>
            <p:cNvSpPr/>
            <p:nvPr/>
          </p:nvSpPr>
          <p:spPr>
            <a:xfrm>
              <a:off x="2753822" y="3209785"/>
              <a:ext cx="31345" cy="31345"/>
            </a:xfrm>
            <a:custGeom>
              <a:avLst/>
              <a:gdLst>
                <a:gd name="connsiteX0" fmla="*/ 17016 w 31344"/>
                <a:gd name="connsiteY0" fmla="*/ 34031 h 31344"/>
                <a:gd name="connsiteX1" fmla="*/ 0 w 31344"/>
                <a:gd name="connsiteY1" fmla="*/ 17016 h 31344"/>
                <a:gd name="connsiteX2" fmla="*/ 17016 w 31344"/>
                <a:gd name="connsiteY2" fmla="*/ 0 h 31344"/>
                <a:gd name="connsiteX3" fmla="*/ 34031 w 31344"/>
                <a:gd name="connsiteY3" fmla="*/ 17016 h 31344"/>
                <a:gd name="connsiteX4" fmla="*/ 17016 w 31344"/>
                <a:gd name="connsiteY4" fmla="*/ 34031 h 31344"/>
                <a:gd name="connsiteX5" fmla="*/ 17016 w 31344"/>
                <a:gd name="connsiteY5" fmla="*/ 4478 h 31344"/>
                <a:gd name="connsiteX6" fmla="*/ 4478 w 31344"/>
                <a:gd name="connsiteY6" fmla="*/ 17016 h 31344"/>
                <a:gd name="connsiteX7" fmla="*/ 17016 w 31344"/>
                <a:gd name="connsiteY7" fmla="*/ 29554 h 31344"/>
                <a:gd name="connsiteX8" fmla="*/ 29554 w 31344"/>
                <a:gd name="connsiteY8" fmla="*/ 17016 h 31344"/>
                <a:gd name="connsiteX9" fmla="*/ 17016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7016" y="34031"/>
                  </a:moveTo>
                  <a:cubicBezTo>
                    <a:pt x="7612" y="34031"/>
                    <a:pt x="0" y="26419"/>
                    <a:pt x="0" y="17016"/>
                  </a:cubicBezTo>
                  <a:cubicBezTo>
                    <a:pt x="0" y="7612"/>
                    <a:pt x="7612" y="0"/>
                    <a:pt x="17016" y="0"/>
                  </a:cubicBezTo>
                  <a:cubicBezTo>
                    <a:pt x="26419" y="0"/>
                    <a:pt x="34031" y="7612"/>
                    <a:pt x="34031" y="17016"/>
                  </a:cubicBezTo>
                  <a:cubicBezTo>
                    <a:pt x="34031" y="26419"/>
                    <a:pt x="26419" y="34031"/>
                    <a:pt x="17016" y="34031"/>
                  </a:cubicBezTo>
                  <a:close/>
                  <a:moveTo>
                    <a:pt x="17016" y="4478"/>
                  </a:moveTo>
                  <a:cubicBezTo>
                    <a:pt x="10299" y="4478"/>
                    <a:pt x="4478" y="10299"/>
                    <a:pt x="4478" y="17016"/>
                  </a:cubicBezTo>
                  <a:cubicBezTo>
                    <a:pt x="4478" y="23733"/>
                    <a:pt x="10299" y="29554"/>
                    <a:pt x="17016" y="29554"/>
                  </a:cubicBezTo>
                  <a:cubicBezTo>
                    <a:pt x="23732" y="29554"/>
                    <a:pt x="29554" y="23733"/>
                    <a:pt x="29554" y="17016"/>
                  </a:cubicBezTo>
                  <a:cubicBezTo>
                    <a:pt x="29554" y="10299"/>
                    <a:pt x="23732" y="4478"/>
                    <a:pt x="17016" y="4478"/>
                  </a:cubicBezTo>
                  <a:close/>
                </a:path>
              </a:pathLst>
            </a:custGeom>
            <a:solidFill>
              <a:srgbClr val="231F20"/>
            </a:solidFill>
            <a:ln w="4474" cap="flat">
              <a:noFill/>
              <a:prstDash val="solid"/>
              <a:miter/>
            </a:ln>
          </p:spPr>
          <p:txBody>
            <a:bodyPr rtlCol="0" anchor="ctr"/>
            <a:lstStyle/>
            <a:p>
              <a:endParaRPr lang="en-US"/>
            </a:p>
          </p:txBody>
        </p:sp>
        <p:sp>
          <p:nvSpPr>
            <p:cNvPr id="4347" name="Freeform: Shape 4346">
              <a:extLst>
                <a:ext uri="{FF2B5EF4-FFF2-40B4-BE49-F238E27FC236}">
                  <a16:creationId xmlns:a16="http://schemas.microsoft.com/office/drawing/2014/main" id="{FA34BE71-BB9E-421E-BCD1-AE1B22BE0B8B}"/>
                </a:ext>
              </a:extLst>
            </p:cNvPr>
            <p:cNvSpPr/>
            <p:nvPr/>
          </p:nvSpPr>
          <p:spPr>
            <a:xfrm>
              <a:off x="2805441" y="3290062"/>
              <a:ext cx="31345" cy="31345"/>
            </a:xfrm>
            <a:custGeom>
              <a:avLst/>
              <a:gdLst>
                <a:gd name="connsiteX0" fmla="*/ 16892 w 31344"/>
                <a:gd name="connsiteY0" fmla="*/ 33907 h 31344"/>
                <a:gd name="connsiteX1" fmla="*/ 13309 w 31344"/>
                <a:gd name="connsiteY1" fmla="*/ 33460 h 31344"/>
                <a:gd name="connsiteX2" fmla="*/ 324 w 31344"/>
                <a:gd name="connsiteY2" fmla="*/ 13310 h 31344"/>
                <a:gd name="connsiteX3" fmla="*/ 324 w 31344"/>
                <a:gd name="connsiteY3" fmla="*/ 13310 h 31344"/>
                <a:gd name="connsiteX4" fmla="*/ 20474 w 31344"/>
                <a:gd name="connsiteY4" fmla="*/ 324 h 31344"/>
                <a:gd name="connsiteX5" fmla="*/ 33460 w 31344"/>
                <a:gd name="connsiteY5" fmla="*/ 20474 h 31344"/>
                <a:gd name="connsiteX6" fmla="*/ 16892 w 31344"/>
                <a:gd name="connsiteY6" fmla="*/ 33907 h 31344"/>
                <a:gd name="connsiteX7" fmla="*/ 4802 w 31344"/>
                <a:gd name="connsiteY7" fmla="*/ 14205 h 31344"/>
                <a:gd name="connsiteX8" fmla="*/ 14205 w 31344"/>
                <a:gd name="connsiteY8" fmla="*/ 28982 h 31344"/>
                <a:gd name="connsiteX9" fmla="*/ 28982 w 31344"/>
                <a:gd name="connsiteY9" fmla="*/ 19578 h 31344"/>
                <a:gd name="connsiteX10" fmla="*/ 19578 w 31344"/>
                <a:gd name="connsiteY10" fmla="*/ 4802 h 31344"/>
                <a:gd name="connsiteX11" fmla="*/ 4802 w 31344"/>
                <a:gd name="connsiteY11" fmla="*/ 14205 h 31344"/>
                <a:gd name="connsiteX12" fmla="*/ 4802 w 31344"/>
                <a:gd name="connsiteY12" fmla="*/ 1420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344" h="31344">
                  <a:moveTo>
                    <a:pt x="16892" y="33907"/>
                  </a:moveTo>
                  <a:cubicBezTo>
                    <a:pt x="15548" y="33907"/>
                    <a:pt x="14205" y="33907"/>
                    <a:pt x="13309" y="33460"/>
                  </a:cubicBezTo>
                  <a:cubicBezTo>
                    <a:pt x="4354" y="31221"/>
                    <a:pt x="-1467" y="22265"/>
                    <a:pt x="324" y="13310"/>
                  </a:cubicBezTo>
                  <a:cubicBezTo>
                    <a:pt x="324" y="13310"/>
                    <a:pt x="324" y="13310"/>
                    <a:pt x="324" y="13310"/>
                  </a:cubicBezTo>
                  <a:cubicBezTo>
                    <a:pt x="2563" y="4354"/>
                    <a:pt x="11518" y="-1467"/>
                    <a:pt x="20474" y="324"/>
                  </a:cubicBezTo>
                  <a:cubicBezTo>
                    <a:pt x="29430" y="2563"/>
                    <a:pt x="35251" y="11518"/>
                    <a:pt x="33460" y="20474"/>
                  </a:cubicBezTo>
                  <a:cubicBezTo>
                    <a:pt x="31669" y="28534"/>
                    <a:pt x="24504" y="33907"/>
                    <a:pt x="16892" y="33907"/>
                  </a:cubicBezTo>
                  <a:close/>
                  <a:moveTo>
                    <a:pt x="4802" y="14205"/>
                  </a:moveTo>
                  <a:cubicBezTo>
                    <a:pt x="3458" y="20922"/>
                    <a:pt x="7488" y="27639"/>
                    <a:pt x="14205" y="28982"/>
                  </a:cubicBezTo>
                  <a:cubicBezTo>
                    <a:pt x="20922" y="30325"/>
                    <a:pt x="27638" y="26295"/>
                    <a:pt x="28982" y="19578"/>
                  </a:cubicBezTo>
                  <a:cubicBezTo>
                    <a:pt x="30325" y="12862"/>
                    <a:pt x="26295" y="6145"/>
                    <a:pt x="19578" y="4802"/>
                  </a:cubicBezTo>
                  <a:cubicBezTo>
                    <a:pt x="12862" y="3458"/>
                    <a:pt x="6145" y="7488"/>
                    <a:pt x="4802" y="14205"/>
                  </a:cubicBezTo>
                  <a:lnTo>
                    <a:pt x="4802" y="14205"/>
                  </a:lnTo>
                  <a:close/>
                </a:path>
              </a:pathLst>
            </a:custGeom>
            <a:solidFill>
              <a:srgbClr val="231F20"/>
            </a:solidFill>
            <a:ln w="4474" cap="flat">
              <a:noFill/>
              <a:prstDash val="solid"/>
              <a:miter/>
            </a:ln>
          </p:spPr>
          <p:txBody>
            <a:bodyPr rtlCol="0" anchor="ctr"/>
            <a:lstStyle/>
            <a:p>
              <a:endParaRPr lang="en-US"/>
            </a:p>
          </p:txBody>
        </p:sp>
        <p:sp>
          <p:nvSpPr>
            <p:cNvPr id="4348" name="Freeform: Shape 4347">
              <a:extLst>
                <a:ext uri="{FF2B5EF4-FFF2-40B4-BE49-F238E27FC236}">
                  <a16:creationId xmlns:a16="http://schemas.microsoft.com/office/drawing/2014/main" id="{D5A8E584-0900-4BA2-952B-E7185ACEC250}"/>
                </a:ext>
              </a:extLst>
            </p:cNvPr>
            <p:cNvSpPr/>
            <p:nvPr/>
          </p:nvSpPr>
          <p:spPr>
            <a:xfrm>
              <a:off x="2732035" y="3323345"/>
              <a:ext cx="76123" cy="17911"/>
            </a:xfrm>
            <a:custGeom>
              <a:avLst/>
              <a:gdLst>
                <a:gd name="connsiteX0" fmla="*/ 38803 w 76122"/>
                <a:gd name="connsiteY0" fmla="*/ 18535 h 17911"/>
                <a:gd name="connsiteX1" fmla="*/ 742 w 76122"/>
                <a:gd name="connsiteY1" fmla="*/ 4654 h 17911"/>
                <a:gd name="connsiteX2" fmla="*/ 294 w 76122"/>
                <a:gd name="connsiteY2" fmla="*/ 1520 h 17911"/>
                <a:gd name="connsiteX3" fmla="*/ 3429 w 76122"/>
                <a:gd name="connsiteY3" fmla="*/ 1072 h 17911"/>
                <a:gd name="connsiteX4" fmla="*/ 38803 w 76122"/>
                <a:gd name="connsiteY4" fmla="*/ 13610 h 17911"/>
                <a:gd name="connsiteX5" fmla="*/ 74626 w 76122"/>
                <a:gd name="connsiteY5" fmla="*/ 624 h 17911"/>
                <a:gd name="connsiteX6" fmla="*/ 77760 w 76122"/>
                <a:gd name="connsiteY6" fmla="*/ 1072 h 17911"/>
                <a:gd name="connsiteX7" fmla="*/ 77313 w 76122"/>
                <a:gd name="connsiteY7" fmla="*/ 4206 h 17911"/>
                <a:gd name="connsiteX8" fmla="*/ 38803 w 76122"/>
                <a:gd name="connsiteY8" fmla="*/ 18535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22" h="17911">
                  <a:moveTo>
                    <a:pt x="38803" y="18535"/>
                  </a:moveTo>
                  <a:cubicBezTo>
                    <a:pt x="24922" y="18535"/>
                    <a:pt x="11489" y="13610"/>
                    <a:pt x="742" y="4654"/>
                  </a:cubicBezTo>
                  <a:cubicBezTo>
                    <a:pt x="-154" y="3759"/>
                    <a:pt x="-154" y="2415"/>
                    <a:pt x="294" y="1520"/>
                  </a:cubicBezTo>
                  <a:cubicBezTo>
                    <a:pt x="1190" y="624"/>
                    <a:pt x="2533" y="624"/>
                    <a:pt x="3429" y="1072"/>
                  </a:cubicBezTo>
                  <a:cubicBezTo>
                    <a:pt x="13280" y="9132"/>
                    <a:pt x="25818" y="13610"/>
                    <a:pt x="38803" y="13610"/>
                  </a:cubicBezTo>
                  <a:cubicBezTo>
                    <a:pt x="51789" y="13610"/>
                    <a:pt x="64775" y="9132"/>
                    <a:pt x="74626" y="624"/>
                  </a:cubicBezTo>
                  <a:cubicBezTo>
                    <a:pt x="75521" y="-271"/>
                    <a:pt x="76865" y="-271"/>
                    <a:pt x="77760" y="1072"/>
                  </a:cubicBezTo>
                  <a:cubicBezTo>
                    <a:pt x="78656" y="1967"/>
                    <a:pt x="78656" y="3311"/>
                    <a:pt x="77313" y="4206"/>
                  </a:cubicBezTo>
                  <a:cubicBezTo>
                    <a:pt x="66566" y="13162"/>
                    <a:pt x="53132" y="18535"/>
                    <a:pt x="38803" y="18535"/>
                  </a:cubicBezTo>
                  <a:close/>
                </a:path>
              </a:pathLst>
            </a:custGeom>
            <a:solidFill>
              <a:srgbClr val="231F20"/>
            </a:solidFill>
            <a:ln w="4474" cap="flat">
              <a:noFill/>
              <a:prstDash val="solid"/>
              <a:miter/>
            </a:ln>
          </p:spPr>
          <p:txBody>
            <a:bodyPr rtlCol="0" anchor="ctr"/>
            <a:lstStyle/>
            <a:p>
              <a:endParaRPr lang="en-US"/>
            </a:p>
          </p:txBody>
        </p:sp>
        <p:sp>
          <p:nvSpPr>
            <p:cNvPr id="4349" name="Freeform: Shape 4348">
              <a:extLst>
                <a:ext uri="{FF2B5EF4-FFF2-40B4-BE49-F238E27FC236}">
                  <a16:creationId xmlns:a16="http://schemas.microsoft.com/office/drawing/2014/main" id="{BEF6C744-44BB-4776-8F23-E60ED51C9A89}"/>
                </a:ext>
              </a:extLst>
            </p:cNvPr>
            <p:cNvSpPr/>
            <p:nvPr/>
          </p:nvSpPr>
          <p:spPr>
            <a:xfrm>
              <a:off x="2790373" y="3225290"/>
              <a:ext cx="40300" cy="58212"/>
            </a:xfrm>
            <a:custGeom>
              <a:avLst/>
              <a:gdLst>
                <a:gd name="connsiteX0" fmla="*/ 38229 w 40300"/>
                <a:gd name="connsiteY0" fmla="*/ 58379 h 58211"/>
                <a:gd name="connsiteX1" fmla="*/ 35990 w 40300"/>
                <a:gd name="connsiteY1" fmla="*/ 56141 h 58211"/>
                <a:gd name="connsiteX2" fmla="*/ 1511 w 40300"/>
                <a:gd name="connsiteY2" fmla="*/ 4646 h 58211"/>
                <a:gd name="connsiteX3" fmla="*/ 168 w 40300"/>
                <a:gd name="connsiteY3" fmla="*/ 1511 h 58211"/>
                <a:gd name="connsiteX4" fmla="*/ 3302 w 40300"/>
                <a:gd name="connsiteY4" fmla="*/ 168 h 58211"/>
                <a:gd name="connsiteX5" fmla="*/ 40916 w 40300"/>
                <a:gd name="connsiteY5" fmla="*/ 55693 h 58211"/>
                <a:gd name="connsiteX6" fmla="*/ 38229 w 40300"/>
                <a:gd name="connsiteY6" fmla="*/ 58379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00" h="58211">
                  <a:moveTo>
                    <a:pt x="38229" y="58379"/>
                  </a:moveTo>
                  <a:cubicBezTo>
                    <a:pt x="36886" y="58379"/>
                    <a:pt x="35990" y="57484"/>
                    <a:pt x="35990" y="56141"/>
                  </a:cubicBezTo>
                  <a:cubicBezTo>
                    <a:pt x="35990" y="33304"/>
                    <a:pt x="22557" y="13154"/>
                    <a:pt x="1511" y="4646"/>
                  </a:cubicBezTo>
                  <a:cubicBezTo>
                    <a:pt x="168" y="4198"/>
                    <a:pt x="-280" y="2855"/>
                    <a:pt x="168" y="1511"/>
                  </a:cubicBezTo>
                  <a:cubicBezTo>
                    <a:pt x="616" y="168"/>
                    <a:pt x="1959" y="-280"/>
                    <a:pt x="3302" y="168"/>
                  </a:cubicBezTo>
                  <a:cubicBezTo>
                    <a:pt x="26139" y="9571"/>
                    <a:pt x="40916" y="31513"/>
                    <a:pt x="40916" y="55693"/>
                  </a:cubicBezTo>
                  <a:cubicBezTo>
                    <a:pt x="40468" y="57484"/>
                    <a:pt x="39573" y="58379"/>
                    <a:pt x="38229" y="58379"/>
                  </a:cubicBezTo>
                  <a:close/>
                </a:path>
              </a:pathLst>
            </a:custGeom>
            <a:solidFill>
              <a:srgbClr val="231F20"/>
            </a:solidFill>
            <a:ln w="4474" cap="flat">
              <a:noFill/>
              <a:prstDash val="solid"/>
              <a:miter/>
            </a:ln>
          </p:spPr>
          <p:txBody>
            <a:bodyPr rtlCol="0" anchor="ctr"/>
            <a:lstStyle/>
            <a:p>
              <a:endParaRPr lang="en-US"/>
            </a:p>
          </p:txBody>
        </p:sp>
        <p:sp>
          <p:nvSpPr>
            <p:cNvPr id="4350" name="Freeform: Shape 4349">
              <a:extLst>
                <a:ext uri="{FF2B5EF4-FFF2-40B4-BE49-F238E27FC236}">
                  <a16:creationId xmlns:a16="http://schemas.microsoft.com/office/drawing/2014/main" id="{F6D4E48A-151A-4D60-A6E6-F2908112B117}"/>
                </a:ext>
              </a:extLst>
            </p:cNvPr>
            <p:cNvSpPr/>
            <p:nvPr/>
          </p:nvSpPr>
          <p:spPr>
            <a:xfrm>
              <a:off x="2710835" y="3225738"/>
              <a:ext cx="35823" cy="53734"/>
            </a:xfrm>
            <a:custGeom>
              <a:avLst/>
              <a:gdLst>
                <a:gd name="connsiteX0" fmla="*/ 2239 w 35822"/>
                <a:gd name="connsiteY0" fmla="*/ 57932 h 53733"/>
                <a:gd name="connsiteX1" fmla="*/ 0 w 35822"/>
                <a:gd name="connsiteY1" fmla="*/ 55693 h 53733"/>
                <a:gd name="connsiteX2" fmla="*/ 36718 w 35822"/>
                <a:gd name="connsiteY2" fmla="*/ 168 h 53733"/>
                <a:gd name="connsiteX3" fmla="*/ 39853 w 35822"/>
                <a:gd name="connsiteY3" fmla="*/ 1511 h 53733"/>
                <a:gd name="connsiteX4" fmla="*/ 38509 w 35822"/>
                <a:gd name="connsiteY4" fmla="*/ 4646 h 53733"/>
                <a:gd name="connsiteX5" fmla="*/ 4478 w 35822"/>
                <a:gd name="connsiteY5" fmla="*/ 56141 h 53733"/>
                <a:gd name="connsiteX6" fmla="*/ 2239 w 35822"/>
                <a:gd name="connsiteY6" fmla="*/ 57932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53733">
                  <a:moveTo>
                    <a:pt x="2239" y="57932"/>
                  </a:moveTo>
                  <a:cubicBezTo>
                    <a:pt x="896" y="57932"/>
                    <a:pt x="0" y="57036"/>
                    <a:pt x="0" y="55693"/>
                  </a:cubicBezTo>
                  <a:cubicBezTo>
                    <a:pt x="0" y="31513"/>
                    <a:pt x="14329" y="9571"/>
                    <a:pt x="36718" y="168"/>
                  </a:cubicBezTo>
                  <a:cubicBezTo>
                    <a:pt x="38061" y="-280"/>
                    <a:pt x="38957" y="168"/>
                    <a:pt x="39853" y="1511"/>
                  </a:cubicBezTo>
                  <a:cubicBezTo>
                    <a:pt x="40300" y="2855"/>
                    <a:pt x="39853" y="3750"/>
                    <a:pt x="38509" y="4646"/>
                  </a:cubicBezTo>
                  <a:cubicBezTo>
                    <a:pt x="17911" y="13601"/>
                    <a:pt x="4478" y="33304"/>
                    <a:pt x="4478" y="56141"/>
                  </a:cubicBezTo>
                  <a:cubicBezTo>
                    <a:pt x="4478" y="57036"/>
                    <a:pt x="3135" y="57932"/>
                    <a:pt x="2239" y="57932"/>
                  </a:cubicBezTo>
                  <a:close/>
                </a:path>
              </a:pathLst>
            </a:custGeom>
            <a:solidFill>
              <a:srgbClr val="231F20"/>
            </a:solidFill>
            <a:ln w="4474" cap="flat">
              <a:noFill/>
              <a:prstDash val="solid"/>
              <a:miter/>
            </a:ln>
          </p:spPr>
          <p:txBody>
            <a:bodyPr rtlCol="0" anchor="ctr"/>
            <a:lstStyle/>
            <a:p>
              <a:endParaRPr lang="en-US"/>
            </a:p>
          </p:txBody>
        </p:sp>
      </p:grpSp>
      <p:sp>
        <p:nvSpPr>
          <p:cNvPr id="4351" name="Freeform: Shape 4350">
            <a:extLst>
              <a:ext uri="{FF2B5EF4-FFF2-40B4-BE49-F238E27FC236}">
                <a16:creationId xmlns:a16="http://schemas.microsoft.com/office/drawing/2014/main" id="{9C440515-0DD7-4257-99D6-E7EA0E5E1E60}"/>
              </a:ext>
              <a:ext uri="{C183D7F6-B498-43B3-948B-1728B52AA6E4}">
                <adec:decorative xmlns:adec="http://schemas.microsoft.com/office/drawing/2017/decorative" val="1"/>
              </a:ext>
            </a:extLst>
          </p:cNvPr>
          <p:cNvSpPr>
            <a:spLocks noChangeAspect="1"/>
          </p:cNvSpPr>
          <p:nvPr/>
        </p:nvSpPr>
        <p:spPr>
          <a:xfrm>
            <a:off x="2393352" y="3934478"/>
            <a:ext cx="152246" cy="152246"/>
          </a:xfrm>
          <a:custGeom>
            <a:avLst/>
            <a:gdLst>
              <a:gd name="connsiteX0" fmla="*/ 129857 w 152245"/>
              <a:gd name="connsiteY0" fmla="*/ 53734 h 152245"/>
              <a:gd name="connsiteX1" fmla="*/ 112393 w 152245"/>
              <a:gd name="connsiteY1" fmla="*/ 62242 h 152245"/>
              <a:gd name="connsiteX2" fmla="*/ 90004 w 152245"/>
              <a:gd name="connsiteY2" fmla="*/ 39853 h 152245"/>
              <a:gd name="connsiteX3" fmla="*/ 98512 w 152245"/>
              <a:gd name="connsiteY3" fmla="*/ 22389 h 152245"/>
              <a:gd name="connsiteX4" fmla="*/ 76123 w 152245"/>
              <a:gd name="connsiteY4" fmla="*/ 0 h 152245"/>
              <a:gd name="connsiteX5" fmla="*/ 53734 w 152245"/>
              <a:gd name="connsiteY5" fmla="*/ 22389 h 152245"/>
              <a:gd name="connsiteX6" fmla="*/ 61794 w 152245"/>
              <a:gd name="connsiteY6" fmla="*/ 39853 h 152245"/>
              <a:gd name="connsiteX7" fmla="*/ 39405 w 152245"/>
              <a:gd name="connsiteY7" fmla="*/ 62242 h 152245"/>
              <a:gd name="connsiteX8" fmla="*/ 22389 w 152245"/>
              <a:gd name="connsiteY8" fmla="*/ 54182 h 152245"/>
              <a:gd name="connsiteX9" fmla="*/ 0 w 152245"/>
              <a:gd name="connsiteY9" fmla="*/ 76571 h 152245"/>
              <a:gd name="connsiteX10" fmla="*/ 10299 w 152245"/>
              <a:gd name="connsiteY10" fmla="*/ 95378 h 152245"/>
              <a:gd name="connsiteX11" fmla="*/ 22389 w 152245"/>
              <a:gd name="connsiteY11" fmla="*/ 98960 h 152245"/>
              <a:gd name="connsiteX12" fmla="*/ 39405 w 152245"/>
              <a:gd name="connsiteY12" fmla="*/ 90900 h 152245"/>
              <a:gd name="connsiteX13" fmla="*/ 61794 w 152245"/>
              <a:gd name="connsiteY13" fmla="*/ 113289 h 152245"/>
              <a:gd name="connsiteX14" fmla="*/ 53734 w 152245"/>
              <a:gd name="connsiteY14" fmla="*/ 130305 h 152245"/>
              <a:gd name="connsiteX15" fmla="*/ 64033 w 152245"/>
              <a:gd name="connsiteY15" fmla="*/ 149111 h 152245"/>
              <a:gd name="connsiteX16" fmla="*/ 76123 w 152245"/>
              <a:gd name="connsiteY16" fmla="*/ 152694 h 152245"/>
              <a:gd name="connsiteX17" fmla="*/ 98512 w 152245"/>
              <a:gd name="connsiteY17" fmla="*/ 130305 h 152245"/>
              <a:gd name="connsiteX18" fmla="*/ 90452 w 152245"/>
              <a:gd name="connsiteY18" fmla="*/ 113289 h 152245"/>
              <a:gd name="connsiteX19" fmla="*/ 112841 w 152245"/>
              <a:gd name="connsiteY19" fmla="*/ 90900 h 152245"/>
              <a:gd name="connsiteX20" fmla="*/ 118214 w 152245"/>
              <a:gd name="connsiteY20" fmla="*/ 95825 h 152245"/>
              <a:gd name="connsiteX21" fmla="*/ 130304 w 152245"/>
              <a:gd name="connsiteY21" fmla="*/ 99407 h 152245"/>
              <a:gd name="connsiteX22" fmla="*/ 152693 w 152245"/>
              <a:gd name="connsiteY22" fmla="*/ 77018 h 152245"/>
              <a:gd name="connsiteX23" fmla="*/ 129857 w 152245"/>
              <a:gd name="connsiteY23" fmla="*/ 53734 h 152245"/>
              <a:gd name="connsiteX24" fmla="*/ 58212 w 152245"/>
              <a:gd name="connsiteY24" fmla="*/ 22389 h 152245"/>
              <a:gd name="connsiteX25" fmla="*/ 76123 w 152245"/>
              <a:gd name="connsiteY25" fmla="*/ 4478 h 152245"/>
              <a:gd name="connsiteX26" fmla="*/ 94034 w 152245"/>
              <a:gd name="connsiteY26" fmla="*/ 22389 h 152245"/>
              <a:gd name="connsiteX27" fmla="*/ 76123 w 152245"/>
              <a:gd name="connsiteY27" fmla="*/ 40300 h 152245"/>
              <a:gd name="connsiteX28" fmla="*/ 66719 w 152245"/>
              <a:gd name="connsiteY28" fmla="*/ 37614 h 152245"/>
              <a:gd name="connsiteX29" fmla="*/ 58212 w 152245"/>
              <a:gd name="connsiteY29" fmla="*/ 22389 h 152245"/>
              <a:gd name="connsiteX30" fmla="*/ 22389 w 152245"/>
              <a:gd name="connsiteY30" fmla="*/ 94034 h 152245"/>
              <a:gd name="connsiteX31" fmla="*/ 12986 w 152245"/>
              <a:gd name="connsiteY31" fmla="*/ 91347 h 152245"/>
              <a:gd name="connsiteX32" fmla="*/ 4478 w 152245"/>
              <a:gd name="connsiteY32" fmla="*/ 76123 h 152245"/>
              <a:gd name="connsiteX33" fmla="*/ 22389 w 152245"/>
              <a:gd name="connsiteY33" fmla="*/ 58212 h 152245"/>
              <a:gd name="connsiteX34" fmla="*/ 40300 w 152245"/>
              <a:gd name="connsiteY34" fmla="*/ 76123 h 152245"/>
              <a:gd name="connsiteX35" fmla="*/ 22389 w 152245"/>
              <a:gd name="connsiteY35" fmla="*/ 94034 h 152245"/>
              <a:gd name="connsiteX36" fmla="*/ 42091 w 152245"/>
              <a:gd name="connsiteY36" fmla="*/ 86870 h 152245"/>
              <a:gd name="connsiteX37" fmla="*/ 44778 w 152245"/>
              <a:gd name="connsiteY37" fmla="*/ 76123 h 152245"/>
              <a:gd name="connsiteX38" fmla="*/ 42091 w 152245"/>
              <a:gd name="connsiteY38" fmla="*/ 65824 h 152245"/>
              <a:gd name="connsiteX39" fmla="*/ 65824 w 152245"/>
              <a:gd name="connsiteY39" fmla="*/ 42091 h 152245"/>
              <a:gd name="connsiteX40" fmla="*/ 73884 w 152245"/>
              <a:gd name="connsiteY40" fmla="*/ 44330 h 152245"/>
              <a:gd name="connsiteX41" fmla="*/ 73884 w 152245"/>
              <a:gd name="connsiteY41" fmla="*/ 107468 h 152245"/>
              <a:gd name="connsiteX42" fmla="*/ 65824 w 152245"/>
              <a:gd name="connsiteY42" fmla="*/ 110154 h 152245"/>
              <a:gd name="connsiteX43" fmla="*/ 42091 w 152245"/>
              <a:gd name="connsiteY43" fmla="*/ 86870 h 152245"/>
              <a:gd name="connsiteX44" fmla="*/ 94034 w 152245"/>
              <a:gd name="connsiteY44" fmla="*/ 129857 h 152245"/>
              <a:gd name="connsiteX45" fmla="*/ 76123 w 152245"/>
              <a:gd name="connsiteY45" fmla="*/ 147768 h 152245"/>
              <a:gd name="connsiteX46" fmla="*/ 66719 w 152245"/>
              <a:gd name="connsiteY46" fmla="*/ 145081 h 152245"/>
              <a:gd name="connsiteX47" fmla="*/ 58212 w 152245"/>
              <a:gd name="connsiteY47" fmla="*/ 129857 h 152245"/>
              <a:gd name="connsiteX48" fmla="*/ 76123 w 152245"/>
              <a:gd name="connsiteY48" fmla="*/ 111946 h 152245"/>
              <a:gd name="connsiteX49" fmla="*/ 94034 w 152245"/>
              <a:gd name="connsiteY49" fmla="*/ 129857 h 152245"/>
              <a:gd name="connsiteX50" fmla="*/ 86422 w 152245"/>
              <a:gd name="connsiteY50" fmla="*/ 110154 h 152245"/>
              <a:gd name="connsiteX51" fmla="*/ 77914 w 152245"/>
              <a:gd name="connsiteY51" fmla="*/ 107915 h 152245"/>
              <a:gd name="connsiteX52" fmla="*/ 77914 w 152245"/>
              <a:gd name="connsiteY52" fmla="*/ 44778 h 152245"/>
              <a:gd name="connsiteX53" fmla="*/ 85974 w 152245"/>
              <a:gd name="connsiteY53" fmla="*/ 42539 h 152245"/>
              <a:gd name="connsiteX54" fmla="*/ 109707 w 152245"/>
              <a:gd name="connsiteY54" fmla="*/ 66272 h 152245"/>
              <a:gd name="connsiteX55" fmla="*/ 107468 w 152245"/>
              <a:gd name="connsiteY55" fmla="*/ 76123 h 152245"/>
              <a:gd name="connsiteX56" fmla="*/ 110154 w 152245"/>
              <a:gd name="connsiteY56" fmla="*/ 86422 h 152245"/>
              <a:gd name="connsiteX57" fmla="*/ 86422 w 152245"/>
              <a:gd name="connsiteY57" fmla="*/ 110154 h 152245"/>
              <a:gd name="connsiteX58" fmla="*/ 129857 w 152245"/>
              <a:gd name="connsiteY58" fmla="*/ 94034 h 152245"/>
              <a:gd name="connsiteX59" fmla="*/ 120453 w 152245"/>
              <a:gd name="connsiteY59" fmla="*/ 91347 h 152245"/>
              <a:gd name="connsiteX60" fmla="*/ 111945 w 152245"/>
              <a:gd name="connsiteY60" fmla="*/ 76123 h 152245"/>
              <a:gd name="connsiteX61" fmla="*/ 129857 w 152245"/>
              <a:gd name="connsiteY61" fmla="*/ 58212 h 152245"/>
              <a:gd name="connsiteX62" fmla="*/ 147768 w 152245"/>
              <a:gd name="connsiteY62" fmla="*/ 76123 h 152245"/>
              <a:gd name="connsiteX63" fmla="*/ 129857 w 152245"/>
              <a:gd name="connsiteY63" fmla="*/ 94034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52245" h="152245">
                <a:moveTo>
                  <a:pt x="129857" y="53734"/>
                </a:moveTo>
                <a:cubicBezTo>
                  <a:pt x="122692" y="53734"/>
                  <a:pt x="116423" y="57316"/>
                  <a:pt x="112393" y="62242"/>
                </a:cubicBezTo>
                <a:lnTo>
                  <a:pt x="90004" y="39853"/>
                </a:lnTo>
                <a:cubicBezTo>
                  <a:pt x="95377" y="35823"/>
                  <a:pt x="98512" y="29554"/>
                  <a:pt x="98512" y="22389"/>
                </a:cubicBezTo>
                <a:cubicBezTo>
                  <a:pt x="98512" y="9851"/>
                  <a:pt x="88661" y="0"/>
                  <a:pt x="76123" y="0"/>
                </a:cubicBezTo>
                <a:cubicBezTo>
                  <a:pt x="63585" y="0"/>
                  <a:pt x="53734" y="9851"/>
                  <a:pt x="53734" y="22389"/>
                </a:cubicBezTo>
                <a:cubicBezTo>
                  <a:pt x="53734" y="29106"/>
                  <a:pt x="56868" y="35375"/>
                  <a:pt x="61794" y="39853"/>
                </a:cubicBezTo>
                <a:lnTo>
                  <a:pt x="39405" y="62242"/>
                </a:lnTo>
                <a:cubicBezTo>
                  <a:pt x="35375" y="57316"/>
                  <a:pt x="29106" y="54182"/>
                  <a:pt x="22389" y="54182"/>
                </a:cubicBezTo>
                <a:cubicBezTo>
                  <a:pt x="9851" y="54182"/>
                  <a:pt x="0" y="64033"/>
                  <a:pt x="0" y="76571"/>
                </a:cubicBezTo>
                <a:cubicBezTo>
                  <a:pt x="0" y="84183"/>
                  <a:pt x="4030" y="91347"/>
                  <a:pt x="10299" y="95378"/>
                </a:cubicBezTo>
                <a:cubicBezTo>
                  <a:pt x="13881" y="97616"/>
                  <a:pt x="17911" y="98960"/>
                  <a:pt x="22389" y="98960"/>
                </a:cubicBezTo>
                <a:cubicBezTo>
                  <a:pt x="29106" y="98960"/>
                  <a:pt x="35375" y="95825"/>
                  <a:pt x="39405" y="90900"/>
                </a:cubicBezTo>
                <a:lnTo>
                  <a:pt x="61794" y="113289"/>
                </a:lnTo>
                <a:cubicBezTo>
                  <a:pt x="56868" y="117319"/>
                  <a:pt x="53734" y="123588"/>
                  <a:pt x="53734" y="130305"/>
                </a:cubicBezTo>
                <a:cubicBezTo>
                  <a:pt x="53734" y="137917"/>
                  <a:pt x="57764" y="145081"/>
                  <a:pt x="64033" y="149111"/>
                </a:cubicBezTo>
                <a:cubicBezTo>
                  <a:pt x="67615" y="151350"/>
                  <a:pt x="71645" y="152694"/>
                  <a:pt x="76123" y="152694"/>
                </a:cubicBezTo>
                <a:cubicBezTo>
                  <a:pt x="88661" y="152694"/>
                  <a:pt x="98512" y="142842"/>
                  <a:pt x="98512" y="130305"/>
                </a:cubicBezTo>
                <a:cubicBezTo>
                  <a:pt x="98512" y="123140"/>
                  <a:pt x="95377" y="117319"/>
                  <a:pt x="90452" y="113289"/>
                </a:cubicBezTo>
                <a:lnTo>
                  <a:pt x="112841" y="90900"/>
                </a:lnTo>
                <a:cubicBezTo>
                  <a:pt x="114184" y="92691"/>
                  <a:pt x="115975" y="94482"/>
                  <a:pt x="118214" y="95825"/>
                </a:cubicBezTo>
                <a:cubicBezTo>
                  <a:pt x="121797" y="98064"/>
                  <a:pt x="125827" y="99407"/>
                  <a:pt x="130304" y="99407"/>
                </a:cubicBezTo>
                <a:cubicBezTo>
                  <a:pt x="142842" y="99407"/>
                  <a:pt x="152693" y="89556"/>
                  <a:pt x="152693" y="77018"/>
                </a:cubicBezTo>
                <a:cubicBezTo>
                  <a:pt x="152246" y="64033"/>
                  <a:pt x="141947" y="53734"/>
                  <a:pt x="129857" y="53734"/>
                </a:cubicBezTo>
                <a:close/>
                <a:moveTo>
                  <a:pt x="58212" y="22389"/>
                </a:moveTo>
                <a:cubicBezTo>
                  <a:pt x="58212" y="12538"/>
                  <a:pt x="66272" y="4478"/>
                  <a:pt x="76123" y="4478"/>
                </a:cubicBezTo>
                <a:cubicBezTo>
                  <a:pt x="85974" y="4478"/>
                  <a:pt x="94034" y="12538"/>
                  <a:pt x="94034" y="22389"/>
                </a:cubicBezTo>
                <a:cubicBezTo>
                  <a:pt x="94034" y="32240"/>
                  <a:pt x="85974" y="40300"/>
                  <a:pt x="76123" y="40300"/>
                </a:cubicBezTo>
                <a:cubicBezTo>
                  <a:pt x="72541" y="40300"/>
                  <a:pt x="69406" y="39405"/>
                  <a:pt x="66719" y="37614"/>
                </a:cubicBezTo>
                <a:cubicBezTo>
                  <a:pt x="61346" y="34479"/>
                  <a:pt x="58212" y="28658"/>
                  <a:pt x="58212" y="22389"/>
                </a:cubicBezTo>
                <a:close/>
                <a:moveTo>
                  <a:pt x="22389" y="94034"/>
                </a:moveTo>
                <a:cubicBezTo>
                  <a:pt x="18807" y="94034"/>
                  <a:pt x="15672" y="93139"/>
                  <a:pt x="12986" y="91347"/>
                </a:cubicBezTo>
                <a:cubicBezTo>
                  <a:pt x="7612" y="88213"/>
                  <a:pt x="4478" y="82392"/>
                  <a:pt x="4478" y="76123"/>
                </a:cubicBezTo>
                <a:cubicBezTo>
                  <a:pt x="4478" y="66272"/>
                  <a:pt x="12538" y="58212"/>
                  <a:pt x="22389" y="58212"/>
                </a:cubicBezTo>
                <a:cubicBezTo>
                  <a:pt x="32240" y="58212"/>
                  <a:pt x="40300" y="66272"/>
                  <a:pt x="40300" y="76123"/>
                </a:cubicBezTo>
                <a:cubicBezTo>
                  <a:pt x="40300" y="85974"/>
                  <a:pt x="32240" y="94034"/>
                  <a:pt x="22389" y="94034"/>
                </a:cubicBezTo>
                <a:close/>
                <a:moveTo>
                  <a:pt x="42091" y="86870"/>
                </a:moveTo>
                <a:cubicBezTo>
                  <a:pt x="43883" y="83735"/>
                  <a:pt x="44778" y="80153"/>
                  <a:pt x="44778" y="76123"/>
                </a:cubicBezTo>
                <a:cubicBezTo>
                  <a:pt x="44778" y="72541"/>
                  <a:pt x="43883" y="68958"/>
                  <a:pt x="42091" y="65824"/>
                </a:cubicBezTo>
                <a:lnTo>
                  <a:pt x="65824" y="42091"/>
                </a:lnTo>
                <a:cubicBezTo>
                  <a:pt x="68063" y="43435"/>
                  <a:pt x="70749" y="44330"/>
                  <a:pt x="73884" y="44330"/>
                </a:cubicBezTo>
                <a:lnTo>
                  <a:pt x="73884" y="107468"/>
                </a:lnTo>
                <a:cubicBezTo>
                  <a:pt x="70749" y="107915"/>
                  <a:pt x="68063" y="108811"/>
                  <a:pt x="65824" y="110154"/>
                </a:cubicBezTo>
                <a:lnTo>
                  <a:pt x="42091" y="86870"/>
                </a:lnTo>
                <a:close/>
                <a:moveTo>
                  <a:pt x="94034" y="129857"/>
                </a:moveTo>
                <a:cubicBezTo>
                  <a:pt x="94034" y="139708"/>
                  <a:pt x="85974" y="147768"/>
                  <a:pt x="76123" y="147768"/>
                </a:cubicBezTo>
                <a:cubicBezTo>
                  <a:pt x="72541" y="147768"/>
                  <a:pt x="69406" y="146872"/>
                  <a:pt x="66719" y="145081"/>
                </a:cubicBezTo>
                <a:cubicBezTo>
                  <a:pt x="61346" y="141947"/>
                  <a:pt x="58212" y="136126"/>
                  <a:pt x="58212" y="129857"/>
                </a:cubicBezTo>
                <a:cubicBezTo>
                  <a:pt x="58212" y="120006"/>
                  <a:pt x="66272" y="111946"/>
                  <a:pt x="76123" y="111946"/>
                </a:cubicBezTo>
                <a:cubicBezTo>
                  <a:pt x="85974" y="111946"/>
                  <a:pt x="94034" y="120006"/>
                  <a:pt x="94034" y="129857"/>
                </a:cubicBezTo>
                <a:close/>
                <a:moveTo>
                  <a:pt x="86422" y="110154"/>
                </a:moveTo>
                <a:cubicBezTo>
                  <a:pt x="83735" y="108811"/>
                  <a:pt x="81048" y="107915"/>
                  <a:pt x="77914" y="107915"/>
                </a:cubicBezTo>
                <a:lnTo>
                  <a:pt x="77914" y="44778"/>
                </a:lnTo>
                <a:cubicBezTo>
                  <a:pt x="80601" y="44330"/>
                  <a:pt x="83287" y="43883"/>
                  <a:pt x="85974" y="42539"/>
                </a:cubicBezTo>
                <a:lnTo>
                  <a:pt x="109707" y="66272"/>
                </a:lnTo>
                <a:cubicBezTo>
                  <a:pt x="108363" y="69406"/>
                  <a:pt x="107468" y="72541"/>
                  <a:pt x="107468" y="76123"/>
                </a:cubicBezTo>
                <a:cubicBezTo>
                  <a:pt x="107468" y="79705"/>
                  <a:pt x="108363" y="83287"/>
                  <a:pt x="110154" y="86422"/>
                </a:cubicBezTo>
                <a:lnTo>
                  <a:pt x="86422" y="110154"/>
                </a:lnTo>
                <a:close/>
                <a:moveTo>
                  <a:pt x="129857" y="94034"/>
                </a:moveTo>
                <a:cubicBezTo>
                  <a:pt x="126274" y="94034"/>
                  <a:pt x="123140" y="93139"/>
                  <a:pt x="120453" y="91347"/>
                </a:cubicBezTo>
                <a:cubicBezTo>
                  <a:pt x="115080" y="88213"/>
                  <a:pt x="111945" y="82392"/>
                  <a:pt x="111945" y="76123"/>
                </a:cubicBezTo>
                <a:cubicBezTo>
                  <a:pt x="111945" y="66272"/>
                  <a:pt x="120005" y="58212"/>
                  <a:pt x="129857" y="58212"/>
                </a:cubicBezTo>
                <a:cubicBezTo>
                  <a:pt x="139708" y="58212"/>
                  <a:pt x="147768" y="66272"/>
                  <a:pt x="147768" y="76123"/>
                </a:cubicBezTo>
                <a:cubicBezTo>
                  <a:pt x="147768" y="85974"/>
                  <a:pt x="139708" y="94034"/>
                  <a:pt x="129857" y="94034"/>
                </a:cubicBezTo>
                <a:close/>
              </a:path>
            </a:pathLst>
          </a:custGeom>
          <a:solidFill>
            <a:srgbClr val="231F20"/>
          </a:solidFill>
          <a:ln w="4474" cap="flat">
            <a:noFill/>
            <a:prstDash val="solid"/>
            <a:miter/>
          </a:ln>
        </p:spPr>
        <p:txBody>
          <a:bodyPr rtlCol="0" anchor="ctr"/>
          <a:lstStyle/>
          <a:p>
            <a:endParaRPr lang="en-US"/>
          </a:p>
        </p:txBody>
      </p:sp>
      <p:sp>
        <p:nvSpPr>
          <p:cNvPr id="4352" name="Freeform: Shape 4351">
            <a:extLst>
              <a:ext uri="{FF2B5EF4-FFF2-40B4-BE49-F238E27FC236}">
                <a16:creationId xmlns:a16="http://schemas.microsoft.com/office/drawing/2014/main" id="{666EA366-AECF-4CD4-94B3-0EBC78EC7D60}"/>
              </a:ext>
              <a:ext uri="{C183D7F6-B498-43B3-948B-1728B52AA6E4}">
                <adec:decorative xmlns:adec="http://schemas.microsoft.com/office/drawing/2017/decorative" val="1"/>
              </a:ext>
            </a:extLst>
          </p:cNvPr>
          <p:cNvSpPr>
            <a:spLocks noChangeAspect="1"/>
          </p:cNvSpPr>
          <p:nvPr/>
        </p:nvSpPr>
        <p:spPr>
          <a:xfrm>
            <a:off x="3175627" y="3934589"/>
            <a:ext cx="138812" cy="152246"/>
          </a:xfrm>
          <a:custGeom>
            <a:avLst/>
            <a:gdLst>
              <a:gd name="connsiteX0" fmla="*/ 138812 w 138812"/>
              <a:gd name="connsiteY0" fmla="*/ 115863 h 152245"/>
              <a:gd name="connsiteX1" fmla="*/ 138812 w 138812"/>
              <a:gd name="connsiteY1" fmla="*/ 115863 h 152245"/>
              <a:gd name="connsiteX2" fmla="*/ 138812 w 138812"/>
              <a:gd name="connsiteY2" fmla="*/ 32576 h 152245"/>
              <a:gd name="connsiteX3" fmla="*/ 138812 w 138812"/>
              <a:gd name="connsiteY3" fmla="*/ 32576 h 152245"/>
              <a:gd name="connsiteX4" fmla="*/ 138812 w 138812"/>
              <a:gd name="connsiteY4" fmla="*/ 32576 h 152245"/>
              <a:gd name="connsiteX5" fmla="*/ 138812 w 138812"/>
              <a:gd name="connsiteY5" fmla="*/ 32576 h 152245"/>
              <a:gd name="connsiteX6" fmla="*/ 138364 w 138812"/>
              <a:gd name="connsiteY6" fmla="*/ 31681 h 152245"/>
              <a:gd name="connsiteX7" fmla="*/ 138364 w 138812"/>
              <a:gd name="connsiteY7" fmla="*/ 31233 h 152245"/>
              <a:gd name="connsiteX8" fmla="*/ 137469 w 138812"/>
              <a:gd name="connsiteY8" fmla="*/ 30785 h 152245"/>
              <a:gd name="connsiteX9" fmla="*/ 137469 w 138812"/>
              <a:gd name="connsiteY9" fmla="*/ 30785 h 152245"/>
              <a:gd name="connsiteX10" fmla="*/ 137469 w 138812"/>
              <a:gd name="connsiteY10" fmla="*/ 30785 h 152245"/>
              <a:gd name="connsiteX11" fmla="*/ 137469 w 138812"/>
              <a:gd name="connsiteY11" fmla="*/ 30785 h 152245"/>
              <a:gd name="connsiteX12" fmla="*/ 70302 w 138812"/>
              <a:gd name="connsiteY12" fmla="*/ 336 h 152245"/>
              <a:gd name="connsiteX13" fmla="*/ 68511 w 138812"/>
              <a:gd name="connsiteY13" fmla="*/ 336 h 152245"/>
              <a:gd name="connsiteX14" fmla="*/ 1343 w 138812"/>
              <a:gd name="connsiteY14" fmla="*/ 30785 h 152245"/>
              <a:gd name="connsiteX15" fmla="*/ 1343 w 138812"/>
              <a:gd name="connsiteY15" fmla="*/ 30785 h 152245"/>
              <a:gd name="connsiteX16" fmla="*/ 1343 w 138812"/>
              <a:gd name="connsiteY16" fmla="*/ 30785 h 152245"/>
              <a:gd name="connsiteX17" fmla="*/ 1343 w 138812"/>
              <a:gd name="connsiteY17" fmla="*/ 30785 h 152245"/>
              <a:gd name="connsiteX18" fmla="*/ 448 w 138812"/>
              <a:gd name="connsiteY18" fmla="*/ 31233 h 152245"/>
              <a:gd name="connsiteX19" fmla="*/ 448 w 138812"/>
              <a:gd name="connsiteY19" fmla="*/ 31681 h 152245"/>
              <a:gd name="connsiteX20" fmla="*/ 0 w 138812"/>
              <a:gd name="connsiteY20" fmla="*/ 32576 h 152245"/>
              <a:gd name="connsiteX21" fmla="*/ 0 w 138812"/>
              <a:gd name="connsiteY21" fmla="*/ 32576 h 152245"/>
              <a:gd name="connsiteX22" fmla="*/ 0 w 138812"/>
              <a:gd name="connsiteY22" fmla="*/ 32576 h 152245"/>
              <a:gd name="connsiteX23" fmla="*/ 0 w 138812"/>
              <a:gd name="connsiteY23" fmla="*/ 32576 h 152245"/>
              <a:gd name="connsiteX24" fmla="*/ 0 w 138812"/>
              <a:gd name="connsiteY24" fmla="*/ 115863 h 152245"/>
              <a:gd name="connsiteX25" fmla="*/ 0 w 138812"/>
              <a:gd name="connsiteY25" fmla="*/ 116311 h 152245"/>
              <a:gd name="connsiteX26" fmla="*/ 0 w 138812"/>
              <a:gd name="connsiteY26" fmla="*/ 116759 h 152245"/>
              <a:gd name="connsiteX27" fmla="*/ 0 w 138812"/>
              <a:gd name="connsiteY27" fmla="*/ 117207 h 152245"/>
              <a:gd name="connsiteX28" fmla="*/ 448 w 138812"/>
              <a:gd name="connsiteY28" fmla="*/ 117655 h 152245"/>
              <a:gd name="connsiteX29" fmla="*/ 895 w 138812"/>
              <a:gd name="connsiteY29" fmla="*/ 118102 h 152245"/>
              <a:gd name="connsiteX30" fmla="*/ 1343 w 138812"/>
              <a:gd name="connsiteY30" fmla="*/ 118102 h 152245"/>
              <a:gd name="connsiteX31" fmla="*/ 68511 w 138812"/>
              <a:gd name="connsiteY31" fmla="*/ 152582 h 152245"/>
              <a:gd name="connsiteX32" fmla="*/ 68511 w 138812"/>
              <a:gd name="connsiteY32" fmla="*/ 152582 h 152245"/>
              <a:gd name="connsiteX33" fmla="*/ 69406 w 138812"/>
              <a:gd name="connsiteY33" fmla="*/ 153029 h 152245"/>
              <a:gd name="connsiteX34" fmla="*/ 70302 w 138812"/>
              <a:gd name="connsiteY34" fmla="*/ 152582 h 152245"/>
              <a:gd name="connsiteX35" fmla="*/ 70302 w 138812"/>
              <a:gd name="connsiteY35" fmla="*/ 152582 h 152245"/>
              <a:gd name="connsiteX36" fmla="*/ 137469 w 138812"/>
              <a:gd name="connsiteY36" fmla="*/ 118102 h 152245"/>
              <a:gd name="connsiteX37" fmla="*/ 137917 w 138812"/>
              <a:gd name="connsiteY37" fmla="*/ 118102 h 152245"/>
              <a:gd name="connsiteX38" fmla="*/ 138364 w 138812"/>
              <a:gd name="connsiteY38" fmla="*/ 117655 h 152245"/>
              <a:gd name="connsiteX39" fmla="*/ 138812 w 138812"/>
              <a:gd name="connsiteY39" fmla="*/ 117207 h 152245"/>
              <a:gd name="connsiteX40" fmla="*/ 138812 w 138812"/>
              <a:gd name="connsiteY40" fmla="*/ 116759 h 152245"/>
              <a:gd name="connsiteX41" fmla="*/ 138812 w 138812"/>
              <a:gd name="connsiteY41" fmla="*/ 115863 h 152245"/>
              <a:gd name="connsiteX42" fmla="*/ 4478 w 138812"/>
              <a:gd name="connsiteY42" fmla="*/ 36158 h 152245"/>
              <a:gd name="connsiteX43" fmla="*/ 67167 w 138812"/>
              <a:gd name="connsiteY43" fmla="*/ 68846 h 152245"/>
              <a:gd name="connsiteX44" fmla="*/ 67167 w 138812"/>
              <a:gd name="connsiteY44" fmla="*/ 146313 h 152245"/>
              <a:gd name="connsiteX45" fmla="*/ 4478 w 138812"/>
              <a:gd name="connsiteY45" fmla="*/ 114073 h 152245"/>
              <a:gd name="connsiteX46" fmla="*/ 4478 w 138812"/>
              <a:gd name="connsiteY46" fmla="*/ 36158 h 152245"/>
              <a:gd name="connsiteX47" fmla="*/ 71645 w 138812"/>
              <a:gd name="connsiteY47" fmla="*/ 68846 h 152245"/>
              <a:gd name="connsiteX48" fmla="*/ 134335 w 138812"/>
              <a:gd name="connsiteY48" fmla="*/ 36158 h 152245"/>
              <a:gd name="connsiteX49" fmla="*/ 134335 w 138812"/>
              <a:gd name="connsiteY49" fmla="*/ 114520 h 152245"/>
              <a:gd name="connsiteX50" fmla="*/ 71645 w 138812"/>
              <a:gd name="connsiteY50" fmla="*/ 146761 h 152245"/>
              <a:gd name="connsiteX51" fmla="*/ 71645 w 138812"/>
              <a:gd name="connsiteY51" fmla="*/ 68846 h 152245"/>
              <a:gd name="connsiteX52" fmla="*/ 69406 w 138812"/>
              <a:gd name="connsiteY52" fmla="*/ 4814 h 152245"/>
              <a:gd name="connsiteX53" fmla="*/ 131648 w 138812"/>
              <a:gd name="connsiteY53" fmla="*/ 33024 h 152245"/>
              <a:gd name="connsiteX54" fmla="*/ 69406 w 138812"/>
              <a:gd name="connsiteY54" fmla="*/ 65264 h 152245"/>
              <a:gd name="connsiteX55" fmla="*/ 7164 w 138812"/>
              <a:gd name="connsiteY55" fmla="*/ 33024 h 152245"/>
              <a:gd name="connsiteX56" fmla="*/ 69406 w 138812"/>
              <a:gd name="connsiteY56" fmla="*/ 4814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8812" h="152245">
                <a:moveTo>
                  <a:pt x="138812" y="115863"/>
                </a:moveTo>
                <a:cubicBezTo>
                  <a:pt x="138812" y="115863"/>
                  <a:pt x="138812" y="115863"/>
                  <a:pt x="138812" y="115863"/>
                </a:cubicBezTo>
                <a:lnTo>
                  <a:pt x="138812" y="32576"/>
                </a:lnTo>
                <a:cubicBezTo>
                  <a:pt x="138812" y="32576"/>
                  <a:pt x="138812" y="32576"/>
                  <a:pt x="138812" y="32576"/>
                </a:cubicBezTo>
                <a:cubicBezTo>
                  <a:pt x="138812" y="32576"/>
                  <a:pt x="138812" y="32576"/>
                  <a:pt x="138812" y="32576"/>
                </a:cubicBezTo>
                <a:cubicBezTo>
                  <a:pt x="138812" y="32576"/>
                  <a:pt x="138812" y="32576"/>
                  <a:pt x="138812" y="32576"/>
                </a:cubicBezTo>
                <a:cubicBezTo>
                  <a:pt x="138812" y="32128"/>
                  <a:pt x="138812" y="32128"/>
                  <a:pt x="138364" y="31681"/>
                </a:cubicBezTo>
                <a:cubicBezTo>
                  <a:pt x="138364" y="31681"/>
                  <a:pt x="138364" y="31681"/>
                  <a:pt x="138364" y="31233"/>
                </a:cubicBezTo>
                <a:cubicBezTo>
                  <a:pt x="138364" y="30785"/>
                  <a:pt x="137917" y="30785"/>
                  <a:pt x="137469" y="30785"/>
                </a:cubicBezTo>
                <a:cubicBezTo>
                  <a:pt x="137469" y="30785"/>
                  <a:pt x="137469" y="30785"/>
                  <a:pt x="137469" y="30785"/>
                </a:cubicBezTo>
                <a:lnTo>
                  <a:pt x="137469" y="30785"/>
                </a:lnTo>
                <a:cubicBezTo>
                  <a:pt x="137469" y="30785"/>
                  <a:pt x="137469" y="30785"/>
                  <a:pt x="137469" y="30785"/>
                </a:cubicBezTo>
                <a:lnTo>
                  <a:pt x="70302" y="336"/>
                </a:lnTo>
                <a:cubicBezTo>
                  <a:pt x="69854" y="-112"/>
                  <a:pt x="68958" y="-112"/>
                  <a:pt x="68511" y="336"/>
                </a:cubicBezTo>
                <a:lnTo>
                  <a:pt x="1343" y="30785"/>
                </a:lnTo>
                <a:cubicBezTo>
                  <a:pt x="1343" y="30785"/>
                  <a:pt x="1343" y="30785"/>
                  <a:pt x="1343" y="30785"/>
                </a:cubicBezTo>
                <a:lnTo>
                  <a:pt x="1343" y="30785"/>
                </a:lnTo>
                <a:cubicBezTo>
                  <a:pt x="1343" y="30785"/>
                  <a:pt x="1343" y="30785"/>
                  <a:pt x="1343" y="30785"/>
                </a:cubicBezTo>
                <a:cubicBezTo>
                  <a:pt x="895" y="30785"/>
                  <a:pt x="895" y="31233"/>
                  <a:pt x="448" y="31233"/>
                </a:cubicBezTo>
                <a:cubicBezTo>
                  <a:pt x="448" y="31233"/>
                  <a:pt x="448" y="31233"/>
                  <a:pt x="448" y="31681"/>
                </a:cubicBezTo>
                <a:cubicBezTo>
                  <a:pt x="448" y="32128"/>
                  <a:pt x="0" y="32128"/>
                  <a:pt x="0" y="32576"/>
                </a:cubicBezTo>
                <a:cubicBezTo>
                  <a:pt x="0" y="32576"/>
                  <a:pt x="0" y="32576"/>
                  <a:pt x="0" y="32576"/>
                </a:cubicBezTo>
                <a:cubicBezTo>
                  <a:pt x="0" y="32576"/>
                  <a:pt x="0" y="32576"/>
                  <a:pt x="0" y="32576"/>
                </a:cubicBezTo>
                <a:cubicBezTo>
                  <a:pt x="0" y="32576"/>
                  <a:pt x="0" y="32576"/>
                  <a:pt x="0" y="32576"/>
                </a:cubicBezTo>
                <a:lnTo>
                  <a:pt x="0" y="115863"/>
                </a:lnTo>
                <a:cubicBezTo>
                  <a:pt x="0" y="115863"/>
                  <a:pt x="0" y="115863"/>
                  <a:pt x="0" y="116311"/>
                </a:cubicBezTo>
                <a:cubicBezTo>
                  <a:pt x="0" y="116311"/>
                  <a:pt x="0" y="116759"/>
                  <a:pt x="0" y="116759"/>
                </a:cubicBezTo>
                <a:cubicBezTo>
                  <a:pt x="0" y="116759"/>
                  <a:pt x="0" y="117207"/>
                  <a:pt x="0" y="117207"/>
                </a:cubicBezTo>
                <a:cubicBezTo>
                  <a:pt x="0" y="117207"/>
                  <a:pt x="0" y="117655"/>
                  <a:pt x="448" y="117655"/>
                </a:cubicBezTo>
                <a:cubicBezTo>
                  <a:pt x="448" y="117655"/>
                  <a:pt x="895" y="117655"/>
                  <a:pt x="895" y="118102"/>
                </a:cubicBezTo>
                <a:cubicBezTo>
                  <a:pt x="895" y="118102"/>
                  <a:pt x="895" y="118102"/>
                  <a:pt x="1343" y="118102"/>
                </a:cubicBezTo>
                <a:lnTo>
                  <a:pt x="68511" y="152582"/>
                </a:lnTo>
                <a:cubicBezTo>
                  <a:pt x="68511" y="152582"/>
                  <a:pt x="68511" y="152582"/>
                  <a:pt x="68511" y="152582"/>
                </a:cubicBezTo>
                <a:cubicBezTo>
                  <a:pt x="68958" y="152582"/>
                  <a:pt x="68958" y="153029"/>
                  <a:pt x="69406" y="153029"/>
                </a:cubicBezTo>
                <a:cubicBezTo>
                  <a:pt x="69854" y="153029"/>
                  <a:pt x="69854" y="153029"/>
                  <a:pt x="70302" y="152582"/>
                </a:cubicBezTo>
                <a:cubicBezTo>
                  <a:pt x="70302" y="152582"/>
                  <a:pt x="70302" y="152582"/>
                  <a:pt x="70302" y="152582"/>
                </a:cubicBezTo>
                <a:lnTo>
                  <a:pt x="137469" y="118102"/>
                </a:lnTo>
                <a:cubicBezTo>
                  <a:pt x="137469" y="118102"/>
                  <a:pt x="137469" y="118102"/>
                  <a:pt x="137917" y="118102"/>
                </a:cubicBezTo>
                <a:cubicBezTo>
                  <a:pt x="137917" y="118102"/>
                  <a:pt x="138364" y="118102"/>
                  <a:pt x="138364" y="117655"/>
                </a:cubicBezTo>
                <a:cubicBezTo>
                  <a:pt x="138364" y="117655"/>
                  <a:pt x="138364" y="117207"/>
                  <a:pt x="138812" y="117207"/>
                </a:cubicBezTo>
                <a:cubicBezTo>
                  <a:pt x="139260" y="117207"/>
                  <a:pt x="138812" y="116759"/>
                  <a:pt x="138812" y="116759"/>
                </a:cubicBezTo>
                <a:cubicBezTo>
                  <a:pt x="138812" y="116311"/>
                  <a:pt x="138812" y="116311"/>
                  <a:pt x="138812" y="115863"/>
                </a:cubicBezTo>
                <a:close/>
                <a:moveTo>
                  <a:pt x="4478" y="36158"/>
                </a:moveTo>
                <a:lnTo>
                  <a:pt x="67167" y="68846"/>
                </a:lnTo>
                <a:lnTo>
                  <a:pt x="67167" y="146313"/>
                </a:lnTo>
                <a:lnTo>
                  <a:pt x="4478" y="114073"/>
                </a:lnTo>
                <a:lnTo>
                  <a:pt x="4478" y="36158"/>
                </a:lnTo>
                <a:close/>
                <a:moveTo>
                  <a:pt x="71645" y="68846"/>
                </a:moveTo>
                <a:lnTo>
                  <a:pt x="134335" y="36158"/>
                </a:lnTo>
                <a:lnTo>
                  <a:pt x="134335" y="114520"/>
                </a:lnTo>
                <a:lnTo>
                  <a:pt x="71645" y="146761"/>
                </a:lnTo>
                <a:lnTo>
                  <a:pt x="71645" y="68846"/>
                </a:lnTo>
                <a:close/>
                <a:moveTo>
                  <a:pt x="69406" y="4814"/>
                </a:moveTo>
                <a:lnTo>
                  <a:pt x="131648" y="33024"/>
                </a:lnTo>
                <a:lnTo>
                  <a:pt x="69406" y="65264"/>
                </a:lnTo>
                <a:lnTo>
                  <a:pt x="7164" y="33024"/>
                </a:lnTo>
                <a:lnTo>
                  <a:pt x="69406" y="4814"/>
                </a:lnTo>
                <a:close/>
              </a:path>
            </a:pathLst>
          </a:custGeom>
          <a:solidFill>
            <a:srgbClr val="231F20"/>
          </a:solidFill>
          <a:ln w="4474" cap="flat">
            <a:noFill/>
            <a:prstDash val="solid"/>
            <a:miter/>
          </a:ln>
        </p:spPr>
        <p:txBody>
          <a:bodyPr rtlCol="0" anchor="ctr"/>
          <a:lstStyle/>
          <a:p>
            <a:endParaRPr lang="en-US"/>
          </a:p>
        </p:txBody>
      </p:sp>
      <p:grpSp>
        <p:nvGrpSpPr>
          <p:cNvPr id="4353" name="Group 4352">
            <a:extLst>
              <a:ext uri="{FF2B5EF4-FFF2-40B4-BE49-F238E27FC236}">
                <a16:creationId xmlns:a16="http://schemas.microsoft.com/office/drawing/2014/main" id="{5AA74CF8-7D3A-44E6-96B1-FF963AE78043}"/>
              </a:ext>
              <a:ext uri="{C183D7F6-B498-43B3-948B-1728B52AA6E4}">
                <adec:decorative xmlns:adec="http://schemas.microsoft.com/office/drawing/2017/decorative" val="1"/>
              </a:ext>
            </a:extLst>
          </p:cNvPr>
          <p:cNvGrpSpPr>
            <a:grpSpLocks noChangeAspect="1"/>
          </p:cNvGrpSpPr>
          <p:nvPr/>
        </p:nvGrpSpPr>
        <p:grpSpPr>
          <a:xfrm>
            <a:off x="3706249" y="3934589"/>
            <a:ext cx="143290" cy="152246"/>
            <a:chOff x="3747003" y="3199150"/>
            <a:chExt cx="143290" cy="152246"/>
          </a:xfrm>
        </p:grpSpPr>
        <p:sp>
          <p:nvSpPr>
            <p:cNvPr id="4354" name="Freeform: Shape 4353">
              <a:extLst>
                <a:ext uri="{FF2B5EF4-FFF2-40B4-BE49-F238E27FC236}">
                  <a16:creationId xmlns:a16="http://schemas.microsoft.com/office/drawing/2014/main" id="{C496FD46-5C59-40B0-AB65-699FE0737FDE}"/>
                </a:ext>
              </a:extLst>
            </p:cNvPr>
            <p:cNvSpPr/>
            <p:nvPr/>
          </p:nvSpPr>
          <p:spPr>
            <a:xfrm>
              <a:off x="3747003" y="3199150"/>
              <a:ext cx="134335" cy="152246"/>
            </a:xfrm>
            <a:custGeom>
              <a:avLst/>
              <a:gdLst>
                <a:gd name="connsiteX0" fmla="*/ 137917 w 134334"/>
                <a:gd name="connsiteY0" fmla="*/ 38397 h 152245"/>
                <a:gd name="connsiteX1" fmla="*/ 137917 w 134334"/>
                <a:gd name="connsiteY1" fmla="*/ 38397 h 152245"/>
                <a:gd name="connsiteX2" fmla="*/ 137021 w 134334"/>
                <a:gd name="connsiteY2" fmla="*/ 37502 h 152245"/>
                <a:gd name="connsiteX3" fmla="*/ 137021 w 134334"/>
                <a:gd name="connsiteY3" fmla="*/ 37502 h 152245"/>
                <a:gd name="connsiteX4" fmla="*/ 69854 w 134334"/>
                <a:gd name="connsiteY4" fmla="*/ 336 h 152245"/>
                <a:gd name="connsiteX5" fmla="*/ 67615 w 134334"/>
                <a:gd name="connsiteY5" fmla="*/ 336 h 152245"/>
                <a:gd name="connsiteX6" fmla="*/ 448 w 134334"/>
                <a:gd name="connsiteY6" fmla="*/ 37502 h 152245"/>
                <a:gd name="connsiteX7" fmla="*/ 448 w 134334"/>
                <a:gd name="connsiteY7" fmla="*/ 37502 h 152245"/>
                <a:gd name="connsiteX8" fmla="*/ 448 w 134334"/>
                <a:gd name="connsiteY8" fmla="*/ 37502 h 152245"/>
                <a:gd name="connsiteX9" fmla="*/ 448 w 134334"/>
                <a:gd name="connsiteY9" fmla="*/ 37502 h 152245"/>
                <a:gd name="connsiteX10" fmla="*/ 0 w 134334"/>
                <a:gd name="connsiteY10" fmla="*/ 37949 h 152245"/>
                <a:gd name="connsiteX11" fmla="*/ 0 w 134334"/>
                <a:gd name="connsiteY11" fmla="*/ 38397 h 152245"/>
                <a:gd name="connsiteX12" fmla="*/ 0 w 134334"/>
                <a:gd name="connsiteY12" fmla="*/ 39293 h 152245"/>
                <a:gd name="connsiteX13" fmla="*/ 0 w 134334"/>
                <a:gd name="connsiteY13" fmla="*/ 39293 h 152245"/>
                <a:gd name="connsiteX14" fmla="*/ 0 w 134334"/>
                <a:gd name="connsiteY14" fmla="*/ 113177 h 152245"/>
                <a:gd name="connsiteX15" fmla="*/ 1343 w 134334"/>
                <a:gd name="connsiteY15" fmla="*/ 114968 h 152245"/>
                <a:gd name="connsiteX16" fmla="*/ 68511 w 134334"/>
                <a:gd name="connsiteY16" fmla="*/ 152134 h 152245"/>
                <a:gd name="connsiteX17" fmla="*/ 69406 w 134334"/>
                <a:gd name="connsiteY17" fmla="*/ 152582 h 152245"/>
                <a:gd name="connsiteX18" fmla="*/ 69406 w 134334"/>
                <a:gd name="connsiteY18" fmla="*/ 152582 h 152245"/>
                <a:gd name="connsiteX19" fmla="*/ 69406 w 134334"/>
                <a:gd name="connsiteY19" fmla="*/ 152582 h 152245"/>
                <a:gd name="connsiteX20" fmla="*/ 70302 w 134334"/>
                <a:gd name="connsiteY20" fmla="*/ 152134 h 152245"/>
                <a:gd name="connsiteX21" fmla="*/ 83735 w 134334"/>
                <a:gd name="connsiteY21" fmla="*/ 144969 h 152245"/>
                <a:gd name="connsiteX22" fmla="*/ 84631 w 134334"/>
                <a:gd name="connsiteY22" fmla="*/ 141835 h 152245"/>
                <a:gd name="connsiteX23" fmla="*/ 81496 w 134334"/>
                <a:gd name="connsiteY23" fmla="*/ 140939 h 152245"/>
                <a:gd name="connsiteX24" fmla="*/ 71197 w 134334"/>
                <a:gd name="connsiteY24" fmla="*/ 146313 h 152245"/>
                <a:gd name="connsiteX25" fmla="*/ 71197 w 134334"/>
                <a:gd name="connsiteY25" fmla="*/ 77354 h 152245"/>
                <a:gd name="connsiteX26" fmla="*/ 133887 w 134334"/>
                <a:gd name="connsiteY26" fmla="*/ 42875 h 152245"/>
                <a:gd name="connsiteX27" fmla="*/ 133887 w 134334"/>
                <a:gd name="connsiteY27" fmla="*/ 96609 h 152245"/>
                <a:gd name="connsiteX28" fmla="*/ 136126 w 134334"/>
                <a:gd name="connsiteY28" fmla="*/ 98848 h 152245"/>
                <a:gd name="connsiteX29" fmla="*/ 138364 w 134334"/>
                <a:gd name="connsiteY29" fmla="*/ 96609 h 152245"/>
                <a:gd name="connsiteX30" fmla="*/ 138364 w 134334"/>
                <a:gd name="connsiteY30" fmla="*/ 39293 h 152245"/>
                <a:gd name="connsiteX31" fmla="*/ 137917 w 134334"/>
                <a:gd name="connsiteY31" fmla="*/ 38397 h 152245"/>
                <a:gd name="connsiteX32" fmla="*/ 66272 w 134334"/>
                <a:gd name="connsiteY32" fmla="*/ 146313 h 152245"/>
                <a:gd name="connsiteX33" fmla="*/ 3582 w 134334"/>
                <a:gd name="connsiteY33" fmla="*/ 111834 h 152245"/>
                <a:gd name="connsiteX34" fmla="*/ 3582 w 134334"/>
                <a:gd name="connsiteY34" fmla="*/ 42875 h 152245"/>
                <a:gd name="connsiteX35" fmla="*/ 66272 w 134334"/>
                <a:gd name="connsiteY35" fmla="*/ 77354 h 152245"/>
                <a:gd name="connsiteX36" fmla="*/ 66272 w 134334"/>
                <a:gd name="connsiteY36" fmla="*/ 146313 h 152245"/>
                <a:gd name="connsiteX37" fmla="*/ 68511 w 134334"/>
                <a:gd name="connsiteY37" fmla="*/ 73772 h 152245"/>
                <a:gd name="connsiteX38" fmla="*/ 5821 w 134334"/>
                <a:gd name="connsiteY38" fmla="*/ 39293 h 152245"/>
                <a:gd name="connsiteX39" fmla="*/ 68511 w 134334"/>
                <a:gd name="connsiteY39" fmla="*/ 4814 h 152245"/>
                <a:gd name="connsiteX40" fmla="*/ 131200 w 134334"/>
                <a:gd name="connsiteY40" fmla="*/ 39293 h 152245"/>
                <a:gd name="connsiteX41" fmla="*/ 68511 w 134334"/>
                <a:gd name="connsiteY41" fmla="*/ 7377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4334" h="152245">
                  <a:moveTo>
                    <a:pt x="137917" y="38397"/>
                  </a:moveTo>
                  <a:cubicBezTo>
                    <a:pt x="137917" y="37949"/>
                    <a:pt x="137917" y="37949"/>
                    <a:pt x="137917" y="38397"/>
                  </a:cubicBezTo>
                  <a:cubicBezTo>
                    <a:pt x="137469" y="37949"/>
                    <a:pt x="137469" y="37949"/>
                    <a:pt x="137021" y="37502"/>
                  </a:cubicBezTo>
                  <a:cubicBezTo>
                    <a:pt x="137021" y="37502"/>
                    <a:pt x="137021" y="37502"/>
                    <a:pt x="137021" y="37502"/>
                  </a:cubicBezTo>
                  <a:lnTo>
                    <a:pt x="69854" y="336"/>
                  </a:lnTo>
                  <a:cubicBezTo>
                    <a:pt x="69406" y="-112"/>
                    <a:pt x="68511" y="-112"/>
                    <a:pt x="67615" y="336"/>
                  </a:cubicBezTo>
                  <a:lnTo>
                    <a:pt x="448" y="37502"/>
                  </a:lnTo>
                  <a:cubicBezTo>
                    <a:pt x="448" y="37502"/>
                    <a:pt x="448" y="37502"/>
                    <a:pt x="448" y="37502"/>
                  </a:cubicBezTo>
                  <a:cubicBezTo>
                    <a:pt x="448" y="37502"/>
                    <a:pt x="448" y="37502"/>
                    <a:pt x="448" y="37502"/>
                  </a:cubicBezTo>
                  <a:cubicBezTo>
                    <a:pt x="448" y="37502"/>
                    <a:pt x="448" y="37502"/>
                    <a:pt x="448" y="37502"/>
                  </a:cubicBezTo>
                  <a:cubicBezTo>
                    <a:pt x="0" y="37502"/>
                    <a:pt x="0" y="37949"/>
                    <a:pt x="0" y="37949"/>
                  </a:cubicBezTo>
                  <a:cubicBezTo>
                    <a:pt x="0" y="37949"/>
                    <a:pt x="0" y="37949"/>
                    <a:pt x="0" y="38397"/>
                  </a:cubicBezTo>
                  <a:cubicBezTo>
                    <a:pt x="0" y="38845"/>
                    <a:pt x="0" y="38845"/>
                    <a:pt x="0" y="39293"/>
                  </a:cubicBezTo>
                  <a:cubicBezTo>
                    <a:pt x="0" y="39293"/>
                    <a:pt x="0" y="39293"/>
                    <a:pt x="0" y="39293"/>
                  </a:cubicBezTo>
                  <a:lnTo>
                    <a:pt x="0" y="113177"/>
                  </a:lnTo>
                  <a:cubicBezTo>
                    <a:pt x="0" y="114073"/>
                    <a:pt x="448" y="114968"/>
                    <a:pt x="1343" y="114968"/>
                  </a:cubicBezTo>
                  <a:lnTo>
                    <a:pt x="68511" y="152134"/>
                  </a:lnTo>
                  <a:cubicBezTo>
                    <a:pt x="68958" y="152134"/>
                    <a:pt x="69406" y="152582"/>
                    <a:pt x="69406" y="152582"/>
                  </a:cubicBezTo>
                  <a:lnTo>
                    <a:pt x="69406" y="152582"/>
                  </a:lnTo>
                  <a:lnTo>
                    <a:pt x="69406" y="152582"/>
                  </a:lnTo>
                  <a:cubicBezTo>
                    <a:pt x="69854" y="152582"/>
                    <a:pt x="70302" y="152582"/>
                    <a:pt x="70302" y="152134"/>
                  </a:cubicBezTo>
                  <a:lnTo>
                    <a:pt x="83735" y="144969"/>
                  </a:lnTo>
                  <a:cubicBezTo>
                    <a:pt x="84631" y="144522"/>
                    <a:pt x="85079" y="143178"/>
                    <a:pt x="84631" y="141835"/>
                  </a:cubicBezTo>
                  <a:cubicBezTo>
                    <a:pt x="84183" y="140939"/>
                    <a:pt x="82840" y="140491"/>
                    <a:pt x="81496" y="140939"/>
                  </a:cubicBezTo>
                  <a:lnTo>
                    <a:pt x="71197" y="146313"/>
                  </a:lnTo>
                  <a:lnTo>
                    <a:pt x="71197" y="77354"/>
                  </a:lnTo>
                  <a:lnTo>
                    <a:pt x="133887" y="42875"/>
                  </a:lnTo>
                  <a:lnTo>
                    <a:pt x="133887" y="96609"/>
                  </a:lnTo>
                  <a:cubicBezTo>
                    <a:pt x="133887" y="97952"/>
                    <a:pt x="134782" y="98848"/>
                    <a:pt x="136126" y="98848"/>
                  </a:cubicBezTo>
                  <a:cubicBezTo>
                    <a:pt x="137469" y="98848"/>
                    <a:pt x="138364" y="97952"/>
                    <a:pt x="138364" y="96609"/>
                  </a:cubicBezTo>
                  <a:lnTo>
                    <a:pt x="138364" y="39293"/>
                  </a:lnTo>
                  <a:cubicBezTo>
                    <a:pt x="137917" y="38845"/>
                    <a:pt x="137917" y="38397"/>
                    <a:pt x="137917" y="38397"/>
                  </a:cubicBezTo>
                  <a:close/>
                  <a:moveTo>
                    <a:pt x="66272" y="146313"/>
                  </a:moveTo>
                  <a:lnTo>
                    <a:pt x="3582" y="111834"/>
                  </a:lnTo>
                  <a:lnTo>
                    <a:pt x="3582" y="42875"/>
                  </a:lnTo>
                  <a:lnTo>
                    <a:pt x="66272" y="77354"/>
                  </a:lnTo>
                  <a:lnTo>
                    <a:pt x="66272" y="146313"/>
                  </a:lnTo>
                  <a:close/>
                  <a:moveTo>
                    <a:pt x="68511" y="73772"/>
                  </a:moveTo>
                  <a:lnTo>
                    <a:pt x="5821" y="39293"/>
                  </a:lnTo>
                  <a:lnTo>
                    <a:pt x="68511" y="4814"/>
                  </a:lnTo>
                  <a:lnTo>
                    <a:pt x="131200" y="39293"/>
                  </a:lnTo>
                  <a:lnTo>
                    <a:pt x="68511" y="73772"/>
                  </a:lnTo>
                  <a:close/>
                </a:path>
              </a:pathLst>
            </a:custGeom>
            <a:solidFill>
              <a:srgbClr val="231F20"/>
            </a:solidFill>
            <a:ln w="4474" cap="flat">
              <a:noFill/>
              <a:prstDash val="solid"/>
              <a:miter/>
            </a:ln>
          </p:spPr>
          <p:txBody>
            <a:bodyPr rtlCol="0" anchor="ctr"/>
            <a:lstStyle/>
            <a:p>
              <a:endParaRPr lang="en-US"/>
            </a:p>
          </p:txBody>
        </p:sp>
        <p:sp>
          <p:nvSpPr>
            <p:cNvPr id="4355" name="Freeform: Shape 4354">
              <a:extLst>
                <a:ext uri="{FF2B5EF4-FFF2-40B4-BE49-F238E27FC236}">
                  <a16:creationId xmlns:a16="http://schemas.microsoft.com/office/drawing/2014/main" id="{0A32A507-4D37-48BA-B360-779DB4180007}"/>
                </a:ext>
              </a:extLst>
            </p:cNvPr>
            <p:cNvSpPr/>
            <p:nvPr/>
          </p:nvSpPr>
          <p:spPr>
            <a:xfrm>
              <a:off x="3841037" y="3293185"/>
              <a:ext cx="49256" cy="53734"/>
            </a:xfrm>
            <a:custGeom>
              <a:avLst/>
              <a:gdLst>
                <a:gd name="connsiteX0" fmla="*/ 10747 w 49255"/>
                <a:gd name="connsiteY0" fmla="*/ 58100 h 53733"/>
                <a:gd name="connsiteX1" fmla="*/ 10747 w 49255"/>
                <a:gd name="connsiteY1" fmla="*/ 58100 h 53733"/>
                <a:gd name="connsiteX2" fmla="*/ 8508 w 49255"/>
                <a:gd name="connsiteY2" fmla="*/ 56308 h 53733"/>
                <a:gd name="connsiteX3" fmla="*/ 0 w 49255"/>
                <a:gd name="connsiteY3" fmla="*/ 2575 h 53733"/>
                <a:gd name="connsiteX4" fmla="*/ 895 w 49255"/>
                <a:gd name="connsiteY4" fmla="*/ 336 h 53733"/>
                <a:gd name="connsiteX5" fmla="*/ 3134 w 49255"/>
                <a:gd name="connsiteY5" fmla="*/ 336 h 53733"/>
                <a:gd name="connsiteX6" fmla="*/ 49704 w 49255"/>
                <a:gd name="connsiteY6" fmla="*/ 28098 h 53733"/>
                <a:gd name="connsiteX7" fmla="*/ 50599 w 49255"/>
                <a:gd name="connsiteY7" fmla="*/ 30337 h 53733"/>
                <a:gd name="connsiteX8" fmla="*/ 48808 w 49255"/>
                <a:gd name="connsiteY8" fmla="*/ 32128 h 53733"/>
                <a:gd name="connsiteX9" fmla="*/ 23732 w 49255"/>
                <a:gd name="connsiteY9" fmla="*/ 34367 h 53733"/>
                <a:gd name="connsiteX10" fmla="*/ 12538 w 49255"/>
                <a:gd name="connsiteY10" fmla="*/ 56756 h 53733"/>
                <a:gd name="connsiteX11" fmla="*/ 10747 w 49255"/>
                <a:gd name="connsiteY11" fmla="*/ 58100 h 53733"/>
                <a:gd name="connsiteX12" fmla="*/ 4925 w 49255"/>
                <a:gd name="connsiteY12" fmla="*/ 6605 h 53733"/>
                <a:gd name="connsiteX13" fmla="*/ 11642 w 49255"/>
                <a:gd name="connsiteY13" fmla="*/ 48696 h 53733"/>
                <a:gd name="connsiteX14" fmla="*/ 20150 w 49255"/>
                <a:gd name="connsiteY14" fmla="*/ 31680 h 53733"/>
                <a:gd name="connsiteX15" fmla="*/ 21941 w 49255"/>
                <a:gd name="connsiteY15" fmla="*/ 30337 h 53733"/>
                <a:gd name="connsiteX16" fmla="*/ 41196 w 49255"/>
                <a:gd name="connsiteY16" fmla="*/ 28546 h 53733"/>
                <a:gd name="connsiteX17" fmla="*/ 4925 w 49255"/>
                <a:gd name="connsiteY17" fmla="*/ 6605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55" h="53733">
                  <a:moveTo>
                    <a:pt x="10747" y="58100"/>
                  </a:moveTo>
                  <a:cubicBezTo>
                    <a:pt x="10747" y="58100"/>
                    <a:pt x="10299" y="58100"/>
                    <a:pt x="10747" y="58100"/>
                  </a:cubicBezTo>
                  <a:cubicBezTo>
                    <a:pt x="9403" y="58100"/>
                    <a:pt x="8508" y="57204"/>
                    <a:pt x="8508" y="56308"/>
                  </a:cubicBezTo>
                  <a:lnTo>
                    <a:pt x="0" y="2575"/>
                  </a:lnTo>
                  <a:cubicBezTo>
                    <a:pt x="0" y="1679"/>
                    <a:pt x="448" y="783"/>
                    <a:pt x="895" y="336"/>
                  </a:cubicBezTo>
                  <a:cubicBezTo>
                    <a:pt x="1791" y="-112"/>
                    <a:pt x="2687" y="-112"/>
                    <a:pt x="3134" y="336"/>
                  </a:cubicBezTo>
                  <a:lnTo>
                    <a:pt x="49704" y="28098"/>
                  </a:lnTo>
                  <a:cubicBezTo>
                    <a:pt x="50599" y="28546"/>
                    <a:pt x="51047" y="29442"/>
                    <a:pt x="50599" y="30337"/>
                  </a:cubicBezTo>
                  <a:cubicBezTo>
                    <a:pt x="50599" y="31233"/>
                    <a:pt x="49704" y="32128"/>
                    <a:pt x="48808" y="32128"/>
                  </a:cubicBezTo>
                  <a:lnTo>
                    <a:pt x="23732" y="34367"/>
                  </a:lnTo>
                  <a:lnTo>
                    <a:pt x="12538" y="56756"/>
                  </a:lnTo>
                  <a:cubicBezTo>
                    <a:pt x="12090" y="57652"/>
                    <a:pt x="11642" y="58100"/>
                    <a:pt x="10747" y="58100"/>
                  </a:cubicBezTo>
                  <a:close/>
                  <a:moveTo>
                    <a:pt x="4925" y="6605"/>
                  </a:moveTo>
                  <a:lnTo>
                    <a:pt x="11642" y="48696"/>
                  </a:lnTo>
                  <a:lnTo>
                    <a:pt x="20150" y="31680"/>
                  </a:lnTo>
                  <a:cubicBezTo>
                    <a:pt x="20598" y="30785"/>
                    <a:pt x="21046" y="30337"/>
                    <a:pt x="21941" y="30337"/>
                  </a:cubicBezTo>
                  <a:lnTo>
                    <a:pt x="41196" y="28546"/>
                  </a:lnTo>
                  <a:lnTo>
                    <a:pt x="4925" y="6605"/>
                  </a:lnTo>
                  <a:close/>
                </a:path>
              </a:pathLst>
            </a:custGeom>
            <a:solidFill>
              <a:srgbClr val="231F20"/>
            </a:solidFill>
            <a:ln w="4474" cap="flat">
              <a:noFill/>
              <a:prstDash val="solid"/>
              <a:miter/>
            </a:ln>
          </p:spPr>
          <p:txBody>
            <a:bodyPr rtlCol="0" anchor="ctr"/>
            <a:lstStyle/>
            <a:p>
              <a:endParaRPr lang="en-US"/>
            </a:p>
          </p:txBody>
        </p:sp>
      </p:grpSp>
      <p:sp>
        <p:nvSpPr>
          <p:cNvPr id="4356" name="Freeform: Shape 4355">
            <a:extLst>
              <a:ext uri="{FF2B5EF4-FFF2-40B4-BE49-F238E27FC236}">
                <a16:creationId xmlns:a16="http://schemas.microsoft.com/office/drawing/2014/main" id="{C3EFBC91-079E-453A-98B8-61D6B7614D25}"/>
              </a:ext>
              <a:ext uri="{C183D7F6-B498-43B3-948B-1728B52AA6E4}">
                <adec:decorative xmlns:adec="http://schemas.microsoft.com/office/drawing/2017/decorative" val="1"/>
              </a:ext>
            </a:extLst>
          </p:cNvPr>
          <p:cNvSpPr>
            <a:spLocks noChangeAspect="1"/>
          </p:cNvSpPr>
          <p:nvPr/>
        </p:nvSpPr>
        <p:spPr>
          <a:xfrm>
            <a:off x="3969992" y="3934478"/>
            <a:ext cx="147768" cy="152246"/>
          </a:xfrm>
          <a:custGeom>
            <a:avLst/>
            <a:gdLst>
              <a:gd name="connsiteX0" fmla="*/ 151350 w 147767"/>
              <a:gd name="connsiteY0" fmla="*/ 110154 h 152245"/>
              <a:gd name="connsiteX1" fmla="*/ 151350 w 147767"/>
              <a:gd name="connsiteY1" fmla="*/ 109707 h 152245"/>
              <a:gd name="connsiteX2" fmla="*/ 151350 w 147767"/>
              <a:gd name="connsiteY2" fmla="*/ 109259 h 152245"/>
              <a:gd name="connsiteX3" fmla="*/ 151350 w 147767"/>
              <a:gd name="connsiteY3" fmla="*/ 108811 h 152245"/>
              <a:gd name="connsiteX4" fmla="*/ 151350 w 147767"/>
              <a:gd name="connsiteY4" fmla="*/ 108363 h 152245"/>
              <a:gd name="connsiteX5" fmla="*/ 77466 w 147767"/>
              <a:gd name="connsiteY5" fmla="*/ 896 h 152245"/>
              <a:gd name="connsiteX6" fmla="*/ 77466 w 147767"/>
              <a:gd name="connsiteY6" fmla="*/ 896 h 152245"/>
              <a:gd name="connsiteX7" fmla="*/ 75675 w 147767"/>
              <a:gd name="connsiteY7" fmla="*/ 0 h 152245"/>
              <a:gd name="connsiteX8" fmla="*/ 73884 w 147767"/>
              <a:gd name="connsiteY8" fmla="*/ 896 h 152245"/>
              <a:gd name="connsiteX9" fmla="*/ 73884 w 147767"/>
              <a:gd name="connsiteY9" fmla="*/ 896 h 152245"/>
              <a:gd name="connsiteX10" fmla="*/ 0 w 147767"/>
              <a:gd name="connsiteY10" fmla="*/ 108363 h 152245"/>
              <a:gd name="connsiteX11" fmla="*/ 0 w 147767"/>
              <a:gd name="connsiteY11" fmla="*/ 108811 h 152245"/>
              <a:gd name="connsiteX12" fmla="*/ 0 w 147767"/>
              <a:gd name="connsiteY12" fmla="*/ 109259 h 152245"/>
              <a:gd name="connsiteX13" fmla="*/ 0 w 147767"/>
              <a:gd name="connsiteY13" fmla="*/ 109707 h 152245"/>
              <a:gd name="connsiteX14" fmla="*/ 0 w 147767"/>
              <a:gd name="connsiteY14" fmla="*/ 110154 h 152245"/>
              <a:gd name="connsiteX15" fmla="*/ 0 w 147767"/>
              <a:gd name="connsiteY15" fmla="*/ 110154 h 152245"/>
              <a:gd name="connsiteX16" fmla="*/ 0 w 147767"/>
              <a:gd name="connsiteY16" fmla="*/ 110154 h 152245"/>
              <a:gd name="connsiteX17" fmla="*/ 0 w 147767"/>
              <a:gd name="connsiteY17" fmla="*/ 110602 h 152245"/>
              <a:gd name="connsiteX18" fmla="*/ 0 w 147767"/>
              <a:gd name="connsiteY18" fmla="*/ 110602 h 152245"/>
              <a:gd name="connsiteX19" fmla="*/ 448 w 147767"/>
              <a:gd name="connsiteY19" fmla="*/ 111498 h 152245"/>
              <a:gd name="connsiteX20" fmla="*/ 448 w 147767"/>
              <a:gd name="connsiteY20" fmla="*/ 111498 h 152245"/>
              <a:gd name="connsiteX21" fmla="*/ 448 w 147767"/>
              <a:gd name="connsiteY21" fmla="*/ 111498 h 152245"/>
              <a:gd name="connsiteX22" fmla="*/ 74332 w 147767"/>
              <a:gd name="connsiteY22" fmla="*/ 151798 h 152245"/>
              <a:gd name="connsiteX23" fmla="*/ 74332 w 147767"/>
              <a:gd name="connsiteY23" fmla="*/ 151798 h 152245"/>
              <a:gd name="connsiteX24" fmla="*/ 75227 w 147767"/>
              <a:gd name="connsiteY24" fmla="*/ 152246 h 152245"/>
              <a:gd name="connsiteX25" fmla="*/ 76123 w 147767"/>
              <a:gd name="connsiteY25" fmla="*/ 151798 h 152245"/>
              <a:gd name="connsiteX26" fmla="*/ 76123 w 147767"/>
              <a:gd name="connsiteY26" fmla="*/ 151798 h 152245"/>
              <a:gd name="connsiteX27" fmla="*/ 150007 w 147767"/>
              <a:gd name="connsiteY27" fmla="*/ 111498 h 152245"/>
              <a:gd name="connsiteX28" fmla="*/ 150007 w 147767"/>
              <a:gd name="connsiteY28" fmla="*/ 111498 h 152245"/>
              <a:gd name="connsiteX29" fmla="*/ 150007 w 147767"/>
              <a:gd name="connsiteY29" fmla="*/ 111498 h 152245"/>
              <a:gd name="connsiteX30" fmla="*/ 150455 w 147767"/>
              <a:gd name="connsiteY30" fmla="*/ 110602 h 152245"/>
              <a:gd name="connsiteX31" fmla="*/ 150455 w 147767"/>
              <a:gd name="connsiteY31" fmla="*/ 110602 h 152245"/>
              <a:gd name="connsiteX32" fmla="*/ 151350 w 147767"/>
              <a:gd name="connsiteY32" fmla="*/ 110154 h 152245"/>
              <a:gd name="connsiteX33" fmla="*/ 151350 w 147767"/>
              <a:gd name="connsiteY33" fmla="*/ 110154 h 152245"/>
              <a:gd name="connsiteX34" fmla="*/ 151350 w 147767"/>
              <a:gd name="connsiteY34" fmla="*/ 110154 h 152245"/>
              <a:gd name="connsiteX35" fmla="*/ 72988 w 147767"/>
              <a:gd name="connsiteY35" fmla="*/ 73436 h 152245"/>
              <a:gd name="connsiteX36" fmla="*/ 8060 w 147767"/>
              <a:gd name="connsiteY36" fmla="*/ 104333 h 152245"/>
              <a:gd name="connsiteX37" fmla="*/ 72988 w 147767"/>
              <a:gd name="connsiteY37" fmla="*/ 9851 h 152245"/>
              <a:gd name="connsiteX38" fmla="*/ 72988 w 147767"/>
              <a:gd name="connsiteY38" fmla="*/ 73436 h 152245"/>
              <a:gd name="connsiteX39" fmla="*/ 72988 w 147767"/>
              <a:gd name="connsiteY39" fmla="*/ 78362 h 152245"/>
              <a:gd name="connsiteX40" fmla="*/ 72988 w 147767"/>
              <a:gd name="connsiteY40" fmla="*/ 146425 h 152245"/>
              <a:gd name="connsiteX41" fmla="*/ 6269 w 147767"/>
              <a:gd name="connsiteY41" fmla="*/ 110154 h 152245"/>
              <a:gd name="connsiteX42" fmla="*/ 72988 w 147767"/>
              <a:gd name="connsiteY42" fmla="*/ 78362 h 152245"/>
              <a:gd name="connsiteX43" fmla="*/ 77466 w 147767"/>
              <a:gd name="connsiteY43" fmla="*/ 78362 h 152245"/>
              <a:gd name="connsiteX44" fmla="*/ 144186 w 147767"/>
              <a:gd name="connsiteY44" fmla="*/ 109707 h 152245"/>
              <a:gd name="connsiteX45" fmla="*/ 77466 w 147767"/>
              <a:gd name="connsiteY45" fmla="*/ 145977 h 152245"/>
              <a:gd name="connsiteX46" fmla="*/ 77466 w 147767"/>
              <a:gd name="connsiteY46" fmla="*/ 78362 h 152245"/>
              <a:gd name="connsiteX47" fmla="*/ 77466 w 147767"/>
              <a:gd name="connsiteY47" fmla="*/ 73436 h 152245"/>
              <a:gd name="connsiteX48" fmla="*/ 77466 w 147767"/>
              <a:gd name="connsiteY48" fmla="*/ 9403 h 152245"/>
              <a:gd name="connsiteX49" fmla="*/ 142395 w 147767"/>
              <a:gd name="connsiteY49" fmla="*/ 103885 h 152245"/>
              <a:gd name="connsiteX50" fmla="*/ 77466 w 147767"/>
              <a:gd name="connsiteY50" fmla="*/ 73436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47767" h="152245">
                <a:moveTo>
                  <a:pt x="151350" y="110154"/>
                </a:moveTo>
                <a:cubicBezTo>
                  <a:pt x="151350" y="110154"/>
                  <a:pt x="151350" y="109707"/>
                  <a:pt x="151350" y="109707"/>
                </a:cubicBezTo>
                <a:cubicBezTo>
                  <a:pt x="151350" y="109707"/>
                  <a:pt x="151350" y="109259"/>
                  <a:pt x="151350" y="109259"/>
                </a:cubicBezTo>
                <a:cubicBezTo>
                  <a:pt x="151350" y="109259"/>
                  <a:pt x="151350" y="108811"/>
                  <a:pt x="151350" y="108811"/>
                </a:cubicBezTo>
                <a:cubicBezTo>
                  <a:pt x="151350" y="108811"/>
                  <a:pt x="151350" y="108811"/>
                  <a:pt x="151350" y="108363"/>
                </a:cubicBezTo>
                <a:lnTo>
                  <a:pt x="77466" y="896"/>
                </a:lnTo>
                <a:cubicBezTo>
                  <a:pt x="77466" y="896"/>
                  <a:pt x="77466" y="896"/>
                  <a:pt x="77466" y="896"/>
                </a:cubicBezTo>
                <a:cubicBezTo>
                  <a:pt x="77019" y="448"/>
                  <a:pt x="76571" y="0"/>
                  <a:pt x="75675" y="0"/>
                </a:cubicBezTo>
                <a:cubicBezTo>
                  <a:pt x="74780" y="0"/>
                  <a:pt x="74332" y="448"/>
                  <a:pt x="73884" y="896"/>
                </a:cubicBezTo>
                <a:cubicBezTo>
                  <a:pt x="73884" y="896"/>
                  <a:pt x="73884" y="896"/>
                  <a:pt x="73884" y="896"/>
                </a:cubicBezTo>
                <a:lnTo>
                  <a:pt x="0" y="108363"/>
                </a:lnTo>
                <a:cubicBezTo>
                  <a:pt x="0" y="108363"/>
                  <a:pt x="0" y="108363"/>
                  <a:pt x="0" y="108811"/>
                </a:cubicBezTo>
                <a:cubicBezTo>
                  <a:pt x="0" y="108811"/>
                  <a:pt x="0" y="109259"/>
                  <a:pt x="0" y="109259"/>
                </a:cubicBezTo>
                <a:cubicBezTo>
                  <a:pt x="0" y="109259"/>
                  <a:pt x="0" y="109707"/>
                  <a:pt x="0" y="109707"/>
                </a:cubicBezTo>
                <a:cubicBezTo>
                  <a:pt x="0" y="109707"/>
                  <a:pt x="0" y="110154"/>
                  <a:pt x="0" y="110154"/>
                </a:cubicBezTo>
                <a:cubicBezTo>
                  <a:pt x="0" y="110154"/>
                  <a:pt x="0" y="110154"/>
                  <a:pt x="0" y="110154"/>
                </a:cubicBezTo>
                <a:cubicBezTo>
                  <a:pt x="0" y="110154"/>
                  <a:pt x="0" y="110154"/>
                  <a:pt x="0" y="110154"/>
                </a:cubicBezTo>
                <a:cubicBezTo>
                  <a:pt x="0" y="110154"/>
                  <a:pt x="0" y="110154"/>
                  <a:pt x="0" y="110602"/>
                </a:cubicBezTo>
                <a:cubicBezTo>
                  <a:pt x="0" y="110602"/>
                  <a:pt x="0" y="110602"/>
                  <a:pt x="0" y="110602"/>
                </a:cubicBezTo>
                <a:cubicBezTo>
                  <a:pt x="0" y="111050"/>
                  <a:pt x="448" y="111050"/>
                  <a:pt x="448" y="111498"/>
                </a:cubicBezTo>
                <a:cubicBezTo>
                  <a:pt x="448" y="111498"/>
                  <a:pt x="448" y="111498"/>
                  <a:pt x="448" y="111498"/>
                </a:cubicBezTo>
                <a:cubicBezTo>
                  <a:pt x="448" y="111498"/>
                  <a:pt x="448" y="111498"/>
                  <a:pt x="448" y="111498"/>
                </a:cubicBezTo>
                <a:lnTo>
                  <a:pt x="74332" y="151798"/>
                </a:lnTo>
                <a:cubicBezTo>
                  <a:pt x="74332" y="151798"/>
                  <a:pt x="74332" y="151798"/>
                  <a:pt x="74332" y="151798"/>
                </a:cubicBezTo>
                <a:cubicBezTo>
                  <a:pt x="74780" y="151798"/>
                  <a:pt x="74780" y="152246"/>
                  <a:pt x="75227" y="152246"/>
                </a:cubicBezTo>
                <a:cubicBezTo>
                  <a:pt x="75675" y="152246"/>
                  <a:pt x="76123" y="152246"/>
                  <a:pt x="76123" y="151798"/>
                </a:cubicBezTo>
                <a:cubicBezTo>
                  <a:pt x="76123" y="151798"/>
                  <a:pt x="76123" y="151798"/>
                  <a:pt x="76123" y="151798"/>
                </a:cubicBezTo>
                <a:lnTo>
                  <a:pt x="150007" y="111498"/>
                </a:lnTo>
                <a:cubicBezTo>
                  <a:pt x="150007" y="111498"/>
                  <a:pt x="150007" y="111498"/>
                  <a:pt x="150007" y="111498"/>
                </a:cubicBezTo>
                <a:cubicBezTo>
                  <a:pt x="150007" y="111498"/>
                  <a:pt x="150007" y="111498"/>
                  <a:pt x="150007" y="111498"/>
                </a:cubicBezTo>
                <a:cubicBezTo>
                  <a:pt x="150455" y="111498"/>
                  <a:pt x="150455" y="111050"/>
                  <a:pt x="150455" y="110602"/>
                </a:cubicBezTo>
                <a:cubicBezTo>
                  <a:pt x="150455" y="110602"/>
                  <a:pt x="150455" y="110602"/>
                  <a:pt x="150455" y="110602"/>
                </a:cubicBezTo>
                <a:cubicBezTo>
                  <a:pt x="150903" y="110602"/>
                  <a:pt x="150903" y="110602"/>
                  <a:pt x="151350" y="110154"/>
                </a:cubicBezTo>
                <a:cubicBezTo>
                  <a:pt x="150903" y="110602"/>
                  <a:pt x="150903" y="110602"/>
                  <a:pt x="151350" y="110154"/>
                </a:cubicBezTo>
                <a:cubicBezTo>
                  <a:pt x="151350" y="110154"/>
                  <a:pt x="151350" y="110154"/>
                  <a:pt x="151350" y="110154"/>
                </a:cubicBezTo>
                <a:close/>
                <a:moveTo>
                  <a:pt x="72988" y="73436"/>
                </a:moveTo>
                <a:lnTo>
                  <a:pt x="8060" y="104333"/>
                </a:lnTo>
                <a:lnTo>
                  <a:pt x="72988" y="9851"/>
                </a:lnTo>
                <a:lnTo>
                  <a:pt x="72988" y="73436"/>
                </a:lnTo>
                <a:close/>
                <a:moveTo>
                  <a:pt x="72988" y="78362"/>
                </a:moveTo>
                <a:lnTo>
                  <a:pt x="72988" y="146425"/>
                </a:lnTo>
                <a:lnTo>
                  <a:pt x="6269" y="110154"/>
                </a:lnTo>
                <a:lnTo>
                  <a:pt x="72988" y="78362"/>
                </a:lnTo>
                <a:close/>
                <a:moveTo>
                  <a:pt x="77466" y="78362"/>
                </a:moveTo>
                <a:lnTo>
                  <a:pt x="144186" y="109707"/>
                </a:lnTo>
                <a:lnTo>
                  <a:pt x="77466" y="145977"/>
                </a:lnTo>
                <a:lnTo>
                  <a:pt x="77466" y="78362"/>
                </a:lnTo>
                <a:close/>
                <a:moveTo>
                  <a:pt x="77466" y="73436"/>
                </a:moveTo>
                <a:lnTo>
                  <a:pt x="77466" y="9403"/>
                </a:lnTo>
                <a:lnTo>
                  <a:pt x="142395" y="103885"/>
                </a:lnTo>
                <a:lnTo>
                  <a:pt x="77466" y="73436"/>
                </a:lnTo>
                <a:close/>
              </a:path>
            </a:pathLst>
          </a:custGeom>
          <a:solidFill>
            <a:srgbClr val="231F20"/>
          </a:solidFill>
          <a:ln w="4474" cap="flat">
            <a:noFill/>
            <a:prstDash val="solid"/>
            <a:miter/>
          </a:ln>
        </p:spPr>
        <p:txBody>
          <a:bodyPr rtlCol="0" anchor="ctr"/>
          <a:lstStyle/>
          <a:p>
            <a:endParaRPr lang="en-US"/>
          </a:p>
        </p:txBody>
      </p:sp>
      <p:grpSp>
        <p:nvGrpSpPr>
          <p:cNvPr id="4357" name="Group 4356">
            <a:extLst>
              <a:ext uri="{FF2B5EF4-FFF2-40B4-BE49-F238E27FC236}">
                <a16:creationId xmlns:a16="http://schemas.microsoft.com/office/drawing/2014/main" id="{83B019B0-9A8B-4654-9354-12E72874D844}"/>
              </a:ext>
              <a:ext uri="{C183D7F6-B498-43B3-948B-1728B52AA6E4}">
                <adec:decorative xmlns:adec="http://schemas.microsoft.com/office/drawing/2017/decorative" val="1"/>
              </a:ext>
            </a:extLst>
          </p:cNvPr>
          <p:cNvGrpSpPr>
            <a:grpSpLocks noChangeAspect="1"/>
          </p:cNvGrpSpPr>
          <p:nvPr/>
        </p:nvGrpSpPr>
        <p:grpSpPr>
          <a:xfrm>
            <a:off x="5286471" y="3934589"/>
            <a:ext cx="125379" cy="147209"/>
            <a:chOff x="5327225" y="3199150"/>
            <a:chExt cx="125379" cy="147209"/>
          </a:xfrm>
        </p:grpSpPr>
        <p:sp>
          <p:nvSpPr>
            <p:cNvPr id="4358" name="Freeform: Shape 4357">
              <a:extLst>
                <a:ext uri="{FF2B5EF4-FFF2-40B4-BE49-F238E27FC236}">
                  <a16:creationId xmlns:a16="http://schemas.microsoft.com/office/drawing/2014/main" id="{E2027DD9-73B9-4971-9CC5-6310427325CD}"/>
                </a:ext>
              </a:extLst>
            </p:cNvPr>
            <p:cNvSpPr/>
            <p:nvPr/>
          </p:nvSpPr>
          <p:spPr>
            <a:xfrm>
              <a:off x="5327225" y="3199150"/>
              <a:ext cx="125379" cy="107468"/>
            </a:xfrm>
            <a:custGeom>
              <a:avLst/>
              <a:gdLst>
                <a:gd name="connsiteX0" fmla="*/ 124931 w 125378"/>
                <a:gd name="connsiteY0" fmla="*/ 42427 h 107467"/>
                <a:gd name="connsiteX1" fmla="*/ 124931 w 125378"/>
                <a:gd name="connsiteY1" fmla="*/ 42427 h 107467"/>
                <a:gd name="connsiteX2" fmla="*/ 124931 w 125378"/>
                <a:gd name="connsiteY2" fmla="*/ 42427 h 107467"/>
                <a:gd name="connsiteX3" fmla="*/ 124483 w 125378"/>
                <a:gd name="connsiteY3" fmla="*/ 41532 h 107467"/>
                <a:gd name="connsiteX4" fmla="*/ 124483 w 125378"/>
                <a:gd name="connsiteY4" fmla="*/ 41084 h 107467"/>
                <a:gd name="connsiteX5" fmla="*/ 124035 w 125378"/>
                <a:gd name="connsiteY5" fmla="*/ 40636 h 107467"/>
                <a:gd name="connsiteX6" fmla="*/ 124035 w 125378"/>
                <a:gd name="connsiteY6" fmla="*/ 40636 h 107467"/>
                <a:gd name="connsiteX7" fmla="*/ 63585 w 125378"/>
                <a:gd name="connsiteY7" fmla="*/ 336 h 107467"/>
                <a:gd name="connsiteX8" fmla="*/ 60898 w 125378"/>
                <a:gd name="connsiteY8" fmla="*/ 336 h 107467"/>
                <a:gd name="connsiteX9" fmla="*/ 448 w 125378"/>
                <a:gd name="connsiteY9" fmla="*/ 40636 h 107467"/>
                <a:gd name="connsiteX10" fmla="*/ 0 w 125378"/>
                <a:gd name="connsiteY10" fmla="*/ 41532 h 107467"/>
                <a:gd name="connsiteX11" fmla="*/ 0 w 125378"/>
                <a:gd name="connsiteY11" fmla="*/ 41532 h 107467"/>
                <a:gd name="connsiteX12" fmla="*/ 0 w 125378"/>
                <a:gd name="connsiteY12" fmla="*/ 42427 h 107467"/>
                <a:gd name="connsiteX13" fmla="*/ 0 w 125378"/>
                <a:gd name="connsiteY13" fmla="*/ 42427 h 107467"/>
                <a:gd name="connsiteX14" fmla="*/ 0 w 125378"/>
                <a:gd name="connsiteY14" fmla="*/ 109147 h 107467"/>
                <a:gd name="connsiteX15" fmla="*/ 2239 w 125378"/>
                <a:gd name="connsiteY15" fmla="*/ 111386 h 107467"/>
                <a:gd name="connsiteX16" fmla="*/ 4478 w 125378"/>
                <a:gd name="connsiteY16" fmla="*/ 109147 h 107467"/>
                <a:gd name="connsiteX17" fmla="*/ 4478 w 125378"/>
                <a:gd name="connsiteY17" fmla="*/ 46457 h 107467"/>
                <a:gd name="connsiteX18" fmla="*/ 44330 w 125378"/>
                <a:gd name="connsiteY18" fmla="*/ 70190 h 107467"/>
                <a:gd name="connsiteX19" fmla="*/ 47465 w 125378"/>
                <a:gd name="connsiteY19" fmla="*/ 69294 h 107467"/>
                <a:gd name="connsiteX20" fmla="*/ 46569 w 125378"/>
                <a:gd name="connsiteY20" fmla="*/ 66160 h 107467"/>
                <a:gd name="connsiteX21" fmla="*/ 6269 w 125378"/>
                <a:gd name="connsiteY21" fmla="*/ 41980 h 107467"/>
                <a:gd name="connsiteX22" fmla="*/ 62689 w 125378"/>
                <a:gd name="connsiteY22" fmla="*/ 4366 h 107467"/>
                <a:gd name="connsiteX23" fmla="*/ 119110 w 125378"/>
                <a:gd name="connsiteY23" fmla="*/ 41980 h 107467"/>
                <a:gd name="connsiteX24" fmla="*/ 79705 w 125378"/>
                <a:gd name="connsiteY24" fmla="*/ 65264 h 107467"/>
                <a:gd name="connsiteX25" fmla="*/ 78809 w 125378"/>
                <a:gd name="connsiteY25" fmla="*/ 68399 h 107467"/>
                <a:gd name="connsiteX26" fmla="*/ 80601 w 125378"/>
                <a:gd name="connsiteY26" fmla="*/ 69294 h 107467"/>
                <a:gd name="connsiteX27" fmla="*/ 81944 w 125378"/>
                <a:gd name="connsiteY27" fmla="*/ 68846 h 107467"/>
                <a:gd name="connsiteX28" fmla="*/ 120901 w 125378"/>
                <a:gd name="connsiteY28" fmla="*/ 45562 h 107467"/>
                <a:gd name="connsiteX29" fmla="*/ 120901 w 125378"/>
                <a:gd name="connsiteY29" fmla="*/ 108251 h 107467"/>
                <a:gd name="connsiteX30" fmla="*/ 123140 w 125378"/>
                <a:gd name="connsiteY30" fmla="*/ 110490 h 107467"/>
                <a:gd name="connsiteX31" fmla="*/ 125379 w 125378"/>
                <a:gd name="connsiteY31" fmla="*/ 108251 h 107467"/>
                <a:gd name="connsiteX32" fmla="*/ 124931 w 125378"/>
                <a:gd name="connsiteY32" fmla="*/ 42427 h 107467"/>
                <a:gd name="connsiteX33" fmla="*/ 124931 w 125378"/>
                <a:gd name="connsiteY33" fmla="*/ 42427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5378" h="107467">
                  <a:moveTo>
                    <a:pt x="124931" y="42427"/>
                  </a:moveTo>
                  <a:cubicBezTo>
                    <a:pt x="124931" y="42427"/>
                    <a:pt x="124931" y="42427"/>
                    <a:pt x="124931" y="42427"/>
                  </a:cubicBezTo>
                  <a:lnTo>
                    <a:pt x="124931" y="42427"/>
                  </a:lnTo>
                  <a:cubicBezTo>
                    <a:pt x="124931" y="41980"/>
                    <a:pt x="124931" y="41532"/>
                    <a:pt x="124483" y="41532"/>
                  </a:cubicBezTo>
                  <a:cubicBezTo>
                    <a:pt x="124483" y="41532"/>
                    <a:pt x="124483" y="41532"/>
                    <a:pt x="124483" y="41084"/>
                  </a:cubicBezTo>
                  <a:cubicBezTo>
                    <a:pt x="124483" y="41084"/>
                    <a:pt x="124035" y="40636"/>
                    <a:pt x="124035" y="40636"/>
                  </a:cubicBezTo>
                  <a:cubicBezTo>
                    <a:pt x="124035" y="40636"/>
                    <a:pt x="124035" y="40636"/>
                    <a:pt x="124035" y="40636"/>
                  </a:cubicBezTo>
                  <a:lnTo>
                    <a:pt x="63585" y="336"/>
                  </a:lnTo>
                  <a:cubicBezTo>
                    <a:pt x="62689" y="-112"/>
                    <a:pt x="61794" y="-112"/>
                    <a:pt x="60898" y="336"/>
                  </a:cubicBezTo>
                  <a:lnTo>
                    <a:pt x="448" y="40636"/>
                  </a:lnTo>
                  <a:cubicBezTo>
                    <a:pt x="0" y="40636"/>
                    <a:pt x="0" y="41084"/>
                    <a:pt x="0" y="41532"/>
                  </a:cubicBezTo>
                  <a:cubicBezTo>
                    <a:pt x="0" y="41532"/>
                    <a:pt x="0" y="41532"/>
                    <a:pt x="0" y="41532"/>
                  </a:cubicBezTo>
                  <a:cubicBezTo>
                    <a:pt x="0" y="41980"/>
                    <a:pt x="0" y="41980"/>
                    <a:pt x="0" y="42427"/>
                  </a:cubicBezTo>
                  <a:cubicBezTo>
                    <a:pt x="0" y="42427"/>
                    <a:pt x="0" y="42427"/>
                    <a:pt x="0" y="42427"/>
                  </a:cubicBezTo>
                  <a:lnTo>
                    <a:pt x="0" y="109147"/>
                  </a:lnTo>
                  <a:cubicBezTo>
                    <a:pt x="0" y="110490"/>
                    <a:pt x="895" y="111386"/>
                    <a:pt x="2239" y="111386"/>
                  </a:cubicBezTo>
                  <a:cubicBezTo>
                    <a:pt x="3582" y="111386"/>
                    <a:pt x="4478" y="110490"/>
                    <a:pt x="4478" y="109147"/>
                  </a:cubicBezTo>
                  <a:lnTo>
                    <a:pt x="4478" y="46457"/>
                  </a:lnTo>
                  <a:lnTo>
                    <a:pt x="44330" y="70190"/>
                  </a:lnTo>
                  <a:cubicBezTo>
                    <a:pt x="45226" y="70638"/>
                    <a:pt x="46569" y="70638"/>
                    <a:pt x="47465" y="69294"/>
                  </a:cubicBezTo>
                  <a:cubicBezTo>
                    <a:pt x="47912" y="68399"/>
                    <a:pt x="47912" y="67055"/>
                    <a:pt x="46569" y="66160"/>
                  </a:cubicBezTo>
                  <a:lnTo>
                    <a:pt x="6269" y="41980"/>
                  </a:lnTo>
                  <a:lnTo>
                    <a:pt x="62689" y="4366"/>
                  </a:lnTo>
                  <a:lnTo>
                    <a:pt x="119110" y="41980"/>
                  </a:lnTo>
                  <a:lnTo>
                    <a:pt x="79705" y="65264"/>
                  </a:lnTo>
                  <a:cubicBezTo>
                    <a:pt x="78809" y="65712"/>
                    <a:pt x="78362" y="67055"/>
                    <a:pt x="78809" y="68399"/>
                  </a:cubicBezTo>
                  <a:cubicBezTo>
                    <a:pt x="79257" y="69294"/>
                    <a:pt x="80153" y="69294"/>
                    <a:pt x="80601" y="69294"/>
                  </a:cubicBezTo>
                  <a:cubicBezTo>
                    <a:pt x="81048" y="69294"/>
                    <a:pt x="81496" y="69294"/>
                    <a:pt x="81944" y="68846"/>
                  </a:cubicBezTo>
                  <a:lnTo>
                    <a:pt x="120901" y="45562"/>
                  </a:lnTo>
                  <a:lnTo>
                    <a:pt x="120901" y="108251"/>
                  </a:lnTo>
                  <a:cubicBezTo>
                    <a:pt x="120901" y="109595"/>
                    <a:pt x="121796" y="110490"/>
                    <a:pt x="123140" y="110490"/>
                  </a:cubicBezTo>
                  <a:cubicBezTo>
                    <a:pt x="124483" y="110490"/>
                    <a:pt x="125379" y="109595"/>
                    <a:pt x="125379" y="108251"/>
                  </a:cubicBezTo>
                  <a:lnTo>
                    <a:pt x="124931" y="42427"/>
                  </a:lnTo>
                  <a:cubicBezTo>
                    <a:pt x="124931" y="42427"/>
                    <a:pt x="124931" y="42427"/>
                    <a:pt x="124931" y="42427"/>
                  </a:cubicBezTo>
                  <a:close/>
                </a:path>
              </a:pathLst>
            </a:custGeom>
            <a:solidFill>
              <a:srgbClr val="231F20"/>
            </a:solidFill>
            <a:ln w="4474" cap="flat">
              <a:noFill/>
              <a:prstDash val="solid"/>
              <a:miter/>
            </a:ln>
          </p:spPr>
          <p:txBody>
            <a:bodyPr rtlCol="0" anchor="ctr"/>
            <a:lstStyle/>
            <a:p>
              <a:endParaRPr lang="en-US"/>
            </a:p>
          </p:txBody>
        </p:sp>
        <p:sp>
          <p:nvSpPr>
            <p:cNvPr id="4359" name="Freeform: Shape 4358">
              <a:extLst>
                <a:ext uri="{FF2B5EF4-FFF2-40B4-BE49-F238E27FC236}">
                  <a16:creationId xmlns:a16="http://schemas.microsoft.com/office/drawing/2014/main" id="{F8696FF6-3A2C-4A1E-AA57-710E41B25992}"/>
                </a:ext>
              </a:extLst>
            </p:cNvPr>
            <p:cNvSpPr/>
            <p:nvPr/>
          </p:nvSpPr>
          <p:spPr>
            <a:xfrm>
              <a:off x="5339315" y="3252325"/>
              <a:ext cx="98512" cy="94034"/>
            </a:xfrm>
            <a:custGeom>
              <a:avLst/>
              <a:gdLst>
                <a:gd name="connsiteX0" fmla="*/ 100303 w 98511"/>
                <a:gd name="connsiteY0" fmla="*/ 64928 h 94034"/>
                <a:gd name="connsiteX1" fmla="*/ 100303 w 98511"/>
                <a:gd name="connsiteY1" fmla="*/ 64928 h 94034"/>
                <a:gd name="connsiteX2" fmla="*/ 100303 w 98511"/>
                <a:gd name="connsiteY2" fmla="*/ 64928 h 94034"/>
                <a:gd name="connsiteX3" fmla="*/ 100303 w 98511"/>
                <a:gd name="connsiteY3" fmla="*/ 64033 h 94034"/>
                <a:gd name="connsiteX4" fmla="*/ 100303 w 98511"/>
                <a:gd name="connsiteY4" fmla="*/ 63585 h 94034"/>
                <a:gd name="connsiteX5" fmla="*/ 100303 w 98511"/>
                <a:gd name="connsiteY5" fmla="*/ 63137 h 94034"/>
                <a:gd name="connsiteX6" fmla="*/ 99856 w 98511"/>
                <a:gd name="connsiteY6" fmla="*/ 62689 h 94034"/>
                <a:gd name="connsiteX7" fmla="*/ 99407 w 98511"/>
                <a:gd name="connsiteY7" fmla="*/ 62242 h 94034"/>
                <a:gd name="connsiteX8" fmla="*/ 98960 w 98511"/>
                <a:gd name="connsiteY8" fmla="*/ 62242 h 94034"/>
                <a:gd name="connsiteX9" fmla="*/ 98512 w 98511"/>
                <a:gd name="connsiteY9" fmla="*/ 62242 h 94034"/>
                <a:gd name="connsiteX10" fmla="*/ 98512 w 98511"/>
                <a:gd name="connsiteY10" fmla="*/ 62242 h 94034"/>
                <a:gd name="connsiteX11" fmla="*/ 98512 w 98511"/>
                <a:gd name="connsiteY11" fmla="*/ 62242 h 94034"/>
                <a:gd name="connsiteX12" fmla="*/ 98512 w 98511"/>
                <a:gd name="connsiteY12" fmla="*/ 62242 h 94034"/>
                <a:gd name="connsiteX13" fmla="*/ 84183 w 98511"/>
                <a:gd name="connsiteY13" fmla="*/ 59555 h 94034"/>
                <a:gd name="connsiteX14" fmla="*/ 81496 w 98511"/>
                <a:gd name="connsiteY14" fmla="*/ 61346 h 94034"/>
                <a:gd name="connsiteX15" fmla="*/ 83287 w 98511"/>
                <a:gd name="connsiteY15" fmla="*/ 64033 h 94034"/>
                <a:gd name="connsiteX16" fmla="*/ 91795 w 98511"/>
                <a:gd name="connsiteY16" fmla="*/ 65376 h 94034"/>
                <a:gd name="connsiteX17" fmla="*/ 52390 w 98511"/>
                <a:gd name="connsiteY17" fmla="*/ 91795 h 94034"/>
                <a:gd name="connsiteX18" fmla="*/ 52390 w 98511"/>
                <a:gd name="connsiteY18" fmla="*/ 7612 h 94034"/>
                <a:gd name="connsiteX19" fmla="*/ 58659 w 98511"/>
                <a:gd name="connsiteY19" fmla="*/ 13881 h 94034"/>
                <a:gd name="connsiteX20" fmla="*/ 60003 w 98511"/>
                <a:gd name="connsiteY20" fmla="*/ 14329 h 94034"/>
                <a:gd name="connsiteX21" fmla="*/ 61794 w 98511"/>
                <a:gd name="connsiteY21" fmla="*/ 13433 h 94034"/>
                <a:gd name="connsiteX22" fmla="*/ 61794 w 98511"/>
                <a:gd name="connsiteY22" fmla="*/ 10299 h 94034"/>
                <a:gd name="connsiteX23" fmla="*/ 51495 w 98511"/>
                <a:gd name="connsiteY23" fmla="*/ 448 h 94034"/>
                <a:gd name="connsiteX24" fmla="*/ 51047 w 98511"/>
                <a:gd name="connsiteY24" fmla="*/ 448 h 94034"/>
                <a:gd name="connsiteX25" fmla="*/ 50600 w 98511"/>
                <a:gd name="connsiteY25" fmla="*/ 0 h 94034"/>
                <a:gd name="connsiteX26" fmla="*/ 50600 w 98511"/>
                <a:gd name="connsiteY26" fmla="*/ 0 h 94034"/>
                <a:gd name="connsiteX27" fmla="*/ 50151 w 98511"/>
                <a:gd name="connsiteY27" fmla="*/ 0 h 94034"/>
                <a:gd name="connsiteX28" fmla="*/ 49704 w 98511"/>
                <a:gd name="connsiteY28" fmla="*/ 0 h 94034"/>
                <a:gd name="connsiteX29" fmla="*/ 49704 w 98511"/>
                <a:gd name="connsiteY29" fmla="*/ 0 h 94034"/>
                <a:gd name="connsiteX30" fmla="*/ 49704 w 98511"/>
                <a:gd name="connsiteY30" fmla="*/ 0 h 94034"/>
                <a:gd name="connsiteX31" fmla="*/ 49704 w 98511"/>
                <a:gd name="connsiteY31" fmla="*/ 0 h 94034"/>
                <a:gd name="connsiteX32" fmla="*/ 49256 w 98511"/>
                <a:gd name="connsiteY32" fmla="*/ 0 h 94034"/>
                <a:gd name="connsiteX33" fmla="*/ 48808 w 98511"/>
                <a:gd name="connsiteY33" fmla="*/ 0 h 94034"/>
                <a:gd name="connsiteX34" fmla="*/ 48808 w 98511"/>
                <a:gd name="connsiteY34" fmla="*/ 0 h 94034"/>
                <a:gd name="connsiteX35" fmla="*/ 48808 w 98511"/>
                <a:gd name="connsiteY35" fmla="*/ 0 h 94034"/>
                <a:gd name="connsiteX36" fmla="*/ 48361 w 98511"/>
                <a:gd name="connsiteY36" fmla="*/ 448 h 94034"/>
                <a:gd name="connsiteX37" fmla="*/ 38061 w 98511"/>
                <a:gd name="connsiteY37" fmla="*/ 10747 h 94034"/>
                <a:gd name="connsiteX38" fmla="*/ 38061 w 98511"/>
                <a:gd name="connsiteY38" fmla="*/ 13881 h 94034"/>
                <a:gd name="connsiteX39" fmla="*/ 39853 w 98511"/>
                <a:gd name="connsiteY39" fmla="*/ 14329 h 94034"/>
                <a:gd name="connsiteX40" fmla="*/ 41644 w 98511"/>
                <a:gd name="connsiteY40" fmla="*/ 13881 h 94034"/>
                <a:gd name="connsiteX41" fmla="*/ 47912 w 98511"/>
                <a:gd name="connsiteY41" fmla="*/ 7612 h 94034"/>
                <a:gd name="connsiteX42" fmla="*/ 47912 w 98511"/>
                <a:gd name="connsiteY42" fmla="*/ 91795 h 94034"/>
                <a:gd name="connsiteX43" fmla="*/ 8060 w 98511"/>
                <a:gd name="connsiteY43" fmla="*/ 65376 h 94034"/>
                <a:gd name="connsiteX44" fmla="*/ 17016 w 98511"/>
                <a:gd name="connsiteY44" fmla="*/ 64033 h 94034"/>
                <a:gd name="connsiteX45" fmla="*/ 18807 w 98511"/>
                <a:gd name="connsiteY45" fmla="*/ 61346 h 94034"/>
                <a:gd name="connsiteX46" fmla="*/ 16120 w 98511"/>
                <a:gd name="connsiteY46" fmla="*/ 59555 h 94034"/>
                <a:gd name="connsiteX47" fmla="*/ 1791 w 98511"/>
                <a:gd name="connsiteY47" fmla="*/ 62242 h 94034"/>
                <a:gd name="connsiteX48" fmla="*/ 1791 w 98511"/>
                <a:gd name="connsiteY48" fmla="*/ 62242 h 94034"/>
                <a:gd name="connsiteX49" fmla="*/ 1791 w 98511"/>
                <a:gd name="connsiteY49" fmla="*/ 62242 h 94034"/>
                <a:gd name="connsiteX50" fmla="*/ 1791 w 98511"/>
                <a:gd name="connsiteY50" fmla="*/ 62242 h 94034"/>
                <a:gd name="connsiteX51" fmla="*/ 1344 w 98511"/>
                <a:gd name="connsiteY51" fmla="*/ 62242 h 94034"/>
                <a:gd name="connsiteX52" fmla="*/ 895 w 98511"/>
                <a:gd name="connsiteY52" fmla="*/ 62242 h 94034"/>
                <a:gd name="connsiteX53" fmla="*/ 448 w 98511"/>
                <a:gd name="connsiteY53" fmla="*/ 62689 h 94034"/>
                <a:gd name="connsiteX54" fmla="*/ 0 w 98511"/>
                <a:gd name="connsiteY54" fmla="*/ 63137 h 94034"/>
                <a:gd name="connsiteX55" fmla="*/ 0 w 98511"/>
                <a:gd name="connsiteY55" fmla="*/ 63585 h 94034"/>
                <a:gd name="connsiteX56" fmla="*/ 0 w 98511"/>
                <a:gd name="connsiteY56" fmla="*/ 64033 h 94034"/>
                <a:gd name="connsiteX57" fmla="*/ 0 w 98511"/>
                <a:gd name="connsiteY57" fmla="*/ 64481 h 94034"/>
                <a:gd name="connsiteX58" fmla="*/ 0 w 98511"/>
                <a:gd name="connsiteY58" fmla="*/ 64928 h 94034"/>
                <a:gd name="connsiteX59" fmla="*/ 0 w 98511"/>
                <a:gd name="connsiteY59" fmla="*/ 64928 h 94034"/>
                <a:gd name="connsiteX60" fmla="*/ 0 w 98511"/>
                <a:gd name="connsiteY60" fmla="*/ 64928 h 94034"/>
                <a:gd name="connsiteX61" fmla="*/ 0 w 98511"/>
                <a:gd name="connsiteY61" fmla="*/ 64928 h 94034"/>
                <a:gd name="connsiteX62" fmla="*/ 2239 w 98511"/>
                <a:gd name="connsiteY62" fmla="*/ 78810 h 94034"/>
                <a:gd name="connsiteX63" fmla="*/ 4478 w 98511"/>
                <a:gd name="connsiteY63" fmla="*/ 80601 h 94034"/>
                <a:gd name="connsiteX64" fmla="*/ 4925 w 98511"/>
                <a:gd name="connsiteY64" fmla="*/ 80601 h 94034"/>
                <a:gd name="connsiteX65" fmla="*/ 6717 w 98511"/>
                <a:gd name="connsiteY65" fmla="*/ 77914 h 94034"/>
                <a:gd name="connsiteX66" fmla="*/ 5373 w 98511"/>
                <a:gd name="connsiteY66" fmla="*/ 68958 h 94034"/>
                <a:gd name="connsiteX67" fmla="*/ 48808 w 98511"/>
                <a:gd name="connsiteY67" fmla="*/ 97616 h 94034"/>
                <a:gd name="connsiteX68" fmla="*/ 48808 w 98511"/>
                <a:gd name="connsiteY68" fmla="*/ 97616 h 94034"/>
                <a:gd name="connsiteX69" fmla="*/ 50151 w 98511"/>
                <a:gd name="connsiteY69" fmla="*/ 98064 h 94034"/>
                <a:gd name="connsiteX70" fmla="*/ 50151 w 98511"/>
                <a:gd name="connsiteY70" fmla="*/ 98064 h 94034"/>
                <a:gd name="connsiteX71" fmla="*/ 50151 w 98511"/>
                <a:gd name="connsiteY71" fmla="*/ 98064 h 94034"/>
                <a:gd name="connsiteX72" fmla="*/ 50151 w 98511"/>
                <a:gd name="connsiteY72" fmla="*/ 98064 h 94034"/>
                <a:gd name="connsiteX73" fmla="*/ 50151 w 98511"/>
                <a:gd name="connsiteY73" fmla="*/ 98064 h 94034"/>
                <a:gd name="connsiteX74" fmla="*/ 51047 w 98511"/>
                <a:gd name="connsiteY74" fmla="*/ 97616 h 94034"/>
                <a:gd name="connsiteX75" fmla="*/ 51047 w 98511"/>
                <a:gd name="connsiteY75" fmla="*/ 97616 h 94034"/>
                <a:gd name="connsiteX76" fmla="*/ 51047 w 98511"/>
                <a:gd name="connsiteY76" fmla="*/ 97616 h 94034"/>
                <a:gd name="connsiteX77" fmla="*/ 94482 w 98511"/>
                <a:gd name="connsiteY77" fmla="*/ 68511 h 94034"/>
                <a:gd name="connsiteX78" fmla="*/ 93139 w 98511"/>
                <a:gd name="connsiteY78" fmla="*/ 77466 h 94034"/>
                <a:gd name="connsiteX79" fmla="*/ 94930 w 98511"/>
                <a:gd name="connsiteY79" fmla="*/ 80153 h 94034"/>
                <a:gd name="connsiteX80" fmla="*/ 95378 w 98511"/>
                <a:gd name="connsiteY80" fmla="*/ 80153 h 94034"/>
                <a:gd name="connsiteX81" fmla="*/ 97617 w 98511"/>
                <a:gd name="connsiteY81" fmla="*/ 78362 h 94034"/>
                <a:gd name="connsiteX82" fmla="*/ 100303 w 98511"/>
                <a:gd name="connsiteY82" fmla="*/ 64928 h 94034"/>
                <a:gd name="connsiteX83" fmla="*/ 100303 w 98511"/>
                <a:gd name="connsiteY83" fmla="*/ 64928 h 94034"/>
                <a:gd name="connsiteX84" fmla="*/ 100303 w 98511"/>
                <a:gd name="connsiteY84" fmla="*/ 64928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8511" h="94034">
                  <a:moveTo>
                    <a:pt x="100303" y="64928"/>
                  </a:moveTo>
                  <a:lnTo>
                    <a:pt x="100303" y="64928"/>
                  </a:lnTo>
                  <a:cubicBezTo>
                    <a:pt x="100303" y="64928"/>
                    <a:pt x="100303" y="64481"/>
                    <a:pt x="100303" y="64928"/>
                  </a:cubicBezTo>
                  <a:cubicBezTo>
                    <a:pt x="100303" y="64481"/>
                    <a:pt x="100303" y="64033"/>
                    <a:pt x="100303" y="64033"/>
                  </a:cubicBezTo>
                  <a:cubicBezTo>
                    <a:pt x="100303" y="64033"/>
                    <a:pt x="100303" y="63585"/>
                    <a:pt x="100303" y="63585"/>
                  </a:cubicBezTo>
                  <a:cubicBezTo>
                    <a:pt x="100303" y="63585"/>
                    <a:pt x="100303" y="63137"/>
                    <a:pt x="100303" y="63137"/>
                  </a:cubicBezTo>
                  <a:cubicBezTo>
                    <a:pt x="100303" y="63137"/>
                    <a:pt x="100303" y="63137"/>
                    <a:pt x="99856" y="62689"/>
                  </a:cubicBezTo>
                  <a:cubicBezTo>
                    <a:pt x="99856" y="62689"/>
                    <a:pt x="99856" y="62689"/>
                    <a:pt x="99407" y="62242"/>
                  </a:cubicBezTo>
                  <a:cubicBezTo>
                    <a:pt x="99407" y="62242"/>
                    <a:pt x="98960" y="62242"/>
                    <a:pt x="98960" y="62242"/>
                  </a:cubicBezTo>
                  <a:cubicBezTo>
                    <a:pt x="98960" y="62242"/>
                    <a:pt x="98512" y="62242"/>
                    <a:pt x="98512" y="62242"/>
                  </a:cubicBezTo>
                  <a:lnTo>
                    <a:pt x="98512" y="62242"/>
                  </a:lnTo>
                  <a:lnTo>
                    <a:pt x="98512" y="62242"/>
                  </a:lnTo>
                  <a:lnTo>
                    <a:pt x="98512" y="62242"/>
                  </a:lnTo>
                  <a:lnTo>
                    <a:pt x="84183" y="59555"/>
                  </a:lnTo>
                  <a:cubicBezTo>
                    <a:pt x="82840" y="59555"/>
                    <a:pt x="81944" y="60003"/>
                    <a:pt x="81496" y="61346"/>
                  </a:cubicBezTo>
                  <a:cubicBezTo>
                    <a:pt x="81048" y="62689"/>
                    <a:pt x="81944" y="63585"/>
                    <a:pt x="83287" y="64033"/>
                  </a:cubicBezTo>
                  <a:lnTo>
                    <a:pt x="91795" y="65376"/>
                  </a:lnTo>
                  <a:lnTo>
                    <a:pt x="52390" y="91795"/>
                  </a:lnTo>
                  <a:lnTo>
                    <a:pt x="52390" y="7612"/>
                  </a:lnTo>
                  <a:lnTo>
                    <a:pt x="58659" y="13881"/>
                  </a:lnTo>
                  <a:cubicBezTo>
                    <a:pt x="59107" y="14329"/>
                    <a:pt x="59555" y="14329"/>
                    <a:pt x="60003" y="14329"/>
                  </a:cubicBezTo>
                  <a:cubicBezTo>
                    <a:pt x="60451" y="14329"/>
                    <a:pt x="61346" y="13881"/>
                    <a:pt x="61794" y="13433"/>
                  </a:cubicBezTo>
                  <a:cubicBezTo>
                    <a:pt x="62689" y="12538"/>
                    <a:pt x="62689" y="11195"/>
                    <a:pt x="61794" y="10299"/>
                  </a:cubicBezTo>
                  <a:lnTo>
                    <a:pt x="51495" y="448"/>
                  </a:lnTo>
                  <a:cubicBezTo>
                    <a:pt x="51495" y="448"/>
                    <a:pt x="51495" y="448"/>
                    <a:pt x="51047" y="448"/>
                  </a:cubicBezTo>
                  <a:cubicBezTo>
                    <a:pt x="51047" y="448"/>
                    <a:pt x="50600" y="448"/>
                    <a:pt x="50600" y="0"/>
                  </a:cubicBezTo>
                  <a:cubicBezTo>
                    <a:pt x="50600" y="0"/>
                    <a:pt x="50600" y="0"/>
                    <a:pt x="50600" y="0"/>
                  </a:cubicBezTo>
                  <a:cubicBezTo>
                    <a:pt x="50600" y="0"/>
                    <a:pt x="50151" y="0"/>
                    <a:pt x="50151" y="0"/>
                  </a:cubicBezTo>
                  <a:cubicBezTo>
                    <a:pt x="50151" y="0"/>
                    <a:pt x="49704" y="0"/>
                    <a:pt x="49704" y="0"/>
                  </a:cubicBezTo>
                  <a:lnTo>
                    <a:pt x="49704" y="0"/>
                  </a:lnTo>
                  <a:cubicBezTo>
                    <a:pt x="49704" y="0"/>
                    <a:pt x="49704" y="0"/>
                    <a:pt x="49704" y="0"/>
                  </a:cubicBezTo>
                  <a:lnTo>
                    <a:pt x="49704" y="0"/>
                  </a:lnTo>
                  <a:cubicBezTo>
                    <a:pt x="49704" y="0"/>
                    <a:pt x="49256" y="0"/>
                    <a:pt x="49256" y="0"/>
                  </a:cubicBezTo>
                  <a:cubicBezTo>
                    <a:pt x="49256" y="0"/>
                    <a:pt x="48808" y="0"/>
                    <a:pt x="48808" y="0"/>
                  </a:cubicBezTo>
                  <a:cubicBezTo>
                    <a:pt x="48808" y="0"/>
                    <a:pt x="48808" y="0"/>
                    <a:pt x="48808" y="0"/>
                  </a:cubicBezTo>
                  <a:cubicBezTo>
                    <a:pt x="48808" y="0"/>
                    <a:pt x="48808" y="0"/>
                    <a:pt x="48808" y="0"/>
                  </a:cubicBezTo>
                  <a:cubicBezTo>
                    <a:pt x="48361" y="0"/>
                    <a:pt x="48361" y="448"/>
                    <a:pt x="48361" y="448"/>
                  </a:cubicBezTo>
                  <a:lnTo>
                    <a:pt x="38061" y="10747"/>
                  </a:lnTo>
                  <a:cubicBezTo>
                    <a:pt x="37166" y="11642"/>
                    <a:pt x="37166" y="12986"/>
                    <a:pt x="38061" y="13881"/>
                  </a:cubicBezTo>
                  <a:cubicBezTo>
                    <a:pt x="38509" y="14329"/>
                    <a:pt x="38957" y="14329"/>
                    <a:pt x="39853" y="14329"/>
                  </a:cubicBezTo>
                  <a:cubicBezTo>
                    <a:pt x="40748" y="14329"/>
                    <a:pt x="41196" y="14329"/>
                    <a:pt x="41644" y="13881"/>
                  </a:cubicBezTo>
                  <a:lnTo>
                    <a:pt x="47912" y="7612"/>
                  </a:lnTo>
                  <a:lnTo>
                    <a:pt x="47912" y="91795"/>
                  </a:lnTo>
                  <a:lnTo>
                    <a:pt x="8060" y="65376"/>
                  </a:lnTo>
                  <a:lnTo>
                    <a:pt x="17016" y="64033"/>
                  </a:lnTo>
                  <a:cubicBezTo>
                    <a:pt x="18359" y="64033"/>
                    <a:pt x="19255" y="62689"/>
                    <a:pt x="18807" y="61346"/>
                  </a:cubicBezTo>
                  <a:cubicBezTo>
                    <a:pt x="18807" y="60003"/>
                    <a:pt x="17464" y="59107"/>
                    <a:pt x="16120" y="59555"/>
                  </a:cubicBezTo>
                  <a:lnTo>
                    <a:pt x="1791" y="62242"/>
                  </a:lnTo>
                  <a:lnTo>
                    <a:pt x="1791" y="62242"/>
                  </a:lnTo>
                  <a:lnTo>
                    <a:pt x="1791" y="62242"/>
                  </a:lnTo>
                  <a:lnTo>
                    <a:pt x="1791" y="62242"/>
                  </a:lnTo>
                  <a:cubicBezTo>
                    <a:pt x="1791" y="62242"/>
                    <a:pt x="1344" y="62242"/>
                    <a:pt x="1344" y="62242"/>
                  </a:cubicBezTo>
                  <a:cubicBezTo>
                    <a:pt x="1344" y="62242"/>
                    <a:pt x="895" y="62242"/>
                    <a:pt x="895" y="62242"/>
                  </a:cubicBezTo>
                  <a:cubicBezTo>
                    <a:pt x="895" y="62242"/>
                    <a:pt x="895" y="62242"/>
                    <a:pt x="448" y="62689"/>
                  </a:cubicBezTo>
                  <a:cubicBezTo>
                    <a:pt x="448" y="62689"/>
                    <a:pt x="448" y="62689"/>
                    <a:pt x="0" y="63137"/>
                  </a:cubicBezTo>
                  <a:cubicBezTo>
                    <a:pt x="0" y="63137"/>
                    <a:pt x="0" y="63585"/>
                    <a:pt x="0" y="63585"/>
                  </a:cubicBezTo>
                  <a:cubicBezTo>
                    <a:pt x="0" y="63585"/>
                    <a:pt x="0" y="64033"/>
                    <a:pt x="0" y="64033"/>
                  </a:cubicBezTo>
                  <a:cubicBezTo>
                    <a:pt x="0" y="64033"/>
                    <a:pt x="0" y="64481"/>
                    <a:pt x="0" y="64481"/>
                  </a:cubicBezTo>
                  <a:cubicBezTo>
                    <a:pt x="0" y="64481"/>
                    <a:pt x="0" y="64928"/>
                    <a:pt x="0" y="64928"/>
                  </a:cubicBezTo>
                  <a:lnTo>
                    <a:pt x="0" y="64928"/>
                  </a:lnTo>
                  <a:cubicBezTo>
                    <a:pt x="0" y="64928"/>
                    <a:pt x="0" y="64928"/>
                    <a:pt x="0" y="64928"/>
                  </a:cubicBezTo>
                  <a:cubicBezTo>
                    <a:pt x="0" y="64928"/>
                    <a:pt x="0" y="64928"/>
                    <a:pt x="0" y="64928"/>
                  </a:cubicBezTo>
                  <a:lnTo>
                    <a:pt x="2239" y="78810"/>
                  </a:lnTo>
                  <a:cubicBezTo>
                    <a:pt x="2239" y="79705"/>
                    <a:pt x="3582" y="80601"/>
                    <a:pt x="4478" y="80601"/>
                  </a:cubicBezTo>
                  <a:cubicBezTo>
                    <a:pt x="4478" y="80601"/>
                    <a:pt x="4925" y="80601"/>
                    <a:pt x="4925" y="80601"/>
                  </a:cubicBezTo>
                  <a:cubicBezTo>
                    <a:pt x="6269" y="80601"/>
                    <a:pt x="7164" y="79257"/>
                    <a:pt x="6717" y="77914"/>
                  </a:cubicBezTo>
                  <a:lnTo>
                    <a:pt x="5373" y="68958"/>
                  </a:lnTo>
                  <a:lnTo>
                    <a:pt x="48808" y="97616"/>
                  </a:lnTo>
                  <a:cubicBezTo>
                    <a:pt x="48808" y="97616"/>
                    <a:pt x="48808" y="97616"/>
                    <a:pt x="48808" y="97616"/>
                  </a:cubicBezTo>
                  <a:cubicBezTo>
                    <a:pt x="49256" y="97616"/>
                    <a:pt x="49704" y="98064"/>
                    <a:pt x="50151" y="98064"/>
                  </a:cubicBezTo>
                  <a:cubicBezTo>
                    <a:pt x="50151" y="98064"/>
                    <a:pt x="50151" y="98064"/>
                    <a:pt x="50151" y="98064"/>
                  </a:cubicBezTo>
                  <a:cubicBezTo>
                    <a:pt x="50151" y="98064"/>
                    <a:pt x="50151" y="98064"/>
                    <a:pt x="50151" y="98064"/>
                  </a:cubicBezTo>
                  <a:lnTo>
                    <a:pt x="50151" y="98064"/>
                  </a:lnTo>
                  <a:cubicBezTo>
                    <a:pt x="50151" y="98064"/>
                    <a:pt x="50151" y="98064"/>
                    <a:pt x="50151" y="98064"/>
                  </a:cubicBezTo>
                  <a:cubicBezTo>
                    <a:pt x="50600" y="98064"/>
                    <a:pt x="51047" y="98064"/>
                    <a:pt x="51047" y="97616"/>
                  </a:cubicBezTo>
                  <a:cubicBezTo>
                    <a:pt x="51047" y="97616"/>
                    <a:pt x="51047" y="97616"/>
                    <a:pt x="51047" y="97616"/>
                  </a:cubicBezTo>
                  <a:cubicBezTo>
                    <a:pt x="51047" y="97616"/>
                    <a:pt x="51047" y="97616"/>
                    <a:pt x="51047" y="97616"/>
                  </a:cubicBezTo>
                  <a:lnTo>
                    <a:pt x="94482" y="68511"/>
                  </a:lnTo>
                  <a:lnTo>
                    <a:pt x="93139" y="77466"/>
                  </a:lnTo>
                  <a:cubicBezTo>
                    <a:pt x="93139" y="78810"/>
                    <a:pt x="93587" y="79705"/>
                    <a:pt x="94930" y="80153"/>
                  </a:cubicBezTo>
                  <a:cubicBezTo>
                    <a:pt x="94930" y="80153"/>
                    <a:pt x="95378" y="80153"/>
                    <a:pt x="95378" y="80153"/>
                  </a:cubicBezTo>
                  <a:cubicBezTo>
                    <a:pt x="96273" y="80153"/>
                    <a:pt x="97617" y="79257"/>
                    <a:pt x="97617" y="78362"/>
                  </a:cubicBezTo>
                  <a:lnTo>
                    <a:pt x="100303" y="64928"/>
                  </a:lnTo>
                  <a:cubicBezTo>
                    <a:pt x="100303" y="64928"/>
                    <a:pt x="100303" y="64928"/>
                    <a:pt x="100303" y="64928"/>
                  </a:cubicBezTo>
                  <a:lnTo>
                    <a:pt x="100303" y="64928"/>
                  </a:lnTo>
                  <a:close/>
                </a:path>
              </a:pathLst>
            </a:custGeom>
            <a:solidFill>
              <a:srgbClr val="231F20"/>
            </a:solidFill>
            <a:ln w="4474" cap="flat">
              <a:noFill/>
              <a:prstDash val="solid"/>
              <a:miter/>
            </a:ln>
          </p:spPr>
          <p:txBody>
            <a:bodyPr rtlCol="0" anchor="ctr"/>
            <a:lstStyle/>
            <a:p>
              <a:endParaRPr lang="en-US"/>
            </a:p>
          </p:txBody>
        </p:sp>
      </p:grpSp>
      <p:grpSp>
        <p:nvGrpSpPr>
          <p:cNvPr id="4360" name="Group 4359">
            <a:extLst>
              <a:ext uri="{FF2B5EF4-FFF2-40B4-BE49-F238E27FC236}">
                <a16:creationId xmlns:a16="http://schemas.microsoft.com/office/drawing/2014/main" id="{92EB2429-DBA1-4A16-8656-728F6CDFA90B}"/>
              </a:ext>
              <a:ext uri="{C183D7F6-B498-43B3-948B-1728B52AA6E4}">
                <adec:decorative xmlns:adec="http://schemas.microsoft.com/office/drawing/2017/decorative" val="1"/>
              </a:ext>
            </a:extLst>
          </p:cNvPr>
          <p:cNvGrpSpPr>
            <a:grpSpLocks noChangeAspect="1"/>
          </p:cNvGrpSpPr>
          <p:nvPr/>
        </p:nvGrpSpPr>
        <p:grpSpPr>
          <a:xfrm>
            <a:off x="5540363" y="3947911"/>
            <a:ext cx="138812" cy="138812"/>
            <a:chOff x="5581117" y="3212472"/>
            <a:chExt cx="138812" cy="138812"/>
          </a:xfrm>
        </p:grpSpPr>
        <p:sp>
          <p:nvSpPr>
            <p:cNvPr id="4361" name="Freeform: Shape 4360">
              <a:extLst>
                <a:ext uri="{FF2B5EF4-FFF2-40B4-BE49-F238E27FC236}">
                  <a16:creationId xmlns:a16="http://schemas.microsoft.com/office/drawing/2014/main" id="{238BA1E1-4778-4DC5-9B33-A2C0B126D5FB}"/>
                </a:ext>
              </a:extLst>
            </p:cNvPr>
            <p:cNvSpPr/>
            <p:nvPr/>
          </p:nvSpPr>
          <p:spPr>
            <a:xfrm>
              <a:off x="5642911" y="3250086"/>
              <a:ext cx="13433" cy="4478"/>
            </a:xfrm>
            <a:custGeom>
              <a:avLst/>
              <a:gdLst>
                <a:gd name="connsiteX0" fmla="*/ 1119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1195 w 13433"/>
                <a:gd name="connsiteY4" fmla="*/ 0 h 4477"/>
                <a:gd name="connsiteX5" fmla="*/ 13433 w 13433"/>
                <a:gd name="connsiteY5" fmla="*/ 2239 h 4477"/>
                <a:gd name="connsiteX6" fmla="*/ 1119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1195" y="4478"/>
                  </a:moveTo>
                  <a:lnTo>
                    <a:pt x="2239" y="4478"/>
                  </a:lnTo>
                  <a:cubicBezTo>
                    <a:pt x="895" y="4478"/>
                    <a:pt x="0" y="3582"/>
                    <a:pt x="0" y="2239"/>
                  </a:cubicBezTo>
                  <a:cubicBezTo>
                    <a:pt x="0" y="896"/>
                    <a:pt x="895" y="0"/>
                    <a:pt x="2239" y="0"/>
                  </a:cubicBezTo>
                  <a:lnTo>
                    <a:pt x="11195" y="0"/>
                  </a:lnTo>
                  <a:cubicBezTo>
                    <a:pt x="12538" y="0"/>
                    <a:pt x="13433" y="896"/>
                    <a:pt x="13433" y="2239"/>
                  </a:cubicBezTo>
                  <a:cubicBezTo>
                    <a:pt x="13433" y="3582"/>
                    <a:pt x="12090" y="4478"/>
                    <a:pt x="11195" y="4478"/>
                  </a:cubicBezTo>
                  <a:close/>
                </a:path>
              </a:pathLst>
            </a:custGeom>
            <a:solidFill>
              <a:srgbClr val="231F20"/>
            </a:solidFill>
            <a:ln w="4474" cap="flat">
              <a:noFill/>
              <a:prstDash val="solid"/>
              <a:miter/>
            </a:ln>
          </p:spPr>
          <p:txBody>
            <a:bodyPr rtlCol="0" anchor="ctr"/>
            <a:lstStyle/>
            <a:p>
              <a:endParaRPr lang="en-US"/>
            </a:p>
          </p:txBody>
        </p:sp>
        <p:sp>
          <p:nvSpPr>
            <p:cNvPr id="4362" name="Freeform: Shape 4361">
              <a:extLst>
                <a:ext uri="{FF2B5EF4-FFF2-40B4-BE49-F238E27FC236}">
                  <a16:creationId xmlns:a16="http://schemas.microsoft.com/office/drawing/2014/main" id="{DF73FC5F-22D0-4DAB-B870-F54E07477096}"/>
                </a:ext>
              </a:extLst>
            </p:cNvPr>
            <p:cNvSpPr/>
            <p:nvPr/>
          </p:nvSpPr>
          <p:spPr>
            <a:xfrm>
              <a:off x="5618731" y="3276057"/>
              <a:ext cx="4478" cy="13433"/>
            </a:xfrm>
            <a:custGeom>
              <a:avLst/>
              <a:gdLst>
                <a:gd name="connsiteX0" fmla="*/ 2239 w 4477"/>
                <a:gd name="connsiteY0" fmla="*/ 13433 h 13433"/>
                <a:gd name="connsiteX1" fmla="*/ 0 w 4477"/>
                <a:gd name="connsiteY1" fmla="*/ 11195 h 13433"/>
                <a:gd name="connsiteX2" fmla="*/ 0 w 4477"/>
                <a:gd name="connsiteY2" fmla="*/ 2239 h 13433"/>
                <a:gd name="connsiteX3" fmla="*/ 2239 w 4477"/>
                <a:gd name="connsiteY3" fmla="*/ 0 h 13433"/>
                <a:gd name="connsiteX4" fmla="*/ 4478 w 4477"/>
                <a:gd name="connsiteY4" fmla="*/ 2239 h 13433"/>
                <a:gd name="connsiteX5" fmla="*/ 4478 w 4477"/>
                <a:gd name="connsiteY5" fmla="*/ 11195 h 13433"/>
                <a:gd name="connsiteX6" fmla="*/ 2239 w 4477"/>
                <a:gd name="connsiteY6" fmla="*/ 1343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3433">
                  <a:moveTo>
                    <a:pt x="2239" y="13433"/>
                  </a:moveTo>
                  <a:cubicBezTo>
                    <a:pt x="895" y="13433"/>
                    <a:pt x="0" y="12538"/>
                    <a:pt x="0" y="11195"/>
                  </a:cubicBezTo>
                  <a:lnTo>
                    <a:pt x="0" y="2239"/>
                  </a:lnTo>
                  <a:cubicBezTo>
                    <a:pt x="0" y="896"/>
                    <a:pt x="895" y="0"/>
                    <a:pt x="2239" y="0"/>
                  </a:cubicBezTo>
                  <a:cubicBezTo>
                    <a:pt x="3582" y="0"/>
                    <a:pt x="4478" y="896"/>
                    <a:pt x="4478" y="2239"/>
                  </a:cubicBezTo>
                  <a:lnTo>
                    <a:pt x="4478" y="11195"/>
                  </a:lnTo>
                  <a:cubicBezTo>
                    <a:pt x="4478" y="12538"/>
                    <a:pt x="3134" y="13433"/>
                    <a:pt x="2239" y="13433"/>
                  </a:cubicBezTo>
                  <a:close/>
                </a:path>
              </a:pathLst>
            </a:custGeom>
            <a:solidFill>
              <a:srgbClr val="231F20"/>
            </a:solidFill>
            <a:ln w="4474" cap="flat">
              <a:noFill/>
              <a:prstDash val="solid"/>
              <a:miter/>
            </a:ln>
          </p:spPr>
          <p:txBody>
            <a:bodyPr rtlCol="0" anchor="ctr"/>
            <a:lstStyle/>
            <a:p>
              <a:endParaRPr lang="en-US"/>
            </a:p>
          </p:txBody>
        </p:sp>
        <p:sp>
          <p:nvSpPr>
            <p:cNvPr id="4363" name="Freeform: Shape 4362">
              <a:extLst>
                <a:ext uri="{FF2B5EF4-FFF2-40B4-BE49-F238E27FC236}">
                  <a16:creationId xmlns:a16="http://schemas.microsoft.com/office/drawing/2014/main" id="{C9A1181A-1B73-41F8-A5B4-3FB9F0CBDAF8}"/>
                </a:ext>
              </a:extLst>
            </p:cNvPr>
            <p:cNvSpPr/>
            <p:nvPr/>
          </p:nvSpPr>
          <p:spPr>
            <a:xfrm>
              <a:off x="5644254" y="3309193"/>
              <a:ext cx="13433" cy="4478"/>
            </a:xfrm>
            <a:custGeom>
              <a:avLst/>
              <a:gdLst>
                <a:gd name="connsiteX0" fmla="*/ 11195 w 13433"/>
                <a:gd name="connsiteY0" fmla="*/ 4478 h 4477"/>
                <a:gd name="connsiteX1" fmla="*/ 2239 w 13433"/>
                <a:gd name="connsiteY1" fmla="*/ 4478 h 4477"/>
                <a:gd name="connsiteX2" fmla="*/ 0 w 13433"/>
                <a:gd name="connsiteY2" fmla="*/ 2239 h 4477"/>
                <a:gd name="connsiteX3" fmla="*/ 2239 w 13433"/>
                <a:gd name="connsiteY3" fmla="*/ 0 h 4477"/>
                <a:gd name="connsiteX4" fmla="*/ 11195 w 13433"/>
                <a:gd name="connsiteY4" fmla="*/ 0 h 4477"/>
                <a:gd name="connsiteX5" fmla="*/ 13433 w 13433"/>
                <a:gd name="connsiteY5" fmla="*/ 2239 h 4477"/>
                <a:gd name="connsiteX6" fmla="*/ 11195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11195" y="4478"/>
                  </a:moveTo>
                  <a:lnTo>
                    <a:pt x="2239" y="4478"/>
                  </a:lnTo>
                  <a:cubicBezTo>
                    <a:pt x="896" y="4478"/>
                    <a:pt x="0" y="3582"/>
                    <a:pt x="0" y="2239"/>
                  </a:cubicBezTo>
                  <a:cubicBezTo>
                    <a:pt x="0" y="896"/>
                    <a:pt x="896" y="0"/>
                    <a:pt x="2239" y="0"/>
                  </a:cubicBezTo>
                  <a:lnTo>
                    <a:pt x="11195" y="0"/>
                  </a:lnTo>
                  <a:cubicBezTo>
                    <a:pt x="12538" y="0"/>
                    <a:pt x="13433" y="896"/>
                    <a:pt x="13433" y="2239"/>
                  </a:cubicBezTo>
                  <a:cubicBezTo>
                    <a:pt x="13433" y="3582"/>
                    <a:pt x="12538" y="4478"/>
                    <a:pt x="11195" y="4478"/>
                  </a:cubicBezTo>
                  <a:close/>
                </a:path>
              </a:pathLst>
            </a:custGeom>
            <a:solidFill>
              <a:srgbClr val="231F20"/>
            </a:solidFill>
            <a:ln w="4474" cap="flat">
              <a:noFill/>
              <a:prstDash val="solid"/>
              <a:miter/>
            </a:ln>
          </p:spPr>
          <p:txBody>
            <a:bodyPr rtlCol="0" anchor="ctr"/>
            <a:lstStyle/>
            <a:p>
              <a:endParaRPr lang="en-US"/>
            </a:p>
          </p:txBody>
        </p:sp>
        <p:sp>
          <p:nvSpPr>
            <p:cNvPr id="4364" name="Freeform: Shape 4363">
              <a:extLst>
                <a:ext uri="{FF2B5EF4-FFF2-40B4-BE49-F238E27FC236}">
                  <a16:creationId xmlns:a16="http://schemas.microsoft.com/office/drawing/2014/main" id="{7A6D7B9F-E46E-4C9C-9A5E-33407B1075C1}"/>
                </a:ext>
              </a:extLst>
            </p:cNvPr>
            <p:cNvSpPr/>
            <p:nvPr/>
          </p:nvSpPr>
          <p:spPr>
            <a:xfrm>
              <a:off x="5677390" y="3274266"/>
              <a:ext cx="4478" cy="13433"/>
            </a:xfrm>
            <a:custGeom>
              <a:avLst/>
              <a:gdLst>
                <a:gd name="connsiteX0" fmla="*/ 2239 w 4477"/>
                <a:gd name="connsiteY0" fmla="*/ 13433 h 13433"/>
                <a:gd name="connsiteX1" fmla="*/ 0 w 4477"/>
                <a:gd name="connsiteY1" fmla="*/ 11195 h 13433"/>
                <a:gd name="connsiteX2" fmla="*/ 0 w 4477"/>
                <a:gd name="connsiteY2" fmla="*/ 2239 h 13433"/>
                <a:gd name="connsiteX3" fmla="*/ 2239 w 4477"/>
                <a:gd name="connsiteY3" fmla="*/ 0 h 13433"/>
                <a:gd name="connsiteX4" fmla="*/ 4478 w 4477"/>
                <a:gd name="connsiteY4" fmla="*/ 2239 h 13433"/>
                <a:gd name="connsiteX5" fmla="*/ 4478 w 4477"/>
                <a:gd name="connsiteY5" fmla="*/ 11195 h 13433"/>
                <a:gd name="connsiteX6" fmla="*/ 2239 w 4477"/>
                <a:gd name="connsiteY6" fmla="*/ 1343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3433">
                  <a:moveTo>
                    <a:pt x="2239" y="13433"/>
                  </a:moveTo>
                  <a:cubicBezTo>
                    <a:pt x="895" y="13433"/>
                    <a:pt x="0" y="12538"/>
                    <a:pt x="0" y="11195"/>
                  </a:cubicBezTo>
                  <a:lnTo>
                    <a:pt x="0" y="2239"/>
                  </a:lnTo>
                  <a:cubicBezTo>
                    <a:pt x="0" y="896"/>
                    <a:pt x="895" y="0"/>
                    <a:pt x="2239" y="0"/>
                  </a:cubicBezTo>
                  <a:cubicBezTo>
                    <a:pt x="3582" y="0"/>
                    <a:pt x="4478" y="896"/>
                    <a:pt x="4478" y="2239"/>
                  </a:cubicBezTo>
                  <a:lnTo>
                    <a:pt x="4478" y="11195"/>
                  </a:lnTo>
                  <a:cubicBezTo>
                    <a:pt x="4478" y="12538"/>
                    <a:pt x="3582" y="13433"/>
                    <a:pt x="2239" y="13433"/>
                  </a:cubicBezTo>
                  <a:close/>
                </a:path>
              </a:pathLst>
            </a:custGeom>
            <a:solidFill>
              <a:srgbClr val="231F20"/>
            </a:solidFill>
            <a:ln w="4474" cap="flat">
              <a:noFill/>
              <a:prstDash val="solid"/>
              <a:miter/>
            </a:ln>
          </p:spPr>
          <p:txBody>
            <a:bodyPr rtlCol="0" anchor="ctr"/>
            <a:lstStyle/>
            <a:p>
              <a:endParaRPr lang="en-US"/>
            </a:p>
          </p:txBody>
        </p:sp>
        <p:sp>
          <p:nvSpPr>
            <p:cNvPr id="4365" name="Freeform: Shape 4364">
              <a:extLst>
                <a:ext uri="{FF2B5EF4-FFF2-40B4-BE49-F238E27FC236}">
                  <a16:creationId xmlns:a16="http://schemas.microsoft.com/office/drawing/2014/main" id="{4A491C5D-E510-458E-A303-1F70EDA65ECD}"/>
                </a:ext>
              </a:extLst>
            </p:cNvPr>
            <p:cNvSpPr/>
            <p:nvPr/>
          </p:nvSpPr>
          <p:spPr>
            <a:xfrm>
              <a:off x="5666643" y="3244936"/>
              <a:ext cx="17911" cy="17911"/>
            </a:xfrm>
            <a:custGeom>
              <a:avLst/>
              <a:gdLst>
                <a:gd name="connsiteX0" fmla="*/ 20150 w 17911"/>
                <a:gd name="connsiteY0" fmla="*/ 672 h 17911"/>
                <a:gd name="connsiteX1" fmla="*/ 17016 w 17911"/>
                <a:gd name="connsiteY1" fmla="*/ 672 h 17911"/>
                <a:gd name="connsiteX2" fmla="*/ 12538 w 17911"/>
                <a:gd name="connsiteY2" fmla="*/ 5149 h 17911"/>
                <a:gd name="connsiteX3" fmla="*/ 2239 w 17911"/>
                <a:gd name="connsiteY3" fmla="*/ 5149 h 17911"/>
                <a:gd name="connsiteX4" fmla="*/ 0 w 17911"/>
                <a:gd name="connsiteY4" fmla="*/ 7388 h 17911"/>
                <a:gd name="connsiteX5" fmla="*/ 2239 w 17911"/>
                <a:gd name="connsiteY5" fmla="*/ 9627 h 17911"/>
                <a:gd name="connsiteX6" fmla="*/ 11195 w 17911"/>
                <a:gd name="connsiteY6" fmla="*/ 9627 h 17911"/>
                <a:gd name="connsiteX7" fmla="*/ 11195 w 17911"/>
                <a:gd name="connsiteY7" fmla="*/ 18583 h 17911"/>
                <a:gd name="connsiteX8" fmla="*/ 13433 w 17911"/>
                <a:gd name="connsiteY8" fmla="*/ 20822 h 17911"/>
                <a:gd name="connsiteX9" fmla="*/ 15672 w 17911"/>
                <a:gd name="connsiteY9" fmla="*/ 18583 h 17911"/>
                <a:gd name="connsiteX10" fmla="*/ 15672 w 17911"/>
                <a:gd name="connsiteY10" fmla="*/ 8284 h 17911"/>
                <a:gd name="connsiteX11" fmla="*/ 20150 w 17911"/>
                <a:gd name="connsiteY11" fmla="*/ 3806 h 17911"/>
                <a:gd name="connsiteX12" fmla="*/ 20150 w 17911"/>
                <a:gd name="connsiteY12" fmla="*/ 672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11" h="17911">
                  <a:moveTo>
                    <a:pt x="20150" y="672"/>
                  </a:moveTo>
                  <a:cubicBezTo>
                    <a:pt x="19255" y="-224"/>
                    <a:pt x="17911" y="-224"/>
                    <a:pt x="17016" y="672"/>
                  </a:cubicBezTo>
                  <a:lnTo>
                    <a:pt x="12538" y="5149"/>
                  </a:lnTo>
                  <a:lnTo>
                    <a:pt x="2239" y="5149"/>
                  </a:lnTo>
                  <a:cubicBezTo>
                    <a:pt x="896" y="5149"/>
                    <a:pt x="0" y="6045"/>
                    <a:pt x="0" y="7388"/>
                  </a:cubicBezTo>
                  <a:cubicBezTo>
                    <a:pt x="0" y="8732"/>
                    <a:pt x="896" y="9627"/>
                    <a:pt x="2239" y="9627"/>
                  </a:cubicBezTo>
                  <a:lnTo>
                    <a:pt x="11195" y="9627"/>
                  </a:lnTo>
                  <a:lnTo>
                    <a:pt x="11195" y="18583"/>
                  </a:lnTo>
                  <a:cubicBezTo>
                    <a:pt x="11195" y="19926"/>
                    <a:pt x="12090" y="20822"/>
                    <a:pt x="13433" y="20822"/>
                  </a:cubicBezTo>
                  <a:cubicBezTo>
                    <a:pt x="14777" y="20822"/>
                    <a:pt x="15672" y="19926"/>
                    <a:pt x="15672" y="18583"/>
                  </a:cubicBezTo>
                  <a:lnTo>
                    <a:pt x="15672" y="8284"/>
                  </a:lnTo>
                  <a:lnTo>
                    <a:pt x="20150" y="3806"/>
                  </a:lnTo>
                  <a:cubicBezTo>
                    <a:pt x="21046" y="2911"/>
                    <a:pt x="21046" y="1567"/>
                    <a:pt x="20150" y="672"/>
                  </a:cubicBezTo>
                  <a:close/>
                </a:path>
              </a:pathLst>
            </a:custGeom>
            <a:solidFill>
              <a:srgbClr val="231F20"/>
            </a:solidFill>
            <a:ln w="4474" cap="flat">
              <a:noFill/>
              <a:prstDash val="solid"/>
              <a:miter/>
            </a:ln>
          </p:spPr>
          <p:txBody>
            <a:bodyPr rtlCol="0" anchor="ctr"/>
            <a:lstStyle/>
            <a:p>
              <a:endParaRPr lang="en-US"/>
            </a:p>
          </p:txBody>
        </p:sp>
        <p:sp>
          <p:nvSpPr>
            <p:cNvPr id="4366" name="Freeform: Shape 4365">
              <a:extLst>
                <a:ext uri="{FF2B5EF4-FFF2-40B4-BE49-F238E27FC236}">
                  <a16:creationId xmlns:a16="http://schemas.microsoft.com/office/drawing/2014/main" id="{FF64DB1F-5D38-47C5-AD5C-8DC855592F96}"/>
                </a:ext>
              </a:extLst>
            </p:cNvPr>
            <p:cNvSpPr/>
            <p:nvPr/>
          </p:nvSpPr>
          <p:spPr>
            <a:xfrm>
              <a:off x="5691495" y="3229712"/>
              <a:ext cx="8956" cy="8956"/>
            </a:xfrm>
            <a:custGeom>
              <a:avLst/>
              <a:gdLst>
                <a:gd name="connsiteX0" fmla="*/ 2463 w 8955"/>
                <a:gd name="connsiteY0" fmla="*/ 10971 h 8955"/>
                <a:gd name="connsiteX1" fmla="*/ 672 w 8955"/>
                <a:gd name="connsiteY1" fmla="*/ 10523 h 8955"/>
                <a:gd name="connsiteX2" fmla="*/ 672 w 8955"/>
                <a:gd name="connsiteY2" fmla="*/ 7388 h 8955"/>
                <a:gd name="connsiteX3" fmla="*/ 7389 w 8955"/>
                <a:gd name="connsiteY3" fmla="*/ 672 h 8955"/>
                <a:gd name="connsiteX4" fmla="*/ 10523 w 8955"/>
                <a:gd name="connsiteY4" fmla="*/ 672 h 8955"/>
                <a:gd name="connsiteX5" fmla="*/ 10523 w 8955"/>
                <a:gd name="connsiteY5" fmla="*/ 3806 h 8955"/>
                <a:gd name="connsiteX6" fmla="*/ 3806 w 8955"/>
                <a:gd name="connsiteY6" fmla="*/ 10523 h 8955"/>
                <a:gd name="connsiteX7" fmla="*/ 2463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2463" y="10971"/>
                  </a:moveTo>
                  <a:cubicBezTo>
                    <a:pt x="2015" y="10971"/>
                    <a:pt x="1120" y="10971"/>
                    <a:pt x="672" y="10523"/>
                  </a:cubicBezTo>
                  <a:cubicBezTo>
                    <a:pt x="-224" y="9627"/>
                    <a:pt x="-224" y="8284"/>
                    <a:pt x="672" y="7388"/>
                  </a:cubicBezTo>
                  <a:lnTo>
                    <a:pt x="7389" y="672"/>
                  </a:lnTo>
                  <a:cubicBezTo>
                    <a:pt x="8284" y="-224"/>
                    <a:pt x="9628" y="-224"/>
                    <a:pt x="10523" y="672"/>
                  </a:cubicBezTo>
                  <a:cubicBezTo>
                    <a:pt x="11418" y="1567"/>
                    <a:pt x="11418" y="2911"/>
                    <a:pt x="10523" y="3806"/>
                  </a:cubicBezTo>
                  <a:lnTo>
                    <a:pt x="3806" y="10523"/>
                  </a:lnTo>
                  <a:cubicBezTo>
                    <a:pt x="3359" y="10971"/>
                    <a:pt x="2911" y="10971"/>
                    <a:pt x="2463" y="10971"/>
                  </a:cubicBezTo>
                  <a:close/>
                </a:path>
              </a:pathLst>
            </a:custGeom>
            <a:solidFill>
              <a:srgbClr val="231F20"/>
            </a:solidFill>
            <a:ln w="4474" cap="flat">
              <a:noFill/>
              <a:prstDash val="solid"/>
              <a:miter/>
            </a:ln>
          </p:spPr>
          <p:txBody>
            <a:bodyPr rtlCol="0" anchor="ctr"/>
            <a:lstStyle/>
            <a:p>
              <a:endParaRPr lang="en-US"/>
            </a:p>
          </p:txBody>
        </p:sp>
        <p:sp>
          <p:nvSpPr>
            <p:cNvPr id="4367" name="Freeform: Shape 4366">
              <a:extLst>
                <a:ext uri="{FF2B5EF4-FFF2-40B4-BE49-F238E27FC236}">
                  <a16:creationId xmlns:a16="http://schemas.microsoft.com/office/drawing/2014/main" id="{02E15426-D25E-4D5C-BAF6-33D3F8EFC316}"/>
                </a:ext>
              </a:extLst>
            </p:cNvPr>
            <p:cNvSpPr/>
            <p:nvPr/>
          </p:nvSpPr>
          <p:spPr>
            <a:xfrm>
              <a:off x="5613581" y="3244936"/>
              <a:ext cx="17911" cy="17911"/>
            </a:xfrm>
            <a:custGeom>
              <a:avLst/>
              <a:gdLst>
                <a:gd name="connsiteX0" fmla="*/ 18583 w 17911"/>
                <a:gd name="connsiteY0" fmla="*/ 5149 h 17911"/>
                <a:gd name="connsiteX1" fmla="*/ 8284 w 17911"/>
                <a:gd name="connsiteY1" fmla="*/ 5149 h 17911"/>
                <a:gd name="connsiteX2" fmla="*/ 3806 w 17911"/>
                <a:gd name="connsiteY2" fmla="*/ 672 h 17911"/>
                <a:gd name="connsiteX3" fmla="*/ 672 w 17911"/>
                <a:gd name="connsiteY3" fmla="*/ 672 h 17911"/>
                <a:gd name="connsiteX4" fmla="*/ 672 w 17911"/>
                <a:gd name="connsiteY4" fmla="*/ 3806 h 17911"/>
                <a:gd name="connsiteX5" fmla="*/ 5150 w 17911"/>
                <a:gd name="connsiteY5" fmla="*/ 8284 h 17911"/>
                <a:gd name="connsiteX6" fmla="*/ 5150 w 17911"/>
                <a:gd name="connsiteY6" fmla="*/ 18583 h 17911"/>
                <a:gd name="connsiteX7" fmla="*/ 7389 w 17911"/>
                <a:gd name="connsiteY7" fmla="*/ 20822 h 17911"/>
                <a:gd name="connsiteX8" fmla="*/ 9628 w 17911"/>
                <a:gd name="connsiteY8" fmla="*/ 18583 h 17911"/>
                <a:gd name="connsiteX9" fmla="*/ 9628 w 17911"/>
                <a:gd name="connsiteY9" fmla="*/ 9627 h 17911"/>
                <a:gd name="connsiteX10" fmla="*/ 18583 w 17911"/>
                <a:gd name="connsiteY10" fmla="*/ 9627 h 17911"/>
                <a:gd name="connsiteX11" fmla="*/ 20822 w 17911"/>
                <a:gd name="connsiteY11" fmla="*/ 7388 h 17911"/>
                <a:gd name="connsiteX12" fmla="*/ 18583 w 17911"/>
                <a:gd name="connsiteY12" fmla="*/ 5149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11" h="17911">
                  <a:moveTo>
                    <a:pt x="18583" y="5149"/>
                  </a:moveTo>
                  <a:lnTo>
                    <a:pt x="8284" y="5149"/>
                  </a:lnTo>
                  <a:lnTo>
                    <a:pt x="3806" y="672"/>
                  </a:lnTo>
                  <a:cubicBezTo>
                    <a:pt x="2911" y="-224"/>
                    <a:pt x="1567" y="-224"/>
                    <a:pt x="672" y="672"/>
                  </a:cubicBezTo>
                  <a:cubicBezTo>
                    <a:pt x="-224" y="1567"/>
                    <a:pt x="-224" y="2911"/>
                    <a:pt x="672" y="3806"/>
                  </a:cubicBezTo>
                  <a:lnTo>
                    <a:pt x="5150" y="8284"/>
                  </a:lnTo>
                  <a:lnTo>
                    <a:pt x="5150" y="18583"/>
                  </a:lnTo>
                  <a:cubicBezTo>
                    <a:pt x="5150" y="19926"/>
                    <a:pt x="6045" y="20822"/>
                    <a:pt x="7389" y="20822"/>
                  </a:cubicBezTo>
                  <a:cubicBezTo>
                    <a:pt x="8732" y="20822"/>
                    <a:pt x="9628" y="19926"/>
                    <a:pt x="9628" y="18583"/>
                  </a:cubicBezTo>
                  <a:lnTo>
                    <a:pt x="9628" y="9627"/>
                  </a:lnTo>
                  <a:lnTo>
                    <a:pt x="18583" y="9627"/>
                  </a:lnTo>
                  <a:cubicBezTo>
                    <a:pt x="19926" y="9627"/>
                    <a:pt x="20822" y="8732"/>
                    <a:pt x="20822" y="7388"/>
                  </a:cubicBezTo>
                  <a:cubicBezTo>
                    <a:pt x="20822" y="6045"/>
                    <a:pt x="19479" y="5149"/>
                    <a:pt x="18583" y="5149"/>
                  </a:cubicBezTo>
                  <a:close/>
                </a:path>
              </a:pathLst>
            </a:custGeom>
            <a:solidFill>
              <a:srgbClr val="231F20"/>
            </a:solidFill>
            <a:ln w="4474" cap="flat">
              <a:noFill/>
              <a:prstDash val="solid"/>
              <a:miter/>
            </a:ln>
          </p:spPr>
          <p:txBody>
            <a:bodyPr rtlCol="0" anchor="ctr"/>
            <a:lstStyle/>
            <a:p>
              <a:endParaRPr lang="en-US"/>
            </a:p>
          </p:txBody>
        </p:sp>
        <p:sp>
          <p:nvSpPr>
            <p:cNvPr id="4368" name="Freeform: Shape 4367">
              <a:extLst>
                <a:ext uri="{FF2B5EF4-FFF2-40B4-BE49-F238E27FC236}">
                  <a16:creationId xmlns:a16="http://schemas.microsoft.com/office/drawing/2014/main" id="{4A8E43C4-521A-42ED-BD31-2FAA579D97EB}"/>
                </a:ext>
              </a:extLst>
            </p:cNvPr>
            <p:cNvSpPr/>
            <p:nvPr/>
          </p:nvSpPr>
          <p:spPr>
            <a:xfrm>
              <a:off x="5597461" y="3229712"/>
              <a:ext cx="8956" cy="8956"/>
            </a:xfrm>
            <a:custGeom>
              <a:avLst/>
              <a:gdLst>
                <a:gd name="connsiteX0" fmla="*/ 9179 w 8955"/>
                <a:gd name="connsiteY0" fmla="*/ 10971 h 8955"/>
                <a:gd name="connsiteX1" fmla="*/ 7389 w 8955"/>
                <a:gd name="connsiteY1" fmla="*/ 10523 h 8955"/>
                <a:gd name="connsiteX2" fmla="*/ 672 w 8955"/>
                <a:gd name="connsiteY2" fmla="*/ 3806 h 8955"/>
                <a:gd name="connsiteX3" fmla="*/ 672 w 8955"/>
                <a:gd name="connsiteY3" fmla="*/ 672 h 8955"/>
                <a:gd name="connsiteX4" fmla="*/ 3806 w 8955"/>
                <a:gd name="connsiteY4" fmla="*/ 672 h 8955"/>
                <a:gd name="connsiteX5" fmla="*/ 10523 w 8955"/>
                <a:gd name="connsiteY5" fmla="*/ 7388 h 8955"/>
                <a:gd name="connsiteX6" fmla="*/ 10523 w 8955"/>
                <a:gd name="connsiteY6" fmla="*/ 10523 h 8955"/>
                <a:gd name="connsiteX7" fmla="*/ 9179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9179" y="10971"/>
                  </a:moveTo>
                  <a:cubicBezTo>
                    <a:pt x="8732" y="10971"/>
                    <a:pt x="7836" y="10971"/>
                    <a:pt x="7389" y="10523"/>
                  </a:cubicBezTo>
                  <a:lnTo>
                    <a:pt x="672" y="3806"/>
                  </a:lnTo>
                  <a:cubicBezTo>
                    <a:pt x="-224" y="2911"/>
                    <a:pt x="-224" y="1567"/>
                    <a:pt x="672" y="672"/>
                  </a:cubicBezTo>
                  <a:cubicBezTo>
                    <a:pt x="1567" y="-224"/>
                    <a:pt x="2911" y="-224"/>
                    <a:pt x="3806" y="672"/>
                  </a:cubicBezTo>
                  <a:lnTo>
                    <a:pt x="10523" y="7388"/>
                  </a:lnTo>
                  <a:cubicBezTo>
                    <a:pt x="11418" y="8284"/>
                    <a:pt x="11418" y="9627"/>
                    <a:pt x="10523" y="10523"/>
                  </a:cubicBezTo>
                  <a:cubicBezTo>
                    <a:pt x="10523" y="10971"/>
                    <a:pt x="10075" y="10971"/>
                    <a:pt x="9179" y="10971"/>
                  </a:cubicBezTo>
                  <a:close/>
                </a:path>
              </a:pathLst>
            </a:custGeom>
            <a:solidFill>
              <a:srgbClr val="231F20"/>
            </a:solidFill>
            <a:ln w="4474" cap="flat">
              <a:noFill/>
              <a:prstDash val="solid"/>
              <a:miter/>
            </a:ln>
          </p:spPr>
          <p:txBody>
            <a:bodyPr rtlCol="0" anchor="ctr"/>
            <a:lstStyle/>
            <a:p>
              <a:endParaRPr lang="en-US"/>
            </a:p>
          </p:txBody>
        </p:sp>
        <p:sp>
          <p:nvSpPr>
            <p:cNvPr id="4369" name="Freeform: Shape 4368">
              <a:extLst>
                <a:ext uri="{FF2B5EF4-FFF2-40B4-BE49-F238E27FC236}">
                  <a16:creationId xmlns:a16="http://schemas.microsoft.com/office/drawing/2014/main" id="{CC0A25FC-9E71-43EF-8798-923FF2A86A95}"/>
                </a:ext>
              </a:extLst>
            </p:cNvPr>
            <p:cNvSpPr/>
            <p:nvPr/>
          </p:nvSpPr>
          <p:spPr>
            <a:xfrm>
              <a:off x="5666643" y="3297998"/>
              <a:ext cx="17911" cy="17911"/>
            </a:xfrm>
            <a:custGeom>
              <a:avLst/>
              <a:gdLst>
                <a:gd name="connsiteX0" fmla="*/ 20150 w 17911"/>
                <a:gd name="connsiteY0" fmla="*/ 17016 h 17911"/>
                <a:gd name="connsiteX1" fmla="*/ 15672 w 17911"/>
                <a:gd name="connsiteY1" fmla="*/ 12538 h 17911"/>
                <a:gd name="connsiteX2" fmla="*/ 15672 w 17911"/>
                <a:gd name="connsiteY2" fmla="*/ 2239 h 17911"/>
                <a:gd name="connsiteX3" fmla="*/ 13433 w 17911"/>
                <a:gd name="connsiteY3" fmla="*/ 0 h 17911"/>
                <a:gd name="connsiteX4" fmla="*/ 11195 w 17911"/>
                <a:gd name="connsiteY4" fmla="*/ 2239 h 17911"/>
                <a:gd name="connsiteX5" fmla="*/ 11195 w 17911"/>
                <a:gd name="connsiteY5" fmla="*/ 11195 h 17911"/>
                <a:gd name="connsiteX6" fmla="*/ 2239 w 17911"/>
                <a:gd name="connsiteY6" fmla="*/ 11195 h 17911"/>
                <a:gd name="connsiteX7" fmla="*/ 0 w 17911"/>
                <a:gd name="connsiteY7" fmla="*/ 13433 h 17911"/>
                <a:gd name="connsiteX8" fmla="*/ 2239 w 17911"/>
                <a:gd name="connsiteY8" fmla="*/ 15672 h 17911"/>
                <a:gd name="connsiteX9" fmla="*/ 12538 w 17911"/>
                <a:gd name="connsiteY9" fmla="*/ 15672 h 17911"/>
                <a:gd name="connsiteX10" fmla="*/ 17016 w 17911"/>
                <a:gd name="connsiteY10" fmla="*/ 20150 h 17911"/>
                <a:gd name="connsiteX11" fmla="*/ 18807 w 17911"/>
                <a:gd name="connsiteY11" fmla="*/ 20598 h 17911"/>
                <a:gd name="connsiteX12" fmla="*/ 20598 w 17911"/>
                <a:gd name="connsiteY12" fmla="*/ 20150 h 17911"/>
                <a:gd name="connsiteX13" fmla="*/ 20150 w 17911"/>
                <a:gd name="connsiteY13" fmla="*/ 1701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11" h="17911">
                  <a:moveTo>
                    <a:pt x="20150" y="17016"/>
                  </a:moveTo>
                  <a:lnTo>
                    <a:pt x="15672" y="12538"/>
                  </a:lnTo>
                  <a:lnTo>
                    <a:pt x="15672" y="2239"/>
                  </a:lnTo>
                  <a:cubicBezTo>
                    <a:pt x="15672" y="896"/>
                    <a:pt x="14777" y="0"/>
                    <a:pt x="13433" y="0"/>
                  </a:cubicBezTo>
                  <a:cubicBezTo>
                    <a:pt x="12090" y="0"/>
                    <a:pt x="11195" y="896"/>
                    <a:pt x="11195" y="2239"/>
                  </a:cubicBezTo>
                  <a:lnTo>
                    <a:pt x="11195" y="11195"/>
                  </a:lnTo>
                  <a:lnTo>
                    <a:pt x="2239" y="11195"/>
                  </a:lnTo>
                  <a:cubicBezTo>
                    <a:pt x="896" y="11195"/>
                    <a:pt x="0" y="12090"/>
                    <a:pt x="0" y="13433"/>
                  </a:cubicBezTo>
                  <a:cubicBezTo>
                    <a:pt x="0" y="14777"/>
                    <a:pt x="896" y="15672"/>
                    <a:pt x="2239" y="15672"/>
                  </a:cubicBezTo>
                  <a:lnTo>
                    <a:pt x="12538" y="15672"/>
                  </a:lnTo>
                  <a:lnTo>
                    <a:pt x="17016" y="20150"/>
                  </a:lnTo>
                  <a:cubicBezTo>
                    <a:pt x="17464" y="20598"/>
                    <a:pt x="17911" y="20598"/>
                    <a:pt x="18807" y="20598"/>
                  </a:cubicBezTo>
                  <a:cubicBezTo>
                    <a:pt x="19703" y="20598"/>
                    <a:pt x="20150" y="20598"/>
                    <a:pt x="20598" y="20150"/>
                  </a:cubicBezTo>
                  <a:cubicBezTo>
                    <a:pt x="21046" y="19255"/>
                    <a:pt x="21046" y="17911"/>
                    <a:pt x="20150" y="17016"/>
                  </a:cubicBezTo>
                  <a:close/>
                </a:path>
              </a:pathLst>
            </a:custGeom>
            <a:solidFill>
              <a:srgbClr val="231F20"/>
            </a:solidFill>
            <a:ln w="4474" cap="flat">
              <a:noFill/>
              <a:prstDash val="solid"/>
              <a:miter/>
            </a:ln>
          </p:spPr>
          <p:txBody>
            <a:bodyPr rtlCol="0" anchor="ctr"/>
            <a:lstStyle/>
            <a:p>
              <a:endParaRPr lang="en-US"/>
            </a:p>
          </p:txBody>
        </p:sp>
        <p:sp>
          <p:nvSpPr>
            <p:cNvPr id="4370" name="Freeform: Shape 4369">
              <a:extLst>
                <a:ext uri="{FF2B5EF4-FFF2-40B4-BE49-F238E27FC236}">
                  <a16:creationId xmlns:a16="http://schemas.microsoft.com/office/drawing/2014/main" id="{6579F61D-96F8-488A-927E-FFBECE79B8C8}"/>
                </a:ext>
              </a:extLst>
            </p:cNvPr>
            <p:cNvSpPr/>
            <p:nvPr/>
          </p:nvSpPr>
          <p:spPr>
            <a:xfrm>
              <a:off x="5691495" y="3323298"/>
              <a:ext cx="8956" cy="8956"/>
            </a:xfrm>
            <a:custGeom>
              <a:avLst/>
              <a:gdLst>
                <a:gd name="connsiteX0" fmla="*/ 9179 w 8955"/>
                <a:gd name="connsiteY0" fmla="*/ 10971 h 8955"/>
                <a:gd name="connsiteX1" fmla="*/ 7389 w 8955"/>
                <a:gd name="connsiteY1" fmla="*/ 10523 h 8955"/>
                <a:gd name="connsiteX2" fmla="*/ 672 w 8955"/>
                <a:gd name="connsiteY2" fmla="*/ 3806 h 8955"/>
                <a:gd name="connsiteX3" fmla="*/ 672 w 8955"/>
                <a:gd name="connsiteY3" fmla="*/ 672 h 8955"/>
                <a:gd name="connsiteX4" fmla="*/ 3806 w 8955"/>
                <a:gd name="connsiteY4" fmla="*/ 672 h 8955"/>
                <a:gd name="connsiteX5" fmla="*/ 10523 w 8955"/>
                <a:gd name="connsiteY5" fmla="*/ 7388 h 8955"/>
                <a:gd name="connsiteX6" fmla="*/ 10523 w 8955"/>
                <a:gd name="connsiteY6" fmla="*/ 10523 h 8955"/>
                <a:gd name="connsiteX7" fmla="*/ 9179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9179" y="10971"/>
                  </a:moveTo>
                  <a:cubicBezTo>
                    <a:pt x="8732" y="10971"/>
                    <a:pt x="7836" y="10971"/>
                    <a:pt x="7389" y="10523"/>
                  </a:cubicBezTo>
                  <a:lnTo>
                    <a:pt x="672" y="3806"/>
                  </a:lnTo>
                  <a:cubicBezTo>
                    <a:pt x="-224" y="2911"/>
                    <a:pt x="-224" y="1567"/>
                    <a:pt x="672" y="672"/>
                  </a:cubicBezTo>
                  <a:cubicBezTo>
                    <a:pt x="1567" y="-224"/>
                    <a:pt x="2911" y="-224"/>
                    <a:pt x="3806" y="672"/>
                  </a:cubicBezTo>
                  <a:lnTo>
                    <a:pt x="10523" y="7388"/>
                  </a:lnTo>
                  <a:cubicBezTo>
                    <a:pt x="11418" y="8284"/>
                    <a:pt x="11418" y="9627"/>
                    <a:pt x="10523" y="10523"/>
                  </a:cubicBezTo>
                  <a:cubicBezTo>
                    <a:pt x="10075" y="10971"/>
                    <a:pt x="9628" y="10971"/>
                    <a:pt x="9179" y="10971"/>
                  </a:cubicBezTo>
                  <a:close/>
                </a:path>
              </a:pathLst>
            </a:custGeom>
            <a:solidFill>
              <a:srgbClr val="231F20"/>
            </a:solidFill>
            <a:ln w="4474" cap="flat">
              <a:noFill/>
              <a:prstDash val="solid"/>
              <a:miter/>
            </a:ln>
          </p:spPr>
          <p:txBody>
            <a:bodyPr rtlCol="0" anchor="ctr"/>
            <a:lstStyle/>
            <a:p>
              <a:endParaRPr lang="en-US"/>
            </a:p>
          </p:txBody>
        </p:sp>
        <p:sp>
          <p:nvSpPr>
            <p:cNvPr id="4371" name="Freeform: Shape 4370">
              <a:extLst>
                <a:ext uri="{FF2B5EF4-FFF2-40B4-BE49-F238E27FC236}">
                  <a16:creationId xmlns:a16="http://schemas.microsoft.com/office/drawing/2014/main" id="{FE97BE06-0DDB-4AD5-8CC6-48DD384AAB38}"/>
                </a:ext>
              </a:extLst>
            </p:cNvPr>
            <p:cNvSpPr/>
            <p:nvPr/>
          </p:nvSpPr>
          <p:spPr>
            <a:xfrm>
              <a:off x="5613581" y="3297998"/>
              <a:ext cx="17911" cy="17911"/>
            </a:xfrm>
            <a:custGeom>
              <a:avLst/>
              <a:gdLst>
                <a:gd name="connsiteX0" fmla="*/ 18583 w 17911"/>
                <a:gd name="connsiteY0" fmla="*/ 11195 h 17911"/>
                <a:gd name="connsiteX1" fmla="*/ 9628 w 17911"/>
                <a:gd name="connsiteY1" fmla="*/ 11195 h 17911"/>
                <a:gd name="connsiteX2" fmla="*/ 9628 w 17911"/>
                <a:gd name="connsiteY2" fmla="*/ 2239 h 17911"/>
                <a:gd name="connsiteX3" fmla="*/ 7389 w 17911"/>
                <a:gd name="connsiteY3" fmla="*/ 0 h 17911"/>
                <a:gd name="connsiteX4" fmla="*/ 5150 w 17911"/>
                <a:gd name="connsiteY4" fmla="*/ 2239 h 17911"/>
                <a:gd name="connsiteX5" fmla="*/ 5150 w 17911"/>
                <a:gd name="connsiteY5" fmla="*/ 12538 h 17911"/>
                <a:gd name="connsiteX6" fmla="*/ 672 w 17911"/>
                <a:gd name="connsiteY6" fmla="*/ 17016 h 17911"/>
                <a:gd name="connsiteX7" fmla="*/ 672 w 17911"/>
                <a:gd name="connsiteY7" fmla="*/ 20150 h 17911"/>
                <a:gd name="connsiteX8" fmla="*/ 2463 w 17911"/>
                <a:gd name="connsiteY8" fmla="*/ 20598 h 17911"/>
                <a:gd name="connsiteX9" fmla="*/ 4254 w 17911"/>
                <a:gd name="connsiteY9" fmla="*/ 20150 h 17911"/>
                <a:gd name="connsiteX10" fmla="*/ 8732 w 17911"/>
                <a:gd name="connsiteY10" fmla="*/ 15672 h 17911"/>
                <a:gd name="connsiteX11" fmla="*/ 19031 w 17911"/>
                <a:gd name="connsiteY11" fmla="*/ 15672 h 17911"/>
                <a:gd name="connsiteX12" fmla="*/ 21270 w 17911"/>
                <a:gd name="connsiteY12" fmla="*/ 13433 h 17911"/>
                <a:gd name="connsiteX13" fmla="*/ 18583 w 17911"/>
                <a:gd name="connsiteY13" fmla="*/ 11195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11" h="17911">
                  <a:moveTo>
                    <a:pt x="18583" y="11195"/>
                  </a:moveTo>
                  <a:lnTo>
                    <a:pt x="9628" y="11195"/>
                  </a:lnTo>
                  <a:lnTo>
                    <a:pt x="9628" y="2239"/>
                  </a:lnTo>
                  <a:cubicBezTo>
                    <a:pt x="9628" y="896"/>
                    <a:pt x="8732" y="0"/>
                    <a:pt x="7389" y="0"/>
                  </a:cubicBezTo>
                  <a:cubicBezTo>
                    <a:pt x="6045" y="0"/>
                    <a:pt x="5150" y="896"/>
                    <a:pt x="5150" y="2239"/>
                  </a:cubicBezTo>
                  <a:lnTo>
                    <a:pt x="5150" y="12538"/>
                  </a:lnTo>
                  <a:lnTo>
                    <a:pt x="672" y="17016"/>
                  </a:lnTo>
                  <a:cubicBezTo>
                    <a:pt x="-224" y="17911"/>
                    <a:pt x="-224" y="19255"/>
                    <a:pt x="672" y="20150"/>
                  </a:cubicBezTo>
                  <a:cubicBezTo>
                    <a:pt x="1120" y="20598"/>
                    <a:pt x="1567" y="20598"/>
                    <a:pt x="2463" y="20598"/>
                  </a:cubicBezTo>
                  <a:cubicBezTo>
                    <a:pt x="3359" y="20598"/>
                    <a:pt x="3806" y="20598"/>
                    <a:pt x="4254" y="20150"/>
                  </a:cubicBezTo>
                  <a:lnTo>
                    <a:pt x="8732" y="15672"/>
                  </a:lnTo>
                  <a:lnTo>
                    <a:pt x="19031" y="15672"/>
                  </a:lnTo>
                  <a:cubicBezTo>
                    <a:pt x="20374" y="15672"/>
                    <a:pt x="21270" y="14777"/>
                    <a:pt x="21270" y="13433"/>
                  </a:cubicBezTo>
                  <a:cubicBezTo>
                    <a:pt x="20822" y="12090"/>
                    <a:pt x="19479" y="11195"/>
                    <a:pt x="18583" y="11195"/>
                  </a:cubicBezTo>
                  <a:close/>
                </a:path>
              </a:pathLst>
            </a:custGeom>
            <a:solidFill>
              <a:srgbClr val="231F20"/>
            </a:solidFill>
            <a:ln w="4474" cap="flat">
              <a:noFill/>
              <a:prstDash val="solid"/>
              <a:miter/>
            </a:ln>
          </p:spPr>
          <p:txBody>
            <a:bodyPr rtlCol="0" anchor="ctr"/>
            <a:lstStyle/>
            <a:p>
              <a:endParaRPr lang="en-US"/>
            </a:p>
          </p:txBody>
        </p:sp>
        <p:sp>
          <p:nvSpPr>
            <p:cNvPr id="4372" name="Freeform: Shape 4371">
              <a:extLst>
                <a:ext uri="{FF2B5EF4-FFF2-40B4-BE49-F238E27FC236}">
                  <a16:creationId xmlns:a16="http://schemas.microsoft.com/office/drawing/2014/main" id="{17E8E827-FB61-49E4-8F97-F2971F9C3BF3}"/>
                </a:ext>
              </a:extLst>
            </p:cNvPr>
            <p:cNvSpPr/>
            <p:nvPr/>
          </p:nvSpPr>
          <p:spPr>
            <a:xfrm>
              <a:off x="5597461" y="3323298"/>
              <a:ext cx="8956" cy="8956"/>
            </a:xfrm>
            <a:custGeom>
              <a:avLst/>
              <a:gdLst>
                <a:gd name="connsiteX0" fmla="*/ 2463 w 8955"/>
                <a:gd name="connsiteY0" fmla="*/ 10971 h 8955"/>
                <a:gd name="connsiteX1" fmla="*/ 672 w 8955"/>
                <a:gd name="connsiteY1" fmla="*/ 10523 h 8955"/>
                <a:gd name="connsiteX2" fmla="*/ 672 w 8955"/>
                <a:gd name="connsiteY2" fmla="*/ 7388 h 8955"/>
                <a:gd name="connsiteX3" fmla="*/ 7389 w 8955"/>
                <a:gd name="connsiteY3" fmla="*/ 672 h 8955"/>
                <a:gd name="connsiteX4" fmla="*/ 10523 w 8955"/>
                <a:gd name="connsiteY4" fmla="*/ 672 h 8955"/>
                <a:gd name="connsiteX5" fmla="*/ 10523 w 8955"/>
                <a:gd name="connsiteY5" fmla="*/ 3806 h 8955"/>
                <a:gd name="connsiteX6" fmla="*/ 3806 w 8955"/>
                <a:gd name="connsiteY6" fmla="*/ 10523 h 8955"/>
                <a:gd name="connsiteX7" fmla="*/ 2463 w 8955"/>
                <a:gd name="connsiteY7" fmla="*/ 10971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2463" y="10971"/>
                  </a:moveTo>
                  <a:cubicBezTo>
                    <a:pt x="2015" y="10971"/>
                    <a:pt x="1120" y="10971"/>
                    <a:pt x="672" y="10523"/>
                  </a:cubicBezTo>
                  <a:cubicBezTo>
                    <a:pt x="-224" y="9627"/>
                    <a:pt x="-224" y="8284"/>
                    <a:pt x="672" y="7388"/>
                  </a:cubicBezTo>
                  <a:lnTo>
                    <a:pt x="7389" y="672"/>
                  </a:lnTo>
                  <a:cubicBezTo>
                    <a:pt x="8284" y="-224"/>
                    <a:pt x="9628" y="-224"/>
                    <a:pt x="10523" y="672"/>
                  </a:cubicBezTo>
                  <a:cubicBezTo>
                    <a:pt x="11418" y="1567"/>
                    <a:pt x="11418" y="2911"/>
                    <a:pt x="10523" y="3806"/>
                  </a:cubicBezTo>
                  <a:lnTo>
                    <a:pt x="3806" y="10523"/>
                  </a:lnTo>
                  <a:cubicBezTo>
                    <a:pt x="3806" y="10971"/>
                    <a:pt x="3359" y="10971"/>
                    <a:pt x="2463" y="10971"/>
                  </a:cubicBezTo>
                  <a:close/>
                </a:path>
              </a:pathLst>
            </a:custGeom>
            <a:solidFill>
              <a:srgbClr val="231F20"/>
            </a:solidFill>
            <a:ln w="4474" cap="flat">
              <a:noFill/>
              <a:prstDash val="solid"/>
              <a:miter/>
            </a:ln>
          </p:spPr>
          <p:txBody>
            <a:bodyPr rtlCol="0" anchor="ctr"/>
            <a:lstStyle/>
            <a:p>
              <a:endParaRPr lang="en-US"/>
            </a:p>
          </p:txBody>
        </p:sp>
        <p:sp>
          <p:nvSpPr>
            <p:cNvPr id="4373" name="Freeform: Shape 4372">
              <a:extLst>
                <a:ext uri="{FF2B5EF4-FFF2-40B4-BE49-F238E27FC236}">
                  <a16:creationId xmlns:a16="http://schemas.microsoft.com/office/drawing/2014/main" id="{E4F14EF3-9B15-412D-9F0A-8C377CB335D7}"/>
                </a:ext>
              </a:extLst>
            </p:cNvPr>
            <p:cNvSpPr/>
            <p:nvPr/>
          </p:nvSpPr>
          <p:spPr>
            <a:xfrm>
              <a:off x="5581117" y="3212472"/>
              <a:ext cx="138812" cy="138812"/>
            </a:xfrm>
            <a:custGeom>
              <a:avLst/>
              <a:gdLst>
                <a:gd name="connsiteX0" fmla="*/ 138812 w 138812"/>
                <a:gd name="connsiteY0" fmla="*/ 2239 h 138812"/>
                <a:gd name="connsiteX1" fmla="*/ 138812 w 138812"/>
                <a:gd name="connsiteY1" fmla="*/ 1343 h 138812"/>
                <a:gd name="connsiteX2" fmla="*/ 137469 w 138812"/>
                <a:gd name="connsiteY2" fmla="*/ 0 h 138812"/>
                <a:gd name="connsiteX3" fmla="*/ 136573 w 138812"/>
                <a:gd name="connsiteY3" fmla="*/ 0 h 138812"/>
                <a:gd name="connsiteX4" fmla="*/ 2239 w 138812"/>
                <a:gd name="connsiteY4" fmla="*/ 0 h 138812"/>
                <a:gd name="connsiteX5" fmla="*/ 1344 w 138812"/>
                <a:gd name="connsiteY5" fmla="*/ 0 h 138812"/>
                <a:gd name="connsiteX6" fmla="*/ 0 w 138812"/>
                <a:gd name="connsiteY6" fmla="*/ 1343 h 138812"/>
                <a:gd name="connsiteX7" fmla="*/ 0 w 138812"/>
                <a:gd name="connsiteY7" fmla="*/ 2239 h 138812"/>
                <a:gd name="connsiteX8" fmla="*/ 0 w 138812"/>
                <a:gd name="connsiteY8" fmla="*/ 136574 h 138812"/>
                <a:gd name="connsiteX9" fmla="*/ 0 w 138812"/>
                <a:gd name="connsiteY9" fmla="*/ 137469 h 138812"/>
                <a:gd name="connsiteX10" fmla="*/ 1344 w 138812"/>
                <a:gd name="connsiteY10" fmla="*/ 138812 h 138812"/>
                <a:gd name="connsiteX11" fmla="*/ 2239 w 138812"/>
                <a:gd name="connsiteY11" fmla="*/ 138812 h 138812"/>
                <a:gd name="connsiteX12" fmla="*/ 136573 w 138812"/>
                <a:gd name="connsiteY12" fmla="*/ 138812 h 138812"/>
                <a:gd name="connsiteX13" fmla="*/ 137469 w 138812"/>
                <a:gd name="connsiteY13" fmla="*/ 138812 h 138812"/>
                <a:gd name="connsiteX14" fmla="*/ 138812 w 138812"/>
                <a:gd name="connsiteY14" fmla="*/ 137469 h 138812"/>
                <a:gd name="connsiteX15" fmla="*/ 138812 w 138812"/>
                <a:gd name="connsiteY15" fmla="*/ 136574 h 138812"/>
                <a:gd name="connsiteX16" fmla="*/ 138812 w 138812"/>
                <a:gd name="connsiteY16" fmla="*/ 2239 h 138812"/>
                <a:gd name="connsiteX17" fmla="*/ 127618 w 138812"/>
                <a:gd name="connsiteY17" fmla="*/ 124931 h 138812"/>
                <a:gd name="connsiteX18" fmla="*/ 124484 w 138812"/>
                <a:gd name="connsiteY18" fmla="*/ 124931 h 138812"/>
                <a:gd name="connsiteX19" fmla="*/ 124484 w 138812"/>
                <a:gd name="connsiteY19" fmla="*/ 128066 h 138812"/>
                <a:gd name="connsiteX20" fmla="*/ 130752 w 138812"/>
                <a:gd name="connsiteY20" fmla="*/ 134335 h 138812"/>
                <a:gd name="connsiteX21" fmla="*/ 7164 w 138812"/>
                <a:gd name="connsiteY21" fmla="*/ 134335 h 138812"/>
                <a:gd name="connsiteX22" fmla="*/ 13433 w 138812"/>
                <a:gd name="connsiteY22" fmla="*/ 128066 h 138812"/>
                <a:gd name="connsiteX23" fmla="*/ 13433 w 138812"/>
                <a:gd name="connsiteY23" fmla="*/ 124931 h 138812"/>
                <a:gd name="connsiteX24" fmla="*/ 10299 w 138812"/>
                <a:gd name="connsiteY24" fmla="*/ 124931 h 138812"/>
                <a:gd name="connsiteX25" fmla="*/ 4030 w 138812"/>
                <a:gd name="connsiteY25" fmla="*/ 131200 h 138812"/>
                <a:gd name="connsiteX26" fmla="*/ 4030 w 138812"/>
                <a:gd name="connsiteY26" fmla="*/ 7612 h 138812"/>
                <a:gd name="connsiteX27" fmla="*/ 10299 w 138812"/>
                <a:gd name="connsiteY27" fmla="*/ 13881 h 138812"/>
                <a:gd name="connsiteX28" fmla="*/ 12090 w 138812"/>
                <a:gd name="connsiteY28" fmla="*/ 14329 h 138812"/>
                <a:gd name="connsiteX29" fmla="*/ 13881 w 138812"/>
                <a:gd name="connsiteY29" fmla="*/ 13881 h 138812"/>
                <a:gd name="connsiteX30" fmla="*/ 13881 w 138812"/>
                <a:gd name="connsiteY30" fmla="*/ 10747 h 138812"/>
                <a:gd name="connsiteX31" fmla="*/ 7612 w 138812"/>
                <a:gd name="connsiteY31" fmla="*/ 4478 h 138812"/>
                <a:gd name="connsiteX32" fmla="*/ 131200 w 138812"/>
                <a:gd name="connsiteY32" fmla="*/ 4478 h 138812"/>
                <a:gd name="connsiteX33" fmla="*/ 124931 w 138812"/>
                <a:gd name="connsiteY33" fmla="*/ 10747 h 138812"/>
                <a:gd name="connsiteX34" fmla="*/ 124931 w 138812"/>
                <a:gd name="connsiteY34" fmla="*/ 13881 h 138812"/>
                <a:gd name="connsiteX35" fmla="*/ 126722 w 138812"/>
                <a:gd name="connsiteY35" fmla="*/ 14329 h 138812"/>
                <a:gd name="connsiteX36" fmla="*/ 128513 w 138812"/>
                <a:gd name="connsiteY36" fmla="*/ 13881 h 138812"/>
                <a:gd name="connsiteX37" fmla="*/ 134782 w 138812"/>
                <a:gd name="connsiteY37" fmla="*/ 7612 h 138812"/>
                <a:gd name="connsiteX38" fmla="*/ 134782 w 138812"/>
                <a:gd name="connsiteY38" fmla="*/ 131200 h 138812"/>
                <a:gd name="connsiteX39" fmla="*/ 127618 w 138812"/>
                <a:gd name="connsiteY39" fmla="*/ 124931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8812" h="138812">
                  <a:moveTo>
                    <a:pt x="138812" y="2239"/>
                  </a:moveTo>
                  <a:cubicBezTo>
                    <a:pt x="138812" y="1791"/>
                    <a:pt x="138812" y="1791"/>
                    <a:pt x="138812" y="1343"/>
                  </a:cubicBezTo>
                  <a:cubicBezTo>
                    <a:pt x="138365" y="896"/>
                    <a:pt x="138365" y="448"/>
                    <a:pt x="137469" y="0"/>
                  </a:cubicBezTo>
                  <a:cubicBezTo>
                    <a:pt x="137021" y="0"/>
                    <a:pt x="137021" y="0"/>
                    <a:pt x="136573" y="0"/>
                  </a:cubicBezTo>
                  <a:lnTo>
                    <a:pt x="2239" y="0"/>
                  </a:lnTo>
                  <a:cubicBezTo>
                    <a:pt x="1791" y="0"/>
                    <a:pt x="1791" y="0"/>
                    <a:pt x="1344" y="0"/>
                  </a:cubicBezTo>
                  <a:cubicBezTo>
                    <a:pt x="895" y="448"/>
                    <a:pt x="448" y="448"/>
                    <a:pt x="0" y="1343"/>
                  </a:cubicBezTo>
                  <a:cubicBezTo>
                    <a:pt x="0" y="1791"/>
                    <a:pt x="0" y="1791"/>
                    <a:pt x="0" y="2239"/>
                  </a:cubicBezTo>
                  <a:lnTo>
                    <a:pt x="0" y="136574"/>
                  </a:lnTo>
                  <a:cubicBezTo>
                    <a:pt x="0" y="137021"/>
                    <a:pt x="0" y="137021"/>
                    <a:pt x="0" y="137469"/>
                  </a:cubicBezTo>
                  <a:cubicBezTo>
                    <a:pt x="448" y="137917"/>
                    <a:pt x="448" y="138365"/>
                    <a:pt x="1344" y="138812"/>
                  </a:cubicBezTo>
                  <a:cubicBezTo>
                    <a:pt x="1791" y="138812"/>
                    <a:pt x="1791" y="138812"/>
                    <a:pt x="2239" y="138812"/>
                  </a:cubicBezTo>
                  <a:lnTo>
                    <a:pt x="136573" y="138812"/>
                  </a:lnTo>
                  <a:cubicBezTo>
                    <a:pt x="137021" y="138812"/>
                    <a:pt x="137021" y="138812"/>
                    <a:pt x="137469" y="138812"/>
                  </a:cubicBezTo>
                  <a:cubicBezTo>
                    <a:pt x="137917" y="138365"/>
                    <a:pt x="138365" y="138365"/>
                    <a:pt x="138812" y="137469"/>
                  </a:cubicBezTo>
                  <a:cubicBezTo>
                    <a:pt x="138812" y="137021"/>
                    <a:pt x="138812" y="137021"/>
                    <a:pt x="138812" y="136574"/>
                  </a:cubicBezTo>
                  <a:lnTo>
                    <a:pt x="138812" y="2239"/>
                  </a:lnTo>
                  <a:close/>
                  <a:moveTo>
                    <a:pt x="127618" y="124931"/>
                  </a:moveTo>
                  <a:cubicBezTo>
                    <a:pt x="126722" y="124035"/>
                    <a:pt x="125379" y="124035"/>
                    <a:pt x="124484" y="124931"/>
                  </a:cubicBezTo>
                  <a:cubicBezTo>
                    <a:pt x="123588" y="125827"/>
                    <a:pt x="123588" y="127170"/>
                    <a:pt x="124484" y="128066"/>
                  </a:cubicBezTo>
                  <a:lnTo>
                    <a:pt x="130752" y="134335"/>
                  </a:lnTo>
                  <a:lnTo>
                    <a:pt x="7164" y="134335"/>
                  </a:lnTo>
                  <a:lnTo>
                    <a:pt x="13433" y="128066"/>
                  </a:lnTo>
                  <a:cubicBezTo>
                    <a:pt x="14329" y="127170"/>
                    <a:pt x="14329" y="125827"/>
                    <a:pt x="13433" y="124931"/>
                  </a:cubicBezTo>
                  <a:cubicBezTo>
                    <a:pt x="12538" y="124035"/>
                    <a:pt x="11195" y="124035"/>
                    <a:pt x="10299" y="124931"/>
                  </a:cubicBezTo>
                  <a:lnTo>
                    <a:pt x="4030" y="131200"/>
                  </a:lnTo>
                  <a:lnTo>
                    <a:pt x="4030" y="7612"/>
                  </a:lnTo>
                  <a:lnTo>
                    <a:pt x="10299" y="13881"/>
                  </a:lnTo>
                  <a:cubicBezTo>
                    <a:pt x="10747" y="14329"/>
                    <a:pt x="11195" y="14329"/>
                    <a:pt x="12090" y="14329"/>
                  </a:cubicBezTo>
                  <a:cubicBezTo>
                    <a:pt x="12986" y="14329"/>
                    <a:pt x="13433" y="14329"/>
                    <a:pt x="13881" y="13881"/>
                  </a:cubicBezTo>
                  <a:cubicBezTo>
                    <a:pt x="14777" y="12986"/>
                    <a:pt x="14777" y="11642"/>
                    <a:pt x="13881" y="10747"/>
                  </a:cubicBezTo>
                  <a:lnTo>
                    <a:pt x="7612" y="4478"/>
                  </a:lnTo>
                  <a:lnTo>
                    <a:pt x="131200" y="4478"/>
                  </a:lnTo>
                  <a:lnTo>
                    <a:pt x="124931" y="10747"/>
                  </a:lnTo>
                  <a:cubicBezTo>
                    <a:pt x="124035" y="11642"/>
                    <a:pt x="124035" y="12986"/>
                    <a:pt x="124931" y="13881"/>
                  </a:cubicBezTo>
                  <a:cubicBezTo>
                    <a:pt x="125379" y="14329"/>
                    <a:pt x="125827" y="14329"/>
                    <a:pt x="126722" y="14329"/>
                  </a:cubicBezTo>
                  <a:cubicBezTo>
                    <a:pt x="127618" y="14329"/>
                    <a:pt x="128065" y="14329"/>
                    <a:pt x="128513" y="13881"/>
                  </a:cubicBezTo>
                  <a:lnTo>
                    <a:pt x="134782" y="7612"/>
                  </a:lnTo>
                  <a:lnTo>
                    <a:pt x="134782" y="131200"/>
                  </a:lnTo>
                  <a:lnTo>
                    <a:pt x="127618" y="124931"/>
                  </a:lnTo>
                  <a:close/>
                </a:path>
              </a:pathLst>
            </a:custGeom>
            <a:solidFill>
              <a:srgbClr val="231F20"/>
            </a:solidFill>
            <a:ln w="4474" cap="flat">
              <a:noFill/>
              <a:prstDash val="solid"/>
              <a:miter/>
            </a:ln>
          </p:spPr>
          <p:txBody>
            <a:bodyPr rtlCol="0" anchor="ctr"/>
            <a:lstStyle/>
            <a:p>
              <a:endParaRPr lang="en-US"/>
            </a:p>
          </p:txBody>
        </p:sp>
      </p:grpSp>
      <p:grpSp>
        <p:nvGrpSpPr>
          <p:cNvPr id="4374" name="Group 4373">
            <a:extLst>
              <a:ext uri="{FF2B5EF4-FFF2-40B4-BE49-F238E27FC236}">
                <a16:creationId xmlns:a16="http://schemas.microsoft.com/office/drawing/2014/main" id="{A3F135B3-E7C0-4A84-98FF-34EDC7A7E3CD}"/>
              </a:ext>
              <a:ext uri="{C183D7F6-B498-43B3-948B-1728B52AA6E4}">
                <adec:decorative xmlns:adec="http://schemas.microsoft.com/office/drawing/2017/decorative" val="1"/>
              </a:ext>
            </a:extLst>
          </p:cNvPr>
          <p:cNvGrpSpPr>
            <a:grpSpLocks noChangeAspect="1"/>
          </p:cNvGrpSpPr>
          <p:nvPr/>
        </p:nvGrpSpPr>
        <p:grpSpPr>
          <a:xfrm>
            <a:off x="544013" y="4245238"/>
            <a:ext cx="152246" cy="152246"/>
            <a:chOff x="584767" y="3509799"/>
            <a:chExt cx="152246" cy="152246"/>
          </a:xfrm>
        </p:grpSpPr>
        <p:sp>
          <p:nvSpPr>
            <p:cNvPr id="4375" name="Freeform: Shape 4374">
              <a:extLst>
                <a:ext uri="{FF2B5EF4-FFF2-40B4-BE49-F238E27FC236}">
                  <a16:creationId xmlns:a16="http://schemas.microsoft.com/office/drawing/2014/main" id="{377197F0-5834-4446-8103-4398E516946B}"/>
                </a:ext>
              </a:extLst>
            </p:cNvPr>
            <p:cNvSpPr/>
            <p:nvPr/>
          </p:nvSpPr>
          <p:spPr>
            <a:xfrm>
              <a:off x="631337" y="3552450"/>
              <a:ext cx="58212" cy="62689"/>
            </a:xfrm>
            <a:custGeom>
              <a:avLst/>
              <a:gdLst>
                <a:gd name="connsiteX0" fmla="*/ 59107 w 58211"/>
                <a:gd name="connsiteY0" fmla="*/ 16904 h 62689"/>
                <a:gd name="connsiteX1" fmla="*/ 59107 w 58211"/>
                <a:gd name="connsiteY1" fmla="*/ 16904 h 62689"/>
                <a:gd name="connsiteX2" fmla="*/ 58212 w 58211"/>
                <a:gd name="connsiteY2" fmla="*/ 16008 h 62689"/>
                <a:gd name="connsiteX3" fmla="*/ 58212 w 58211"/>
                <a:gd name="connsiteY3" fmla="*/ 16008 h 62689"/>
                <a:gd name="connsiteX4" fmla="*/ 30897 w 58211"/>
                <a:gd name="connsiteY4" fmla="*/ 336 h 62689"/>
                <a:gd name="connsiteX5" fmla="*/ 28658 w 58211"/>
                <a:gd name="connsiteY5" fmla="*/ 336 h 62689"/>
                <a:gd name="connsiteX6" fmla="*/ 1343 w 58211"/>
                <a:gd name="connsiteY6" fmla="*/ 16008 h 62689"/>
                <a:gd name="connsiteX7" fmla="*/ 0 w 58211"/>
                <a:gd name="connsiteY7" fmla="*/ 17799 h 62689"/>
                <a:gd name="connsiteX8" fmla="*/ 0 w 58211"/>
                <a:gd name="connsiteY8" fmla="*/ 49144 h 62689"/>
                <a:gd name="connsiteX9" fmla="*/ 1343 w 58211"/>
                <a:gd name="connsiteY9" fmla="*/ 50935 h 62689"/>
                <a:gd name="connsiteX10" fmla="*/ 28658 w 58211"/>
                <a:gd name="connsiteY10" fmla="*/ 66608 h 62689"/>
                <a:gd name="connsiteX11" fmla="*/ 28658 w 58211"/>
                <a:gd name="connsiteY11" fmla="*/ 66608 h 62689"/>
                <a:gd name="connsiteX12" fmla="*/ 29554 w 58211"/>
                <a:gd name="connsiteY12" fmla="*/ 67055 h 62689"/>
                <a:gd name="connsiteX13" fmla="*/ 29554 w 58211"/>
                <a:gd name="connsiteY13" fmla="*/ 67055 h 62689"/>
                <a:gd name="connsiteX14" fmla="*/ 29554 w 58211"/>
                <a:gd name="connsiteY14" fmla="*/ 67055 h 62689"/>
                <a:gd name="connsiteX15" fmla="*/ 29554 w 58211"/>
                <a:gd name="connsiteY15" fmla="*/ 67055 h 62689"/>
                <a:gd name="connsiteX16" fmla="*/ 30449 w 58211"/>
                <a:gd name="connsiteY16" fmla="*/ 66608 h 62689"/>
                <a:gd name="connsiteX17" fmla="*/ 57764 w 58211"/>
                <a:gd name="connsiteY17" fmla="*/ 50935 h 62689"/>
                <a:gd name="connsiteX18" fmla="*/ 59107 w 58211"/>
                <a:gd name="connsiteY18" fmla="*/ 49144 h 62689"/>
                <a:gd name="connsiteX19" fmla="*/ 59107 w 58211"/>
                <a:gd name="connsiteY19" fmla="*/ 17799 h 62689"/>
                <a:gd name="connsiteX20" fmla="*/ 59107 w 58211"/>
                <a:gd name="connsiteY20" fmla="*/ 16904 h 62689"/>
                <a:gd name="connsiteX21" fmla="*/ 30001 w 58211"/>
                <a:gd name="connsiteY21" fmla="*/ 4814 h 62689"/>
                <a:gd name="connsiteX22" fmla="*/ 52838 w 58211"/>
                <a:gd name="connsiteY22" fmla="*/ 17799 h 62689"/>
                <a:gd name="connsiteX23" fmla="*/ 30001 w 58211"/>
                <a:gd name="connsiteY23" fmla="*/ 30785 h 62689"/>
                <a:gd name="connsiteX24" fmla="*/ 7165 w 58211"/>
                <a:gd name="connsiteY24" fmla="*/ 17799 h 62689"/>
                <a:gd name="connsiteX25" fmla="*/ 30001 w 58211"/>
                <a:gd name="connsiteY25" fmla="*/ 4814 h 62689"/>
                <a:gd name="connsiteX26" fmla="*/ 4926 w 58211"/>
                <a:gd name="connsiteY26" fmla="*/ 47801 h 62689"/>
                <a:gd name="connsiteX27" fmla="*/ 4926 w 58211"/>
                <a:gd name="connsiteY27" fmla="*/ 21381 h 62689"/>
                <a:gd name="connsiteX28" fmla="*/ 27762 w 58211"/>
                <a:gd name="connsiteY28" fmla="*/ 34367 h 62689"/>
                <a:gd name="connsiteX29" fmla="*/ 27762 w 58211"/>
                <a:gd name="connsiteY29" fmla="*/ 60786 h 62689"/>
                <a:gd name="connsiteX30" fmla="*/ 4926 w 58211"/>
                <a:gd name="connsiteY30" fmla="*/ 47801 h 62689"/>
                <a:gd name="connsiteX31" fmla="*/ 32240 w 58211"/>
                <a:gd name="connsiteY31" fmla="*/ 60786 h 62689"/>
                <a:gd name="connsiteX32" fmla="*/ 32240 w 58211"/>
                <a:gd name="connsiteY32" fmla="*/ 34367 h 62689"/>
                <a:gd name="connsiteX33" fmla="*/ 55077 w 58211"/>
                <a:gd name="connsiteY33" fmla="*/ 21381 h 62689"/>
                <a:gd name="connsiteX34" fmla="*/ 55077 w 58211"/>
                <a:gd name="connsiteY34" fmla="*/ 47801 h 62689"/>
                <a:gd name="connsiteX35" fmla="*/ 32240 w 58211"/>
                <a:gd name="connsiteY35" fmla="*/ 60786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211" h="62689">
                  <a:moveTo>
                    <a:pt x="59107" y="16904"/>
                  </a:moveTo>
                  <a:cubicBezTo>
                    <a:pt x="59107" y="16904"/>
                    <a:pt x="59107" y="16456"/>
                    <a:pt x="59107" y="16904"/>
                  </a:cubicBezTo>
                  <a:cubicBezTo>
                    <a:pt x="58659" y="16456"/>
                    <a:pt x="58659" y="16456"/>
                    <a:pt x="58212" y="16008"/>
                  </a:cubicBezTo>
                  <a:cubicBezTo>
                    <a:pt x="58212" y="16008"/>
                    <a:pt x="58212" y="16008"/>
                    <a:pt x="58212" y="16008"/>
                  </a:cubicBezTo>
                  <a:lnTo>
                    <a:pt x="30897" y="336"/>
                  </a:lnTo>
                  <a:cubicBezTo>
                    <a:pt x="30001" y="-112"/>
                    <a:pt x="29554" y="-112"/>
                    <a:pt x="28658" y="336"/>
                  </a:cubicBezTo>
                  <a:lnTo>
                    <a:pt x="1343" y="16008"/>
                  </a:lnTo>
                  <a:cubicBezTo>
                    <a:pt x="448" y="16456"/>
                    <a:pt x="0" y="17352"/>
                    <a:pt x="0" y="17799"/>
                  </a:cubicBezTo>
                  <a:lnTo>
                    <a:pt x="0" y="49144"/>
                  </a:lnTo>
                  <a:cubicBezTo>
                    <a:pt x="0" y="50040"/>
                    <a:pt x="448" y="50487"/>
                    <a:pt x="1343" y="50935"/>
                  </a:cubicBezTo>
                  <a:lnTo>
                    <a:pt x="28658" y="66608"/>
                  </a:lnTo>
                  <a:cubicBezTo>
                    <a:pt x="28658" y="66608"/>
                    <a:pt x="28658" y="66608"/>
                    <a:pt x="28658" y="66608"/>
                  </a:cubicBezTo>
                  <a:cubicBezTo>
                    <a:pt x="29106" y="66608"/>
                    <a:pt x="29106" y="67055"/>
                    <a:pt x="29554" y="67055"/>
                  </a:cubicBezTo>
                  <a:cubicBezTo>
                    <a:pt x="29554" y="67055"/>
                    <a:pt x="29554" y="67055"/>
                    <a:pt x="29554" y="67055"/>
                  </a:cubicBezTo>
                  <a:cubicBezTo>
                    <a:pt x="29554" y="67055"/>
                    <a:pt x="29554" y="67055"/>
                    <a:pt x="29554" y="67055"/>
                  </a:cubicBezTo>
                  <a:lnTo>
                    <a:pt x="29554" y="67055"/>
                  </a:lnTo>
                  <a:cubicBezTo>
                    <a:pt x="30001" y="67055"/>
                    <a:pt x="30449" y="67055"/>
                    <a:pt x="30449" y="66608"/>
                  </a:cubicBezTo>
                  <a:lnTo>
                    <a:pt x="57764" y="50935"/>
                  </a:lnTo>
                  <a:cubicBezTo>
                    <a:pt x="58659" y="50487"/>
                    <a:pt x="59107" y="49592"/>
                    <a:pt x="59107" y="49144"/>
                  </a:cubicBezTo>
                  <a:lnTo>
                    <a:pt x="59107" y="17799"/>
                  </a:lnTo>
                  <a:cubicBezTo>
                    <a:pt x="59555" y="17352"/>
                    <a:pt x="59107" y="16904"/>
                    <a:pt x="59107" y="16904"/>
                  </a:cubicBezTo>
                  <a:close/>
                  <a:moveTo>
                    <a:pt x="30001" y="4814"/>
                  </a:moveTo>
                  <a:lnTo>
                    <a:pt x="52838" y="17799"/>
                  </a:lnTo>
                  <a:lnTo>
                    <a:pt x="30001" y="30785"/>
                  </a:lnTo>
                  <a:lnTo>
                    <a:pt x="7165" y="17799"/>
                  </a:lnTo>
                  <a:lnTo>
                    <a:pt x="30001" y="4814"/>
                  </a:lnTo>
                  <a:close/>
                  <a:moveTo>
                    <a:pt x="4926" y="47801"/>
                  </a:moveTo>
                  <a:lnTo>
                    <a:pt x="4926" y="21381"/>
                  </a:lnTo>
                  <a:lnTo>
                    <a:pt x="27762" y="34367"/>
                  </a:lnTo>
                  <a:lnTo>
                    <a:pt x="27762" y="60786"/>
                  </a:lnTo>
                  <a:lnTo>
                    <a:pt x="4926" y="47801"/>
                  </a:lnTo>
                  <a:close/>
                  <a:moveTo>
                    <a:pt x="32240" y="60786"/>
                  </a:moveTo>
                  <a:lnTo>
                    <a:pt x="32240" y="34367"/>
                  </a:lnTo>
                  <a:lnTo>
                    <a:pt x="55077" y="21381"/>
                  </a:lnTo>
                  <a:lnTo>
                    <a:pt x="55077" y="47801"/>
                  </a:lnTo>
                  <a:lnTo>
                    <a:pt x="32240" y="60786"/>
                  </a:lnTo>
                  <a:close/>
                </a:path>
              </a:pathLst>
            </a:custGeom>
            <a:solidFill>
              <a:srgbClr val="231F20"/>
            </a:solidFill>
            <a:ln w="4474" cap="flat">
              <a:noFill/>
              <a:prstDash val="solid"/>
              <a:miter/>
            </a:ln>
          </p:spPr>
          <p:txBody>
            <a:bodyPr rtlCol="0" anchor="ctr"/>
            <a:lstStyle/>
            <a:p>
              <a:endParaRPr lang="en-US"/>
            </a:p>
          </p:txBody>
        </p:sp>
        <p:sp>
          <p:nvSpPr>
            <p:cNvPr id="4376" name="Freeform: Shape 4375">
              <a:extLst>
                <a:ext uri="{FF2B5EF4-FFF2-40B4-BE49-F238E27FC236}">
                  <a16:creationId xmlns:a16="http://schemas.microsoft.com/office/drawing/2014/main" id="{AA11E4FE-CA83-4231-AC1B-34E2E30F9177}"/>
                </a:ext>
              </a:extLst>
            </p:cNvPr>
            <p:cNvSpPr/>
            <p:nvPr/>
          </p:nvSpPr>
          <p:spPr>
            <a:xfrm>
              <a:off x="584767" y="3509799"/>
              <a:ext cx="152246" cy="152246"/>
            </a:xfrm>
            <a:custGeom>
              <a:avLst/>
              <a:gdLst>
                <a:gd name="connsiteX0" fmla="*/ 89556 w 152245"/>
                <a:gd name="connsiteY0" fmla="*/ 152246 h 152245"/>
                <a:gd name="connsiteX1" fmla="*/ 63137 w 152245"/>
                <a:gd name="connsiteY1" fmla="*/ 152246 h 152245"/>
                <a:gd name="connsiteX2" fmla="*/ 60898 w 152245"/>
                <a:gd name="connsiteY2" fmla="*/ 150902 h 152245"/>
                <a:gd name="connsiteX3" fmla="*/ 56421 w 152245"/>
                <a:gd name="connsiteY3" fmla="*/ 138812 h 152245"/>
                <a:gd name="connsiteX4" fmla="*/ 45674 w 152245"/>
                <a:gd name="connsiteY4" fmla="*/ 134335 h 152245"/>
                <a:gd name="connsiteX5" fmla="*/ 34479 w 152245"/>
                <a:gd name="connsiteY5" fmla="*/ 139708 h 152245"/>
                <a:gd name="connsiteX6" fmla="*/ 31793 w 152245"/>
                <a:gd name="connsiteY6" fmla="*/ 139260 h 152245"/>
                <a:gd name="connsiteX7" fmla="*/ 12986 w 152245"/>
                <a:gd name="connsiteY7" fmla="*/ 120453 h 152245"/>
                <a:gd name="connsiteX8" fmla="*/ 12538 w 152245"/>
                <a:gd name="connsiteY8" fmla="*/ 117767 h 152245"/>
                <a:gd name="connsiteX9" fmla="*/ 17911 w 152245"/>
                <a:gd name="connsiteY9" fmla="*/ 106124 h 152245"/>
                <a:gd name="connsiteX10" fmla="*/ 13433 w 152245"/>
                <a:gd name="connsiteY10" fmla="*/ 95377 h 152245"/>
                <a:gd name="connsiteX11" fmla="*/ 1343 w 152245"/>
                <a:gd name="connsiteY11" fmla="*/ 90900 h 152245"/>
                <a:gd name="connsiteX12" fmla="*/ 0 w 152245"/>
                <a:gd name="connsiteY12" fmla="*/ 88661 h 152245"/>
                <a:gd name="connsiteX13" fmla="*/ 0 w 152245"/>
                <a:gd name="connsiteY13" fmla="*/ 62242 h 152245"/>
                <a:gd name="connsiteX14" fmla="*/ 1343 w 152245"/>
                <a:gd name="connsiteY14" fmla="*/ 60003 h 152245"/>
                <a:gd name="connsiteX15" fmla="*/ 13433 w 152245"/>
                <a:gd name="connsiteY15" fmla="*/ 55525 h 152245"/>
                <a:gd name="connsiteX16" fmla="*/ 17911 w 152245"/>
                <a:gd name="connsiteY16" fmla="*/ 44778 h 152245"/>
                <a:gd name="connsiteX17" fmla="*/ 12538 w 152245"/>
                <a:gd name="connsiteY17" fmla="*/ 33136 h 152245"/>
                <a:gd name="connsiteX18" fmla="*/ 13433 w 152245"/>
                <a:gd name="connsiteY18" fmla="*/ 31793 h 152245"/>
                <a:gd name="connsiteX19" fmla="*/ 32240 w 152245"/>
                <a:gd name="connsiteY19" fmla="*/ 12986 h 152245"/>
                <a:gd name="connsiteX20" fmla="*/ 34927 w 152245"/>
                <a:gd name="connsiteY20" fmla="*/ 12538 h 152245"/>
                <a:gd name="connsiteX21" fmla="*/ 46569 w 152245"/>
                <a:gd name="connsiteY21" fmla="*/ 17911 h 152245"/>
                <a:gd name="connsiteX22" fmla="*/ 57316 w 152245"/>
                <a:gd name="connsiteY22" fmla="*/ 13433 h 152245"/>
                <a:gd name="connsiteX23" fmla="*/ 61794 w 152245"/>
                <a:gd name="connsiteY23" fmla="*/ 1343 h 152245"/>
                <a:gd name="connsiteX24" fmla="*/ 64033 w 152245"/>
                <a:gd name="connsiteY24" fmla="*/ 0 h 152245"/>
                <a:gd name="connsiteX25" fmla="*/ 77018 w 152245"/>
                <a:gd name="connsiteY25" fmla="*/ 0 h 152245"/>
                <a:gd name="connsiteX26" fmla="*/ 90004 w 152245"/>
                <a:gd name="connsiteY26" fmla="*/ 0 h 152245"/>
                <a:gd name="connsiteX27" fmla="*/ 92243 w 152245"/>
                <a:gd name="connsiteY27" fmla="*/ 1343 h 152245"/>
                <a:gd name="connsiteX28" fmla="*/ 96721 w 152245"/>
                <a:gd name="connsiteY28" fmla="*/ 13433 h 152245"/>
                <a:gd name="connsiteX29" fmla="*/ 107468 w 152245"/>
                <a:gd name="connsiteY29" fmla="*/ 17911 h 152245"/>
                <a:gd name="connsiteX30" fmla="*/ 119110 w 152245"/>
                <a:gd name="connsiteY30" fmla="*/ 12538 h 152245"/>
                <a:gd name="connsiteX31" fmla="*/ 121797 w 152245"/>
                <a:gd name="connsiteY31" fmla="*/ 12986 h 152245"/>
                <a:gd name="connsiteX32" fmla="*/ 140603 w 152245"/>
                <a:gd name="connsiteY32" fmla="*/ 31793 h 152245"/>
                <a:gd name="connsiteX33" fmla="*/ 141051 w 152245"/>
                <a:gd name="connsiteY33" fmla="*/ 34479 h 152245"/>
                <a:gd name="connsiteX34" fmla="*/ 135678 w 152245"/>
                <a:gd name="connsiteY34" fmla="*/ 46121 h 152245"/>
                <a:gd name="connsiteX35" fmla="*/ 140156 w 152245"/>
                <a:gd name="connsiteY35" fmla="*/ 56868 h 152245"/>
                <a:gd name="connsiteX36" fmla="*/ 152246 w 152245"/>
                <a:gd name="connsiteY36" fmla="*/ 61346 h 152245"/>
                <a:gd name="connsiteX37" fmla="*/ 153589 w 152245"/>
                <a:gd name="connsiteY37" fmla="*/ 63585 h 152245"/>
                <a:gd name="connsiteX38" fmla="*/ 153589 w 152245"/>
                <a:gd name="connsiteY38" fmla="*/ 90004 h 152245"/>
                <a:gd name="connsiteX39" fmla="*/ 152246 w 152245"/>
                <a:gd name="connsiteY39" fmla="*/ 92243 h 152245"/>
                <a:gd name="connsiteX40" fmla="*/ 140156 w 152245"/>
                <a:gd name="connsiteY40" fmla="*/ 96721 h 152245"/>
                <a:gd name="connsiteX41" fmla="*/ 135678 w 152245"/>
                <a:gd name="connsiteY41" fmla="*/ 107468 h 152245"/>
                <a:gd name="connsiteX42" fmla="*/ 141051 w 152245"/>
                <a:gd name="connsiteY42" fmla="*/ 119110 h 152245"/>
                <a:gd name="connsiteX43" fmla="*/ 140603 w 152245"/>
                <a:gd name="connsiteY43" fmla="*/ 121797 h 152245"/>
                <a:gd name="connsiteX44" fmla="*/ 121797 w 152245"/>
                <a:gd name="connsiteY44" fmla="*/ 140604 h 152245"/>
                <a:gd name="connsiteX45" fmla="*/ 119110 w 152245"/>
                <a:gd name="connsiteY45" fmla="*/ 141051 h 152245"/>
                <a:gd name="connsiteX46" fmla="*/ 107468 w 152245"/>
                <a:gd name="connsiteY46" fmla="*/ 135678 h 152245"/>
                <a:gd name="connsiteX47" fmla="*/ 96721 w 152245"/>
                <a:gd name="connsiteY47" fmla="*/ 140156 h 152245"/>
                <a:gd name="connsiteX48" fmla="*/ 92243 w 152245"/>
                <a:gd name="connsiteY48" fmla="*/ 152246 h 152245"/>
                <a:gd name="connsiteX49" fmla="*/ 89556 w 152245"/>
                <a:gd name="connsiteY49" fmla="*/ 152246 h 152245"/>
                <a:gd name="connsiteX50" fmla="*/ 64928 w 152245"/>
                <a:gd name="connsiteY50" fmla="*/ 147768 h 152245"/>
                <a:gd name="connsiteX51" fmla="*/ 88213 w 152245"/>
                <a:gd name="connsiteY51" fmla="*/ 147768 h 152245"/>
                <a:gd name="connsiteX52" fmla="*/ 92243 w 152245"/>
                <a:gd name="connsiteY52" fmla="*/ 136126 h 152245"/>
                <a:gd name="connsiteX53" fmla="*/ 93586 w 152245"/>
                <a:gd name="connsiteY53" fmla="*/ 134782 h 152245"/>
                <a:gd name="connsiteX54" fmla="*/ 105677 w 152245"/>
                <a:gd name="connsiteY54" fmla="*/ 129857 h 152245"/>
                <a:gd name="connsiteX55" fmla="*/ 107915 w 152245"/>
                <a:gd name="connsiteY55" fmla="*/ 129857 h 152245"/>
                <a:gd name="connsiteX56" fmla="*/ 119110 w 152245"/>
                <a:gd name="connsiteY56" fmla="*/ 135230 h 152245"/>
                <a:gd name="connsiteX57" fmla="*/ 135678 w 152245"/>
                <a:gd name="connsiteY57" fmla="*/ 118662 h 152245"/>
                <a:gd name="connsiteX58" fmla="*/ 130305 w 152245"/>
                <a:gd name="connsiteY58" fmla="*/ 107468 h 152245"/>
                <a:gd name="connsiteX59" fmla="*/ 130305 w 152245"/>
                <a:gd name="connsiteY59" fmla="*/ 105229 h 152245"/>
                <a:gd name="connsiteX60" fmla="*/ 135230 w 152245"/>
                <a:gd name="connsiteY60" fmla="*/ 93139 h 152245"/>
                <a:gd name="connsiteX61" fmla="*/ 136573 w 152245"/>
                <a:gd name="connsiteY61" fmla="*/ 91795 h 152245"/>
                <a:gd name="connsiteX62" fmla="*/ 148216 w 152245"/>
                <a:gd name="connsiteY62" fmla="*/ 87765 h 152245"/>
                <a:gd name="connsiteX63" fmla="*/ 148216 w 152245"/>
                <a:gd name="connsiteY63" fmla="*/ 64481 h 152245"/>
                <a:gd name="connsiteX64" fmla="*/ 136573 w 152245"/>
                <a:gd name="connsiteY64" fmla="*/ 60451 h 152245"/>
                <a:gd name="connsiteX65" fmla="*/ 135230 w 152245"/>
                <a:gd name="connsiteY65" fmla="*/ 59107 h 152245"/>
                <a:gd name="connsiteX66" fmla="*/ 130305 w 152245"/>
                <a:gd name="connsiteY66" fmla="*/ 47017 h 152245"/>
                <a:gd name="connsiteX67" fmla="*/ 130305 w 152245"/>
                <a:gd name="connsiteY67" fmla="*/ 44778 h 152245"/>
                <a:gd name="connsiteX68" fmla="*/ 135678 w 152245"/>
                <a:gd name="connsiteY68" fmla="*/ 33584 h 152245"/>
                <a:gd name="connsiteX69" fmla="*/ 119110 w 152245"/>
                <a:gd name="connsiteY69" fmla="*/ 17016 h 152245"/>
                <a:gd name="connsiteX70" fmla="*/ 107915 w 152245"/>
                <a:gd name="connsiteY70" fmla="*/ 22389 h 152245"/>
                <a:gd name="connsiteX71" fmla="*/ 105677 w 152245"/>
                <a:gd name="connsiteY71" fmla="*/ 22389 h 152245"/>
                <a:gd name="connsiteX72" fmla="*/ 93586 w 152245"/>
                <a:gd name="connsiteY72" fmla="*/ 17464 h 152245"/>
                <a:gd name="connsiteX73" fmla="*/ 92243 w 152245"/>
                <a:gd name="connsiteY73" fmla="*/ 16120 h 152245"/>
                <a:gd name="connsiteX74" fmla="*/ 88213 w 152245"/>
                <a:gd name="connsiteY74" fmla="*/ 4478 h 152245"/>
                <a:gd name="connsiteX75" fmla="*/ 76571 w 152245"/>
                <a:gd name="connsiteY75" fmla="*/ 4478 h 152245"/>
                <a:gd name="connsiteX76" fmla="*/ 64928 w 152245"/>
                <a:gd name="connsiteY76" fmla="*/ 4478 h 152245"/>
                <a:gd name="connsiteX77" fmla="*/ 60898 w 152245"/>
                <a:gd name="connsiteY77" fmla="*/ 16120 h 152245"/>
                <a:gd name="connsiteX78" fmla="*/ 59555 w 152245"/>
                <a:gd name="connsiteY78" fmla="*/ 17464 h 152245"/>
                <a:gd name="connsiteX79" fmla="*/ 47465 w 152245"/>
                <a:gd name="connsiteY79" fmla="*/ 22389 h 152245"/>
                <a:gd name="connsiteX80" fmla="*/ 45226 w 152245"/>
                <a:gd name="connsiteY80" fmla="*/ 22389 h 152245"/>
                <a:gd name="connsiteX81" fmla="*/ 34031 w 152245"/>
                <a:gd name="connsiteY81" fmla="*/ 17016 h 152245"/>
                <a:gd name="connsiteX82" fmla="*/ 17463 w 152245"/>
                <a:gd name="connsiteY82" fmla="*/ 33584 h 152245"/>
                <a:gd name="connsiteX83" fmla="*/ 22837 w 152245"/>
                <a:gd name="connsiteY83" fmla="*/ 44778 h 152245"/>
                <a:gd name="connsiteX84" fmla="*/ 22837 w 152245"/>
                <a:gd name="connsiteY84" fmla="*/ 47017 h 152245"/>
                <a:gd name="connsiteX85" fmla="*/ 17911 w 152245"/>
                <a:gd name="connsiteY85" fmla="*/ 59107 h 152245"/>
                <a:gd name="connsiteX86" fmla="*/ 16568 w 152245"/>
                <a:gd name="connsiteY86" fmla="*/ 60451 h 152245"/>
                <a:gd name="connsiteX87" fmla="*/ 4926 w 152245"/>
                <a:gd name="connsiteY87" fmla="*/ 64481 h 152245"/>
                <a:gd name="connsiteX88" fmla="*/ 4926 w 152245"/>
                <a:gd name="connsiteY88" fmla="*/ 87765 h 152245"/>
                <a:gd name="connsiteX89" fmla="*/ 16568 w 152245"/>
                <a:gd name="connsiteY89" fmla="*/ 91795 h 152245"/>
                <a:gd name="connsiteX90" fmla="*/ 17911 w 152245"/>
                <a:gd name="connsiteY90" fmla="*/ 93139 h 152245"/>
                <a:gd name="connsiteX91" fmla="*/ 22837 w 152245"/>
                <a:gd name="connsiteY91" fmla="*/ 105229 h 152245"/>
                <a:gd name="connsiteX92" fmla="*/ 22837 w 152245"/>
                <a:gd name="connsiteY92" fmla="*/ 107468 h 152245"/>
                <a:gd name="connsiteX93" fmla="*/ 17463 w 152245"/>
                <a:gd name="connsiteY93" fmla="*/ 118662 h 152245"/>
                <a:gd name="connsiteX94" fmla="*/ 34031 w 152245"/>
                <a:gd name="connsiteY94" fmla="*/ 135230 h 152245"/>
                <a:gd name="connsiteX95" fmla="*/ 45226 w 152245"/>
                <a:gd name="connsiteY95" fmla="*/ 129857 h 152245"/>
                <a:gd name="connsiteX96" fmla="*/ 47465 w 152245"/>
                <a:gd name="connsiteY96" fmla="*/ 129857 h 152245"/>
                <a:gd name="connsiteX97" fmla="*/ 59555 w 152245"/>
                <a:gd name="connsiteY97" fmla="*/ 134782 h 152245"/>
                <a:gd name="connsiteX98" fmla="*/ 60898 w 152245"/>
                <a:gd name="connsiteY98" fmla="*/ 136126 h 152245"/>
                <a:gd name="connsiteX99" fmla="*/ 64928 w 152245"/>
                <a:gd name="connsiteY9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52245" h="152245">
                  <a:moveTo>
                    <a:pt x="89556" y="152246"/>
                  </a:moveTo>
                  <a:lnTo>
                    <a:pt x="63137" y="152246"/>
                  </a:lnTo>
                  <a:cubicBezTo>
                    <a:pt x="62242" y="152246"/>
                    <a:pt x="61346" y="151798"/>
                    <a:pt x="60898" y="150902"/>
                  </a:cubicBezTo>
                  <a:lnTo>
                    <a:pt x="56421" y="138812"/>
                  </a:lnTo>
                  <a:cubicBezTo>
                    <a:pt x="52838" y="137469"/>
                    <a:pt x="49256" y="136126"/>
                    <a:pt x="45674" y="134335"/>
                  </a:cubicBezTo>
                  <a:lnTo>
                    <a:pt x="34479" y="139708"/>
                  </a:lnTo>
                  <a:cubicBezTo>
                    <a:pt x="33584" y="140156"/>
                    <a:pt x="32688" y="140156"/>
                    <a:pt x="31793" y="139260"/>
                  </a:cubicBezTo>
                  <a:lnTo>
                    <a:pt x="12986" y="120453"/>
                  </a:lnTo>
                  <a:cubicBezTo>
                    <a:pt x="12090" y="120005"/>
                    <a:pt x="12090" y="118662"/>
                    <a:pt x="12538" y="117767"/>
                  </a:cubicBezTo>
                  <a:lnTo>
                    <a:pt x="17911" y="106124"/>
                  </a:lnTo>
                  <a:cubicBezTo>
                    <a:pt x="16120" y="102542"/>
                    <a:pt x="14777" y="98960"/>
                    <a:pt x="13433" y="95377"/>
                  </a:cubicBezTo>
                  <a:lnTo>
                    <a:pt x="1343" y="90900"/>
                  </a:lnTo>
                  <a:cubicBezTo>
                    <a:pt x="448" y="90452"/>
                    <a:pt x="0" y="89556"/>
                    <a:pt x="0" y="88661"/>
                  </a:cubicBezTo>
                  <a:lnTo>
                    <a:pt x="0" y="62242"/>
                  </a:lnTo>
                  <a:cubicBezTo>
                    <a:pt x="0" y="61346"/>
                    <a:pt x="448" y="60451"/>
                    <a:pt x="1343" y="60003"/>
                  </a:cubicBezTo>
                  <a:lnTo>
                    <a:pt x="13433" y="55525"/>
                  </a:lnTo>
                  <a:cubicBezTo>
                    <a:pt x="14777" y="51943"/>
                    <a:pt x="16120" y="48360"/>
                    <a:pt x="17911" y="44778"/>
                  </a:cubicBezTo>
                  <a:lnTo>
                    <a:pt x="12538" y="33136"/>
                  </a:lnTo>
                  <a:cubicBezTo>
                    <a:pt x="12538" y="33136"/>
                    <a:pt x="12538" y="32240"/>
                    <a:pt x="13433" y="31793"/>
                  </a:cubicBezTo>
                  <a:lnTo>
                    <a:pt x="32240" y="12986"/>
                  </a:lnTo>
                  <a:cubicBezTo>
                    <a:pt x="33136" y="12090"/>
                    <a:pt x="34031" y="12090"/>
                    <a:pt x="34927" y="12538"/>
                  </a:cubicBezTo>
                  <a:lnTo>
                    <a:pt x="46569" y="17911"/>
                  </a:lnTo>
                  <a:cubicBezTo>
                    <a:pt x="50152" y="16120"/>
                    <a:pt x="53734" y="14777"/>
                    <a:pt x="57316" y="13433"/>
                  </a:cubicBezTo>
                  <a:lnTo>
                    <a:pt x="61794" y="1343"/>
                  </a:lnTo>
                  <a:cubicBezTo>
                    <a:pt x="62242" y="448"/>
                    <a:pt x="63137" y="0"/>
                    <a:pt x="64033" y="0"/>
                  </a:cubicBezTo>
                  <a:lnTo>
                    <a:pt x="77018" y="0"/>
                  </a:lnTo>
                  <a:lnTo>
                    <a:pt x="90004" y="0"/>
                  </a:lnTo>
                  <a:cubicBezTo>
                    <a:pt x="90900" y="0"/>
                    <a:pt x="91795" y="448"/>
                    <a:pt x="92243" y="1343"/>
                  </a:cubicBezTo>
                  <a:lnTo>
                    <a:pt x="96721" y="13433"/>
                  </a:lnTo>
                  <a:cubicBezTo>
                    <a:pt x="100303" y="14777"/>
                    <a:pt x="103885" y="16120"/>
                    <a:pt x="107468" y="17911"/>
                  </a:cubicBezTo>
                  <a:lnTo>
                    <a:pt x="119110" y="12538"/>
                  </a:lnTo>
                  <a:cubicBezTo>
                    <a:pt x="120006" y="12090"/>
                    <a:pt x="120901" y="12090"/>
                    <a:pt x="121797" y="12986"/>
                  </a:cubicBezTo>
                  <a:lnTo>
                    <a:pt x="140603" y="31793"/>
                  </a:lnTo>
                  <a:cubicBezTo>
                    <a:pt x="141499" y="32240"/>
                    <a:pt x="141499" y="33584"/>
                    <a:pt x="141051" y="34479"/>
                  </a:cubicBezTo>
                  <a:lnTo>
                    <a:pt x="135678" y="46121"/>
                  </a:lnTo>
                  <a:cubicBezTo>
                    <a:pt x="137469" y="49704"/>
                    <a:pt x="138812" y="53286"/>
                    <a:pt x="140156" y="56868"/>
                  </a:cubicBezTo>
                  <a:lnTo>
                    <a:pt x="152246" y="61346"/>
                  </a:lnTo>
                  <a:cubicBezTo>
                    <a:pt x="153141" y="61794"/>
                    <a:pt x="153589" y="62689"/>
                    <a:pt x="153589" y="63585"/>
                  </a:cubicBezTo>
                  <a:lnTo>
                    <a:pt x="153589" y="90004"/>
                  </a:lnTo>
                  <a:cubicBezTo>
                    <a:pt x="153589" y="90900"/>
                    <a:pt x="153141" y="91795"/>
                    <a:pt x="152246" y="92243"/>
                  </a:cubicBezTo>
                  <a:lnTo>
                    <a:pt x="140156" y="96721"/>
                  </a:lnTo>
                  <a:cubicBezTo>
                    <a:pt x="138812" y="100303"/>
                    <a:pt x="137469" y="103885"/>
                    <a:pt x="135678" y="107468"/>
                  </a:cubicBezTo>
                  <a:lnTo>
                    <a:pt x="141051" y="119110"/>
                  </a:lnTo>
                  <a:cubicBezTo>
                    <a:pt x="141499" y="120005"/>
                    <a:pt x="141499" y="120901"/>
                    <a:pt x="140603" y="121797"/>
                  </a:cubicBezTo>
                  <a:lnTo>
                    <a:pt x="121797" y="140604"/>
                  </a:lnTo>
                  <a:cubicBezTo>
                    <a:pt x="121349" y="141499"/>
                    <a:pt x="120006" y="141499"/>
                    <a:pt x="119110" y="141051"/>
                  </a:cubicBezTo>
                  <a:lnTo>
                    <a:pt x="107468" y="135678"/>
                  </a:lnTo>
                  <a:cubicBezTo>
                    <a:pt x="103885" y="137469"/>
                    <a:pt x="100303" y="138812"/>
                    <a:pt x="96721" y="140156"/>
                  </a:cubicBezTo>
                  <a:lnTo>
                    <a:pt x="92243" y="152246"/>
                  </a:lnTo>
                  <a:cubicBezTo>
                    <a:pt x="91347" y="151798"/>
                    <a:pt x="90452" y="152246"/>
                    <a:pt x="89556" y="152246"/>
                  </a:cubicBezTo>
                  <a:close/>
                  <a:moveTo>
                    <a:pt x="64928" y="147768"/>
                  </a:moveTo>
                  <a:lnTo>
                    <a:pt x="88213" y="147768"/>
                  </a:lnTo>
                  <a:lnTo>
                    <a:pt x="92243" y="136126"/>
                  </a:lnTo>
                  <a:cubicBezTo>
                    <a:pt x="92691" y="135230"/>
                    <a:pt x="93139" y="134782"/>
                    <a:pt x="93586" y="134782"/>
                  </a:cubicBezTo>
                  <a:cubicBezTo>
                    <a:pt x="97616" y="133439"/>
                    <a:pt x="101646" y="132096"/>
                    <a:pt x="105677" y="129857"/>
                  </a:cubicBezTo>
                  <a:cubicBezTo>
                    <a:pt x="106124" y="129409"/>
                    <a:pt x="107020" y="129409"/>
                    <a:pt x="107915" y="129857"/>
                  </a:cubicBezTo>
                  <a:lnTo>
                    <a:pt x="119110" y="135230"/>
                  </a:lnTo>
                  <a:lnTo>
                    <a:pt x="135678" y="118662"/>
                  </a:lnTo>
                  <a:lnTo>
                    <a:pt x="130305" y="107468"/>
                  </a:lnTo>
                  <a:cubicBezTo>
                    <a:pt x="129857" y="107020"/>
                    <a:pt x="129857" y="106124"/>
                    <a:pt x="130305" y="105229"/>
                  </a:cubicBezTo>
                  <a:cubicBezTo>
                    <a:pt x="132543" y="101199"/>
                    <a:pt x="134335" y="97169"/>
                    <a:pt x="135230" y="93139"/>
                  </a:cubicBezTo>
                  <a:cubicBezTo>
                    <a:pt x="135230" y="92243"/>
                    <a:pt x="136126" y="91795"/>
                    <a:pt x="136573" y="91795"/>
                  </a:cubicBezTo>
                  <a:lnTo>
                    <a:pt x="148216" y="87765"/>
                  </a:lnTo>
                  <a:lnTo>
                    <a:pt x="148216" y="64481"/>
                  </a:lnTo>
                  <a:lnTo>
                    <a:pt x="136573" y="60451"/>
                  </a:lnTo>
                  <a:cubicBezTo>
                    <a:pt x="135678" y="60003"/>
                    <a:pt x="135230" y="59555"/>
                    <a:pt x="135230" y="59107"/>
                  </a:cubicBezTo>
                  <a:cubicBezTo>
                    <a:pt x="133887" y="55077"/>
                    <a:pt x="132543" y="51047"/>
                    <a:pt x="130305" y="47017"/>
                  </a:cubicBezTo>
                  <a:cubicBezTo>
                    <a:pt x="129857" y="46569"/>
                    <a:pt x="129857" y="45674"/>
                    <a:pt x="130305" y="44778"/>
                  </a:cubicBezTo>
                  <a:lnTo>
                    <a:pt x="135678" y="33584"/>
                  </a:lnTo>
                  <a:lnTo>
                    <a:pt x="119110" y="17016"/>
                  </a:lnTo>
                  <a:lnTo>
                    <a:pt x="107915" y="22389"/>
                  </a:lnTo>
                  <a:cubicBezTo>
                    <a:pt x="107468" y="22837"/>
                    <a:pt x="106572" y="22837"/>
                    <a:pt x="105677" y="22389"/>
                  </a:cubicBezTo>
                  <a:cubicBezTo>
                    <a:pt x="101646" y="20150"/>
                    <a:pt x="97616" y="18359"/>
                    <a:pt x="93586" y="17464"/>
                  </a:cubicBezTo>
                  <a:cubicBezTo>
                    <a:pt x="92691" y="17464"/>
                    <a:pt x="92243" y="16568"/>
                    <a:pt x="92243" y="16120"/>
                  </a:cubicBezTo>
                  <a:lnTo>
                    <a:pt x="88213" y="4478"/>
                  </a:lnTo>
                  <a:lnTo>
                    <a:pt x="76571" y="4478"/>
                  </a:lnTo>
                  <a:lnTo>
                    <a:pt x="64928" y="4478"/>
                  </a:lnTo>
                  <a:lnTo>
                    <a:pt x="60898" y="16120"/>
                  </a:lnTo>
                  <a:cubicBezTo>
                    <a:pt x="60451" y="17016"/>
                    <a:pt x="60003" y="17464"/>
                    <a:pt x="59555" y="17464"/>
                  </a:cubicBezTo>
                  <a:cubicBezTo>
                    <a:pt x="55525" y="18807"/>
                    <a:pt x="51495" y="20150"/>
                    <a:pt x="47465" y="22389"/>
                  </a:cubicBezTo>
                  <a:cubicBezTo>
                    <a:pt x="47017" y="22837"/>
                    <a:pt x="46122" y="22837"/>
                    <a:pt x="45226" y="22389"/>
                  </a:cubicBezTo>
                  <a:lnTo>
                    <a:pt x="34031" y="17016"/>
                  </a:lnTo>
                  <a:lnTo>
                    <a:pt x="17463" y="33584"/>
                  </a:lnTo>
                  <a:lnTo>
                    <a:pt x="22837" y="44778"/>
                  </a:lnTo>
                  <a:cubicBezTo>
                    <a:pt x="23285" y="45226"/>
                    <a:pt x="23285" y="46121"/>
                    <a:pt x="22837" y="47017"/>
                  </a:cubicBezTo>
                  <a:cubicBezTo>
                    <a:pt x="20598" y="51047"/>
                    <a:pt x="18807" y="55077"/>
                    <a:pt x="17911" y="59107"/>
                  </a:cubicBezTo>
                  <a:cubicBezTo>
                    <a:pt x="17911" y="60003"/>
                    <a:pt x="17016" y="60451"/>
                    <a:pt x="16568" y="60451"/>
                  </a:cubicBezTo>
                  <a:lnTo>
                    <a:pt x="4926" y="64481"/>
                  </a:lnTo>
                  <a:lnTo>
                    <a:pt x="4926" y="87765"/>
                  </a:lnTo>
                  <a:lnTo>
                    <a:pt x="16568" y="91795"/>
                  </a:lnTo>
                  <a:cubicBezTo>
                    <a:pt x="17463" y="92243"/>
                    <a:pt x="17911" y="92691"/>
                    <a:pt x="17911" y="93139"/>
                  </a:cubicBezTo>
                  <a:cubicBezTo>
                    <a:pt x="19255" y="97169"/>
                    <a:pt x="20598" y="101199"/>
                    <a:pt x="22837" y="105229"/>
                  </a:cubicBezTo>
                  <a:cubicBezTo>
                    <a:pt x="23285" y="105677"/>
                    <a:pt x="23285" y="106572"/>
                    <a:pt x="22837" y="107468"/>
                  </a:cubicBezTo>
                  <a:lnTo>
                    <a:pt x="17463" y="118662"/>
                  </a:lnTo>
                  <a:lnTo>
                    <a:pt x="34031" y="135230"/>
                  </a:lnTo>
                  <a:lnTo>
                    <a:pt x="45226" y="129857"/>
                  </a:lnTo>
                  <a:cubicBezTo>
                    <a:pt x="45674" y="129409"/>
                    <a:pt x="46569" y="129409"/>
                    <a:pt x="47465" y="129857"/>
                  </a:cubicBezTo>
                  <a:cubicBezTo>
                    <a:pt x="51495" y="132096"/>
                    <a:pt x="55525" y="133887"/>
                    <a:pt x="59555" y="134782"/>
                  </a:cubicBezTo>
                  <a:cubicBezTo>
                    <a:pt x="60451" y="134782"/>
                    <a:pt x="60898" y="135678"/>
                    <a:pt x="60898" y="136126"/>
                  </a:cubicBezTo>
                  <a:lnTo>
                    <a:pt x="64928" y="147768"/>
                  </a:lnTo>
                  <a:close/>
                </a:path>
              </a:pathLst>
            </a:custGeom>
            <a:solidFill>
              <a:srgbClr val="231F20"/>
            </a:solidFill>
            <a:ln w="4474" cap="flat">
              <a:noFill/>
              <a:prstDash val="solid"/>
              <a:miter/>
            </a:ln>
          </p:spPr>
          <p:txBody>
            <a:bodyPr rtlCol="0" anchor="ctr"/>
            <a:lstStyle/>
            <a:p>
              <a:endParaRPr lang="en-US"/>
            </a:p>
          </p:txBody>
        </p:sp>
        <p:sp>
          <p:nvSpPr>
            <p:cNvPr id="4377" name="Freeform: Shape 4376">
              <a:extLst>
                <a:ext uri="{FF2B5EF4-FFF2-40B4-BE49-F238E27FC236}">
                  <a16:creationId xmlns:a16="http://schemas.microsoft.com/office/drawing/2014/main" id="{87E5EFD7-3E34-43F7-B463-4AB0E565C363}"/>
                </a:ext>
              </a:extLst>
            </p:cNvPr>
            <p:cNvSpPr/>
            <p:nvPr/>
          </p:nvSpPr>
          <p:spPr>
            <a:xfrm>
              <a:off x="610739" y="3535323"/>
              <a:ext cx="98512" cy="98512"/>
            </a:xfrm>
            <a:custGeom>
              <a:avLst/>
              <a:gdLst>
                <a:gd name="connsiteX0" fmla="*/ 50599 w 98511"/>
                <a:gd name="connsiteY0" fmla="*/ 101646 h 98511"/>
                <a:gd name="connsiteX1" fmla="*/ 14777 w 98511"/>
                <a:gd name="connsiteY1" fmla="*/ 86870 h 98511"/>
                <a:gd name="connsiteX2" fmla="*/ 14777 w 98511"/>
                <a:gd name="connsiteY2" fmla="*/ 14777 h 98511"/>
                <a:gd name="connsiteX3" fmla="*/ 86870 w 98511"/>
                <a:gd name="connsiteY3" fmla="*/ 14777 h 98511"/>
                <a:gd name="connsiteX4" fmla="*/ 86870 w 98511"/>
                <a:gd name="connsiteY4" fmla="*/ 14777 h 98511"/>
                <a:gd name="connsiteX5" fmla="*/ 86870 w 98511"/>
                <a:gd name="connsiteY5" fmla="*/ 86870 h 98511"/>
                <a:gd name="connsiteX6" fmla="*/ 50599 w 98511"/>
                <a:gd name="connsiteY6" fmla="*/ 101646 h 98511"/>
                <a:gd name="connsiteX7" fmla="*/ 50599 w 98511"/>
                <a:gd name="connsiteY7" fmla="*/ 4478 h 98511"/>
                <a:gd name="connsiteX8" fmla="*/ 17911 w 98511"/>
                <a:gd name="connsiteY8" fmla="*/ 17911 h 98511"/>
                <a:gd name="connsiteX9" fmla="*/ 17911 w 98511"/>
                <a:gd name="connsiteY9" fmla="*/ 83287 h 98511"/>
                <a:gd name="connsiteX10" fmla="*/ 50599 w 98511"/>
                <a:gd name="connsiteY10" fmla="*/ 96721 h 98511"/>
                <a:gd name="connsiteX11" fmla="*/ 83287 w 98511"/>
                <a:gd name="connsiteY11" fmla="*/ 83287 h 98511"/>
                <a:gd name="connsiteX12" fmla="*/ 83287 w 98511"/>
                <a:gd name="connsiteY12" fmla="*/ 17911 h 98511"/>
                <a:gd name="connsiteX13" fmla="*/ 50599 w 98511"/>
                <a:gd name="connsiteY13" fmla="*/ 447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511" h="98511">
                  <a:moveTo>
                    <a:pt x="50599" y="101646"/>
                  </a:moveTo>
                  <a:cubicBezTo>
                    <a:pt x="37166" y="101646"/>
                    <a:pt x="24180" y="96273"/>
                    <a:pt x="14777" y="86870"/>
                  </a:cubicBezTo>
                  <a:cubicBezTo>
                    <a:pt x="-4926" y="67167"/>
                    <a:pt x="-4926" y="34927"/>
                    <a:pt x="14777" y="14777"/>
                  </a:cubicBezTo>
                  <a:cubicBezTo>
                    <a:pt x="34479" y="-4926"/>
                    <a:pt x="66719" y="-4926"/>
                    <a:pt x="86870" y="14777"/>
                  </a:cubicBezTo>
                  <a:lnTo>
                    <a:pt x="86870" y="14777"/>
                  </a:lnTo>
                  <a:cubicBezTo>
                    <a:pt x="106572" y="34479"/>
                    <a:pt x="106572" y="66720"/>
                    <a:pt x="86870" y="86870"/>
                  </a:cubicBezTo>
                  <a:cubicBezTo>
                    <a:pt x="77018" y="96273"/>
                    <a:pt x="64033" y="101646"/>
                    <a:pt x="50599" y="101646"/>
                  </a:cubicBezTo>
                  <a:close/>
                  <a:moveTo>
                    <a:pt x="50599" y="4478"/>
                  </a:moveTo>
                  <a:cubicBezTo>
                    <a:pt x="38509" y="4478"/>
                    <a:pt x="26867" y="8956"/>
                    <a:pt x="17911" y="17911"/>
                  </a:cubicBezTo>
                  <a:cubicBezTo>
                    <a:pt x="0" y="35822"/>
                    <a:pt x="0" y="65376"/>
                    <a:pt x="17911" y="83287"/>
                  </a:cubicBezTo>
                  <a:cubicBezTo>
                    <a:pt x="26867" y="92243"/>
                    <a:pt x="38509" y="96721"/>
                    <a:pt x="50599" y="96721"/>
                  </a:cubicBezTo>
                  <a:cubicBezTo>
                    <a:pt x="62689" y="96721"/>
                    <a:pt x="74780" y="91795"/>
                    <a:pt x="83287" y="83287"/>
                  </a:cubicBezTo>
                  <a:cubicBezTo>
                    <a:pt x="101199" y="65376"/>
                    <a:pt x="101199" y="35822"/>
                    <a:pt x="83287" y="17911"/>
                  </a:cubicBezTo>
                  <a:cubicBezTo>
                    <a:pt x="74332" y="8956"/>
                    <a:pt x="62242" y="4478"/>
                    <a:pt x="50599" y="4478"/>
                  </a:cubicBezTo>
                  <a:close/>
                </a:path>
              </a:pathLst>
            </a:custGeom>
            <a:solidFill>
              <a:srgbClr val="231F20"/>
            </a:solidFill>
            <a:ln w="4474" cap="flat">
              <a:noFill/>
              <a:prstDash val="solid"/>
              <a:miter/>
            </a:ln>
          </p:spPr>
          <p:txBody>
            <a:bodyPr rtlCol="0" anchor="ctr"/>
            <a:lstStyle/>
            <a:p>
              <a:endParaRPr lang="en-US"/>
            </a:p>
          </p:txBody>
        </p:sp>
      </p:grpSp>
      <p:grpSp>
        <p:nvGrpSpPr>
          <p:cNvPr id="4378" name="Group 4377">
            <a:extLst>
              <a:ext uri="{FF2B5EF4-FFF2-40B4-BE49-F238E27FC236}">
                <a16:creationId xmlns:a16="http://schemas.microsoft.com/office/drawing/2014/main" id="{206FEC99-5DA6-4341-B38B-6C6B8EBBA0DA}"/>
              </a:ext>
              <a:ext uri="{C183D7F6-B498-43B3-948B-1728B52AA6E4}">
                <adec:decorative xmlns:adec="http://schemas.microsoft.com/office/drawing/2017/decorative" val="1"/>
              </a:ext>
            </a:extLst>
          </p:cNvPr>
          <p:cNvGrpSpPr>
            <a:grpSpLocks noChangeAspect="1"/>
          </p:cNvGrpSpPr>
          <p:nvPr/>
        </p:nvGrpSpPr>
        <p:grpSpPr>
          <a:xfrm>
            <a:off x="1074187" y="4258671"/>
            <a:ext cx="151351" cy="132208"/>
            <a:chOff x="1114941" y="3523232"/>
            <a:chExt cx="151351" cy="132208"/>
          </a:xfrm>
        </p:grpSpPr>
        <p:sp>
          <p:nvSpPr>
            <p:cNvPr id="4379" name="Freeform: Shape 4378">
              <a:extLst>
                <a:ext uri="{FF2B5EF4-FFF2-40B4-BE49-F238E27FC236}">
                  <a16:creationId xmlns:a16="http://schemas.microsoft.com/office/drawing/2014/main" id="{0C0E65DD-6F84-4A59-8B5F-79AF85046CA1}"/>
                </a:ext>
              </a:extLst>
            </p:cNvPr>
            <p:cNvSpPr/>
            <p:nvPr/>
          </p:nvSpPr>
          <p:spPr>
            <a:xfrm>
              <a:off x="1114941" y="3530061"/>
              <a:ext cx="111945" cy="125379"/>
            </a:xfrm>
            <a:custGeom>
              <a:avLst/>
              <a:gdLst>
                <a:gd name="connsiteX0" fmla="*/ 111498 w 111945"/>
                <a:gd name="connsiteY0" fmla="*/ 32128 h 125378"/>
                <a:gd name="connsiteX1" fmla="*/ 111498 w 111945"/>
                <a:gd name="connsiteY1" fmla="*/ 32128 h 125378"/>
                <a:gd name="connsiteX2" fmla="*/ 110602 w 111945"/>
                <a:gd name="connsiteY2" fmla="*/ 31233 h 125378"/>
                <a:gd name="connsiteX3" fmla="*/ 110602 w 111945"/>
                <a:gd name="connsiteY3" fmla="*/ 31233 h 125378"/>
                <a:gd name="connsiteX4" fmla="*/ 56868 w 111945"/>
                <a:gd name="connsiteY4" fmla="*/ 336 h 125378"/>
                <a:gd name="connsiteX5" fmla="*/ 54629 w 111945"/>
                <a:gd name="connsiteY5" fmla="*/ 336 h 125378"/>
                <a:gd name="connsiteX6" fmla="*/ 896 w 111945"/>
                <a:gd name="connsiteY6" fmla="*/ 31233 h 125378"/>
                <a:gd name="connsiteX7" fmla="*/ 0 w 111945"/>
                <a:gd name="connsiteY7" fmla="*/ 32128 h 125378"/>
                <a:gd name="connsiteX8" fmla="*/ 0 w 111945"/>
                <a:gd name="connsiteY8" fmla="*/ 32576 h 125378"/>
                <a:gd name="connsiteX9" fmla="*/ 0 w 111945"/>
                <a:gd name="connsiteY9" fmla="*/ 33472 h 125378"/>
                <a:gd name="connsiteX10" fmla="*/ 0 w 111945"/>
                <a:gd name="connsiteY10" fmla="*/ 33472 h 125378"/>
                <a:gd name="connsiteX11" fmla="*/ 0 w 111945"/>
                <a:gd name="connsiteY11" fmla="*/ 95265 h 125378"/>
                <a:gd name="connsiteX12" fmla="*/ 1343 w 111945"/>
                <a:gd name="connsiteY12" fmla="*/ 97057 h 125378"/>
                <a:gd name="connsiteX13" fmla="*/ 55077 w 111945"/>
                <a:gd name="connsiteY13" fmla="*/ 127954 h 125378"/>
                <a:gd name="connsiteX14" fmla="*/ 55077 w 111945"/>
                <a:gd name="connsiteY14" fmla="*/ 127954 h 125378"/>
                <a:gd name="connsiteX15" fmla="*/ 55973 w 111945"/>
                <a:gd name="connsiteY15" fmla="*/ 128401 h 125378"/>
                <a:gd name="connsiteX16" fmla="*/ 55973 w 111945"/>
                <a:gd name="connsiteY16" fmla="*/ 128401 h 125378"/>
                <a:gd name="connsiteX17" fmla="*/ 55973 w 111945"/>
                <a:gd name="connsiteY17" fmla="*/ 128401 h 125378"/>
                <a:gd name="connsiteX18" fmla="*/ 55973 w 111945"/>
                <a:gd name="connsiteY18" fmla="*/ 128401 h 125378"/>
                <a:gd name="connsiteX19" fmla="*/ 56868 w 111945"/>
                <a:gd name="connsiteY19" fmla="*/ 127954 h 125378"/>
                <a:gd name="connsiteX20" fmla="*/ 110602 w 111945"/>
                <a:gd name="connsiteY20" fmla="*/ 97057 h 125378"/>
                <a:gd name="connsiteX21" fmla="*/ 111945 w 111945"/>
                <a:gd name="connsiteY21" fmla="*/ 95265 h 125378"/>
                <a:gd name="connsiteX22" fmla="*/ 111945 w 111945"/>
                <a:gd name="connsiteY22" fmla="*/ 33472 h 125378"/>
                <a:gd name="connsiteX23" fmla="*/ 111498 w 111945"/>
                <a:gd name="connsiteY23" fmla="*/ 32128 h 125378"/>
                <a:gd name="connsiteX24" fmla="*/ 55973 w 111945"/>
                <a:gd name="connsiteY24" fmla="*/ 4814 h 125378"/>
                <a:gd name="connsiteX25" fmla="*/ 105229 w 111945"/>
                <a:gd name="connsiteY25" fmla="*/ 33024 h 125378"/>
                <a:gd name="connsiteX26" fmla="*/ 55973 w 111945"/>
                <a:gd name="connsiteY26" fmla="*/ 61234 h 125378"/>
                <a:gd name="connsiteX27" fmla="*/ 6717 w 111945"/>
                <a:gd name="connsiteY27" fmla="*/ 33024 h 125378"/>
                <a:gd name="connsiteX28" fmla="*/ 55973 w 111945"/>
                <a:gd name="connsiteY28" fmla="*/ 4814 h 125378"/>
                <a:gd name="connsiteX29" fmla="*/ 53734 w 111945"/>
                <a:gd name="connsiteY29" fmla="*/ 122132 h 125378"/>
                <a:gd name="connsiteX30" fmla="*/ 4478 w 111945"/>
                <a:gd name="connsiteY30" fmla="*/ 93922 h 125378"/>
                <a:gd name="connsiteX31" fmla="*/ 4478 w 111945"/>
                <a:gd name="connsiteY31" fmla="*/ 37054 h 125378"/>
                <a:gd name="connsiteX32" fmla="*/ 53734 w 111945"/>
                <a:gd name="connsiteY32" fmla="*/ 65264 h 125378"/>
                <a:gd name="connsiteX33" fmla="*/ 53734 w 111945"/>
                <a:gd name="connsiteY33" fmla="*/ 122132 h 125378"/>
                <a:gd name="connsiteX34" fmla="*/ 58212 w 111945"/>
                <a:gd name="connsiteY34" fmla="*/ 122132 h 125378"/>
                <a:gd name="connsiteX35" fmla="*/ 58212 w 111945"/>
                <a:gd name="connsiteY35" fmla="*/ 65264 h 125378"/>
                <a:gd name="connsiteX36" fmla="*/ 107468 w 111945"/>
                <a:gd name="connsiteY36" fmla="*/ 37054 h 125378"/>
                <a:gd name="connsiteX37" fmla="*/ 107468 w 111945"/>
                <a:gd name="connsiteY37" fmla="*/ 93922 h 125378"/>
                <a:gd name="connsiteX38" fmla="*/ 58212 w 111945"/>
                <a:gd name="connsiteY38" fmla="*/ 122132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1945" h="125378">
                  <a:moveTo>
                    <a:pt x="111498" y="32128"/>
                  </a:moveTo>
                  <a:cubicBezTo>
                    <a:pt x="111498" y="32128"/>
                    <a:pt x="111498" y="32128"/>
                    <a:pt x="111498" y="32128"/>
                  </a:cubicBezTo>
                  <a:cubicBezTo>
                    <a:pt x="111050" y="31681"/>
                    <a:pt x="111050" y="31681"/>
                    <a:pt x="110602" y="31233"/>
                  </a:cubicBezTo>
                  <a:cubicBezTo>
                    <a:pt x="110602" y="31233"/>
                    <a:pt x="110602" y="31233"/>
                    <a:pt x="110602" y="31233"/>
                  </a:cubicBezTo>
                  <a:lnTo>
                    <a:pt x="56868" y="336"/>
                  </a:lnTo>
                  <a:cubicBezTo>
                    <a:pt x="55973" y="-112"/>
                    <a:pt x="55525" y="-112"/>
                    <a:pt x="54629" y="336"/>
                  </a:cubicBezTo>
                  <a:lnTo>
                    <a:pt x="896" y="31233"/>
                  </a:lnTo>
                  <a:cubicBezTo>
                    <a:pt x="448" y="31233"/>
                    <a:pt x="448" y="31681"/>
                    <a:pt x="0" y="32128"/>
                  </a:cubicBezTo>
                  <a:cubicBezTo>
                    <a:pt x="0" y="32128"/>
                    <a:pt x="0" y="32128"/>
                    <a:pt x="0" y="32576"/>
                  </a:cubicBezTo>
                  <a:cubicBezTo>
                    <a:pt x="0" y="33024"/>
                    <a:pt x="0" y="33024"/>
                    <a:pt x="0" y="33472"/>
                  </a:cubicBezTo>
                  <a:cubicBezTo>
                    <a:pt x="0" y="33472"/>
                    <a:pt x="0" y="33472"/>
                    <a:pt x="0" y="33472"/>
                  </a:cubicBezTo>
                  <a:lnTo>
                    <a:pt x="0" y="95265"/>
                  </a:lnTo>
                  <a:cubicBezTo>
                    <a:pt x="0" y="96161"/>
                    <a:pt x="448" y="96609"/>
                    <a:pt x="1343" y="97057"/>
                  </a:cubicBezTo>
                  <a:lnTo>
                    <a:pt x="55077" y="127954"/>
                  </a:lnTo>
                  <a:cubicBezTo>
                    <a:pt x="55077" y="127954"/>
                    <a:pt x="55077" y="127954"/>
                    <a:pt x="55077" y="127954"/>
                  </a:cubicBezTo>
                  <a:cubicBezTo>
                    <a:pt x="55525" y="127954"/>
                    <a:pt x="55525" y="128401"/>
                    <a:pt x="55973" y="128401"/>
                  </a:cubicBezTo>
                  <a:cubicBezTo>
                    <a:pt x="55973" y="128401"/>
                    <a:pt x="55973" y="128401"/>
                    <a:pt x="55973" y="128401"/>
                  </a:cubicBezTo>
                  <a:lnTo>
                    <a:pt x="55973" y="128401"/>
                  </a:lnTo>
                  <a:lnTo>
                    <a:pt x="55973" y="128401"/>
                  </a:lnTo>
                  <a:cubicBezTo>
                    <a:pt x="56421" y="128401"/>
                    <a:pt x="56868" y="128401"/>
                    <a:pt x="56868" y="127954"/>
                  </a:cubicBezTo>
                  <a:lnTo>
                    <a:pt x="110602" y="97057"/>
                  </a:lnTo>
                  <a:cubicBezTo>
                    <a:pt x="111498" y="96609"/>
                    <a:pt x="111945" y="95713"/>
                    <a:pt x="111945" y="95265"/>
                  </a:cubicBezTo>
                  <a:lnTo>
                    <a:pt x="111945" y="33472"/>
                  </a:lnTo>
                  <a:cubicBezTo>
                    <a:pt x="111498" y="32576"/>
                    <a:pt x="111498" y="32576"/>
                    <a:pt x="111498" y="32128"/>
                  </a:cubicBezTo>
                  <a:close/>
                  <a:moveTo>
                    <a:pt x="55973" y="4814"/>
                  </a:moveTo>
                  <a:lnTo>
                    <a:pt x="105229" y="33024"/>
                  </a:lnTo>
                  <a:lnTo>
                    <a:pt x="55973" y="61234"/>
                  </a:lnTo>
                  <a:lnTo>
                    <a:pt x="6717" y="33024"/>
                  </a:lnTo>
                  <a:lnTo>
                    <a:pt x="55973" y="4814"/>
                  </a:lnTo>
                  <a:close/>
                  <a:moveTo>
                    <a:pt x="53734" y="122132"/>
                  </a:moveTo>
                  <a:lnTo>
                    <a:pt x="4478" y="93922"/>
                  </a:lnTo>
                  <a:lnTo>
                    <a:pt x="4478" y="37054"/>
                  </a:lnTo>
                  <a:lnTo>
                    <a:pt x="53734" y="65264"/>
                  </a:lnTo>
                  <a:lnTo>
                    <a:pt x="53734" y="122132"/>
                  </a:lnTo>
                  <a:close/>
                  <a:moveTo>
                    <a:pt x="58212" y="122132"/>
                  </a:moveTo>
                  <a:lnTo>
                    <a:pt x="58212" y="65264"/>
                  </a:lnTo>
                  <a:lnTo>
                    <a:pt x="107468" y="37054"/>
                  </a:lnTo>
                  <a:lnTo>
                    <a:pt x="107468" y="93922"/>
                  </a:lnTo>
                  <a:lnTo>
                    <a:pt x="58212" y="122132"/>
                  </a:lnTo>
                  <a:close/>
                </a:path>
              </a:pathLst>
            </a:custGeom>
            <a:solidFill>
              <a:srgbClr val="231F20"/>
            </a:solidFill>
            <a:ln w="4474" cap="flat">
              <a:noFill/>
              <a:prstDash val="solid"/>
              <a:miter/>
            </a:ln>
          </p:spPr>
          <p:txBody>
            <a:bodyPr rtlCol="0" anchor="ctr"/>
            <a:lstStyle/>
            <a:p>
              <a:endParaRPr lang="en-US"/>
            </a:p>
          </p:txBody>
        </p:sp>
        <p:sp>
          <p:nvSpPr>
            <p:cNvPr id="4380" name="Freeform: Shape 4379">
              <a:extLst>
                <a:ext uri="{FF2B5EF4-FFF2-40B4-BE49-F238E27FC236}">
                  <a16:creationId xmlns:a16="http://schemas.microsoft.com/office/drawing/2014/main" id="{6ACAF7C5-248C-4848-8854-520A589C271C}"/>
                </a:ext>
              </a:extLst>
            </p:cNvPr>
            <p:cNvSpPr/>
            <p:nvPr/>
          </p:nvSpPr>
          <p:spPr>
            <a:xfrm>
              <a:off x="1208080" y="3523232"/>
              <a:ext cx="58212" cy="4478"/>
            </a:xfrm>
            <a:custGeom>
              <a:avLst/>
              <a:gdLst>
                <a:gd name="connsiteX0" fmla="*/ 57316 w 58211"/>
                <a:gd name="connsiteY0" fmla="*/ 4478 h 4477"/>
                <a:gd name="connsiteX1" fmla="*/ 2239 w 58211"/>
                <a:gd name="connsiteY1" fmla="*/ 4478 h 4477"/>
                <a:gd name="connsiteX2" fmla="*/ 0 w 58211"/>
                <a:gd name="connsiteY2" fmla="*/ 2239 h 4477"/>
                <a:gd name="connsiteX3" fmla="*/ 2239 w 58211"/>
                <a:gd name="connsiteY3" fmla="*/ 0 h 4477"/>
                <a:gd name="connsiteX4" fmla="*/ 57316 w 58211"/>
                <a:gd name="connsiteY4" fmla="*/ 0 h 4477"/>
                <a:gd name="connsiteX5" fmla="*/ 59555 w 58211"/>
                <a:gd name="connsiteY5" fmla="*/ 2239 h 4477"/>
                <a:gd name="connsiteX6" fmla="*/ 57316 w 582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11" h="4477">
                  <a:moveTo>
                    <a:pt x="57316" y="4478"/>
                  </a:moveTo>
                  <a:lnTo>
                    <a:pt x="2239" y="4478"/>
                  </a:lnTo>
                  <a:cubicBezTo>
                    <a:pt x="896" y="4478"/>
                    <a:pt x="0" y="3582"/>
                    <a:pt x="0" y="2239"/>
                  </a:cubicBezTo>
                  <a:cubicBezTo>
                    <a:pt x="0" y="896"/>
                    <a:pt x="896" y="0"/>
                    <a:pt x="2239" y="0"/>
                  </a:cubicBezTo>
                  <a:lnTo>
                    <a:pt x="57316" y="0"/>
                  </a:lnTo>
                  <a:cubicBezTo>
                    <a:pt x="58659" y="0"/>
                    <a:pt x="59555" y="896"/>
                    <a:pt x="59555" y="2239"/>
                  </a:cubicBezTo>
                  <a:cubicBezTo>
                    <a:pt x="59555" y="3582"/>
                    <a:pt x="58659" y="4478"/>
                    <a:pt x="57316" y="4478"/>
                  </a:cubicBezTo>
                  <a:close/>
                </a:path>
              </a:pathLst>
            </a:custGeom>
            <a:solidFill>
              <a:srgbClr val="231F20"/>
            </a:solidFill>
            <a:ln w="4474" cap="flat">
              <a:noFill/>
              <a:prstDash val="solid"/>
              <a:miter/>
            </a:ln>
          </p:spPr>
          <p:txBody>
            <a:bodyPr rtlCol="0" anchor="ctr"/>
            <a:lstStyle/>
            <a:p>
              <a:endParaRPr lang="en-US"/>
            </a:p>
          </p:txBody>
        </p:sp>
        <p:sp>
          <p:nvSpPr>
            <p:cNvPr id="4381" name="Freeform: Shape 4380">
              <a:extLst>
                <a:ext uri="{FF2B5EF4-FFF2-40B4-BE49-F238E27FC236}">
                  <a16:creationId xmlns:a16="http://schemas.microsoft.com/office/drawing/2014/main" id="{ED613AB2-18CA-49FF-BA9E-1AEFF7F273F9}"/>
                </a:ext>
              </a:extLst>
            </p:cNvPr>
            <p:cNvSpPr/>
            <p:nvPr/>
          </p:nvSpPr>
          <p:spPr>
            <a:xfrm>
              <a:off x="1236290" y="3550099"/>
              <a:ext cx="26867" cy="4478"/>
            </a:xfrm>
            <a:custGeom>
              <a:avLst/>
              <a:gdLst>
                <a:gd name="connsiteX0" fmla="*/ 28210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8210 w 26866"/>
                <a:gd name="connsiteY4" fmla="*/ 0 h 4477"/>
                <a:gd name="connsiteX5" fmla="*/ 30449 w 26866"/>
                <a:gd name="connsiteY5" fmla="*/ 2239 h 4477"/>
                <a:gd name="connsiteX6" fmla="*/ 28210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8210" y="4478"/>
                  </a:moveTo>
                  <a:lnTo>
                    <a:pt x="2239" y="4478"/>
                  </a:lnTo>
                  <a:cubicBezTo>
                    <a:pt x="896" y="4478"/>
                    <a:pt x="0" y="3582"/>
                    <a:pt x="0" y="2239"/>
                  </a:cubicBezTo>
                  <a:cubicBezTo>
                    <a:pt x="0" y="896"/>
                    <a:pt x="896" y="0"/>
                    <a:pt x="2239" y="0"/>
                  </a:cubicBezTo>
                  <a:lnTo>
                    <a:pt x="28210" y="0"/>
                  </a:lnTo>
                  <a:cubicBezTo>
                    <a:pt x="29554" y="0"/>
                    <a:pt x="30449" y="896"/>
                    <a:pt x="30449" y="2239"/>
                  </a:cubicBezTo>
                  <a:cubicBezTo>
                    <a:pt x="30449" y="3582"/>
                    <a:pt x="29106" y="4478"/>
                    <a:pt x="28210" y="4478"/>
                  </a:cubicBezTo>
                  <a:close/>
                </a:path>
              </a:pathLst>
            </a:custGeom>
            <a:solidFill>
              <a:srgbClr val="231F20"/>
            </a:solidFill>
            <a:ln w="4474" cap="flat">
              <a:noFill/>
              <a:prstDash val="solid"/>
              <a:miter/>
            </a:ln>
          </p:spPr>
          <p:txBody>
            <a:bodyPr rtlCol="0" anchor="ctr"/>
            <a:lstStyle/>
            <a:p>
              <a:endParaRPr lang="en-US"/>
            </a:p>
          </p:txBody>
        </p:sp>
        <p:sp>
          <p:nvSpPr>
            <p:cNvPr id="4382" name="Freeform: Shape 4381">
              <a:extLst>
                <a:ext uri="{FF2B5EF4-FFF2-40B4-BE49-F238E27FC236}">
                  <a16:creationId xmlns:a16="http://schemas.microsoft.com/office/drawing/2014/main" id="{7D267478-DF51-4FFF-B884-9EBEDF9B8D30}"/>
                </a:ext>
              </a:extLst>
            </p:cNvPr>
            <p:cNvSpPr/>
            <p:nvPr/>
          </p:nvSpPr>
          <p:spPr>
            <a:xfrm>
              <a:off x="1236290" y="3576966"/>
              <a:ext cx="26867" cy="4478"/>
            </a:xfrm>
            <a:custGeom>
              <a:avLst/>
              <a:gdLst>
                <a:gd name="connsiteX0" fmla="*/ 28210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8210 w 26866"/>
                <a:gd name="connsiteY4" fmla="*/ 0 h 4477"/>
                <a:gd name="connsiteX5" fmla="*/ 30449 w 26866"/>
                <a:gd name="connsiteY5" fmla="*/ 2239 h 4477"/>
                <a:gd name="connsiteX6" fmla="*/ 28210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8210" y="4478"/>
                  </a:moveTo>
                  <a:lnTo>
                    <a:pt x="2239" y="4478"/>
                  </a:lnTo>
                  <a:cubicBezTo>
                    <a:pt x="896" y="4478"/>
                    <a:pt x="0" y="3582"/>
                    <a:pt x="0" y="2239"/>
                  </a:cubicBezTo>
                  <a:cubicBezTo>
                    <a:pt x="0" y="896"/>
                    <a:pt x="896" y="0"/>
                    <a:pt x="2239" y="0"/>
                  </a:cubicBezTo>
                  <a:lnTo>
                    <a:pt x="28210" y="0"/>
                  </a:lnTo>
                  <a:cubicBezTo>
                    <a:pt x="29554" y="0"/>
                    <a:pt x="30449" y="896"/>
                    <a:pt x="30449" y="2239"/>
                  </a:cubicBezTo>
                  <a:cubicBezTo>
                    <a:pt x="30449" y="3582"/>
                    <a:pt x="29106" y="4478"/>
                    <a:pt x="28210" y="4478"/>
                  </a:cubicBezTo>
                  <a:close/>
                </a:path>
              </a:pathLst>
            </a:custGeom>
            <a:solidFill>
              <a:srgbClr val="231F20"/>
            </a:solidFill>
            <a:ln w="4474" cap="flat">
              <a:noFill/>
              <a:prstDash val="solid"/>
              <a:miter/>
            </a:ln>
          </p:spPr>
          <p:txBody>
            <a:bodyPr rtlCol="0" anchor="ctr"/>
            <a:lstStyle/>
            <a:p>
              <a:endParaRPr lang="en-US"/>
            </a:p>
          </p:txBody>
        </p:sp>
      </p:grpSp>
      <p:grpSp>
        <p:nvGrpSpPr>
          <p:cNvPr id="4383" name="Group 4382">
            <a:extLst>
              <a:ext uri="{FF2B5EF4-FFF2-40B4-BE49-F238E27FC236}">
                <a16:creationId xmlns:a16="http://schemas.microsoft.com/office/drawing/2014/main" id="{B8BA6F3B-84E3-40A3-8A97-9F829ECA65BB}"/>
              </a:ext>
              <a:ext uri="{C183D7F6-B498-43B3-948B-1728B52AA6E4}">
                <adec:decorative xmlns:adec="http://schemas.microsoft.com/office/drawing/2017/decorative" val="1"/>
              </a:ext>
            </a:extLst>
          </p:cNvPr>
          <p:cNvGrpSpPr>
            <a:grpSpLocks noChangeAspect="1"/>
          </p:cNvGrpSpPr>
          <p:nvPr/>
        </p:nvGrpSpPr>
        <p:grpSpPr>
          <a:xfrm>
            <a:off x="1341513" y="4241208"/>
            <a:ext cx="138812" cy="156724"/>
            <a:chOff x="1382267" y="3505769"/>
            <a:chExt cx="138812" cy="156724"/>
          </a:xfrm>
        </p:grpSpPr>
        <p:sp>
          <p:nvSpPr>
            <p:cNvPr id="4384" name="Freeform: Shape 4383">
              <a:extLst>
                <a:ext uri="{FF2B5EF4-FFF2-40B4-BE49-F238E27FC236}">
                  <a16:creationId xmlns:a16="http://schemas.microsoft.com/office/drawing/2014/main" id="{D7A8AC25-EBE6-4B5B-88C7-D5864762CDFC}"/>
                </a:ext>
              </a:extLst>
            </p:cNvPr>
            <p:cNvSpPr/>
            <p:nvPr/>
          </p:nvSpPr>
          <p:spPr>
            <a:xfrm>
              <a:off x="1382267" y="3505769"/>
              <a:ext cx="138812" cy="156724"/>
            </a:xfrm>
            <a:custGeom>
              <a:avLst/>
              <a:gdLst>
                <a:gd name="connsiteX0" fmla="*/ 137917 w 138812"/>
                <a:gd name="connsiteY0" fmla="*/ 41196 h 156723"/>
                <a:gd name="connsiteX1" fmla="*/ 137469 w 138812"/>
                <a:gd name="connsiteY1" fmla="*/ 40300 h 156723"/>
                <a:gd name="connsiteX2" fmla="*/ 137469 w 138812"/>
                <a:gd name="connsiteY2" fmla="*/ 39852 h 156723"/>
                <a:gd name="connsiteX3" fmla="*/ 137021 w 138812"/>
                <a:gd name="connsiteY3" fmla="*/ 39405 h 156723"/>
                <a:gd name="connsiteX4" fmla="*/ 137021 w 138812"/>
                <a:gd name="connsiteY4" fmla="*/ 39405 h 156723"/>
                <a:gd name="connsiteX5" fmla="*/ 69854 w 138812"/>
                <a:gd name="connsiteY5" fmla="*/ 448 h 156723"/>
                <a:gd name="connsiteX6" fmla="*/ 69854 w 138812"/>
                <a:gd name="connsiteY6" fmla="*/ 448 h 156723"/>
                <a:gd name="connsiteX7" fmla="*/ 68958 w 138812"/>
                <a:gd name="connsiteY7" fmla="*/ 0 h 156723"/>
                <a:gd name="connsiteX8" fmla="*/ 68958 w 138812"/>
                <a:gd name="connsiteY8" fmla="*/ 0 h 156723"/>
                <a:gd name="connsiteX9" fmla="*/ 68063 w 138812"/>
                <a:gd name="connsiteY9" fmla="*/ 448 h 156723"/>
                <a:gd name="connsiteX10" fmla="*/ 68063 w 138812"/>
                <a:gd name="connsiteY10" fmla="*/ 448 h 156723"/>
                <a:gd name="connsiteX11" fmla="*/ 896 w 138812"/>
                <a:gd name="connsiteY11" fmla="*/ 39405 h 156723"/>
                <a:gd name="connsiteX12" fmla="*/ 896 w 138812"/>
                <a:gd name="connsiteY12" fmla="*/ 39405 h 156723"/>
                <a:gd name="connsiteX13" fmla="*/ 0 w 138812"/>
                <a:gd name="connsiteY13" fmla="*/ 40300 h 156723"/>
                <a:gd name="connsiteX14" fmla="*/ 0 w 138812"/>
                <a:gd name="connsiteY14" fmla="*/ 40748 h 156723"/>
                <a:gd name="connsiteX15" fmla="*/ 0 w 138812"/>
                <a:gd name="connsiteY15" fmla="*/ 41644 h 156723"/>
                <a:gd name="connsiteX16" fmla="*/ 0 w 138812"/>
                <a:gd name="connsiteY16" fmla="*/ 41644 h 156723"/>
                <a:gd name="connsiteX17" fmla="*/ 0 w 138812"/>
                <a:gd name="connsiteY17" fmla="*/ 119110 h 156723"/>
                <a:gd name="connsiteX18" fmla="*/ 0 w 138812"/>
                <a:gd name="connsiteY18" fmla="*/ 119110 h 156723"/>
                <a:gd name="connsiteX19" fmla="*/ 448 w 138812"/>
                <a:gd name="connsiteY19" fmla="*/ 120005 h 156723"/>
                <a:gd name="connsiteX20" fmla="*/ 448 w 138812"/>
                <a:gd name="connsiteY20" fmla="*/ 120005 h 156723"/>
                <a:gd name="connsiteX21" fmla="*/ 1343 w 138812"/>
                <a:gd name="connsiteY21" fmla="*/ 120901 h 156723"/>
                <a:gd name="connsiteX22" fmla="*/ 1343 w 138812"/>
                <a:gd name="connsiteY22" fmla="*/ 120901 h 156723"/>
                <a:gd name="connsiteX23" fmla="*/ 1343 w 138812"/>
                <a:gd name="connsiteY23" fmla="*/ 120901 h 156723"/>
                <a:gd name="connsiteX24" fmla="*/ 68511 w 138812"/>
                <a:gd name="connsiteY24" fmla="*/ 159858 h 156723"/>
                <a:gd name="connsiteX25" fmla="*/ 68511 w 138812"/>
                <a:gd name="connsiteY25" fmla="*/ 159858 h 156723"/>
                <a:gd name="connsiteX26" fmla="*/ 69406 w 138812"/>
                <a:gd name="connsiteY26" fmla="*/ 160306 h 156723"/>
                <a:gd name="connsiteX27" fmla="*/ 70302 w 138812"/>
                <a:gd name="connsiteY27" fmla="*/ 160306 h 156723"/>
                <a:gd name="connsiteX28" fmla="*/ 70750 w 138812"/>
                <a:gd name="connsiteY28" fmla="*/ 160306 h 156723"/>
                <a:gd name="connsiteX29" fmla="*/ 137917 w 138812"/>
                <a:gd name="connsiteY29" fmla="*/ 121349 h 156723"/>
                <a:gd name="connsiteX30" fmla="*/ 137917 w 138812"/>
                <a:gd name="connsiteY30" fmla="*/ 121349 h 156723"/>
                <a:gd name="connsiteX31" fmla="*/ 137917 w 138812"/>
                <a:gd name="connsiteY31" fmla="*/ 121349 h 156723"/>
                <a:gd name="connsiteX32" fmla="*/ 138812 w 138812"/>
                <a:gd name="connsiteY32" fmla="*/ 120453 h 156723"/>
                <a:gd name="connsiteX33" fmla="*/ 139260 w 138812"/>
                <a:gd name="connsiteY33" fmla="*/ 119558 h 156723"/>
                <a:gd name="connsiteX34" fmla="*/ 139260 w 138812"/>
                <a:gd name="connsiteY34" fmla="*/ 119558 h 156723"/>
                <a:gd name="connsiteX35" fmla="*/ 139260 w 138812"/>
                <a:gd name="connsiteY35" fmla="*/ 41196 h 156723"/>
                <a:gd name="connsiteX36" fmla="*/ 66272 w 138812"/>
                <a:gd name="connsiteY36" fmla="*/ 6717 h 156723"/>
                <a:gd name="connsiteX37" fmla="*/ 66272 w 138812"/>
                <a:gd name="connsiteY37" fmla="*/ 16120 h 156723"/>
                <a:gd name="connsiteX38" fmla="*/ 68511 w 138812"/>
                <a:gd name="connsiteY38" fmla="*/ 18359 h 156723"/>
                <a:gd name="connsiteX39" fmla="*/ 70750 w 138812"/>
                <a:gd name="connsiteY39" fmla="*/ 16120 h 156723"/>
                <a:gd name="connsiteX40" fmla="*/ 70750 w 138812"/>
                <a:gd name="connsiteY40" fmla="*/ 6717 h 156723"/>
                <a:gd name="connsiteX41" fmla="*/ 131200 w 138812"/>
                <a:gd name="connsiteY41" fmla="*/ 41644 h 156723"/>
                <a:gd name="connsiteX42" fmla="*/ 70750 w 138812"/>
                <a:gd name="connsiteY42" fmla="*/ 76571 h 156723"/>
                <a:gd name="connsiteX43" fmla="*/ 70750 w 138812"/>
                <a:gd name="connsiteY43" fmla="*/ 69854 h 156723"/>
                <a:gd name="connsiteX44" fmla="*/ 68511 w 138812"/>
                <a:gd name="connsiteY44" fmla="*/ 67615 h 156723"/>
                <a:gd name="connsiteX45" fmla="*/ 66272 w 138812"/>
                <a:gd name="connsiteY45" fmla="*/ 69854 h 156723"/>
                <a:gd name="connsiteX46" fmla="*/ 66272 w 138812"/>
                <a:gd name="connsiteY46" fmla="*/ 76571 h 156723"/>
                <a:gd name="connsiteX47" fmla="*/ 5821 w 138812"/>
                <a:gd name="connsiteY47" fmla="*/ 41644 h 156723"/>
                <a:gd name="connsiteX48" fmla="*/ 66272 w 138812"/>
                <a:gd name="connsiteY48" fmla="*/ 6717 h 156723"/>
                <a:gd name="connsiteX49" fmla="*/ 5821 w 138812"/>
                <a:gd name="connsiteY49" fmla="*/ 119110 h 156723"/>
                <a:gd name="connsiteX50" fmla="*/ 13881 w 138812"/>
                <a:gd name="connsiteY50" fmla="*/ 114184 h 156723"/>
                <a:gd name="connsiteX51" fmla="*/ 14777 w 138812"/>
                <a:gd name="connsiteY51" fmla="*/ 111050 h 156723"/>
                <a:gd name="connsiteX52" fmla="*/ 11642 w 138812"/>
                <a:gd name="connsiteY52" fmla="*/ 110154 h 156723"/>
                <a:gd name="connsiteX53" fmla="*/ 3582 w 138812"/>
                <a:gd name="connsiteY53" fmla="*/ 115080 h 156723"/>
                <a:gd name="connsiteX54" fmla="*/ 3582 w 138812"/>
                <a:gd name="connsiteY54" fmla="*/ 45226 h 156723"/>
                <a:gd name="connsiteX55" fmla="*/ 64033 w 138812"/>
                <a:gd name="connsiteY55" fmla="*/ 80153 h 156723"/>
                <a:gd name="connsiteX56" fmla="*/ 58212 w 138812"/>
                <a:gd name="connsiteY56" fmla="*/ 83287 h 156723"/>
                <a:gd name="connsiteX57" fmla="*/ 57316 w 138812"/>
                <a:gd name="connsiteY57" fmla="*/ 86422 h 156723"/>
                <a:gd name="connsiteX58" fmla="*/ 59107 w 138812"/>
                <a:gd name="connsiteY58" fmla="*/ 87765 h 156723"/>
                <a:gd name="connsiteX59" fmla="*/ 60003 w 138812"/>
                <a:gd name="connsiteY59" fmla="*/ 87317 h 156723"/>
                <a:gd name="connsiteX60" fmla="*/ 65824 w 138812"/>
                <a:gd name="connsiteY60" fmla="*/ 84183 h 156723"/>
                <a:gd name="connsiteX61" fmla="*/ 65824 w 138812"/>
                <a:gd name="connsiteY61" fmla="*/ 154037 h 156723"/>
                <a:gd name="connsiteX62" fmla="*/ 5821 w 138812"/>
                <a:gd name="connsiteY62" fmla="*/ 119110 h 156723"/>
                <a:gd name="connsiteX63" fmla="*/ 70750 w 138812"/>
                <a:gd name="connsiteY63" fmla="*/ 84183 h 156723"/>
                <a:gd name="connsiteX64" fmla="*/ 76571 w 138812"/>
                <a:gd name="connsiteY64" fmla="*/ 87317 h 156723"/>
                <a:gd name="connsiteX65" fmla="*/ 77466 w 138812"/>
                <a:gd name="connsiteY65" fmla="*/ 87765 h 156723"/>
                <a:gd name="connsiteX66" fmla="*/ 79257 w 138812"/>
                <a:gd name="connsiteY66" fmla="*/ 86422 h 156723"/>
                <a:gd name="connsiteX67" fmla="*/ 78362 w 138812"/>
                <a:gd name="connsiteY67" fmla="*/ 83287 h 156723"/>
                <a:gd name="connsiteX68" fmla="*/ 72541 w 138812"/>
                <a:gd name="connsiteY68" fmla="*/ 80153 h 156723"/>
                <a:gd name="connsiteX69" fmla="*/ 132991 w 138812"/>
                <a:gd name="connsiteY69" fmla="*/ 45226 h 156723"/>
                <a:gd name="connsiteX70" fmla="*/ 132991 w 138812"/>
                <a:gd name="connsiteY70" fmla="*/ 115080 h 156723"/>
                <a:gd name="connsiteX71" fmla="*/ 124931 w 138812"/>
                <a:gd name="connsiteY71" fmla="*/ 110154 h 156723"/>
                <a:gd name="connsiteX72" fmla="*/ 121797 w 138812"/>
                <a:gd name="connsiteY72" fmla="*/ 111050 h 156723"/>
                <a:gd name="connsiteX73" fmla="*/ 122692 w 138812"/>
                <a:gd name="connsiteY73" fmla="*/ 114184 h 156723"/>
                <a:gd name="connsiteX74" fmla="*/ 130752 w 138812"/>
                <a:gd name="connsiteY74" fmla="*/ 119110 h 156723"/>
                <a:gd name="connsiteX75" fmla="*/ 70302 w 138812"/>
                <a:gd name="connsiteY75" fmla="*/ 154037 h 156723"/>
                <a:gd name="connsiteX76" fmla="*/ 70302 w 138812"/>
                <a:gd name="connsiteY76" fmla="*/ 84183 h 15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38812" h="156723">
                  <a:moveTo>
                    <a:pt x="137917" y="41196"/>
                  </a:moveTo>
                  <a:cubicBezTo>
                    <a:pt x="137917" y="40748"/>
                    <a:pt x="137917" y="40300"/>
                    <a:pt x="137469" y="40300"/>
                  </a:cubicBezTo>
                  <a:cubicBezTo>
                    <a:pt x="137469" y="40300"/>
                    <a:pt x="137469" y="40300"/>
                    <a:pt x="137469" y="39852"/>
                  </a:cubicBezTo>
                  <a:cubicBezTo>
                    <a:pt x="137469" y="39405"/>
                    <a:pt x="137021" y="39405"/>
                    <a:pt x="137021" y="39405"/>
                  </a:cubicBezTo>
                  <a:cubicBezTo>
                    <a:pt x="137021" y="39405"/>
                    <a:pt x="137021" y="39405"/>
                    <a:pt x="137021" y="39405"/>
                  </a:cubicBezTo>
                  <a:lnTo>
                    <a:pt x="69854" y="448"/>
                  </a:lnTo>
                  <a:cubicBezTo>
                    <a:pt x="69854" y="448"/>
                    <a:pt x="69854" y="448"/>
                    <a:pt x="69854" y="448"/>
                  </a:cubicBezTo>
                  <a:cubicBezTo>
                    <a:pt x="69406" y="448"/>
                    <a:pt x="69406" y="0"/>
                    <a:pt x="68958" y="0"/>
                  </a:cubicBezTo>
                  <a:cubicBezTo>
                    <a:pt x="68958" y="0"/>
                    <a:pt x="68958" y="0"/>
                    <a:pt x="68958" y="0"/>
                  </a:cubicBezTo>
                  <a:cubicBezTo>
                    <a:pt x="68511" y="0"/>
                    <a:pt x="68063" y="0"/>
                    <a:pt x="68063" y="448"/>
                  </a:cubicBezTo>
                  <a:cubicBezTo>
                    <a:pt x="68063" y="448"/>
                    <a:pt x="68063" y="448"/>
                    <a:pt x="68063" y="448"/>
                  </a:cubicBezTo>
                  <a:lnTo>
                    <a:pt x="896" y="39405"/>
                  </a:lnTo>
                  <a:cubicBezTo>
                    <a:pt x="896" y="39405"/>
                    <a:pt x="896" y="39405"/>
                    <a:pt x="896" y="39405"/>
                  </a:cubicBezTo>
                  <a:cubicBezTo>
                    <a:pt x="448" y="39405"/>
                    <a:pt x="448" y="39852"/>
                    <a:pt x="0" y="40300"/>
                  </a:cubicBezTo>
                  <a:cubicBezTo>
                    <a:pt x="0" y="40300"/>
                    <a:pt x="0" y="40300"/>
                    <a:pt x="0" y="40748"/>
                  </a:cubicBezTo>
                  <a:cubicBezTo>
                    <a:pt x="0" y="41196"/>
                    <a:pt x="0" y="41196"/>
                    <a:pt x="0" y="41644"/>
                  </a:cubicBezTo>
                  <a:cubicBezTo>
                    <a:pt x="0" y="41644"/>
                    <a:pt x="0" y="41644"/>
                    <a:pt x="0" y="41644"/>
                  </a:cubicBezTo>
                  <a:lnTo>
                    <a:pt x="0" y="119110"/>
                  </a:lnTo>
                  <a:cubicBezTo>
                    <a:pt x="0" y="119110"/>
                    <a:pt x="0" y="119110"/>
                    <a:pt x="0" y="119110"/>
                  </a:cubicBezTo>
                  <a:cubicBezTo>
                    <a:pt x="0" y="119558"/>
                    <a:pt x="0" y="120005"/>
                    <a:pt x="448" y="120005"/>
                  </a:cubicBezTo>
                  <a:lnTo>
                    <a:pt x="448" y="120005"/>
                  </a:lnTo>
                  <a:cubicBezTo>
                    <a:pt x="448" y="120453"/>
                    <a:pt x="896" y="120453"/>
                    <a:pt x="1343" y="120901"/>
                  </a:cubicBezTo>
                  <a:lnTo>
                    <a:pt x="1343" y="120901"/>
                  </a:lnTo>
                  <a:cubicBezTo>
                    <a:pt x="1343" y="120901"/>
                    <a:pt x="1343" y="120901"/>
                    <a:pt x="1343" y="120901"/>
                  </a:cubicBezTo>
                  <a:lnTo>
                    <a:pt x="68511" y="159858"/>
                  </a:lnTo>
                  <a:cubicBezTo>
                    <a:pt x="68511" y="159858"/>
                    <a:pt x="68511" y="159858"/>
                    <a:pt x="68511" y="159858"/>
                  </a:cubicBezTo>
                  <a:cubicBezTo>
                    <a:pt x="68958" y="159858"/>
                    <a:pt x="69406" y="160306"/>
                    <a:pt x="69406" y="160306"/>
                  </a:cubicBezTo>
                  <a:cubicBezTo>
                    <a:pt x="69854" y="160306"/>
                    <a:pt x="69854" y="160306"/>
                    <a:pt x="70302" y="160306"/>
                  </a:cubicBezTo>
                  <a:cubicBezTo>
                    <a:pt x="70302" y="160306"/>
                    <a:pt x="70750" y="160306"/>
                    <a:pt x="70750" y="160306"/>
                  </a:cubicBezTo>
                  <a:lnTo>
                    <a:pt x="137917" y="121349"/>
                  </a:lnTo>
                  <a:lnTo>
                    <a:pt x="137917" y="121349"/>
                  </a:lnTo>
                  <a:lnTo>
                    <a:pt x="137917" y="121349"/>
                  </a:lnTo>
                  <a:cubicBezTo>
                    <a:pt x="138365" y="121349"/>
                    <a:pt x="138365" y="120901"/>
                    <a:pt x="138812" y="120453"/>
                  </a:cubicBezTo>
                  <a:cubicBezTo>
                    <a:pt x="138812" y="120005"/>
                    <a:pt x="139260" y="120005"/>
                    <a:pt x="139260" y="119558"/>
                  </a:cubicBezTo>
                  <a:cubicBezTo>
                    <a:pt x="139260" y="119558"/>
                    <a:pt x="139260" y="119558"/>
                    <a:pt x="139260" y="119558"/>
                  </a:cubicBezTo>
                  <a:lnTo>
                    <a:pt x="139260" y="41196"/>
                  </a:lnTo>
                  <a:close/>
                  <a:moveTo>
                    <a:pt x="66272" y="6717"/>
                  </a:moveTo>
                  <a:lnTo>
                    <a:pt x="66272" y="16120"/>
                  </a:lnTo>
                  <a:cubicBezTo>
                    <a:pt x="66272" y="17463"/>
                    <a:pt x="67167" y="18359"/>
                    <a:pt x="68511" y="18359"/>
                  </a:cubicBezTo>
                  <a:cubicBezTo>
                    <a:pt x="69854" y="18359"/>
                    <a:pt x="70750" y="17463"/>
                    <a:pt x="70750" y="16120"/>
                  </a:cubicBezTo>
                  <a:lnTo>
                    <a:pt x="70750" y="6717"/>
                  </a:lnTo>
                  <a:lnTo>
                    <a:pt x="131200" y="41644"/>
                  </a:lnTo>
                  <a:lnTo>
                    <a:pt x="70750" y="76571"/>
                  </a:lnTo>
                  <a:lnTo>
                    <a:pt x="70750" y="69854"/>
                  </a:lnTo>
                  <a:cubicBezTo>
                    <a:pt x="70750" y="68511"/>
                    <a:pt x="69854" y="67615"/>
                    <a:pt x="68511" y="67615"/>
                  </a:cubicBezTo>
                  <a:cubicBezTo>
                    <a:pt x="67167" y="67615"/>
                    <a:pt x="66272" y="68511"/>
                    <a:pt x="66272" y="69854"/>
                  </a:cubicBezTo>
                  <a:lnTo>
                    <a:pt x="66272" y="76571"/>
                  </a:lnTo>
                  <a:lnTo>
                    <a:pt x="5821" y="41644"/>
                  </a:lnTo>
                  <a:lnTo>
                    <a:pt x="66272" y="6717"/>
                  </a:lnTo>
                  <a:close/>
                  <a:moveTo>
                    <a:pt x="5821" y="119110"/>
                  </a:moveTo>
                  <a:lnTo>
                    <a:pt x="13881" y="114184"/>
                  </a:lnTo>
                  <a:cubicBezTo>
                    <a:pt x="14777" y="113736"/>
                    <a:pt x="15225" y="112393"/>
                    <a:pt x="14777" y="111050"/>
                  </a:cubicBezTo>
                  <a:cubicBezTo>
                    <a:pt x="14329" y="109707"/>
                    <a:pt x="12986" y="109707"/>
                    <a:pt x="11642" y="110154"/>
                  </a:cubicBezTo>
                  <a:lnTo>
                    <a:pt x="3582" y="115080"/>
                  </a:lnTo>
                  <a:lnTo>
                    <a:pt x="3582" y="45226"/>
                  </a:lnTo>
                  <a:lnTo>
                    <a:pt x="64033" y="80153"/>
                  </a:lnTo>
                  <a:lnTo>
                    <a:pt x="58212" y="83287"/>
                  </a:lnTo>
                  <a:cubicBezTo>
                    <a:pt x="57316" y="83735"/>
                    <a:pt x="56868" y="85079"/>
                    <a:pt x="57316" y="86422"/>
                  </a:cubicBezTo>
                  <a:cubicBezTo>
                    <a:pt x="57764" y="87317"/>
                    <a:pt x="58659" y="87765"/>
                    <a:pt x="59107" y="87765"/>
                  </a:cubicBezTo>
                  <a:cubicBezTo>
                    <a:pt x="59555" y="87765"/>
                    <a:pt x="60003" y="87765"/>
                    <a:pt x="60003" y="87317"/>
                  </a:cubicBezTo>
                  <a:lnTo>
                    <a:pt x="65824" y="84183"/>
                  </a:lnTo>
                  <a:lnTo>
                    <a:pt x="65824" y="154037"/>
                  </a:lnTo>
                  <a:lnTo>
                    <a:pt x="5821" y="119110"/>
                  </a:lnTo>
                  <a:close/>
                  <a:moveTo>
                    <a:pt x="70750" y="84183"/>
                  </a:moveTo>
                  <a:lnTo>
                    <a:pt x="76571" y="87317"/>
                  </a:lnTo>
                  <a:cubicBezTo>
                    <a:pt x="77018" y="87317"/>
                    <a:pt x="77466" y="87765"/>
                    <a:pt x="77466" y="87765"/>
                  </a:cubicBezTo>
                  <a:cubicBezTo>
                    <a:pt x="78362" y="87765"/>
                    <a:pt x="78810" y="87317"/>
                    <a:pt x="79257" y="86422"/>
                  </a:cubicBezTo>
                  <a:cubicBezTo>
                    <a:pt x="79705" y="85526"/>
                    <a:pt x="79705" y="84183"/>
                    <a:pt x="78362" y="83287"/>
                  </a:cubicBezTo>
                  <a:lnTo>
                    <a:pt x="72541" y="80153"/>
                  </a:lnTo>
                  <a:lnTo>
                    <a:pt x="132991" y="45226"/>
                  </a:lnTo>
                  <a:lnTo>
                    <a:pt x="132991" y="115080"/>
                  </a:lnTo>
                  <a:lnTo>
                    <a:pt x="124931" y="110154"/>
                  </a:lnTo>
                  <a:cubicBezTo>
                    <a:pt x="124036" y="109707"/>
                    <a:pt x="122692" y="109707"/>
                    <a:pt x="121797" y="111050"/>
                  </a:cubicBezTo>
                  <a:cubicBezTo>
                    <a:pt x="121349" y="111945"/>
                    <a:pt x="121349" y="113289"/>
                    <a:pt x="122692" y="114184"/>
                  </a:cubicBezTo>
                  <a:lnTo>
                    <a:pt x="130752" y="119110"/>
                  </a:lnTo>
                  <a:lnTo>
                    <a:pt x="70302" y="154037"/>
                  </a:lnTo>
                  <a:lnTo>
                    <a:pt x="70302" y="84183"/>
                  </a:lnTo>
                  <a:close/>
                </a:path>
              </a:pathLst>
            </a:custGeom>
            <a:solidFill>
              <a:srgbClr val="231F20"/>
            </a:solidFill>
            <a:ln w="4474" cap="flat">
              <a:noFill/>
              <a:prstDash val="solid"/>
              <a:miter/>
            </a:ln>
          </p:spPr>
          <p:txBody>
            <a:bodyPr rtlCol="0" anchor="ctr"/>
            <a:lstStyle/>
            <a:p>
              <a:endParaRPr lang="en-US"/>
            </a:p>
          </p:txBody>
        </p:sp>
        <p:sp>
          <p:nvSpPr>
            <p:cNvPr id="4385" name="Freeform: Shape 4384">
              <a:extLst>
                <a:ext uri="{FF2B5EF4-FFF2-40B4-BE49-F238E27FC236}">
                  <a16:creationId xmlns:a16="http://schemas.microsoft.com/office/drawing/2014/main" id="{5D24BA6B-6E01-48C5-B060-58D7104A251B}"/>
                </a:ext>
              </a:extLst>
            </p:cNvPr>
            <p:cNvSpPr/>
            <p:nvPr/>
          </p:nvSpPr>
          <p:spPr>
            <a:xfrm>
              <a:off x="1448539" y="3528606"/>
              <a:ext cx="4478" cy="17911"/>
            </a:xfrm>
            <a:custGeom>
              <a:avLst/>
              <a:gdLst>
                <a:gd name="connsiteX0" fmla="*/ 2239 w 4477"/>
                <a:gd name="connsiteY0" fmla="*/ 17911 h 17911"/>
                <a:gd name="connsiteX1" fmla="*/ 4478 w 4477"/>
                <a:gd name="connsiteY1" fmla="*/ 15672 h 17911"/>
                <a:gd name="connsiteX2" fmla="*/ 4478 w 4477"/>
                <a:gd name="connsiteY2" fmla="*/ 2239 h 17911"/>
                <a:gd name="connsiteX3" fmla="*/ 2239 w 4477"/>
                <a:gd name="connsiteY3" fmla="*/ 0 h 17911"/>
                <a:gd name="connsiteX4" fmla="*/ 0 w 4477"/>
                <a:gd name="connsiteY4" fmla="*/ 2239 h 17911"/>
                <a:gd name="connsiteX5" fmla="*/ 0 w 4477"/>
                <a:gd name="connsiteY5" fmla="*/ 15672 h 17911"/>
                <a:gd name="connsiteX6" fmla="*/ 2239 w 4477"/>
                <a:gd name="connsiteY6"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7911"/>
                  </a:moveTo>
                  <a:cubicBezTo>
                    <a:pt x="3582" y="17911"/>
                    <a:pt x="4478" y="17016"/>
                    <a:pt x="4478" y="15672"/>
                  </a:cubicBezTo>
                  <a:lnTo>
                    <a:pt x="4478" y="2239"/>
                  </a:lnTo>
                  <a:cubicBezTo>
                    <a:pt x="4478" y="896"/>
                    <a:pt x="3582" y="0"/>
                    <a:pt x="2239" y="0"/>
                  </a:cubicBezTo>
                  <a:cubicBezTo>
                    <a:pt x="896" y="0"/>
                    <a:pt x="0" y="896"/>
                    <a:pt x="0" y="2239"/>
                  </a:cubicBezTo>
                  <a:lnTo>
                    <a:pt x="0" y="15672"/>
                  </a:lnTo>
                  <a:cubicBezTo>
                    <a:pt x="0" y="17016"/>
                    <a:pt x="896" y="17911"/>
                    <a:pt x="2239" y="17911"/>
                  </a:cubicBezTo>
                  <a:close/>
                </a:path>
              </a:pathLst>
            </a:custGeom>
            <a:solidFill>
              <a:srgbClr val="231F20"/>
            </a:solidFill>
            <a:ln w="4474" cap="flat">
              <a:noFill/>
              <a:prstDash val="solid"/>
              <a:miter/>
            </a:ln>
          </p:spPr>
          <p:txBody>
            <a:bodyPr rtlCol="0" anchor="ctr"/>
            <a:lstStyle/>
            <a:p>
              <a:endParaRPr lang="en-US"/>
            </a:p>
          </p:txBody>
        </p:sp>
        <p:sp>
          <p:nvSpPr>
            <p:cNvPr id="4386" name="Freeform: Shape 4385">
              <a:extLst>
                <a:ext uri="{FF2B5EF4-FFF2-40B4-BE49-F238E27FC236}">
                  <a16:creationId xmlns:a16="http://schemas.microsoft.com/office/drawing/2014/main" id="{B45C9796-2319-4AB0-8087-33EC7412C5AD}"/>
                </a:ext>
              </a:extLst>
            </p:cNvPr>
            <p:cNvSpPr/>
            <p:nvPr/>
          </p:nvSpPr>
          <p:spPr>
            <a:xfrm>
              <a:off x="1448539" y="3550995"/>
              <a:ext cx="4478" cy="17911"/>
            </a:xfrm>
            <a:custGeom>
              <a:avLst/>
              <a:gdLst>
                <a:gd name="connsiteX0" fmla="*/ 2239 w 4477"/>
                <a:gd name="connsiteY0" fmla="*/ 17911 h 17911"/>
                <a:gd name="connsiteX1" fmla="*/ 4478 w 4477"/>
                <a:gd name="connsiteY1" fmla="*/ 15672 h 17911"/>
                <a:gd name="connsiteX2" fmla="*/ 4478 w 4477"/>
                <a:gd name="connsiteY2" fmla="*/ 2239 h 17911"/>
                <a:gd name="connsiteX3" fmla="*/ 2239 w 4477"/>
                <a:gd name="connsiteY3" fmla="*/ 0 h 17911"/>
                <a:gd name="connsiteX4" fmla="*/ 0 w 4477"/>
                <a:gd name="connsiteY4" fmla="*/ 2239 h 17911"/>
                <a:gd name="connsiteX5" fmla="*/ 0 w 4477"/>
                <a:gd name="connsiteY5" fmla="*/ 15672 h 17911"/>
                <a:gd name="connsiteX6" fmla="*/ 2239 w 4477"/>
                <a:gd name="connsiteY6"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7911"/>
                  </a:moveTo>
                  <a:cubicBezTo>
                    <a:pt x="3582" y="17911"/>
                    <a:pt x="4478" y="17016"/>
                    <a:pt x="4478" y="15672"/>
                  </a:cubicBezTo>
                  <a:lnTo>
                    <a:pt x="4478" y="2239"/>
                  </a:lnTo>
                  <a:cubicBezTo>
                    <a:pt x="4478" y="896"/>
                    <a:pt x="3582" y="0"/>
                    <a:pt x="2239" y="0"/>
                  </a:cubicBezTo>
                  <a:cubicBezTo>
                    <a:pt x="896" y="0"/>
                    <a:pt x="0" y="896"/>
                    <a:pt x="0" y="2239"/>
                  </a:cubicBezTo>
                  <a:lnTo>
                    <a:pt x="0" y="15672"/>
                  </a:lnTo>
                  <a:cubicBezTo>
                    <a:pt x="0" y="17016"/>
                    <a:pt x="896" y="17911"/>
                    <a:pt x="2239" y="17911"/>
                  </a:cubicBezTo>
                  <a:close/>
                </a:path>
              </a:pathLst>
            </a:custGeom>
            <a:solidFill>
              <a:srgbClr val="231F20"/>
            </a:solidFill>
            <a:ln w="4474" cap="flat">
              <a:noFill/>
              <a:prstDash val="solid"/>
              <a:miter/>
            </a:ln>
          </p:spPr>
          <p:txBody>
            <a:bodyPr rtlCol="0" anchor="ctr"/>
            <a:lstStyle/>
            <a:p>
              <a:endParaRPr lang="en-US"/>
            </a:p>
          </p:txBody>
        </p:sp>
        <p:sp>
          <p:nvSpPr>
            <p:cNvPr id="4387" name="Freeform: Shape 4386">
              <a:extLst>
                <a:ext uri="{FF2B5EF4-FFF2-40B4-BE49-F238E27FC236}">
                  <a16:creationId xmlns:a16="http://schemas.microsoft.com/office/drawing/2014/main" id="{51B1ABED-45FC-4F25-9B03-730555AFF4E9}"/>
                </a:ext>
              </a:extLst>
            </p:cNvPr>
            <p:cNvSpPr/>
            <p:nvPr/>
          </p:nvSpPr>
          <p:spPr>
            <a:xfrm>
              <a:off x="1464839" y="3593267"/>
              <a:ext cx="13433" cy="8956"/>
            </a:xfrm>
            <a:custGeom>
              <a:avLst/>
              <a:gdLst>
                <a:gd name="connsiteX0" fmla="*/ 15045 w 13433"/>
                <a:gd name="connsiteY0" fmla="*/ 6984 h 8955"/>
                <a:gd name="connsiteX1" fmla="*/ 3402 w 13433"/>
                <a:gd name="connsiteY1" fmla="*/ 268 h 8955"/>
                <a:gd name="connsiteX2" fmla="*/ 268 w 13433"/>
                <a:gd name="connsiteY2" fmla="*/ 1163 h 8955"/>
                <a:gd name="connsiteX3" fmla="*/ 1163 w 13433"/>
                <a:gd name="connsiteY3" fmla="*/ 4298 h 8955"/>
                <a:gd name="connsiteX4" fmla="*/ 12806 w 13433"/>
                <a:gd name="connsiteY4" fmla="*/ 11015 h 8955"/>
                <a:gd name="connsiteX5" fmla="*/ 13701 w 13433"/>
                <a:gd name="connsiteY5" fmla="*/ 11462 h 8955"/>
                <a:gd name="connsiteX6" fmla="*/ 15492 w 13433"/>
                <a:gd name="connsiteY6" fmla="*/ 10119 h 8955"/>
                <a:gd name="connsiteX7" fmla="*/ 15045 w 13433"/>
                <a:gd name="connsiteY7" fmla="*/ 698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5045" y="6984"/>
                  </a:moveTo>
                  <a:lnTo>
                    <a:pt x="3402" y="268"/>
                  </a:lnTo>
                  <a:cubicBezTo>
                    <a:pt x="2507" y="-180"/>
                    <a:pt x="1163" y="-180"/>
                    <a:pt x="268" y="1163"/>
                  </a:cubicBezTo>
                  <a:cubicBezTo>
                    <a:pt x="-180" y="2059"/>
                    <a:pt x="-180" y="3402"/>
                    <a:pt x="1163" y="4298"/>
                  </a:cubicBezTo>
                  <a:lnTo>
                    <a:pt x="12806" y="11015"/>
                  </a:lnTo>
                  <a:cubicBezTo>
                    <a:pt x="13253" y="11015"/>
                    <a:pt x="13701" y="11462"/>
                    <a:pt x="13701" y="11462"/>
                  </a:cubicBezTo>
                  <a:cubicBezTo>
                    <a:pt x="14597" y="11462"/>
                    <a:pt x="15045" y="11015"/>
                    <a:pt x="15492" y="10119"/>
                  </a:cubicBezTo>
                  <a:cubicBezTo>
                    <a:pt x="16836" y="9223"/>
                    <a:pt x="16388" y="7880"/>
                    <a:pt x="15045" y="6984"/>
                  </a:cubicBezTo>
                  <a:close/>
                </a:path>
              </a:pathLst>
            </a:custGeom>
            <a:solidFill>
              <a:srgbClr val="231F20"/>
            </a:solidFill>
            <a:ln w="4474" cap="flat">
              <a:noFill/>
              <a:prstDash val="solid"/>
              <a:miter/>
            </a:ln>
          </p:spPr>
          <p:txBody>
            <a:bodyPr rtlCol="0" anchor="ctr"/>
            <a:lstStyle/>
            <a:p>
              <a:endParaRPr lang="en-US"/>
            </a:p>
          </p:txBody>
        </p:sp>
        <p:sp>
          <p:nvSpPr>
            <p:cNvPr id="4388" name="Freeform: Shape 4387">
              <a:extLst>
                <a:ext uri="{FF2B5EF4-FFF2-40B4-BE49-F238E27FC236}">
                  <a16:creationId xmlns:a16="http://schemas.microsoft.com/office/drawing/2014/main" id="{77064678-9E57-4091-B6D4-445A1638F447}"/>
                </a:ext>
              </a:extLst>
            </p:cNvPr>
            <p:cNvSpPr/>
            <p:nvPr/>
          </p:nvSpPr>
          <p:spPr>
            <a:xfrm>
              <a:off x="1484541" y="3604461"/>
              <a:ext cx="13433" cy="8956"/>
            </a:xfrm>
            <a:custGeom>
              <a:avLst/>
              <a:gdLst>
                <a:gd name="connsiteX0" fmla="*/ 15045 w 13433"/>
                <a:gd name="connsiteY0" fmla="*/ 6984 h 8955"/>
                <a:gd name="connsiteX1" fmla="*/ 3402 w 13433"/>
                <a:gd name="connsiteY1" fmla="*/ 268 h 8955"/>
                <a:gd name="connsiteX2" fmla="*/ 268 w 13433"/>
                <a:gd name="connsiteY2" fmla="*/ 1163 h 8955"/>
                <a:gd name="connsiteX3" fmla="*/ 1163 w 13433"/>
                <a:gd name="connsiteY3" fmla="*/ 4298 h 8955"/>
                <a:gd name="connsiteX4" fmla="*/ 12806 w 13433"/>
                <a:gd name="connsiteY4" fmla="*/ 11015 h 8955"/>
                <a:gd name="connsiteX5" fmla="*/ 13701 w 13433"/>
                <a:gd name="connsiteY5" fmla="*/ 11462 h 8955"/>
                <a:gd name="connsiteX6" fmla="*/ 15492 w 13433"/>
                <a:gd name="connsiteY6" fmla="*/ 10119 h 8955"/>
                <a:gd name="connsiteX7" fmla="*/ 15045 w 13433"/>
                <a:gd name="connsiteY7" fmla="*/ 698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5045" y="6984"/>
                  </a:moveTo>
                  <a:lnTo>
                    <a:pt x="3402" y="268"/>
                  </a:lnTo>
                  <a:cubicBezTo>
                    <a:pt x="2507" y="-180"/>
                    <a:pt x="1163" y="-180"/>
                    <a:pt x="268" y="1163"/>
                  </a:cubicBezTo>
                  <a:cubicBezTo>
                    <a:pt x="-180" y="2059"/>
                    <a:pt x="-180" y="3402"/>
                    <a:pt x="1163" y="4298"/>
                  </a:cubicBezTo>
                  <a:lnTo>
                    <a:pt x="12806" y="11015"/>
                  </a:lnTo>
                  <a:cubicBezTo>
                    <a:pt x="13253" y="11015"/>
                    <a:pt x="13701" y="11462"/>
                    <a:pt x="13701" y="11462"/>
                  </a:cubicBezTo>
                  <a:cubicBezTo>
                    <a:pt x="14597" y="11462"/>
                    <a:pt x="15045" y="11015"/>
                    <a:pt x="15492" y="10119"/>
                  </a:cubicBezTo>
                  <a:cubicBezTo>
                    <a:pt x="16388" y="9223"/>
                    <a:pt x="15940" y="7880"/>
                    <a:pt x="15045" y="6984"/>
                  </a:cubicBezTo>
                  <a:close/>
                </a:path>
              </a:pathLst>
            </a:custGeom>
            <a:solidFill>
              <a:srgbClr val="231F20"/>
            </a:solidFill>
            <a:ln w="4474" cap="flat">
              <a:noFill/>
              <a:prstDash val="solid"/>
              <a:miter/>
            </a:ln>
          </p:spPr>
          <p:txBody>
            <a:bodyPr rtlCol="0" anchor="ctr"/>
            <a:lstStyle/>
            <a:p>
              <a:endParaRPr lang="en-US"/>
            </a:p>
          </p:txBody>
        </p:sp>
        <p:sp>
          <p:nvSpPr>
            <p:cNvPr id="4389" name="Freeform: Shape 4388">
              <a:extLst>
                <a:ext uri="{FF2B5EF4-FFF2-40B4-BE49-F238E27FC236}">
                  <a16:creationId xmlns:a16="http://schemas.microsoft.com/office/drawing/2014/main" id="{CEAB427B-0F12-43C7-9106-574825724A9D}"/>
                </a:ext>
              </a:extLst>
            </p:cNvPr>
            <p:cNvSpPr/>
            <p:nvPr/>
          </p:nvSpPr>
          <p:spPr>
            <a:xfrm>
              <a:off x="1400450" y="3604553"/>
              <a:ext cx="13433" cy="8956"/>
            </a:xfrm>
            <a:custGeom>
              <a:avLst/>
              <a:gdLst>
                <a:gd name="connsiteX0" fmla="*/ 12714 w 13433"/>
                <a:gd name="connsiteY0" fmla="*/ 176 h 8955"/>
                <a:gd name="connsiteX1" fmla="*/ 1071 w 13433"/>
                <a:gd name="connsiteY1" fmla="*/ 6892 h 8955"/>
                <a:gd name="connsiteX2" fmla="*/ 176 w 13433"/>
                <a:gd name="connsiteY2" fmla="*/ 10027 h 8955"/>
                <a:gd name="connsiteX3" fmla="*/ 1967 w 13433"/>
                <a:gd name="connsiteY3" fmla="*/ 11370 h 8955"/>
                <a:gd name="connsiteX4" fmla="*/ 2862 w 13433"/>
                <a:gd name="connsiteY4" fmla="*/ 10922 h 8955"/>
                <a:gd name="connsiteX5" fmla="*/ 14505 w 13433"/>
                <a:gd name="connsiteY5" fmla="*/ 4206 h 8955"/>
                <a:gd name="connsiteX6" fmla="*/ 15400 w 13433"/>
                <a:gd name="connsiteY6" fmla="*/ 1071 h 8955"/>
                <a:gd name="connsiteX7" fmla="*/ 12714 w 13433"/>
                <a:gd name="connsiteY7" fmla="*/ 17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2714" y="176"/>
                  </a:moveTo>
                  <a:lnTo>
                    <a:pt x="1071" y="6892"/>
                  </a:lnTo>
                  <a:cubicBezTo>
                    <a:pt x="176" y="7340"/>
                    <a:pt x="-272" y="8684"/>
                    <a:pt x="176" y="10027"/>
                  </a:cubicBezTo>
                  <a:cubicBezTo>
                    <a:pt x="623" y="10922"/>
                    <a:pt x="1519" y="11370"/>
                    <a:pt x="1967" y="11370"/>
                  </a:cubicBezTo>
                  <a:cubicBezTo>
                    <a:pt x="2415" y="11370"/>
                    <a:pt x="2862" y="11370"/>
                    <a:pt x="2862" y="10922"/>
                  </a:cubicBezTo>
                  <a:lnTo>
                    <a:pt x="14505" y="4206"/>
                  </a:lnTo>
                  <a:cubicBezTo>
                    <a:pt x="15400" y="3758"/>
                    <a:pt x="15848" y="2415"/>
                    <a:pt x="15400" y="1071"/>
                  </a:cubicBezTo>
                  <a:cubicBezTo>
                    <a:pt x="15400" y="176"/>
                    <a:pt x="14057" y="-272"/>
                    <a:pt x="12714" y="176"/>
                  </a:cubicBezTo>
                  <a:close/>
                </a:path>
              </a:pathLst>
            </a:custGeom>
            <a:solidFill>
              <a:srgbClr val="231F20"/>
            </a:solidFill>
            <a:ln w="4474" cap="flat">
              <a:noFill/>
              <a:prstDash val="solid"/>
              <a:miter/>
            </a:ln>
          </p:spPr>
          <p:txBody>
            <a:bodyPr rtlCol="0" anchor="ctr"/>
            <a:lstStyle/>
            <a:p>
              <a:endParaRPr lang="en-US"/>
            </a:p>
          </p:txBody>
        </p:sp>
        <p:sp>
          <p:nvSpPr>
            <p:cNvPr id="4390" name="Freeform: Shape 4389">
              <a:extLst>
                <a:ext uri="{FF2B5EF4-FFF2-40B4-BE49-F238E27FC236}">
                  <a16:creationId xmlns:a16="http://schemas.microsoft.com/office/drawing/2014/main" id="{0864053E-9B4B-456E-B3A4-5AD08B8FCA5F}"/>
                </a:ext>
              </a:extLst>
            </p:cNvPr>
            <p:cNvSpPr/>
            <p:nvPr/>
          </p:nvSpPr>
          <p:spPr>
            <a:xfrm>
              <a:off x="1420153" y="3593359"/>
              <a:ext cx="13433" cy="8956"/>
            </a:xfrm>
            <a:custGeom>
              <a:avLst/>
              <a:gdLst>
                <a:gd name="connsiteX0" fmla="*/ 12714 w 13433"/>
                <a:gd name="connsiteY0" fmla="*/ 176 h 8955"/>
                <a:gd name="connsiteX1" fmla="*/ 1071 w 13433"/>
                <a:gd name="connsiteY1" fmla="*/ 6892 h 8955"/>
                <a:gd name="connsiteX2" fmla="*/ 176 w 13433"/>
                <a:gd name="connsiteY2" fmla="*/ 10027 h 8955"/>
                <a:gd name="connsiteX3" fmla="*/ 1967 w 13433"/>
                <a:gd name="connsiteY3" fmla="*/ 11370 h 8955"/>
                <a:gd name="connsiteX4" fmla="*/ 2862 w 13433"/>
                <a:gd name="connsiteY4" fmla="*/ 10922 h 8955"/>
                <a:gd name="connsiteX5" fmla="*/ 14505 w 13433"/>
                <a:gd name="connsiteY5" fmla="*/ 4206 h 8955"/>
                <a:gd name="connsiteX6" fmla="*/ 15400 w 13433"/>
                <a:gd name="connsiteY6" fmla="*/ 1071 h 8955"/>
                <a:gd name="connsiteX7" fmla="*/ 12714 w 13433"/>
                <a:gd name="connsiteY7" fmla="*/ 17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2714" y="176"/>
                  </a:moveTo>
                  <a:lnTo>
                    <a:pt x="1071" y="6892"/>
                  </a:lnTo>
                  <a:cubicBezTo>
                    <a:pt x="176" y="7340"/>
                    <a:pt x="-272" y="8684"/>
                    <a:pt x="176" y="10027"/>
                  </a:cubicBezTo>
                  <a:cubicBezTo>
                    <a:pt x="623" y="10922"/>
                    <a:pt x="1519" y="11370"/>
                    <a:pt x="1967" y="11370"/>
                  </a:cubicBezTo>
                  <a:cubicBezTo>
                    <a:pt x="2415" y="11370"/>
                    <a:pt x="2862" y="11370"/>
                    <a:pt x="2862" y="10922"/>
                  </a:cubicBezTo>
                  <a:lnTo>
                    <a:pt x="14505" y="4206"/>
                  </a:lnTo>
                  <a:cubicBezTo>
                    <a:pt x="15400" y="3758"/>
                    <a:pt x="15848" y="2415"/>
                    <a:pt x="15400" y="1071"/>
                  </a:cubicBezTo>
                  <a:cubicBezTo>
                    <a:pt x="14952" y="176"/>
                    <a:pt x="13609" y="-272"/>
                    <a:pt x="12714" y="176"/>
                  </a:cubicBezTo>
                  <a:close/>
                </a:path>
              </a:pathLst>
            </a:custGeom>
            <a:solidFill>
              <a:srgbClr val="231F20"/>
            </a:solidFill>
            <a:ln w="4474" cap="flat">
              <a:noFill/>
              <a:prstDash val="solid"/>
              <a:miter/>
            </a:ln>
          </p:spPr>
          <p:txBody>
            <a:bodyPr rtlCol="0" anchor="ctr"/>
            <a:lstStyle/>
            <a:p>
              <a:endParaRPr lang="en-US"/>
            </a:p>
          </p:txBody>
        </p:sp>
      </p:grpSp>
      <p:sp>
        <p:nvSpPr>
          <p:cNvPr id="4391" name="Freeform: Shape 4390">
            <a:extLst>
              <a:ext uri="{FF2B5EF4-FFF2-40B4-BE49-F238E27FC236}">
                <a16:creationId xmlns:a16="http://schemas.microsoft.com/office/drawing/2014/main" id="{0117F090-09CB-4CCA-A7AD-2022A03CD665}"/>
              </a:ext>
              <a:ext uri="{C183D7F6-B498-43B3-948B-1728B52AA6E4}">
                <adec:decorative xmlns:adec="http://schemas.microsoft.com/office/drawing/2017/decorative" val="1"/>
              </a:ext>
            </a:extLst>
          </p:cNvPr>
          <p:cNvSpPr>
            <a:spLocks noChangeAspect="1"/>
          </p:cNvSpPr>
          <p:nvPr/>
        </p:nvSpPr>
        <p:spPr>
          <a:xfrm>
            <a:off x="1610630" y="4241320"/>
            <a:ext cx="138812" cy="156724"/>
          </a:xfrm>
          <a:custGeom>
            <a:avLst/>
            <a:gdLst>
              <a:gd name="connsiteX0" fmla="*/ 138365 w 138812"/>
              <a:gd name="connsiteY0" fmla="*/ 40188 h 156723"/>
              <a:gd name="connsiteX1" fmla="*/ 138365 w 138812"/>
              <a:gd name="connsiteY1" fmla="*/ 40188 h 156723"/>
              <a:gd name="connsiteX2" fmla="*/ 137469 w 138812"/>
              <a:gd name="connsiteY2" fmla="*/ 39293 h 156723"/>
              <a:gd name="connsiteX3" fmla="*/ 137469 w 138812"/>
              <a:gd name="connsiteY3" fmla="*/ 39293 h 156723"/>
              <a:gd name="connsiteX4" fmla="*/ 70302 w 138812"/>
              <a:gd name="connsiteY4" fmla="*/ 336 h 156723"/>
              <a:gd name="connsiteX5" fmla="*/ 68063 w 138812"/>
              <a:gd name="connsiteY5" fmla="*/ 336 h 156723"/>
              <a:gd name="connsiteX6" fmla="*/ 896 w 138812"/>
              <a:gd name="connsiteY6" fmla="*/ 39293 h 156723"/>
              <a:gd name="connsiteX7" fmla="*/ 0 w 138812"/>
              <a:gd name="connsiteY7" fmla="*/ 40188 h 156723"/>
              <a:gd name="connsiteX8" fmla="*/ 0 w 138812"/>
              <a:gd name="connsiteY8" fmla="*/ 40636 h 156723"/>
              <a:gd name="connsiteX9" fmla="*/ 0 w 138812"/>
              <a:gd name="connsiteY9" fmla="*/ 41532 h 156723"/>
              <a:gd name="connsiteX10" fmla="*/ 0 w 138812"/>
              <a:gd name="connsiteY10" fmla="*/ 41532 h 156723"/>
              <a:gd name="connsiteX11" fmla="*/ 0 w 138812"/>
              <a:gd name="connsiteY11" fmla="*/ 118998 h 156723"/>
              <a:gd name="connsiteX12" fmla="*/ 1343 w 138812"/>
              <a:gd name="connsiteY12" fmla="*/ 120789 h 156723"/>
              <a:gd name="connsiteX13" fmla="*/ 68511 w 138812"/>
              <a:gd name="connsiteY13" fmla="*/ 159746 h 156723"/>
              <a:gd name="connsiteX14" fmla="*/ 68511 w 138812"/>
              <a:gd name="connsiteY14" fmla="*/ 159746 h 156723"/>
              <a:gd name="connsiteX15" fmla="*/ 69406 w 138812"/>
              <a:gd name="connsiteY15" fmla="*/ 160194 h 156723"/>
              <a:gd name="connsiteX16" fmla="*/ 69406 w 138812"/>
              <a:gd name="connsiteY16" fmla="*/ 160194 h 156723"/>
              <a:gd name="connsiteX17" fmla="*/ 69406 w 138812"/>
              <a:gd name="connsiteY17" fmla="*/ 160194 h 156723"/>
              <a:gd name="connsiteX18" fmla="*/ 69406 w 138812"/>
              <a:gd name="connsiteY18" fmla="*/ 160194 h 156723"/>
              <a:gd name="connsiteX19" fmla="*/ 70302 w 138812"/>
              <a:gd name="connsiteY19" fmla="*/ 159746 h 156723"/>
              <a:gd name="connsiteX20" fmla="*/ 137469 w 138812"/>
              <a:gd name="connsiteY20" fmla="*/ 120789 h 156723"/>
              <a:gd name="connsiteX21" fmla="*/ 138812 w 138812"/>
              <a:gd name="connsiteY21" fmla="*/ 118998 h 156723"/>
              <a:gd name="connsiteX22" fmla="*/ 138812 w 138812"/>
              <a:gd name="connsiteY22" fmla="*/ 41532 h 156723"/>
              <a:gd name="connsiteX23" fmla="*/ 138365 w 138812"/>
              <a:gd name="connsiteY23" fmla="*/ 40188 h 156723"/>
              <a:gd name="connsiteX24" fmla="*/ 35823 w 138812"/>
              <a:gd name="connsiteY24" fmla="*/ 24516 h 156723"/>
              <a:gd name="connsiteX25" fmla="*/ 64928 w 138812"/>
              <a:gd name="connsiteY25" fmla="*/ 41532 h 156723"/>
              <a:gd name="connsiteX26" fmla="*/ 35823 w 138812"/>
              <a:gd name="connsiteY26" fmla="*/ 58547 h 156723"/>
              <a:gd name="connsiteX27" fmla="*/ 6717 w 138812"/>
              <a:gd name="connsiteY27" fmla="*/ 41532 h 156723"/>
              <a:gd name="connsiteX28" fmla="*/ 35823 w 138812"/>
              <a:gd name="connsiteY28" fmla="*/ 24516 h 156723"/>
              <a:gd name="connsiteX29" fmla="*/ 69406 w 138812"/>
              <a:gd name="connsiteY29" fmla="*/ 77354 h 156723"/>
              <a:gd name="connsiteX30" fmla="*/ 40300 w 138812"/>
              <a:gd name="connsiteY30" fmla="*/ 60786 h 156723"/>
              <a:gd name="connsiteX31" fmla="*/ 69406 w 138812"/>
              <a:gd name="connsiteY31" fmla="*/ 43771 h 156723"/>
              <a:gd name="connsiteX32" fmla="*/ 98512 w 138812"/>
              <a:gd name="connsiteY32" fmla="*/ 60339 h 156723"/>
              <a:gd name="connsiteX33" fmla="*/ 69406 w 138812"/>
              <a:gd name="connsiteY33" fmla="*/ 77354 h 156723"/>
              <a:gd name="connsiteX34" fmla="*/ 4478 w 138812"/>
              <a:gd name="connsiteY34" fmla="*/ 45114 h 156723"/>
              <a:gd name="connsiteX35" fmla="*/ 33584 w 138812"/>
              <a:gd name="connsiteY35" fmla="*/ 62130 h 156723"/>
              <a:gd name="connsiteX36" fmla="*/ 33584 w 138812"/>
              <a:gd name="connsiteY36" fmla="*/ 97056 h 156723"/>
              <a:gd name="connsiteX37" fmla="*/ 4478 w 138812"/>
              <a:gd name="connsiteY37" fmla="*/ 80041 h 156723"/>
              <a:gd name="connsiteX38" fmla="*/ 4478 w 138812"/>
              <a:gd name="connsiteY38" fmla="*/ 45114 h 156723"/>
              <a:gd name="connsiteX39" fmla="*/ 38061 w 138812"/>
              <a:gd name="connsiteY39" fmla="*/ 64368 h 156723"/>
              <a:gd name="connsiteX40" fmla="*/ 67167 w 138812"/>
              <a:gd name="connsiteY40" fmla="*/ 81384 h 156723"/>
              <a:gd name="connsiteX41" fmla="*/ 67167 w 138812"/>
              <a:gd name="connsiteY41" fmla="*/ 116311 h 156723"/>
              <a:gd name="connsiteX42" fmla="*/ 38061 w 138812"/>
              <a:gd name="connsiteY42" fmla="*/ 99295 h 156723"/>
              <a:gd name="connsiteX43" fmla="*/ 38061 w 138812"/>
              <a:gd name="connsiteY43" fmla="*/ 64368 h 156723"/>
              <a:gd name="connsiteX44" fmla="*/ 71645 w 138812"/>
              <a:gd name="connsiteY44" fmla="*/ 121237 h 156723"/>
              <a:gd name="connsiteX45" fmla="*/ 100751 w 138812"/>
              <a:gd name="connsiteY45" fmla="*/ 104221 h 156723"/>
              <a:gd name="connsiteX46" fmla="*/ 100751 w 138812"/>
              <a:gd name="connsiteY46" fmla="*/ 136462 h 156723"/>
              <a:gd name="connsiteX47" fmla="*/ 71645 w 138812"/>
              <a:gd name="connsiteY47" fmla="*/ 153477 h 156723"/>
              <a:gd name="connsiteX48" fmla="*/ 71645 w 138812"/>
              <a:gd name="connsiteY48" fmla="*/ 121237 h 156723"/>
              <a:gd name="connsiteX49" fmla="*/ 71645 w 138812"/>
              <a:gd name="connsiteY49" fmla="*/ 116311 h 156723"/>
              <a:gd name="connsiteX50" fmla="*/ 71645 w 138812"/>
              <a:gd name="connsiteY50" fmla="*/ 81384 h 156723"/>
              <a:gd name="connsiteX51" fmla="*/ 100751 w 138812"/>
              <a:gd name="connsiteY51" fmla="*/ 64368 h 156723"/>
              <a:gd name="connsiteX52" fmla="*/ 100751 w 138812"/>
              <a:gd name="connsiteY52" fmla="*/ 99295 h 156723"/>
              <a:gd name="connsiteX53" fmla="*/ 71645 w 138812"/>
              <a:gd name="connsiteY53" fmla="*/ 116311 h 156723"/>
              <a:gd name="connsiteX54" fmla="*/ 105229 w 138812"/>
              <a:gd name="connsiteY54" fmla="*/ 62130 h 156723"/>
              <a:gd name="connsiteX55" fmla="*/ 134335 w 138812"/>
              <a:gd name="connsiteY55" fmla="*/ 45114 h 156723"/>
              <a:gd name="connsiteX56" fmla="*/ 134335 w 138812"/>
              <a:gd name="connsiteY56" fmla="*/ 80041 h 156723"/>
              <a:gd name="connsiteX57" fmla="*/ 105229 w 138812"/>
              <a:gd name="connsiteY57" fmla="*/ 97056 h 156723"/>
              <a:gd name="connsiteX58" fmla="*/ 105229 w 138812"/>
              <a:gd name="connsiteY58" fmla="*/ 62130 h 156723"/>
              <a:gd name="connsiteX59" fmla="*/ 102990 w 138812"/>
              <a:gd name="connsiteY59" fmla="*/ 58100 h 156723"/>
              <a:gd name="connsiteX60" fmla="*/ 73884 w 138812"/>
              <a:gd name="connsiteY60" fmla="*/ 41532 h 156723"/>
              <a:gd name="connsiteX61" fmla="*/ 102990 w 138812"/>
              <a:gd name="connsiteY61" fmla="*/ 24964 h 156723"/>
              <a:gd name="connsiteX62" fmla="*/ 132096 w 138812"/>
              <a:gd name="connsiteY62" fmla="*/ 41532 h 156723"/>
              <a:gd name="connsiteX63" fmla="*/ 102990 w 138812"/>
              <a:gd name="connsiteY63" fmla="*/ 58100 h 156723"/>
              <a:gd name="connsiteX64" fmla="*/ 69406 w 138812"/>
              <a:gd name="connsiteY64" fmla="*/ 5261 h 156723"/>
              <a:gd name="connsiteX65" fmla="*/ 98512 w 138812"/>
              <a:gd name="connsiteY65" fmla="*/ 22277 h 156723"/>
              <a:gd name="connsiteX66" fmla="*/ 69406 w 138812"/>
              <a:gd name="connsiteY66" fmla="*/ 38845 h 156723"/>
              <a:gd name="connsiteX67" fmla="*/ 40300 w 138812"/>
              <a:gd name="connsiteY67" fmla="*/ 21829 h 156723"/>
              <a:gd name="connsiteX68" fmla="*/ 69406 w 138812"/>
              <a:gd name="connsiteY68" fmla="*/ 5261 h 156723"/>
              <a:gd name="connsiteX69" fmla="*/ 4478 w 138812"/>
              <a:gd name="connsiteY69" fmla="*/ 85414 h 156723"/>
              <a:gd name="connsiteX70" fmla="*/ 33584 w 138812"/>
              <a:gd name="connsiteY70" fmla="*/ 102430 h 156723"/>
              <a:gd name="connsiteX71" fmla="*/ 33584 w 138812"/>
              <a:gd name="connsiteY71" fmla="*/ 134670 h 156723"/>
              <a:gd name="connsiteX72" fmla="*/ 4478 w 138812"/>
              <a:gd name="connsiteY72" fmla="*/ 117655 h 156723"/>
              <a:gd name="connsiteX73" fmla="*/ 4478 w 138812"/>
              <a:gd name="connsiteY73" fmla="*/ 85414 h 156723"/>
              <a:gd name="connsiteX74" fmla="*/ 38061 w 138812"/>
              <a:gd name="connsiteY74" fmla="*/ 136909 h 156723"/>
              <a:gd name="connsiteX75" fmla="*/ 38061 w 138812"/>
              <a:gd name="connsiteY75" fmla="*/ 104669 h 156723"/>
              <a:gd name="connsiteX76" fmla="*/ 67167 w 138812"/>
              <a:gd name="connsiteY76" fmla="*/ 121684 h 156723"/>
              <a:gd name="connsiteX77" fmla="*/ 67167 w 138812"/>
              <a:gd name="connsiteY77" fmla="*/ 153925 h 156723"/>
              <a:gd name="connsiteX78" fmla="*/ 38061 w 138812"/>
              <a:gd name="connsiteY78" fmla="*/ 136909 h 156723"/>
              <a:gd name="connsiteX79" fmla="*/ 105229 w 138812"/>
              <a:gd name="connsiteY79" fmla="*/ 134223 h 156723"/>
              <a:gd name="connsiteX80" fmla="*/ 105229 w 138812"/>
              <a:gd name="connsiteY80" fmla="*/ 101982 h 156723"/>
              <a:gd name="connsiteX81" fmla="*/ 134335 w 138812"/>
              <a:gd name="connsiteY81" fmla="*/ 84967 h 156723"/>
              <a:gd name="connsiteX82" fmla="*/ 134335 w 138812"/>
              <a:gd name="connsiteY82" fmla="*/ 117207 h 156723"/>
              <a:gd name="connsiteX83" fmla="*/ 105229 w 138812"/>
              <a:gd name="connsiteY83" fmla="*/ 134223 h 15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8812" h="156723">
                <a:moveTo>
                  <a:pt x="138365" y="40188"/>
                </a:moveTo>
                <a:cubicBezTo>
                  <a:pt x="138365" y="40188"/>
                  <a:pt x="138365" y="40188"/>
                  <a:pt x="138365" y="40188"/>
                </a:cubicBezTo>
                <a:cubicBezTo>
                  <a:pt x="137917" y="39740"/>
                  <a:pt x="137917" y="39740"/>
                  <a:pt x="137469" y="39293"/>
                </a:cubicBezTo>
                <a:cubicBezTo>
                  <a:pt x="137469" y="39293"/>
                  <a:pt x="137469" y="39293"/>
                  <a:pt x="137469" y="39293"/>
                </a:cubicBezTo>
                <a:lnTo>
                  <a:pt x="70302" y="336"/>
                </a:lnTo>
                <a:cubicBezTo>
                  <a:pt x="69406" y="-112"/>
                  <a:pt x="68958" y="-112"/>
                  <a:pt x="68063" y="336"/>
                </a:cubicBezTo>
                <a:lnTo>
                  <a:pt x="896" y="39293"/>
                </a:lnTo>
                <a:cubicBezTo>
                  <a:pt x="448" y="39293"/>
                  <a:pt x="448" y="39740"/>
                  <a:pt x="0" y="40188"/>
                </a:cubicBezTo>
                <a:cubicBezTo>
                  <a:pt x="0" y="40188"/>
                  <a:pt x="0" y="40188"/>
                  <a:pt x="0" y="40636"/>
                </a:cubicBezTo>
                <a:cubicBezTo>
                  <a:pt x="0" y="41084"/>
                  <a:pt x="0" y="41084"/>
                  <a:pt x="0" y="41532"/>
                </a:cubicBezTo>
                <a:cubicBezTo>
                  <a:pt x="0" y="41532"/>
                  <a:pt x="0" y="41532"/>
                  <a:pt x="0" y="41532"/>
                </a:cubicBezTo>
                <a:lnTo>
                  <a:pt x="0" y="118998"/>
                </a:lnTo>
                <a:cubicBezTo>
                  <a:pt x="0" y="119894"/>
                  <a:pt x="448" y="120341"/>
                  <a:pt x="1343" y="120789"/>
                </a:cubicBezTo>
                <a:lnTo>
                  <a:pt x="68511" y="159746"/>
                </a:lnTo>
                <a:cubicBezTo>
                  <a:pt x="68511" y="159746"/>
                  <a:pt x="68511" y="159746"/>
                  <a:pt x="68511" y="159746"/>
                </a:cubicBezTo>
                <a:cubicBezTo>
                  <a:pt x="68958" y="159746"/>
                  <a:pt x="68958" y="160194"/>
                  <a:pt x="69406" y="160194"/>
                </a:cubicBezTo>
                <a:cubicBezTo>
                  <a:pt x="69406" y="160194"/>
                  <a:pt x="69406" y="160194"/>
                  <a:pt x="69406" y="160194"/>
                </a:cubicBezTo>
                <a:lnTo>
                  <a:pt x="69406" y="160194"/>
                </a:lnTo>
                <a:lnTo>
                  <a:pt x="69406" y="160194"/>
                </a:lnTo>
                <a:cubicBezTo>
                  <a:pt x="69854" y="160194"/>
                  <a:pt x="70302" y="160194"/>
                  <a:pt x="70302" y="159746"/>
                </a:cubicBezTo>
                <a:lnTo>
                  <a:pt x="137469" y="120789"/>
                </a:lnTo>
                <a:cubicBezTo>
                  <a:pt x="138365" y="120341"/>
                  <a:pt x="138812" y="119446"/>
                  <a:pt x="138812" y="118998"/>
                </a:cubicBezTo>
                <a:lnTo>
                  <a:pt x="138812" y="41532"/>
                </a:lnTo>
                <a:cubicBezTo>
                  <a:pt x="138812" y="41084"/>
                  <a:pt x="138812" y="40636"/>
                  <a:pt x="138365" y="40188"/>
                </a:cubicBezTo>
                <a:close/>
                <a:moveTo>
                  <a:pt x="35823" y="24516"/>
                </a:moveTo>
                <a:lnTo>
                  <a:pt x="64928" y="41532"/>
                </a:lnTo>
                <a:lnTo>
                  <a:pt x="35823" y="58547"/>
                </a:lnTo>
                <a:lnTo>
                  <a:pt x="6717" y="41532"/>
                </a:lnTo>
                <a:lnTo>
                  <a:pt x="35823" y="24516"/>
                </a:lnTo>
                <a:close/>
                <a:moveTo>
                  <a:pt x="69406" y="77354"/>
                </a:moveTo>
                <a:lnTo>
                  <a:pt x="40300" y="60786"/>
                </a:lnTo>
                <a:lnTo>
                  <a:pt x="69406" y="43771"/>
                </a:lnTo>
                <a:lnTo>
                  <a:pt x="98512" y="60339"/>
                </a:lnTo>
                <a:lnTo>
                  <a:pt x="69406" y="77354"/>
                </a:lnTo>
                <a:close/>
                <a:moveTo>
                  <a:pt x="4478" y="45114"/>
                </a:moveTo>
                <a:lnTo>
                  <a:pt x="33584" y="62130"/>
                </a:lnTo>
                <a:lnTo>
                  <a:pt x="33584" y="97056"/>
                </a:lnTo>
                <a:lnTo>
                  <a:pt x="4478" y="80041"/>
                </a:lnTo>
                <a:lnTo>
                  <a:pt x="4478" y="45114"/>
                </a:lnTo>
                <a:close/>
                <a:moveTo>
                  <a:pt x="38061" y="64368"/>
                </a:moveTo>
                <a:lnTo>
                  <a:pt x="67167" y="81384"/>
                </a:lnTo>
                <a:lnTo>
                  <a:pt x="67167" y="116311"/>
                </a:lnTo>
                <a:lnTo>
                  <a:pt x="38061" y="99295"/>
                </a:lnTo>
                <a:lnTo>
                  <a:pt x="38061" y="64368"/>
                </a:lnTo>
                <a:close/>
                <a:moveTo>
                  <a:pt x="71645" y="121237"/>
                </a:moveTo>
                <a:lnTo>
                  <a:pt x="100751" y="104221"/>
                </a:lnTo>
                <a:lnTo>
                  <a:pt x="100751" y="136462"/>
                </a:lnTo>
                <a:lnTo>
                  <a:pt x="71645" y="153477"/>
                </a:lnTo>
                <a:lnTo>
                  <a:pt x="71645" y="121237"/>
                </a:lnTo>
                <a:close/>
                <a:moveTo>
                  <a:pt x="71645" y="116311"/>
                </a:moveTo>
                <a:lnTo>
                  <a:pt x="71645" y="81384"/>
                </a:lnTo>
                <a:lnTo>
                  <a:pt x="100751" y="64368"/>
                </a:lnTo>
                <a:lnTo>
                  <a:pt x="100751" y="99295"/>
                </a:lnTo>
                <a:lnTo>
                  <a:pt x="71645" y="116311"/>
                </a:lnTo>
                <a:close/>
                <a:moveTo>
                  <a:pt x="105229" y="62130"/>
                </a:moveTo>
                <a:lnTo>
                  <a:pt x="134335" y="45114"/>
                </a:lnTo>
                <a:lnTo>
                  <a:pt x="134335" y="80041"/>
                </a:lnTo>
                <a:lnTo>
                  <a:pt x="105229" y="97056"/>
                </a:lnTo>
                <a:lnTo>
                  <a:pt x="105229" y="62130"/>
                </a:lnTo>
                <a:close/>
                <a:moveTo>
                  <a:pt x="102990" y="58100"/>
                </a:moveTo>
                <a:lnTo>
                  <a:pt x="73884" y="41532"/>
                </a:lnTo>
                <a:lnTo>
                  <a:pt x="102990" y="24964"/>
                </a:lnTo>
                <a:lnTo>
                  <a:pt x="132096" y="41532"/>
                </a:lnTo>
                <a:lnTo>
                  <a:pt x="102990" y="58100"/>
                </a:lnTo>
                <a:close/>
                <a:moveTo>
                  <a:pt x="69406" y="5261"/>
                </a:moveTo>
                <a:lnTo>
                  <a:pt x="98512" y="22277"/>
                </a:lnTo>
                <a:lnTo>
                  <a:pt x="69406" y="38845"/>
                </a:lnTo>
                <a:lnTo>
                  <a:pt x="40300" y="21829"/>
                </a:lnTo>
                <a:lnTo>
                  <a:pt x="69406" y="5261"/>
                </a:lnTo>
                <a:close/>
                <a:moveTo>
                  <a:pt x="4478" y="85414"/>
                </a:moveTo>
                <a:lnTo>
                  <a:pt x="33584" y="102430"/>
                </a:lnTo>
                <a:lnTo>
                  <a:pt x="33584" y="134670"/>
                </a:lnTo>
                <a:lnTo>
                  <a:pt x="4478" y="117655"/>
                </a:lnTo>
                <a:lnTo>
                  <a:pt x="4478" y="85414"/>
                </a:lnTo>
                <a:close/>
                <a:moveTo>
                  <a:pt x="38061" y="136909"/>
                </a:moveTo>
                <a:lnTo>
                  <a:pt x="38061" y="104669"/>
                </a:lnTo>
                <a:lnTo>
                  <a:pt x="67167" y="121684"/>
                </a:lnTo>
                <a:lnTo>
                  <a:pt x="67167" y="153925"/>
                </a:lnTo>
                <a:lnTo>
                  <a:pt x="38061" y="136909"/>
                </a:lnTo>
                <a:close/>
                <a:moveTo>
                  <a:pt x="105229" y="134223"/>
                </a:moveTo>
                <a:lnTo>
                  <a:pt x="105229" y="101982"/>
                </a:lnTo>
                <a:lnTo>
                  <a:pt x="134335" y="84967"/>
                </a:lnTo>
                <a:lnTo>
                  <a:pt x="134335" y="117207"/>
                </a:lnTo>
                <a:lnTo>
                  <a:pt x="105229" y="134223"/>
                </a:lnTo>
                <a:close/>
              </a:path>
            </a:pathLst>
          </a:custGeom>
          <a:solidFill>
            <a:srgbClr val="231F20"/>
          </a:solidFill>
          <a:ln w="4474" cap="flat">
            <a:noFill/>
            <a:prstDash val="solid"/>
            <a:miter/>
          </a:ln>
        </p:spPr>
        <p:txBody>
          <a:bodyPr rtlCol="0" anchor="ctr"/>
          <a:lstStyle/>
          <a:p>
            <a:endParaRPr lang="en-US"/>
          </a:p>
        </p:txBody>
      </p:sp>
      <p:grpSp>
        <p:nvGrpSpPr>
          <p:cNvPr id="4392" name="Group 4391">
            <a:extLst>
              <a:ext uri="{FF2B5EF4-FFF2-40B4-BE49-F238E27FC236}">
                <a16:creationId xmlns:a16="http://schemas.microsoft.com/office/drawing/2014/main" id="{5957DD05-32EC-4B70-A540-39FB853ABC57}"/>
              </a:ext>
              <a:ext uri="{C183D7F6-B498-43B3-948B-1728B52AA6E4}">
                <adec:decorative xmlns:adec="http://schemas.microsoft.com/office/drawing/2017/decorative" val="1"/>
              </a:ext>
            </a:extLst>
          </p:cNvPr>
          <p:cNvGrpSpPr>
            <a:grpSpLocks noChangeAspect="1"/>
          </p:cNvGrpSpPr>
          <p:nvPr/>
        </p:nvGrpSpPr>
        <p:grpSpPr>
          <a:xfrm>
            <a:off x="803727" y="4258671"/>
            <a:ext cx="152246" cy="134335"/>
            <a:chOff x="844481" y="3523232"/>
            <a:chExt cx="152246" cy="134335"/>
          </a:xfrm>
        </p:grpSpPr>
        <p:sp>
          <p:nvSpPr>
            <p:cNvPr id="4393" name="Freeform: Shape 4392">
              <a:extLst>
                <a:ext uri="{FF2B5EF4-FFF2-40B4-BE49-F238E27FC236}">
                  <a16:creationId xmlns:a16="http://schemas.microsoft.com/office/drawing/2014/main" id="{D7C940D0-3A28-427B-81F3-5A47E6CD65C7}"/>
                </a:ext>
              </a:extLst>
            </p:cNvPr>
            <p:cNvSpPr/>
            <p:nvPr/>
          </p:nvSpPr>
          <p:spPr>
            <a:xfrm>
              <a:off x="844481" y="3523232"/>
              <a:ext cx="152246" cy="134335"/>
            </a:xfrm>
            <a:custGeom>
              <a:avLst/>
              <a:gdLst>
                <a:gd name="connsiteX0" fmla="*/ 152694 w 152245"/>
                <a:gd name="connsiteY0" fmla="*/ 2239 h 134334"/>
                <a:gd name="connsiteX1" fmla="*/ 150455 w 152245"/>
                <a:gd name="connsiteY1" fmla="*/ 0 h 134334"/>
                <a:gd name="connsiteX2" fmla="*/ 56421 w 152245"/>
                <a:gd name="connsiteY2" fmla="*/ 0 h 134334"/>
                <a:gd name="connsiteX3" fmla="*/ 55973 w 152245"/>
                <a:gd name="connsiteY3" fmla="*/ 0 h 134334"/>
                <a:gd name="connsiteX4" fmla="*/ 55525 w 152245"/>
                <a:gd name="connsiteY4" fmla="*/ 0 h 134334"/>
                <a:gd name="connsiteX5" fmla="*/ 55077 w 152245"/>
                <a:gd name="connsiteY5" fmla="*/ 0 h 134334"/>
                <a:gd name="connsiteX6" fmla="*/ 54629 w 152245"/>
                <a:gd name="connsiteY6" fmla="*/ 0 h 134334"/>
                <a:gd name="connsiteX7" fmla="*/ 896 w 152245"/>
                <a:gd name="connsiteY7" fmla="*/ 40300 h 134334"/>
                <a:gd name="connsiteX8" fmla="*/ 896 w 152245"/>
                <a:gd name="connsiteY8" fmla="*/ 40300 h 134334"/>
                <a:gd name="connsiteX9" fmla="*/ 448 w 152245"/>
                <a:gd name="connsiteY9" fmla="*/ 40748 h 134334"/>
                <a:gd name="connsiteX10" fmla="*/ 0 w 152245"/>
                <a:gd name="connsiteY10" fmla="*/ 41196 h 134334"/>
                <a:gd name="connsiteX11" fmla="*/ 0 w 152245"/>
                <a:gd name="connsiteY11" fmla="*/ 41644 h 134334"/>
                <a:gd name="connsiteX12" fmla="*/ 0 w 152245"/>
                <a:gd name="connsiteY12" fmla="*/ 42092 h 134334"/>
                <a:gd name="connsiteX13" fmla="*/ 0 w 152245"/>
                <a:gd name="connsiteY13" fmla="*/ 42092 h 134334"/>
                <a:gd name="connsiteX14" fmla="*/ 0 w 152245"/>
                <a:gd name="connsiteY14" fmla="*/ 136126 h 134334"/>
                <a:gd name="connsiteX15" fmla="*/ 0 w 152245"/>
                <a:gd name="connsiteY15" fmla="*/ 136573 h 134334"/>
                <a:gd name="connsiteX16" fmla="*/ 0 w 152245"/>
                <a:gd name="connsiteY16" fmla="*/ 137021 h 134334"/>
                <a:gd name="connsiteX17" fmla="*/ 0 w 152245"/>
                <a:gd name="connsiteY17" fmla="*/ 137469 h 134334"/>
                <a:gd name="connsiteX18" fmla="*/ 0 w 152245"/>
                <a:gd name="connsiteY18" fmla="*/ 137917 h 134334"/>
                <a:gd name="connsiteX19" fmla="*/ 0 w 152245"/>
                <a:gd name="connsiteY19" fmla="*/ 137917 h 134334"/>
                <a:gd name="connsiteX20" fmla="*/ 448 w 152245"/>
                <a:gd name="connsiteY20" fmla="*/ 138365 h 134334"/>
                <a:gd name="connsiteX21" fmla="*/ 448 w 152245"/>
                <a:gd name="connsiteY21" fmla="*/ 138365 h 134334"/>
                <a:gd name="connsiteX22" fmla="*/ 1343 w 152245"/>
                <a:gd name="connsiteY22" fmla="*/ 138365 h 134334"/>
                <a:gd name="connsiteX23" fmla="*/ 95378 w 152245"/>
                <a:gd name="connsiteY23" fmla="*/ 138365 h 134334"/>
                <a:gd name="connsiteX24" fmla="*/ 95378 w 152245"/>
                <a:gd name="connsiteY24" fmla="*/ 138365 h 134334"/>
                <a:gd name="connsiteX25" fmla="*/ 95378 w 152245"/>
                <a:gd name="connsiteY25" fmla="*/ 138365 h 134334"/>
                <a:gd name="connsiteX26" fmla="*/ 95378 w 152245"/>
                <a:gd name="connsiteY26" fmla="*/ 138365 h 134334"/>
                <a:gd name="connsiteX27" fmla="*/ 96721 w 152245"/>
                <a:gd name="connsiteY27" fmla="*/ 137917 h 134334"/>
                <a:gd name="connsiteX28" fmla="*/ 96721 w 152245"/>
                <a:gd name="connsiteY28" fmla="*/ 137917 h 134334"/>
                <a:gd name="connsiteX29" fmla="*/ 150455 w 152245"/>
                <a:gd name="connsiteY29" fmla="*/ 97616 h 134334"/>
                <a:gd name="connsiteX30" fmla="*/ 150455 w 152245"/>
                <a:gd name="connsiteY30" fmla="*/ 97616 h 134334"/>
                <a:gd name="connsiteX31" fmla="*/ 150902 w 152245"/>
                <a:gd name="connsiteY31" fmla="*/ 97169 h 134334"/>
                <a:gd name="connsiteX32" fmla="*/ 151350 w 152245"/>
                <a:gd name="connsiteY32" fmla="*/ 96721 h 134334"/>
                <a:gd name="connsiteX33" fmla="*/ 151350 w 152245"/>
                <a:gd name="connsiteY33" fmla="*/ 96273 h 134334"/>
                <a:gd name="connsiteX34" fmla="*/ 151350 w 152245"/>
                <a:gd name="connsiteY34" fmla="*/ 95825 h 134334"/>
                <a:gd name="connsiteX35" fmla="*/ 151350 w 152245"/>
                <a:gd name="connsiteY35" fmla="*/ 95825 h 134334"/>
                <a:gd name="connsiteX36" fmla="*/ 151350 w 152245"/>
                <a:gd name="connsiteY36" fmla="*/ 2239 h 134334"/>
                <a:gd name="connsiteX37" fmla="*/ 56421 w 152245"/>
                <a:gd name="connsiteY37" fmla="*/ 26867 h 134334"/>
                <a:gd name="connsiteX38" fmla="*/ 54182 w 152245"/>
                <a:gd name="connsiteY38" fmla="*/ 29106 h 134334"/>
                <a:gd name="connsiteX39" fmla="*/ 54182 w 152245"/>
                <a:gd name="connsiteY39" fmla="*/ 40300 h 134334"/>
                <a:gd name="connsiteX40" fmla="*/ 9403 w 152245"/>
                <a:gd name="connsiteY40" fmla="*/ 40300 h 134334"/>
                <a:gd name="connsiteX41" fmla="*/ 54182 w 152245"/>
                <a:gd name="connsiteY41" fmla="*/ 6717 h 134334"/>
                <a:gd name="connsiteX42" fmla="*/ 54182 w 152245"/>
                <a:gd name="connsiteY42" fmla="*/ 15672 h 134334"/>
                <a:gd name="connsiteX43" fmla="*/ 56421 w 152245"/>
                <a:gd name="connsiteY43" fmla="*/ 17911 h 134334"/>
                <a:gd name="connsiteX44" fmla="*/ 58659 w 152245"/>
                <a:gd name="connsiteY44" fmla="*/ 15672 h 134334"/>
                <a:gd name="connsiteX45" fmla="*/ 58659 w 152245"/>
                <a:gd name="connsiteY45" fmla="*/ 4478 h 134334"/>
                <a:gd name="connsiteX46" fmla="*/ 143738 w 152245"/>
                <a:gd name="connsiteY46" fmla="*/ 4478 h 134334"/>
                <a:gd name="connsiteX47" fmla="*/ 95825 w 152245"/>
                <a:gd name="connsiteY47" fmla="*/ 40300 h 134334"/>
                <a:gd name="connsiteX48" fmla="*/ 58659 w 152245"/>
                <a:gd name="connsiteY48" fmla="*/ 40300 h 134334"/>
                <a:gd name="connsiteX49" fmla="*/ 58659 w 152245"/>
                <a:gd name="connsiteY49" fmla="*/ 29106 h 134334"/>
                <a:gd name="connsiteX50" fmla="*/ 56421 w 152245"/>
                <a:gd name="connsiteY50" fmla="*/ 26867 h 134334"/>
                <a:gd name="connsiteX51" fmla="*/ 98960 w 152245"/>
                <a:gd name="connsiteY51" fmla="*/ 43883 h 134334"/>
                <a:gd name="connsiteX52" fmla="*/ 148216 w 152245"/>
                <a:gd name="connsiteY52" fmla="*/ 6717 h 134334"/>
                <a:gd name="connsiteX53" fmla="*/ 148216 w 152245"/>
                <a:gd name="connsiteY53" fmla="*/ 94034 h 134334"/>
                <a:gd name="connsiteX54" fmla="*/ 137021 w 152245"/>
                <a:gd name="connsiteY54" fmla="*/ 94034 h 134334"/>
                <a:gd name="connsiteX55" fmla="*/ 134782 w 152245"/>
                <a:gd name="connsiteY55" fmla="*/ 96273 h 134334"/>
                <a:gd name="connsiteX56" fmla="*/ 137021 w 152245"/>
                <a:gd name="connsiteY56" fmla="*/ 98512 h 134334"/>
                <a:gd name="connsiteX57" fmla="*/ 143738 w 152245"/>
                <a:gd name="connsiteY57" fmla="*/ 98512 h 134334"/>
                <a:gd name="connsiteX58" fmla="*/ 98960 w 152245"/>
                <a:gd name="connsiteY58" fmla="*/ 132096 h 134334"/>
                <a:gd name="connsiteX59" fmla="*/ 98960 w 152245"/>
                <a:gd name="connsiteY59" fmla="*/ 43883 h 134334"/>
                <a:gd name="connsiteX60" fmla="*/ 8956 w 152245"/>
                <a:gd name="connsiteY60" fmla="*/ 134335 h 134334"/>
                <a:gd name="connsiteX61" fmla="*/ 14329 w 152245"/>
                <a:gd name="connsiteY61" fmla="*/ 130305 h 134334"/>
                <a:gd name="connsiteX62" fmla="*/ 14777 w 152245"/>
                <a:gd name="connsiteY62" fmla="*/ 127170 h 134334"/>
                <a:gd name="connsiteX63" fmla="*/ 11642 w 152245"/>
                <a:gd name="connsiteY63" fmla="*/ 126722 h 134334"/>
                <a:gd name="connsiteX64" fmla="*/ 4478 w 152245"/>
                <a:gd name="connsiteY64" fmla="*/ 132096 h 134334"/>
                <a:gd name="connsiteX65" fmla="*/ 4478 w 152245"/>
                <a:gd name="connsiteY65" fmla="*/ 44778 h 134334"/>
                <a:gd name="connsiteX66" fmla="*/ 94034 w 152245"/>
                <a:gd name="connsiteY66" fmla="*/ 44778 h 134334"/>
                <a:gd name="connsiteX67" fmla="*/ 94034 w 152245"/>
                <a:gd name="connsiteY67" fmla="*/ 94034 h 134334"/>
                <a:gd name="connsiteX68" fmla="*/ 82840 w 152245"/>
                <a:gd name="connsiteY68" fmla="*/ 94034 h 134334"/>
                <a:gd name="connsiteX69" fmla="*/ 80601 w 152245"/>
                <a:gd name="connsiteY69" fmla="*/ 96273 h 134334"/>
                <a:gd name="connsiteX70" fmla="*/ 82840 w 152245"/>
                <a:gd name="connsiteY70" fmla="*/ 98512 h 134334"/>
                <a:gd name="connsiteX71" fmla="*/ 94034 w 152245"/>
                <a:gd name="connsiteY71" fmla="*/ 98512 h 134334"/>
                <a:gd name="connsiteX72" fmla="*/ 94034 w 152245"/>
                <a:gd name="connsiteY72" fmla="*/ 134335 h 134334"/>
                <a:gd name="connsiteX73" fmla="*/ 8956 w 152245"/>
                <a:gd name="connsiteY73" fmla="*/ 134335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52245" h="134334">
                  <a:moveTo>
                    <a:pt x="152694" y="2239"/>
                  </a:moveTo>
                  <a:cubicBezTo>
                    <a:pt x="152694" y="896"/>
                    <a:pt x="151798" y="0"/>
                    <a:pt x="150455" y="0"/>
                  </a:cubicBezTo>
                  <a:lnTo>
                    <a:pt x="56421" y="0"/>
                  </a:lnTo>
                  <a:cubicBezTo>
                    <a:pt x="56421" y="0"/>
                    <a:pt x="56421" y="0"/>
                    <a:pt x="55973" y="0"/>
                  </a:cubicBezTo>
                  <a:cubicBezTo>
                    <a:pt x="55973" y="0"/>
                    <a:pt x="55525" y="0"/>
                    <a:pt x="55525" y="0"/>
                  </a:cubicBezTo>
                  <a:cubicBezTo>
                    <a:pt x="55525" y="0"/>
                    <a:pt x="55077" y="0"/>
                    <a:pt x="55077" y="0"/>
                  </a:cubicBezTo>
                  <a:cubicBezTo>
                    <a:pt x="55077" y="0"/>
                    <a:pt x="55077" y="0"/>
                    <a:pt x="54629" y="0"/>
                  </a:cubicBezTo>
                  <a:lnTo>
                    <a:pt x="896" y="40300"/>
                  </a:lnTo>
                  <a:cubicBezTo>
                    <a:pt x="896" y="40300"/>
                    <a:pt x="896" y="40300"/>
                    <a:pt x="896" y="40300"/>
                  </a:cubicBezTo>
                  <a:cubicBezTo>
                    <a:pt x="896" y="40300"/>
                    <a:pt x="896" y="40300"/>
                    <a:pt x="448" y="40748"/>
                  </a:cubicBezTo>
                  <a:cubicBezTo>
                    <a:pt x="448" y="40748"/>
                    <a:pt x="448" y="40748"/>
                    <a:pt x="0" y="41196"/>
                  </a:cubicBezTo>
                  <a:cubicBezTo>
                    <a:pt x="0" y="41196"/>
                    <a:pt x="0" y="41644"/>
                    <a:pt x="0" y="41644"/>
                  </a:cubicBezTo>
                  <a:cubicBezTo>
                    <a:pt x="0" y="41644"/>
                    <a:pt x="0" y="42092"/>
                    <a:pt x="0" y="42092"/>
                  </a:cubicBezTo>
                  <a:cubicBezTo>
                    <a:pt x="0" y="42092"/>
                    <a:pt x="0" y="42092"/>
                    <a:pt x="0" y="42092"/>
                  </a:cubicBezTo>
                  <a:lnTo>
                    <a:pt x="0" y="136126"/>
                  </a:lnTo>
                  <a:cubicBezTo>
                    <a:pt x="0" y="136126"/>
                    <a:pt x="0" y="136126"/>
                    <a:pt x="0" y="136573"/>
                  </a:cubicBezTo>
                  <a:cubicBezTo>
                    <a:pt x="0" y="136573"/>
                    <a:pt x="0" y="137021"/>
                    <a:pt x="0" y="137021"/>
                  </a:cubicBezTo>
                  <a:cubicBezTo>
                    <a:pt x="0" y="137021"/>
                    <a:pt x="0" y="137469"/>
                    <a:pt x="0" y="137469"/>
                  </a:cubicBezTo>
                  <a:cubicBezTo>
                    <a:pt x="0" y="137469"/>
                    <a:pt x="0" y="137469"/>
                    <a:pt x="0" y="137917"/>
                  </a:cubicBezTo>
                  <a:cubicBezTo>
                    <a:pt x="0" y="137917"/>
                    <a:pt x="0" y="137917"/>
                    <a:pt x="0" y="137917"/>
                  </a:cubicBezTo>
                  <a:cubicBezTo>
                    <a:pt x="0" y="137917"/>
                    <a:pt x="448" y="138365"/>
                    <a:pt x="448" y="138365"/>
                  </a:cubicBezTo>
                  <a:cubicBezTo>
                    <a:pt x="448" y="138365"/>
                    <a:pt x="448" y="138365"/>
                    <a:pt x="448" y="138365"/>
                  </a:cubicBezTo>
                  <a:cubicBezTo>
                    <a:pt x="896" y="138365"/>
                    <a:pt x="896" y="138365"/>
                    <a:pt x="1343" y="138365"/>
                  </a:cubicBezTo>
                  <a:lnTo>
                    <a:pt x="95378" y="138365"/>
                  </a:lnTo>
                  <a:lnTo>
                    <a:pt x="95378" y="138365"/>
                  </a:lnTo>
                  <a:lnTo>
                    <a:pt x="95378" y="138365"/>
                  </a:lnTo>
                  <a:cubicBezTo>
                    <a:pt x="95378" y="138365"/>
                    <a:pt x="95378" y="138365"/>
                    <a:pt x="95378" y="138365"/>
                  </a:cubicBezTo>
                  <a:cubicBezTo>
                    <a:pt x="95825" y="138365"/>
                    <a:pt x="96273" y="138365"/>
                    <a:pt x="96721" y="137917"/>
                  </a:cubicBezTo>
                  <a:cubicBezTo>
                    <a:pt x="96721" y="137917"/>
                    <a:pt x="96721" y="137917"/>
                    <a:pt x="96721" y="137917"/>
                  </a:cubicBezTo>
                  <a:lnTo>
                    <a:pt x="150455" y="97616"/>
                  </a:lnTo>
                  <a:cubicBezTo>
                    <a:pt x="150455" y="97616"/>
                    <a:pt x="150455" y="97616"/>
                    <a:pt x="150455" y="97616"/>
                  </a:cubicBezTo>
                  <a:cubicBezTo>
                    <a:pt x="150455" y="97616"/>
                    <a:pt x="150455" y="97616"/>
                    <a:pt x="150902" y="97169"/>
                  </a:cubicBezTo>
                  <a:cubicBezTo>
                    <a:pt x="150902" y="97169"/>
                    <a:pt x="150902" y="97169"/>
                    <a:pt x="151350" y="96721"/>
                  </a:cubicBezTo>
                  <a:cubicBezTo>
                    <a:pt x="151350" y="96721"/>
                    <a:pt x="151350" y="96273"/>
                    <a:pt x="151350" y="96273"/>
                  </a:cubicBezTo>
                  <a:cubicBezTo>
                    <a:pt x="151350" y="96273"/>
                    <a:pt x="151350" y="95825"/>
                    <a:pt x="151350" y="95825"/>
                  </a:cubicBezTo>
                  <a:cubicBezTo>
                    <a:pt x="151350" y="95825"/>
                    <a:pt x="151350" y="95825"/>
                    <a:pt x="151350" y="95825"/>
                  </a:cubicBezTo>
                  <a:lnTo>
                    <a:pt x="151350" y="2239"/>
                  </a:lnTo>
                  <a:close/>
                  <a:moveTo>
                    <a:pt x="56421" y="26867"/>
                  </a:moveTo>
                  <a:cubicBezTo>
                    <a:pt x="55077" y="26867"/>
                    <a:pt x="54182" y="27763"/>
                    <a:pt x="54182" y="29106"/>
                  </a:cubicBezTo>
                  <a:lnTo>
                    <a:pt x="54182" y="40300"/>
                  </a:lnTo>
                  <a:lnTo>
                    <a:pt x="9403" y="40300"/>
                  </a:lnTo>
                  <a:lnTo>
                    <a:pt x="54182" y="6717"/>
                  </a:lnTo>
                  <a:lnTo>
                    <a:pt x="54182" y="15672"/>
                  </a:lnTo>
                  <a:cubicBezTo>
                    <a:pt x="54182" y="17016"/>
                    <a:pt x="55077" y="17911"/>
                    <a:pt x="56421" y="17911"/>
                  </a:cubicBezTo>
                  <a:cubicBezTo>
                    <a:pt x="57764" y="17911"/>
                    <a:pt x="58659" y="17016"/>
                    <a:pt x="58659" y="15672"/>
                  </a:cubicBezTo>
                  <a:lnTo>
                    <a:pt x="58659" y="4478"/>
                  </a:lnTo>
                  <a:lnTo>
                    <a:pt x="143738" y="4478"/>
                  </a:lnTo>
                  <a:lnTo>
                    <a:pt x="95825" y="40300"/>
                  </a:lnTo>
                  <a:lnTo>
                    <a:pt x="58659" y="40300"/>
                  </a:lnTo>
                  <a:lnTo>
                    <a:pt x="58659" y="29106"/>
                  </a:lnTo>
                  <a:cubicBezTo>
                    <a:pt x="58659" y="27763"/>
                    <a:pt x="57316" y="26867"/>
                    <a:pt x="56421" y="26867"/>
                  </a:cubicBezTo>
                  <a:close/>
                  <a:moveTo>
                    <a:pt x="98960" y="43883"/>
                  </a:moveTo>
                  <a:lnTo>
                    <a:pt x="148216" y="6717"/>
                  </a:lnTo>
                  <a:lnTo>
                    <a:pt x="148216" y="94034"/>
                  </a:lnTo>
                  <a:lnTo>
                    <a:pt x="137021" y="94034"/>
                  </a:lnTo>
                  <a:cubicBezTo>
                    <a:pt x="135678" y="94034"/>
                    <a:pt x="134782" y="94930"/>
                    <a:pt x="134782" y="96273"/>
                  </a:cubicBezTo>
                  <a:cubicBezTo>
                    <a:pt x="134782" y="97616"/>
                    <a:pt x="135678" y="98512"/>
                    <a:pt x="137021" y="98512"/>
                  </a:cubicBezTo>
                  <a:lnTo>
                    <a:pt x="143738" y="98512"/>
                  </a:lnTo>
                  <a:lnTo>
                    <a:pt x="98960" y="132096"/>
                  </a:lnTo>
                  <a:lnTo>
                    <a:pt x="98960" y="43883"/>
                  </a:lnTo>
                  <a:close/>
                  <a:moveTo>
                    <a:pt x="8956" y="134335"/>
                  </a:moveTo>
                  <a:lnTo>
                    <a:pt x="14329" y="130305"/>
                  </a:lnTo>
                  <a:cubicBezTo>
                    <a:pt x="15225" y="129409"/>
                    <a:pt x="15672" y="128066"/>
                    <a:pt x="14777" y="127170"/>
                  </a:cubicBezTo>
                  <a:cubicBezTo>
                    <a:pt x="13881" y="126274"/>
                    <a:pt x="12538" y="125827"/>
                    <a:pt x="11642" y="126722"/>
                  </a:cubicBezTo>
                  <a:lnTo>
                    <a:pt x="4478" y="132096"/>
                  </a:lnTo>
                  <a:lnTo>
                    <a:pt x="4478" y="44778"/>
                  </a:lnTo>
                  <a:lnTo>
                    <a:pt x="94034" y="44778"/>
                  </a:lnTo>
                  <a:lnTo>
                    <a:pt x="94034" y="94034"/>
                  </a:lnTo>
                  <a:lnTo>
                    <a:pt x="82840" y="94034"/>
                  </a:lnTo>
                  <a:cubicBezTo>
                    <a:pt x="81496" y="94034"/>
                    <a:pt x="80601" y="94930"/>
                    <a:pt x="80601" y="96273"/>
                  </a:cubicBezTo>
                  <a:cubicBezTo>
                    <a:pt x="80601" y="97616"/>
                    <a:pt x="81496" y="98512"/>
                    <a:pt x="82840" y="98512"/>
                  </a:cubicBezTo>
                  <a:lnTo>
                    <a:pt x="94034" y="98512"/>
                  </a:lnTo>
                  <a:lnTo>
                    <a:pt x="94034" y="134335"/>
                  </a:lnTo>
                  <a:lnTo>
                    <a:pt x="8956" y="134335"/>
                  </a:lnTo>
                  <a:close/>
                </a:path>
              </a:pathLst>
            </a:custGeom>
            <a:solidFill>
              <a:srgbClr val="231F20"/>
            </a:solidFill>
            <a:ln w="4474" cap="flat">
              <a:noFill/>
              <a:prstDash val="solid"/>
              <a:miter/>
            </a:ln>
          </p:spPr>
          <p:txBody>
            <a:bodyPr rtlCol="0" anchor="ctr"/>
            <a:lstStyle/>
            <a:p>
              <a:endParaRPr lang="en-US"/>
            </a:p>
          </p:txBody>
        </p:sp>
        <p:sp>
          <p:nvSpPr>
            <p:cNvPr id="4394" name="Freeform: Shape 4393">
              <a:extLst>
                <a:ext uri="{FF2B5EF4-FFF2-40B4-BE49-F238E27FC236}">
                  <a16:creationId xmlns:a16="http://schemas.microsoft.com/office/drawing/2014/main" id="{F75E4527-9743-4422-88D7-0B9FBB2D1F27}"/>
                </a:ext>
              </a:extLst>
            </p:cNvPr>
            <p:cNvSpPr/>
            <p:nvPr/>
          </p:nvSpPr>
          <p:spPr>
            <a:xfrm>
              <a:off x="898662" y="3576966"/>
              <a:ext cx="4478" cy="17911"/>
            </a:xfrm>
            <a:custGeom>
              <a:avLst/>
              <a:gdLst>
                <a:gd name="connsiteX0" fmla="*/ 2239 w 4477"/>
                <a:gd name="connsiteY0" fmla="*/ 17911 h 17911"/>
                <a:gd name="connsiteX1" fmla="*/ 4478 w 4477"/>
                <a:gd name="connsiteY1" fmla="*/ 15672 h 17911"/>
                <a:gd name="connsiteX2" fmla="*/ 4478 w 4477"/>
                <a:gd name="connsiteY2" fmla="*/ 2239 h 17911"/>
                <a:gd name="connsiteX3" fmla="*/ 2239 w 4477"/>
                <a:gd name="connsiteY3" fmla="*/ 0 h 17911"/>
                <a:gd name="connsiteX4" fmla="*/ 0 w 4477"/>
                <a:gd name="connsiteY4" fmla="*/ 2239 h 17911"/>
                <a:gd name="connsiteX5" fmla="*/ 0 w 4477"/>
                <a:gd name="connsiteY5" fmla="*/ 15672 h 17911"/>
                <a:gd name="connsiteX6" fmla="*/ 2239 w 4477"/>
                <a:gd name="connsiteY6"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7911"/>
                  </a:moveTo>
                  <a:cubicBezTo>
                    <a:pt x="3582" y="17911"/>
                    <a:pt x="4478" y="17016"/>
                    <a:pt x="4478" y="15672"/>
                  </a:cubicBezTo>
                  <a:lnTo>
                    <a:pt x="4478" y="2239"/>
                  </a:lnTo>
                  <a:cubicBezTo>
                    <a:pt x="4478" y="896"/>
                    <a:pt x="3582" y="0"/>
                    <a:pt x="2239" y="0"/>
                  </a:cubicBezTo>
                  <a:cubicBezTo>
                    <a:pt x="896" y="0"/>
                    <a:pt x="0" y="896"/>
                    <a:pt x="0" y="2239"/>
                  </a:cubicBezTo>
                  <a:lnTo>
                    <a:pt x="0" y="15672"/>
                  </a:lnTo>
                  <a:cubicBezTo>
                    <a:pt x="0" y="17016"/>
                    <a:pt x="896" y="17911"/>
                    <a:pt x="2239" y="17911"/>
                  </a:cubicBezTo>
                  <a:close/>
                </a:path>
              </a:pathLst>
            </a:custGeom>
            <a:solidFill>
              <a:srgbClr val="231F20"/>
            </a:solidFill>
            <a:ln w="4474" cap="flat">
              <a:noFill/>
              <a:prstDash val="solid"/>
              <a:miter/>
            </a:ln>
          </p:spPr>
          <p:txBody>
            <a:bodyPr rtlCol="0" anchor="ctr"/>
            <a:lstStyle/>
            <a:p>
              <a:endParaRPr lang="en-US"/>
            </a:p>
          </p:txBody>
        </p:sp>
        <p:sp>
          <p:nvSpPr>
            <p:cNvPr id="4395" name="Freeform: Shape 4394">
              <a:extLst>
                <a:ext uri="{FF2B5EF4-FFF2-40B4-BE49-F238E27FC236}">
                  <a16:creationId xmlns:a16="http://schemas.microsoft.com/office/drawing/2014/main" id="{820E1641-C993-4776-A761-EA3F9AD48873}"/>
                </a:ext>
              </a:extLst>
            </p:cNvPr>
            <p:cNvSpPr/>
            <p:nvPr/>
          </p:nvSpPr>
          <p:spPr>
            <a:xfrm>
              <a:off x="865934" y="3633346"/>
              <a:ext cx="13433" cy="8956"/>
            </a:xfrm>
            <a:custGeom>
              <a:avLst/>
              <a:gdLst>
                <a:gd name="connsiteX0" fmla="*/ 11683 w 13433"/>
                <a:gd name="connsiteY0" fmla="*/ 488 h 8955"/>
                <a:gd name="connsiteX1" fmla="*/ 936 w 13433"/>
                <a:gd name="connsiteY1" fmla="*/ 8548 h 8955"/>
                <a:gd name="connsiteX2" fmla="*/ 488 w 13433"/>
                <a:gd name="connsiteY2" fmla="*/ 11683 h 8955"/>
                <a:gd name="connsiteX3" fmla="*/ 2279 w 13433"/>
                <a:gd name="connsiteY3" fmla="*/ 12578 h 8955"/>
                <a:gd name="connsiteX4" fmla="*/ 3623 w 13433"/>
                <a:gd name="connsiteY4" fmla="*/ 12130 h 8955"/>
                <a:gd name="connsiteX5" fmla="*/ 14369 w 13433"/>
                <a:gd name="connsiteY5" fmla="*/ 4070 h 8955"/>
                <a:gd name="connsiteX6" fmla="*/ 14817 w 13433"/>
                <a:gd name="connsiteY6" fmla="*/ 936 h 8955"/>
                <a:gd name="connsiteX7" fmla="*/ 11683 w 13433"/>
                <a:gd name="connsiteY7" fmla="*/ 488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1683" y="488"/>
                  </a:moveTo>
                  <a:lnTo>
                    <a:pt x="936" y="8548"/>
                  </a:lnTo>
                  <a:cubicBezTo>
                    <a:pt x="40" y="9444"/>
                    <a:pt x="-407" y="10787"/>
                    <a:pt x="488" y="11683"/>
                  </a:cubicBezTo>
                  <a:cubicBezTo>
                    <a:pt x="936" y="12130"/>
                    <a:pt x="1384" y="12578"/>
                    <a:pt x="2279" y="12578"/>
                  </a:cubicBezTo>
                  <a:cubicBezTo>
                    <a:pt x="2727" y="12578"/>
                    <a:pt x="3175" y="12578"/>
                    <a:pt x="3623" y="12130"/>
                  </a:cubicBezTo>
                  <a:lnTo>
                    <a:pt x="14369" y="4070"/>
                  </a:lnTo>
                  <a:cubicBezTo>
                    <a:pt x="15265" y="3175"/>
                    <a:pt x="15713" y="1831"/>
                    <a:pt x="14817" y="936"/>
                  </a:cubicBezTo>
                  <a:cubicBezTo>
                    <a:pt x="14369" y="40"/>
                    <a:pt x="13026" y="-407"/>
                    <a:pt x="11683" y="488"/>
                  </a:cubicBezTo>
                  <a:close/>
                </a:path>
              </a:pathLst>
            </a:custGeom>
            <a:solidFill>
              <a:srgbClr val="231F20"/>
            </a:solidFill>
            <a:ln w="4474" cap="flat">
              <a:noFill/>
              <a:prstDash val="solid"/>
              <a:miter/>
            </a:ln>
          </p:spPr>
          <p:txBody>
            <a:bodyPr rtlCol="0" anchor="ctr"/>
            <a:lstStyle/>
            <a:p>
              <a:endParaRPr lang="en-US"/>
            </a:p>
          </p:txBody>
        </p:sp>
        <p:sp>
          <p:nvSpPr>
            <p:cNvPr id="4396" name="Freeform: Shape 4395">
              <a:extLst>
                <a:ext uri="{FF2B5EF4-FFF2-40B4-BE49-F238E27FC236}">
                  <a16:creationId xmlns:a16="http://schemas.microsoft.com/office/drawing/2014/main" id="{D2C18F63-7C3E-4F39-8E2D-8525C4EC1C07}"/>
                </a:ext>
              </a:extLst>
            </p:cNvPr>
            <p:cNvSpPr/>
            <p:nvPr/>
          </p:nvSpPr>
          <p:spPr>
            <a:xfrm>
              <a:off x="887875" y="3603833"/>
              <a:ext cx="26867" cy="22389"/>
            </a:xfrm>
            <a:custGeom>
              <a:avLst/>
              <a:gdLst>
                <a:gd name="connsiteX0" fmla="*/ 26460 w 26866"/>
                <a:gd name="connsiteY0" fmla="*/ 13433 h 22389"/>
                <a:gd name="connsiteX1" fmla="*/ 15265 w 26866"/>
                <a:gd name="connsiteY1" fmla="*/ 13433 h 22389"/>
                <a:gd name="connsiteX2" fmla="*/ 15265 w 26866"/>
                <a:gd name="connsiteY2" fmla="*/ 2239 h 22389"/>
                <a:gd name="connsiteX3" fmla="*/ 13026 w 26866"/>
                <a:gd name="connsiteY3" fmla="*/ 0 h 22389"/>
                <a:gd name="connsiteX4" fmla="*/ 10787 w 26866"/>
                <a:gd name="connsiteY4" fmla="*/ 2239 h 22389"/>
                <a:gd name="connsiteX5" fmla="*/ 10787 w 26866"/>
                <a:gd name="connsiteY5" fmla="*/ 14777 h 22389"/>
                <a:gd name="connsiteX6" fmla="*/ 936 w 26866"/>
                <a:gd name="connsiteY6" fmla="*/ 21941 h 22389"/>
                <a:gd name="connsiteX7" fmla="*/ 488 w 26866"/>
                <a:gd name="connsiteY7" fmla="*/ 25076 h 22389"/>
                <a:gd name="connsiteX8" fmla="*/ 2279 w 26866"/>
                <a:gd name="connsiteY8" fmla="*/ 25971 h 22389"/>
                <a:gd name="connsiteX9" fmla="*/ 3623 w 26866"/>
                <a:gd name="connsiteY9" fmla="*/ 25524 h 22389"/>
                <a:gd name="connsiteX10" fmla="*/ 13922 w 26866"/>
                <a:gd name="connsiteY10" fmla="*/ 17911 h 22389"/>
                <a:gd name="connsiteX11" fmla="*/ 26460 w 26866"/>
                <a:gd name="connsiteY11" fmla="*/ 17911 h 22389"/>
                <a:gd name="connsiteX12" fmla="*/ 28698 w 26866"/>
                <a:gd name="connsiteY12" fmla="*/ 15672 h 22389"/>
                <a:gd name="connsiteX13" fmla="*/ 26460 w 26866"/>
                <a:gd name="connsiteY13" fmla="*/ 13433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866" h="22389">
                  <a:moveTo>
                    <a:pt x="26460" y="13433"/>
                  </a:moveTo>
                  <a:lnTo>
                    <a:pt x="15265" y="13433"/>
                  </a:lnTo>
                  <a:lnTo>
                    <a:pt x="15265" y="2239"/>
                  </a:lnTo>
                  <a:cubicBezTo>
                    <a:pt x="15265" y="896"/>
                    <a:pt x="14369" y="0"/>
                    <a:pt x="13026" y="0"/>
                  </a:cubicBezTo>
                  <a:cubicBezTo>
                    <a:pt x="11683" y="0"/>
                    <a:pt x="10787" y="896"/>
                    <a:pt x="10787" y="2239"/>
                  </a:cubicBezTo>
                  <a:lnTo>
                    <a:pt x="10787" y="14777"/>
                  </a:lnTo>
                  <a:lnTo>
                    <a:pt x="936" y="21941"/>
                  </a:lnTo>
                  <a:cubicBezTo>
                    <a:pt x="40" y="22837"/>
                    <a:pt x="-407" y="24180"/>
                    <a:pt x="488" y="25076"/>
                  </a:cubicBezTo>
                  <a:cubicBezTo>
                    <a:pt x="936" y="25524"/>
                    <a:pt x="1384" y="25971"/>
                    <a:pt x="2279" y="25971"/>
                  </a:cubicBezTo>
                  <a:cubicBezTo>
                    <a:pt x="2727" y="25971"/>
                    <a:pt x="3175" y="25971"/>
                    <a:pt x="3623" y="25524"/>
                  </a:cubicBezTo>
                  <a:lnTo>
                    <a:pt x="13922" y="17911"/>
                  </a:lnTo>
                  <a:lnTo>
                    <a:pt x="26460" y="17911"/>
                  </a:lnTo>
                  <a:cubicBezTo>
                    <a:pt x="27803" y="17911"/>
                    <a:pt x="28698" y="17016"/>
                    <a:pt x="28698" y="15672"/>
                  </a:cubicBezTo>
                  <a:cubicBezTo>
                    <a:pt x="28698" y="14329"/>
                    <a:pt x="27355" y="13433"/>
                    <a:pt x="26460" y="13433"/>
                  </a:cubicBezTo>
                  <a:close/>
                </a:path>
              </a:pathLst>
            </a:custGeom>
            <a:solidFill>
              <a:srgbClr val="231F20"/>
            </a:solidFill>
            <a:ln w="4474" cap="flat">
              <a:noFill/>
              <a:prstDash val="solid"/>
              <a:miter/>
            </a:ln>
          </p:spPr>
          <p:txBody>
            <a:bodyPr rtlCol="0" anchor="ctr"/>
            <a:lstStyle/>
            <a:p>
              <a:endParaRPr lang="en-US"/>
            </a:p>
          </p:txBody>
        </p:sp>
        <p:sp>
          <p:nvSpPr>
            <p:cNvPr id="4397" name="Freeform: Shape 4396">
              <a:extLst>
                <a:ext uri="{FF2B5EF4-FFF2-40B4-BE49-F238E27FC236}">
                  <a16:creationId xmlns:a16="http://schemas.microsoft.com/office/drawing/2014/main" id="{81365E8F-9123-43BD-8EB6-2906018477F7}"/>
                </a:ext>
              </a:extLst>
            </p:cNvPr>
            <p:cNvSpPr/>
            <p:nvPr/>
          </p:nvSpPr>
          <p:spPr>
            <a:xfrm>
              <a:off x="952396" y="3617267"/>
              <a:ext cx="17911" cy="4478"/>
            </a:xfrm>
            <a:custGeom>
              <a:avLst/>
              <a:gdLst>
                <a:gd name="connsiteX0" fmla="*/ 15672 w 17911"/>
                <a:gd name="connsiteY0" fmla="*/ 0 h 4477"/>
                <a:gd name="connsiteX1" fmla="*/ 2239 w 17911"/>
                <a:gd name="connsiteY1" fmla="*/ 0 h 4477"/>
                <a:gd name="connsiteX2" fmla="*/ 0 w 17911"/>
                <a:gd name="connsiteY2" fmla="*/ 2239 h 4477"/>
                <a:gd name="connsiteX3" fmla="*/ 2239 w 17911"/>
                <a:gd name="connsiteY3" fmla="*/ 4478 h 4477"/>
                <a:gd name="connsiteX4" fmla="*/ 15672 w 17911"/>
                <a:gd name="connsiteY4" fmla="*/ 4478 h 4477"/>
                <a:gd name="connsiteX5" fmla="*/ 17911 w 17911"/>
                <a:gd name="connsiteY5" fmla="*/ 2239 h 4477"/>
                <a:gd name="connsiteX6" fmla="*/ 15672 w 17911"/>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0"/>
                  </a:moveTo>
                  <a:lnTo>
                    <a:pt x="2239" y="0"/>
                  </a:lnTo>
                  <a:cubicBezTo>
                    <a:pt x="896" y="0"/>
                    <a:pt x="0" y="896"/>
                    <a:pt x="0" y="2239"/>
                  </a:cubicBezTo>
                  <a:cubicBezTo>
                    <a:pt x="0" y="3582"/>
                    <a:pt x="896" y="4478"/>
                    <a:pt x="2239" y="4478"/>
                  </a:cubicBezTo>
                  <a:lnTo>
                    <a:pt x="15672" y="4478"/>
                  </a:lnTo>
                  <a:cubicBezTo>
                    <a:pt x="17016" y="4478"/>
                    <a:pt x="17911" y="3582"/>
                    <a:pt x="17911" y="2239"/>
                  </a:cubicBezTo>
                  <a:cubicBezTo>
                    <a:pt x="17911" y="896"/>
                    <a:pt x="16568" y="0"/>
                    <a:pt x="15672" y="0"/>
                  </a:cubicBezTo>
                  <a:close/>
                </a:path>
              </a:pathLst>
            </a:custGeom>
            <a:solidFill>
              <a:srgbClr val="231F20"/>
            </a:solidFill>
            <a:ln w="4474" cap="flat">
              <a:noFill/>
              <a:prstDash val="solid"/>
              <a:miter/>
            </a:ln>
          </p:spPr>
          <p:txBody>
            <a:bodyPr rtlCol="0" anchor="ctr"/>
            <a:lstStyle/>
            <a:p>
              <a:endParaRPr lang="en-US"/>
            </a:p>
          </p:txBody>
        </p:sp>
      </p:grpSp>
      <p:sp>
        <p:nvSpPr>
          <p:cNvPr id="4398" name="Freeform: Shape 4397">
            <a:extLst>
              <a:ext uri="{FF2B5EF4-FFF2-40B4-BE49-F238E27FC236}">
                <a16:creationId xmlns:a16="http://schemas.microsoft.com/office/drawing/2014/main" id="{070CC655-D4F6-46DB-8D5D-89A0FA107477}"/>
              </a:ext>
              <a:ext uri="{C183D7F6-B498-43B3-948B-1728B52AA6E4}">
                <adec:decorative xmlns:adec="http://schemas.microsoft.com/office/drawing/2017/decorative" val="1"/>
              </a:ext>
            </a:extLst>
          </p:cNvPr>
          <p:cNvSpPr>
            <a:spLocks noChangeAspect="1"/>
          </p:cNvSpPr>
          <p:nvPr/>
        </p:nvSpPr>
        <p:spPr>
          <a:xfrm>
            <a:off x="1877060" y="4278822"/>
            <a:ext cx="125379" cy="102990"/>
          </a:xfrm>
          <a:custGeom>
            <a:avLst/>
            <a:gdLst>
              <a:gd name="connsiteX0" fmla="*/ 69406 w 125378"/>
              <a:gd name="connsiteY0" fmla="*/ 105229 h 102989"/>
              <a:gd name="connsiteX1" fmla="*/ 67615 w 125378"/>
              <a:gd name="connsiteY1" fmla="*/ 104781 h 102989"/>
              <a:gd name="connsiteX2" fmla="*/ 54182 w 125378"/>
              <a:gd name="connsiteY2" fmla="*/ 91348 h 102989"/>
              <a:gd name="connsiteX3" fmla="*/ 53734 w 125378"/>
              <a:gd name="connsiteY3" fmla="*/ 89556 h 102989"/>
              <a:gd name="connsiteX4" fmla="*/ 53734 w 125378"/>
              <a:gd name="connsiteY4" fmla="*/ 63585 h 102989"/>
              <a:gd name="connsiteX5" fmla="*/ 448 w 125378"/>
              <a:gd name="connsiteY5" fmla="*/ 10747 h 102989"/>
              <a:gd name="connsiteX6" fmla="*/ 0 w 125378"/>
              <a:gd name="connsiteY6" fmla="*/ 8956 h 102989"/>
              <a:gd name="connsiteX7" fmla="*/ 0 w 125378"/>
              <a:gd name="connsiteY7" fmla="*/ 2239 h 102989"/>
              <a:gd name="connsiteX8" fmla="*/ 2239 w 125378"/>
              <a:gd name="connsiteY8" fmla="*/ 0 h 102989"/>
              <a:gd name="connsiteX9" fmla="*/ 123140 w 125378"/>
              <a:gd name="connsiteY9" fmla="*/ 0 h 102989"/>
              <a:gd name="connsiteX10" fmla="*/ 125379 w 125378"/>
              <a:gd name="connsiteY10" fmla="*/ 2239 h 102989"/>
              <a:gd name="connsiteX11" fmla="*/ 125379 w 125378"/>
              <a:gd name="connsiteY11" fmla="*/ 8956 h 102989"/>
              <a:gd name="connsiteX12" fmla="*/ 124931 w 125378"/>
              <a:gd name="connsiteY12" fmla="*/ 10747 h 102989"/>
              <a:gd name="connsiteX13" fmla="*/ 71645 w 125378"/>
              <a:gd name="connsiteY13" fmla="*/ 64033 h 102989"/>
              <a:gd name="connsiteX14" fmla="*/ 71645 w 125378"/>
              <a:gd name="connsiteY14" fmla="*/ 103438 h 102989"/>
              <a:gd name="connsiteX15" fmla="*/ 70302 w 125378"/>
              <a:gd name="connsiteY15" fmla="*/ 105677 h 102989"/>
              <a:gd name="connsiteX16" fmla="*/ 69406 w 125378"/>
              <a:gd name="connsiteY16" fmla="*/ 105229 h 102989"/>
              <a:gd name="connsiteX17" fmla="*/ 58212 w 125378"/>
              <a:gd name="connsiteY17" fmla="*/ 88661 h 102989"/>
              <a:gd name="connsiteX18" fmla="*/ 67167 w 125378"/>
              <a:gd name="connsiteY18" fmla="*/ 97616 h 102989"/>
              <a:gd name="connsiteX19" fmla="*/ 67167 w 125378"/>
              <a:gd name="connsiteY19" fmla="*/ 62689 h 102989"/>
              <a:gd name="connsiteX20" fmla="*/ 67615 w 125378"/>
              <a:gd name="connsiteY20" fmla="*/ 60898 h 102989"/>
              <a:gd name="connsiteX21" fmla="*/ 120901 w 125378"/>
              <a:gd name="connsiteY21" fmla="*/ 7612 h 102989"/>
              <a:gd name="connsiteX22" fmla="*/ 120901 w 125378"/>
              <a:gd name="connsiteY22" fmla="*/ 4030 h 102989"/>
              <a:gd name="connsiteX23" fmla="*/ 4478 w 125378"/>
              <a:gd name="connsiteY23" fmla="*/ 4030 h 102989"/>
              <a:gd name="connsiteX24" fmla="*/ 4478 w 125378"/>
              <a:gd name="connsiteY24" fmla="*/ 7612 h 102989"/>
              <a:gd name="connsiteX25" fmla="*/ 57764 w 125378"/>
              <a:gd name="connsiteY25" fmla="*/ 60898 h 102989"/>
              <a:gd name="connsiteX26" fmla="*/ 58212 w 125378"/>
              <a:gd name="connsiteY26" fmla="*/ 62689 h 102989"/>
              <a:gd name="connsiteX27" fmla="*/ 58212 w 125378"/>
              <a:gd name="connsiteY27" fmla="*/ 88661 h 102989"/>
              <a:gd name="connsiteX28" fmla="*/ 123140 w 125378"/>
              <a:gd name="connsiteY28" fmla="*/ 8956 h 102989"/>
              <a:gd name="connsiteX29" fmla="*/ 123140 w 125378"/>
              <a:gd name="connsiteY29" fmla="*/ 8956 h 102989"/>
              <a:gd name="connsiteX30" fmla="*/ 123140 w 125378"/>
              <a:gd name="connsiteY30" fmla="*/ 8956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378" h="102989">
                <a:moveTo>
                  <a:pt x="69406" y="105229"/>
                </a:moveTo>
                <a:cubicBezTo>
                  <a:pt x="68958" y="105229"/>
                  <a:pt x="68063" y="104781"/>
                  <a:pt x="67615" y="104781"/>
                </a:cubicBezTo>
                <a:lnTo>
                  <a:pt x="54182" y="91348"/>
                </a:lnTo>
                <a:cubicBezTo>
                  <a:pt x="53734" y="90900"/>
                  <a:pt x="53734" y="90452"/>
                  <a:pt x="53734" y="89556"/>
                </a:cubicBezTo>
                <a:lnTo>
                  <a:pt x="53734" y="63585"/>
                </a:lnTo>
                <a:lnTo>
                  <a:pt x="448" y="10747"/>
                </a:lnTo>
                <a:cubicBezTo>
                  <a:pt x="0" y="10299"/>
                  <a:pt x="0" y="9851"/>
                  <a:pt x="0" y="8956"/>
                </a:cubicBezTo>
                <a:lnTo>
                  <a:pt x="0" y="2239"/>
                </a:lnTo>
                <a:cubicBezTo>
                  <a:pt x="0" y="896"/>
                  <a:pt x="896" y="0"/>
                  <a:pt x="2239" y="0"/>
                </a:cubicBezTo>
                <a:lnTo>
                  <a:pt x="123140" y="0"/>
                </a:lnTo>
                <a:cubicBezTo>
                  <a:pt x="124483" y="0"/>
                  <a:pt x="125379" y="896"/>
                  <a:pt x="125379" y="2239"/>
                </a:cubicBezTo>
                <a:lnTo>
                  <a:pt x="125379" y="8956"/>
                </a:lnTo>
                <a:cubicBezTo>
                  <a:pt x="125379" y="9404"/>
                  <a:pt x="124931" y="10299"/>
                  <a:pt x="124931" y="10747"/>
                </a:cubicBezTo>
                <a:lnTo>
                  <a:pt x="71645" y="64033"/>
                </a:lnTo>
                <a:lnTo>
                  <a:pt x="71645" y="103438"/>
                </a:lnTo>
                <a:cubicBezTo>
                  <a:pt x="71645" y="104333"/>
                  <a:pt x="71197" y="105229"/>
                  <a:pt x="70302" y="105677"/>
                </a:cubicBezTo>
                <a:cubicBezTo>
                  <a:pt x="69854" y="105229"/>
                  <a:pt x="69406" y="105229"/>
                  <a:pt x="69406" y="105229"/>
                </a:cubicBezTo>
                <a:close/>
                <a:moveTo>
                  <a:pt x="58212" y="88661"/>
                </a:moveTo>
                <a:lnTo>
                  <a:pt x="67167" y="97616"/>
                </a:lnTo>
                <a:lnTo>
                  <a:pt x="67167" y="62689"/>
                </a:lnTo>
                <a:cubicBezTo>
                  <a:pt x="67167" y="62242"/>
                  <a:pt x="67615" y="61346"/>
                  <a:pt x="67615" y="60898"/>
                </a:cubicBezTo>
                <a:lnTo>
                  <a:pt x="120901" y="7612"/>
                </a:lnTo>
                <a:lnTo>
                  <a:pt x="120901" y="4030"/>
                </a:lnTo>
                <a:lnTo>
                  <a:pt x="4478" y="4030"/>
                </a:lnTo>
                <a:lnTo>
                  <a:pt x="4478" y="7612"/>
                </a:lnTo>
                <a:lnTo>
                  <a:pt x="57764" y="60898"/>
                </a:lnTo>
                <a:cubicBezTo>
                  <a:pt x="58212" y="61346"/>
                  <a:pt x="58212" y="61794"/>
                  <a:pt x="58212" y="62689"/>
                </a:cubicBezTo>
                <a:lnTo>
                  <a:pt x="58212" y="88661"/>
                </a:lnTo>
                <a:close/>
                <a:moveTo>
                  <a:pt x="123140" y="8956"/>
                </a:moveTo>
                <a:lnTo>
                  <a:pt x="123140" y="8956"/>
                </a:lnTo>
                <a:lnTo>
                  <a:pt x="123140" y="8956"/>
                </a:lnTo>
                <a:close/>
              </a:path>
            </a:pathLst>
          </a:custGeom>
          <a:solidFill>
            <a:srgbClr val="231F20"/>
          </a:solidFill>
          <a:ln w="4474" cap="flat">
            <a:noFill/>
            <a:prstDash val="solid"/>
            <a:miter/>
          </a:ln>
        </p:spPr>
        <p:txBody>
          <a:bodyPr rtlCol="0" anchor="ctr"/>
          <a:lstStyle/>
          <a:p>
            <a:endParaRPr lang="en-US"/>
          </a:p>
        </p:txBody>
      </p:sp>
      <p:grpSp>
        <p:nvGrpSpPr>
          <p:cNvPr id="4399" name="Group 4398">
            <a:extLst>
              <a:ext uri="{FF2B5EF4-FFF2-40B4-BE49-F238E27FC236}">
                <a16:creationId xmlns:a16="http://schemas.microsoft.com/office/drawing/2014/main" id="{9A0D1C57-7AE7-4012-8C9C-7202900C9DB5}"/>
              </a:ext>
              <a:ext uri="{C183D7F6-B498-43B3-948B-1728B52AA6E4}">
                <adec:decorative xmlns:adec="http://schemas.microsoft.com/office/drawing/2017/decorative" val="1"/>
              </a:ext>
            </a:extLst>
          </p:cNvPr>
          <p:cNvGrpSpPr>
            <a:grpSpLocks noChangeAspect="1"/>
          </p:cNvGrpSpPr>
          <p:nvPr/>
        </p:nvGrpSpPr>
        <p:grpSpPr>
          <a:xfrm>
            <a:off x="2147072" y="4245238"/>
            <a:ext cx="125379" cy="165679"/>
            <a:chOff x="2187826" y="3509799"/>
            <a:chExt cx="125379" cy="165679"/>
          </a:xfrm>
        </p:grpSpPr>
        <p:sp>
          <p:nvSpPr>
            <p:cNvPr id="4400" name="Freeform: Shape 4399">
              <a:extLst>
                <a:ext uri="{FF2B5EF4-FFF2-40B4-BE49-F238E27FC236}">
                  <a16:creationId xmlns:a16="http://schemas.microsoft.com/office/drawing/2014/main" id="{E7043275-2C77-48D3-BD74-335D461D2212}"/>
                </a:ext>
              </a:extLst>
            </p:cNvPr>
            <p:cNvSpPr/>
            <p:nvPr/>
          </p:nvSpPr>
          <p:spPr>
            <a:xfrm>
              <a:off x="2241560" y="3657567"/>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401" name="Freeform: Shape 4400">
              <a:extLst>
                <a:ext uri="{FF2B5EF4-FFF2-40B4-BE49-F238E27FC236}">
                  <a16:creationId xmlns:a16="http://schemas.microsoft.com/office/drawing/2014/main" id="{EF8F1789-5866-4D4C-B56F-290710A1ABF8}"/>
                </a:ext>
              </a:extLst>
            </p:cNvPr>
            <p:cNvSpPr/>
            <p:nvPr/>
          </p:nvSpPr>
          <p:spPr>
            <a:xfrm>
              <a:off x="2187826" y="3536666"/>
              <a:ext cx="125379" cy="116423"/>
            </a:xfrm>
            <a:custGeom>
              <a:avLst/>
              <a:gdLst>
                <a:gd name="connsiteX0" fmla="*/ 123140 w 125378"/>
                <a:gd name="connsiteY0" fmla="*/ 13433 h 116423"/>
                <a:gd name="connsiteX1" fmla="*/ 57764 w 125378"/>
                <a:gd name="connsiteY1" fmla="*/ 13433 h 116423"/>
                <a:gd name="connsiteX2" fmla="*/ 42539 w 125378"/>
                <a:gd name="connsiteY2" fmla="*/ 0 h 116423"/>
                <a:gd name="connsiteX3" fmla="*/ 27315 w 125378"/>
                <a:gd name="connsiteY3" fmla="*/ 13433 h 116423"/>
                <a:gd name="connsiteX4" fmla="*/ 2239 w 125378"/>
                <a:gd name="connsiteY4" fmla="*/ 13433 h 116423"/>
                <a:gd name="connsiteX5" fmla="*/ 0 w 125378"/>
                <a:gd name="connsiteY5" fmla="*/ 15672 h 116423"/>
                <a:gd name="connsiteX6" fmla="*/ 0 w 125378"/>
                <a:gd name="connsiteY6" fmla="*/ 22389 h 116423"/>
                <a:gd name="connsiteX7" fmla="*/ 448 w 125378"/>
                <a:gd name="connsiteY7" fmla="*/ 24180 h 116423"/>
                <a:gd name="connsiteX8" fmla="*/ 53734 w 125378"/>
                <a:gd name="connsiteY8" fmla="*/ 77466 h 116423"/>
                <a:gd name="connsiteX9" fmla="*/ 53734 w 125378"/>
                <a:gd name="connsiteY9" fmla="*/ 103438 h 116423"/>
                <a:gd name="connsiteX10" fmla="*/ 54181 w 125378"/>
                <a:gd name="connsiteY10" fmla="*/ 105229 h 116423"/>
                <a:gd name="connsiteX11" fmla="*/ 67615 w 125378"/>
                <a:gd name="connsiteY11" fmla="*/ 118662 h 116423"/>
                <a:gd name="connsiteX12" fmla="*/ 69406 w 125378"/>
                <a:gd name="connsiteY12" fmla="*/ 119110 h 116423"/>
                <a:gd name="connsiteX13" fmla="*/ 70302 w 125378"/>
                <a:gd name="connsiteY13" fmla="*/ 119110 h 116423"/>
                <a:gd name="connsiteX14" fmla="*/ 71645 w 125378"/>
                <a:gd name="connsiteY14" fmla="*/ 116871 h 116423"/>
                <a:gd name="connsiteX15" fmla="*/ 71645 w 125378"/>
                <a:gd name="connsiteY15" fmla="*/ 77019 h 116423"/>
                <a:gd name="connsiteX16" fmla="*/ 124931 w 125378"/>
                <a:gd name="connsiteY16" fmla="*/ 23732 h 116423"/>
                <a:gd name="connsiteX17" fmla="*/ 125379 w 125378"/>
                <a:gd name="connsiteY17" fmla="*/ 21941 h 116423"/>
                <a:gd name="connsiteX18" fmla="*/ 125379 w 125378"/>
                <a:gd name="connsiteY18" fmla="*/ 15225 h 116423"/>
                <a:gd name="connsiteX19" fmla="*/ 123140 w 125378"/>
                <a:gd name="connsiteY19" fmla="*/ 13433 h 116423"/>
                <a:gd name="connsiteX20" fmla="*/ 42539 w 125378"/>
                <a:gd name="connsiteY20" fmla="*/ 4478 h 116423"/>
                <a:gd name="connsiteX21" fmla="*/ 53286 w 125378"/>
                <a:gd name="connsiteY21" fmla="*/ 13433 h 116423"/>
                <a:gd name="connsiteX22" fmla="*/ 31345 w 125378"/>
                <a:gd name="connsiteY22" fmla="*/ 13433 h 116423"/>
                <a:gd name="connsiteX23" fmla="*/ 42539 w 125378"/>
                <a:gd name="connsiteY23" fmla="*/ 4478 h 116423"/>
                <a:gd name="connsiteX24" fmla="*/ 120901 w 125378"/>
                <a:gd name="connsiteY24" fmla="*/ 21493 h 116423"/>
                <a:gd name="connsiteX25" fmla="*/ 67615 w 125378"/>
                <a:gd name="connsiteY25" fmla="*/ 74780 h 116423"/>
                <a:gd name="connsiteX26" fmla="*/ 67167 w 125378"/>
                <a:gd name="connsiteY26" fmla="*/ 76571 h 116423"/>
                <a:gd name="connsiteX27" fmla="*/ 67167 w 125378"/>
                <a:gd name="connsiteY27" fmla="*/ 111498 h 116423"/>
                <a:gd name="connsiteX28" fmla="*/ 58212 w 125378"/>
                <a:gd name="connsiteY28" fmla="*/ 102542 h 116423"/>
                <a:gd name="connsiteX29" fmla="*/ 58212 w 125378"/>
                <a:gd name="connsiteY29" fmla="*/ 76571 h 116423"/>
                <a:gd name="connsiteX30" fmla="*/ 57764 w 125378"/>
                <a:gd name="connsiteY30" fmla="*/ 74780 h 116423"/>
                <a:gd name="connsiteX31" fmla="*/ 4478 w 125378"/>
                <a:gd name="connsiteY31" fmla="*/ 21493 h 116423"/>
                <a:gd name="connsiteX32" fmla="*/ 4478 w 125378"/>
                <a:gd name="connsiteY32" fmla="*/ 17911 h 116423"/>
                <a:gd name="connsiteX33" fmla="*/ 120901 w 125378"/>
                <a:gd name="connsiteY33" fmla="*/ 17911 h 116423"/>
                <a:gd name="connsiteX34" fmla="*/ 120901 w 125378"/>
                <a:gd name="connsiteY34" fmla="*/ 21493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378" h="116423">
                  <a:moveTo>
                    <a:pt x="123140" y="13433"/>
                  </a:moveTo>
                  <a:lnTo>
                    <a:pt x="57764" y="13433"/>
                  </a:lnTo>
                  <a:cubicBezTo>
                    <a:pt x="56868" y="5821"/>
                    <a:pt x="50151" y="0"/>
                    <a:pt x="42539" y="0"/>
                  </a:cubicBezTo>
                  <a:cubicBezTo>
                    <a:pt x="34927" y="0"/>
                    <a:pt x="28210" y="5821"/>
                    <a:pt x="27315" y="13433"/>
                  </a:cubicBezTo>
                  <a:lnTo>
                    <a:pt x="2239" y="13433"/>
                  </a:lnTo>
                  <a:cubicBezTo>
                    <a:pt x="895" y="13433"/>
                    <a:pt x="0" y="14329"/>
                    <a:pt x="0" y="15672"/>
                  </a:cubicBezTo>
                  <a:lnTo>
                    <a:pt x="0" y="22389"/>
                  </a:lnTo>
                  <a:cubicBezTo>
                    <a:pt x="0" y="22837"/>
                    <a:pt x="448" y="23732"/>
                    <a:pt x="448" y="24180"/>
                  </a:cubicBezTo>
                  <a:lnTo>
                    <a:pt x="53734" y="77466"/>
                  </a:lnTo>
                  <a:lnTo>
                    <a:pt x="53734" y="103438"/>
                  </a:lnTo>
                  <a:cubicBezTo>
                    <a:pt x="53734" y="103885"/>
                    <a:pt x="54181" y="104781"/>
                    <a:pt x="54181" y="105229"/>
                  </a:cubicBezTo>
                  <a:lnTo>
                    <a:pt x="67615" y="118662"/>
                  </a:lnTo>
                  <a:cubicBezTo>
                    <a:pt x="68063" y="119110"/>
                    <a:pt x="68511" y="119110"/>
                    <a:pt x="69406" y="119110"/>
                  </a:cubicBezTo>
                  <a:cubicBezTo>
                    <a:pt x="69854" y="119110"/>
                    <a:pt x="69854" y="119110"/>
                    <a:pt x="70302" y="119110"/>
                  </a:cubicBezTo>
                  <a:cubicBezTo>
                    <a:pt x="71197" y="118662"/>
                    <a:pt x="71645" y="117767"/>
                    <a:pt x="71645" y="116871"/>
                  </a:cubicBezTo>
                  <a:lnTo>
                    <a:pt x="71645" y="77019"/>
                  </a:lnTo>
                  <a:lnTo>
                    <a:pt x="124931" y="23732"/>
                  </a:lnTo>
                  <a:cubicBezTo>
                    <a:pt x="125379" y="23285"/>
                    <a:pt x="125379" y="22837"/>
                    <a:pt x="125379" y="21941"/>
                  </a:cubicBezTo>
                  <a:lnTo>
                    <a:pt x="125379" y="15225"/>
                  </a:lnTo>
                  <a:cubicBezTo>
                    <a:pt x="125379" y="14329"/>
                    <a:pt x="124483" y="13433"/>
                    <a:pt x="123140" y="13433"/>
                  </a:cubicBezTo>
                  <a:close/>
                  <a:moveTo>
                    <a:pt x="42539" y="4478"/>
                  </a:moveTo>
                  <a:cubicBezTo>
                    <a:pt x="47913" y="4478"/>
                    <a:pt x="52390" y="8508"/>
                    <a:pt x="53286" y="13433"/>
                  </a:cubicBezTo>
                  <a:lnTo>
                    <a:pt x="31345" y="13433"/>
                  </a:lnTo>
                  <a:cubicBezTo>
                    <a:pt x="32688" y="8508"/>
                    <a:pt x="37166" y="4478"/>
                    <a:pt x="42539" y="4478"/>
                  </a:cubicBezTo>
                  <a:close/>
                  <a:moveTo>
                    <a:pt x="120901" y="21493"/>
                  </a:moveTo>
                  <a:lnTo>
                    <a:pt x="67615" y="74780"/>
                  </a:lnTo>
                  <a:cubicBezTo>
                    <a:pt x="67167" y="75227"/>
                    <a:pt x="67167" y="75675"/>
                    <a:pt x="67167" y="76571"/>
                  </a:cubicBezTo>
                  <a:lnTo>
                    <a:pt x="67167" y="111498"/>
                  </a:lnTo>
                  <a:lnTo>
                    <a:pt x="58212" y="102542"/>
                  </a:lnTo>
                  <a:lnTo>
                    <a:pt x="58212" y="76571"/>
                  </a:lnTo>
                  <a:cubicBezTo>
                    <a:pt x="58212" y="76123"/>
                    <a:pt x="57764" y="75227"/>
                    <a:pt x="57764" y="74780"/>
                  </a:cubicBezTo>
                  <a:lnTo>
                    <a:pt x="4478" y="21493"/>
                  </a:lnTo>
                  <a:lnTo>
                    <a:pt x="4478" y="17911"/>
                  </a:lnTo>
                  <a:lnTo>
                    <a:pt x="120901" y="17911"/>
                  </a:lnTo>
                  <a:lnTo>
                    <a:pt x="120901" y="21493"/>
                  </a:lnTo>
                  <a:close/>
                </a:path>
              </a:pathLst>
            </a:custGeom>
            <a:solidFill>
              <a:srgbClr val="231F20"/>
            </a:solidFill>
            <a:ln w="4474" cap="flat">
              <a:noFill/>
              <a:prstDash val="solid"/>
              <a:miter/>
            </a:ln>
          </p:spPr>
          <p:txBody>
            <a:bodyPr rtlCol="0" anchor="ctr"/>
            <a:lstStyle/>
            <a:p>
              <a:endParaRPr lang="en-US"/>
            </a:p>
          </p:txBody>
        </p:sp>
        <p:sp>
          <p:nvSpPr>
            <p:cNvPr id="4402" name="Freeform: Shape 4401">
              <a:extLst>
                <a:ext uri="{FF2B5EF4-FFF2-40B4-BE49-F238E27FC236}">
                  <a16:creationId xmlns:a16="http://schemas.microsoft.com/office/drawing/2014/main" id="{0A6D724C-078F-4B65-84FD-4EA04CD4B4E5}"/>
                </a:ext>
              </a:extLst>
            </p:cNvPr>
            <p:cNvSpPr/>
            <p:nvPr/>
          </p:nvSpPr>
          <p:spPr>
            <a:xfrm>
              <a:off x="2228127" y="3509799"/>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403" name="Freeform: Shape 4402">
              <a:extLst>
                <a:ext uri="{FF2B5EF4-FFF2-40B4-BE49-F238E27FC236}">
                  <a16:creationId xmlns:a16="http://schemas.microsoft.com/office/drawing/2014/main" id="{9DB1CA0F-0E59-437A-8CCD-863D7BFDAA2E}"/>
                </a:ext>
              </a:extLst>
            </p:cNvPr>
            <p:cNvSpPr/>
            <p:nvPr/>
          </p:nvSpPr>
          <p:spPr>
            <a:xfrm>
              <a:off x="2254994" y="3509799"/>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4" y="31345"/>
                    <a:pt x="0" y="24180"/>
                    <a:pt x="0" y="15672"/>
                  </a:cubicBezTo>
                  <a:cubicBezTo>
                    <a:pt x="0" y="7165"/>
                    <a:pt x="7164" y="0"/>
                    <a:pt x="15672" y="0"/>
                  </a:cubicBezTo>
                  <a:cubicBezTo>
                    <a:pt x="24180" y="0"/>
                    <a:pt x="31345" y="7165"/>
                    <a:pt x="31345" y="15672"/>
                  </a:cubicBezTo>
                  <a:cubicBezTo>
                    <a:pt x="31345" y="24180"/>
                    <a:pt x="24180" y="31345"/>
                    <a:pt x="15672" y="31345"/>
                  </a:cubicBezTo>
                  <a:close/>
                  <a:moveTo>
                    <a:pt x="15672" y="4478"/>
                  </a:moveTo>
                  <a:cubicBezTo>
                    <a:pt x="9403" y="4478"/>
                    <a:pt x="4478" y="9404"/>
                    <a:pt x="4478" y="15672"/>
                  </a:cubicBezTo>
                  <a:cubicBezTo>
                    <a:pt x="4478" y="21941"/>
                    <a:pt x="9403" y="26867"/>
                    <a:pt x="15672" y="26867"/>
                  </a:cubicBezTo>
                  <a:cubicBezTo>
                    <a:pt x="21941" y="26867"/>
                    <a:pt x="26867" y="21941"/>
                    <a:pt x="26867" y="15672"/>
                  </a:cubicBezTo>
                  <a:cubicBezTo>
                    <a:pt x="26867" y="9404"/>
                    <a:pt x="21941" y="4478"/>
                    <a:pt x="15672" y="4478"/>
                  </a:cubicBezTo>
                  <a:close/>
                </a:path>
              </a:pathLst>
            </a:custGeom>
            <a:solidFill>
              <a:srgbClr val="231F20"/>
            </a:solidFill>
            <a:ln w="4474" cap="flat">
              <a:noFill/>
              <a:prstDash val="solid"/>
              <a:miter/>
            </a:ln>
          </p:spPr>
          <p:txBody>
            <a:bodyPr rtlCol="0" anchor="ctr"/>
            <a:lstStyle/>
            <a:p>
              <a:endParaRPr lang="en-US"/>
            </a:p>
          </p:txBody>
        </p:sp>
      </p:grpSp>
      <p:grpSp>
        <p:nvGrpSpPr>
          <p:cNvPr id="4404" name="Group 4403">
            <a:extLst>
              <a:ext uri="{FF2B5EF4-FFF2-40B4-BE49-F238E27FC236}">
                <a16:creationId xmlns:a16="http://schemas.microsoft.com/office/drawing/2014/main" id="{D654E7C4-7299-4A2E-A317-E7540CC2FF77}"/>
              </a:ext>
              <a:ext uri="{C183D7F6-B498-43B3-948B-1728B52AA6E4}">
                <adec:decorative xmlns:adec="http://schemas.microsoft.com/office/drawing/2017/decorative" val="1"/>
              </a:ext>
            </a:extLst>
          </p:cNvPr>
          <p:cNvGrpSpPr>
            <a:grpSpLocks noChangeAspect="1"/>
          </p:cNvGrpSpPr>
          <p:nvPr/>
        </p:nvGrpSpPr>
        <p:grpSpPr>
          <a:xfrm>
            <a:off x="2388296" y="4246837"/>
            <a:ext cx="152246" cy="152246"/>
            <a:chOff x="2381268" y="3492783"/>
            <a:chExt cx="152246" cy="152246"/>
          </a:xfrm>
        </p:grpSpPr>
        <p:sp>
          <p:nvSpPr>
            <p:cNvPr id="4405" name="Freeform: Shape 4404">
              <a:extLst>
                <a:ext uri="{FF2B5EF4-FFF2-40B4-BE49-F238E27FC236}">
                  <a16:creationId xmlns:a16="http://schemas.microsoft.com/office/drawing/2014/main" id="{FB7BBF17-F1F2-4A94-AFA2-9382C4090D9E}"/>
                </a:ext>
              </a:extLst>
            </p:cNvPr>
            <p:cNvSpPr/>
            <p:nvPr/>
          </p:nvSpPr>
          <p:spPr>
            <a:xfrm>
              <a:off x="2381268" y="3492783"/>
              <a:ext cx="152246" cy="152246"/>
            </a:xfrm>
            <a:custGeom>
              <a:avLst/>
              <a:gdLst>
                <a:gd name="connsiteX0" fmla="*/ 76123 w 152245"/>
                <a:gd name="connsiteY0" fmla="*/ 0 h 152245"/>
                <a:gd name="connsiteX1" fmla="*/ 39405 w 152245"/>
                <a:gd name="connsiteY1" fmla="*/ 9403 h 152245"/>
                <a:gd name="connsiteX2" fmla="*/ 38509 w 152245"/>
                <a:gd name="connsiteY2" fmla="*/ 12538 h 152245"/>
                <a:gd name="connsiteX3" fmla="*/ 41644 w 152245"/>
                <a:gd name="connsiteY3" fmla="*/ 13433 h 152245"/>
                <a:gd name="connsiteX4" fmla="*/ 76123 w 152245"/>
                <a:gd name="connsiteY4" fmla="*/ 4478 h 152245"/>
                <a:gd name="connsiteX5" fmla="*/ 147768 w 152245"/>
                <a:gd name="connsiteY5" fmla="*/ 76123 h 152245"/>
                <a:gd name="connsiteX6" fmla="*/ 118662 w 152245"/>
                <a:gd name="connsiteY6" fmla="*/ 133887 h 152245"/>
                <a:gd name="connsiteX7" fmla="*/ 76123 w 152245"/>
                <a:gd name="connsiteY7" fmla="*/ 147768 h 152245"/>
                <a:gd name="connsiteX8" fmla="*/ 4478 w 152245"/>
                <a:gd name="connsiteY8" fmla="*/ 76123 h 152245"/>
                <a:gd name="connsiteX9" fmla="*/ 12090 w 152245"/>
                <a:gd name="connsiteY9" fmla="*/ 43883 h 152245"/>
                <a:gd name="connsiteX10" fmla="*/ 11195 w 152245"/>
                <a:gd name="connsiteY10" fmla="*/ 40748 h 152245"/>
                <a:gd name="connsiteX11" fmla="*/ 8060 w 152245"/>
                <a:gd name="connsiteY11" fmla="*/ 41644 h 152245"/>
                <a:gd name="connsiteX12" fmla="*/ 0 w 152245"/>
                <a:gd name="connsiteY12" fmla="*/ 76123 h 152245"/>
                <a:gd name="connsiteX13" fmla="*/ 76123 w 152245"/>
                <a:gd name="connsiteY13" fmla="*/ 152246 h 152245"/>
                <a:gd name="connsiteX14" fmla="*/ 121349 w 152245"/>
                <a:gd name="connsiteY14" fmla="*/ 137469 h 152245"/>
                <a:gd name="connsiteX15" fmla="*/ 152246 w 152245"/>
                <a:gd name="connsiteY15" fmla="*/ 76123 h 152245"/>
                <a:gd name="connsiteX16" fmla="*/ 76123 w 152245"/>
                <a:gd name="connsiteY16" fmla="*/ 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245" h="152245">
                  <a:moveTo>
                    <a:pt x="76123" y="0"/>
                  </a:moveTo>
                  <a:cubicBezTo>
                    <a:pt x="63137" y="0"/>
                    <a:pt x="50599" y="3135"/>
                    <a:pt x="39405" y="9403"/>
                  </a:cubicBezTo>
                  <a:cubicBezTo>
                    <a:pt x="38509" y="9851"/>
                    <a:pt x="38061" y="11195"/>
                    <a:pt x="38509" y="12538"/>
                  </a:cubicBezTo>
                  <a:cubicBezTo>
                    <a:pt x="38957" y="13433"/>
                    <a:pt x="40300" y="13881"/>
                    <a:pt x="41644" y="13433"/>
                  </a:cubicBezTo>
                  <a:cubicBezTo>
                    <a:pt x="52391" y="7612"/>
                    <a:pt x="64033" y="4478"/>
                    <a:pt x="76123" y="4478"/>
                  </a:cubicBezTo>
                  <a:cubicBezTo>
                    <a:pt x="115528" y="4478"/>
                    <a:pt x="147768" y="36718"/>
                    <a:pt x="147768" y="76123"/>
                  </a:cubicBezTo>
                  <a:cubicBezTo>
                    <a:pt x="147768" y="98960"/>
                    <a:pt x="137021" y="120453"/>
                    <a:pt x="118662" y="133887"/>
                  </a:cubicBezTo>
                  <a:cubicBezTo>
                    <a:pt x="106124" y="142842"/>
                    <a:pt x="91795" y="147768"/>
                    <a:pt x="76123" y="147768"/>
                  </a:cubicBezTo>
                  <a:cubicBezTo>
                    <a:pt x="36718" y="147768"/>
                    <a:pt x="4478" y="115528"/>
                    <a:pt x="4478" y="76123"/>
                  </a:cubicBezTo>
                  <a:cubicBezTo>
                    <a:pt x="4478" y="64928"/>
                    <a:pt x="7165" y="53734"/>
                    <a:pt x="12090" y="43883"/>
                  </a:cubicBezTo>
                  <a:cubicBezTo>
                    <a:pt x="12538" y="42987"/>
                    <a:pt x="12090" y="41644"/>
                    <a:pt x="11195" y="40748"/>
                  </a:cubicBezTo>
                  <a:cubicBezTo>
                    <a:pt x="10299" y="40300"/>
                    <a:pt x="8956" y="40748"/>
                    <a:pt x="8060" y="41644"/>
                  </a:cubicBezTo>
                  <a:cubicBezTo>
                    <a:pt x="2687" y="52391"/>
                    <a:pt x="0" y="64033"/>
                    <a:pt x="0" y="76123"/>
                  </a:cubicBezTo>
                  <a:cubicBezTo>
                    <a:pt x="0" y="118214"/>
                    <a:pt x="34031" y="152246"/>
                    <a:pt x="76123" y="152246"/>
                  </a:cubicBezTo>
                  <a:cubicBezTo>
                    <a:pt x="92691" y="152246"/>
                    <a:pt x="107915" y="147320"/>
                    <a:pt x="121349" y="137469"/>
                  </a:cubicBezTo>
                  <a:cubicBezTo>
                    <a:pt x="140603" y="123140"/>
                    <a:pt x="152246" y="100303"/>
                    <a:pt x="152246" y="76123"/>
                  </a:cubicBezTo>
                  <a:cubicBezTo>
                    <a:pt x="152246" y="34031"/>
                    <a:pt x="118214" y="0"/>
                    <a:pt x="76123" y="0"/>
                  </a:cubicBezTo>
                  <a:close/>
                </a:path>
              </a:pathLst>
            </a:custGeom>
            <a:solidFill>
              <a:srgbClr val="231F20"/>
            </a:solidFill>
            <a:ln w="4474" cap="flat">
              <a:noFill/>
              <a:prstDash val="solid"/>
              <a:miter/>
            </a:ln>
          </p:spPr>
          <p:txBody>
            <a:bodyPr rtlCol="0" anchor="ctr"/>
            <a:lstStyle/>
            <a:p>
              <a:endParaRPr lang="en-US"/>
            </a:p>
          </p:txBody>
        </p:sp>
        <p:sp>
          <p:nvSpPr>
            <p:cNvPr id="4406" name="Freeform: Shape 4405">
              <a:extLst>
                <a:ext uri="{FF2B5EF4-FFF2-40B4-BE49-F238E27FC236}">
                  <a16:creationId xmlns:a16="http://schemas.microsoft.com/office/drawing/2014/main" id="{C9C4909C-F472-459E-98B5-3470EB7C712F}"/>
                </a:ext>
              </a:extLst>
            </p:cNvPr>
            <p:cNvSpPr/>
            <p:nvPr/>
          </p:nvSpPr>
          <p:spPr>
            <a:xfrm>
              <a:off x="2408135" y="3519650"/>
              <a:ext cx="98512" cy="94034"/>
            </a:xfrm>
            <a:custGeom>
              <a:avLst/>
              <a:gdLst>
                <a:gd name="connsiteX0" fmla="*/ 43435 w 98511"/>
                <a:gd name="connsiteY0" fmla="*/ 98064 h 94034"/>
                <a:gd name="connsiteX1" fmla="*/ 43435 w 98511"/>
                <a:gd name="connsiteY1" fmla="*/ 98064 h 94034"/>
                <a:gd name="connsiteX2" fmla="*/ 0 w 98511"/>
                <a:gd name="connsiteY2" fmla="*/ 49256 h 94034"/>
                <a:gd name="connsiteX3" fmla="*/ 49256 w 98511"/>
                <a:gd name="connsiteY3" fmla="*/ 0 h 94034"/>
                <a:gd name="connsiteX4" fmla="*/ 98512 w 98511"/>
                <a:gd name="connsiteY4" fmla="*/ 49256 h 94034"/>
                <a:gd name="connsiteX5" fmla="*/ 85974 w 98511"/>
                <a:gd name="connsiteY5" fmla="*/ 81944 h 94034"/>
                <a:gd name="connsiteX6" fmla="*/ 82840 w 98511"/>
                <a:gd name="connsiteY6" fmla="*/ 81944 h 94034"/>
                <a:gd name="connsiteX7" fmla="*/ 82840 w 98511"/>
                <a:gd name="connsiteY7" fmla="*/ 78809 h 94034"/>
                <a:gd name="connsiteX8" fmla="*/ 94034 w 98511"/>
                <a:gd name="connsiteY8" fmla="*/ 49256 h 94034"/>
                <a:gd name="connsiteX9" fmla="*/ 49256 w 98511"/>
                <a:gd name="connsiteY9" fmla="*/ 4478 h 94034"/>
                <a:gd name="connsiteX10" fmla="*/ 4478 w 98511"/>
                <a:gd name="connsiteY10" fmla="*/ 49256 h 94034"/>
                <a:gd name="connsiteX11" fmla="*/ 43883 w 98511"/>
                <a:gd name="connsiteY11" fmla="*/ 93586 h 94034"/>
                <a:gd name="connsiteX12" fmla="*/ 45674 w 98511"/>
                <a:gd name="connsiteY12" fmla="*/ 96273 h 94034"/>
                <a:gd name="connsiteX13" fmla="*/ 43435 w 98511"/>
                <a:gd name="connsiteY13" fmla="*/ 98064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511" h="94034">
                  <a:moveTo>
                    <a:pt x="43435" y="98064"/>
                  </a:moveTo>
                  <a:cubicBezTo>
                    <a:pt x="43435" y="98064"/>
                    <a:pt x="43435" y="98064"/>
                    <a:pt x="43435" y="98064"/>
                  </a:cubicBezTo>
                  <a:cubicBezTo>
                    <a:pt x="18359" y="94930"/>
                    <a:pt x="0" y="73884"/>
                    <a:pt x="0" y="49256"/>
                  </a:cubicBezTo>
                  <a:cubicBezTo>
                    <a:pt x="0" y="21941"/>
                    <a:pt x="21941" y="0"/>
                    <a:pt x="49256" y="0"/>
                  </a:cubicBezTo>
                  <a:cubicBezTo>
                    <a:pt x="76571" y="0"/>
                    <a:pt x="98512" y="21941"/>
                    <a:pt x="98512" y="49256"/>
                  </a:cubicBezTo>
                  <a:cubicBezTo>
                    <a:pt x="98512" y="61346"/>
                    <a:pt x="94034" y="72988"/>
                    <a:pt x="85974" y="81944"/>
                  </a:cubicBezTo>
                  <a:cubicBezTo>
                    <a:pt x="85079" y="82840"/>
                    <a:pt x="83735" y="82840"/>
                    <a:pt x="82840" y="81944"/>
                  </a:cubicBezTo>
                  <a:cubicBezTo>
                    <a:pt x="81944" y="81048"/>
                    <a:pt x="81944" y="79705"/>
                    <a:pt x="82840" y="78809"/>
                  </a:cubicBezTo>
                  <a:cubicBezTo>
                    <a:pt x="90004" y="70749"/>
                    <a:pt x="94034" y="60003"/>
                    <a:pt x="94034" y="49256"/>
                  </a:cubicBezTo>
                  <a:cubicBezTo>
                    <a:pt x="94034" y="24628"/>
                    <a:pt x="73884" y="4478"/>
                    <a:pt x="49256" y="4478"/>
                  </a:cubicBezTo>
                  <a:cubicBezTo>
                    <a:pt x="24628" y="4478"/>
                    <a:pt x="4478" y="24628"/>
                    <a:pt x="4478" y="49256"/>
                  </a:cubicBezTo>
                  <a:cubicBezTo>
                    <a:pt x="4478" y="72093"/>
                    <a:pt x="21494" y="90900"/>
                    <a:pt x="43883" y="93586"/>
                  </a:cubicBezTo>
                  <a:cubicBezTo>
                    <a:pt x="45226" y="93586"/>
                    <a:pt x="46122" y="94930"/>
                    <a:pt x="45674" y="96273"/>
                  </a:cubicBezTo>
                  <a:cubicBezTo>
                    <a:pt x="45674" y="97616"/>
                    <a:pt x="44778" y="98064"/>
                    <a:pt x="43435" y="98064"/>
                  </a:cubicBezTo>
                  <a:close/>
                </a:path>
              </a:pathLst>
            </a:custGeom>
            <a:solidFill>
              <a:srgbClr val="231F20"/>
            </a:solidFill>
            <a:ln w="4474" cap="flat">
              <a:noFill/>
              <a:prstDash val="solid"/>
              <a:miter/>
            </a:ln>
          </p:spPr>
          <p:txBody>
            <a:bodyPr rtlCol="0" anchor="ctr"/>
            <a:lstStyle/>
            <a:p>
              <a:endParaRPr lang="en-US"/>
            </a:p>
          </p:txBody>
        </p:sp>
        <p:sp>
          <p:nvSpPr>
            <p:cNvPr id="4407" name="Freeform: Shape 4406">
              <a:extLst>
                <a:ext uri="{FF2B5EF4-FFF2-40B4-BE49-F238E27FC236}">
                  <a16:creationId xmlns:a16="http://schemas.microsoft.com/office/drawing/2014/main" id="{90F95A53-2B02-4964-90FD-7DEB565E0F8A}"/>
                </a:ext>
              </a:extLst>
            </p:cNvPr>
            <p:cNvSpPr/>
            <p:nvPr/>
          </p:nvSpPr>
          <p:spPr>
            <a:xfrm>
              <a:off x="2435002" y="3546517"/>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479"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408" name="Freeform: Shape 4407">
              <a:extLst>
                <a:ext uri="{FF2B5EF4-FFF2-40B4-BE49-F238E27FC236}">
                  <a16:creationId xmlns:a16="http://schemas.microsoft.com/office/drawing/2014/main" id="{B702161A-CAD1-420D-8991-7E3EC35E3CBF}"/>
                </a:ext>
              </a:extLst>
            </p:cNvPr>
            <p:cNvSpPr/>
            <p:nvPr/>
          </p:nvSpPr>
          <p:spPr>
            <a:xfrm>
              <a:off x="2387985" y="3502635"/>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941" y="4478"/>
                    <a:pt x="15672" y="4478"/>
                  </a:cubicBezTo>
                  <a:close/>
                </a:path>
              </a:pathLst>
            </a:custGeom>
            <a:solidFill>
              <a:srgbClr val="231F20"/>
            </a:solidFill>
            <a:ln w="4474" cap="flat">
              <a:noFill/>
              <a:prstDash val="solid"/>
              <a:miter/>
            </a:ln>
          </p:spPr>
          <p:txBody>
            <a:bodyPr rtlCol="0" anchor="ctr"/>
            <a:lstStyle/>
            <a:p>
              <a:endParaRPr lang="en-US"/>
            </a:p>
          </p:txBody>
        </p:sp>
        <p:sp>
          <p:nvSpPr>
            <p:cNvPr id="4409" name="Freeform: Shape 4408">
              <a:extLst>
                <a:ext uri="{FF2B5EF4-FFF2-40B4-BE49-F238E27FC236}">
                  <a16:creationId xmlns:a16="http://schemas.microsoft.com/office/drawing/2014/main" id="{4065B3DD-97D3-495C-9668-C47404A424CF}"/>
                </a:ext>
              </a:extLst>
            </p:cNvPr>
            <p:cNvSpPr/>
            <p:nvPr/>
          </p:nvSpPr>
          <p:spPr>
            <a:xfrm>
              <a:off x="2457839" y="3598012"/>
              <a:ext cx="31345" cy="31345"/>
            </a:xfrm>
            <a:custGeom>
              <a:avLst/>
              <a:gdLst>
                <a:gd name="connsiteX0" fmla="*/ 15672 w 31344"/>
                <a:gd name="connsiteY0" fmla="*/ 31345 h 31344"/>
                <a:gd name="connsiteX1" fmla="*/ 0 w 31344"/>
                <a:gd name="connsiteY1" fmla="*/ 15672 h 31344"/>
                <a:gd name="connsiteX2" fmla="*/ 15672 w 31344"/>
                <a:gd name="connsiteY2" fmla="*/ 0 h 31344"/>
                <a:gd name="connsiteX3" fmla="*/ 31345 w 31344"/>
                <a:gd name="connsiteY3" fmla="*/ 15672 h 31344"/>
                <a:gd name="connsiteX4" fmla="*/ 15672 w 31344"/>
                <a:gd name="connsiteY4" fmla="*/ 31345 h 31344"/>
                <a:gd name="connsiteX5" fmla="*/ 15672 w 31344"/>
                <a:gd name="connsiteY5" fmla="*/ 4478 h 31344"/>
                <a:gd name="connsiteX6" fmla="*/ 4478 w 31344"/>
                <a:gd name="connsiteY6" fmla="*/ 15672 h 31344"/>
                <a:gd name="connsiteX7" fmla="*/ 15672 w 31344"/>
                <a:gd name="connsiteY7" fmla="*/ 26867 h 31344"/>
                <a:gd name="connsiteX8" fmla="*/ 26867 w 31344"/>
                <a:gd name="connsiteY8" fmla="*/ 15672 h 31344"/>
                <a:gd name="connsiteX9" fmla="*/ 15672 w 31344"/>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4"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628"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941" y="4478"/>
                    <a:pt x="15672" y="4478"/>
                  </a:cubicBezTo>
                  <a:close/>
                </a:path>
              </a:pathLst>
            </a:custGeom>
            <a:solidFill>
              <a:srgbClr val="231F20"/>
            </a:solidFill>
            <a:ln w="4474" cap="flat">
              <a:noFill/>
              <a:prstDash val="solid"/>
              <a:miter/>
            </a:ln>
          </p:spPr>
          <p:txBody>
            <a:bodyPr rtlCol="0" anchor="ctr"/>
            <a:lstStyle/>
            <a:p>
              <a:endParaRPr lang="en-US"/>
            </a:p>
          </p:txBody>
        </p:sp>
      </p:grpSp>
      <p:grpSp>
        <p:nvGrpSpPr>
          <p:cNvPr id="4410" name="Group 4409">
            <a:extLst>
              <a:ext uri="{FF2B5EF4-FFF2-40B4-BE49-F238E27FC236}">
                <a16:creationId xmlns:a16="http://schemas.microsoft.com/office/drawing/2014/main" id="{7E4E28A6-D79B-4A8C-A819-76FE17802620}"/>
              </a:ext>
              <a:ext uri="{C183D7F6-B498-43B3-948B-1728B52AA6E4}">
                <adec:decorative xmlns:adec="http://schemas.microsoft.com/office/drawing/2017/decorative" val="1"/>
              </a:ext>
            </a:extLst>
          </p:cNvPr>
          <p:cNvGrpSpPr>
            <a:grpSpLocks noChangeAspect="1"/>
          </p:cNvGrpSpPr>
          <p:nvPr/>
        </p:nvGrpSpPr>
        <p:grpSpPr>
          <a:xfrm>
            <a:off x="2653961" y="4245238"/>
            <a:ext cx="152246" cy="152246"/>
            <a:chOff x="2694715" y="3509799"/>
            <a:chExt cx="152246" cy="152246"/>
          </a:xfrm>
        </p:grpSpPr>
        <p:sp>
          <p:nvSpPr>
            <p:cNvPr id="4411" name="Freeform: Shape 4410">
              <a:extLst>
                <a:ext uri="{FF2B5EF4-FFF2-40B4-BE49-F238E27FC236}">
                  <a16:creationId xmlns:a16="http://schemas.microsoft.com/office/drawing/2014/main" id="{B1B220AF-AA8D-4F9C-A75B-CA02241807A6}"/>
                </a:ext>
              </a:extLst>
            </p:cNvPr>
            <p:cNvSpPr/>
            <p:nvPr/>
          </p:nvSpPr>
          <p:spPr>
            <a:xfrm>
              <a:off x="2748001" y="3563533"/>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927"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412" name="Freeform: Shape 4411">
              <a:extLst>
                <a:ext uri="{FF2B5EF4-FFF2-40B4-BE49-F238E27FC236}">
                  <a16:creationId xmlns:a16="http://schemas.microsoft.com/office/drawing/2014/main" id="{6A2F575E-E6A5-43C2-B27A-C30821D28AE1}"/>
                </a:ext>
              </a:extLst>
            </p:cNvPr>
            <p:cNvSpPr/>
            <p:nvPr/>
          </p:nvSpPr>
          <p:spPr>
            <a:xfrm>
              <a:off x="2721134" y="3536666"/>
              <a:ext cx="98512" cy="98512"/>
            </a:xfrm>
            <a:custGeom>
              <a:avLst/>
              <a:gdLst>
                <a:gd name="connsiteX0" fmla="*/ 49256 w 98511"/>
                <a:gd name="connsiteY0" fmla="*/ 98512 h 98511"/>
                <a:gd name="connsiteX1" fmla="*/ 0 w 98511"/>
                <a:gd name="connsiteY1" fmla="*/ 49256 h 98511"/>
                <a:gd name="connsiteX2" fmla="*/ 49256 w 98511"/>
                <a:gd name="connsiteY2" fmla="*/ 0 h 98511"/>
                <a:gd name="connsiteX3" fmla="*/ 98512 w 98511"/>
                <a:gd name="connsiteY3" fmla="*/ 49256 h 98511"/>
                <a:gd name="connsiteX4" fmla="*/ 49256 w 98511"/>
                <a:gd name="connsiteY4" fmla="*/ 98512 h 98511"/>
                <a:gd name="connsiteX5" fmla="*/ 49256 w 98511"/>
                <a:gd name="connsiteY5" fmla="*/ 4478 h 98511"/>
                <a:gd name="connsiteX6" fmla="*/ 4478 w 98511"/>
                <a:gd name="connsiteY6" fmla="*/ 49256 h 98511"/>
                <a:gd name="connsiteX7" fmla="*/ 49256 w 98511"/>
                <a:gd name="connsiteY7" fmla="*/ 94034 h 98511"/>
                <a:gd name="connsiteX8" fmla="*/ 94034 w 98511"/>
                <a:gd name="connsiteY8" fmla="*/ 49256 h 98511"/>
                <a:gd name="connsiteX9" fmla="*/ 49256 w 98511"/>
                <a:gd name="connsiteY9" fmla="*/ 447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11" h="98511">
                  <a:moveTo>
                    <a:pt x="49256" y="98512"/>
                  </a:moveTo>
                  <a:cubicBezTo>
                    <a:pt x="21941" y="98512"/>
                    <a:pt x="0" y="76571"/>
                    <a:pt x="0" y="49256"/>
                  </a:cubicBezTo>
                  <a:cubicBezTo>
                    <a:pt x="0" y="21941"/>
                    <a:pt x="21941" y="0"/>
                    <a:pt x="49256" y="0"/>
                  </a:cubicBezTo>
                  <a:cubicBezTo>
                    <a:pt x="76571" y="0"/>
                    <a:pt x="98512" y="21941"/>
                    <a:pt x="98512" y="49256"/>
                  </a:cubicBezTo>
                  <a:cubicBezTo>
                    <a:pt x="98512" y="76571"/>
                    <a:pt x="76571" y="98512"/>
                    <a:pt x="49256" y="98512"/>
                  </a:cubicBezTo>
                  <a:close/>
                  <a:moveTo>
                    <a:pt x="49256" y="4478"/>
                  </a:moveTo>
                  <a:cubicBezTo>
                    <a:pt x="24628" y="4478"/>
                    <a:pt x="4478" y="24628"/>
                    <a:pt x="4478" y="49256"/>
                  </a:cubicBezTo>
                  <a:cubicBezTo>
                    <a:pt x="4478" y="73884"/>
                    <a:pt x="24628" y="94034"/>
                    <a:pt x="49256" y="94034"/>
                  </a:cubicBezTo>
                  <a:cubicBezTo>
                    <a:pt x="73884" y="94034"/>
                    <a:pt x="94034" y="73884"/>
                    <a:pt x="94034" y="49256"/>
                  </a:cubicBezTo>
                  <a:cubicBezTo>
                    <a:pt x="94034" y="24628"/>
                    <a:pt x="74332" y="4478"/>
                    <a:pt x="49256" y="4478"/>
                  </a:cubicBezTo>
                  <a:close/>
                </a:path>
              </a:pathLst>
            </a:custGeom>
            <a:solidFill>
              <a:srgbClr val="231F20"/>
            </a:solidFill>
            <a:ln w="4474" cap="flat">
              <a:noFill/>
              <a:prstDash val="solid"/>
              <a:miter/>
            </a:ln>
          </p:spPr>
          <p:txBody>
            <a:bodyPr rtlCol="0" anchor="ctr"/>
            <a:lstStyle/>
            <a:p>
              <a:endParaRPr lang="en-US"/>
            </a:p>
          </p:txBody>
        </p:sp>
        <p:sp>
          <p:nvSpPr>
            <p:cNvPr id="4413" name="Freeform: Shape 4412">
              <a:extLst>
                <a:ext uri="{FF2B5EF4-FFF2-40B4-BE49-F238E27FC236}">
                  <a16:creationId xmlns:a16="http://schemas.microsoft.com/office/drawing/2014/main" id="{8D6C80DF-66B1-4DFF-8693-B7E89846E2EC}"/>
                </a:ext>
              </a:extLst>
            </p:cNvPr>
            <p:cNvSpPr/>
            <p:nvPr/>
          </p:nvSpPr>
          <p:spPr>
            <a:xfrm>
              <a:off x="2694715" y="3509799"/>
              <a:ext cx="152246" cy="152246"/>
            </a:xfrm>
            <a:custGeom>
              <a:avLst/>
              <a:gdLst>
                <a:gd name="connsiteX0" fmla="*/ 76123 w 152245"/>
                <a:gd name="connsiteY0" fmla="*/ 152246 h 152245"/>
                <a:gd name="connsiteX1" fmla="*/ 0 w 152245"/>
                <a:gd name="connsiteY1" fmla="*/ 76123 h 152245"/>
                <a:gd name="connsiteX2" fmla="*/ 76123 w 152245"/>
                <a:gd name="connsiteY2" fmla="*/ 0 h 152245"/>
                <a:gd name="connsiteX3" fmla="*/ 152246 w 152245"/>
                <a:gd name="connsiteY3" fmla="*/ 76123 h 152245"/>
                <a:gd name="connsiteX4" fmla="*/ 76123 w 152245"/>
                <a:gd name="connsiteY4" fmla="*/ 152246 h 152245"/>
                <a:gd name="connsiteX5" fmla="*/ 76123 w 152245"/>
                <a:gd name="connsiteY5" fmla="*/ 4478 h 152245"/>
                <a:gd name="connsiteX6" fmla="*/ 4478 w 152245"/>
                <a:gd name="connsiteY6" fmla="*/ 76123 h 152245"/>
                <a:gd name="connsiteX7" fmla="*/ 76123 w 152245"/>
                <a:gd name="connsiteY7" fmla="*/ 147768 h 152245"/>
                <a:gd name="connsiteX8" fmla="*/ 147768 w 152245"/>
                <a:gd name="connsiteY8" fmla="*/ 76123 h 152245"/>
                <a:gd name="connsiteX9" fmla="*/ 76123 w 152245"/>
                <a:gd name="connsiteY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152246"/>
                  </a:moveTo>
                  <a:cubicBezTo>
                    <a:pt x="34031" y="152246"/>
                    <a:pt x="0" y="118214"/>
                    <a:pt x="0" y="76123"/>
                  </a:cubicBezTo>
                  <a:cubicBezTo>
                    <a:pt x="0" y="34032"/>
                    <a:pt x="34031" y="0"/>
                    <a:pt x="76123" y="0"/>
                  </a:cubicBezTo>
                  <a:cubicBezTo>
                    <a:pt x="118214" y="0"/>
                    <a:pt x="152246" y="34032"/>
                    <a:pt x="152246" y="76123"/>
                  </a:cubicBezTo>
                  <a:cubicBezTo>
                    <a:pt x="152246" y="118214"/>
                    <a:pt x="118214" y="152246"/>
                    <a:pt x="76123" y="152246"/>
                  </a:cubicBezTo>
                  <a:close/>
                  <a:moveTo>
                    <a:pt x="76123" y="4478"/>
                  </a:moveTo>
                  <a:cubicBezTo>
                    <a:pt x="36718" y="4478"/>
                    <a:pt x="4478" y="36718"/>
                    <a:pt x="4478" y="76123"/>
                  </a:cubicBezTo>
                  <a:cubicBezTo>
                    <a:pt x="4478" y="115528"/>
                    <a:pt x="36718" y="147768"/>
                    <a:pt x="76123" y="147768"/>
                  </a:cubicBezTo>
                  <a:cubicBezTo>
                    <a:pt x="115528" y="147768"/>
                    <a:pt x="147768" y="115528"/>
                    <a:pt x="147768" y="76123"/>
                  </a:cubicBezTo>
                  <a:cubicBezTo>
                    <a:pt x="147768" y="36718"/>
                    <a:pt x="115528" y="4478"/>
                    <a:pt x="76123" y="4478"/>
                  </a:cubicBezTo>
                  <a:close/>
                </a:path>
              </a:pathLst>
            </a:custGeom>
            <a:solidFill>
              <a:srgbClr val="231F20"/>
            </a:solidFill>
            <a:ln w="4474" cap="flat">
              <a:noFill/>
              <a:prstDash val="solid"/>
              <a:miter/>
            </a:ln>
          </p:spPr>
          <p:txBody>
            <a:bodyPr rtlCol="0" anchor="ctr"/>
            <a:lstStyle/>
            <a:p>
              <a:endParaRPr lang="en-US"/>
            </a:p>
          </p:txBody>
        </p:sp>
      </p:grpSp>
      <p:sp>
        <p:nvSpPr>
          <p:cNvPr id="4414" name="Freeform: Shape 4413">
            <a:extLst>
              <a:ext uri="{FF2B5EF4-FFF2-40B4-BE49-F238E27FC236}">
                <a16:creationId xmlns:a16="http://schemas.microsoft.com/office/drawing/2014/main" id="{8F316D6C-C72C-4227-A74D-D86EFCE022B2}"/>
              </a:ext>
              <a:ext uri="{C183D7F6-B498-43B3-948B-1728B52AA6E4}">
                <adec:decorative xmlns:adec="http://schemas.microsoft.com/office/drawing/2017/decorative" val="1"/>
              </a:ext>
            </a:extLst>
          </p:cNvPr>
          <p:cNvSpPr>
            <a:spLocks noChangeAspect="1"/>
          </p:cNvSpPr>
          <p:nvPr/>
        </p:nvSpPr>
        <p:spPr>
          <a:xfrm>
            <a:off x="3169358" y="4232067"/>
            <a:ext cx="161201" cy="165679"/>
          </a:xfrm>
          <a:custGeom>
            <a:avLst/>
            <a:gdLst>
              <a:gd name="connsiteX0" fmla="*/ 149559 w 161201"/>
              <a:gd name="connsiteY0" fmla="*/ 31082 h 165679"/>
              <a:gd name="connsiteX1" fmla="*/ 151350 w 161201"/>
              <a:gd name="connsiteY1" fmla="*/ 30635 h 165679"/>
              <a:gd name="connsiteX2" fmla="*/ 164784 w 161201"/>
              <a:gd name="connsiteY2" fmla="*/ 17201 h 165679"/>
              <a:gd name="connsiteX3" fmla="*/ 165232 w 161201"/>
              <a:gd name="connsiteY3" fmla="*/ 14962 h 165679"/>
              <a:gd name="connsiteX4" fmla="*/ 162993 w 161201"/>
              <a:gd name="connsiteY4" fmla="*/ 13619 h 165679"/>
              <a:gd name="connsiteX5" fmla="*/ 151798 w 161201"/>
              <a:gd name="connsiteY5" fmla="*/ 13619 h 165679"/>
              <a:gd name="connsiteX6" fmla="*/ 151798 w 161201"/>
              <a:gd name="connsiteY6" fmla="*/ 2424 h 165679"/>
              <a:gd name="connsiteX7" fmla="*/ 150455 w 161201"/>
              <a:gd name="connsiteY7" fmla="*/ 186 h 165679"/>
              <a:gd name="connsiteX8" fmla="*/ 148216 w 161201"/>
              <a:gd name="connsiteY8" fmla="*/ 633 h 165679"/>
              <a:gd name="connsiteX9" fmla="*/ 134782 w 161201"/>
              <a:gd name="connsiteY9" fmla="*/ 14067 h 165679"/>
              <a:gd name="connsiteX10" fmla="*/ 134335 w 161201"/>
              <a:gd name="connsiteY10" fmla="*/ 15858 h 165679"/>
              <a:gd name="connsiteX11" fmla="*/ 134335 w 161201"/>
              <a:gd name="connsiteY11" fmla="*/ 28396 h 165679"/>
              <a:gd name="connsiteX12" fmla="*/ 128065 w 161201"/>
              <a:gd name="connsiteY12" fmla="*/ 34665 h 165679"/>
              <a:gd name="connsiteX13" fmla="*/ 76123 w 161201"/>
              <a:gd name="connsiteY13" fmla="*/ 14067 h 165679"/>
              <a:gd name="connsiteX14" fmla="*/ 0 w 161201"/>
              <a:gd name="connsiteY14" fmla="*/ 90190 h 165679"/>
              <a:gd name="connsiteX15" fmla="*/ 76123 w 161201"/>
              <a:gd name="connsiteY15" fmla="*/ 166312 h 165679"/>
              <a:gd name="connsiteX16" fmla="*/ 152246 w 161201"/>
              <a:gd name="connsiteY16" fmla="*/ 90190 h 165679"/>
              <a:gd name="connsiteX17" fmla="*/ 131648 w 161201"/>
              <a:gd name="connsiteY17" fmla="*/ 38247 h 165679"/>
              <a:gd name="connsiteX18" fmla="*/ 137917 w 161201"/>
              <a:gd name="connsiteY18" fmla="*/ 31978 h 165679"/>
              <a:gd name="connsiteX19" fmla="*/ 149559 w 161201"/>
              <a:gd name="connsiteY19" fmla="*/ 31978 h 165679"/>
              <a:gd name="connsiteX20" fmla="*/ 138365 w 161201"/>
              <a:gd name="connsiteY20" fmla="*/ 16306 h 165679"/>
              <a:gd name="connsiteX21" fmla="*/ 147320 w 161201"/>
              <a:gd name="connsiteY21" fmla="*/ 7350 h 165679"/>
              <a:gd name="connsiteX22" fmla="*/ 147320 w 161201"/>
              <a:gd name="connsiteY22" fmla="*/ 15410 h 165679"/>
              <a:gd name="connsiteX23" fmla="*/ 149559 w 161201"/>
              <a:gd name="connsiteY23" fmla="*/ 17649 h 165679"/>
              <a:gd name="connsiteX24" fmla="*/ 157619 w 161201"/>
              <a:gd name="connsiteY24" fmla="*/ 17649 h 165679"/>
              <a:gd name="connsiteX25" fmla="*/ 148664 w 161201"/>
              <a:gd name="connsiteY25" fmla="*/ 26605 h 165679"/>
              <a:gd name="connsiteX26" fmla="*/ 138365 w 161201"/>
              <a:gd name="connsiteY26" fmla="*/ 26605 h 165679"/>
              <a:gd name="connsiteX27" fmla="*/ 138365 w 161201"/>
              <a:gd name="connsiteY27" fmla="*/ 16306 h 165679"/>
              <a:gd name="connsiteX28" fmla="*/ 147320 w 161201"/>
              <a:gd name="connsiteY28" fmla="*/ 89294 h 165679"/>
              <a:gd name="connsiteX29" fmla="*/ 75675 w 161201"/>
              <a:gd name="connsiteY29" fmla="*/ 160939 h 165679"/>
              <a:gd name="connsiteX30" fmla="*/ 4030 w 161201"/>
              <a:gd name="connsiteY30" fmla="*/ 89294 h 165679"/>
              <a:gd name="connsiteX31" fmla="*/ 75675 w 161201"/>
              <a:gd name="connsiteY31" fmla="*/ 17649 h 165679"/>
              <a:gd name="connsiteX32" fmla="*/ 124483 w 161201"/>
              <a:gd name="connsiteY32" fmla="*/ 37351 h 165679"/>
              <a:gd name="connsiteX33" fmla="*/ 108811 w 161201"/>
              <a:gd name="connsiteY33" fmla="*/ 53024 h 165679"/>
              <a:gd name="connsiteX34" fmla="*/ 75675 w 161201"/>
              <a:gd name="connsiteY34" fmla="*/ 40038 h 165679"/>
              <a:gd name="connsiteX35" fmla="*/ 26419 w 161201"/>
              <a:gd name="connsiteY35" fmla="*/ 89294 h 165679"/>
              <a:gd name="connsiteX36" fmla="*/ 75675 w 161201"/>
              <a:gd name="connsiteY36" fmla="*/ 138550 h 165679"/>
              <a:gd name="connsiteX37" fmla="*/ 124931 w 161201"/>
              <a:gd name="connsiteY37" fmla="*/ 89294 h 165679"/>
              <a:gd name="connsiteX38" fmla="*/ 111945 w 161201"/>
              <a:gd name="connsiteY38" fmla="*/ 56158 h 165679"/>
              <a:gd name="connsiteX39" fmla="*/ 127618 w 161201"/>
              <a:gd name="connsiteY39" fmla="*/ 40486 h 165679"/>
              <a:gd name="connsiteX40" fmla="*/ 147320 w 161201"/>
              <a:gd name="connsiteY40" fmla="*/ 89294 h 165679"/>
              <a:gd name="connsiteX41" fmla="*/ 76123 w 161201"/>
              <a:gd name="connsiteY41" fmla="*/ 89294 h 165679"/>
              <a:gd name="connsiteX42" fmla="*/ 77914 w 161201"/>
              <a:gd name="connsiteY42" fmla="*/ 89742 h 165679"/>
              <a:gd name="connsiteX43" fmla="*/ 79705 w 161201"/>
              <a:gd name="connsiteY43" fmla="*/ 89294 h 165679"/>
              <a:gd name="connsiteX44" fmla="*/ 90452 w 161201"/>
              <a:gd name="connsiteY44" fmla="*/ 78547 h 165679"/>
              <a:gd name="connsiteX45" fmla="*/ 94482 w 161201"/>
              <a:gd name="connsiteY45" fmla="*/ 89294 h 165679"/>
              <a:gd name="connsiteX46" fmla="*/ 76571 w 161201"/>
              <a:gd name="connsiteY46" fmla="*/ 107205 h 165679"/>
              <a:gd name="connsiteX47" fmla="*/ 58659 w 161201"/>
              <a:gd name="connsiteY47" fmla="*/ 89294 h 165679"/>
              <a:gd name="connsiteX48" fmla="*/ 76571 w 161201"/>
              <a:gd name="connsiteY48" fmla="*/ 71383 h 165679"/>
              <a:gd name="connsiteX49" fmla="*/ 87317 w 161201"/>
              <a:gd name="connsiteY49" fmla="*/ 75413 h 165679"/>
              <a:gd name="connsiteX50" fmla="*/ 76571 w 161201"/>
              <a:gd name="connsiteY50" fmla="*/ 86159 h 165679"/>
              <a:gd name="connsiteX51" fmla="*/ 76123 w 161201"/>
              <a:gd name="connsiteY51" fmla="*/ 89294 h 165679"/>
              <a:gd name="connsiteX52" fmla="*/ 90004 w 161201"/>
              <a:gd name="connsiteY52" fmla="*/ 72278 h 165679"/>
              <a:gd name="connsiteX53" fmla="*/ 76123 w 161201"/>
              <a:gd name="connsiteY53" fmla="*/ 67353 h 165679"/>
              <a:gd name="connsiteX54" fmla="*/ 53734 w 161201"/>
              <a:gd name="connsiteY54" fmla="*/ 89742 h 165679"/>
              <a:gd name="connsiteX55" fmla="*/ 76123 w 161201"/>
              <a:gd name="connsiteY55" fmla="*/ 112131 h 165679"/>
              <a:gd name="connsiteX56" fmla="*/ 98512 w 161201"/>
              <a:gd name="connsiteY56" fmla="*/ 89742 h 165679"/>
              <a:gd name="connsiteX57" fmla="*/ 93587 w 161201"/>
              <a:gd name="connsiteY57" fmla="*/ 75861 h 165679"/>
              <a:gd name="connsiteX58" fmla="*/ 109707 w 161201"/>
              <a:gd name="connsiteY58" fmla="*/ 59740 h 165679"/>
              <a:gd name="connsiteX59" fmla="*/ 121349 w 161201"/>
              <a:gd name="connsiteY59" fmla="*/ 89742 h 165679"/>
              <a:gd name="connsiteX60" fmla="*/ 76571 w 161201"/>
              <a:gd name="connsiteY60" fmla="*/ 134520 h 165679"/>
              <a:gd name="connsiteX61" fmla="*/ 31792 w 161201"/>
              <a:gd name="connsiteY61" fmla="*/ 89742 h 165679"/>
              <a:gd name="connsiteX62" fmla="*/ 76571 w 161201"/>
              <a:gd name="connsiteY62" fmla="*/ 44964 h 165679"/>
              <a:gd name="connsiteX63" fmla="*/ 106572 w 161201"/>
              <a:gd name="connsiteY63" fmla="*/ 56606 h 165679"/>
              <a:gd name="connsiteX64" fmla="*/ 90004 w 161201"/>
              <a:gd name="connsiteY64" fmla="*/ 72278 h 16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1201" h="165679">
                <a:moveTo>
                  <a:pt x="149559" y="31082"/>
                </a:moveTo>
                <a:cubicBezTo>
                  <a:pt x="150007" y="31082"/>
                  <a:pt x="150903" y="30635"/>
                  <a:pt x="151350" y="30635"/>
                </a:cubicBezTo>
                <a:lnTo>
                  <a:pt x="164784" y="17201"/>
                </a:lnTo>
                <a:cubicBezTo>
                  <a:pt x="165232" y="16753"/>
                  <a:pt x="165679" y="15410"/>
                  <a:pt x="165232" y="14962"/>
                </a:cubicBezTo>
                <a:cubicBezTo>
                  <a:pt x="164784" y="14067"/>
                  <a:pt x="163888" y="13619"/>
                  <a:pt x="162993" y="13619"/>
                </a:cubicBezTo>
                <a:lnTo>
                  <a:pt x="151798" y="13619"/>
                </a:lnTo>
                <a:lnTo>
                  <a:pt x="151798" y="2424"/>
                </a:lnTo>
                <a:cubicBezTo>
                  <a:pt x="151798" y="1529"/>
                  <a:pt x="151350" y="633"/>
                  <a:pt x="150455" y="186"/>
                </a:cubicBezTo>
                <a:cubicBezTo>
                  <a:pt x="149559" y="-262"/>
                  <a:pt x="148664" y="186"/>
                  <a:pt x="148216" y="633"/>
                </a:cubicBezTo>
                <a:lnTo>
                  <a:pt x="134782" y="14067"/>
                </a:lnTo>
                <a:cubicBezTo>
                  <a:pt x="134335" y="14514"/>
                  <a:pt x="134335" y="14962"/>
                  <a:pt x="134335" y="15858"/>
                </a:cubicBezTo>
                <a:lnTo>
                  <a:pt x="134335" y="28396"/>
                </a:lnTo>
                <a:lnTo>
                  <a:pt x="128065" y="34665"/>
                </a:lnTo>
                <a:cubicBezTo>
                  <a:pt x="114632" y="21679"/>
                  <a:pt x="96273" y="14067"/>
                  <a:pt x="76123" y="14067"/>
                </a:cubicBezTo>
                <a:cubicBezTo>
                  <a:pt x="34031" y="14067"/>
                  <a:pt x="0" y="48098"/>
                  <a:pt x="0" y="90190"/>
                </a:cubicBezTo>
                <a:cubicBezTo>
                  <a:pt x="0" y="132281"/>
                  <a:pt x="34031" y="166312"/>
                  <a:pt x="76123" y="166312"/>
                </a:cubicBezTo>
                <a:cubicBezTo>
                  <a:pt x="118215" y="166312"/>
                  <a:pt x="152246" y="132281"/>
                  <a:pt x="152246" y="90190"/>
                </a:cubicBezTo>
                <a:cubicBezTo>
                  <a:pt x="152246" y="70039"/>
                  <a:pt x="144186" y="51680"/>
                  <a:pt x="131648" y="38247"/>
                </a:cubicBezTo>
                <a:lnTo>
                  <a:pt x="137917" y="31978"/>
                </a:lnTo>
                <a:lnTo>
                  <a:pt x="149559" y="31978"/>
                </a:lnTo>
                <a:close/>
                <a:moveTo>
                  <a:pt x="138365" y="16306"/>
                </a:moveTo>
                <a:lnTo>
                  <a:pt x="147320" y="7350"/>
                </a:lnTo>
                <a:lnTo>
                  <a:pt x="147320" y="15410"/>
                </a:lnTo>
                <a:cubicBezTo>
                  <a:pt x="147320" y="16753"/>
                  <a:pt x="148216" y="17649"/>
                  <a:pt x="149559" y="17649"/>
                </a:cubicBezTo>
                <a:lnTo>
                  <a:pt x="157619" y="17649"/>
                </a:lnTo>
                <a:lnTo>
                  <a:pt x="148664" y="26605"/>
                </a:lnTo>
                <a:lnTo>
                  <a:pt x="138365" y="26605"/>
                </a:lnTo>
                <a:lnTo>
                  <a:pt x="138365" y="16306"/>
                </a:lnTo>
                <a:close/>
                <a:moveTo>
                  <a:pt x="147320" y="89294"/>
                </a:moveTo>
                <a:cubicBezTo>
                  <a:pt x="147320" y="128699"/>
                  <a:pt x="115080" y="160939"/>
                  <a:pt x="75675" y="160939"/>
                </a:cubicBezTo>
                <a:cubicBezTo>
                  <a:pt x="36270" y="160939"/>
                  <a:pt x="4030" y="128699"/>
                  <a:pt x="4030" y="89294"/>
                </a:cubicBezTo>
                <a:cubicBezTo>
                  <a:pt x="4030" y="49889"/>
                  <a:pt x="36270" y="17649"/>
                  <a:pt x="75675" y="17649"/>
                </a:cubicBezTo>
                <a:cubicBezTo>
                  <a:pt x="94482" y="17649"/>
                  <a:pt x="111945" y="25261"/>
                  <a:pt x="124483" y="37351"/>
                </a:cubicBezTo>
                <a:lnTo>
                  <a:pt x="108811" y="53024"/>
                </a:lnTo>
                <a:cubicBezTo>
                  <a:pt x="99855" y="44964"/>
                  <a:pt x="88213" y="40038"/>
                  <a:pt x="75675" y="40038"/>
                </a:cubicBezTo>
                <a:cubicBezTo>
                  <a:pt x="48360" y="40038"/>
                  <a:pt x="26419" y="61979"/>
                  <a:pt x="26419" y="89294"/>
                </a:cubicBezTo>
                <a:cubicBezTo>
                  <a:pt x="26419" y="116609"/>
                  <a:pt x="48360" y="138550"/>
                  <a:pt x="75675" y="138550"/>
                </a:cubicBezTo>
                <a:cubicBezTo>
                  <a:pt x="102990" y="138550"/>
                  <a:pt x="124931" y="116609"/>
                  <a:pt x="124931" y="89294"/>
                </a:cubicBezTo>
                <a:cubicBezTo>
                  <a:pt x="124931" y="76308"/>
                  <a:pt x="120005" y="65114"/>
                  <a:pt x="111945" y="56158"/>
                </a:cubicBezTo>
                <a:lnTo>
                  <a:pt x="127618" y="40486"/>
                </a:lnTo>
                <a:cubicBezTo>
                  <a:pt x="140156" y="53024"/>
                  <a:pt x="147320" y="70487"/>
                  <a:pt x="147320" y="89294"/>
                </a:cubicBezTo>
                <a:close/>
                <a:moveTo>
                  <a:pt x="76123" y="89294"/>
                </a:moveTo>
                <a:cubicBezTo>
                  <a:pt x="76571" y="89742"/>
                  <a:pt x="77019" y="89742"/>
                  <a:pt x="77914" y="89742"/>
                </a:cubicBezTo>
                <a:cubicBezTo>
                  <a:pt x="78809" y="89742"/>
                  <a:pt x="79257" y="89742"/>
                  <a:pt x="79705" y="89294"/>
                </a:cubicBezTo>
                <a:lnTo>
                  <a:pt x="90452" y="78547"/>
                </a:lnTo>
                <a:cubicBezTo>
                  <a:pt x="92691" y="81682"/>
                  <a:pt x="94482" y="85264"/>
                  <a:pt x="94482" y="89294"/>
                </a:cubicBezTo>
                <a:cubicBezTo>
                  <a:pt x="94482" y="99145"/>
                  <a:pt x="86422" y="107205"/>
                  <a:pt x="76571" y="107205"/>
                </a:cubicBezTo>
                <a:cubicBezTo>
                  <a:pt x="66720" y="107205"/>
                  <a:pt x="58659" y="99145"/>
                  <a:pt x="58659" y="89294"/>
                </a:cubicBezTo>
                <a:cubicBezTo>
                  <a:pt x="58659" y="79443"/>
                  <a:pt x="66720" y="71383"/>
                  <a:pt x="76571" y="71383"/>
                </a:cubicBezTo>
                <a:cubicBezTo>
                  <a:pt x="80601" y="71383"/>
                  <a:pt x="84631" y="72726"/>
                  <a:pt x="87317" y="75413"/>
                </a:cubicBezTo>
                <a:lnTo>
                  <a:pt x="76571" y="86159"/>
                </a:lnTo>
                <a:cubicBezTo>
                  <a:pt x="75227" y="86607"/>
                  <a:pt x="75227" y="88398"/>
                  <a:pt x="76123" y="89294"/>
                </a:cubicBezTo>
                <a:close/>
                <a:moveTo>
                  <a:pt x="90004" y="72278"/>
                </a:moveTo>
                <a:cubicBezTo>
                  <a:pt x="85974" y="69144"/>
                  <a:pt x="81496" y="67353"/>
                  <a:pt x="76123" y="67353"/>
                </a:cubicBezTo>
                <a:cubicBezTo>
                  <a:pt x="63585" y="67353"/>
                  <a:pt x="53734" y="77204"/>
                  <a:pt x="53734" y="89742"/>
                </a:cubicBezTo>
                <a:cubicBezTo>
                  <a:pt x="53734" y="102280"/>
                  <a:pt x="63585" y="112131"/>
                  <a:pt x="76123" y="112131"/>
                </a:cubicBezTo>
                <a:cubicBezTo>
                  <a:pt x="88661" y="112131"/>
                  <a:pt x="98512" y="102280"/>
                  <a:pt x="98512" y="89742"/>
                </a:cubicBezTo>
                <a:cubicBezTo>
                  <a:pt x="98512" y="84368"/>
                  <a:pt x="96721" y="79443"/>
                  <a:pt x="93587" y="75861"/>
                </a:cubicBezTo>
                <a:lnTo>
                  <a:pt x="109707" y="59740"/>
                </a:lnTo>
                <a:cubicBezTo>
                  <a:pt x="116871" y="67800"/>
                  <a:pt x="121349" y="78099"/>
                  <a:pt x="121349" y="89742"/>
                </a:cubicBezTo>
                <a:cubicBezTo>
                  <a:pt x="121349" y="114370"/>
                  <a:pt x="101199" y="134520"/>
                  <a:pt x="76571" y="134520"/>
                </a:cubicBezTo>
                <a:cubicBezTo>
                  <a:pt x="51943" y="134520"/>
                  <a:pt x="31792" y="114370"/>
                  <a:pt x="31792" y="89742"/>
                </a:cubicBezTo>
                <a:cubicBezTo>
                  <a:pt x="31792" y="65114"/>
                  <a:pt x="51943" y="44964"/>
                  <a:pt x="76571" y="44964"/>
                </a:cubicBezTo>
                <a:cubicBezTo>
                  <a:pt x="88213" y="44964"/>
                  <a:pt x="98512" y="49442"/>
                  <a:pt x="106572" y="56606"/>
                </a:cubicBezTo>
                <a:lnTo>
                  <a:pt x="90004" y="72278"/>
                </a:lnTo>
                <a:close/>
              </a:path>
            </a:pathLst>
          </a:custGeom>
          <a:solidFill>
            <a:srgbClr val="231F20"/>
          </a:solidFill>
          <a:ln w="4474" cap="flat">
            <a:noFill/>
            <a:prstDash val="solid"/>
            <a:miter/>
          </a:ln>
        </p:spPr>
        <p:txBody>
          <a:bodyPr rtlCol="0" anchor="ctr"/>
          <a:lstStyle/>
          <a:p>
            <a:endParaRPr lang="en-US"/>
          </a:p>
        </p:txBody>
      </p:sp>
      <p:grpSp>
        <p:nvGrpSpPr>
          <p:cNvPr id="4415" name="Group 4414">
            <a:extLst>
              <a:ext uri="{FF2B5EF4-FFF2-40B4-BE49-F238E27FC236}">
                <a16:creationId xmlns:a16="http://schemas.microsoft.com/office/drawing/2014/main" id="{FCF9A970-7405-4597-AB4D-54488DCBC56E}"/>
              </a:ext>
              <a:ext uri="{C183D7F6-B498-43B3-948B-1728B52AA6E4}">
                <adec:decorative xmlns:adec="http://schemas.microsoft.com/office/drawing/2017/decorative" val="1"/>
              </a:ext>
            </a:extLst>
          </p:cNvPr>
          <p:cNvGrpSpPr>
            <a:grpSpLocks noChangeAspect="1"/>
          </p:cNvGrpSpPr>
          <p:nvPr/>
        </p:nvGrpSpPr>
        <p:grpSpPr>
          <a:xfrm>
            <a:off x="3439370" y="4245238"/>
            <a:ext cx="152246" cy="94188"/>
            <a:chOff x="3480124" y="3509799"/>
            <a:chExt cx="152246" cy="94188"/>
          </a:xfrm>
        </p:grpSpPr>
        <p:sp>
          <p:nvSpPr>
            <p:cNvPr id="4416" name="Freeform: Shape 4415">
              <a:extLst>
                <a:ext uri="{FF2B5EF4-FFF2-40B4-BE49-F238E27FC236}">
                  <a16:creationId xmlns:a16="http://schemas.microsoft.com/office/drawing/2014/main" id="{B3373635-4191-45A0-AC87-46CFA1DDB0B9}"/>
                </a:ext>
              </a:extLst>
            </p:cNvPr>
            <p:cNvSpPr/>
            <p:nvPr/>
          </p:nvSpPr>
          <p:spPr>
            <a:xfrm>
              <a:off x="3480124" y="3509799"/>
              <a:ext cx="152246" cy="76123"/>
            </a:xfrm>
            <a:custGeom>
              <a:avLst/>
              <a:gdLst>
                <a:gd name="connsiteX0" fmla="*/ 150007 w 152245"/>
                <a:gd name="connsiteY0" fmla="*/ 78362 h 76122"/>
                <a:gd name="connsiteX1" fmla="*/ 147768 w 152245"/>
                <a:gd name="connsiteY1" fmla="*/ 76123 h 76122"/>
                <a:gd name="connsiteX2" fmla="*/ 76123 w 152245"/>
                <a:gd name="connsiteY2" fmla="*/ 4478 h 76122"/>
                <a:gd name="connsiteX3" fmla="*/ 4478 w 152245"/>
                <a:gd name="connsiteY3" fmla="*/ 76123 h 76122"/>
                <a:gd name="connsiteX4" fmla="*/ 2239 w 152245"/>
                <a:gd name="connsiteY4" fmla="*/ 78362 h 76122"/>
                <a:gd name="connsiteX5" fmla="*/ 0 w 152245"/>
                <a:gd name="connsiteY5" fmla="*/ 76123 h 76122"/>
                <a:gd name="connsiteX6" fmla="*/ 76123 w 152245"/>
                <a:gd name="connsiteY6" fmla="*/ 0 h 76122"/>
                <a:gd name="connsiteX7" fmla="*/ 152246 w 152245"/>
                <a:gd name="connsiteY7" fmla="*/ 76123 h 76122"/>
                <a:gd name="connsiteX8" fmla="*/ 150007 w 152245"/>
                <a:gd name="connsiteY8" fmla="*/ 78362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45" h="76122">
                  <a:moveTo>
                    <a:pt x="150007" y="78362"/>
                  </a:moveTo>
                  <a:cubicBezTo>
                    <a:pt x="148664" y="78362"/>
                    <a:pt x="147768" y="77466"/>
                    <a:pt x="147768" y="76123"/>
                  </a:cubicBezTo>
                  <a:cubicBezTo>
                    <a:pt x="147768" y="36718"/>
                    <a:pt x="115528" y="4478"/>
                    <a:pt x="76123" y="4478"/>
                  </a:cubicBezTo>
                  <a:cubicBezTo>
                    <a:pt x="36718" y="4478"/>
                    <a:pt x="4478" y="36718"/>
                    <a:pt x="4478" y="76123"/>
                  </a:cubicBezTo>
                  <a:cubicBezTo>
                    <a:pt x="4478" y="77466"/>
                    <a:pt x="3582" y="78362"/>
                    <a:pt x="2239" y="78362"/>
                  </a:cubicBezTo>
                  <a:cubicBezTo>
                    <a:pt x="896" y="78362"/>
                    <a:pt x="0" y="77466"/>
                    <a:pt x="0" y="76123"/>
                  </a:cubicBezTo>
                  <a:cubicBezTo>
                    <a:pt x="0" y="34032"/>
                    <a:pt x="34032" y="0"/>
                    <a:pt x="76123" y="0"/>
                  </a:cubicBezTo>
                  <a:cubicBezTo>
                    <a:pt x="118215" y="0"/>
                    <a:pt x="152246" y="34032"/>
                    <a:pt x="152246" y="76123"/>
                  </a:cubicBezTo>
                  <a:cubicBezTo>
                    <a:pt x="152246" y="77466"/>
                    <a:pt x="150903" y="78362"/>
                    <a:pt x="150007" y="78362"/>
                  </a:cubicBezTo>
                  <a:close/>
                </a:path>
              </a:pathLst>
            </a:custGeom>
            <a:solidFill>
              <a:srgbClr val="231F20"/>
            </a:solidFill>
            <a:ln w="4474" cap="flat">
              <a:noFill/>
              <a:prstDash val="solid"/>
              <a:miter/>
            </a:ln>
          </p:spPr>
          <p:txBody>
            <a:bodyPr rtlCol="0" anchor="ctr"/>
            <a:lstStyle/>
            <a:p>
              <a:endParaRPr lang="en-US"/>
            </a:p>
          </p:txBody>
        </p:sp>
        <p:sp>
          <p:nvSpPr>
            <p:cNvPr id="4417" name="Freeform: Shape 4416">
              <a:extLst>
                <a:ext uri="{FF2B5EF4-FFF2-40B4-BE49-F238E27FC236}">
                  <a16:creationId xmlns:a16="http://schemas.microsoft.com/office/drawing/2014/main" id="{0F72AB8B-FABD-4274-95C9-5E2E7A7E84FE}"/>
                </a:ext>
              </a:extLst>
            </p:cNvPr>
            <p:cNvSpPr/>
            <p:nvPr/>
          </p:nvSpPr>
          <p:spPr>
            <a:xfrm>
              <a:off x="3520579" y="3550253"/>
              <a:ext cx="49256" cy="53734"/>
            </a:xfrm>
            <a:custGeom>
              <a:avLst/>
              <a:gdLst>
                <a:gd name="connsiteX0" fmla="*/ 35669 w 49255"/>
                <a:gd name="connsiteY0" fmla="*/ 26713 h 53733"/>
                <a:gd name="connsiteX1" fmla="*/ 27609 w 49255"/>
                <a:gd name="connsiteY1" fmla="*/ 28952 h 53733"/>
                <a:gd name="connsiteX2" fmla="*/ 3876 w 49255"/>
                <a:gd name="connsiteY2" fmla="*/ 742 h 53733"/>
                <a:gd name="connsiteX3" fmla="*/ 742 w 49255"/>
                <a:gd name="connsiteY3" fmla="*/ 294 h 53733"/>
                <a:gd name="connsiteX4" fmla="*/ 294 w 49255"/>
                <a:gd name="connsiteY4" fmla="*/ 3429 h 53733"/>
                <a:gd name="connsiteX5" fmla="*/ 24027 w 49255"/>
                <a:gd name="connsiteY5" fmla="*/ 31639 h 53733"/>
                <a:gd name="connsiteX6" fmla="*/ 19996 w 49255"/>
                <a:gd name="connsiteY6" fmla="*/ 41938 h 53733"/>
                <a:gd name="connsiteX7" fmla="*/ 35669 w 49255"/>
                <a:gd name="connsiteY7" fmla="*/ 57610 h 53733"/>
                <a:gd name="connsiteX8" fmla="*/ 51341 w 49255"/>
                <a:gd name="connsiteY8" fmla="*/ 41938 h 53733"/>
                <a:gd name="connsiteX9" fmla="*/ 35669 w 49255"/>
                <a:gd name="connsiteY9" fmla="*/ 26713 h 53733"/>
                <a:gd name="connsiteX10" fmla="*/ 35669 w 49255"/>
                <a:gd name="connsiteY10" fmla="*/ 53580 h 53733"/>
                <a:gd name="connsiteX11" fmla="*/ 24474 w 49255"/>
                <a:gd name="connsiteY11" fmla="*/ 42386 h 53733"/>
                <a:gd name="connsiteX12" fmla="*/ 35669 w 49255"/>
                <a:gd name="connsiteY12" fmla="*/ 31191 h 53733"/>
                <a:gd name="connsiteX13" fmla="*/ 46863 w 49255"/>
                <a:gd name="connsiteY13" fmla="*/ 42386 h 53733"/>
                <a:gd name="connsiteX14" fmla="*/ 35669 w 49255"/>
                <a:gd name="connsiteY14" fmla="*/ 53580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55" h="53733">
                  <a:moveTo>
                    <a:pt x="35669" y="26713"/>
                  </a:moveTo>
                  <a:cubicBezTo>
                    <a:pt x="32534" y="26713"/>
                    <a:pt x="29848" y="27609"/>
                    <a:pt x="27609" y="28952"/>
                  </a:cubicBezTo>
                  <a:lnTo>
                    <a:pt x="3876" y="742"/>
                  </a:lnTo>
                  <a:cubicBezTo>
                    <a:pt x="2981" y="-154"/>
                    <a:pt x="1638" y="-154"/>
                    <a:pt x="742" y="294"/>
                  </a:cubicBezTo>
                  <a:cubicBezTo>
                    <a:pt x="-154" y="742"/>
                    <a:pt x="-154" y="2533"/>
                    <a:pt x="294" y="3429"/>
                  </a:cubicBezTo>
                  <a:lnTo>
                    <a:pt x="24027" y="31639"/>
                  </a:lnTo>
                  <a:cubicBezTo>
                    <a:pt x="21340" y="34326"/>
                    <a:pt x="19996" y="37908"/>
                    <a:pt x="19996" y="41938"/>
                  </a:cubicBezTo>
                  <a:cubicBezTo>
                    <a:pt x="19996" y="50446"/>
                    <a:pt x="27161" y="57610"/>
                    <a:pt x="35669" y="57610"/>
                  </a:cubicBezTo>
                  <a:cubicBezTo>
                    <a:pt x="44177" y="57610"/>
                    <a:pt x="51341" y="50446"/>
                    <a:pt x="51341" y="41938"/>
                  </a:cubicBezTo>
                  <a:cubicBezTo>
                    <a:pt x="51341" y="33430"/>
                    <a:pt x="44177" y="26713"/>
                    <a:pt x="35669" y="26713"/>
                  </a:cubicBezTo>
                  <a:close/>
                  <a:moveTo>
                    <a:pt x="35669" y="53580"/>
                  </a:moveTo>
                  <a:cubicBezTo>
                    <a:pt x="29400" y="53580"/>
                    <a:pt x="24474" y="48655"/>
                    <a:pt x="24474" y="42386"/>
                  </a:cubicBezTo>
                  <a:cubicBezTo>
                    <a:pt x="24474" y="36117"/>
                    <a:pt x="29400" y="31191"/>
                    <a:pt x="35669" y="31191"/>
                  </a:cubicBezTo>
                  <a:cubicBezTo>
                    <a:pt x="41938" y="31191"/>
                    <a:pt x="46863" y="36117"/>
                    <a:pt x="46863" y="42386"/>
                  </a:cubicBezTo>
                  <a:cubicBezTo>
                    <a:pt x="46863" y="48655"/>
                    <a:pt x="41490" y="53580"/>
                    <a:pt x="35669" y="53580"/>
                  </a:cubicBezTo>
                  <a:close/>
                </a:path>
              </a:pathLst>
            </a:custGeom>
            <a:solidFill>
              <a:srgbClr val="231F20"/>
            </a:solidFill>
            <a:ln w="4474" cap="flat">
              <a:noFill/>
              <a:prstDash val="solid"/>
              <a:miter/>
            </a:ln>
          </p:spPr>
          <p:txBody>
            <a:bodyPr rtlCol="0" anchor="ctr"/>
            <a:lstStyle/>
            <a:p>
              <a:endParaRPr lang="en-US"/>
            </a:p>
          </p:txBody>
        </p:sp>
      </p:grpSp>
      <p:grpSp>
        <p:nvGrpSpPr>
          <p:cNvPr id="4418" name="Group 4417">
            <a:extLst>
              <a:ext uri="{FF2B5EF4-FFF2-40B4-BE49-F238E27FC236}">
                <a16:creationId xmlns:a16="http://schemas.microsoft.com/office/drawing/2014/main" id="{90D4C28B-70C5-479A-ADF8-8BF97FA8FC76}"/>
              </a:ext>
              <a:ext uri="{C183D7F6-B498-43B3-948B-1728B52AA6E4}">
                <adec:decorative xmlns:adec="http://schemas.microsoft.com/office/drawing/2017/decorative" val="1"/>
              </a:ext>
            </a:extLst>
          </p:cNvPr>
          <p:cNvGrpSpPr>
            <a:grpSpLocks noChangeAspect="1"/>
          </p:cNvGrpSpPr>
          <p:nvPr/>
        </p:nvGrpSpPr>
        <p:grpSpPr>
          <a:xfrm>
            <a:off x="3969096" y="4245238"/>
            <a:ext cx="152246" cy="98472"/>
            <a:chOff x="4009850" y="3509799"/>
            <a:chExt cx="152246" cy="98472"/>
          </a:xfrm>
        </p:grpSpPr>
        <p:sp>
          <p:nvSpPr>
            <p:cNvPr id="4419" name="Freeform: Shape 4418">
              <a:extLst>
                <a:ext uri="{FF2B5EF4-FFF2-40B4-BE49-F238E27FC236}">
                  <a16:creationId xmlns:a16="http://schemas.microsoft.com/office/drawing/2014/main" id="{AC8FEF0E-7452-4C26-BEBE-5401B55E4AC5}"/>
                </a:ext>
              </a:extLst>
            </p:cNvPr>
            <p:cNvSpPr/>
            <p:nvPr/>
          </p:nvSpPr>
          <p:spPr>
            <a:xfrm>
              <a:off x="4009850" y="3509799"/>
              <a:ext cx="152246" cy="76123"/>
            </a:xfrm>
            <a:custGeom>
              <a:avLst/>
              <a:gdLst>
                <a:gd name="connsiteX0" fmla="*/ 150007 w 152245"/>
                <a:gd name="connsiteY0" fmla="*/ 78362 h 76122"/>
                <a:gd name="connsiteX1" fmla="*/ 147768 w 152245"/>
                <a:gd name="connsiteY1" fmla="*/ 76123 h 76122"/>
                <a:gd name="connsiteX2" fmla="*/ 76123 w 152245"/>
                <a:gd name="connsiteY2" fmla="*/ 4478 h 76122"/>
                <a:gd name="connsiteX3" fmla="*/ 4478 w 152245"/>
                <a:gd name="connsiteY3" fmla="*/ 76123 h 76122"/>
                <a:gd name="connsiteX4" fmla="*/ 2239 w 152245"/>
                <a:gd name="connsiteY4" fmla="*/ 78362 h 76122"/>
                <a:gd name="connsiteX5" fmla="*/ 0 w 152245"/>
                <a:gd name="connsiteY5" fmla="*/ 76123 h 76122"/>
                <a:gd name="connsiteX6" fmla="*/ 76123 w 152245"/>
                <a:gd name="connsiteY6" fmla="*/ 0 h 76122"/>
                <a:gd name="connsiteX7" fmla="*/ 152246 w 152245"/>
                <a:gd name="connsiteY7" fmla="*/ 76123 h 76122"/>
                <a:gd name="connsiteX8" fmla="*/ 150007 w 152245"/>
                <a:gd name="connsiteY8" fmla="*/ 78362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45" h="76122">
                  <a:moveTo>
                    <a:pt x="150007" y="78362"/>
                  </a:moveTo>
                  <a:cubicBezTo>
                    <a:pt x="148664" y="78362"/>
                    <a:pt x="147768" y="77466"/>
                    <a:pt x="147768" y="76123"/>
                  </a:cubicBezTo>
                  <a:cubicBezTo>
                    <a:pt x="147768" y="36718"/>
                    <a:pt x="115528" y="4478"/>
                    <a:pt x="76123" y="4478"/>
                  </a:cubicBezTo>
                  <a:cubicBezTo>
                    <a:pt x="36718" y="4478"/>
                    <a:pt x="4478" y="36718"/>
                    <a:pt x="4478" y="76123"/>
                  </a:cubicBezTo>
                  <a:cubicBezTo>
                    <a:pt x="4478" y="77466"/>
                    <a:pt x="3582" y="78362"/>
                    <a:pt x="2239" y="78362"/>
                  </a:cubicBezTo>
                  <a:cubicBezTo>
                    <a:pt x="896" y="78362"/>
                    <a:pt x="0" y="77466"/>
                    <a:pt x="0" y="76123"/>
                  </a:cubicBezTo>
                  <a:cubicBezTo>
                    <a:pt x="0" y="34032"/>
                    <a:pt x="34032" y="0"/>
                    <a:pt x="76123" y="0"/>
                  </a:cubicBezTo>
                  <a:cubicBezTo>
                    <a:pt x="118215" y="0"/>
                    <a:pt x="152246" y="34032"/>
                    <a:pt x="152246" y="76123"/>
                  </a:cubicBezTo>
                  <a:cubicBezTo>
                    <a:pt x="152246" y="77466"/>
                    <a:pt x="150903" y="78362"/>
                    <a:pt x="150007" y="78362"/>
                  </a:cubicBezTo>
                  <a:close/>
                </a:path>
              </a:pathLst>
            </a:custGeom>
            <a:solidFill>
              <a:srgbClr val="231F20"/>
            </a:solidFill>
            <a:ln w="4474" cap="flat">
              <a:noFill/>
              <a:prstDash val="solid"/>
              <a:miter/>
            </a:ln>
          </p:spPr>
          <p:txBody>
            <a:bodyPr rtlCol="0" anchor="ctr"/>
            <a:lstStyle/>
            <a:p>
              <a:endParaRPr lang="en-US"/>
            </a:p>
          </p:txBody>
        </p:sp>
        <p:sp>
          <p:nvSpPr>
            <p:cNvPr id="4420" name="Freeform: Shape 4419">
              <a:extLst>
                <a:ext uri="{FF2B5EF4-FFF2-40B4-BE49-F238E27FC236}">
                  <a16:creationId xmlns:a16="http://schemas.microsoft.com/office/drawing/2014/main" id="{25103029-FE70-49A5-AA92-236F3F7408C9}"/>
                </a:ext>
              </a:extLst>
            </p:cNvPr>
            <p:cNvSpPr/>
            <p:nvPr/>
          </p:nvSpPr>
          <p:spPr>
            <a:xfrm>
              <a:off x="4070301" y="3550059"/>
              <a:ext cx="49256" cy="58212"/>
            </a:xfrm>
            <a:custGeom>
              <a:avLst/>
              <a:gdLst>
                <a:gd name="connsiteX0" fmla="*/ 49704 w 49255"/>
                <a:gd name="connsiteY0" fmla="*/ 488 h 58211"/>
                <a:gd name="connsiteX1" fmla="*/ 46569 w 49255"/>
                <a:gd name="connsiteY1" fmla="*/ 936 h 58211"/>
                <a:gd name="connsiteX2" fmla="*/ 23285 w 49255"/>
                <a:gd name="connsiteY2" fmla="*/ 29146 h 58211"/>
                <a:gd name="connsiteX3" fmla="*/ 15672 w 49255"/>
                <a:gd name="connsiteY3" fmla="*/ 27355 h 58211"/>
                <a:gd name="connsiteX4" fmla="*/ 0 w 49255"/>
                <a:gd name="connsiteY4" fmla="*/ 43027 h 58211"/>
                <a:gd name="connsiteX5" fmla="*/ 15672 w 49255"/>
                <a:gd name="connsiteY5" fmla="*/ 58700 h 58211"/>
                <a:gd name="connsiteX6" fmla="*/ 31345 w 49255"/>
                <a:gd name="connsiteY6" fmla="*/ 43027 h 58211"/>
                <a:gd name="connsiteX7" fmla="*/ 26867 w 49255"/>
                <a:gd name="connsiteY7" fmla="*/ 31833 h 58211"/>
                <a:gd name="connsiteX8" fmla="*/ 50152 w 49255"/>
                <a:gd name="connsiteY8" fmla="*/ 4070 h 58211"/>
                <a:gd name="connsiteX9" fmla="*/ 49704 w 49255"/>
                <a:gd name="connsiteY9" fmla="*/ 488 h 58211"/>
                <a:gd name="connsiteX10" fmla="*/ 15672 w 49255"/>
                <a:gd name="connsiteY10" fmla="*/ 53774 h 58211"/>
                <a:gd name="connsiteX11" fmla="*/ 4478 w 49255"/>
                <a:gd name="connsiteY11" fmla="*/ 42580 h 58211"/>
                <a:gd name="connsiteX12" fmla="*/ 15672 w 49255"/>
                <a:gd name="connsiteY12" fmla="*/ 31385 h 58211"/>
                <a:gd name="connsiteX13" fmla="*/ 26867 w 49255"/>
                <a:gd name="connsiteY13" fmla="*/ 42580 h 58211"/>
                <a:gd name="connsiteX14" fmla="*/ 15672 w 49255"/>
                <a:gd name="connsiteY14" fmla="*/ 5377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55" h="58211">
                  <a:moveTo>
                    <a:pt x="49704" y="488"/>
                  </a:moveTo>
                  <a:cubicBezTo>
                    <a:pt x="48808" y="-407"/>
                    <a:pt x="47465" y="40"/>
                    <a:pt x="46569" y="936"/>
                  </a:cubicBezTo>
                  <a:lnTo>
                    <a:pt x="23285" y="29146"/>
                  </a:lnTo>
                  <a:cubicBezTo>
                    <a:pt x="21046" y="27803"/>
                    <a:pt x="18359" y="27355"/>
                    <a:pt x="15672" y="27355"/>
                  </a:cubicBezTo>
                  <a:cubicBezTo>
                    <a:pt x="7165" y="27355"/>
                    <a:pt x="0" y="34520"/>
                    <a:pt x="0" y="43027"/>
                  </a:cubicBezTo>
                  <a:cubicBezTo>
                    <a:pt x="0" y="51535"/>
                    <a:pt x="7165" y="58700"/>
                    <a:pt x="15672" y="58700"/>
                  </a:cubicBezTo>
                  <a:cubicBezTo>
                    <a:pt x="24180" y="58700"/>
                    <a:pt x="31345" y="51535"/>
                    <a:pt x="31345" y="43027"/>
                  </a:cubicBezTo>
                  <a:cubicBezTo>
                    <a:pt x="31345" y="38550"/>
                    <a:pt x="29554" y="34967"/>
                    <a:pt x="26867" y="31833"/>
                  </a:cubicBezTo>
                  <a:lnTo>
                    <a:pt x="50152" y="4070"/>
                  </a:lnTo>
                  <a:cubicBezTo>
                    <a:pt x="50600" y="2727"/>
                    <a:pt x="50600" y="1384"/>
                    <a:pt x="49704" y="488"/>
                  </a:cubicBezTo>
                  <a:close/>
                  <a:moveTo>
                    <a:pt x="15672" y="53774"/>
                  </a:moveTo>
                  <a:cubicBezTo>
                    <a:pt x="9404" y="53774"/>
                    <a:pt x="4478" y="48849"/>
                    <a:pt x="4478" y="42580"/>
                  </a:cubicBezTo>
                  <a:cubicBezTo>
                    <a:pt x="4478" y="36311"/>
                    <a:pt x="9404" y="31385"/>
                    <a:pt x="15672" y="31385"/>
                  </a:cubicBezTo>
                  <a:cubicBezTo>
                    <a:pt x="21941" y="31385"/>
                    <a:pt x="26867" y="36311"/>
                    <a:pt x="26867" y="42580"/>
                  </a:cubicBezTo>
                  <a:cubicBezTo>
                    <a:pt x="26867" y="48849"/>
                    <a:pt x="21494" y="53774"/>
                    <a:pt x="15672" y="53774"/>
                  </a:cubicBezTo>
                  <a:close/>
                </a:path>
              </a:pathLst>
            </a:custGeom>
            <a:solidFill>
              <a:srgbClr val="231F20"/>
            </a:solidFill>
            <a:ln w="4474" cap="flat">
              <a:noFill/>
              <a:prstDash val="solid"/>
              <a:miter/>
            </a:ln>
          </p:spPr>
          <p:txBody>
            <a:bodyPr rtlCol="0" anchor="ctr"/>
            <a:lstStyle/>
            <a:p>
              <a:endParaRPr lang="en-US"/>
            </a:p>
          </p:txBody>
        </p:sp>
      </p:grpSp>
      <p:sp>
        <p:nvSpPr>
          <p:cNvPr id="4421" name="Freeform: Shape 4420">
            <a:extLst>
              <a:ext uri="{FF2B5EF4-FFF2-40B4-BE49-F238E27FC236}">
                <a16:creationId xmlns:a16="http://schemas.microsoft.com/office/drawing/2014/main" id="{9DEB5E6C-E88F-4603-AA6C-251F7F57C088}"/>
              </a:ext>
              <a:ext uri="{C183D7F6-B498-43B3-948B-1728B52AA6E4}">
                <adec:decorative xmlns:adec="http://schemas.microsoft.com/office/drawing/2017/decorative" val="1"/>
              </a:ext>
            </a:extLst>
          </p:cNvPr>
          <p:cNvSpPr>
            <a:spLocks noChangeAspect="1"/>
          </p:cNvSpPr>
          <p:nvPr/>
        </p:nvSpPr>
        <p:spPr>
          <a:xfrm>
            <a:off x="4228810" y="4245238"/>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20901 h 152245"/>
              <a:gd name="connsiteX6" fmla="*/ 31345 w 152245"/>
              <a:gd name="connsiteY6" fmla="*/ 76123 h 152245"/>
              <a:gd name="connsiteX7" fmla="*/ 76123 w 152245"/>
              <a:gd name="connsiteY7" fmla="*/ 31345 h 152245"/>
              <a:gd name="connsiteX8" fmla="*/ 120901 w 152245"/>
              <a:gd name="connsiteY8" fmla="*/ 76123 h 152245"/>
              <a:gd name="connsiteX9" fmla="*/ 76123 w 152245"/>
              <a:gd name="connsiteY9" fmla="*/ 120901 h 152245"/>
              <a:gd name="connsiteX10" fmla="*/ 124484 w 152245"/>
              <a:gd name="connsiteY10" fmla="*/ 68063 h 152245"/>
              <a:gd name="connsiteX11" fmla="*/ 147320 w 152245"/>
              <a:gd name="connsiteY11" fmla="*/ 68063 h 152245"/>
              <a:gd name="connsiteX12" fmla="*/ 147768 w 152245"/>
              <a:gd name="connsiteY12" fmla="*/ 76123 h 152245"/>
              <a:gd name="connsiteX13" fmla="*/ 147320 w 152245"/>
              <a:gd name="connsiteY13" fmla="*/ 83288 h 152245"/>
              <a:gd name="connsiteX14" fmla="*/ 124484 w 152245"/>
              <a:gd name="connsiteY14" fmla="*/ 83288 h 152245"/>
              <a:gd name="connsiteX15" fmla="*/ 124931 w 152245"/>
              <a:gd name="connsiteY15" fmla="*/ 76123 h 152245"/>
              <a:gd name="connsiteX16" fmla="*/ 124484 w 152245"/>
              <a:gd name="connsiteY16" fmla="*/ 68063 h 152245"/>
              <a:gd name="connsiteX17" fmla="*/ 146425 w 152245"/>
              <a:gd name="connsiteY17" fmla="*/ 63585 h 152245"/>
              <a:gd name="connsiteX18" fmla="*/ 123588 w 152245"/>
              <a:gd name="connsiteY18" fmla="*/ 63585 h 152245"/>
              <a:gd name="connsiteX19" fmla="*/ 88213 w 152245"/>
              <a:gd name="connsiteY19" fmla="*/ 28658 h 152245"/>
              <a:gd name="connsiteX20" fmla="*/ 88213 w 152245"/>
              <a:gd name="connsiteY20" fmla="*/ 28210 h 152245"/>
              <a:gd name="connsiteX21" fmla="*/ 88213 w 152245"/>
              <a:gd name="connsiteY21" fmla="*/ 5821 h 152245"/>
              <a:gd name="connsiteX22" fmla="*/ 146425 w 152245"/>
              <a:gd name="connsiteY22" fmla="*/ 63585 h 152245"/>
              <a:gd name="connsiteX23" fmla="*/ 83735 w 152245"/>
              <a:gd name="connsiteY23" fmla="*/ 4926 h 152245"/>
              <a:gd name="connsiteX24" fmla="*/ 83735 w 152245"/>
              <a:gd name="connsiteY24" fmla="*/ 27763 h 152245"/>
              <a:gd name="connsiteX25" fmla="*/ 75675 w 152245"/>
              <a:gd name="connsiteY25" fmla="*/ 26867 h 152245"/>
              <a:gd name="connsiteX26" fmla="*/ 68063 w 152245"/>
              <a:gd name="connsiteY26" fmla="*/ 27315 h 152245"/>
              <a:gd name="connsiteX27" fmla="*/ 68063 w 152245"/>
              <a:gd name="connsiteY27" fmla="*/ 4478 h 152245"/>
              <a:gd name="connsiteX28" fmla="*/ 75675 w 152245"/>
              <a:gd name="connsiteY28" fmla="*/ 4030 h 152245"/>
              <a:gd name="connsiteX29" fmla="*/ 83735 w 152245"/>
              <a:gd name="connsiteY29" fmla="*/ 4926 h 152245"/>
              <a:gd name="connsiteX30" fmla="*/ 64033 w 152245"/>
              <a:gd name="connsiteY30" fmla="*/ 5373 h 152245"/>
              <a:gd name="connsiteX31" fmla="*/ 64033 w 152245"/>
              <a:gd name="connsiteY31" fmla="*/ 28210 h 152245"/>
              <a:gd name="connsiteX32" fmla="*/ 28210 w 152245"/>
              <a:gd name="connsiteY32" fmla="*/ 63585 h 152245"/>
              <a:gd name="connsiteX33" fmla="*/ 5373 w 152245"/>
              <a:gd name="connsiteY33" fmla="*/ 63585 h 152245"/>
              <a:gd name="connsiteX34" fmla="*/ 64033 w 152245"/>
              <a:gd name="connsiteY34" fmla="*/ 5373 h 152245"/>
              <a:gd name="connsiteX35" fmla="*/ 4478 w 152245"/>
              <a:gd name="connsiteY35" fmla="*/ 76123 h 152245"/>
              <a:gd name="connsiteX36" fmla="*/ 4926 w 152245"/>
              <a:gd name="connsiteY36" fmla="*/ 68063 h 152245"/>
              <a:gd name="connsiteX37" fmla="*/ 27763 w 152245"/>
              <a:gd name="connsiteY37" fmla="*/ 68063 h 152245"/>
              <a:gd name="connsiteX38" fmla="*/ 26867 w 152245"/>
              <a:gd name="connsiteY38" fmla="*/ 76123 h 152245"/>
              <a:gd name="connsiteX39" fmla="*/ 27315 w 152245"/>
              <a:gd name="connsiteY39" fmla="*/ 83288 h 152245"/>
              <a:gd name="connsiteX40" fmla="*/ 4478 w 152245"/>
              <a:gd name="connsiteY40" fmla="*/ 83288 h 152245"/>
              <a:gd name="connsiteX41" fmla="*/ 4478 w 152245"/>
              <a:gd name="connsiteY41" fmla="*/ 76123 h 152245"/>
              <a:gd name="connsiteX42" fmla="*/ 5373 w 152245"/>
              <a:gd name="connsiteY42" fmla="*/ 87765 h 152245"/>
              <a:gd name="connsiteX43" fmla="*/ 27763 w 152245"/>
              <a:gd name="connsiteY43" fmla="*/ 87765 h 152245"/>
              <a:gd name="connsiteX44" fmla="*/ 28210 w 152245"/>
              <a:gd name="connsiteY44" fmla="*/ 87765 h 152245"/>
              <a:gd name="connsiteX45" fmla="*/ 64033 w 152245"/>
              <a:gd name="connsiteY45" fmla="*/ 124036 h 152245"/>
              <a:gd name="connsiteX46" fmla="*/ 64033 w 152245"/>
              <a:gd name="connsiteY46" fmla="*/ 146872 h 152245"/>
              <a:gd name="connsiteX47" fmla="*/ 5373 w 152245"/>
              <a:gd name="connsiteY47" fmla="*/ 87765 h 152245"/>
              <a:gd name="connsiteX48" fmla="*/ 68511 w 152245"/>
              <a:gd name="connsiteY48" fmla="*/ 147320 h 152245"/>
              <a:gd name="connsiteX49" fmla="*/ 68511 w 152245"/>
              <a:gd name="connsiteY49" fmla="*/ 147320 h 152245"/>
              <a:gd name="connsiteX50" fmla="*/ 68511 w 152245"/>
              <a:gd name="connsiteY50" fmla="*/ 124483 h 152245"/>
              <a:gd name="connsiteX51" fmla="*/ 76123 w 152245"/>
              <a:gd name="connsiteY51" fmla="*/ 124931 h 152245"/>
              <a:gd name="connsiteX52" fmla="*/ 84183 w 152245"/>
              <a:gd name="connsiteY52" fmla="*/ 124036 h 152245"/>
              <a:gd name="connsiteX53" fmla="*/ 84183 w 152245"/>
              <a:gd name="connsiteY53" fmla="*/ 146872 h 152245"/>
              <a:gd name="connsiteX54" fmla="*/ 76123 w 152245"/>
              <a:gd name="connsiteY54" fmla="*/ 147320 h 152245"/>
              <a:gd name="connsiteX55" fmla="*/ 68511 w 152245"/>
              <a:gd name="connsiteY55" fmla="*/ 147320 h 152245"/>
              <a:gd name="connsiteX56" fmla="*/ 88213 w 152245"/>
              <a:gd name="connsiteY56" fmla="*/ 146872 h 152245"/>
              <a:gd name="connsiteX57" fmla="*/ 88213 w 152245"/>
              <a:gd name="connsiteY57" fmla="*/ 124483 h 152245"/>
              <a:gd name="connsiteX58" fmla="*/ 88213 w 152245"/>
              <a:gd name="connsiteY58" fmla="*/ 124036 h 152245"/>
              <a:gd name="connsiteX59" fmla="*/ 123588 w 152245"/>
              <a:gd name="connsiteY59" fmla="*/ 88213 h 152245"/>
              <a:gd name="connsiteX60" fmla="*/ 123588 w 152245"/>
              <a:gd name="connsiteY60" fmla="*/ 88213 h 152245"/>
              <a:gd name="connsiteX61" fmla="*/ 146425 w 152245"/>
              <a:gd name="connsiteY61" fmla="*/ 88213 h 152245"/>
              <a:gd name="connsiteX62" fmla="*/ 88213 w 152245"/>
              <a:gd name="connsiteY62" fmla="*/ 14687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52245" h="152245">
                <a:moveTo>
                  <a:pt x="76123" y="0"/>
                </a:moveTo>
                <a:cubicBezTo>
                  <a:pt x="34032" y="0"/>
                  <a:pt x="0" y="34032"/>
                  <a:pt x="0" y="76123"/>
                </a:cubicBezTo>
                <a:cubicBezTo>
                  <a:pt x="0" y="118214"/>
                  <a:pt x="34032" y="152246"/>
                  <a:pt x="76123" y="152246"/>
                </a:cubicBezTo>
                <a:cubicBezTo>
                  <a:pt x="118215" y="152246"/>
                  <a:pt x="152246" y="118214"/>
                  <a:pt x="152246" y="76123"/>
                </a:cubicBezTo>
                <a:cubicBezTo>
                  <a:pt x="152246" y="34032"/>
                  <a:pt x="117767" y="0"/>
                  <a:pt x="76123" y="0"/>
                </a:cubicBezTo>
                <a:close/>
                <a:moveTo>
                  <a:pt x="76123" y="120901"/>
                </a:moveTo>
                <a:cubicBezTo>
                  <a:pt x="51495" y="120901"/>
                  <a:pt x="31345" y="100751"/>
                  <a:pt x="31345" y="76123"/>
                </a:cubicBezTo>
                <a:cubicBezTo>
                  <a:pt x="31345" y="51495"/>
                  <a:pt x="51495" y="31345"/>
                  <a:pt x="76123" y="31345"/>
                </a:cubicBezTo>
                <a:cubicBezTo>
                  <a:pt x="100751" y="31345"/>
                  <a:pt x="120901" y="51495"/>
                  <a:pt x="120901" y="76123"/>
                </a:cubicBezTo>
                <a:cubicBezTo>
                  <a:pt x="120901" y="100751"/>
                  <a:pt x="100751" y="120901"/>
                  <a:pt x="76123" y="120901"/>
                </a:cubicBezTo>
                <a:close/>
                <a:moveTo>
                  <a:pt x="124484" y="68063"/>
                </a:moveTo>
                <a:lnTo>
                  <a:pt x="147320" y="68063"/>
                </a:lnTo>
                <a:cubicBezTo>
                  <a:pt x="147768" y="70749"/>
                  <a:pt x="147768" y="73436"/>
                  <a:pt x="147768" y="76123"/>
                </a:cubicBezTo>
                <a:cubicBezTo>
                  <a:pt x="147768" y="78362"/>
                  <a:pt x="147768" y="81049"/>
                  <a:pt x="147320" y="83288"/>
                </a:cubicBezTo>
                <a:lnTo>
                  <a:pt x="124484" y="83288"/>
                </a:lnTo>
                <a:cubicBezTo>
                  <a:pt x="124931" y="81049"/>
                  <a:pt x="124931" y="78362"/>
                  <a:pt x="124931" y="76123"/>
                </a:cubicBezTo>
                <a:cubicBezTo>
                  <a:pt x="125379" y="73436"/>
                  <a:pt x="124931" y="70749"/>
                  <a:pt x="124484" y="68063"/>
                </a:cubicBezTo>
                <a:close/>
                <a:moveTo>
                  <a:pt x="146425" y="63585"/>
                </a:moveTo>
                <a:lnTo>
                  <a:pt x="123588" y="63585"/>
                </a:lnTo>
                <a:cubicBezTo>
                  <a:pt x="119110" y="46569"/>
                  <a:pt x="105677" y="32688"/>
                  <a:pt x="88213" y="28658"/>
                </a:cubicBezTo>
                <a:cubicBezTo>
                  <a:pt x="88213" y="28658"/>
                  <a:pt x="88213" y="28210"/>
                  <a:pt x="88213" y="28210"/>
                </a:cubicBezTo>
                <a:lnTo>
                  <a:pt x="88213" y="5821"/>
                </a:lnTo>
                <a:cubicBezTo>
                  <a:pt x="117767" y="10747"/>
                  <a:pt x="141051" y="34032"/>
                  <a:pt x="146425" y="63585"/>
                </a:cubicBezTo>
                <a:close/>
                <a:moveTo>
                  <a:pt x="83735" y="4926"/>
                </a:moveTo>
                <a:lnTo>
                  <a:pt x="83735" y="27763"/>
                </a:lnTo>
                <a:cubicBezTo>
                  <a:pt x="81049" y="27315"/>
                  <a:pt x="78362" y="26867"/>
                  <a:pt x="75675" y="26867"/>
                </a:cubicBezTo>
                <a:cubicBezTo>
                  <a:pt x="72989" y="26867"/>
                  <a:pt x="70750" y="27315"/>
                  <a:pt x="68063" y="27315"/>
                </a:cubicBezTo>
                <a:lnTo>
                  <a:pt x="68063" y="4478"/>
                </a:lnTo>
                <a:cubicBezTo>
                  <a:pt x="70302" y="4030"/>
                  <a:pt x="72989" y="4030"/>
                  <a:pt x="75675" y="4030"/>
                </a:cubicBezTo>
                <a:cubicBezTo>
                  <a:pt x="78362" y="4478"/>
                  <a:pt x="81049" y="4478"/>
                  <a:pt x="83735" y="4926"/>
                </a:cubicBezTo>
                <a:close/>
                <a:moveTo>
                  <a:pt x="64033" y="5373"/>
                </a:moveTo>
                <a:lnTo>
                  <a:pt x="64033" y="28210"/>
                </a:lnTo>
                <a:cubicBezTo>
                  <a:pt x="46569" y="32688"/>
                  <a:pt x="33136" y="46121"/>
                  <a:pt x="28210" y="63585"/>
                </a:cubicBezTo>
                <a:lnTo>
                  <a:pt x="5373" y="63585"/>
                </a:lnTo>
                <a:cubicBezTo>
                  <a:pt x="10747" y="34032"/>
                  <a:pt x="34032" y="10747"/>
                  <a:pt x="64033" y="5373"/>
                </a:cubicBezTo>
                <a:close/>
                <a:moveTo>
                  <a:pt x="4478" y="76123"/>
                </a:moveTo>
                <a:cubicBezTo>
                  <a:pt x="4478" y="73436"/>
                  <a:pt x="4478" y="70749"/>
                  <a:pt x="4926" y="68063"/>
                </a:cubicBezTo>
                <a:lnTo>
                  <a:pt x="27763" y="68063"/>
                </a:lnTo>
                <a:cubicBezTo>
                  <a:pt x="27315" y="70749"/>
                  <a:pt x="26867" y="73436"/>
                  <a:pt x="26867" y="76123"/>
                </a:cubicBezTo>
                <a:cubicBezTo>
                  <a:pt x="26867" y="78810"/>
                  <a:pt x="27315" y="81049"/>
                  <a:pt x="27315" y="83288"/>
                </a:cubicBezTo>
                <a:lnTo>
                  <a:pt x="4478" y="83288"/>
                </a:lnTo>
                <a:cubicBezTo>
                  <a:pt x="4478" y="81049"/>
                  <a:pt x="4478" y="78810"/>
                  <a:pt x="4478" y="76123"/>
                </a:cubicBezTo>
                <a:close/>
                <a:moveTo>
                  <a:pt x="5373" y="87765"/>
                </a:moveTo>
                <a:lnTo>
                  <a:pt x="27763" y="87765"/>
                </a:lnTo>
                <a:cubicBezTo>
                  <a:pt x="27763" y="87765"/>
                  <a:pt x="28210" y="87765"/>
                  <a:pt x="28210" y="87765"/>
                </a:cubicBezTo>
                <a:cubicBezTo>
                  <a:pt x="32688" y="105677"/>
                  <a:pt x="46569" y="119558"/>
                  <a:pt x="64033" y="124036"/>
                </a:cubicBezTo>
                <a:lnTo>
                  <a:pt x="64033" y="146872"/>
                </a:lnTo>
                <a:cubicBezTo>
                  <a:pt x="34032" y="141499"/>
                  <a:pt x="10299" y="117767"/>
                  <a:pt x="5373" y="87765"/>
                </a:cubicBezTo>
                <a:close/>
                <a:moveTo>
                  <a:pt x="68511" y="147320"/>
                </a:moveTo>
                <a:cubicBezTo>
                  <a:pt x="68511" y="147320"/>
                  <a:pt x="68511" y="147320"/>
                  <a:pt x="68511" y="147320"/>
                </a:cubicBezTo>
                <a:lnTo>
                  <a:pt x="68511" y="124483"/>
                </a:lnTo>
                <a:cubicBezTo>
                  <a:pt x="70750" y="124931"/>
                  <a:pt x="73436" y="124931"/>
                  <a:pt x="76123" y="124931"/>
                </a:cubicBezTo>
                <a:cubicBezTo>
                  <a:pt x="78810" y="124931"/>
                  <a:pt x="81496" y="124483"/>
                  <a:pt x="84183" y="124036"/>
                </a:cubicBezTo>
                <a:lnTo>
                  <a:pt x="84183" y="146872"/>
                </a:lnTo>
                <a:cubicBezTo>
                  <a:pt x="81496" y="147320"/>
                  <a:pt x="78810" y="147320"/>
                  <a:pt x="76123" y="147320"/>
                </a:cubicBezTo>
                <a:cubicBezTo>
                  <a:pt x="73436" y="147768"/>
                  <a:pt x="70750" y="147768"/>
                  <a:pt x="68511" y="147320"/>
                </a:cubicBezTo>
                <a:close/>
                <a:moveTo>
                  <a:pt x="88213" y="146872"/>
                </a:moveTo>
                <a:lnTo>
                  <a:pt x="88213" y="124483"/>
                </a:lnTo>
                <a:cubicBezTo>
                  <a:pt x="88213" y="124483"/>
                  <a:pt x="88213" y="124036"/>
                  <a:pt x="88213" y="124036"/>
                </a:cubicBezTo>
                <a:cubicBezTo>
                  <a:pt x="105677" y="119558"/>
                  <a:pt x="119558" y="105677"/>
                  <a:pt x="123588" y="88213"/>
                </a:cubicBezTo>
                <a:cubicBezTo>
                  <a:pt x="123588" y="88213"/>
                  <a:pt x="123588" y="88213"/>
                  <a:pt x="123588" y="88213"/>
                </a:cubicBezTo>
                <a:lnTo>
                  <a:pt x="146425" y="88213"/>
                </a:lnTo>
                <a:cubicBezTo>
                  <a:pt x="141499" y="117767"/>
                  <a:pt x="118215" y="141499"/>
                  <a:pt x="88213" y="146872"/>
                </a:cubicBezTo>
                <a:close/>
              </a:path>
            </a:pathLst>
          </a:custGeom>
          <a:solidFill>
            <a:srgbClr val="231F20"/>
          </a:solidFill>
          <a:ln w="4474" cap="flat">
            <a:noFill/>
            <a:prstDash val="solid"/>
            <a:miter/>
          </a:ln>
        </p:spPr>
        <p:txBody>
          <a:bodyPr rtlCol="0" anchor="ctr"/>
          <a:lstStyle/>
          <a:p>
            <a:endParaRPr lang="en-US"/>
          </a:p>
        </p:txBody>
      </p:sp>
      <p:grpSp>
        <p:nvGrpSpPr>
          <p:cNvPr id="4422" name="Group 4421">
            <a:extLst>
              <a:ext uri="{FF2B5EF4-FFF2-40B4-BE49-F238E27FC236}">
                <a16:creationId xmlns:a16="http://schemas.microsoft.com/office/drawing/2014/main" id="{89694DEF-2F74-4F32-A203-17F824C7C494}"/>
              </a:ext>
              <a:ext uri="{C183D7F6-B498-43B3-948B-1728B52AA6E4}">
                <adec:decorative xmlns:adec="http://schemas.microsoft.com/office/drawing/2017/decorative" val="1"/>
              </a:ext>
            </a:extLst>
          </p:cNvPr>
          <p:cNvGrpSpPr>
            <a:grpSpLocks noChangeAspect="1"/>
          </p:cNvGrpSpPr>
          <p:nvPr/>
        </p:nvGrpSpPr>
        <p:grpSpPr>
          <a:xfrm>
            <a:off x="4758648" y="4259119"/>
            <a:ext cx="147768" cy="120901"/>
            <a:chOff x="4799402" y="3523680"/>
            <a:chExt cx="147768" cy="120901"/>
          </a:xfrm>
        </p:grpSpPr>
        <p:sp>
          <p:nvSpPr>
            <p:cNvPr id="4423" name="Freeform: Shape 4422">
              <a:extLst>
                <a:ext uri="{FF2B5EF4-FFF2-40B4-BE49-F238E27FC236}">
                  <a16:creationId xmlns:a16="http://schemas.microsoft.com/office/drawing/2014/main" id="{E8694375-4AA2-47C7-B4C5-9546542E957C}"/>
                </a:ext>
              </a:extLst>
            </p:cNvPr>
            <p:cNvSpPr/>
            <p:nvPr/>
          </p:nvSpPr>
          <p:spPr>
            <a:xfrm>
              <a:off x="4799402" y="3523680"/>
              <a:ext cx="147768" cy="120901"/>
            </a:xfrm>
            <a:custGeom>
              <a:avLst/>
              <a:gdLst>
                <a:gd name="connsiteX0" fmla="*/ 149895 w 147767"/>
                <a:gd name="connsiteY0" fmla="*/ 124931 h 120901"/>
                <a:gd name="connsiteX1" fmla="*/ 149895 w 147767"/>
                <a:gd name="connsiteY1" fmla="*/ 124931 h 120901"/>
                <a:gd name="connsiteX2" fmla="*/ 2127 w 147767"/>
                <a:gd name="connsiteY2" fmla="*/ 124931 h 120901"/>
                <a:gd name="connsiteX3" fmla="*/ 336 w 147767"/>
                <a:gd name="connsiteY3" fmla="*/ 123588 h 120901"/>
                <a:gd name="connsiteX4" fmla="*/ 336 w 147767"/>
                <a:gd name="connsiteY4" fmla="*/ 121349 h 120901"/>
                <a:gd name="connsiteX5" fmla="*/ 74220 w 147767"/>
                <a:gd name="connsiteY5" fmla="*/ 895 h 120901"/>
                <a:gd name="connsiteX6" fmla="*/ 76011 w 147767"/>
                <a:gd name="connsiteY6" fmla="*/ 0 h 120901"/>
                <a:gd name="connsiteX7" fmla="*/ 76011 w 147767"/>
                <a:gd name="connsiteY7" fmla="*/ 0 h 120901"/>
                <a:gd name="connsiteX8" fmla="*/ 77802 w 147767"/>
                <a:gd name="connsiteY8" fmla="*/ 895 h 120901"/>
                <a:gd name="connsiteX9" fmla="*/ 151686 w 147767"/>
                <a:gd name="connsiteY9" fmla="*/ 121349 h 120901"/>
                <a:gd name="connsiteX10" fmla="*/ 151686 w 147767"/>
                <a:gd name="connsiteY10" fmla="*/ 123588 h 120901"/>
                <a:gd name="connsiteX11" fmla="*/ 149895 w 147767"/>
                <a:gd name="connsiteY11" fmla="*/ 124931 h 120901"/>
                <a:gd name="connsiteX12" fmla="*/ 6157 w 147767"/>
                <a:gd name="connsiteY12" fmla="*/ 120453 h 120901"/>
                <a:gd name="connsiteX13" fmla="*/ 145865 w 147767"/>
                <a:gd name="connsiteY13" fmla="*/ 120453 h 120901"/>
                <a:gd name="connsiteX14" fmla="*/ 76011 w 147767"/>
                <a:gd name="connsiteY14" fmla="*/ 6269 h 120901"/>
                <a:gd name="connsiteX15" fmla="*/ 6157 w 147767"/>
                <a:gd name="connsiteY15" fmla="*/ 1204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120901">
                  <a:moveTo>
                    <a:pt x="149895" y="124931"/>
                  </a:moveTo>
                  <a:lnTo>
                    <a:pt x="149895" y="124931"/>
                  </a:lnTo>
                  <a:lnTo>
                    <a:pt x="2127" y="124931"/>
                  </a:lnTo>
                  <a:cubicBezTo>
                    <a:pt x="1231" y="124931"/>
                    <a:pt x="783" y="124483"/>
                    <a:pt x="336" y="123588"/>
                  </a:cubicBezTo>
                  <a:cubicBezTo>
                    <a:pt x="-112" y="122692"/>
                    <a:pt x="-112" y="121796"/>
                    <a:pt x="336" y="121349"/>
                  </a:cubicBezTo>
                  <a:lnTo>
                    <a:pt x="74220" y="895"/>
                  </a:lnTo>
                  <a:cubicBezTo>
                    <a:pt x="74667" y="448"/>
                    <a:pt x="75563" y="0"/>
                    <a:pt x="76011" y="0"/>
                  </a:cubicBezTo>
                  <a:lnTo>
                    <a:pt x="76011" y="0"/>
                  </a:lnTo>
                  <a:cubicBezTo>
                    <a:pt x="76906" y="0"/>
                    <a:pt x="77354" y="448"/>
                    <a:pt x="77802" y="895"/>
                  </a:cubicBezTo>
                  <a:lnTo>
                    <a:pt x="151686" y="121349"/>
                  </a:lnTo>
                  <a:cubicBezTo>
                    <a:pt x="152134" y="122244"/>
                    <a:pt x="152134" y="122692"/>
                    <a:pt x="151686" y="123588"/>
                  </a:cubicBezTo>
                  <a:cubicBezTo>
                    <a:pt x="151238" y="124483"/>
                    <a:pt x="150343" y="124931"/>
                    <a:pt x="149895" y="124931"/>
                  </a:cubicBezTo>
                  <a:close/>
                  <a:moveTo>
                    <a:pt x="6157" y="120453"/>
                  </a:moveTo>
                  <a:lnTo>
                    <a:pt x="145865" y="120453"/>
                  </a:lnTo>
                  <a:lnTo>
                    <a:pt x="76011" y="6269"/>
                  </a:lnTo>
                  <a:lnTo>
                    <a:pt x="6157" y="120453"/>
                  </a:lnTo>
                  <a:close/>
                </a:path>
              </a:pathLst>
            </a:custGeom>
            <a:solidFill>
              <a:srgbClr val="231F20"/>
            </a:solidFill>
            <a:ln w="4474" cap="flat">
              <a:noFill/>
              <a:prstDash val="solid"/>
              <a:miter/>
            </a:ln>
          </p:spPr>
          <p:txBody>
            <a:bodyPr rtlCol="0" anchor="ctr"/>
            <a:lstStyle/>
            <a:p>
              <a:endParaRPr lang="en-US"/>
            </a:p>
          </p:txBody>
        </p:sp>
        <p:sp>
          <p:nvSpPr>
            <p:cNvPr id="4424" name="Freeform: Shape 4423">
              <a:extLst>
                <a:ext uri="{FF2B5EF4-FFF2-40B4-BE49-F238E27FC236}">
                  <a16:creationId xmlns:a16="http://schemas.microsoft.com/office/drawing/2014/main" id="{D72FF1CD-7A3C-4A40-8961-019C3D09A15D}"/>
                </a:ext>
              </a:extLst>
            </p:cNvPr>
            <p:cNvSpPr/>
            <p:nvPr/>
          </p:nvSpPr>
          <p:spPr>
            <a:xfrm>
              <a:off x="4859404" y="3577238"/>
              <a:ext cx="31345" cy="53734"/>
            </a:xfrm>
            <a:custGeom>
              <a:avLst/>
              <a:gdLst>
                <a:gd name="connsiteX0" fmla="*/ 34815 w 31344"/>
                <a:gd name="connsiteY0" fmla="*/ 47193 h 53733"/>
                <a:gd name="connsiteX1" fmla="*/ 31681 w 31344"/>
                <a:gd name="connsiteY1" fmla="*/ 46297 h 53733"/>
                <a:gd name="connsiteX2" fmla="*/ 20486 w 31344"/>
                <a:gd name="connsiteY2" fmla="*/ 51223 h 53733"/>
                <a:gd name="connsiteX3" fmla="*/ 31233 w 31344"/>
                <a:gd name="connsiteY3" fmla="*/ 30177 h 53733"/>
                <a:gd name="connsiteX4" fmla="*/ 31233 w 31344"/>
                <a:gd name="connsiteY4" fmla="*/ 27938 h 53733"/>
                <a:gd name="connsiteX5" fmla="*/ 29442 w 31344"/>
                <a:gd name="connsiteY5" fmla="*/ 27043 h 53733"/>
                <a:gd name="connsiteX6" fmla="*/ 6157 w 31344"/>
                <a:gd name="connsiteY6" fmla="*/ 27043 h 53733"/>
                <a:gd name="connsiteX7" fmla="*/ 17799 w 31344"/>
                <a:gd name="connsiteY7" fmla="*/ 3310 h 53733"/>
                <a:gd name="connsiteX8" fmla="*/ 16904 w 31344"/>
                <a:gd name="connsiteY8" fmla="*/ 176 h 53733"/>
                <a:gd name="connsiteX9" fmla="*/ 13769 w 31344"/>
                <a:gd name="connsiteY9" fmla="*/ 1071 h 53733"/>
                <a:gd name="connsiteX10" fmla="*/ 336 w 31344"/>
                <a:gd name="connsiteY10" fmla="*/ 27938 h 53733"/>
                <a:gd name="connsiteX11" fmla="*/ 336 w 31344"/>
                <a:gd name="connsiteY11" fmla="*/ 30177 h 53733"/>
                <a:gd name="connsiteX12" fmla="*/ 2127 w 31344"/>
                <a:gd name="connsiteY12" fmla="*/ 31073 h 53733"/>
                <a:gd name="connsiteX13" fmla="*/ 25412 w 31344"/>
                <a:gd name="connsiteY13" fmla="*/ 31073 h 53733"/>
                <a:gd name="connsiteX14" fmla="*/ 15560 w 31344"/>
                <a:gd name="connsiteY14" fmla="*/ 50775 h 53733"/>
                <a:gd name="connsiteX15" fmla="*/ 10635 w 31344"/>
                <a:gd name="connsiteY15" fmla="*/ 41371 h 53733"/>
                <a:gd name="connsiteX16" fmla="*/ 7500 w 31344"/>
                <a:gd name="connsiteY16" fmla="*/ 40476 h 53733"/>
                <a:gd name="connsiteX17" fmla="*/ 6605 w 31344"/>
                <a:gd name="connsiteY17" fmla="*/ 43610 h 53733"/>
                <a:gd name="connsiteX18" fmla="*/ 13321 w 31344"/>
                <a:gd name="connsiteY18" fmla="*/ 57044 h 53733"/>
                <a:gd name="connsiteX19" fmla="*/ 13321 w 31344"/>
                <a:gd name="connsiteY19" fmla="*/ 57044 h 53733"/>
                <a:gd name="connsiteX20" fmla="*/ 13769 w 31344"/>
                <a:gd name="connsiteY20" fmla="*/ 57492 h 53733"/>
                <a:gd name="connsiteX21" fmla="*/ 13769 w 31344"/>
                <a:gd name="connsiteY21" fmla="*/ 57492 h 53733"/>
                <a:gd name="connsiteX22" fmla="*/ 13769 w 31344"/>
                <a:gd name="connsiteY22" fmla="*/ 57492 h 53733"/>
                <a:gd name="connsiteX23" fmla="*/ 13769 w 31344"/>
                <a:gd name="connsiteY23" fmla="*/ 57492 h 53733"/>
                <a:gd name="connsiteX24" fmla="*/ 14665 w 31344"/>
                <a:gd name="connsiteY24" fmla="*/ 57939 h 53733"/>
                <a:gd name="connsiteX25" fmla="*/ 14665 w 31344"/>
                <a:gd name="connsiteY25" fmla="*/ 57939 h 53733"/>
                <a:gd name="connsiteX26" fmla="*/ 14665 w 31344"/>
                <a:gd name="connsiteY26" fmla="*/ 57939 h 53733"/>
                <a:gd name="connsiteX27" fmla="*/ 14665 w 31344"/>
                <a:gd name="connsiteY27" fmla="*/ 57939 h 53733"/>
                <a:gd name="connsiteX28" fmla="*/ 14665 w 31344"/>
                <a:gd name="connsiteY28" fmla="*/ 57939 h 53733"/>
                <a:gd name="connsiteX29" fmla="*/ 14665 w 31344"/>
                <a:gd name="connsiteY29" fmla="*/ 57939 h 53733"/>
                <a:gd name="connsiteX30" fmla="*/ 15560 w 31344"/>
                <a:gd name="connsiteY30" fmla="*/ 57939 h 53733"/>
                <a:gd name="connsiteX31" fmla="*/ 32576 w 31344"/>
                <a:gd name="connsiteY31" fmla="*/ 50327 h 53733"/>
                <a:gd name="connsiteX32" fmla="*/ 34815 w 31344"/>
                <a:gd name="connsiteY32" fmla="*/ 47193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344" h="53733">
                  <a:moveTo>
                    <a:pt x="34815" y="47193"/>
                  </a:moveTo>
                  <a:cubicBezTo>
                    <a:pt x="34367" y="45849"/>
                    <a:pt x="33024" y="45402"/>
                    <a:pt x="31681" y="46297"/>
                  </a:cubicBezTo>
                  <a:lnTo>
                    <a:pt x="20486" y="51223"/>
                  </a:lnTo>
                  <a:lnTo>
                    <a:pt x="31233" y="30177"/>
                  </a:lnTo>
                  <a:cubicBezTo>
                    <a:pt x="31681" y="29282"/>
                    <a:pt x="31681" y="28834"/>
                    <a:pt x="31233" y="27938"/>
                  </a:cubicBezTo>
                  <a:cubicBezTo>
                    <a:pt x="30785" y="27043"/>
                    <a:pt x="29889" y="27043"/>
                    <a:pt x="29442" y="27043"/>
                  </a:cubicBezTo>
                  <a:lnTo>
                    <a:pt x="6157" y="27043"/>
                  </a:lnTo>
                  <a:lnTo>
                    <a:pt x="17799" y="3310"/>
                  </a:lnTo>
                  <a:cubicBezTo>
                    <a:pt x="18247" y="2415"/>
                    <a:pt x="17799" y="1071"/>
                    <a:pt x="16904" y="176"/>
                  </a:cubicBezTo>
                  <a:cubicBezTo>
                    <a:pt x="16008" y="-272"/>
                    <a:pt x="14665" y="176"/>
                    <a:pt x="13769" y="1071"/>
                  </a:cubicBezTo>
                  <a:lnTo>
                    <a:pt x="336" y="27938"/>
                  </a:lnTo>
                  <a:cubicBezTo>
                    <a:pt x="-112" y="28834"/>
                    <a:pt x="-112" y="29282"/>
                    <a:pt x="336" y="30177"/>
                  </a:cubicBezTo>
                  <a:cubicBezTo>
                    <a:pt x="784" y="31073"/>
                    <a:pt x="1679" y="31073"/>
                    <a:pt x="2127" y="31073"/>
                  </a:cubicBezTo>
                  <a:lnTo>
                    <a:pt x="25412" y="31073"/>
                  </a:lnTo>
                  <a:lnTo>
                    <a:pt x="15560" y="50775"/>
                  </a:lnTo>
                  <a:lnTo>
                    <a:pt x="10635" y="41371"/>
                  </a:lnTo>
                  <a:cubicBezTo>
                    <a:pt x="10187" y="40476"/>
                    <a:pt x="8844" y="40028"/>
                    <a:pt x="7500" y="40476"/>
                  </a:cubicBezTo>
                  <a:cubicBezTo>
                    <a:pt x="6605" y="40924"/>
                    <a:pt x="6157" y="42267"/>
                    <a:pt x="6605" y="43610"/>
                  </a:cubicBezTo>
                  <a:lnTo>
                    <a:pt x="13321" y="57044"/>
                  </a:lnTo>
                  <a:cubicBezTo>
                    <a:pt x="13321" y="57044"/>
                    <a:pt x="13321" y="57044"/>
                    <a:pt x="13321" y="57044"/>
                  </a:cubicBezTo>
                  <a:cubicBezTo>
                    <a:pt x="13321" y="57492"/>
                    <a:pt x="13769" y="57492"/>
                    <a:pt x="13769" y="57492"/>
                  </a:cubicBezTo>
                  <a:cubicBezTo>
                    <a:pt x="13769" y="57492"/>
                    <a:pt x="13769" y="57492"/>
                    <a:pt x="13769" y="57492"/>
                  </a:cubicBezTo>
                  <a:cubicBezTo>
                    <a:pt x="13769" y="57492"/>
                    <a:pt x="13769" y="57492"/>
                    <a:pt x="13769" y="57492"/>
                  </a:cubicBezTo>
                  <a:cubicBezTo>
                    <a:pt x="13769" y="57492"/>
                    <a:pt x="13769" y="57492"/>
                    <a:pt x="13769" y="57492"/>
                  </a:cubicBezTo>
                  <a:cubicBezTo>
                    <a:pt x="14217" y="57492"/>
                    <a:pt x="14217" y="57939"/>
                    <a:pt x="14665" y="57939"/>
                  </a:cubicBezTo>
                  <a:cubicBezTo>
                    <a:pt x="14665" y="57939"/>
                    <a:pt x="14665" y="57939"/>
                    <a:pt x="14665" y="57939"/>
                  </a:cubicBezTo>
                  <a:cubicBezTo>
                    <a:pt x="14665" y="57939"/>
                    <a:pt x="14665" y="57939"/>
                    <a:pt x="14665" y="57939"/>
                  </a:cubicBezTo>
                  <a:lnTo>
                    <a:pt x="14665" y="57939"/>
                  </a:lnTo>
                  <a:lnTo>
                    <a:pt x="14665" y="57939"/>
                  </a:lnTo>
                  <a:cubicBezTo>
                    <a:pt x="14665" y="57939"/>
                    <a:pt x="14665" y="57939"/>
                    <a:pt x="14665" y="57939"/>
                  </a:cubicBezTo>
                  <a:cubicBezTo>
                    <a:pt x="15113" y="57939"/>
                    <a:pt x="15113" y="57939"/>
                    <a:pt x="15560" y="57939"/>
                  </a:cubicBezTo>
                  <a:lnTo>
                    <a:pt x="32576" y="50327"/>
                  </a:lnTo>
                  <a:cubicBezTo>
                    <a:pt x="34815" y="49432"/>
                    <a:pt x="35263" y="48088"/>
                    <a:pt x="34815" y="47193"/>
                  </a:cubicBezTo>
                  <a:close/>
                </a:path>
              </a:pathLst>
            </a:custGeom>
            <a:solidFill>
              <a:srgbClr val="231F20"/>
            </a:solidFill>
            <a:ln w="4474" cap="flat">
              <a:noFill/>
              <a:prstDash val="solid"/>
              <a:miter/>
            </a:ln>
          </p:spPr>
          <p:txBody>
            <a:bodyPr rtlCol="0" anchor="ctr"/>
            <a:lstStyle/>
            <a:p>
              <a:endParaRPr lang="en-US"/>
            </a:p>
          </p:txBody>
        </p:sp>
      </p:grpSp>
      <p:sp>
        <p:nvSpPr>
          <p:cNvPr id="4425" name="Freeform: Shape 4424">
            <a:extLst>
              <a:ext uri="{FF2B5EF4-FFF2-40B4-BE49-F238E27FC236}">
                <a16:creationId xmlns:a16="http://schemas.microsoft.com/office/drawing/2014/main" id="{6677641A-90F6-4B3B-BEA4-31B2F2D48E74}"/>
              </a:ext>
              <a:ext uri="{C183D7F6-B498-43B3-948B-1728B52AA6E4}">
                <adec:decorative xmlns:adec="http://schemas.microsoft.com/office/drawing/2017/decorative" val="1"/>
              </a:ext>
            </a:extLst>
          </p:cNvPr>
          <p:cNvSpPr>
            <a:spLocks noChangeAspect="1"/>
          </p:cNvSpPr>
          <p:nvPr/>
        </p:nvSpPr>
        <p:spPr>
          <a:xfrm>
            <a:off x="5273037" y="4245238"/>
            <a:ext cx="147768" cy="152246"/>
          </a:xfrm>
          <a:custGeom>
            <a:avLst/>
            <a:gdLst>
              <a:gd name="connsiteX0" fmla="*/ 151798 w 147767"/>
              <a:gd name="connsiteY0" fmla="*/ 76123 h 152245"/>
              <a:gd name="connsiteX1" fmla="*/ 75675 w 147767"/>
              <a:gd name="connsiteY1" fmla="*/ 0 h 152245"/>
              <a:gd name="connsiteX2" fmla="*/ 21941 w 147767"/>
              <a:gd name="connsiteY2" fmla="*/ 22389 h 152245"/>
              <a:gd name="connsiteX3" fmla="*/ 21941 w 147767"/>
              <a:gd name="connsiteY3" fmla="*/ 22389 h 152245"/>
              <a:gd name="connsiteX4" fmla="*/ 21941 w 147767"/>
              <a:gd name="connsiteY4" fmla="*/ 22837 h 152245"/>
              <a:gd name="connsiteX5" fmla="*/ 0 w 147767"/>
              <a:gd name="connsiteY5" fmla="*/ 76123 h 152245"/>
              <a:gd name="connsiteX6" fmla="*/ 76123 w 147767"/>
              <a:gd name="connsiteY6" fmla="*/ 152246 h 152245"/>
              <a:gd name="connsiteX7" fmla="*/ 129409 w 147767"/>
              <a:gd name="connsiteY7" fmla="*/ 130305 h 152245"/>
              <a:gd name="connsiteX8" fmla="*/ 129857 w 147767"/>
              <a:gd name="connsiteY8" fmla="*/ 130305 h 152245"/>
              <a:gd name="connsiteX9" fmla="*/ 129857 w 147767"/>
              <a:gd name="connsiteY9" fmla="*/ 130305 h 152245"/>
              <a:gd name="connsiteX10" fmla="*/ 151798 w 147767"/>
              <a:gd name="connsiteY10" fmla="*/ 76123 h 152245"/>
              <a:gd name="connsiteX11" fmla="*/ 147320 w 147767"/>
              <a:gd name="connsiteY11" fmla="*/ 76123 h 152245"/>
              <a:gd name="connsiteX12" fmla="*/ 127618 w 147767"/>
              <a:gd name="connsiteY12" fmla="*/ 125379 h 152245"/>
              <a:gd name="connsiteX13" fmla="*/ 26419 w 147767"/>
              <a:gd name="connsiteY13" fmla="*/ 24180 h 152245"/>
              <a:gd name="connsiteX14" fmla="*/ 75675 w 147767"/>
              <a:gd name="connsiteY14" fmla="*/ 4478 h 152245"/>
              <a:gd name="connsiteX15" fmla="*/ 147320 w 147767"/>
              <a:gd name="connsiteY15" fmla="*/ 76123 h 152245"/>
              <a:gd name="connsiteX16" fmla="*/ 4030 w 147767"/>
              <a:gd name="connsiteY16" fmla="*/ 76123 h 152245"/>
              <a:gd name="connsiteX17" fmla="*/ 23284 w 147767"/>
              <a:gd name="connsiteY17" fmla="*/ 27315 h 152245"/>
              <a:gd name="connsiteX18" fmla="*/ 124483 w 147767"/>
              <a:gd name="connsiteY18" fmla="*/ 128513 h 152245"/>
              <a:gd name="connsiteX19" fmla="*/ 75675 w 147767"/>
              <a:gd name="connsiteY19" fmla="*/ 147768 h 152245"/>
              <a:gd name="connsiteX20" fmla="*/ 4030 w 147767"/>
              <a:gd name="connsiteY20" fmla="*/ 76123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7767" h="152245">
                <a:moveTo>
                  <a:pt x="151798" y="76123"/>
                </a:moveTo>
                <a:cubicBezTo>
                  <a:pt x="151798" y="34032"/>
                  <a:pt x="117766" y="0"/>
                  <a:pt x="75675" y="0"/>
                </a:cubicBezTo>
                <a:cubicBezTo>
                  <a:pt x="54629" y="0"/>
                  <a:pt x="35374" y="8508"/>
                  <a:pt x="21941" y="22389"/>
                </a:cubicBezTo>
                <a:cubicBezTo>
                  <a:pt x="21941" y="22389"/>
                  <a:pt x="21941" y="22389"/>
                  <a:pt x="21941" y="22389"/>
                </a:cubicBezTo>
                <a:cubicBezTo>
                  <a:pt x="21941" y="22389"/>
                  <a:pt x="21941" y="22389"/>
                  <a:pt x="21941" y="22837"/>
                </a:cubicBezTo>
                <a:cubicBezTo>
                  <a:pt x="8507" y="36718"/>
                  <a:pt x="0" y="55525"/>
                  <a:pt x="0" y="76123"/>
                </a:cubicBezTo>
                <a:cubicBezTo>
                  <a:pt x="0" y="118214"/>
                  <a:pt x="34031" y="152246"/>
                  <a:pt x="76123" y="152246"/>
                </a:cubicBezTo>
                <a:cubicBezTo>
                  <a:pt x="96721" y="152246"/>
                  <a:pt x="115527" y="143738"/>
                  <a:pt x="129409" y="130305"/>
                </a:cubicBezTo>
                <a:cubicBezTo>
                  <a:pt x="129409" y="130305"/>
                  <a:pt x="129409" y="130305"/>
                  <a:pt x="129857" y="130305"/>
                </a:cubicBezTo>
                <a:cubicBezTo>
                  <a:pt x="129857" y="130305"/>
                  <a:pt x="129857" y="130305"/>
                  <a:pt x="129857" y="130305"/>
                </a:cubicBezTo>
                <a:cubicBezTo>
                  <a:pt x="143290" y="116423"/>
                  <a:pt x="151798" y="97169"/>
                  <a:pt x="151798" y="76123"/>
                </a:cubicBezTo>
                <a:close/>
                <a:moveTo>
                  <a:pt x="147320" y="76123"/>
                </a:moveTo>
                <a:cubicBezTo>
                  <a:pt x="147320" y="95377"/>
                  <a:pt x="139708" y="112393"/>
                  <a:pt x="127618" y="125379"/>
                </a:cubicBezTo>
                <a:lnTo>
                  <a:pt x="26419" y="24180"/>
                </a:lnTo>
                <a:cubicBezTo>
                  <a:pt x="39404" y="12090"/>
                  <a:pt x="56420" y="4478"/>
                  <a:pt x="75675" y="4478"/>
                </a:cubicBezTo>
                <a:cubicBezTo>
                  <a:pt x="115527" y="4478"/>
                  <a:pt x="147320" y="36718"/>
                  <a:pt x="147320" y="76123"/>
                </a:cubicBezTo>
                <a:close/>
                <a:moveTo>
                  <a:pt x="4030" y="76123"/>
                </a:moveTo>
                <a:cubicBezTo>
                  <a:pt x="4030" y="57316"/>
                  <a:pt x="11195" y="40300"/>
                  <a:pt x="23284" y="27315"/>
                </a:cubicBezTo>
                <a:lnTo>
                  <a:pt x="124483" y="128513"/>
                </a:lnTo>
                <a:cubicBezTo>
                  <a:pt x="111497" y="140604"/>
                  <a:pt x="94482" y="147768"/>
                  <a:pt x="75675" y="147768"/>
                </a:cubicBezTo>
                <a:cubicBezTo>
                  <a:pt x="36270" y="147768"/>
                  <a:pt x="4030" y="115528"/>
                  <a:pt x="4030" y="76123"/>
                </a:cubicBezTo>
                <a:close/>
              </a:path>
            </a:pathLst>
          </a:custGeom>
          <a:solidFill>
            <a:srgbClr val="231F20"/>
          </a:solidFill>
          <a:ln w="4474" cap="flat">
            <a:noFill/>
            <a:prstDash val="solid"/>
            <a:miter/>
          </a:ln>
        </p:spPr>
        <p:txBody>
          <a:bodyPr rtlCol="0" anchor="ctr"/>
          <a:lstStyle/>
          <a:p>
            <a:endParaRPr lang="en-US"/>
          </a:p>
        </p:txBody>
      </p:sp>
      <p:grpSp>
        <p:nvGrpSpPr>
          <p:cNvPr id="4426" name="Group 4425">
            <a:extLst>
              <a:ext uri="{FF2B5EF4-FFF2-40B4-BE49-F238E27FC236}">
                <a16:creationId xmlns:a16="http://schemas.microsoft.com/office/drawing/2014/main" id="{ABA58EEF-71D7-4A5A-A1BB-52EC0C610FA0}"/>
              </a:ext>
              <a:ext uri="{C183D7F6-B498-43B3-948B-1728B52AA6E4}">
                <adec:decorative xmlns:adec="http://schemas.microsoft.com/office/drawing/2017/decorative" val="1"/>
              </a:ext>
            </a:extLst>
          </p:cNvPr>
          <p:cNvGrpSpPr>
            <a:grpSpLocks noChangeAspect="1"/>
          </p:cNvGrpSpPr>
          <p:nvPr/>
        </p:nvGrpSpPr>
        <p:grpSpPr>
          <a:xfrm>
            <a:off x="2909197" y="4245238"/>
            <a:ext cx="152246" cy="152246"/>
            <a:chOff x="2949951" y="3509799"/>
            <a:chExt cx="152246" cy="152246"/>
          </a:xfrm>
        </p:grpSpPr>
        <p:sp>
          <p:nvSpPr>
            <p:cNvPr id="4427" name="Freeform: Shape 4426">
              <a:extLst>
                <a:ext uri="{FF2B5EF4-FFF2-40B4-BE49-F238E27FC236}">
                  <a16:creationId xmlns:a16="http://schemas.microsoft.com/office/drawing/2014/main" id="{2E372B41-E3F3-4C39-9D2B-FF3E8AB62C1C}"/>
                </a:ext>
              </a:extLst>
            </p:cNvPr>
            <p:cNvSpPr/>
            <p:nvPr/>
          </p:nvSpPr>
          <p:spPr>
            <a:xfrm>
              <a:off x="2979337" y="3539234"/>
              <a:ext cx="31345" cy="31345"/>
            </a:xfrm>
            <a:custGeom>
              <a:avLst/>
              <a:gdLst>
                <a:gd name="connsiteX0" fmla="*/ 1959 w 31344"/>
                <a:gd name="connsiteY0" fmla="*/ 35494 h 31344"/>
                <a:gd name="connsiteX1" fmla="*/ 1511 w 31344"/>
                <a:gd name="connsiteY1" fmla="*/ 35494 h 31344"/>
                <a:gd name="connsiteX2" fmla="*/ 168 w 31344"/>
                <a:gd name="connsiteY2" fmla="*/ 32807 h 31344"/>
                <a:gd name="connsiteX3" fmla="*/ 31960 w 31344"/>
                <a:gd name="connsiteY3" fmla="*/ 119 h 31344"/>
                <a:gd name="connsiteX4" fmla="*/ 34647 w 31344"/>
                <a:gd name="connsiteY4" fmla="*/ 1462 h 31344"/>
                <a:gd name="connsiteX5" fmla="*/ 33304 w 31344"/>
                <a:gd name="connsiteY5" fmla="*/ 4149 h 31344"/>
                <a:gd name="connsiteX6" fmla="*/ 4646 w 31344"/>
                <a:gd name="connsiteY6" fmla="*/ 33703 h 31344"/>
                <a:gd name="connsiteX7" fmla="*/ 1959 w 31344"/>
                <a:gd name="connsiteY7" fmla="*/ 3549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31344">
                  <a:moveTo>
                    <a:pt x="1959" y="35494"/>
                  </a:moveTo>
                  <a:cubicBezTo>
                    <a:pt x="1959" y="35494"/>
                    <a:pt x="1511" y="35494"/>
                    <a:pt x="1511" y="35494"/>
                  </a:cubicBezTo>
                  <a:cubicBezTo>
                    <a:pt x="168" y="35046"/>
                    <a:pt x="-280" y="33703"/>
                    <a:pt x="168" y="32807"/>
                  </a:cubicBezTo>
                  <a:cubicBezTo>
                    <a:pt x="4646" y="17582"/>
                    <a:pt x="16736" y="5045"/>
                    <a:pt x="31960" y="119"/>
                  </a:cubicBezTo>
                  <a:cubicBezTo>
                    <a:pt x="33304" y="-329"/>
                    <a:pt x="34199" y="567"/>
                    <a:pt x="34647" y="1462"/>
                  </a:cubicBezTo>
                  <a:cubicBezTo>
                    <a:pt x="35095" y="2806"/>
                    <a:pt x="34199" y="3701"/>
                    <a:pt x="33304" y="4149"/>
                  </a:cubicBezTo>
                  <a:cubicBezTo>
                    <a:pt x="19422" y="8627"/>
                    <a:pt x="8676" y="19821"/>
                    <a:pt x="4646" y="33703"/>
                  </a:cubicBezTo>
                  <a:cubicBezTo>
                    <a:pt x="3750" y="35046"/>
                    <a:pt x="2854" y="35494"/>
                    <a:pt x="1959" y="35494"/>
                  </a:cubicBezTo>
                  <a:close/>
                </a:path>
              </a:pathLst>
            </a:custGeom>
            <a:solidFill>
              <a:srgbClr val="231F20"/>
            </a:solidFill>
            <a:ln w="4474" cap="flat">
              <a:noFill/>
              <a:prstDash val="solid"/>
              <a:miter/>
            </a:ln>
          </p:spPr>
          <p:txBody>
            <a:bodyPr rtlCol="0" anchor="ctr"/>
            <a:lstStyle/>
            <a:p>
              <a:endParaRPr lang="en-US"/>
            </a:p>
          </p:txBody>
        </p:sp>
        <p:sp>
          <p:nvSpPr>
            <p:cNvPr id="4428" name="Freeform: Shape 4427">
              <a:extLst>
                <a:ext uri="{FF2B5EF4-FFF2-40B4-BE49-F238E27FC236}">
                  <a16:creationId xmlns:a16="http://schemas.microsoft.com/office/drawing/2014/main" id="{C583B823-D82E-4EF2-9A98-DAE81A321A30}"/>
                </a:ext>
              </a:extLst>
            </p:cNvPr>
            <p:cNvSpPr/>
            <p:nvPr/>
          </p:nvSpPr>
          <p:spPr>
            <a:xfrm>
              <a:off x="2978490" y="3597445"/>
              <a:ext cx="31345" cy="31345"/>
            </a:xfrm>
            <a:custGeom>
              <a:avLst/>
              <a:gdLst>
                <a:gd name="connsiteX0" fmla="*/ 32807 w 31344"/>
                <a:gd name="connsiteY0" fmla="*/ 35494 h 31344"/>
                <a:gd name="connsiteX1" fmla="*/ 31912 w 31344"/>
                <a:gd name="connsiteY1" fmla="*/ 35494 h 31344"/>
                <a:gd name="connsiteX2" fmla="*/ 119 w 31344"/>
                <a:gd name="connsiteY2" fmla="*/ 2806 h 31344"/>
                <a:gd name="connsiteX3" fmla="*/ 1462 w 31344"/>
                <a:gd name="connsiteY3" fmla="*/ 119 h 31344"/>
                <a:gd name="connsiteX4" fmla="*/ 4149 w 31344"/>
                <a:gd name="connsiteY4" fmla="*/ 1462 h 31344"/>
                <a:gd name="connsiteX5" fmla="*/ 32807 w 31344"/>
                <a:gd name="connsiteY5" fmla="*/ 31016 h 31344"/>
                <a:gd name="connsiteX6" fmla="*/ 34151 w 31344"/>
                <a:gd name="connsiteY6" fmla="*/ 33703 h 31344"/>
                <a:gd name="connsiteX7" fmla="*/ 32807 w 31344"/>
                <a:gd name="connsiteY7" fmla="*/ 3549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44" h="31344">
                  <a:moveTo>
                    <a:pt x="32807" y="35494"/>
                  </a:moveTo>
                  <a:cubicBezTo>
                    <a:pt x="32359" y="35494"/>
                    <a:pt x="32359" y="35494"/>
                    <a:pt x="31912" y="35494"/>
                  </a:cubicBezTo>
                  <a:cubicBezTo>
                    <a:pt x="16687" y="30568"/>
                    <a:pt x="5045" y="18478"/>
                    <a:pt x="119" y="2806"/>
                  </a:cubicBezTo>
                  <a:cubicBezTo>
                    <a:pt x="-329" y="1462"/>
                    <a:pt x="567" y="567"/>
                    <a:pt x="1462" y="119"/>
                  </a:cubicBezTo>
                  <a:cubicBezTo>
                    <a:pt x="2806" y="-329"/>
                    <a:pt x="3701" y="567"/>
                    <a:pt x="4149" y="1462"/>
                  </a:cubicBezTo>
                  <a:cubicBezTo>
                    <a:pt x="8179" y="15344"/>
                    <a:pt x="18926" y="26538"/>
                    <a:pt x="32807" y="31016"/>
                  </a:cubicBezTo>
                  <a:cubicBezTo>
                    <a:pt x="34151" y="31464"/>
                    <a:pt x="34598" y="32807"/>
                    <a:pt x="34151" y="33703"/>
                  </a:cubicBezTo>
                  <a:cubicBezTo>
                    <a:pt x="34598" y="34598"/>
                    <a:pt x="33703" y="35494"/>
                    <a:pt x="32807" y="35494"/>
                  </a:cubicBezTo>
                  <a:close/>
                </a:path>
              </a:pathLst>
            </a:custGeom>
            <a:solidFill>
              <a:srgbClr val="231F20"/>
            </a:solidFill>
            <a:ln w="4474" cap="flat">
              <a:noFill/>
              <a:prstDash val="solid"/>
              <a:miter/>
            </a:ln>
          </p:spPr>
          <p:txBody>
            <a:bodyPr rtlCol="0" anchor="ctr"/>
            <a:lstStyle/>
            <a:p>
              <a:endParaRPr lang="en-US"/>
            </a:p>
          </p:txBody>
        </p:sp>
        <p:sp>
          <p:nvSpPr>
            <p:cNvPr id="4429" name="Freeform: Shape 4428">
              <a:extLst>
                <a:ext uri="{FF2B5EF4-FFF2-40B4-BE49-F238E27FC236}">
                  <a16:creationId xmlns:a16="http://schemas.microsoft.com/office/drawing/2014/main" id="{DDB7939C-9F7E-4429-99A5-5ACFA36ECC09}"/>
                </a:ext>
              </a:extLst>
            </p:cNvPr>
            <p:cNvSpPr/>
            <p:nvPr/>
          </p:nvSpPr>
          <p:spPr>
            <a:xfrm>
              <a:off x="3035808" y="3597396"/>
              <a:ext cx="35823" cy="35823"/>
            </a:xfrm>
            <a:custGeom>
              <a:avLst/>
              <a:gdLst>
                <a:gd name="connsiteX0" fmla="*/ 2355 w 35822"/>
                <a:gd name="connsiteY0" fmla="*/ 36438 h 35822"/>
                <a:gd name="connsiteX1" fmla="*/ 116 w 35822"/>
                <a:gd name="connsiteY1" fmla="*/ 34647 h 35822"/>
                <a:gd name="connsiteX2" fmla="*/ 1908 w 35822"/>
                <a:gd name="connsiteY2" fmla="*/ 31960 h 35822"/>
                <a:gd name="connsiteX3" fmla="*/ 33252 w 35822"/>
                <a:gd name="connsiteY3" fmla="*/ 1511 h 35822"/>
                <a:gd name="connsiteX4" fmla="*/ 35939 w 35822"/>
                <a:gd name="connsiteY4" fmla="*/ 168 h 35822"/>
                <a:gd name="connsiteX5" fmla="*/ 37283 w 35822"/>
                <a:gd name="connsiteY5" fmla="*/ 2855 h 35822"/>
                <a:gd name="connsiteX6" fmla="*/ 2803 w 35822"/>
                <a:gd name="connsiteY6" fmla="*/ 36438 h 35822"/>
                <a:gd name="connsiteX7" fmla="*/ 2355 w 35822"/>
                <a:gd name="connsiteY7" fmla="*/ 36438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22" h="35822">
                  <a:moveTo>
                    <a:pt x="2355" y="36438"/>
                  </a:moveTo>
                  <a:cubicBezTo>
                    <a:pt x="1460" y="36438"/>
                    <a:pt x="564" y="35991"/>
                    <a:pt x="116" y="34647"/>
                  </a:cubicBezTo>
                  <a:cubicBezTo>
                    <a:pt x="-331" y="33304"/>
                    <a:pt x="564" y="32408"/>
                    <a:pt x="1908" y="31960"/>
                  </a:cubicBezTo>
                  <a:cubicBezTo>
                    <a:pt x="16684" y="27930"/>
                    <a:pt x="28775" y="16288"/>
                    <a:pt x="33252" y="1511"/>
                  </a:cubicBezTo>
                  <a:cubicBezTo>
                    <a:pt x="33700" y="168"/>
                    <a:pt x="35044" y="-280"/>
                    <a:pt x="35939" y="168"/>
                  </a:cubicBezTo>
                  <a:cubicBezTo>
                    <a:pt x="37283" y="616"/>
                    <a:pt x="37730" y="1959"/>
                    <a:pt x="37283" y="2855"/>
                  </a:cubicBezTo>
                  <a:cubicBezTo>
                    <a:pt x="32357" y="19423"/>
                    <a:pt x="19371" y="31960"/>
                    <a:pt x="2803" y="36438"/>
                  </a:cubicBezTo>
                  <a:cubicBezTo>
                    <a:pt x="2803" y="35991"/>
                    <a:pt x="2803" y="36438"/>
                    <a:pt x="2355" y="36438"/>
                  </a:cubicBezTo>
                  <a:close/>
                </a:path>
              </a:pathLst>
            </a:custGeom>
            <a:solidFill>
              <a:srgbClr val="231F20"/>
            </a:solidFill>
            <a:ln w="4474" cap="flat">
              <a:noFill/>
              <a:prstDash val="solid"/>
              <a:miter/>
            </a:ln>
          </p:spPr>
          <p:txBody>
            <a:bodyPr rtlCol="0" anchor="ctr"/>
            <a:lstStyle/>
            <a:p>
              <a:endParaRPr lang="en-US"/>
            </a:p>
          </p:txBody>
        </p:sp>
        <p:sp>
          <p:nvSpPr>
            <p:cNvPr id="4430" name="Freeform: Shape 4429">
              <a:extLst>
                <a:ext uri="{FF2B5EF4-FFF2-40B4-BE49-F238E27FC236}">
                  <a16:creationId xmlns:a16="http://schemas.microsoft.com/office/drawing/2014/main" id="{2CAAAFC6-E54D-4310-BB3B-F0ED8605426D}"/>
                </a:ext>
              </a:extLst>
            </p:cNvPr>
            <p:cNvSpPr/>
            <p:nvPr/>
          </p:nvSpPr>
          <p:spPr>
            <a:xfrm>
              <a:off x="3035925" y="3538009"/>
              <a:ext cx="35823" cy="35823"/>
            </a:xfrm>
            <a:custGeom>
              <a:avLst/>
              <a:gdLst>
                <a:gd name="connsiteX0" fmla="*/ 35375 w 35822"/>
                <a:gd name="connsiteY0" fmla="*/ 36718 h 35822"/>
                <a:gd name="connsiteX1" fmla="*/ 33136 w 35822"/>
                <a:gd name="connsiteY1" fmla="*/ 34927 h 35822"/>
                <a:gd name="connsiteX2" fmla="*/ 1791 w 35822"/>
                <a:gd name="connsiteY2" fmla="*/ 4478 h 35822"/>
                <a:gd name="connsiteX3" fmla="*/ 0 w 35822"/>
                <a:gd name="connsiteY3" fmla="*/ 1791 h 35822"/>
                <a:gd name="connsiteX4" fmla="*/ 2687 w 35822"/>
                <a:gd name="connsiteY4" fmla="*/ 0 h 35822"/>
                <a:gd name="connsiteX5" fmla="*/ 37166 w 35822"/>
                <a:gd name="connsiteY5" fmla="*/ 33584 h 35822"/>
                <a:gd name="connsiteX6" fmla="*/ 35823 w 35822"/>
                <a:gd name="connsiteY6" fmla="*/ 36270 h 35822"/>
                <a:gd name="connsiteX7" fmla="*/ 35375 w 35822"/>
                <a:gd name="connsiteY7" fmla="*/ 36718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22" h="35822">
                  <a:moveTo>
                    <a:pt x="35375" y="36718"/>
                  </a:moveTo>
                  <a:cubicBezTo>
                    <a:pt x="34479" y="36718"/>
                    <a:pt x="33584" y="36270"/>
                    <a:pt x="33136" y="34927"/>
                  </a:cubicBezTo>
                  <a:cubicBezTo>
                    <a:pt x="28658" y="20150"/>
                    <a:pt x="16568" y="8508"/>
                    <a:pt x="1791" y="4478"/>
                  </a:cubicBezTo>
                  <a:cubicBezTo>
                    <a:pt x="448" y="4030"/>
                    <a:pt x="0" y="3135"/>
                    <a:pt x="0" y="1791"/>
                  </a:cubicBezTo>
                  <a:cubicBezTo>
                    <a:pt x="448" y="448"/>
                    <a:pt x="1344" y="0"/>
                    <a:pt x="2687" y="0"/>
                  </a:cubicBezTo>
                  <a:cubicBezTo>
                    <a:pt x="19255" y="4478"/>
                    <a:pt x="32240" y="17016"/>
                    <a:pt x="37166" y="33584"/>
                  </a:cubicBezTo>
                  <a:cubicBezTo>
                    <a:pt x="37614" y="34927"/>
                    <a:pt x="36718" y="35823"/>
                    <a:pt x="35823" y="36270"/>
                  </a:cubicBezTo>
                  <a:cubicBezTo>
                    <a:pt x="35823" y="36718"/>
                    <a:pt x="35823" y="36718"/>
                    <a:pt x="35375" y="36718"/>
                  </a:cubicBezTo>
                  <a:close/>
                </a:path>
              </a:pathLst>
            </a:custGeom>
            <a:solidFill>
              <a:srgbClr val="231F20"/>
            </a:solidFill>
            <a:ln w="4474" cap="flat">
              <a:noFill/>
              <a:prstDash val="solid"/>
              <a:miter/>
            </a:ln>
          </p:spPr>
          <p:txBody>
            <a:bodyPr rtlCol="0" anchor="ctr"/>
            <a:lstStyle/>
            <a:p>
              <a:endParaRPr lang="en-US"/>
            </a:p>
          </p:txBody>
        </p:sp>
        <p:sp>
          <p:nvSpPr>
            <p:cNvPr id="4431" name="Freeform: Shape 4430">
              <a:extLst>
                <a:ext uri="{FF2B5EF4-FFF2-40B4-BE49-F238E27FC236}">
                  <a16:creationId xmlns:a16="http://schemas.microsoft.com/office/drawing/2014/main" id="{576CE89A-6269-4B67-87E4-7B4E93F56921}"/>
                </a:ext>
              </a:extLst>
            </p:cNvPr>
            <p:cNvSpPr/>
            <p:nvPr/>
          </p:nvSpPr>
          <p:spPr>
            <a:xfrm>
              <a:off x="2949951" y="3509799"/>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147768 w 152245"/>
                <a:gd name="connsiteY5" fmla="*/ 73884 h 152245"/>
                <a:gd name="connsiteX6" fmla="*/ 98512 w 152245"/>
                <a:gd name="connsiteY6" fmla="*/ 73884 h 152245"/>
                <a:gd name="connsiteX7" fmla="*/ 78809 w 152245"/>
                <a:gd name="connsiteY7" fmla="*/ 54182 h 152245"/>
                <a:gd name="connsiteX8" fmla="*/ 78809 w 152245"/>
                <a:gd name="connsiteY8" fmla="*/ 4926 h 152245"/>
                <a:gd name="connsiteX9" fmla="*/ 147768 w 152245"/>
                <a:gd name="connsiteY9" fmla="*/ 73884 h 152245"/>
                <a:gd name="connsiteX10" fmla="*/ 73884 w 152245"/>
                <a:gd name="connsiteY10" fmla="*/ 73884 h 152245"/>
                <a:gd name="connsiteX11" fmla="*/ 58659 w 152245"/>
                <a:gd name="connsiteY11" fmla="*/ 73884 h 152245"/>
                <a:gd name="connsiteX12" fmla="*/ 73884 w 152245"/>
                <a:gd name="connsiteY12" fmla="*/ 58660 h 152245"/>
                <a:gd name="connsiteX13" fmla="*/ 73884 w 152245"/>
                <a:gd name="connsiteY13" fmla="*/ 73884 h 152245"/>
                <a:gd name="connsiteX14" fmla="*/ 73884 w 152245"/>
                <a:gd name="connsiteY14" fmla="*/ 78362 h 152245"/>
                <a:gd name="connsiteX15" fmla="*/ 73884 w 152245"/>
                <a:gd name="connsiteY15" fmla="*/ 93586 h 152245"/>
                <a:gd name="connsiteX16" fmla="*/ 58659 w 152245"/>
                <a:gd name="connsiteY16" fmla="*/ 78362 h 152245"/>
                <a:gd name="connsiteX17" fmla="*/ 73884 w 152245"/>
                <a:gd name="connsiteY17" fmla="*/ 78362 h 152245"/>
                <a:gd name="connsiteX18" fmla="*/ 78362 w 152245"/>
                <a:gd name="connsiteY18" fmla="*/ 78362 h 152245"/>
                <a:gd name="connsiteX19" fmla="*/ 93586 w 152245"/>
                <a:gd name="connsiteY19" fmla="*/ 78362 h 152245"/>
                <a:gd name="connsiteX20" fmla="*/ 78362 w 152245"/>
                <a:gd name="connsiteY20" fmla="*/ 93586 h 152245"/>
                <a:gd name="connsiteX21" fmla="*/ 78362 w 152245"/>
                <a:gd name="connsiteY21" fmla="*/ 78362 h 152245"/>
                <a:gd name="connsiteX22" fmla="*/ 78362 w 152245"/>
                <a:gd name="connsiteY22" fmla="*/ 73884 h 152245"/>
                <a:gd name="connsiteX23" fmla="*/ 78362 w 152245"/>
                <a:gd name="connsiteY23" fmla="*/ 58660 h 152245"/>
                <a:gd name="connsiteX24" fmla="*/ 93586 w 152245"/>
                <a:gd name="connsiteY24" fmla="*/ 73884 h 152245"/>
                <a:gd name="connsiteX25" fmla="*/ 78362 w 152245"/>
                <a:gd name="connsiteY25" fmla="*/ 73884 h 152245"/>
                <a:gd name="connsiteX26" fmla="*/ 73884 w 152245"/>
                <a:gd name="connsiteY26" fmla="*/ 4478 h 152245"/>
                <a:gd name="connsiteX27" fmla="*/ 73884 w 152245"/>
                <a:gd name="connsiteY27" fmla="*/ 53734 h 152245"/>
                <a:gd name="connsiteX28" fmla="*/ 54181 w 152245"/>
                <a:gd name="connsiteY28" fmla="*/ 73436 h 152245"/>
                <a:gd name="connsiteX29" fmla="*/ 4925 w 152245"/>
                <a:gd name="connsiteY29" fmla="*/ 73436 h 152245"/>
                <a:gd name="connsiteX30" fmla="*/ 73884 w 152245"/>
                <a:gd name="connsiteY30" fmla="*/ 4478 h 152245"/>
                <a:gd name="connsiteX31" fmla="*/ 4925 w 152245"/>
                <a:gd name="connsiteY31" fmla="*/ 78362 h 152245"/>
                <a:gd name="connsiteX32" fmla="*/ 54181 w 152245"/>
                <a:gd name="connsiteY32" fmla="*/ 78362 h 152245"/>
                <a:gd name="connsiteX33" fmla="*/ 73884 w 152245"/>
                <a:gd name="connsiteY33" fmla="*/ 98064 h 152245"/>
                <a:gd name="connsiteX34" fmla="*/ 73884 w 152245"/>
                <a:gd name="connsiteY34" fmla="*/ 147320 h 152245"/>
                <a:gd name="connsiteX35" fmla="*/ 4925 w 152245"/>
                <a:gd name="connsiteY35" fmla="*/ 78362 h 152245"/>
                <a:gd name="connsiteX36" fmla="*/ 78362 w 152245"/>
                <a:gd name="connsiteY36" fmla="*/ 147768 h 152245"/>
                <a:gd name="connsiteX37" fmla="*/ 78362 w 152245"/>
                <a:gd name="connsiteY37" fmla="*/ 98512 h 152245"/>
                <a:gd name="connsiteX38" fmla="*/ 98064 w 152245"/>
                <a:gd name="connsiteY38" fmla="*/ 78810 h 152245"/>
                <a:gd name="connsiteX39" fmla="*/ 147320 w 152245"/>
                <a:gd name="connsiteY39" fmla="*/ 78810 h 152245"/>
                <a:gd name="connsiteX40" fmla="*/ 78362 w 152245"/>
                <a:gd name="connsiteY40"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245" h="152245">
                  <a:moveTo>
                    <a:pt x="76123" y="0"/>
                  </a:moveTo>
                  <a:cubicBezTo>
                    <a:pt x="34031" y="0"/>
                    <a:pt x="0" y="34032"/>
                    <a:pt x="0" y="76123"/>
                  </a:cubicBezTo>
                  <a:cubicBezTo>
                    <a:pt x="0" y="118214"/>
                    <a:pt x="34031" y="152246"/>
                    <a:pt x="76123" y="152246"/>
                  </a:cubicBezTo>
                  <a:cubicBezTo>
                    <a:pt x="118214" y="152246"/>
                    <a:pt x="152246" y="118214"/>
                    <a:pt x="152246" y="76123"/>
                  </a:cubicBezTo>
                  <a:cubicBezTo>
                    <a:pt x="152246" y="34032"/>
                    <a:pt x="118214" y="0"/>
                    <a:pt x="76123" y="0"/>
                  </a:cubicBezTo>
                  <a:close/>
                  <a:moveTo>
                    <a:pt x="147768" y="73884"/>
                  </a:moveTo>
                  <a:lnTo>
                    <a:pt x="98512" y="73884"/>
                  </a:lnTo>
                  <a:cubicBezTo>
                    <a:pt x="97616" y="63137"/>
                    <a:pt x="89108" y="55077"/>
                    <a:pt x="78809" y="54182"/>
                  </a:cubicBezTo>
                  <a:lnTo>
                    <a:pt x="78809" y="4926"/>
                  </a:lnTo>
                  <a:cubicBezTo>
                    <a:pt x="116423" y="5821"/>
                    <a:pt x="146872" y="36270"/>
                    <a:pt x="147768" y="73884"/>
                  </a:cubicBezTo>
                  <a:close/>
                  <a:moveTo>
                    <a:pt x="73884" y="73884"/>
                  </a:moveTo>
                  <a:lnTo>
                    <a:pt x="58659" y="73884"/>
                  </a:lnTo>
                  <a:cubicBezTo>
                    <a:pt x="59555" y="65824"/>
                    <a:pt x="65824" y="59555"/>
                    <a:pt x="73884" y="58660"/>
                  </a:cubicBezTo>
                  <a:lnTo>
                    <a:pt x="73884" y="73884"/>
                  </a:lnTo>
                  <a:close/>
                  <a:moveTo>
                    <a:pt x="73884" y="78362"/>
                  </a:moveTo>
                  <a:lnTo>
                    <a:pt x="73884" y="93586"/>
                  </a:lnTo>
                  <a:cubicBezTo>
                    <a:pt x="65824" y="92691"/>
                    <a:pt x="59555" y="86422"/>
                    <a:pt x="58659" y="78362"/>
                  </a:cubicBezTo>
                  <a:lnTo>
                    <a:pt x="73884" y="78362"/>
                  </a:lnTo>
                  <a:close/>
                  <a:moveTo>
                    <a:pt x="78362" y="78362"/>
                  </a:moveTo>
                  <a:lnTo>
                    <a:pt x="93586" y="78362"/>
                  </a:lnTo>
                  <a:cubicBezTo>
                    <a:pt x="92691" y="86422"/>
                    <a:pt x="86422" y="92691"/>
                    <a:pt x="78362" y="93586"/>
                  </a:cubicBezTo>
                  <a:lnTo>
                    <a:pt x="78362" y="78362"/>
                  </a:lnTo>
                  <a:close/>
                  <a:moveTo>
                    <a:pt x="78362" y="73884"/>
                  </a:moveTo>
                  <a:lnTo>
                    <a:pt x="78362" y="58660"/>
                  </a:lnTo>
                  <a:cubicBezTo>
                    <a:pt x="86422" y="59555"/>
                    <a:pt x="92691" y="65824"/>
                    <a:pt x="93586" y="73884"/>
                  </a:cubicBezTo>
                  <a:lnTo>
                    <a:pt x="78362" y="73884"/>
                  </a:lnTo>
                  <a:close/>
                  <a:moveTo>
                    <a:pt x="73884" y="4478"/>
                  </a:moveTo>
                  <a:lnTo>
                    <a:pt x="73884" y="53734"/>
                  </a:lnTo>
                  <a:cubicBezTo>
                    <a:pt x="63137" y="54629"/>
                    <a:pt x="55077" y="63137"/>
                    <a:pt x="54181" y="73436"/>
                  </a:cubicBezTo>
                  <a:lnTo>
                    <a:pt x="4925" y="73436"/>
                  </a:lnTo>
                  <a:cubicBezTo>
                    <a:pt x="5821" y="36270"/>
                    <a:pt x="36270" y="5821"/>
                    <a:pt x="73884" y="4478"/>
                  </a:cubicBezTo>
                  <a:close/>
                  <a:moveTo>
                    <a:pt x="4925" y="78362"/>
                  </a:moveTo>
                  <a:lnTo>
                    <a:pt x="54181" y="78362"/>
                  </a:lnTo>
                  <a:cubicBezTo>
                    <a:pt x="55077" y="89109"/>
                    <a:pt x="63585" y="97169"/>
                    <a:pt x="73884" y="98064"/>
                  </a:cubicBezTo>
                  <a:lnTo>
                    <a:pt x="73884" y="147320"/>
                  </a:lnTo>
                  <a:cubicBezTo>
                    <a:pt x="36270" y="146425"/>
                    <a:pt x="5821" y="115976"/>
                    <a:pt x="4925" y="78362"/>
                  </a:cubicBezTo>
                  <a:close/>
                  <a:moveTo>
                    <a:pt x="78362" y="147768"/>
                  </a:moveTo>
                  <a:lnTo>
                    <a:pt x="78362" y="98512"/>
                  </a:lnTo>
                  <a:cubicBezTo>
                    <a:pt x="89108" y="97616"/>
                    <a:pt x="97168" y="89109"/>
                    <a:pt x="98064" y="78810"/>
                  </a:cubicBezTo>
                  <a:lnTo>
                    <a:pt x="147320" y="78810"/>
                  </a:lnTo>
                  <a:cubicBezTo>
                    <a:pt x="146872" y="115976"/>
                    <a:pt x="116423" y="146425"/>
                    <a:pt x="78362" y="147768"/>
                  </a:cubicBezTo>
                  <a:close/>
                </a:path>
              </a:pathLst>
            </a:custGeom>
            <a:solidFill>
              <a:srgbClr val="231F20"/>
            </a:solidFill>
            <a:ln w="4474" cap="flat">
              <a:noFill/>
              <a:prstDash val="solid"/>
              <a:miter/>
            </a:ln>
          </p:spPr>
          <p:txBody>
            <a:bodyPr rtlCol="0" anchor="ctr"/>
            <a:lstStyle/>
            <a:p>
              <a:endParaRPr lang="en-US"/>
            </a:p>
          </p:txBody>
        </p:sp>
      </p:grpSp>
      <p:grpSp>
        <p:nvGrpSpPr>
          <p:cNvPr id="4432" name="Group 4431">
            <a:extLst>
              <a:ext uri="{FF2B5EF4-FFF2-40B4-BE49-F238E27FC236}">
                <a16:creationId xmlns:a16="http://schemas.microsoft.com/office/drawing/2014/main" id="{6136C1F4-B838-4CF4-8B99-B48629BB37B5}"/>
              </a:ext>
              <a:ext uri="{C183D7F6-B498-43B3-948B-1728B52AA6E4}">
                <adec:decorative xmlns:adec="http://schemas.microsoft.com/office/drawing/2017/decorative" val="1"/>
              </a:ext>
            </a:extLst>
          </p:cNvPr>
          <p:cNvGrpSpPr>
            <a:grpSpLocks noChangeAspect="1"/>
          </p:cNvGrpSpPr>
          <p:nvPr/>
        </p:nvGrpSpPr>
        <p:grpSpPr>
          <a:xfrm>
            <a:off x="5546632" y="4265388"/>
            <a:ext cx="125379" cy="120901"/>
            <a:chOff x="5587386" y="3529949"/>
            <a:chExt cx="125379" cy="120901"/>
          </a:xfrm>
        </p:grpSpPr>
        <p:sp>
          <p:nvSpPr>
            <p:cNvPr id="4433" name="Freeform: Shape 4432">
              <a:extLst>
                <a:ext uri="{FF2B5EF4-FFF2-40B4-BE49-F238E27FC236}">
                  <a16:creationId xmlns:a16="http://schemas.microsoft.com/office/drawing/2014/main" id="{72A1DDC8-EC1A-4180-9CC9-4FE94E887C80}"/>
                </a:ext>
              </a:extLst>
            </p:cNvPr>
            <p:cNvSpPr/>
            <p:nvPr/>
          </p:nvSpPr>
          <p:spPr>
            <a:xfrm>
              <a:off x="5587386" y="3529949"/>
              <a:ext cx="125379" cy="120901"/>
            </a:xfrm>
            <a:custGeom>
              <a:avLst/>
              <a:gdLst>
                <a:gd name="connsiteX0" fmla="*/ 87765 w 125378"/>
                <a:gd name="connsiteY0" fmla="*/ 124931 h 120901"/>
                <a:gd name="connsiteX1" fmla="*/ 37614 w 125378"/>
                <a:gd name="connsiteY1" fmla="*/ 124931 h 120901"/>
                <a:gd name="connsiteX2" fmla="*/ 35823 w 125378"/>
                <a:gd name="connsiteY2" fmla="*/ 124483 h 120901"/>
                <a:gd name="connsiteX3" fmla="*/ 448 w 125378"/>
                <a:gd name="connsiteY3" fmla="*/ 89109 h 120901"/>
                <a:gd name="connsiteX4" fmla="*/ 0 w 125378"/>
                <a:gd name="connsiteY4" fmla="*/ 87317 h 120901"/>
                <a:gd name="connsiteX5" fmla="*/ 0 w 125378"/>
                <a:gd name="connsiteY5" fmla="*/ 37614 h 120901"/>
                <a:gd name="connsiteX6" fmla="*/ 448 w 125378"/>
                <a:gd name="connsiteY6" fmla="*/ 35823 h 120901"/>
                <a:gd name="connsiteX7" fmla="*/ 35823 w 125378"/>
                <a:gd name="connsiteY7" fmla="*/ 448 h 120901"/>
                <a:gd name="connsiteX8" fmla="*/ 37614 w 125378"/>
                <a:gd name="connsiteY8" fmla="*/ 0 h 120901"/>
                <a:gd name="connsiteX9" fmla="*/ 87765 w 125378"/>
                <a:gd name="connsiteY9" fmla="*/ 0 h 120901"/>
                <a:gd name="connsiteX10" fmla="*/ 89556 w 125378"/>
                <a:gd name="connsiteY10" fmla="*/ 448 h 120901"/>
                <a:gd name="connsiteX11" fmla="*/ 124931 w 125378"/>
                <a:gd name="connsiteY11" fmla="*/ 35823 h 120901"/>
                <a:gd name="connsiteX12" fmla="*/ 125379 w 125378"/>
                <a:gd name="connsiteY12" fmla="*/ 37614 h 120901"/>
                <a:gd name="connsiteX13" fmla="*/ 125379 w 125378"/>
                <a:gd name="connsiteY13" fmla="*/ 87317 h 120901"/>
                <a:gd name="connsiteX14" fmla="*/ 124931 w 125378"/>
                <a:gd name="connsiteY14" fmla="*/ 89109 h 120901"/>
                <a:gd name="connsiteX15" fmla="*/ 89556 w 125378"/>
                <a:gd name="connsiteY15" fmla="*/ 124483 h 120901"/>
                <a:gd name="connsiteX16" fmla="*/ 87765 w 125378"/>
                <a:gd name="connsiteY16" fmla="*/ 124931 h 120901"/>
                <a:gd name="connsiteX17" fmla="*/ 38957 w 125378"/>
                <a:gd name="connsiteY17" fmla="*/ 120453 h 120901"/>
                <a:gd name="connsiteX18" fmla="*/ 87317 w 125378"/>
                <a:gd name="connsiteY18" fmla="*/ 120453 h 120901"/>
                <a:gd name="connsiteX19" fmla="*/ 121349 w 125378"/>
                <a:gd name="connsiteY19" fmla="*/ 86422 h 120901"/>
                <a:gd name="connsiteX20" fmla="*/ 121349 w 125378"/>
                <a:gd name="connsiteY20" fmla="*/ 38509 h 120901"/>
                <a:gd name="connsiteX21" fmla="*/ 87317 w 125378"/>
                <a:gd name="connsiteY21" fmla="*/ 4478 h 120901"/>
                <a:gd name="connsiteX22" fmla="*/ 38957 w 125378"/>
                <a:gd name="connsiteY22" fmla="*/ 4478 h 120901"/>
                <a:gd name="connsiteX23" fmla="*/ 4925 w 125378"/>
                <a:gd name="connsiteY23" fmla="*/ 38509 h 120901"/>
                <a:gd name="connsiteX24" fmla="*/ 4925 w 125378"/>
                <a:gd name="connsiteY24" fmla="*/ 86422 h 120901"/>
                <a:gd name="connsiteX25" fmla="*/ 38957 w 125378"/>
                <a:gd name="connsiteY25" fmla="*/ 120453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5378" h="120901">
                  <a:moveTo>
                    <a:pt x="87765" y="124931"/>
                  </a:moveTo>
                  <a:lnTo>
                    <a:pt x="37614" y="124931"/>
                  </a:lnTo>
                  <a:cubicBezTo>
                    <a:pt x="37166" y="124931"/>
                    <a:pt x="36270" y="124483"/>
                    <a:pt x="35823" y="124483"/>
                  </a:cubicBezTo>
                  <a:lnTo>
                    <a:pt x="448" y="89109"/>
                  </a:lnTo>
                  <a:cubicBezTo>
                    <a:pt x="0" y="88661"/>
                    <a:pt x="0" y="88213"/>
                    <a:pt x="0" y="87317"/>
                  </a:cubicBezTo>
                  <a:lnTo>
                    <a:pt x="0" y="37614"/>
                  </a:lnTo>
                  <a:cubicBezTo>
                    <a:pt x="0" y="37166"/>
                    <a:pt x="448" y="36270"/>
                    <a:pt x="448" y="35823"/>
                  </a:cubicBezTo>
                  <a:lnTo>
                    <a:pt x="35823" y="448"/>
                  </a:lnTo>
                  <a:cubicBezTo>
                    <a:pt x="36270" y="0"/>
                    <a:pt x="36718" y="0"/>
                    <a:pt x="37614" y="0"/>
                  </a:cubicBezTo>
                  <a:lnTo>
                    <a:pt x="87765" y="0"/>
                  </a:lnTo>
                  <a:cubicBezTo>
                    <a:pt x="88213" y="0"/>
                    <a:pt x="89109" y="448"/>
                    <a:pt x="89556" y="448"/>
                  </a:cubicBezTo>
                  <a:lnTo>
                    <a:pt x="124931" y="35823"/>
                  </a:lnTo>
                  <a:cubicBezTo>
                    <a:pt x="125379" y="36270"/>
                    <a:pt x="125379" y="36718"/>
                    <a:pt x="125379" y="37614"/>
                  </a:cubicBezTo>
                  <a:lnTo>
                    <a:pt x="125379" y="87317"/>
                  </a:lnTo>
                  <a:cubicBezTo>
                    <a:pt x="125379" y="87765"/>
                    <a:pt x="124931" y="88661"/>
                    <a:pt x="124931" y="89109"/>
                  </a:cubicBezTo>
                  <a:lnTo>
                    <a:pt x="89556" y="124483"/>
                  </a:lnTo>
                  <a:cubicBezTo>
                    <a:pt x="89109" y="124931"/>
                    <a:pt x="88660" y="124931"/>
                    <a:pt x="87765" y="124931"/>
                  </a:cubicBezTo>
                  <a:close/>
                  <a:moveTo>
                    <a:pt x="38957" y="120453"/>
                  </a:moveTo>
                  <a:lnTo>
                    <a:pt x="87317" y="120453"/>
                  </a:lnTo>
                  <a:lnTo>
                    <a:pt x="121349" y="86422"/>
                  </a:lnTo>
                  <a:lnTo>
                    <a:pt x="121349" y="38509"/>
                  </a:lnTo>
                  <a:lnTo>
                    <a:pt x="87317" y="4478"/>
                  </a:lnTo>
                  <a:lnTo>
                    <a:pt x="38957" y="4478"/>
                  </a:lnTo>
                  <a:lnTo>
                    <a:pt x="4925" y="38509"/>
                  </a:lnTo>
                  <a:lnTo>
                    <a:pt x="4925" y="86422"/>
                  </a:lnTo>
                  <a:lnTo>
                    <a:pt x="38957" y="120453"/>
                  </a:lnTo>
                  <a:close/>
                </a:path>
              </a:pathLst>
            </a:custGeom>
            <a:solidFill>
              <a:srgbClr val="231F20"/>
            </a:solidFill>
            <a:ln w="4474" cap="flat">
              <a:noFill/>
              <a:prstDash val="solid"/>
              <a:miter/>
            </a:ln>
          </p:spPr>
          <p:txBody>
            <a:bodyPr rtlCol="0" anchor="ctr"/>
            <a:lstStyle/>
            <a:p>
              <a:endParaRPr lang="en-US"/>
            </a:p>
          </p:txBody>
        </p:sp>
        <p:sp>
          <p:nvSpPr>
            <p:cNvPr id="4434" name="Freeform: Shape 4433">
              <a:extLst>
                <a:ext uri="{FF2B5EF4-FFF2-40B4-BE49-F238E27FC236}">
                  <a16:creationId xmlns:a16="http://schemas.microsoft.com/office/drawing/2014/main" id="{C0CC2441-A756-4D64-8E21-D0F6C3D55961}"/>
                </a:ext>
              </a:extLst>
            </p:cNvPr>
            <p:cNvSpPr/>
            <p:nvPr/>
          </p:nvSpPr>
          <p:spPr>
            <a:xfrm>
              <a:off x="5648284" y="3563533"/>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5" y="40300"/>
                    <a:pt x="0" y="39405"/>
                    <a:pt x="0" y="38061"/>
                  </a:cubicBezTo>
                  <a:lnTo>
                    <a:pt x="0" y="2239"/>
                  </a:lnTo>
                  <a:cubicBezTo>
                    <a:pt x="0" y="896"/>
                    <a:pt x="895" y="0"/>
                    <a:pt x="2239" y="0"/>
                  </a:cubicBezTo>
                  <a:cubicBezTo>
                    <a:pt x="3582" y="0"/>
                    <a:pt x="4478" y="896"/>
                    <a:pt x="4478" y="2239"/>
                  </a:cubicBezTo>
                  <a:lnTo>
                    <a:pt x="4478" y="38061"/>
                  </a:lnTo>
                  <a:cubicBezTo>
                    <a:pt x="4478" y="39405"/>
                    <a:pt x="3134" y="40300"/>
                    <a:pt x="2239" y="40300"/>
                  </a:cubicBezTo>
                  <a:close/>
                </a:path>
              </a:pathLst>
            </a:custGeom>
            <a:solidFill>
              <a:srgbClr val="231F20"/>
            </a:solidFill>
            <a:ln w="4474" cap="flat">
              <a:noFill/>
              <a:prstDash val="solid"/>
              <a:miter/>
            </a:ln>
          </p:spPr>
          <p:txBody>
            <a:bodyPr rtlCol="0" anchor="ctr"/>
            <a:lstStyle/>
            <a:p>
              <a:endParaRPr lang="en-US"/>
            </a:p>
          </p:txBody>
        </p:sp>
        <p:sp>
          <p:nvSpPr>
            <p:cNvPr id="4435" name="Freeform: Shape 4434">
              <a:extLst>
                <a:ext uri="{FF2B5EF4-FFF2-40B4-BE49-F238E27FC236}">
                  <a16:creationId xmlns:a16="http://schemas.microsoft.com/office/drawing/2014/main" id="{35001CAD-5988-4051-93F4-E7DF99D195E3}"/>
                </a:ext>
              </a:extLst>
            </p:cNvPr>
            <p:cNvSpPr/>
            <p:nvPr/>
          </p:nvSpPr>
          <p:spPr>
            <a:xfrm>
              <a:off x="5645597" y="3613237"/>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5" y="9851"/>
                    <a:pt x="0" y="7646"/>
                    <a:pt x="0" y="4926"/>
                  </a:cubicBezTo>
                  <a:cubicBezTo>
                    <a:pt x="0" y="2205"/>
                    <a:pt x="2205" y="0"/>
                    <a:pt x="4926" y="0"/>
                  </a:cubicBezTo>
                  <a:cubicBezTo>
                    <a:pt x="7646" y="0"/>
                    <a:pt x="9851" y="2205"/>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436" name="Group 4435">
            <a:extLst>
              <a:ext uri="{FF2B5EF4-FFF2-40B4-BE49-F238E27FC236}">
                <a16:creationId xmlns:a16="http://schemas.microsoft.com/office/drawing/2014/main" id="{78188040-B9B2-4D06-B6AC-9796D92486E9}"/>
              </a:ext>
              <a:ext uri="{C183D7F6-B498-43B3-948B-1728B52AA6E4}">
                <adec:decorative xmlns:adec="http://schemas.microsoft.com/office/drawing/2017/decorative" val="1"/>
              </a:ext>
            </a:extLst>
          </p:cNvPr>
          <p:cNvGrpSpPr>
            <a:grpSpLocks noChangeAspect="1"/>
          </p:cNvGrpSpPr>
          <p:nvPr/>
        </p:nvGrpSpPr>
        <p:grpSpPr>
          <a:xfrm>
            <a:off x="591478" y="4567193"/>
            <a:ext cx="53734" cy="152246"/>
            <a:chOff x="632232" y="3831754"/>
            <a:chExt cx="53734" cy="152246"/>
          </a:xfrm>
        </p:grpSpPr>
        <p:sp>
          <p:nvSpPr>
            <p:cNvPr id="4437" name="Freeform: Shape 4436">
              <a:extLst>
                <a:ext uri="{FF2B5EF4-FFF2-40B4-BE49-F238E27FC236}">
                  <a16:creationId xmlns:a16="http://schemas.microsoft.com/office/drawing/2014/main" id="{B1E98678-9250-411A-891F-A38AE1A894DF}"/>
                </a:ext>
              </a:extLst>
            </p:cNvPr>
            <p:cNvSpPr/>
            <p:nvPr/>
          </p:nvSpPr>
          <p:spPr>
            <a:xfrm>
              <a:off x="632232" y="3831754"/>
              <a:ext cx="53734" cy="152246"/>
            </a:xfrm>
            <a:custGeom>
              <a:avLst/>
              <a:gdLst>
                <a:gd name="connsiteX0" fmla="*/ 42539 w 53733"/>
                <a:gd name="connsiteY0" fmla="*/ 0 h 152245"/>
                <a:gd name="connsiteX1" fmla="*/ 15672 w 53733"/>
                <a:gd name="connsiteY1" fmla="*/ 0 h 152245"/>
                <a:gd name="connsiteX2" fmla="*/ 0 w 53733"/>
                <a:gd name="connsiteY2" fmla="*/ 15672 h 152245"/>
                <a:gd name="connsiteX3" fmla="*/ 0 w 53733"/>
                <a:gd name="connsiteY3" fmla="*/ 123140 h 152245"/>
                <a:gd name="connsiteX4" fmla="*/ 15672 w 53733"/>
                <a:gd name="connsiteY4" fmla="*/ 138812 h 152245"/>
                <a:gd name="connsiteX5" fmla="*/ 20150 w 53733"/>
                <a:gd name="connsiteY5" fmla="*/ 138812 h 152245"/>
                <a:gd name="connsiteX6" fmla="*/ 20150 w 53733"/>
                <a:gd name="connsiteY6" fmla="*/ 150007 h 152245"/>
                <a:gd name="connsiteX7" fmla="*/ 22389 w 53733"/>
                <a:gd name="connsiteY7" fmla="*/ 152246 h 152245"/>
                <a:gd name="connsiteX8" fmla="*/ 35823 w 53733"/>
                <a:gd name="connsiteY8" fmla="*/ 152246 h 152245"/>
                <a:gd name="connsiteX9" fmla="*/ 38061 w 53733"/>
                <a:gd name="connsiteY9" fmla="*/ 150007 h 152245"/>
                <a:gd name="connsiteX10" fmla="*/ 38061 w 53733"/>
                <a:gd name="connsiteY10" fmla="*/ 138812 h 152245"/>
                <a:gd name="connsiteX11" fmla="*/ 42539 w 53733"/>
                <a:gd name="connsiteY11" fmla="*/ 138812 h 152245"/>
                <a:gd name="connsiteX12" fmla="*/ 58212 w 53733"/>
                <a:gd name="connsiteY12" fmla="*/ 123140 h 152245"/>
                <a:gd name="connsiteX13" fmla="*/ 58212 w 53733"/>
                <a:gd name="connsiteY13" fmla="*/ 15672 h 152245"/>
                <a:gd name="connsiteX14" fmla="*/ 42539 w 53733"/>
                <a:gd name="connsiteY14" fmla="*/ 0 h 152245"/>
                <a:gd name="connsiteX15" fmla="*/ 33584 w 53733"/>
                <a:gd name="connsiteY15" fmla="*/ 147768 h 152245"/>
                <a:gd name="connsiteX16" fmla="*/ 24628 w 53733"/>
                <a:gd name="connsiteY16" fmla="*/ 147768 h 152245"/>
                <a:gd name="connsiteX17" fmla="*/ 24628 w 53733"/>
                <a:gd name="connsiteY17" fmla="*/ 138812 h 152245"/>
                <a:gd name="connsiteX18" fmla="*/ 33584 w 53733"/>
                <a:gd name="connsiteY18" fmla="*/ 138812 h 152245"/>
                <a:gd name="connsiteX19" fmla="*/ 33584 w 53733"/>
                <a:gd name="connsiteY19" fmla="*/ 147768 h 152245"/>
                <a:gd name="connsiteX20" fmla="*/ 53734 w 53733"/>
                <a:gd name="connsiteY20" fmla="*/ 123140 h 152245"/>
                <a:gd name="connsiteX21" fmla="*/ 42539 w 53733"/>
                <a:gd name="connsiteY21" fmla="*/ 134335 h 152245"/>
                <a:gd name="connsiteX22" fmla="*/ 35823 w 53733"/>
                <a:gd name="connsiteY22" fmla="*/ 134335 h 152245"/>
                <a:gd name="connsiteX23" fmla="*/ 22389 w 53733"/>
                <a:gd name="connsiteY23" fmla="*/ 134335 h 152245"/>
                <a:gd name="connsiteX24" fmla="*/ 15672 w 53733"/>
                <a:gd name="connsiteY24" fmla="*/ 134335 h 152245"/>
                <a:gd name="connsiteX25" fmla="*/ 4478 w 53733"/>
                <a:gd name="connsiteY25" fmla="*/ 123140 h 152245"/>
                <a:gd name="connsiteX26" fmla="*/ 4478 w 53733"/>
                <a:gd name="connsiteY26" fmla="*/ 15672 h 152245"/>
                <a:gd name="connsiteX27" fmla="*/ 15672 w 53733"/>
                <a:gd name="connsiteY27" fmla="*/ 4478 h 152245"/>
                <a:gd name="connsiteX28" fmla="*/ 42539 w 53733"/>
                <a:gd name="connsiteY28" fmla="*/ 4478 h 152245"/>
                <a:gd name="connsiteX29" fmla="*/ 53734 w 53733"/>
                <a:gd name="connsiteY29" fmla="*/ 15672 h 152245"/>
                <a:gd name="connsiteX30" fmla="*/ 53734 w 53733"/>
                <a:gd name="connsiteY30" fmla="*/ 12314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733" h="152245">
                  <a:moveTo>
                    <a:pt x="42539" y="0"/>
                  </a:moveTo>
                  <a:lnTo>
                    <a:pt x="15672" y="0"/>
                  </a:lnTo>
                  <a:cubicBezTo>
                    <a:pt x="7165" y="0"/>
                    <a:pt x="0" y="7164"/>
                    <a:pt x="0" y="15672"/>
                  </a:cubicBezTo>
                  <a:lnTo>
                    <a:pt x="0" y="123140"/>
                  </a:lnTo>
                  <a:cubicBezTo>
                    <a:pt x="0" y="131648"/>
                    <a:pt x="7165" y="138812"/>
                    <a:pt x="15672" y="138812"/>
                  </a:cubicBezTo>
                  <a:lnTo>
                    <a:pt x="20150" y="138812"/>
                  </a:lnTo>
                  <a:lnTo>
                    <a:pt x="20150" y="150007"/>
                  </a:lnTo>
                  <a:cubicBezTo>
                    <a:pt x="20150" y="151350"/>
                    <a:pt x="21046" y="152246"/>
                    <a:pt x="22389" y="152246"/>
                  </a:cubicBezTo>
                  <a:lnTo>
                    <a:pt x="35823" y="152246"/>
                  </a:lnTo>
                  <a:cubicBezTo>
                    <a:pt x="37166" y="152246"/>
                    <a:pt x="38061" y="151350"/>
                    <a:pt x="38061" y="150007"/>
                  </a:cubicBezTo>
                  <a:lnTo>
                    <a:pt x="38061" y="138812"/>
                  </a:lnTo>
                  <a:lnTo>
                    <a:pt x="42539" y="138812"/>
                  </a:lnTo>
                  <a:cubicBezTo>
                    <a:pt x="51047" y="138812"/>
                    <a:pt x="58212" y="131648"/>
                    <a:pt x="58212" y="123140"/>
                  </a:cubicBezTo>
                  <a:lnTo>
                    <a:pt x="58212" y="15672"/>
                  </a:lnTo>
                  <a:cubicBezTo>
                    <a:pt x="58212" y="7164"/>
                    <a:pt x="51047" y="0"/>
                    <a:pt x="42539" y="0"/>
                  </a:cubicBezTo>
                  <a:close/>
                  <a:moveTo>
                    <a:pt x="33584" y="147768"/>
                  </a:moveTo>
                  <a:lnTo>
                    <a:pt x="24628" y="147768"/>
                  </a:lnTo>
                  <a:lnTo>
                    <a:pt x="24628" y="138812"/>
                  </a:lnTo>
                  <a:lnTo>
                    <a:pt x="33584" y="138812"/>
                  </a:lnTo>
                  <a:lnTo>
                    <a:pt x="33584" y="147768"/>
                  </a:lnTo>
                  <a:close/>
                  <a:moveTo>
                    <a:pt x="53734" y="123140"/>
                  </a:moveTo>
                  <a:cubicBezTo>
                    <a:pt x="53734" y="129409"/>
                    <a:pt x="48808" y="134335"/>
                    <a:pt x="42539" y="134335"/>
                  </a:cubicBezTo>
                  <a:lnTo>
                    <a:pt x="35823" y="134335"/>
                  </a:lnTo>
                  <a:lnTo>
                    <a:pt x="22389" y="134335"/>
                  </a:lnTo>
                  <a:lnTo>
                    <a:pt x="15672" y="134335"/>
                  </a:lnTo>
                  <a:cubicBezTo>
                    <a:pt x="9403" y="134335"/>
                    <a:pt x="4478" y="129409"/>
                    <a:pt x="4478" y="123140"/>
                  </a:cubicBezTo>
                  <a:lnTo>
                    <a:pt x="4478" y="15672"/>
                  </a:lnTo>
                  <a:cubicBezTo>
                    <a:pt x="4478" y="9403"/>
                    <a:pt x="9403" y="4478"/>
                    <a:pt x="15672" y="4478"/>
                  </a:cubicBezTo>
                  <a:lnTo>
                    <a:pt x="42539" y="4478"/>
                  </a:lnTo>
                  <a:cubicBezTo>
                    <a:pt x="48808" y="4478"/>
                    <a:pt x="53734" y="9403"/>
                    <a:pt x="53734" y="15672"/>
                  </a:cubicBezTo>
                  <a:lnTo>
                    <a:pt x="53734" y="123140"/>
                  </a:lnTo>
                  <a:close/>
                </a:path>
              </a:pathLst>
            </a:custGeom>
            <a:solidFill>
              <a:srgbClr val="231F20"/>
            </a:solidFill>
            <a:ln w="4474" cap="flat">
              <a:noFill/>
              <a:prstDash val="solid"/>
              <a:miter/>
            </a:ln>
          </p:spPr>
          <p:txBody>
            <a:bodyPr rtlCol="0" anchor="ctr"/>
            <a:lstStyle/>
            <a:p>
              <a:endParaRPr lang="en-US"/>
            </a:p>
          </p:txBody>
        </p:sp>
        <p:sp>
          <p:nvSpPr>
            <p:cNvPr id="4438" name="Freeform: Shape 4437">
              <a:extLst>
                <a:ext uri="{FF2B5EF4-FFF2-40B4-BE49-F238E27FC236}">
                  <a16:creationId xmlns:a16="http://schemas.microsoft.com/office/drawing/2014/main" id="{2EA72B11-3E4F-4ABC-B5A4-2BB0D2276279}"/>
                </a:ext>
              </a:extLst>
            </p:cNvPr>
            <p:cNvSpPr/>
            <p:nvPr/>
          </p:nvSpPr>
          <p:spPr>
            <a:xfrm>
              <a:off x="645666" y="3845188"/>
              <a:ext cx="26867" cy="31345"/>
            </a:xfrm>
            <a:custGeom>
              <a:avLst/>
              <a:gdLst>
                <a:gd name="connsiteX0" fmla="*/ 15672 w 26866"/>
                <a:gd name="connsiteY0" fmla="*/ 31345 h 31344"/>
                <a:gd name="connsiteX1" fmla="*/ 0 w 26866"/>
                <a:gd name="connsiteY1" fmla="*/ 15672 h 31344"/>
                <a:gd name="connsiteX2" fmla="*/ 15672 w 26866"/>
                <a:gd name="connsiteY2" fmla="*/ 0 h 31344"/>
                <a:gd name="connsiteX3" fmla="*/ 31345 w 26866"/>
                <a:gd name="connsiteY3" fmla="*/ 15672 h 31344"/>
                <a:gd name="connsiteX4" fmla="*/ 15672 w 26866"/>
                <a:gd name="connsiteY4" fmla="*/ 31345 h 31344"/>
                <a:gd name="connsiteX5" fmla="*/ 15672 w 26866"/>
                <a:gd name="connsiteY5" fmla="*/ 4478 h 31344"/>
                <a:gd name="connsiteX6" fmla="*/ 4478 w 26866"/>
                <a:gd name="connsiteY6" fmla="*/ 15672 h 31344"/>
                <a:gd name="connsiteX7" fmla="*/ 15672 w 26866"/>
                <a:gd name="connsiteY7" fmla="*/ 26867 h 31344"/>
                <a:gd name="connsiteX8" fmla="*/ 26867 w 26866"/>
                <a:gd name="connsiteY8" fmla="*/ 15672 h 31344"/>
                <a:gd name="connsiteX9" fmla="*/ 15672 w 26866"/>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6"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494" y="4478"/>
                    <a:pt x="15672" y="4478"/>
                  </a:cubicBezTo>
                  <a:close/>
                </a:path>
              </a:pathLst>
            </a:custGeom>
            <a:solidFill>
              <a:srgbClr val="231F20"/>
            </a:solidFill>
            <a:ln w="4474" cap="flat">
              <a:noFill/>
              <a:prstDash val="solid"/>
              <a:miter/>
            </a:ln>
          </p:spPr>
          <p:txBody>
            <a:bodyPr rtlCol="0" anchor="ctr"/>
            <a:lstStyle/>
            <a:p>
              <a:endParaRPr lang="en-US"/>
            </a:p>
          </p:txBody>
        </p:sp>
        <p:sp>
          <p:nvSpPr>
            <p:cNvPr id="4439" name="Freeform: Shape 4438">
              <a:extLst>
                <a:ext uri="{FF2B5EF4-FFF2-40B4-BE49-F238E27FC236}">
                  <a16:creationId xmlns:a16="http://schemas.microsoft.com/office/drawing/2014/main" id="{54F4758F-4D93-4489-AE3A-683305650033}"/>
                </a:ext>
              </a:extLst>
            </p:cNvPr>
            <p:cNvSpPr/>
            <p:nvPr/>
          </p:nvSpPr>
          <p:spPr>
            <a:xfrm>
              <a:off x="645666" y="3885488"/>
              <a:ext cx="26867" cy="31345"/>
            </a:xfrm>
            <a:custGeom>
              <a:avLst/>
              <a:gdLst>
                <a:gd name="connsiteX0" fmla="*/ 15672 w 26866"/>
                <a:gd name="connsiteY0" fmla="*/ 31345 h 31344"/>
                <a:gd name="connsiteX1" fmla="*/ 0 w 26866"/>
                <a:gd name="connsiteY1" fmla="*/ 15672 h 31344"/>
                <a:gd name="connsiteX2" fmla="*/ 15672 w 26866"/>
                <a:gd name="connsiteY2" fmla="*/ 0 h 31344"/>
                <a:gd name="connsiteX3" fmla="*/ 31345 w 26866"/>
                <a:gd name="connsiteY3" fmla="*/ 15672 h 31344"/>
                <a:gd name="connsiteX4" fmla="*/ 15672 w 26866"/>
                <a:gd name="connsiteY4" fmla="*/ 31345 h 31344"/>
                <a:gd name="connsiteX5" fmla="*/ 15672 w 26866"/>
                <a:gd name="connsiteY5" fmla="*/ 4478 h 31344"/>
                <a:gd name="connsiteX6" fmla="*/ 4478 w 26866"/>
                <a:gd name="connsiteY6" fmla="*/ 15672 h 31344"/>
                <a:gd name="connsiteX7" fmla="*/ 15672 w 26866"/>
                <a:gd name="connsiteY7" fmla="*/ 26867 h 31344"/>
                <a:gd name="connsiteX8" fmla="*/ 26867 w 26866"/>
                <a:gd name="connsiteY8" fmla="*/ 15672 h 31344"/>
                <a:gd name="connsiteX9" fmla="*/ 15672 w 26866"/>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6"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494" y="4478"/>
                    <a:pt x="15672" y="4478"/>
                  </a:cubicBezTo>
                  <a:close/>
                </a:path>
              </a:pathLst>
            </a:custGeom>
            <a:solidFill>
              <a:srgbClr val="231F20"/>
            </a:solidFill>
            <a:ln w="4474" cap="flat">
              <a:noFill/>
              <a:prstDash val="solid"/>
              <a:miter/>
            </a:ln>
          </p:spPr>
          <p:txBody>
            <a:bodyPr rtlCol="0" anchor="ctr"/>
            <a:lstStyle/>
            <a:p>
              <a:endParaRPr lang="en-US"/>
            </a:p>
          </p:txBody>
        </p:sp>
        <p:sp>
          <p:nvSpPr>
            <p:cNvPr id="4440" name="Freeform: Shape 4439">
              <a:extLst>
                <a:ext uri="{FF2B5EF4-FFF2-40B4-BE49-F238E27FC236}">
                  <a16:creationId xmlns:a16="http://schemas.microsoft.com/office/drawing/2014/main" id="{29001AED-C133-4156-B48C-D06EDEF5A3EA}"/>
                </a:ext>
              </a:extLst>
            </p:cNvPr>
            <p:cNvSpPr/>
            <p:nvPr/>
          </p:nvSpPr>
          <p:spPr>
            <a:xfrm>
              <a:off x="645666" y="3925788"/>
              <a:ext cx="26867" cy="31345"/>
            </a:xfrm>
            <a:custGeom>
              <a:avLst/>
              <a:gdLst>
                <a:gd name="connsiteX0" fmla="*/ 15672 w 26866"/>
                <a:gd name="connsiteY0" fmla="*/ 31345 h 31344"/>
                <a:gd name="connsiteX1" fmla="*/ 0 w 26866"/>
                <a:gd name="connsiteY1" fmla="*/ 15672 h 31344"/>
                <a:gd name="connsiteX2" fmla="*/ 15672 w 26866"/>
                <a:gd name="connsiteY2" fmla="*/ 0 h 31344"/>
                <a:gd name="connsiteX3" fmla="*/ 31345 w 26866"/>
                <a:gd name="connsiteY3" fmla="*/ 15672 h 31344"/>
                <a:gd name="connsiteX4" fmla="*/ 15672 w 26866"/>
                <a:gd name="connsiteY4" fmla="*/ 31345 h 31344"/>
                <a:gd name="connsiteX5" fmla="*/ 15672 w 26866"/>
                <a:gd name="connsiteY5" fmla="*/ 4478 h 31344"/>
                <a:gd name="connsiteX6" fmla="*/ 4478 w 26866"/>
                <a:gd name="connsiteY6" fmla="*/ 15672 h 31344"/>
                <a:gd name="connsiteX7" fmla="*/ 15672 w 26866"/>
                <a:gd name="connsiteY7" fmla="*/ 26867 h 31344"/>
                <a:gd name="connsiteX8" fmla="*/ 26867 w 26866"/>
                <a:gd name="connsiteY8" fmla="*/ 15672 h 31344"/>
                <a:gd name="connsiteX9" fmla="*/ 15672 w 26866"/>
                <a:gd name="connsiteY9"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6" h="31344">
                  <a:moveTo>
                    <a:pt x="15672" y="31345"/>
                  </a:moveTo>
                  <a:cubicBezTo>
                    <a:pt x="7165" y="31345"/>
                    <a:pt x="0" y="24180"/>
                    <a:pt x="0" y="15672"/>
                  </a:cubicBezTo>
                  <a:cubicBezTo>
                    <a:pt x="0" y="7164"/>
                    <a:pt x="7165" y="0"/>
                    <a:pt x="15672" y="0"/>
                  </a:cubicBezTo>
                  <a:cubicBezTo>
                    <a:pt x="24180" y="0"/>
                    <a:pt x="31345" y="7164"/>
                    <a:pt x="31345" y="15672"/>
                  </a:cubicBezTo>
                  <a:cubicBezTo>
                    <a:pt x="31345" y="24180"/>
                    <a:pt x="24180" y="31345"/>
                    <a:pt x="15672" y="31345"/>
                  </a:cubicBezTo>
                  <a:close/>
                  <a:moveTo>
                    <a:pt x="15672" y="4478"/>
                  </a:moveTo>
                  <a:cubicBezTo>
                    <a:pt x="9403" y="4478"/>
                    <a:pt x="4478" y="9403"/>
                    <a:pt x="4478" y="15672"/>
                  </a:cubicBezTo>
                  <a:cubicBezTo>
                    <a:pt x="4478" y="21941"/>
                    <a:pt x="9403" y="26867"/>
                    <a:pt x="15672" y="26867"/>
                  </a:cubicBezTo>
                  <a:cubicBezTo>
                    <a:pt x="21941" y="26867"/>
                    <a:pt x="26867" y="21941"/>
                    <a:pt x="26867" y="15672"/>
                  </a:cubicBezTo>
                  <a:cubicBezTo>
                    <a:pt x="26867" y="9403"/>
                    <a:pt x="21494" y="4478"/>
                    <a:pt x="15672" y="4478"/>
                  </a:cubicBezTo>
                  <a:close/>
                </a:path>
              </a:pathLst>
            </a:custGeom>
            <a:solidFill>
              <a:srgbClr val="231F20"/>
            </a:solidFill>
            <a:ln w="4474" cap="flat">
              <a:noFill/>
              <a:prstDash val="solid"/>
              <a:miter/>
            </a:ln>
          </p:spPr>
          <p:txBody>
            <a:bodyPr rtlCol="0" anchor="ctr"/>
            <a:lstStyle/>
            <a:p>
              <a:endParaRPr lang="en-US"/>
            </a:p>
          </p:txBody>
        </p:sp>
      </p:grpSp>
      <p:sp>
        <p:nvSpPr>
          <p:cNvPr id="4441" name="Freeform: Shape 4440">
            <a:extLst>
              <a:ext uri="{FF2B5EF4-FFF2-40B4-BE49-F238E27FC236}">
                <a16:creationId xmlns:a16="http://schemas.microsoft.com/office/drawing/2014/main" id="{103F1924-B70D-4BA8-B739-A263CEAC375B}"/>
              </a:ext>
              <a:ext uri="{C183D7F6-B498-43B3-948B-1728B52AA6E4}">
                <adec:decorative xmlns:adec="http://schemas.microsoft.com/office/drawing/2017/decorative" val="1"/>
              </a:ext>
            </a:extLst>
          </p:cNvPr>
          <p:cNvSpPr>
            <a:spLocks noChangeAspect="1"/>
          </p:cNvSpPr>
          <p:nvPr/>
        </p:nvSpPr>
        <p:spPr>
          <a:xfrm>
            <a:off x="813869" y="4581074"/>
            <a:ext cx="116423" cy="125379"/>
          </a:xfrm>
          <a:custGeom>
            <a:avLst/>
            <a:gdLst>
              <a:gd name="connsiteX0" fmla="*/ 115237 w 116423"/>
              <a:gd name="connsiteY0" fmla="*/ 19255 h 125378"/>
              <a:gd name="connsiteX1" fmla="*/ 102699 w 116423"/>
              <a:gd name="connsiteY1" fmla="*/ 13433 h 125378"/>
              <a:gd name="connsiteX2" fmla="*/ 95086 w 116423"/>
              <a:gd name="connsiteY2" fmla="*/ 13433 h 125378"/>
              <a:gd name="connsiteX3" fmla="*/ 95086 w 116423"/>
              <a:gd name="connsiteY3" fmla="*/ 2239 h 125378"/>
              <a:gd name="connsiteX4" fmla="*/ 92848 w 116423"/>
              <a:gd name="connsiteY4" fmla="*/ 0 h 125378"/>
              <a:gd name="connsiteX5" fmla="*/ 25680 w 116423"/>
              <a:gd name="connsiteY5" fmla="*/ 0 h 125378"/>
              <a:gd name="connsiteX6" fmla="*/ 23441 w 116423"/>
              <a:gd name="connsiteY6" fmla="*/ 2239 h 125378"/>
              <a:gd name="connsiteX7" fmla="*/ 23441 w 116423"/>
              <a:gd name="connsiteY7" fmla="*/ 13433 h 125378"/>
              <a:gd name="connsiteX8" fmla="*/ 15829 w 116423"/>
              <a:gd name="connsiteY8" fmla="*/ 13433 h 125378"/>
              <a:gd name="connsiteX9" fmla="*/ 3291 w 116423"/>
              <a:gd name="connsiteY9" fmla="*/ 19255 h 125378"/>
              <a:gd name="connsiteX10" fmla="*/ 605 w 116423"/>
              <a:gd name="connsiteY10" fmla="*/ 32688 h 125378"/>
              <a:gd name="connsiteX11" fmla="*/ 7321 w 116423"/>
              <a:gd name="connsiteY11" fmla="*/ 59555 h 125378"/>
              <a:gd name="connsiteX12" fmla="*/ 22546 w 116423"/>
              <a:gd name="connsiteY12" fmla="*/ 71645 h 125378"/>
              <a:gd name="connsiteX13" fmla="*/ 23889 w 116423"/>
              <a:gd name="connsiteY13" fmla="*/ 71645 h 125378"/>
              <a:gd name="connsiteX14" fmla="*/ 56577 w 116423"/>
              <a:gd name="connsiteY14" fmla="*/ 98512 h 125378"/>
              <a:gd name="connsiteX15" fmla="*/ 56577 w 116423"/>
              <a:gd name="connsiteY15" fmla="*/ 120901 h 125378"/>
              <a:gd name="connsiteX16" fmla="*/ 38666 w 116423"/>
              <a:gd name="connsiteY16" fmla="*/ 120901 h 125378"/>
              <a:gd name="connsiteX17" fmla="*/ 36427 w 116423"/>
              <a:gd name="connsiteY17" fmla="*/ 123140 h 125378"/>
              <a:gd name="connsiteX18" fmla="*/ 38666 w 116423"/>
              <a:gd name="connsiteY18" fmla="*/ 125379 h 125378"/>
              <a:gd name="connsiteX19" fmla="*/ 78966 w 116423"/>
              <a:gd name="connsiteY19" fmla="*/ 125379 h 125378"/>
              <a:gd name="connsiteX20" fmla="*/ 81205 w 116423"/>
              <a:gd name="connsiteY20" fmla="*/ 123140 h 125378"/>
              <a:gd name="connsiteX21" fmla="*/ 78966 w 116423"/>
              <a:gd name="connsiteY21" fmla="*/ 120901 h 125378"/>
              <a:gd name="connsiteX22" fmla="*/ 61055 w 116423"/>
              <a:gd name="connsiteY22" fmla="*/ 120901 h 125378"/>
              <a:gd name="connsiteX23" fmla="*/ 61055 w 116423"/>
              <a:gd name="connsiteY23" fmla="*/ 98512 h 125378"/>
              <a:gd name="connsiteX24" fmla="*/ 93743 w 116423"/>
              <a:gd name="connsiteY24" fmla="*/ 71645 h 125378"/>
              <a:gd name="connsiteX25" fmla="*/ 95086 w 116423"/>
              <a:gd name="connsiteY25" fmla="*/ 71645 h 125378"/>
              <a:gd name="connsiteX26" fmla="*/ 110311 w 116423"/>
              <a:gd name="connsiteY26" fmla="*/ 59555 h 125378"/>
              <a:gd name="connsiteX27" fmla="*/ 117028 w 116423"/>
              <a:gd name="connsiteY27" fmla="*/ 32688 h 125378"/>
              <a:gd name="connsiteX28" fmla="*/ 115237 w 116423"/>
              <a:gd name="connsiteY28" fmla="*/ 19255 h 125378"/>
              <a:gd name="connsiteX29" fmla="*/ 23889 w 116423"/>
              <a:gd name="connsiteY29" fmla="*/ 66720 h 125378"/>
              <a:gd name="connsiteX30" fmla="*/ 22994 w 116423"/>
              <a:gd name="connsiteY30" fmla="*/ 66720 h 125378"/>
              <a:gd name="connsiteX31" fmla="*/ 12247 w 116423"/>
              <a:gd name="connsiteY31" fmla="*/ 58212 h 125378"/>
              <a:gd name="connsiteX32" fmla="*/ 5530 w 116423"/>
              <a:gd name="connsiteY32" fmla="*/ 31345 h 125378"/>
              <a:gd name="connsiteX33" fmla="*/ 7769 w 116423"/>
              <a:gd name="connsiteY33" fmla="*/ 21941 h 125378"/>
              <a:gd name="connsiteX34" fmla="*/ 16725 w 116423"/>
              <a:gd name="connsiteY34" fmla="*/ 17464 h 125378"/>
              <a:gd name="connsiteX35" fmla="*/ 24337 w 116423"/>
              <a:gd name="connsiteY35" fmla="*/ 17464 h 125378"/>
              <a:gd name="connsiteX36" fmla="*/ 24337 w 116423"/>
              <a:gd name="connsiteY36" fmla="*/ 64481 h 125378"/>
              <a:gd name="connsiteX37" fmla="*/ 24337 w 116423"/>
              <a:gd name="connsiteY37" fmla="*/ 66720 h 125378"/>
              <a:gd name="connsiteX38" fmla="*/ 61951 w 116423"/>
              <a:gd name="connsiteY38" fmla="*/ 93586 h 125378"/>
              <a:gd name="connsiteX39" fmla="*/ 57473 w 116423"/>
              <a:gd name="connsiteY39" fmla="*/ 93586 h 125378"/>
              <a:gd name="connsiteX40" fmla="*/ 28367 w 116423"/>
              <a:gd name="connsiteY40" fmla="*/ 64481 h 125378"/>
              <a:gd name="connsiteX41" fmla="*/ 28367 w 116423"/>
              <a:gd name="connsiteY41" fmla="*/ 15225 h 125378"/>
              <a:gd name="connsiteX42" fmla="*/ 28367 w 116423"/>
              <a:gd name="connsiteY42" fmla="*/ 4030 h 125378"/>
              <a:gd name="connsiteX43" fmla="*/ 91056 w 116423"/>
              <a:gd name="connsiteY43" fmla="*/ 4030 h 125378"/>
              <a:gd name="connsiteX44" fmla="*/ 91056 w 116423"/>
              <a:gd name="connsiteY44" fmla="*/ 15225 h 125378"/>
              <a:gd name="connsiteX45" fmla="*/ 91056 w 116423"/>
              <a:gd name="connsiteY45" fmla="*/ 64481 h 125378"/>
              <a:gd name="connsiteX46" fmla="*/ 61951 w 116423"/>
              <a:gd name="connsiteY46" fmla="*/ 93586 h 125378"/>
              <a:gd name="connsiteX47" fmla="*/ 113446 w 116423"/>
              <a:gd name="connsiteY47" fmla="*/ 31345 h 125378"/>
              <a:gd name="connsiteX48" fmla="*/ 106729 w 116423"/>
              <a:gd name="connsiteY48" fmla="*/ 58212 h 125378"/>
              <a:gd name="connsiteX49" fmla="*/ 95982 w 116423"/>
              <a:gd name="connsiteY49" fmla="*/ 66720 h 125378"/>
              <a:gd name="connsiteX50" fmla="*/ 95086 w 116423"/>
              <a:gd name="connsiteY50" fmla="*/ 66720 h 125378"/>
              <a:gd name="connsiteX51" fmla="*/ 95086 w 116423"/>
              <a:gd name="connsiteY51" fmla="*/ 64481 h 125378"/>
              <a:gd name="connsiteX52" fmla="*/ 95086 w 116423"/>
              <a:gd name="connsiteY52" fmla="*/ 17464 h 125378"/>
              <a:gd name="connsiteX53" fmla="*/ 102699 w 116423"/>
              <a:gd name="connsiteY53" fmla="*/ 17464 h 125378"/>
              <a:gd name="connsiteX54" fmla="*/ 111654 w 116423"/>
              <a:gd name="connsiteY54" fmla="*/ 21941 h 125378"/>
              <a:gd name="connsiteX55" fmla="*/ 113446 w 116423"/>
              <a:gd name="connsiteY55" fmla="*/ 31345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6423" h="125378">
                <a:moveTo>
                  <a:pt x="115237" y="19255"/>
                </a:moveTo>
                <a:cubicBezTo>
                  <a:pt x="112102" y="15225"/>
                  <a:pt x="107624" y="13433"/>
                  <a:pt x="102699" y="13433"/>
                </a:cubicBezTo>
                <a:lnTo>
                  <a:pt x="95086" y="13433"/>
                </a:lnTo>
                <a:lnTo>
                  <a:pt x="95086" y="2239"/>
                </a:lnTo>
                <a:cubicBezTo>
                  <a:pt x="95086" y="896"/>
                  <a:pt x="94191" y="0"/>
                  <a:pt x="92848" y="0"/>
                </a:cubicBezTo>
                <a:lnTo>
                  <a:pt x="25680" y="0"/>
                </a:lnTo>
                <a:cubicBezTo>
                  <a:pt x="24337" y="0"/>
                  <a:pt x="23441" y="896"/>
                  <a:pt x="23441" y="2239"/>
                </a:cubicBezTo>
                <a:lnTo>
                  <a:pt x="23441" y="13433"/>
                </a:lnTo>
                <a:lnTo>
                  <a:pt x="15829" y="13433"/>
                </a:lnTo>
                <a:cubicBezTo>
                  <a:pt x="10903" y="13433"/>
                  <a:pt x="6426" y="15672"/>
                  <a:pt x="3291" y="19255"/>
                </a:cubicBezTo>
                <a:cubicBezTo>
                  <a:pt x="157" y="23285"/>
                  <a:pt x="-739" y="28210"/>
                  <a:pt x="605" y="32688"/>
                </a:cubicBezTo>
                <a:lnTo>
                  <a:pt x="7321" y="59555"/>
                </a:lnTo>
                <a:cubicBezTo>
                  <a:pt x="9112" y="66720"/>
                  <a:pt x="15381" y="71645"/>
                  <a:pt x="22546" y="71645"/>
                </a:cubicBezTo>
                <a:lnTo>
                  <a:pt x="23889" y="71645"/>
                </a:lnTo>
                <a:cubicBezTo>
                  <a:pt x="27024" y="86870"/>
                  <a:pt x="40457" y="98512"/>
                  <a:pt x="56577" y="98512"/>
                </a:cubicBezTo>
                <a:lnTo>
                  <a:pt x="56577" y="120901"/>
                </a:lnTo>
                <a:lnTo>
                  <a:pt x="38666" y="120901"/>
                </a:lnTo>
                <a:cubicBezTo>
                  <a:pt x="37323" y="120901"/>
                  <a:pt x="36427" y="121797"/>
                  <a:pt x="36427" y="123140"/>
                </a:cubicBezTo>
                <a:cubicBezTo>
                  <a:pt x="36427" y="124483"/>
                  <a:pt x="37323" y="125379"/>
                  <a:pt x="38666" y="125379"/>
                </a:cubicBezTo>
                <a:lnTo>
                  <a:pt x="78966" y="125379"/>
                </a:lnTo>
                <a:cubicBezTo>
                  <a:pt x="80310" y="125379"/>
                  <a:pt x="81205" y="124483"/>
                  <a:pt x="81205" y="123140"/>
                </a:cubicBezTo>
                <a:cubicBezTo>
                  <a:pt x="81205" y="121797"/>
                  <a:pt x="80310" y="120901"/>
                  <a:pt x="78966" y="120901"/>
                </a:cubicBezTo>
                <a:lnTo>
                  <a:pt x="61055" y="120901"/>
                </a:lnTo>
                <a:lnTo>
                  <a:pt x="61055" y="98512"/>
                </a:lnTo>
                <a:cubicBezTo>
                  <a:pt x="77175" y="98512"/>
                  <a:pt x="91056" y="86870"/>
                  <a:pt x="93743" y="71645"/>
                </a:cubicBezTo>
                <a:lnTo>
                  <a:pt x="95086" y="71645"/>
                </a:lnTo>
                <a:cubicBezTo>
                  <a:pt x="102251" y="71645"/>
                  <a:pt x="108520" y="66720"/>
                  <a:pt x="110311" y="59555"/>
                </a:cubicBezTo>
                <a:lnTo>
                  <a:pt x="117028" y="32688"/>
                </a:lnTo>
                <a:cubicBezTo>
                  <a:pt x="119267" y="27763"/>
                  <a:pt x="117923" y="22837"/>
                  <a:pt x="115237" y="19255"/>
                </a:cubicBezTo>
                <a:close/>
                <a:moveTo>
                  <a:pt x="23889" y="66720"/>
                </a:moveTo>
                <a:lnTo>
                  <a:pt x="22994" y="66720"/>
                </a:lnTo>
                <a:cubicBezTo>
                  <a:pt x="18068" y="66720"/>
                  <a:pt x="13590" y="63137"/>
                  <a:pt x="12247" y="58212"/>
                </a:cubicBezTo>
                <a:lnTo>
                  <a:pt x="5530" y="31345"/>
                </a:lnTo>
                <a:cubicBezTo>
                  <a:pt x="4635" y="27763"/>
                  <a:pt x="5530" y="24628"/>
                  <a:pt x="7769" y="21941"/>
                </a:cubicBezTo>
                <a:cubicBezTo>
                  <a:pt x="10008" y="19255"/>
                  <a:pt x="13142" y="17464"/>
                  <a:pt x="16725" y="17464"/>
                </a:cubicBezTo>
                <a:lnTo>
                  <a:pt x="24337" y="17464"/>
                </a:lnTo>
                <a:lnTo>
                  <a:pt x="24337" y="64481"/>
                </a:lnTo>
                <a:lnTo>
                  <a:pt x="24337" y="66720"/>
                </a:lnTo>
                <a:close/>
                <a:moveTo>
                  <a:pt x="61951" y="93586"/>
                </a:moveTo>
                <a:lnTo>
                  <a:pt x="57473" y="93586"/>
                </a:lnTo>
                <a:cubicBezTo>
                  <a:pt x="41353" y="93586"/>
                  <a:pt x="28367" y="80601"/>
                  <a:pt x="28367" y="64481"/>
                </a:cubicBezTo>
                <a:lnTo>
                  <a:pt x="28367" y="15225"/>
                </a:lnTo>
                <a:lnTo>
                  <a:pt x="28367" y="4030"/>
                </a:lnTo>
                <a:lnTo>
                  <a:pt x="91056" y="4030"/>
                </a:lnTo>
                <a:lnTo>
                  <a:pt x="91056" y="15225"/>
                </a:lnTo>
                <a:lnTo>
                  <a:pt x="91056" y="64481"/>
                </a:lnTo>
                <a:cubicBezTo>
                  <a:pt x="91056" y="80601"/>
                  <a:pt x="77623" y="93586"/>
                  <a:pt x="61951" y="93586"/>
                </a:cubicBezTo>
                <a:close/>
                <a:moveTo>
                  <a:pt x="113446" y="31345"/>
                </a:moveTo>
                <a:lnTo>
                  <a:pt x="106729" y="58212"/>
                </a:lnTo>
                <a:cubicBezTo>
                  <a:pt x="105385" y="63137"/>
                  <a:pt x="100908" y="66720"/>
                  <a:pt x="95982" y="66720"/>
                </a:cubicBezTo>
                <a:lnTo>
                  <a:pt x="95086" y="66720"/>
                </a:lnTo>
                <a:lnTo>
                  <a:pt x="95086" y="64481"/>
                </a:lnTo>
                <a:lnTo>
                  <a:pt x="95086" y="17464"/>
                </a:lnTo>
                <a:lnTo>
                  <a:pt x="102699" y="17464"/>
                </a:lnTo>
                <a:cubicBezTo>
                  <a:pt x="106281" y="17464"/>
                  <a:pt x="109415" y="19255"/>
                  <a:pt x="111654" y="21941"/>
                </a:cubicBezTo>
                <a:cubicBezTo>
                  <a:pt x="113893" y="24628"/>
                  <a:pt x="114341" y="28210"/>
                  <a:pt x="113446" y="31345"/>
                </a:cubicBezTo>
                <a:close/>
              </a:path>
            </a:pathLst>
          </a:custGeom>
          <a:solidFill>
            <a:srgbClr val="231F20"/>
          </a:solidFill>
          <a:ln w="4474" cap="flat">
            <a:noFill/>
            <a:prstDash val="solid"/>
            <a:miter/>
          </a:ln>
        </p:spPr>
        <p:txBody>
          <a:bodyPr rtlCol="0" anchor="ctr"/>
          <a:lstStyle/>
          <a:p>
            <a:endParaRPr lang="en-US"/>
          </a:p>
        </p:txBody>
      </p:sp>
      <p:grpSp>
        <p:nvGrpSpPr>
          <p:cNvPr id="4442" name="Group 4441">
            <a:extLst>
              <a:ext uri="{FF2B5EF4-FFF2-40B4-BE49-F238E27FC236}">
                <a16:creationId xmlns:a16="http://schemas.microsoft.com/office/drawing/2014/main" id="{ECF15CAB-C534-4FC3-B56F-005C4BEB75D2}"/>
              </a:ext>
              <a:ext uri="{C183D7F6-B498-43B3-948B-1728B52AA6E4}">
                <adec:decorative xmlns:adec="http://schemas.microsoft.com/office/drawing/2017/decorative" val="1"/>
              </a:ext>
            </a:extLst>
          </p:cNvPr>
          <p:cNvGrpSpPr>
            <a:grpSpLocks noChangeAspect="1"/>
          </p:cNvGrpSpPr>
          <p:nvPr/>
        </p:nvGrpSpPr>
        <p:grpSpPr>
          <a:xfrm>
            <a:off x="1087326" y="4567193"/>
            <a:ext cx="125379" cy="147768"/>
            <a:chOff x="1128080" y="3831754"/>
            <a:chExt cx="125379" cy="147768"/>
          </a:xfrm>
        </p:grpSpPr>
        <p:sp>
          <p:nvSpPr>
            <p:cNvPr id="4443" name="Freeform: Shape 4442">
              <a:extLst>
                <a:ext uri="{FF2B5EF4-FFF2-40B4-BE49-F238E27FC236}">
                  <a16:creationId xmlns:a16="http://schemas.microsoft.com/office/drawing/2014/main" id="{DEAAF420-C2CA-495D-A3FC-0A9620EA380C}"/>
                </a:ext>
              </a:extLst>
            </p:cNvPr>
            <p:cNvSpPr/>
            <p:nvPr/>
          </p:nvSpPr>
          <p:spPr>
            <a:xfrm>
              <a:off x="1148525" y="3845188"/>
              <a:ext cx="85079" cy="85079"/>
            </a:xfrm>
            <a:custGeom>
              <a:avLst/>
              <a:gdLst>
                <a:gd name="connsiteX0" fmla="*/ 42539 w 85078"/>
                <a:gd name="connsiteY0" fmla="*/ 85079 h 85078"/>
                <a:gd name="connsiteX1" fmla="*/ 0 w 85078"/>
                <a:gd name="connsiteY1" fmla="*/ 42539 h 85078"/>
                <a:gd name="connsiteX2" fmla="*/ 42539 w 85078"/>
                <a:gd name="connsiteY2" fmla="*/ 0 h 85078"/>
                <a:gd name="connsiteX3" fmla="*/ 85079 w 85078"/>
                <a:gd name="connsiteY3" fmla="*/ 42539 h 85078"/>
                <a:gd name="connsiteX4" fmla="*/ 42539 w 85078"/>
                <a:gd name="connsiteY4" fmla="*/ 85079 h 85078"/>
                <a:gd name="connsiteX5" fmla="*/ 42539 w 85078"/>
                <a:gd name="connsiteY5" fmla="*/ 4478 h 85078"/>
                <a:gd name="connsiteX6" fmla="*/ 4478 w 85078"/>
                <a:gd name="connsiteY6" fmla="*/ 42539 h 85078"/>
                <a:gd name="connsiteX7" fmla="*/ 42539 w 85078"/>
                <a:gd name="connsiteY7" fmla="*/ 80601 h 85078"/>
                <a:gd name="connsiteX8" fmla="*/ 80601 w 85078"/>
                <a:gd name="connsiteY8" fmla="*/ 42539 h 85078"/>
                <a:gd name="connsiteX9" fmla="*/ 42539 w 85078"/>
                <a:gd name="connsiteY9"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78" h="85078">
                  <a:moveTo>
                    <a:pt x="42539" y="85079"/>
                  </a:moveTo>
                  <a:cubicBezTo>
                    <a:pt x="19255" y="85079"/>
                    <a:pt x="0" y="65824"/>
                    <a:pt x="0" y="42539"/>
                  </a:cubicBezTo>
                  <a:cubicBezTo>
                    <a:pt x="0" y="19255"/>
                    <a:pt x="19255" y="0"/>
                    <a:pt x="42539" y="0"/>
                  </a:cubicBezTo>
                  <a:cubicBezTo>
                    <a:pt x="65824" y="0"/>
                    <a:pt x="85079" y="19255"/>
                    <a:pt x="85079" y="42539"/>
                  </a:cubicBezTo>
                  <a:cubicBezTo>
                    <a:pt x="85079" y="65824"/>
                    <a:pt x="65824" y="85079"/>
                    <a:pt x="42539" y="85079"/>
                  </a:cubicBezTo>
                  <a:close/>
                  <a:moveTo>
                    <a:pt x="42539" y="4478"/>
                  </a:moveTo>
                  <a:cubicBezTo>
                    <a:pt x="21494" y="4478"/>
                    <a:pt x="4478" y="21493"/>
                    <a:pt x="4478" y="42539"/>
                  </a:cubicBezTo>
                  <a:cubicBezTo>
                    <a:pt x="4478" y="63585"/>
                    <a:pt x="21494" y="80601"/>
                    <a:pt x="42539" y="80601"/>
                  </a:cubicBezTo>
                  <a:cubicBezTo>
                    <a:pt x="63585" y="80601"/>
                    <a:pt x="80601" y="63585"/>
                    <a:pt x="80601" y="42539"/>
                  </a:cubicBezTo>
                  <a:cubicBezTo>
                    <a:pt x="80601" y="21493"/>
                    <a:pt x="63585" y="4478"/>
                    <a:pt x="42539" y="4478"/>
                  </a:cubicBezTo>
                  <a:close/>
                </a:path>
              </a:pathLst>
            </a:custGeom>
            <a:solidFill>
              <a:srgbClr val="231F20"/>
            </a:solidFill>
            <a:ln w="4474" cap="flat">
              <a:noFill/>
              <a:prstDash val="solid"/>
              <a:miter/>
            </a:ln>
          </p:spPr>
          <p:txBody>
            <a:bodyPr rtlCol="0" anchor="ctr"/>
            <a:lstStyle/>
            <a:p>
              <a:endParaRPr lang="en-US"/>
            </a:p>
          </p:txBody>
        </p:sp>
        <p:sp>
          <p:nvSpPr>
            <p:cNvPr id="4444" name="Freeform: Shape 4443">
              <a:extLst>
                <a:ext uri="{FF2B5EF4-FFF2-40B4-BE49-F238E27FC236}">
                  <a16:creationId xmlns:a16="http://schemas.microsoft.com/office/drawing/2014/main" id="{8577C0C0-BE9E-464E-98AE-95457F34E6D4}"/>
                </a:ext>
              </a:extLst>
            </p:cNvPr>
            <p:cNvSpPr/>
            <p:nvPr/>
          </p:nvSpPr>
          <p:spPr>
            <a:xfrm>
              <a:off x="1128080" y="3831754"/>
              <a:ext cx="125379" cy="147768"/>
            </a:xfrm>
            <a:custGeom>
              <a:avLst/>
              <a:gdLst>
                <a:gd name="connsiteX0" fmla="*/ 125673 w 125378"/>
                <a:gd name="connsiteY0" fmla="*/ 126722 h 147767"/>
                <a:gd name="connsiteX1" fmla="*/ 106418 w 125378"/>
                <a:gd name="connsiteY1" fmla="*/ 91347 h 147767"/>
                <a:gd name="connsiteX2" fmla="*/ 106418 w 125378"/>
                <a:gd name="connsiteY2" fmla="*/ 91347 h 147767"/>
                <a:gd name="connsiteX3" fmla="*/ 118956 w 125378"/>
                <a:gd name="connsiteY3" fmla="*/ 55973 h 147767"/>
                <a:gd name="connsiteX4" fmla="*/ 62984 w 125378"/>
                <a:gd name="connsiteY4" fmla="*/ 0 h 147767"/>
                <a:gd name="connsiteX5" fmla="*/ 7011 w 125378"/>
                <a:gd name="connsiteY5" fmla="*/ 55973 h 147767"/>
                <a:gd name="connsiteX6" fmla="*/ 19549 w 125378"/>
                <a:gd name="connsiteY6" fmla="*/ 91347 h 147767"/>
                <a:gd name="connsiteX7" fmla="*/ 19549 w 125378"/>
                <a:gd name="connsiteY7" fmla="*/ 91347 h 147767"/>
                <a:gd name="connsiteX8" fmla="*/ 294 w 125378"/>
                <a:gd name="connsiteY8" fmla="*/ 126722 h 147767"/>
                <a:gd name="connsiteX9" fmla="*/ 742 w 125378"/>
                <a:gd name="connsiteY9" fmla="*/ 129409 h 147767"/>
                <a:gd name="connsiteX10" fmla="*/ 2981 w 125378"/>
                <a:gd name="connsiteY10" fmla="*/ 130304 h 147767"/>
                <a:gd name="connsiteX11" fmla="*/ 28057 w 125378"/>
                <a:gd name="connsiteY11" fmla="*/ 122692 h 147767"/>
                <a:gd name="connsiteX12" fmla="*/ 35669 w 125378"/>
                <a:gd name="connsiteY12" fmla="*/ 147768 h 147767"/>
                <a:gd name="connsiteX13" fmla="*/ 37460 w 125378"/>
                <a:gd name="connsiteY13" fmla="*/ 149559 h 147767"/>
                <a:gd name="connsiteX14" fmla="*/ 37908 w 125378"/>
                <a:gd name="connsiteY14" fmla="*/ 149559 h 147767"/>
                <a:gd name="connsiteX15" fmla="*/ 39699 w 125378"/>
                <a:gd name="connsiteY15" fmla="*/ 148216 h 147767"/>
                <a:gd name="connsiteX16" fmla="*/ 58954 w 125378"/>
                <a:gd name="connsiteY16" fmla="*/ 112841 h 147767"/>
                <a:gd name="connsiteX17" fmla="*/ 59401 w 125378"/>
                <a:gd name="connsiteY17" fmla="*/ 111945 h 147767"/>
                <a:gd name="connsiteX18" fmla="*/ 63431 w 125378"/>
                <a:gd name="connsiteY18" fmla="*/ 111945 h 147767"/>
                <a:gd name="connsiteX19" fmla="*/ 67461 w 125378"/>
                <a:gd name="connsiteY19" fmla="*/ 111945 h 147767"/>
                <a:gd name="connsiteX20" fmla="*/ 67909 w 125378"/>
                <a:gd name="connsiteY20" fmla="*/ 112841 h 147767"/>
                <a:gd name="connsiteX21" fmla="*/ 87164 w 125378"/>
                <a:gd name="connsiteY21" fmla="*/ 148216 h 147767"/>
                <a:gd name="connsiteX22" fmla="*/ 88955 w 125378"/>
                <a:gd name="connsiteY22" fmla="*/ 149559 h 147767"/>
                <a:gd name="connsiteX23" fmla="*/ 89403 w 125378"/>
                <a:gd name="connsiteY23" fmla="*/ 149559 h 147767"/>
                <a:gd name="connsiteX24" fmla="*/ 91194 w 125378"/>
                <a:gd name="connsiteY24" fmla="*/ 147768 h 147767"/>
                <a:gd name="connsiteX25" fmla="*/ 98806 w 125378"/>
                <a:gd name="connsiteY25" fmla="*/ 122692 h 147767"/>
                <a:gd name="connsiteX26" fmla="*/ 123882 w 125378"/>
                <a:gd name="connsiteY26" fmla="*/ 130304 h 147767"/>
                <a:gd name="connsiteX27" fmla="*/ 126121 w 125378"/>
                <a:gd name="connsiteY27" fmla="*/ 129409 h 147767"/>
                <a:gd name="connsiteX28" fmla="*/ 125673 w 125378"/>
                <a:gd name="connsiteY28" fmla="*/ 126722 h 147767"/>
                <a:gd name="connsiteX29" fmla="*/ 37908 w 125378"/>
                <a:gd name="connsiteY29" fmla="*/ 141499 h 147767"/>
                <a:gd name="connsiteX30" fmla="*/ 31191 w 125378"/>
                <a:gd name="connsiteY30" fmla="*/ 119558 h 147767"/>
                <a:gd name="connsiteX31" fmla="*/ 28504 w 125378"/>
                <a:gd name="connsiteY31" fmla="*/ 118214 h 147767"/>
                <a:gd name="connsiteX32" fmla="*/ 6563 w 125378"/>
                <a:gd name="connsiteY32" fmla="*/ 124931 h 147767"/>
                <a:gd name="connsiteX33" fmla="*/ 22683 w 125378"/>
                <a:gd name="connsiteY33" fmla="*/ 95377 h 147767"/>
                <a:gd name="connsiteX34" fmla="*/ 54476 w 125378"/>
                <a:gd name="connsiteY34" fmla="*/ 111945 h 147767"/>
                <a:gd name="connsiteX35" fmla="*/ 37908 w 125378"/>
                <a:gd name="connsiteY35" fmla="*/ 141499 h 147767"/>
                <a:gd name="connsiteX36" fmla="*/ 11489 w 125378"/>
                <a:gd name="connsiteY36" fmla="*/ 55973 h 147767"/>
                <a:gd name="connsiteX37" fmla="*/ 62984 w 125378"/>
                <a:gd name="connsiteY37" fmla="*/ 4478 h 147767"/>
                <a:gd name="connsiteX38" fmla="*/ 114479 w 125378"/>
                <a:gd name="connsiteY38" fmla="*/ 55973 h 147767"/>
                <a:gd name="connsiteX39" fmla="*/ 62984 w 125378"/>
                <a:gd name="connsiteY39" fmla="*/ 107468 h 147767"/>
                <a:gd name="connsiteX40" fmla="*/ 11489 w 125378"/>
                <a:gd name="connsiteY40" fmla="*/ 55973 h 147767"/>
                <a:gd name="connsiteX41" fmla="*/ 97015 w 125378"/>
                <a:gd name="connsiteY41" fmla="*/ 117767 h 147767"/>
                <a:gd name="connsiteX42" fmla="*/ 94328 w 125378"/>
                <a:gd name="connsiteY42" fmla="*/ 119110 h 147767"/>
                <a:gd name="connsiteX43" fmla="*/ 87612 w 125378"/>
                <a:gd name="connsiteY43" fmla="*/ 141051 h 147767"/>
                <a:gd name="connsiteX44" fmla="*/ 71491 w 125378"/>
                <a:gd name="connsiteY44" fmla="*/ 111050 h 147767"/>
                <a:gd name="connsiteX45" fmla="*/ 103284 w 125378"/>
                <a:gd name="connsiteY45" fmla="*/ 94482 h 147767"/>
                <a:gd name="connsiteX46" fmla="*/ 119404 w 125378"/>
                <a:gd name="connsiteY46" fmla="*/ 124036 h 147767"/>
                <a:gd name="connsiteX47" fmla="*/ 97015 w 125378"/>
                <a:gd name="connsiteY47" fmla="*/ 117767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378" h="147767">
                  <a:moveTo>
                    <a:pt x="125673" y="126722"/>
                  </a:moveTo>
                  <a:lnTo>
                    <a:pt x="106418" y="91347"/>
                  </a:lnTo>
                  <a:cubicBezTo>
                    <a:pt x="106418" y="91347"/>
                    <a:pt x="106418" y="91347"/>
                    <a:pt x="106418" y="91347"/>
                  </a:cubicBezTo>
                  <a:cubicBezTo>
                    <a:pt x="114031" y="81944"/>
                    <a:pt x="118956" y="69406"/>
                    <a:pt x="118956" y="55973"/>
                  </a:cubicBezTo>
                  <a:cubicBezTo>
                    <a:pt x="118956" y="25076"/>
                    <a:pt x="93881" y="0"/>
                    <a:pt x="62984" y="0"/>
                  </a:cubicBezTo>
                  <a:cubicBezTo>
                    <a:pt x="32087" y="0"/>
                    <a:pt x="7011" y="25076"/>
                    <a:pt x="7011" y="55973"/>
                  </a:cubicBezTo>
                  <a:cubicBezTo>
                    <a:pt x="7011" y="69406"/>
                    <a:pt x="11489" y="81496"/>
                    <a:pt x="19549" y="91347"/>
                  </a:cubicBezTo>
                  <a:cubicBezTo>
                    <a:pt x="19549" y="91347"/>
                    <a:pt x="19549" y="91347"/>
                    <a:pt x="19549" y="91347"/>
                  </a:cubicBezTo>
                  <a:lnTo>
                    <a:pt x="294" y="126722"/>
                  </a:lnTo>
                  <a:cubicBezTo>
                    <a:pt x="-154" y="127618"/>
                    <a:pt x="-154" y="128513"/>
                    <a:pt x="742" y="129409"/>
                  </a:cubicBezTo>
                  <a:cubicBezTo>
                    <a:pt x="1637" y="130304"/>
                    <a:pt x="2085" y="130304"/>
                    <a:pt x="2981" y="130304"/>
                  </a:cubicBezTo>
                  <a:lnTo>
                    <a:pt x="28057" y="122692"/>
                  </a:lnTo>
                  <a:lnTo>
                    <a:pt x="35669" y="147768"/>
                  </a:lnTo>
                  <a:cubicBezTo>
                    <a:pt x="36117" y="148664"/>
                    <a:pt x="36564" y="149111"/>
                    <a:pt x="37460" y="149559"/>
                  </a:cubicBezTo>
                  <a:cubicBezTo>
                    <a:pt x="37460" y="149559"/>
                    <a:pt x="37460" y="149559"/>
                    <a:pt x="37908" y="149559"/>
                  </a:cubicBezTo>
                  <a:cubicBezTo>
                    <a:pt x="38803" y="149559"/>
                    <a:pt x="39699" y="149111"/>
                    <a:pt x="39699" y="148216"/>
                  </a:cubicBezTo>
                  <a:lnTo>
                    <a:pt x="58954" y="112841"/>
                  </a:lnTo>
                  <a:cubicBezTo>
                    <a:pt x="58954" y="112393"/>
                    <a:pt x="59401" y="112393"/>
                    <a:pt x="59401" y="111945"/>
                  </a:cubicBezTo>
                  <a:cubicBezTo>
                    <a:pt x="60745" y="111945"/>
                    <a:pt x="62088" y="111945"/>
                    <a:pt x="63431" y="111945"/>
                  </a:cubicBezTo>
                  <a:cubicBezTo>
                    <a:pt x="64775" y="111945"/>
                    <a:pt x="66118" y="111945"/>
                    <a:pt x="67461" y="111945"/>
                  </a:cubicBezTo>
                  <a:cubicBezTo>
                    <a:pt x="67461" y="112393"/>
                    <a:pt x="67461" y="112841"/>
                    <a:pt x="67909" y="112841"/>
                  </a:cubicBezTo>
                  <a:lnTo>
                    <a:pt x="87164" y="148216"/>
                  </a:lnTo>
                  <a:cubicBezTo>
                    <a:pt x="87612" y="149111"/>
                    <a:pt x="88507" y="149559"/>
                    <a:pt x="88955" y="149559"/>
                  </a:cubicBezTo>
                  <a:cubicBezTo>
                    <a:pt x="88955" y="149559"/>
                    <a:pt x="88955" y="149559"/>
                    <a:pt x="89403" y="149559"/>
                  </a:cubicBezTo>
                  <a:cubicBezTo>
                    <a:pt x="90298" y="149559"/>
                    <a:pt x="91194" y="148664"/>
                    <a:pt x="91194" y="147768"/>
                  </a:cubicBezTo>
                  <a:lnTo>
                    <a:pt x="98806" y="122692"/>
                  </a:lnTo>
                  <a:lnTo>
                    <a:pt x="123882" y="130304"/>
                  </a:lnTo>
                  <a:cubicBezTo>
                    <a:pt x="124777" y="130752"/>
                    <a:pt x="125673" y="130304"/>
                    <a:pt x="126121" y="129409"/>
                  </a:cubicBezTo>
                  <a:cubicBezTo>
                    <a:pt x="126569" y="128513"/>
                    <a:pt x="126121" y="127618"/>
                    <a:pt x="125673" y="126722"/>
                  </a:cubicBezTo>
                  <a:close/>
                  <a:moveTo>
                    <a:pt x="37908" y="141499"/>
                  </a:moveTo>
                  <a:lnTo>
                    <a:pt x="31191" y="119558"/>
                  </a:lnTo>
                  <a:cubicBezTo>
                    <a:pt x="30743" y="118214"/>
                    <a:pt x="29400" y="117767"/>
                    <a:pt x="28504" y="118214"/>
                  </a:cubicBezTo>
                  <a:lnTo>
                    <a:pt x="6563" y="124931"/>
                  </a:lnTo>
                  <a:lnTo>
                    <a:pt x="22683" y="95377"/>
                  </a:lnTo>
                  <a:cubicBezTo>
                    <a:pt x="31191" y="103885"/>
                    <a:pt x="41938" y="110154"/>
                    <a:pt x="54476" y="111945"/>
                  </a:cubicBezTo>
                  <a:lnTo>
                    <a:pt x="37908" y="141499"/>
                  </a:lnTo>
                  <a:close/>
                  <a:moveTo>
                    <a:pt x="11489" y="55973"/>
                  </a:moveTo>
                  <a:cubicBezTo>
                    <a:pt x="11489" y="27763"/>
                    <a:pt x="34773" y="4478"/>
                    <a:pt x="62984" y="4478"/>
                  </a:cubicBezTo>
                  <a:cubicBezTo>
                    <a:pt x="91194" y="4478"/>
                    <a:pt x="114479" y="27763"/>
                    <a:pt x="114479" y="55973"/>
                  </a:cubicBezTo>
                  <a:cubicBezTo>
                    <a:pt x="114479" y="84183"/>
                    <a:pt x="91194" y="107468"/>
                    <a:pt x="62984" y="107468"/>
                  </a:cubicBezTo>
                  <a:cubicBezTo>
                    <a:pt x="34773" y="107468"/>
                    <a:pt x="11489" y="84631"/>
                    <a:pt x="11489" y="55973"/>
                  </a:cubicBezTo>
                  <a:close/>
                  <a:moveTo>
                    <a:pt x="97015" y="117767"/>
                  </a:moveTo>
                  <a:cubicBezTo>
                    <a:pt x="95672" y="117319"/>
                    <a:pt x="94776" y="118214"/>
                    <a:pt x="94328" y="119110"/>
                  </a:cubicBezTo>
                  <a:lnTo>
                    <a:pt x="87612" y="141051"/>
                  </a:lnTo>
                  <a:lnTo>
                    <a:pt x="71491" y="111050"/>
                  </a:lnTo>
                  <a:cubicBezTo>
                    <a:pt x="84029" y="109259"/>
                    <a:pt x="94776" y="102990"/>
                    <a:pt x="103284" y="94482"/>
                  </a:cubicBezTo>
                  <a:lnTo>
                    <a:pt x="119404" y="124036"/>
                  </a:lnTo>
                  <a:lnTo>
                    <a:pt x="97015" y="117767"/>
                  </a:lnTo>
                  <a:close/>
                </a:path>
              </a:pathLst>
            </a:custGeom>
            <a:solidFill>
              <a:srgbClr val="231F20"/>
            </a:solidFill>
            <a:ln w="4474" cap="flat">
              <a:noFill/>
              <a:prstDash val="solid"/>
              <a:miter/>
            </a:ln>
          </p:spPr>
          <p:txBody>
            <a:bodyPr rtlCol="0" anchor="ctr"/>
            <a:lstStyle/>
            <a:p>
              <a:endParaRPr lang="en-US"/>
            </a:p>
          </p:txBody>
        </p:sp>
      </p:grpSp>
      <p:sp>
        <p:nvSpPr>
          <p:cNvPr id="4445" name="Freeform: Shape 4444">
            <a:extLst>
              <a:ext uri="{FF2B5EF4-FFF2-40B4-BE49-F238E27FC236}">
                <a16:creationId xmlns:a16="http://schemas.microsoft.com/office/drawing/2014/main" id="{3AE7F1DF-7F2C-49A5-A628-53F6D8C9A551}"/>
              </a:ext>
              <a:ext uri="{C183D7F6-B498-43B3-948B-1728B52AA6E4}">
                <adec:decorative xmlns:adec="http://schemas.microsoft.com/office/drawing/2017/decorative" val="1"/>
              </a:ext>
            </a:extLst>
          </p:cNvPr>
          <p:cNvSpPr>
            <a:spLocks noChangeAspect="1"/>
          </p:cNvSpPr>
          <p:nvPr/>
        </p:nvSpPr>
        <p:spPr>
          <a:xfrm>
            <a:off x="1889598" y="4580627"/>
            <a:ext cx="98512" cy="125379"/>
          </a:xfrm>
          <a:custGeom>
            <a:avLst/>
            <a:gdLst>
              <a:gd name="connsiteX0" fmla="*/ 97169 w 98511"/>
              <a:gd name="connsiteY0" fmla="*/ 107468 h 125378"/>
              <a:gd name="connsiteX1" fmla="*/ 85526 w 98511"/>
              <a:gd name="connsiteY1" fmla="*/ 107468 h 125378"/>
              <a:gd name="connsiteX2" fmla="*/ 79257 w 98511"/>
              <a:gd name="connsiteY2" fmla="*/ 82392 h 125378"/>
              <a:gd name="connsiteX3" fmla="*/ 68958 w 98511"/>
              <a:gd name="connsiteY3" fmla="*/ 42091 h 125378"/>
              <a:gd name="connsiteX4" fmla="*/ 58659 w 98511"/>
              <a:gd name="connsiteY4" fmla="*/ 1791 h 125378"/>
              <a:gd name="connsiteX5" fmla="*/ 56420 w 98511"/>
              <a:gd name="connsiteY5" fmla="*/ 0 h 125378"/>
              <a:gd name="connsiteX6" fmla="*/ 42987 w 98511"/>
              <a:gd name="connsiteY6" fmla="*/ 0 h 125378"/>
              <a:gd name="connsiteX7" fmla="*/ 40748 w 98511"/>
              <a:gd name="connsiteY7" fmla="*/ 1791 h 125378"/>
              <a:gd name="connsiteX8" fmla="*/ 30449 w 98511"/>
              <a:gd name="connsiteY8" fmla="*/ 42091 h 125378"/>
              <a:gd name="connsiteX9" fmla="*/ 20150 w 98511"/>
              <a:gd name="connsiteY9" fmla="*/ 82392 h 125378"/>
              <a:gd name="connsiteX10" fmla="*/ 13881 w 98511"/>
              <a:gd name="connsiteY10" fmla="*/ 107468 h 125378"/>
              <a:gd name="connsiteX11" fmla="*/ 2239 w 98511"/>
              <a:gd name="connsiteY11" fmla="*/ 107468 h 125378"/>
              <a:gd name="connsiteX12" fmla="*/ 0 w 98511"/>
              <a:gd name="connsiteY12" fmla="*/ 109707 h 125378"/>
              <a:gd name="connsiteX13" fmla="*/ 0 w 98511"/>
              <a:gd name="connsiteY13" fmla="*/ 123140 h 125378"/>
              <a:gd name="connsiteX14" fmla="*/ 2239 w 98511"/>
              <a:gd name="connsiteY14" fmla="*/ 125379 h 125378"/>
              <a:gd name="connsiteX15" fmla="*/ 96273 w 98511"/>
              <a:gd name="connsiteY15" fmla="*/ 125379 h 125378"/>
              <a:gd name="connsiteX16" fmla="*/ 98512 w 98511"/>
              <a:gd name="connsiteY16" fmla="*/ 123140 h 125378"/>
              <a:gd name="connsiteX17" fmla="*/ 98512 w 98511"/>
              <a:gd name="connsiteY17" fmla="*/ 109707 h 125378"/>
              <a:gd name="connsiteX18" fmla="*/ 97169 w 98511"/>
              <a:gd name="connsiteY18" fmla="*/ 107468 h 125378"/>
              <a:gd name="connsiteX19" fmla="*/ 45226 w 98511"/>
              <a:gd name="connsiteY19" fmla="*/ 4478 h 125378"/>
              <a:gd name="connsiteX20" fmla="*/ 55077 w 98511"/>
              <a:gd name="connsiteY20" fmla="*/ 4478 h 125378"/>
              <a:gd name="connsiteX21" fmla="*/ 64033 w 98511"/>
              <a:gd name="connsiteY21" fmla="*/ 40300 h 125378"/>
              <a:gd name="connsiteX22" fmla="*/ 36270 w 98511"/>
              <a:gd name="connsiteY22" fmla="*/ 40300 h 125378"/>
              <a:gd name="connsiteX23" fmla="*/ 45226 w 98511"/>
              <a:gd name="connsiteY23" fmla="*/ 4478 h 125378"/>
              <a:gd name="connsiteX24" fmla="*/ 34927 w 98511"/>
              <a:gd name="connsiteY24" fmla="*/ 44778 h 125378"/>
              <a:gd name="connsiteX25" fmla="*/ 64928 w 98511"/>
              <a:gd name="connsiteY25" fmla="*/ 44778 h 125378"/>
              <a:gd name="connsiteX26" fmla="*/ 73884 w 98511"/>
              <a:gd name="connsiteY26" fmla="*/ 80601 h 125378"/>
              <a:gd name="connsiteX27" fmla="*/ 25971 w 98511"/>
              <a:gd name="connsiteY27" fmla="*/ 80601 h 125378"/>
              <a:gd name="connsiteX28" fmla="*/ 34927 w 98511"/>
              <a:gd name="connsiteY28" fmla="*/ 44778 h 125378"/>
              <a:gd name="connsiteX29" fmla="*/ 25076 w 98511"/>
              <a:gd name="connsiteY29" fmla="*/ 85079 h 125378"/>
              <a:gd name="connsiteX30" fmla="*/ 75227 w 98511"/>
              <a:gd name="connsiteY30" fmla="*/ 85079 h 125378"/>
              <a:gd name="connsiteX31" fmla="*/ 81048 w 98511"/>
              <a:gd name="connsiteY31" fmla="*/ 107468 h 125378"/>
              <a:gd name="connsiteX32" fmla="*/ 19255 w 98511"/>
              <a:gd name="connsiteY32" fmla="*/ 107468 h 125378"/>
              <a:gd name="connsiteX33" fmla="*/ 25076 w 98511"/>
              <a:gd name="connsiteY33" fmla="*/ 85079 h 125378"/>
              <a:gd name="connsiteX34" fmla="*/ 94930 w 98511"/>
              <a:gd name="connsiteY34" fmla="*/ 120901 h 125378"/>
              <a:gd name="connsiteX35" fmla="*/ 5373 w 98511"/>
              <a:gd name="connsiteY35" fmla="*/ 120901 h 125378"/>
              <a:gd name="connsiteX36" fmla="*/ 5373 w 98511"/>
              <a:gd name="connsiteY36" fmla="*/ 111945 h 125378"/>
              <a:gd name="connsiteX37" fmla="*/ 16568 w 98511"/>
              <a:gd name="connsiteY37" fmla="*/ 111945 h 125378"/>
              <a:gd name="connsiteX38" fmla="*/ 83735 w 98511"/>
              <a:gd name="connsiteY38" fmla="*/ 111945 h 125378"/>
              <a:gd name="connsiteX39" fmla="*/ 94930 w 98511"/>
              <a:gd name="connsiteY39" fmla="*/ 111945 h 125378"/>
              <a:gd name="connsiteX40" fmla="*/ 94930 w 98511"/>
              <a:gd name="connsiteY40"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8511" h="125378">
                <a:moveTo>
                  <a:pt x="97169" y="107468"/>
                </a:moveTo>
                <a:lnTo>
                  <a:pt x="85526" y="107468"/>
                </a:lnTo>
                <a:lnTo>
                  <a:pt x="79257" y="82392"/>
                </a:lnTo>
                <a:lnTo>
                  <a:pt x="68958" y="42091"/>
                </a:lnTo>
                <a:lnTo>
                  <a:pt x="58659" y="1791"/>
                </a:lnTo>
                <a:cubicBezTo>
                  <a:pt x="58212" y="896"/>
                  <a:pt x="57316" y="0"/>
                  <a:pt x="56420" y="0"/>
                </a:cubicBezTo>
                <a:lnTo>
                  <a:pt x="42987" y="0"/>
                </a:lnTo>
                <a:cubicBezTo>
                  <a:pt x="42091" y="0"/>
                  <a:pt x="41196" y="896"/>
                  <a:pt x="40748" y="1791"/>
                </a:cubicBezTo>
                <a:lnTo>
                  <a:pt x="30449" y="42091"/>
                </a:lnTo>
                <a:lnTo>
                  <a:pt x="20150" y="82392"/>
                </a:lnTo>
                <a:lnTo>
                  <a:pt x="13881" y="107468"/>
                </a:lnTo>
                <a:lnTo>
                  <a:pt x="2239" y="107468"/>
                </a:lnTo>
                <a:cubicBezTo>
                  <a:pt x="895" y="107468"/>
                  <a:pt x="0" y="108363"/>
                  <a:pt x="0" y="109707"/>
                </a:cubicBezTo>
                <a:lnTo>
                  <a:pt x="0" y="123140"/>
                </a:lnTo>
                <a:cubicBezTo>
                  <a:pt x="0" y="124483"/>
                  <a:pt x="895" y="125379"/>
                  <a:pt x="2239" y="125379"/>
                </a:cubicBezTo>
                <a:lnTo>
                  <a:pt x="96273" y="125379"/>
                </a:lnTo>
                <a:cubicBezTo>
                  <a:pt x="97616" y="125379"/>
                  <a:pt x="98512" y="124483"/>
                  <a:pt x="98512" y="123140"/>
                </a:cubicBezTo>
                <a:lnTo>
                  <a:pt x="98512" y="109707"/>
                </a:lnTo>
                <a:cubicBezTo>
                  <a:pt x="99407" y="108363"/>
                  <a:pt x="98064" y="107468"/>
                  <a:pt x="97169" y="107468"/>
                </a:cubicBezTo>
                <a:close/>
                <a:moveTo>
                  <a:pt x="45226" y="4478"/>
                </a:moveTo>
                <a:lnTo>
                  <a:pt x="55077" y="4478"/>
                </a:lnTo>
                <a:lnTo>
                  <a:pt x="64033" y="40300"/>
                </a:lnTo>
                <a:lnTo>
                  <a:pt x="36270" y="40300"/>
                </a:lnTo>
                <a:lnTo>
                  <a:pt x="45226" y="4478"/>
                </a:lnTo>
                <a:close/>
                <a:moveTo>
                  <a:pt x="34927" y="44778"/>
                </a:moveTo>
                <a:lnTo>
                  <a:pt x="64928" y="44778"/>
                </a:lnTo>
                <a:lnTo>
                  <a:pt x="73884" y="80601"/>
                </a:lnTo>
                <a:lnTo>
                  <a:pt x="25971" y="80601"/>
                </a:lnTo>
                <a:lnTo>
                  <a:pt x="34927" y="44778"/>
                </a:lnTo>
                <a:close/>
                <a:moveTo>
                  <a:pt x="25076" y="85079"/>
                </a:moveTo>
                <a:lnTo>
                  <a:pt x="75227" y="85079"/>
                </a:lnTo>
                <a:lnTo>
                  <a:pt x="81048" y="107468"/>
                </a:lnTo>
                <a:lnTo>
                  <a:pt x="19255" y="107468"/>
                </a:lnTo>
                <a:lnTo>
                  <a:pt x="25076" y="85079"/>
                </a:lnTo>
                <a:close/>
                <a:moveTo>
                  <a:pt x="94930" y="120901"/>
                </a:moveTo>
                <a:lnTo>
                  <a:pt x="5373" y="120901"/>
                </a:lnTo>
                <a:lnTo>
                  <a:pt x="5373" y="111945"/>
                </a:lnTo>
                <a:lnTo>
                  <a:pt x="16568" y="111945"/>
                </a:lnTo>
                <a:lnTo>
                  <a:pt x="83735" y="111945"/>
                </a:lnTo>
                <a:lnTo>
                  <a:pt x="94930" y="111945"/>
                </a:lnTo>
                <a:lnTo>
                  <a:pt x="94930" y="120901"/>
                </a:lnTo>
                <a:close/>
              </a:path>
            </a:pathLst>
          </a:custGeom>
          <a:solidFill>
            <a:srgbClr val="231F20"/>
          </a:solidFill>
          <a:ln w="4474" cap="flat">
            <a:noFill/>
            <a:prstDash val="solid"/>
            <a:miter/>
          </a:ln>
        </p:spPr>
        <p:txBody>
          <a:bodyPr rtlCol="0" anchor="ctr"/>
          <a:lstStyle/>
          <a:p>
            <a:endParaRPr lang="en-US"/>
          </a:p>
        </p:txBody>
      </p:sp>
      <p:sp>
        <p:nvSpPr>
          <p:cNvPr id="4446" name="Freeform: Shape 4445">
            <a:extLst>
              <a:ext uri="{FF2B5EF4-FFF2-40B4-BE49-F238E27FC236}">
                <a16:creationId xmlns:a16="http://schemas.microsoft.com/office/drawing/2014/main" id="{4087A019-213F-4410-A6F4-D4D7B6E7061E}"/>
              </a:ext>
              <a:ext uri="{C183D7F6-B498-43B3-948B-1728B52AA6E4}">
                <adec:decorative xmlns:adec="http://schemas.microsoft.com/office/drawing/2017/decorative" val="1"/>
              </a:ext>
            </a:extLst>
          </p:cNvPr>
          <p:cNvSpPr>
            <a:spLocks noChangeAspect="1"/>
          </p:cNvSpPr>
          <p:nvPr/>
        </p:nvSpPr>
        <p:spPr>
          <a:xfrm>
            <a:off x="2147520" y="4584433"/>
            <a:ext cx="125379" cy="120901"/>
          </a:xfrm>
          <a:custGeom>
            <a:avLst/>
            <a:gdLst>
              <a:gd name="connsiteX0" fmla="*/ 122692 w 125378"/>
              <a:gd name="connsiteY0" fmla="*/ 23061 h 120901"/>
              <a:gd name="connsiteX1" fmla="*/ 104333 w 125378"/>
              <a:gd name="connsiteY1" fmla="*/ 23061 h 120901"/>
              <a:gd name="connsiteX2" fmla="*/ 106124 w 125378"/>
              <a:gd name="connsiteY2" fmla="*/ 15896 h 120901"/>
              <a:gd name="connsiteX3" fmla="*/ 101647 w 125378"/>
              <a:gd name="connsiteY3" fmla="*/ 4702 h 120901"/>
              <a:gd name="connsiteX4" fmla="*/ 79705 w 125378"/>
              <a:gd name="connsiteY4" fmla="*/ 4702 h 120901"/>
              <a:gd name="connsiteX5" fmla="*/ 62242 w 125378"/>
              <a:gd name="connsiteY5" fmla="*/ 22165 h 120901"/>
              <a:gd name="connsiteX6" fmla="*/ 44778 w 125378"/>
              <a:gd name="connsiteY6" fmla="*/ 4702 h 120901"/>
              <a:gd name="connsiteX7" fmla="*/ 22837 w 125378"/>
              <a:gd name="connsiteY7" fmla="*/ 4702 h 120901"/>
              <a:gd name="connsiteX8" fmla="*/ 18359 w 125378"/>
              <a:gd name="connsiteY8" fmla="*/ 15896 h 120901"/>
              <a:gd name="connsiteX9" fmla="*/ 20150 w 125378"/>
              <a:gd name="connsiteY9" fmla="*/ 23061 h 120901"/>
              <a:gd name="connsiteX10" fmla="*/ 2239 w 125378"/>
              <a:gd name="connsiteY10" fmla="*/ 23061 h 120901"/>
              <a:gd name="connsiteX11" fmla="*/ 0 w 125378"/>
              <a:gd name="connsiteY11" fmla="*/ 25300 h 120901"/>
              <a:gd name="connsiteX12" fmla="*/ 0 w 125378"/>
              <a:gd name="connsiteY12" fmla="*/ 52167 h 120901"/>
              <a:gd name="connsiteX13" fmla="*/ 2239 w 125378"/>
              <a:gd name="connsiteY13" fmla="*/ 54406 h 120901"/>
              <a:gd name="connsiteX14" fmla="*/ 13433 w 125378"/>
              <a:gd name="connsiteY14" fmla="*/ 54406 h 120901"/>
              <a:gd name="connsiteX15" fmla="*/ 13433 w 125378"/>
              <a:gd name="connsiteY15" fmla="*/ 119334 h 120901"/>
              <a:gd name="connsiteX16" fmla="*/ 15672 w 125378"/>
              <a:gd name="connsiteY16" fmla="*/ 121573 h 120901"/>
              <a:gd name="connsiteX17" fmla="*/ 109707 w 125378"/>
              <a:gd name="connsiteY17" fmla="*/ 121573 h 120901"/>
              <a:gd name="connsiteX18" fmla="*/ 111945 w 125378"/>
              <a:gd name="connsiteY18" fmla="*/ 119334 h 120901"/>
              <a:gd name="connsiteX19" fmla="*/ 111945 w 125378"/>
              <a:gd name="connsiteY19" fmla="*/ 54406 h 120901"/>
              <a:gd name="connsiteX20" fmla="*/ 123140 w 125378"/>
              <a:gd name="connsiteY20" fmla="*/ 54406 h 120901"/>
              <a:gd name="connsiteX21" fmla="*/ 125379 w 125378"/>
              <a:gd name="connsiteY21" fmla="*/ 52167 h 120901"/>
              <a:gd name="connsiteX22" fmla="*/ 125379 w 125378"/>
              <a:gd name="connsiteY22" fmla="*/ 25300 h 120901"/>
              <a:gd name="connsiteX23" fmla="*/ 122692 w 125378"/>
              <a:gd name="connsiteY23" fmla="*/ 23061 h 120901"/>
              <a:gd name="connsiteX24" fmla="*/ 82840 w 125378"/>
              <a:gd name="connsiteY24" fmla="*/ 7836 h 120901"/>
              <a:gd name="connsiteX25" fmla="*/ 98512 w 125378"/>
              <a:gd name="connsiteY25" fmla="*/ 7836 h 120901"/>
              <a:gd name="connsiteX26" fmla="*/ 101647 w 125378"/>
              <a:gd name="connsiteY26" fmla="*/ 15896 h 120901"/>
              <a:gd name="connsiteX27" fmla="*/ 98960 w 125378"/>
              <a:gd name="connsiteY27" fmla="*/ 23061 h 120901"/>
              <a:gd name="connsiteX28" fmla="*/ 67167 w 125378"/>
              <a:gd name="connsiteY28" fmla="*/ 23061 h 120901"/>
              <a:gd name="connsiteX29" fmla="*/ 82840 w 125378"/>
              <a:gd name="connsiteY29" fmla="*/ 7836 h 120901"/>
              <a:gd name="connsiteX30" fmla="*/ 22389 w 125378"/>
              <a:gd name="connsiteY30" fmla="*/ 15896 h 120901"/>
              <a:gd name="connsiteX31" fmla="*/ 25524 w 125378"/>
              <a:gd name="connsiteY31" fmla="*/ 7836 h 120901"/>
              <a:gd name="connsiteX32" fmla="*/ 41196 w 125378"/>
              <a:gd name="connsiteY32" fmla="*/ 7836 h 120901"/>
              <a:gd name="connsiteX33" fmla="*/ 56421 w 125378"/>
              <a:gd name="connsiteY33" fmla="*/ 23061 h 120901"/>
              <a:gd name="connsiteX34" fmla="*/ 24628 w 125378"/>
              <a:gd name="connsiteY34" fmla="*/ 23061 h 120901"/>
              <a:gd name="connsiteX35" fmla="*/ 22389 w 125378"/>
              <a:gd name="connsiteY35" fmla="*/ 15896 h 120901"/>
              <a:gd name="connsiteX36" fmla="*/ 4030 w 125378"/>
              <a:gd name="connsiteY36" fmla="*/ 27539 h 120901"/>
              <a:gd name="connsiteX37" fmla="*/ 24180 w 125378"/>
              <a:gd name="connsiteY37" fmla="*/ 27539 h 120901"/>
              <a:gd name="connsiteX38" fmla="*/ 60003 w 125378"/>
              <a:gd name="connsiteY38" fmla="*/ 27539 h 120901"/>
              <a:gd name="connsiteX39" fmla="*/ 60003 w 125378"/>
              <a:gd name="connsiteY39" fmla="*/ 49928 h 120901"/>
              <a:gd name="connsiteX40" fmla="*/ 15225 w 125378"/>
              <a:gd name="connsiteY40" fmla="*/ 49928 h 120901"/>
              <a:gd name="connsiteX41" fmla="*/ 4030 w 125378"/>
              <a:gd name="connsiteY41" fmla="*/ 49928 h 120901"/>
              <a:gd name="connsiteX42" fmla="*/ 4030 w 125378"/>
              <a:gd name="connsiteY42" fmla="*/ 27539 h 120901"/>
              <a:gd name="connsiteX43" fmla="*/ 17464 w 125378"/>
              <a:gd name="connsiteY43" fmla="*/ 54406 h 120901"/>
              <a:gd name="connsiteX44" fmla="*/ 60003 w 125378"/>
              <a:gd name="connsiteY44" fmla="*/ 54406 h 120901"/>
              <a:gd name="connsiteX45" fmla="*/ 60003 w 125378"/>
              <a:gd name="connsiteY45" fmla="*/ 117095 h 120901"/>
              <a:gd name="connsiteX46" fmla="*/ 17464 w 125378"/>
              <a:gd name="connsiteY46" fmla="*/ 117095 h 120901"/>
              <a:gd name="connsiteX47" fmla="*/ 17464 w 125378"/>
              <a:gd name="connsiteY47" fmla="*/ 54406 h 120901"/>
              <a:gd name="connsiteX48" fmla="*/ 107020 w 125378"/>
              <a:gd name="connsiteY48" fmla="*/ 117095 h 120901"/>
              <a:gd name="connsiteX49" fmla="*/ 64481 w 125378"/>
              <a:gd name="connsiteY49" fmla="*/ 117095 h 120901"/>
              <a:gd name="connsiteX50" fmla="*/ 64481 w 125378"/>
              <a:gd name="connsiteY50" fmla="*/ 54406 h 120901"/>
              <a:gd name="connsiteX51" fmla="*/ 107020 w 125378"/>
              <a:gd name="connsiteY51" fmla="*/ 54406 h 120901"/>
              <a:gd name="connsiteX52" fmla="*/ 107020 w 125378"/>
              <a:gd name="connsiteY52" fmla="*/ 117095 h 120901"/>
              <a:gd name="connsiteX53" fmla="*/ 120453 w 125378"/>
              <a:gd name="connsiteY53" fmla="*/ 49928 h 120901"/>
              <a:gd name="connsiteX54" fmla="*/ 109259 w 125378"/>
              <a:gd name="connsiteY54" fmla="*/ 49928 h 120901"/>
              <a:gd name="connsiteX55" fmla="*/ 64481 w 125378"/>
              <a:gd name="connsiteY55" fmla="*/ 49928 h 120901"/>
              <a:gd name="connsiteX56" fmla="*/ 64481 w 125378"/>
              <a:gd name="connsiteY56" fmla="*/ 27539 h 120901"/>
              <a:gd name="connsiteX57" fmla="*/ 100303 w 125378"/>
              <a:gd name="connsiteY57" fmla="*/ 27539 h 120901"/>
              <a:gd name="connsiteX58" fmla="*/ 120453 w 125378"/>
              <a:gd name="connsiteY58" fmla="*/ 27539 h 120901"/>
              <a:gd name="connsiteX59" fmla="*/ 120453 w 125378"/>
              <a:gd name="connsiteY59" fmla="*/ 49928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5378" h="120901">
                <a:moveTo>
                  <a:pt x="122692" y="23061"/>
                </a:moveTo>
                <a:lnTo>
                  <a:pt x="104333" y="23061"/>
                </a:lnTo>
                <a:cubicBezTo>
                  <a:pt x="105677" y="20822"/>
                  <a:pt x="106124" y="18583"/>
                  <a:pt x="106124" y="15896"/>
                </a:cubicBezTo>
                <a:cubicBezTo>
                  <a:pt x="106124" y="11866"/>
                  <a:pt x="104333" y="7836"/>
                  <a:pt x="101647" y="4702"/>
                </a:cubicBezTo>
                <a:cubicBezTo>
                  <a:pt x="95378" y="-1567"/>
                  <a:pt x="85526" y="-1567"/>
                  <a:pt x="79705" y="4702"/>
                </a:cubicBezTo>
                <a:lnTo>
                  <a:pt x="62242" y="22165"/>
                </a:lnTo>
                <a:lnTo>
                  <a:pt x="44778" y="4702"/>
                </a:lnTo>
                <a:cubicBezTo>
                  <a:pt x="38957" y="-1120"/>
                  <a:pt x="28658" y="-1120"/>
                  <a:pt x="22837" y="4702"/>
                </a:cubicBezTo>
                <a:cubicBezTo>
                  <a:pt x="19703" y="7836"/>
                  <a:pt x="18359" y="11418"/>
                  <a:pt x="18359" y="15896"/>
                </a:cubicBezTo>
                <a:cubicBezTo>
                  <a:pt x="18359" y="18583"/>
                  <a:pt x="19255" y="20822"/>
                  <a:pt x="20150" y="23061"/>
                </a:cubicBezTo>
                <a:lnTo>
                  <a:pt x="2239" y="23061"/>
                </a:lnTo>
                <a:cubicBezTo>
                  <a:pt x="896" y="23061"/>
                  <a:pt x="0" y="23956"/>
                  <a:pt x="0" y="25300"/>
                </a:cubicBezTo>
                <a:lnTo>
                  <a:pt x="0" y="52167"/>
                </a:lnTo>
                <a:cubicBezTo>
                  <a:pt x="0" y="53510"/>
                  <a:pt x="896" y="54406"/>
                  <a:pt x="2239" y="54406"/>
                </a:cubicBezTo>
                <a:lnTo>
                  <a:pt x="13433" y="54406"/>
                </a:lnTo>
                <a:lnTo>
                  <a:pt x="13433" y="119334"/>
                </a:lnTo>
                <a:cubicBezTo>
                  <a:pt x="13433" y="120677"/>
                  <a:pt x="14329" y="121573"/>
                  <a:pt x="15672" y="121573"/>
                </a:cubicBezTo>
                <a:lnTo>
                  <a:pt x="109707" y="121573"/>
                </a:lnTo>
                <a:cubicBezTo>
                  <a:pt x="111050" y="121573"/>
                  <a:pt x="111945" y="120677"/>
                  <a:pt x="111945" y="119334"/>
                </a:cubicBezTo>
                <a:lnTo>
                  <a:pt x="111945" y="54406"/>
                </a:lnTo>
                <a:lnTo>
                  <a:pt x="123140" y="54406"/>
                </a:lnTo>
                <a:cubicBezTo>
                  <a:pt x="124483" y="54406"/>
                  <a:pt x="125379" y="53510"/>
                  <a:pt x="125379" y="52167"/>
                </a:cubicBezTo>
                <a:lnTo>
                  <a:pt x="125379" y="25300"/>
                </a:lnTo>
                <a:cubicBezTo>
                  <a:pt x="124931" y="23956"/>
                  <a:pt x="124036" y="23061"/>
                  <a:pt x="122692" y="23061"/>
                </a:cubicBezTo>
                <a:close/>
                <a:moveTo>
                  <a:pt x="82840" y="7836"/>
                </a:moveTo>
                <a:cubicBezTo>
                  <a:pt x="87317" y="3358"/>
                  <a:pt x="94482" y="3358"/>
                  <a:pt x="98512" y="7836"/>
                </a:cubicBezTo>
                <a:cubicBezTo>
                  <a:pt x="100751" y="10075"/>
                  <a:pt x="101647" y="12762"/>
                  <a:pt x="101647" y="15896"/>
                </a:cubicBezTo>
                <a:cubicBezTo>
                  <a:pt x="101647" y="18583"/>
                  <a:pt x="100751" y="21270"/>
                  <a:pt x="98960" y="23061"/>
                </a:cubicBezTo>
                <a:lnTo>
                  <a:pt x="67167" y="23061"/>
                </a:lnTo>
                <a:lnTo>
                  <a:pt x="82840" y="7836"/>
                </a:lnTo>
                <a:close/>
                <a:moveTo>
                  <a:pt x="22389" y="15896"/>
                </a:moveTo>
                <a:cubicBezTo>
                  <a:pt x="22389" y="12762"/>
                  <a:pt x="23733" y="10075"/>
                  <a:pt x="25524" y="7836"/>
                </a:cubicBezTo>
                <a:cubicBezTo>
                  <a:pt x="29554" y="3806"/>
                  <a:pt x="37166" y="3806"/>
                  <a:pt x="41196" y="7836"/>
                </a:cubicBezTo>
                <a:lnTo>
                  <a:pt x="56421" y="23061"/>
                </a:lnTo>
                <a:lnTo>
                  <a:pt x="24628" y="23061"/>
                </a:lnTo>
                <a:cubicBezTo>
                  <a:pt x="23285" y="21270"/>
                  <a:pt x="22389" y="18583"/>
                  <a:pt x="22389" y="15896"/>
                </a:cubicBezTo>
                <a:close/>
                <a:moveTo>
                  <a:pt x="4030" y="27539"/>
                </a:moveTo>
                <a:lnTo>
                  <a:pt x="24180" y="27539"/>
                </a:lnTo>
                <a:lnTo>
                  <a:pt x="60003" y="27539"/>
                </a:lnTo>
                <a:lnTo>
                  <a:pt x="60003" y="49928"/>
                </a:lnTo>
                <a:lnTo>
                  <a:pt x="15225" y="49928"/>
                </a:lnTo>
                <a:lnTo>
                  <a:pt x="4030" y="49928"/>
                </a:lnTo>
                <a:lnTo>
                  <a:pt x="4030" y="27539"/>
                </a:lnTo>
                <a:close/>
                <a:moveTo>
                  <a:pt x="17464" y="54406"/>
                </a:moveTo>
                <a:lnTo>
                  <a:pt x="60003" y="54406"/>
                </a:lnTo>
                <a:lnTo>
                  <a:pt x="60003" y="117095"/>
                </a:lnTo>
                <a:lnTo>
                  <a:pt x="17464" y="117095"/>
                </a:lnTo>
                <a:lnTo>
                  <a:pt x="17464" y="54406"/>
                </a:lnTo>
                <a:close/>
                <a:moveTo>
                  <a:pt x="107020" y="117095"/>
                </a:moveTo>
                <a:lnTo>
                  <a:pt x="64481" y="117095"/>
                </a:lnTo>
                <a:lnTo>
                  <a:pt x="64481" y="54406"/>
                </a:lnTo>
                <a:lnTo>
                  <a:pt x="107020" y="54406"/>
                </a:lnTo>
                <a:lnTo>
                  <a:pt x="107020" y="117095"/>
                </a:lnTo>
                <a:close/>
                <a:moveTo>
                  <a:pt x="120453" y="49928"/>
                </a:moveTo>
                <a:lnTo>
                  <a:pt x="109259" y="49928"/>
                </a:lnTo>
                <a:lnTo>
                  <a:pt x="64481" y="49928"/>
                </a:lnTo>
                <a:lnTo>
                  <a:pt x="64481" y="27539"/>
                </a:lnTo>
                <a:lnTo>
                  <a:pt x="100303" y="27539"/>
                </a:lnTo>
                <a:lnTo>
                  <a:pt x="120453" y="27539"/>
                </a:lnTo>
                <a:lnTo>
                  <a:pt x="120453" y="49928"/>
                </a:lnTo>
                <a:close/>
              </a:path>
            </a:pathLst>
          </a:custGeom>
          <a:solidFill>
            <a:srgbClr val="231F20"/>
          </a:solidFill>
          <a:ln w="4474" cap="flat">
            <a:noFill/>
            <a:prstDash val="solid"/>
            <a:miter/>
          </a:ln>
        </p:spPr>
        <p:txBody>
          <a:bodyPr rtlCol="0" anchor="ctr"/>
          <a:lstStyle/>
          <a:p>
            <a:endParaRPr lang="en-US"/>
          </a:p>
        </p:txBody>
      </p:sp>
      <p:sp>
        <p:nvSpPr>
          <p:cNvPr id="4447" name="Freeform: Shape 4446">
            <a:extLst>
              <a:ext uri="{FF2B5EF4-FFF2-40B4-BE49-F238E27FC236}">
                <a16:creationId xmlns:a16="http://schemas.microsoft.com/office/drawing/2014/main" id="{713D3C01-48E0-4AAF-82D0-5645CBB0C6F6}"/>
              </a:ext>
              <a:ext uri="{C183D7F6-B498-43B3-948B-1728B52AA6E4}">
                <adec:decorative xmlns:adec="http://schemas.microsoft.com/office/drawing/2017/decorative" val="1"/>
              </a:ext>
            </a:extLst>
          </p:cNvPr>
          <p:cNvSpPr>
            <a:spLocks noChangeAspect="1"/>
          </p:cNvSpPr>
          <p:nvPr/>
        </p:nvSpPr>
        <p:spPr>
          <a:xfrm>
            <a:off x="2412383" y="4593612"/>
            <a:ext cx="125379" cy="94034"/>
          </a:xfrm>
          <a:custGeom>
            <a:avLst/>
            <a:gdLst>
              <a:gd name="connsiteX0" fmla="*/ 126498 w 125378"/>
              <a:gd name="connsiteY0" fmla="*/ 29554 h 94034"/>
              <a:gd name="connsiteX1" fmla="*/ 126498 w 125378"/>
              <a:gd name="connsiteY1" fmla="*/ 29554 h 94034"/>
              <a:gd name="connsiteX2" fmla="*/ 126498 w 125378"/>
              <a:gd name="connsiteY2" fmla="*/ 29554 h 94034"/>
              <a:gd name="connsiteX3" fmla="*/ 126498 w 125378"/>
              <a:gd name="connsiteY3" fmla="*/ 28658 h 94034"/>
              <a:gd name="connsiteX4" fmla="*/ 126498 w 125378"/>
              <a:gd name="connsiteY4" fmla="*/ 28210 h 94034"/>
              <a:gd name="connsiteX5" fmla="*/ 126498 w 125378"/>
              <a:gd name="connsiteY5" fmla="*/ 27763 h 94034"/>
              <a:gd name="connsiteX6" fmla="*/ 103214 w 125378"/>
              <a:gd name="connsiteY6" fmla="*/ 896 h 94034"/>
              <a:gd name="connsiteX7" fmla="*/ 101423 w 125378"/>
              <a:gd name="connsiteY7" fmla="*/ 0 h 94034"/>
              <a:gd name="connsiteX8" fmla="*/ 63809 w 125378"/>
              <a:gd name="connsiteY8" fmla="*/ 0 h 94034"/>
              <a:gd name="connsiteX9" fmla="*/ 63809 w 125378"/>
              <a:gd name="connsiteY9" fmla="*/ 0 h 94034"/>
              <a:gd name="connsiteX10" fmla="*/ 26195 w 125378"/>
              <a:gd name="connsiteY10" fmla="*/ 0 h 94034"/>
              <a:gd name="connsiteX11" fmla="*/ 25748 w 125378"/>
              <a:gd name="connsiteY11" fmla="*/ 0 h 94034"/>
              <a:gd name="connsiteX12" fmla="*/ 25300 w 125378"/>
              <a:gd name="connsiteY12" fmla="*/ 0 h 94034"/>
              <a:gd name="connsiteX13" fmla="*/ 25300 w 125378"/>
              <a:gd name="connsiteY13" fmla="*/ 0 h 94034"/>
              <a:gd name="connsiteX14" fmla="*/ 24852 w 125378"/>
              <a:gd name="connsiteY14" fmla="*/ 448 h 94034"/>
              <a:gd name="connsiteX15" fmla="*/ 24404 w 125378"/>
              <a:gd name="connsiteY15" fmla="*/ 448 h 94034"/>
              <a:gd name="connsiteX16" fmla="*/ 24404 w 125378"/>
              <a:gd name="connsiteY16" fmla="*/ 448 h 94034"/>
              <a:gd name="connsiteX17" fmla="*/ 672 w 125378"/>
              <a:gd name="connsiteY17" fmla="*/ 27315 h 94034"/>
              <a:gd name="connsiteX18" fmla="*/ 672 w 125378"/>
              <a:gd name="connsiteY18" fmla="*/ 30449 h 94034"/>
              <a:gd name="connsiteX19" fmla="*/ 62018 w 125378"/>
              <a:gd name="connsiteY19" fmla="*/ 97617 h 94034"/>
              <a:gd name="connsiteX20" fmla="*/ 62018 w 125378"/>
              <a:gd name="connsiteY20" fmla="*/ 97617 h 94034"/>
              <a:gd name="connsiteX21" fmla="*/ 62466 w 125378"/>
              <a:gd name="connsiteY21" fmla="*/ 97617 h 94034"/>
              <a:gd name="connsiteX22" fmla="*/ 62913 w 125378"/>
              <a:gd name="connsiteY22" fmla="*/ 97617 h 94034"/>
              <a:gd name="connsiteX23" fmla="*/ 63361 w 125378"/>
              <a:gd name="connsiteY23" fmla="*/ 97617 h 94034"/>
              <a:gd name="connsiteX24" fmla="*/ 63361 w 125378"/>
              <a:gd name="connsiteY24" fmla="*/ 97617 h 94034"/>
              <a:gd name="connsiteX25" fmla="*/ 64257 w 125378"/>
              <a:gd name="connsiteY25" fmla="*/ 97617 h 94034"/>
              <a:gd name="connsiteX26" fmla="*/ 64257 w 125378"/>
              <a:gd name="connsiteY26" fmla="*/ 97617 h 94034"/>
              <a:gd name="connsiteX27" fmla="*/ 64257 w 125378"/>
              <a:gd name="connsiteY27" fmla="*/ 97617 h 94034"/>
              <a:gd name="connsiteX28" fmla="*/ 65152 w 125378"/>
              <a:gd name="connsiteY28" fmla="*/ 97617 h 94034"/>
              <a:gd name="connsiteX29" fmla="*/ 65600 w 125378"/>
              <a:gd name="connsiteY29" fmla="*/ 97617 h 94034"/>
              <a:gd name="connsiteX30" fmla="*/ 66048 w 125378"/>
              <a:gd name="connsiteY30" fmla="*/ 97617 h 94034"/>
              <a:gd name="connsiteX31" fmla="*/ 66496 w 125378"/>
              <a:gd name="connsiteY31" fmla="*/ 97617 h 94034"/>
              <a:gd name="connsiteX32" fmla="*/ 66496 w 125378"/>
              <a:gd name="connsiteY32" fmla="*/ 97617 h 94034"/>
              <a:gd name="connsiteX33" fmla="*/ 127394 w 125378"/>
              <a:gd name="connsiteY33" fmla="*/ 30449 h 94034"/>
              <a:gd name="connsiteX34" fmla="*/ 127842 w 125378"/>
              <a:gd name="connsiteY34" fmla="*/ 30001 h 94034"/>
              <a:gd name="connsiteX35" fmla="*/ 127842 w 125378"/>
              <a:gd name="connsiteY35" fmla="*/ 29554 h 94034"/>
              <a:gd name="connsiteX36" fmla="*/ 126498 w 125378"/>
              <a:gd name="connsiteY36" fmla="*/ 29554 h 94034"/>
              <a:gd name="connsiteX37" fmla="*/ 25300 w 125378"/>
              <a:gd name="connsiteY37" fmla="*/ 7165 h 94034"/>
              <a:gd name="connsiteX38" fmla="*/ 33360 w 125378"/>
              <a:gd name="connsiteY38" fmla="*/ 27763 h 94034"/>
              <a:gd name="connsiteX39" fmla="*/ 6941 w 125378"/>
              <a:gd name="connsiteY39" fmla="*/ 27763 h 94034"/>
              <a:gd name="connsiteX40" fmla="*/ 25300 w 125378"/>
              <a:gd name="connsiteY40" fmla="*/ 7165 h 94034"/>
              <a:gd name="connsiteX41" fmla="*/ 87094 w 125378"/>
              <a:gd name="connsiteY41" fmla="*/ 31793 h 94034"/>
              <a:gd name="connsiteX42" fmla="*/ 63361 w 125378"/>
              <a:gd name="connsiteY42" fmla="*/ 90900 h 94034"/>
              <a:gd name="connsiteX43" fmla="*/ 39629 w 125378"/>
              <a:gd name="connsiteY43" fmla="*/ 31793 h 94034"/>
              <a:gd name="connsiteX44" fmla="*/ 87094 w 125378"/>
              <a:gd name="connsiteY44" fmla="*/ 31793 h 94034"/>
              <a:gd name="connsiteX45" fmla="*/ 42315 w 125378"/>
              <a:gd name="connsiteY45" fmla="*/ 27315 h 94034"/>
              <a:gd name="connsiteX46" fmla="*/ 63809 w 125378"/>
              <a:gd name="connsiteY46" fmla="*/ 5821 h 94034"/>
              <a:gd name="connsiteX47" fmla="*/ 85302 w 125378"/>
              <a:gd name="connsiteY47" fmla="*/ 27315 h 94034"/>
              <a:gd name="connsiteX48" fmla="*/ 42315 w 125378"/>
              <a:gd name="connsiteY48" fmla="*/ 27315 h 94034"/>
              <a:gd name="connsiteX49" fmla="*/ 69182 w 125378"/>
              <a:gd name="connsiteY49" fmla="*/ 4926 h 94034"/>
              <a:gd name="connsiteX50" fmla="*/ 97840 w 125378"/>
              <a:gd name="connsiteY50" fmla="*/ 4926 h 94034"/>
              <a:gd name="connsiteX51" fmla="*/ 89780 w 125378"/>
              <a:gd name="connsiteY51" fmla="*/ 25524 h 94034"/>
              <a:gd name="connsiteX52" fmla="*/ 69182 w 125378"/>
              <a:gd name="connsiteY52" fmla="*/ 4926 h 94034"/>
              <a:gd name="connsiteX53" fmla="*/ 37838 w 125378"/>
              <a:gd name="connsiteY53" fmla="*/ 25524 h 94034"/>
              <a:gd name="connsiteX54" fmla="*/ 29778 w 125378"/>
              <a:gd name="connsiteY54" fmla="*/ 4926 h 94034"/>
              <a:gd name="connsiteX55" fmla="*/ 58436 w 125378"/>
              <a:gd name="connsiteY55" fmla="*/ 4926 h 94034"/>
              <a:gd name="connsiteX56" fmla="*/ 37838 w 125378"/>
              <a:gd name="connsiteY56" fmla="*/ 25524 h 94034"/>
              <a:gd name="connsiteX57" fmla="*/ 35151 w 125378"/>
              <a:gd name="connsiteY57" fmla="*/ 31793 h 94034"/>
              <a:gd name="connsiteX58" fmla="*/ 57092 w 125378"/>
              <a:gd name="connsiteY58" fmla="*/ 85974 h 94034"/>
              <a:gd name="connsiteX59" fmla="*/ 7388 w 125378"/>
              <a:gd name="connsiteY59" fmla="*/ 31793 h 94034"/>
              <a:gd name="connsiteX60" fmla="*/ 35151 w 125378"/>
              <a:gd name="connsiteY60" fmla="*/ 31793 h 94034"/>
              <a:gd name="connsiteX61" fmla="*/ 92019 w 125378"/>
              <a:gd name="connsiteY61" fmla="*/ 31793 h 94034"/>
              <a:gd name="connsiteX62" fmla="*/ 119334 w 125378"/>
              <a:gd name="connsiteY62" fmla="*/ 31793 h 94034"/>
              <a:gd name="connsiteX63" fmla="*/ 70526 w 125378"/>
              <a:gd name="connsiteY63" fmla="*/ 85974 h 94034"/>
              <a:gd name="connsiteX64" fmla="*/ 92019 w 125378"/>
              <a:gd name="connsiteY64" fmla="*/ 31793 h 94034"/>
              <a:gd name="connsiteX65" fmla="*/ 93810 w 125378"/>
              <a:gd name="connsiteY65" fmla="*/ 27315 h 94034"/>
              <a:gd name="connsiteX66" fmla="*/ 101870 w 125378"/>
              <a:gd name="connsiteY66" fmla="*/ 7165 h 94034"/>
              <a:gd name="connsiteX67" fmla="*/ 119334 w 125378"/>
              <a:gd name="connsiteY67" fmla="*/ 27315 h 94034"/>
              <a:gd name="connsiteX68" fmla="*/ 93810 w 125378"/>
              <a:gd name="connsiteY68" fmla="*/ 2731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25378" h="94034">
                <a:moveTo>
                  <a:pt x="126498" y="29554"/>
                </a:moveTo>
                <a:cubicBezTo>
                  <a:pt x="126498" y="29554"/>
                  <a:pt x="126498" y="29554"/>
                  <a:pt x="126498" y="29554"/>
                </a:cubicBezTo>
                <a:cubicBezTo>
                  <a:pt x="126498" y="29554"/>
                  <a:pt x="126498" y="29554"/>
                  <a:pt x="126498" y="29554"/>
                </a:cubicBezTo>
                <a:cubicBezTo>
                  <a:pt x="126498" y="29106"/>
                  <a:pt x="126498" y="29106"/>
                  <a:pt x="126498" y="28658"/>
                </a:cubicBezTo>
                <a:cubicBezTo>
                  <a:pt x="126498" y="28658"/>
                  <a:pt x="126498" y="28658"/>
                  <a:pt x="126498" y="28210"/>
                </a:cubicBezTo>
                <a:cubicBezTo>
                  <a:pt x="126498" y="28210"/>
                  <a:pt x="126498" y="27763"/>
                  <a:pt x="126498" y="27763"/>
                </a:cubicBezTo>
                <a:lnTo>
                  <a:pt x="103214" y="896"/>
                </a:lnTo>
                <a:cubicBezTo>
                  <a:pt x="102766" y="448"/>
                  <a:pt x="102318" y="0"/>
                  <a:pt x="101423" y="0"/>
                </a:cubicBezTo>
                <a:lnTo>
                  <a:pt x="63809" y="0"/>
                </a:lnTo>
                <a:cubicBezTo>
                  <a:pt x="63809" y="0"/>
                  <a:pt x="63809" y="0"/>
                  <a:pt x="63809" y="0"/>
                </a:cubicBezTo>
                <a:lnTo>
                  <a:pt x="26195" y="0"/>
                </a:lnTo>
                <a:cubicBezTo>
                  <a:pt x="26195" y="0"/>
                  <a:pt x="25748" y="0"/>
                  <a:pt x="25748" y="0"/>
                </a:cubicBezTo>
                <a:cubicBezTo>
                  <a:pt x="25748" y="0"/>
                  <a:pt x="25300" y="0"/>
                  <a:pt x="25300" y="0"/>
                </a:cubicBezTo>
                <a:cubicBezTo>
                  <a:pt x="25300" y="0"/>
                  <a:pt x="25300" y="0"/>
                  <a:pt x="25300" y="0"/>
                </a:cubicBezTo>
                <a:cubicBezTo>
                  <a:pt x="25300" y="0"/>
                  <a:pt x="24852" y="0"/>
                  <a:pt x="24852" y="448"/>
                </a:cubicBezTo>
                <a:cubicBezTo>
                  <a:pt x="24852" y="448"/>
                  <a:pt x="24852" y="448"/>
                  <a:pt x="24404" y="448"/>
                </a:cubicBezTo>
                <a:cubicBezTo>
                  <a:pt x="24404" y="448"/>
                  <a:pt x="24404" y="448"/>
                  <a:pt x="24404" y="448"/>
                </a:cubicBezTo>
                <a:lnTo>
                  <a:pt x="672" y="27315"/>
                </a:lnTo>
                <a:cubicBezTo>
                  <a:pt x="-224" y="28210"/>
                  <a:pt x="-224" y="29554"/>
                  <a:pt x="672" y="30449"/>
                </a:cubicBezTo>
                <a:lnTo>
                  <a:pt x="62018" y="97617"/>
                </a:lnTo>
                <a:cubicBezTo>
                  <a:pt x="62018" y="97617"/>
                  <a:pt x="62018" y="97617"/>
                  <a:pt x="62018" y="97617"/>
                </a:cubicBezTo>
                <a:cubicBezTo>
                  <a:pt x="62018" y="97617"/>
                  <a:pt x="62018" y="97617"/>
                  <a:pt x="62466" y="97617"/>
                </a:cubicBezTo>
                <a:cubicBezTo>
                  <a:pt x="62466" y="97617"/>
                  <a:pt x="62466" y="97617"/>
                  <a:pt x="62913" y="97617"/>
                </a:cubicBezTo>
                <a:cubicBezTo>
                  <a:pt x="62913" y="97617"/>
                  <a:pt x="62913" y="97617"/>
                  <a:pt x="63361" y="97617"/>
                </a:cubicBezTo>
                <a:cubicBezTo>
                  <a:pt x="63361" y="97617"/>
                  <a:pt x="63361" y="97617"/>
                  <a:pt x="63361" y="97617"/>
                </a:cubicBezTo>
                <a:cubicBezTo>
                  <a:pt x="63809" y="97617"/>
                  <a:pt x="63809" y="97617"/>
                  <a:pt x="64257" y="97617"/>
                </a:cubicBezTo>
                <a:lnTo>
                  <a:pt x="64257" y="97617"/>
                </a:lnTo>
                <a:lnTo>
                  <a:pt x="64257" y="97617"/>
                </a:lnTo>
                <a:cubicBezTo>
                  <a:pt x="64704" y="97617"/>
                  <a:pt x="64704" y="97617"/>
                  <a:pt x="65152" y="97617"/>
                </a:cubicBezTo>
                <a:cubicBezTo>
                  <a:pt x="65152" y="97617"/>
                  <a:pt x="65152" y="97617"/>
                  <a:pt x="65600" y="97617"/>
                </a:cubicBezTo>
                <a:cubicBezTo>
                  <a:pt x="65600" y="97617"/>
                  <a:pt x="65600" y="97617"/>
                  <a:pt x="66048" y="97617"/>
                </a:cubicBezTo>
                <a:cubicBezTo>
                  <a:pt x="66048" y="97617"/>
                  <a:pt x="66048" y="97617"/>
                  <a:pt x="66496" y="97617"/>
                </a:cubicBezTo>
                <a:cubicBezTo>
                  <a:pt x="66496" y="97617"/>
                  <a:pt x="66496" y="97617"/>
                  <a:pt x="66496" y="97617"/>
                </a:cubicBezTo>
                <a:lnTo>
                  <a:pt x="127394" y="30449"/>
                </a:lnTo>
                <a:cubicBezTo>
                  <a:pt x="127394" y="30449"/>
                  <a:pt x="127394" y="30001"/>
                  <a:pt x="127842" y="30001"/>
                </a:cubicBezTo>
                <a:cubicBezTo>
                  <a:pt x="127842" y="30001"/>
                  <a:pt x="127842" y="30001"/>
                  <a:pt x="127842" y="29554"/>
                </a:cubicBezTo>
                <a:cubicBezTo>
                  <a:pt x="126498" y="30001"/>
                  <a:pt x="126498" y="30001"/>
                  <a:pt x="126498" y="29554"/>
                </a:cubicBezTo>
                <a:close/>
                <a:moveTo>
                  <a:pt x="25300" y="7165"/>
                </a:moveTo>
                <a:lnTo>
                  <a:pt x="33360" y="27763"/>
                </a:lnTo>
                <a:lnTo>
                  <a:pt x="6941" y="27763"/>
                </a:lnTo>
                <a:lnTo>
                  <a:pt x="25300" y="7165"/>
                </a:lnTo>
                <a:close/>
                <a:moveTo>
                  <a:pt x="87094" y="31793"/>
                </a:moveTo>
                <a:lnTo>
                  <a:pt x="63361" y="90900"/>
                </a:lnTo>
                <a:lnTo>
                  <a:pt x="39629" y="31793"/>
                </a:lnTo>
                <a:lnTo>
                  <a:pt x="87094" y="31793"/>
                </a:lnTo>
                <a:close/>
                <a:moveTo>
                  <a:pt x="42315" y="27315"/>
                </a:moveTo>
                <a:lnTo>
                  <a:pt x="63809" y="5821"/>
                </a:lnTo>
                <a:lnTo>
                  <a:pt x="85302" y="27315"/>
                </a:lnTo>
                <a:lnTo>
                  <a:pt x="42315" y="27315"/>
                </a:lnTo>
                <a:close/>
                <a:moveTo>
                  <a:pt x="69182" y="4926"/>
                </a:moveTo>
                <a:lnTo>
                  <a:pt x="97840" y="4926"/>
                </a:lnTo>
                <a:lnTo>
                  <a:pt x="89780" y="25524"/>
                </a:lnTo>
                <a:lnTo>
                  <a:pt x="69182" y="4926"/>
                </a:lnTo>
                <a:close/>
                <a:moveTo>
                  <a:pt x="37838" y="25524"/>
                </a:moveTo>
                <a:lnTo>
                  <a:pt x="29778" y="4926"/>
                </a:lnTo>
                <a:lnTo>
                  <a:pt x="58436" y="4926"/>
                </a:lnTo>
                <a:lnTo>
                  <a:pt x="37838" y="25524"/>
                </a:lnTo>
                <a:close/>
                <a:moveTo>
                  <a:pt x="35151" y="31793"/>
                </a:moveTo>
                <a:lnTo>
                  <a:pt x="57092" y="85974"/>
                </a:lnTo>
                <a:lnTo>
                  <a:pt x="7388" y="31793"/>
                </a:lnTo>
                <a:lnTo>
                  <a:pt x="35151" y="31793"/>
                </a:lnTo>
                <a:close/>
                <a:moveTo>
                  <a:pt x="92019" y="31793"/>
                </a:moveTo>
                <a:lnTo>
                  <a:pt x="119334" y="31793"/>
                </a:lnTo>
                <a:lnTo>
                  <a:pt x="70526" y="85974"/>
                </a:lnTo>
                <a:lnTo>
                  <a:pt x="92019" y="31793"/>
                </a:lnTo>
                <a:close/>
                <a:moveTo>
                  <a:pt x="93810" y="27315"/>
                </a:moveTo>
                <a:lnTo>
                  <a:pt x="101870" y="7165"/>
                </a:lnTo>
                <a:lnTo>
                  <a:pt x="119334" y="27315"/>
                </a:lnTo>
                <a:lnTo>
                  <a:pt x="93810" y="27315"/>
                </a:lnTo>
                <a:close/>
              </a:path>
            </a:pathLst>
          </a:custGeom>
          <a:solidFill>
            <a:srgbClr val="231F20"/>
          </a:solidFill>
          <a:ln w="4474" cap="flat">
            <a:noFill/>
            <a:prstDash val="solid"/>
            <a:miter/>
          </a:ln>
        </p:spPr>
        <p:txBody>
          <a:bodyPr rtlCol="0" anchor="ctr"/>
          <a:lstStyle/>
          <a:p>
            <a:endParaRPr lang="en-US"/>
          </a:p>
        </p:txBody>
      </p:sp>
      <p:grpSp>
        <p:nvGrpSpPr>
          <p:cNvPr id="4448" name="Group 4447">
            <a:extLst>
              <a:ext uri="{FF2B5EF4-FFF2-40B4-BE49-F238E27FC236}">
                <a16:creationId xmlns:a16="http://schemas.microsoft.com/office/drawing/2014/main" id="{FFDBD903-C149-4A28-898C-123EBCC02886}"/>
              </a:ext>
              <a:ext uri="{C183D7F6-B498-43B3-948B-1728B52AA6E4}">
                <adec:decorative xmlns:adec="http://schemas.microsoft.com/office/drawing/2017/decorative" val="1"/>
              </a:ext>
            </a:extLst>
          </p:cNvPr>
          <p:cNvGrpSpPr>
            <a:grpSpLocks noChangeAspect="1"/>
          </p:cNvGrpSpPr>
          <p:nvPr/>
        </p:nvGrpSpPr>
        <p:grpSpPr>
          <a:xfrm>
            <a:off x="2667395" y="4567417"/>
            <a:ext cx="111945" cy="150678"/>
            <a:chOff x="2708149" y="3831978"/>
            <a:chExt cx="111945" cy="150678"/>
          </a:xfrm>
        </p:grpSpPr>
        <p:sp>
          <p:nvSpPr>
            <p:cNvPr id="4449" name="Freeform: Shape 4448">
              <a:extLst>
                <a:ext uri="{FF2B5EF4-FFF2-40B4-BE49-F238E27FC236}">
                  <a16:creationId xmlns:a16="http://schemas.microsoft.com/office/drawing/2014/main" id="{77075074-6B42-47E5-A1E5-1E72BA11944D}"/>
                </a:ext>
              </a:extLst>
            </p:cNvPr>
            <p:cNvSpPr/>
            <p:nvPr/>
          </p:nvSpPr>
          <p:spPr>
            <a:xfrm>
              <a:off x="2721582" y="3885488"/>
              <a:ext cx="85079" cy="85079"/>
            </a:xfrm>
            <a:custGeom>
              <a:avLst/>
              <a:gdLst>
                <a:gd name="connsiteX0" fmla="*/ 42539 w 85078"/>
                <a:gd name="connsiteY0" fmla="*/ 85079 h 85078"/>
                <a:gd name="connsiteX1" fmla="*/ 0 w 85078"/>
                <a:gd name="connsiteY1" fmla="*/ 42539 h 85078"/>
                <a:gd name="connsiteX2" fmla="*/ 42539 w 85078"/>
                <a:gd name="connsiteY2" fmla="*/ 0 h 85078"/>
                <a:gd name="connsiteX3" fmla="*/ 85079 w 85078"/>
                <a:gd name="connsiteY3" fmla="*/ 42539 h 85078"/>
                <a:gd name="connsiteX4" fmla="*/ 42539 w 85078"/>
                <a:gd name="connsiteY4" fmla="*/ 85079 h 85078"/>
                <a:gd name="connsiteX5" fmla="*/ 42539 w 85078"/>
                <a:gd name="connsiteY5" fmla="*/ 4478 h 85078"/>
                <a:gd name="connsiteX6" fmla="*/ 4478 w 85078"/>
                <a:gd name="connsiteY6" fmla="*/ 42539 h 85078"/>
                <a:gd name="connsiteX7" fmla="*/ 42539 w 85078"/>
                <a:gd name="connsiteY7" fmla="*/ 80601 h 85078"/>
                <a:gd name="connsiteX8" fmla="*/ 80601 w 85078"/>
                <a:gd name="connsiteY8" fmla="*/ 42539 h 85078"/>
                <a:gd name="connsiteX9" fmla="*/ 42539 w 85078"/>
                <a:gd name="connsiteY9"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78" h="85078">
                  <a:moveTo>
                    <a:pt x="42539" y="85079"/>
                  </a:moveTo>
                  <a:cubicBezTo>
                    <a:pt x="19255" y="85079"/>
                    <a:pt x="0" y="65824"/>
                    <a:pt x="0" y="42539"/>
                  </a:cubicBezTo>
                  <a:cubicBezTo>
                    <a:pt x="0" y="19255"/>
                    <a:pt x="19255" y="0"/>
                    <a:pt x="42539" y="0"/>
                  </a:cubicBezTo>
                  <a:cubicBezTo>
                    <a:pt x="65824" y="0"/>
                    <a:pt x="85079" y="19255"/>
                    <a:pt x="85079" y="42539"/>
                  </a:cubicBezTo>
                  <a:cubicBezTo>
                    <a:pt x="85079" y="65824"/>
                    <a:pt x="65824" y="85079"/>
                    <a:pt x="42539" y="85079"/>
                  </a:cubicBezTo>
                  <a:close/>
                  <a:moveTo>
                    <a:pt x="42539" y="4478"/>
                  </a:moveTo>
                  <a:cubicBezTo>
                    <a:pt x="21494" y="4478"/>
                    <a:pt x="4478" y="21493"/>
                    <a:pt x="4478" y="42539"/>
                  </a:cubicBezTo>
                  <a:cubicBezTo>
                    <a:pt x="4478" y="63585"/>
                    <a:pt x="21494" y="80601"/>
                    <a:pt x="42539" y="80601"/>
                  </a:cubicBezTo>
                  <a:cubicBezTo>
                    <a:pt x="63585" y="80601"/>
                    <a:pt x="80601" y="63585"/>
                    <a:pt x="80601" y="42539"/>
                  </a:cubicBezTo>
                  <a:cubicBezTo>
                    <a:pt x="80601" y="21493"/>
                    <a:pt x="63585" y="4478"/>
                    <a:pt x="42539" y="4478"/>
                  </a:cubicBezTo>
                  <a:close/>
                </a:path>
              </a:pathLst>
            </a:custGeom>
            <a:solidFill>
              <a:srgbClr val="231F20"/>
            </a:solidFill>
            <a:ln w="4474" cap="flat">
              <a:noFill/>
              <a:prstDash val="solid"/>
              <a:miter/>
            </a:ln>
          </p:spPr>
          <p:txBody>
            <a:bodyPr rtlCol="0" anchor="ctr"/>
            <a:lstStyle/>
            <a:p>
              <a:endParaRPr lang="en-US"/>
            </a:p>
          </p:txBody>
        </p:sp>
        <p:sp>
          <p:nvSpPr>
            <p:cNvPr id="4450" name="Freeform: Shape 4449">
              <a:extLst>
                <a:ext uri="{FF2B5EF4-FFF2-40B4-BE49-F238E27FC236}">
                  <a16:creationId xmlns:a16="http://schemas.microsoft.com/office/drawing/2014/main" id="{21DA7891-B9DD-4A84-9B1B-7E8BDC9D6F3F}"/>
                </a:ext>
              </a:extLst>
            </p:cNvPr>
            <p:cNvSpPr/>
            <p:nvPr/>
          </p:nvSpPr>
          <p:spPr>
            <a:xfrm>
              <a:off x="2708149" y="3843844"/>
              <a:ext cx="111945" cy="138812"/>
            </a:xfrm>
            <a:custGeom>
              <a:avLst/>
              <a:gdLst>
                <a:gd name="connsiteX0" fmla="*/ 71645 w 111945"/>
                <a:gd name="connsiteY0" fmla="*/ 30449 h 138812"/>
                <a:gd name="connsiteX1" fmla="*/ 71645 w 111945"/>
                <a:gd name="connsiteY1" fmla="*/ 17016 h 138812"/>
                <a:gd name="connsiteX2" fmla="*/ 69406 w 111945"/>
                <a:gd name="connsiteY2" fmla="*/ 14777 h 138812"/>
                <a:gd name="connsiteX3" fmla="*/ 57764 w 111945"/>
                <a:gd name="connsiteY3" fmla="*/ 14777 h 138812"/>
                <a:gd name="connsiteX4" fmla="*/ 58212 w 111945"/>
                <a:gd name="connsiteY4" fmla="*/ 12538 h 138812"/>
                <a:gd name="connsiteX5" fmla="*/ 58212 w 111945"/>
                <a:gd name="connsiteY5" fmla="*/ 6269 h 138812"/>
                <a:gd name="connsiteX6" fmla="*/ 61794 w 111945"/>
                <a:gd name="connsiteY6" fmla="*/ 4925 h 138812"/>
                <a:gd name="connsiteX7" fmla="*/ 70750 w 111945"/>
                <a:gd name="connsiteY7" fmla="*/ 7164 h 138812"/>
                <a:gd name="connsiteX8" fmla="*/ 85079 w 111945"/>
                <a:gd name="connsiteY8" fmla="*/ 4030 h 138812"/>
                <a:gd name="connsiteX9" fmla="*/ 84183 w 111945"/>
                <a:gd name="connsiteY9" fmla="*/ 895 h 138812"/>
                <a:gd name="connsiteX10" fmla="*/ 81049 w 111945"/>
                <a:gd name="connsiteY10" fmla="*/ 1791 h 138812"/>
                <a:gd name="connsiteX11" fmla="*/ 72541 w 111945"/>
                <a:gd name="connsiteY11" fmla="*/ 2687 h 138812"/>
                <a:gd name="connsiteX12" fmla="*/ 61794 w 111945"/>
                <a:gd name="connsiteY12" fmla="*/ 0 h 138812"/>
                <a:gd name="connsiteX13" fmla="*/ 54182 w 111945"/>
                <a:gd name="connsiteY13" fmla="*/ 3134 h 138812"/>
                <a:gd name="connsiteX14" fmla="*/ 53734 w 111945"/>
                <a:gd name="connsiteY14" fmla="*/ 13433 h 138812"/>
                <a:gd name="connsiteX15" fmla="*/ 54182 w 111945"/>
                <a:gd name="connsiteY15" fmla="*/ 13881 h 138812"/>
                <a:gd name="connsiteX16" fmla="*/ 42539 w 111945"/>
                <a:gd name="connsiteY16" fmla="*/ 13881 h 138812"/>
                <a:gd name="connsiteX17" fmla="*/ 40300 w 111945"/>
                <a:gd name="connsiteY17" fmla="*/ 16120 h 138812"/>
                <a:gd name="connsiteX18" fmla="*/ 40300 w 111945"/>
                <a:gd name="connsiteY18" fmla="*/ 29553 h 138812"/>
                <a:gd name="connsiteX19" fmla="*/ 0 w 111945"/>
                <a:gd name="connsiteY19" fmla="*/ 83287 h 138812"/>
                <a:gd name="connsiteX20" fmla="*/ 55973 w 111945"/>
                <a:gd name="connsiteY20" fmla="*/ 139260 h 138812"/>
                <a:gd name="connsiteX21" fmla="*/ 111945 w 111945"/>
                <a:gd name="connsiteY21" fmla="*/ 83287 h 138812"/>
                <a:gd name="connsiteX22" fmla="*/ 71645 w 111945"/>
                <a:gd name="connsiteY22" fmla="*/ 30449 h 138812"/>
                <a:gd name="connsiteX23" fmla="*/ 44778 w 111945"/>
                <a:gd name="connsiteY23" fmla="*/ 19255 h 138812"/>
                <a:gd name="connsiteX24" fmla="*/ 67167 w 111945"/>
                <a:gd name="connsiteY24" fmla="*/ 19255 h 138812"/>
                <a:gd name="connsiteX25" fmla="*/ 67167 w 111945"/>
                <a:gd name="connsiteY25" fmla="*/ 29553 h 138812"/>
                <a:gd name="connsiteX26" fmla="*/ 55973 w 111945"/>
                <a:gd name="connsiteY26" fmla="*/ 28210 h 138812"/>
                <a:gd name="connsiteX27" fmla="*/ 44778 w 111945"/>
                <a:gd name="connsiteY27" fmla="*/ 29553 h 138812"/>
                <a:gd name="connsiteX28" fmla="*/ 44778 w 111945"/>
                <a:gd name="connsiteY28" fmla="*/ 19255 h 138812"/>
                <a:gd name="connsiteX29" fmla="*/ 55973 w 111945"/>
                <a:gd name="connsiteY29" fmla="*/ 135678 h 138812"/>
                <a:gd name="connsiteX30" fmla="*/ 4478 w 111945"/>
                <a:gd name="connsiteY30" fmla="*/ 84183 h 138812"/>
                <a:gd name="connsiteX31" fmla="*/ 55973 w 111945"/>
                <a:gd name="connsiteY31" fmla="*/ 32688 h 138812"/>
                <a:gd name="connsiteX32" fmla="*/ 107468 w 111945"/>
                <a:gd name="connsiteY32" fmla="*/ 84183 h 138812"/>
                <a:gd name="connsiteX33" fmla="*/ 55973 w 111945"/>
                <a:gd name="connsiteY33" fmla="*/ 135678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1945" h="138812">
                  <a:moveTo>
                    <a:pt x="71645" y="30449"/>
                  </a:moveTo>
                  <a:lnTo>
                    <a:pt x="71645" y="17016"/>
                  </a:lnTo>
                  <a:cubicBezTo>
                    <a:pt x="71645" y="15672"/>
                    <a:pt x="70750" y="14777"/>
                    <a:pt x="69406" y="14777"/>
                  </a:cubicBezTo>
                  <a:lnTo>
                    <a:pt x="57764" y="14777"/>
                  </a:lnTo>
                  <a:cubicBezTo>
                    <a:pt x="58212" y="14329"/>
                    <a:pt x="58212" y="13433"/>
                    <a:pt x="58212" y="12538"/>
                  </a:cubicBezTo>
                  <a:cubicBezTo>
                    <a:pt x="57764" y="11642"/>
                    <a:pt x="56868" y="8060"/>
                    <a:pt x="58212" y="6269"/>
                  </a:cubicBezTo>
                  <a:cubicBezTo>
                    <a:pt x="58659" y="5373"/>
                    <a:pt x="60003" y="4925"/>
                    <a:pt x="61794" y="4925"/>
                  </a:cubicBezTo>
                  <a:cubicBezTo>
                    <a:pt x="64928" y="4925"/>
                    <a:pt x="68063" y="6269"/>
                    <a:pt x="70750" y="7164"/>
                  </a:cubicBezTo>
                  <a:cubicBezTo>
                    <a:pt x="75227" y="8956"/>
                    <a:pt x="81049" y="11642"/>
                    <a:pt x="85079" y="4030"/>
                  </a:cubicBezTo>
                  <a:cubicBezTo>
                    <a:pt x="85526" y="3134"/>
                    <a:pt x="85079" y="1791"/>
                    <a:pt x="84183" y="895"/>
                  </a:cubicBezTo>
                  <a:cubicBezTo>
                    <a:pt x="83287" y="448"/>
                    <a:pt x="81944" y="895"/>
                    <a:pt x="81049" y="1791"/>
                  </a:cubicBezTo>
                  <a:cubicBezTo>
                    <a:pt x="79257" y="4925"/>
                    <a:pt x="77914" y="4925"/>
                    <a:pt x="72541" y="2687"/>
                  </a:cubicBezTo>
                  <a:cubicBezTo>
                    <a:pt x="69854" y="1343"/>
                    <a:pt x="65824" y="0"/>
                    <a:pt x="61794" y="0"/>
                  </a:cubicBezTo>
                  <a:cubicBezTo>
                    <a:pt x="57764" y="0"/>
                    <a:pt x="55525" y="1791"/>
                    <a:pt x="54182" y="3134"/>
                  </a:cubicBezTo>
                  <a:cubicBezTo>
                    <a:pt x="51495" y="7164"/>
                    <a:pt x="53286" y="12986"/>
                    <a:pt x="53734" y="13433"/>
                  </a:cubicBezTo>
                  <a:cubicBezTo>
                    <a:pt x="53734" y="13433"/>
                    <a:pt x="54182" y="13881"/>
                    <a:pt x="54182" y="13881"/>
                  </a:cubicBezTo>
                  <a:lnTo>
                    <a:pt x="42539" y="13881"/>
                  </a:lnTo>
                  <a:cubicBezTo>
                    <a:pt x="41196" y="13881"/>
                    <a:pt x="40300" y="14777"/>
                    <a:pt x="40300" y="16120"/>
                  </a:cubicBezTo>
                  <a:lnTo>
                    <a:pt x="40300" y="29553"/>
                  </a:lnTo>
                  <a:cubicBezTo>
                    <a:pt x="17016" y="36270"/>
                    <a:pt x="0" y="57764"/>
                    <a:pt x="0" y="83287"/>
                  </a:cubicBezTo>
                  <a:cubicBezTo>
                    <a:pt x="0" y="114184"/>
                    <a:pt x="25076" y="139260"/>
                    <a:pt x="55973" y="139260"/>
                  </a:cubicBezTo>
                  <a:cubicBezTo>
                    <a:pt x="86870" y="139260"/>
                    <a:pt x="111945" y="114184"/>
                    <a:pt x="111945" y="83287"/>
                  </a:cubicBezTo>
                  <a:cubicBezTo>
                    <a:pt x="111945" y="58659"/>
                    <a:pt x="94930" y="37166"/>
                    <a:pt x="71645" y="30449"/>
                  </a:cubicBezTo>
                  <a:close/>
                  <a:moveTo>
                    <a:pt x="44778" y="19255"/>
                  </a:moveTo>
                  <a:lnTo>
                    <a:pt x="67167" y="19255"/>
                  </a:lnTo>
                  <a:lnTo>
                    <a:pt x="67167" y="29553"/>
                  </a:lnTo>
                  <a:cubicBezTo>
                    <a:pt x="63585" y="28658"/>
                    <a:pt x="60003" y="28210"/>
                    <a:pt x="55973" y="28210"/>
                  </a:cubicBezTo>
                  <a:cubicBezTo>
                    <a:pt x="51943" y="28210"/>
                    <a:pt x="48361" y="28658"/>
                    <a:pt x="44778" y="29553"/>
                  </a:cubicBezTo>
                  <a:lnTo>
                    <a:pt x="44778" y="19255"/>
                  </a:lnTo>
                  <a:close/>
                  <a:moveTo>
                    <a:pt x="55973" y="135678"/>
                  </a:moveTo>
                  <a:cubicBezTo>
                    <a:pt x="27763" y="135678"/>
                    <a:pt x="4478" y="112393"/>
                    <a:pt x="4478" y="84183"/>
                  </a:cubicBezTo>
                  <a:cubicBezTo>
                    <a:pt x="4478" y="55973"/>
                    <a:pt x="27763" y="32688"/>
                    <a:pt x="55973" y="32688"/>
                  </a:cubicBezTo>
                  <a:cubicBezTo>
                    <a:pt x="84183" y="32688"/>
                    <a:pt x="107468" y="55973"/>
                    <a:pt x="107468" y="84183"/>
                  </a:cubicBezTo>
                  <a:cubicBezTo>
                    <a:pt x="107468" y="112393"/>
                    <a:pt x="84183" y="135678"/>
                    <a:pt x="55973" y="135678"/>
                  </a:cubicBezTo>
                  <a:close/>
                </a:path>
              </a:pathLst>
            </a:custGeom>
            <a:solidFill>
              <a:srgbClr val="231F20"/>
            </a:solidFill>
            <a:ln w="4474" cap="flat">
              <a:noFill/>
              <a:prstDash val="solid"/>
              <a:miter/>
            </a:ln>
          </p:spPr>
          <p:txBody>
            <a:bodyPr rtlCol="0" anchor="ctr"/>
            <a:lstStyle/>
            <a:p>
              <a:endParaRPr lang="en-US"/>
            </a:p>
          </p:txBody>
        </p:sp>
        <p:sp>
          <p:nvSpPr>
            <p:cNvPr id="4451" name="Freeform: Shape 4450">
              <a:extLst>
                <a:ext uri="{FF2B5EF4-FFF2-40B4-BE49-F238E27FC236}">
                  <a16:creationId xmlns:a16="http://schemas.microsoft.com/office/drawing/2014/main" id="{B0AB310E-151D-4BBF-869B-5518F3985425}"/>
                </a:ext>
              </a:extLst>
            </p:cNvPr>
            <p:cNvSpPr/>
            <p:nvPr/>
          </p:nvSpPr>
          <p:spPr>
            <a:xfrm>
              <a:off x="2795690" y="3831978"/>
              <a:ext cx="8956" cy="8956"/>
            </a:xfrm>
            <a:custGeom>
              <a:avLst/>
              <a:gdLst>
                <a:gd name="connsiteX0" fmla="*/ 2015 w 8955"/>
                <a:gd name="connsiteY0" fmla="*/ 11866 h 8955"/>
                <a:gd name="connsiteX1" fmla="*/ 672 w 8955"/>
                <a:gd name="connsiteY1" fmla="*/ 11418 h 8955"/>
                <a:gd name="connsiteX2" fmla="*/ 672 w 8955"/>
                <a:gd name="connsiteY2" fmla="*/ 8284 h 8955"/>
                <a:gd name="connsiteX3" fmla="*/ 7388 w 8955"/>
                <a:gd name="connsiteY3" fmla="*/ 672 h 8955"/>
                <a:gd name="connsiteX4" fmla="*/ 10523 w 8955"/>
                <a:gd name="connsiteY4" fmla="*/ 672 h 8955"/>
                <a:gd name="connsiteX5" fmla="*/ 10523 w 8955"/>
                <a:gd name="connsiteY5" fmla="*/ 3806 h 8955"/>
                <a:gd name="connsiteX6" fmla="*/ 3806 w 8955"/>
                <a:gd name="connsiteY6" fmla="*/ 11418 h 8955"/>
                <a:gd name="connsiteX7" fmla="*/ 2015 w 8955"/>
                <a:gd name="connsiteY7" fmla="*/ 1186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2015" y="11866"/>
                  </a:moveTo>
                  <a:cubicBezTo>
                    <a:pt x="1567" y="11866"/>
                    <a:pt x="1120" y="11866"/>
                    <a:pt x="672" y="11418"/>
                  </a:cubicBezTo>
                  <a:cubicBezTo>
                    <a:pt x="-224" y="10523"/>
                    <a:pt x="-224" y="9179"/>
                    <a:pt x="672" y="8284"/>
                  </a:cubicBezTo>
                  <a:lnTo>
                    <a:pt x="7388" y="672"/>
                  </a:lnTo>
                  <a:cubicBezTo>
                    <a:pt x="8284" y="-224"/>
                    <a:pt x="9627" y="-224"/>
                    <a:pt x="10523" y="672"/>
                  </a:cubicBezTo>
                  <a:cubicBezTo>
                    <a:pt x="11418" y="1567"/>
                    <a:pt x="11418" y="2911"/>
                    <a:pt x="10523" y="3806"/>
                  </a:cubicBezTo>
                  <a:lnTo>
                    <a:pt x="3806" y="11418"/>
                  </a:lnTo>
                  <a:cubicBezTo>
                    <a:pt x="3358" y="11866"/>
                    <a:pt x="2463" y="11866"/>
                    <a:pt x="2015" y="11866"/>
                  </a:cubicBezTo>
                  <a:close/>
                </a:path>
              </a:pathLst>
            </a:custGeom>
            <a:solidFill>
              <a:srgbClr val="231F20"/>
            </a:solidFill>
            <a:ln w="4474" cap="flat">
              <a:noFill/>
              <a:prstDash val="solid"/>
              <a:miter/>
            </a:ln>
          </p:spPr>
          <p:txBody>
            <a:bodyPr rtlCol="0" anchor="ctr"/>
            <a:lstStyle/>
            <a:p>
              <a:endParaRPr lang="en-US"/>
            </a:p>
          </p:txBody>
        </p:sp>
        <p:sp>
          <p:nvSpPr>
            <p:cNvPr id="4452" name="Freeform: Shape 4451">
              <a:extLst>
                <a:ext uri="{FF2B5EF4-FFF2-40B4-BE49-F238E27FC236}">
                  <a16:creationId xmlns:a16="http://schemas.microsoft.com/office/drawing/2014/main" id="{606028A4-CED3-48C8-96EE-2888F6E1E819}"/>
                </a:ext>
              </a:extLst>
            </p:cNvPr>
            <p:cNvSpPr/>
            <p:nvPr/>
          </p:nvSpPr>
          <p:spPr>
            <a:xfrm>
              <a:off x="2796321" y="3849625"/>
              <a:ext cx="8956" cy="8956"/>
            </a:xfrm>
            <a:custGeom>
              <a:avLst/>
              <a:gdLst>
                <a:gd name="connsiteX0" fmla="*/ 8548 w 8955"/>
                <a:gd name="connsiteY0" fmla="*/ 9444 h 8955"/>
                <a:gd name="connsiteX1" fmla="*/ 7205 w 8955"/>
                <a:gd name="connsiteY1" fmla="*/ 8996 h 8955"/>
                <a:gd name="connsiteX2" fmla="*/ 936 w 8955"/>
                <a:gd name="connsiteY2" fmla="*/ 4070 h 8955"/>
                <a:gd name="connsiteX3" fmla="*/ 488 w 8955"/>
                <a:gd name="connsiteY3" fmla="*/ 936 h 8955"/>
                <a:gd name="connsiteX4" fmla="*/ 3623 w 8955"/>
                <a:gd name="connsiteY4" fmla="*/ 488 h 8955"/>
                <a:gd name="connsiteX5" fmla="*/ 9892 w 8955"/>
                <a:gd name="connsiteY5" fmla="*/ 5414 h 8955"/>
                <a:gd name="connsiteX6" fmla="*/ 10339 w 8955"/>
                <a:gd name="connsiteY6" fmla="*/ 8548 h 8955"/>
                <a:gd name="connsiteX7" fmla="*/ 8548 w 8955"/>
                <a:gd name="connsiteY7" fmla="*/ 944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8548" y="9444"/>
                  </a:moveTo>
                  <a:cubicBezTo>
                    <a:pt x="8100" y="9444"/>
                    <a:pt x="7653" y="9444"/>
                    <a:pt x="7205" y="8996"/>
                  </a:cubicBezTo>
                  <a:lnTo>
                    <a:pt x="936" y="4070"/>
                  </a:lnTo>
                  <a:cubicBezTo>
                    <a:pt x="40" y="3175"/>
                    <a:pt x="-407" y="1831"/>
                    <a:pt x="488" y="936"/>
                  </a:cubicBezTo>
                  <a:cubicBezTo>
                    <a:pt x="1384" y="40"/>
                    <a:pt x="2727" y="-407"/>
                    <a:pt x="3623" y="488"/>
                  </a:cubicBezTo>
                  <a:lnTo>
                    <a:pt x="9892" y="5414"/>
                  </a:lnTo>
                  <a:cubicBezTo>
                    <a:pt x="10787" y="6309"/>
                    <a:pt x="11235" y="7653"/>
                    <a:pt x="10339" y="8548"/>
                  </a:cubicBezTo>
                  <a:cubicBezTo>
                    <a:pt x="9892" y="8996"/>
                    <a:pt x="9444" y="9444"/>
                    <a:pt x="8548" y="9444"/>
                  </a:cubicBezTo>
                  <a:close/>
                </a:path>
              </a:pathLst>
            </a:custGeom>
            <a:solidFill>
              <a:srgbClr val="231F20"/>
            </a:solidFill>
            <a:ln w="4474" cap="flat">
              <a:noFill/>
              <a:prstDash val="solid"/>
              <a:miter/>
            </a:ln>
          </p:spPr>
          <p:txBody>
            <a:bodyPr rtlCol="0" anchor="ctr"/>
            <a:lstStyle/>
            <a:p>
              <a:endParaRPr lang="en-US"/>
            </a:p>
          </p:txBody>
        </p:sp>
        <p:sp>
          <p:nvSpPr>
            <p:cNvPr id="4453" name="Freeform: Shape 4452">
              <a:extLst>
                <a:ext uri="{FF2B5EF4-FFF2-40B4-BE49-F238E27FC236}">
                  <a16:creationId xmlns:a16="http://schemas.microsoft.com/office/drawing/2014/main" id="{C5AD4D85-6983-41E2-AFD0-BD18E7A22DB0}"/>
                </a:ext>
              </a:extLst>
            </p:cNvPr>
            <p:cNvSpPr/>
            <p:nvPr/>
          </p:nvSpPr>
          <p:spPr>
            <a:xfrm>
              <a:off x="2777514" y="3834400"/>
              <a:ext cx="8956" cy="8956"/>
            </a:xfrm>
            <a:custGeom>
              <a:avLst/>
              <a:gdLst>
                <a:gd name="connsiteX0" fmla="*/ 8548 w 8955"/>
                <a:gd name="connsiteY0" fmla="*/ 8996 h 8955"/>
                <a:gd name="connsiteX1" fmla="*/ 7205 w 8955"/>
                <a:gd name="connsiteY1" fmla="*/ 8548 h 8955"/>
                <a:gd name="connsiteX2" fmla="*/ 936 w 8955"/>
                <a:gd name="connsiteY2" fmla="*/ 4070 h 8955"/>
                <a:gd name="connsiteX3" fmla="*/ 488 w 8955"/>
                <a:gd name="connsiteY3" fmla="*/ 936 h 8955"/>
                <a:gd name="connsiteX4" fmla="*/ 3623 w 8955"/>
                <a:gd name="connsiteY4" fmla="*/ 488 h 8955"/>
                <a:gd name="connsiteX5" fmla="*/ 9892 w 8955"/>
                <a:gd name="connsiteY5" fmla="*/ 4966 h 8955"/>
                <a:gd name="connsiteX6" fmla="*/ 10339 w 8955"/>
                <a:gd name="connsiteY6" fmla="*/ 8100 h 8955"/>
                <a:gd name="connsiteX7" fmla="*/ 8548 w 8955"/>
                <a:gd name="connsiteY7" fmla="*/ 899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8955">
                  <a:moveTo>
                    <a:pt x="8548" y="8996"/>
                  </a:moveTo>
                  <a:cubicBezTo>
                    <a:pt x="8101" y="8996"/>
                    <a:pt x="7653" y="8996"/>
                    <a:pt x="7205" y="8548"/>
                  </a:cubicBezTo>
                  <a:lnTo>
                    <a:pt x="936" y="4070"/>
                  </a:lnTo>
                  <a:cubicBezTo>
                    <a:pt x="40" y="3175"/>
                    <a:pt x="-407" y="1832"/>
                    <a:pt x="488" y="936"/>
                  </a:cubicBezTo>
                  <a:cubicBezTo>
                    <a:pt x="1384" y="40"/>
                    <a:pt x="2727" y="-407"/>
                    <a:pt x="3623" y="488"/>
                  </a:cubicBezTo>
                  <a:lnTo>
                    <a:pt x="9892" y="4966"/>
                  </a:lnTo>
                  <a:cubicBezTo>
                    <a:pt x="10787" y="5861"/>
                    <a:pt x="11235" y="7205"/>
                    <a:pt x="10339" y="8100"/>
                  </a:cubicBezTo>
                  <a:cubicBezTo>
                    <a:pt x="9892" y="8996"/>
                    <a:pt x="9444" y="8996"/>
                    <a:pt x="8548" y="8996"/>
                  </a:cubicBezTo>
                  <a:close/>
                </a:path>
              </a:pathLst>
            </a:custGeom>
            <a:solidFill>
              <a:srgbClr val="231F20"/>
            </a:solidFill>
            <a:ln w="4474" cap="flat">
              <a:noFill/>
              <a:prstDash val="solid"/>
              <a:miter/>
            </a:ln>
          </p:spPr>
          <p:txBody>
            <a:bodyPr rtlCol="0" anchor="ctr"/>
            <a:lstStyle/>
            <a:p>
              <a:endParaRPr lang="en-US"/>
            </a:p>
          </p:txBody>
        </p:sp>
        <p:sp>
          <p:nvSpPr>
            <p:cNvPr id="4454" name="Freeform: Shape 4453">
              <a:extLst>
                <a:ext uri="{FF2B5EF4-FFF2-40B4-BE49-F238E27FC236}">
                  <a16:creationId xmlns:a16="http://schemas.microsoft.com/office/drawing/2014/main" id="{D23E03FA-52A2-4BA2-9E29-554E0C84A1B8}"/>
                </a:ext>
              </a:extLst>
            </p:cNvPr>
            <p:cNvSpPr/>
            <p:nvPr/>
          </p:nvSpPr>
          <p:spPr>
            <a:xfrm>
              <a:off x="2761882" y="3891757"/>
              <a:ext cx="4478" cy="8956"/>
            </a:xfrm>
            <a:custGeom>
              <a:avLst/>
              <a:gdLst>
                <a:gd name="connsiteX0" fmla="*/ 2239 w 4477"/>
                <a:gd name="connsiteY0" fmla="*/ 12986 h 8955"/>
                <a:gd name="connsiteX1" fmla="*/ 0 w 4477"/>
                <a:gd name="connsiteY1" fmla="*/ 10747 h 8955"/>
                <a:gd name="connsiteX2" fmla="*/ 0 w 4477"/>
                <a:gd name="connsiteY2" fmla="*/ 2239 h 8955"/>
                <a:gd name="connsiteX3" fmla="*/ 2239 w 4477"/>
                <a:gd name="connsiteY3" fmla="*/ 0 h 8955"/>
                <a:gd name="connsiteX4" fmla="*/ 4478 w 4477"/>
                <a:gd name="connsiteY4" fmla="*/ 2239 h 8955"/>
                <a:gd name="connsiteX5" fmla="*/ 4478 w 4477"/>
                <a:gd name="connsiteY5" fmla="*/ 10747 h 8955"/>
                <a:gd name="connsiteX6" fmla="*/ 2239 w 4477"/>
                <a:gd name="connsiteY6" fmla="*/ 1298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8955">
                  <a:moveTo>
                    <a:pt x="2239" y="12986"/>
                  </a:moveTo>
                  <a:cubicBezTo>
                    <a:pt x="896" y="12986"/>
                    <a:pt x="0" y="12090"/>
                    <a:pt x="0" y="10747"/>
                  </a:cubicBezTo>
                  <a:lnTo>
                    <a:pt x="0" y="2239"/>
                  </a:lnTo>
                  <a:cubicBezTo>
                    <a:pt x="0" y="896"/>
                    <a:pt x="896" y="0"/>
                    <a:pt x="2239" y="0"/>
                  </a:cubicBezTo>
                  <a:cubicBezTo>
                    <a:pt x="3582" y="0"/>
                    <a:pt x="4478" y="896"/>
                    <a:pt x="4478" y="2239"/>
                  </a:cubicBezTo>
                  <a:lnTo>
                    <a:pt x="4478" y="10747"/>
                  </a:lnTo>
                  <a:cubicBezTo>
                    <a:pt x="4478" y="11642"/>
                    <a:pt x="3582" y="12986"/>
                    <a:pt x="2239" y="12986"/>
                  </a:cubicBezTo>
                  <a:close/>
                </a:path>
              </a:pathLst>
            </a:custGeom>
            <a:solidFill>
              <a:srgbClr val="231F20"/>
            </a:solidFill>
            <a:ln w="4474" cap="flat">
              <a:noFill/>
              <a:prstDash val="solid"/>
              <a:miter/>
            </a:ln>
          </p:spPr>
          <p:txBody>
            <a:bodyPr rtlCol="0" anchor="ctr"/>
            <a:lstStyle/>
            <a:p>
              <a:endParaRPr lang="en-US"/>
            </a:p>
          </p:txBody>
        </p:sp>
        <p:sp>
          <p:nvSpPr>
            <p:cNvPr id="4455" name="Freeform: Shape 4454">
              <a:extLst>
                <a:ext uri="{FF2B5EF4-FFF2-40B4-BE49-F238E27FC236}">
                  <a16:creationId xmlns:a16="http://schemas.microsoft.com/office/drawing/2014/main" id="{FAE93A23-E97F-462B-BD65-C45D04D0821D}"/>
                </a:ext>
              </a:extLst>
            </p:cNvPr>
            <p:cNvSpPr/>
            <p:nvPr/>
          </p:nvSpPr>
          <p:spPr>
            <a:xfrm>
              <a:off x="2761882" y="3951760"/>
              <a:ext cx="4478" cy="8956"/>
            </a:xfrm>
            <a:custGeom>
              <a:avLst/>
              <a:gdLst>
                <a:gd name="connsiteX0" fmla="*/ 2239 w 4477"/>
                <a:gd name="connsiteY0" fmla="*/ 12986 h 8955"/>
                <a:gd name="connsiteX1" fmla="*/ 0 w 4477"/>
                <a:gd name="connsiteY1" fmla="*/ 10747 h 8955"/>
                <a:gd name="connsiteX2" fmla="*/ 0 w 4477"/>
                <a:gd name="connsiteY2" fmla="*/ 2239 h 8955"/>
                <a:gd name="connsiteX3" fmla="*/ 2239 w 4477"/>
                <a:gd name="connsiteY3" fmla="*/ 0 h 8955"/>
                <a:gd name="connsiteX4" fmla="*/ 4478 w 4477"/>
                <a:gd name="connsiteY4" fmla="*/ 2239 h 8955"/>
                <a:gd name="connsiteX5" fmla="*/ 4478 w 4477"/>
                <a:gd name="connsiteY5" fmla="*/ 10747 h 8955"/>
                <a:gd name="connsiteX6" fmla="*/ 2239 w 4477"/>
                <a:gd name="connsiteY6" fmla="*/ 12986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8955">
                  <a:moveTo>
                    <a:pt x="2239" y="12986"/>
                  </a:moveTo>
                  <a:cubicBezTo>
                    <a:pt x="896" y="12986"/>
                    <a:pt x="0" y="12090"/>
                    <a:pt x="0" y="10747"/>
                  </a:cubicBezTo>
                  <a:lnTo>
                    <a:pt x="0" y="2239"/>
                  </a:lnTo>
                  <a:cubicBezTo>
                    <a:pt x="0" y="896"/>
                    <a:pt x="896" y="0"/>
                    <a:pt x="2239" y="0"/>
                  </a:cubicBezTo>
                  <a:cubicBezTo>
                    <a:pt x="3582" y="0"/>
                    <a:pt x="4478" y="896"/>
                    <a:pt x="4478" y="2239"/>
                  </a:cubicBezTo>
                  <a:lnTo>
                    <a:pt x="4478" y="10747"/>
                  </a:lnTo>
                  <a:cubicBezTo>
                    <a:pt x="4478" y="12090"/>
                    <a:pt x="3582" y="12986"/>
                    <a:pt x="2239" y="12986"/>
                  </a:cubicBezTo>
                  <a:close/>
                </a:path>
              </a:pathLst>
            </a:custGeom>
            <a:solidFill>
              <a:srgbClr val="231F20"/>
            </a:solidFill>
            <a:ln w="4474" cap="flat">
              <a:noFill/>
              <a:prstDash val="solid"/>
              <a:miter/>
            </a:ln>
          </p:spPr>
          <p:txBody>
            <a:bodyPr rtlCol="0" anchor="ctr"/>
            <a:lstStyle/>
            <a:p>
              <a:endParaRPr lang="en-US"/>
            </a:p>
          </p:txBody>
        </p:sp>
        <p:sp>
          <p:nvSpPr>
            <p:cNvPr id="4456" name="Freeform: Shape 4455">
              <a:extLst>
                <a:ext uri="{FF2B5EF4-FFF2-40B4-BE49-F238E27FC236}">
                  <a16:creationId xmlns:a16="http://schemas.microsoft.com/office/drawing/2014/main" id="{EF57E9AB-7A46-496D-83FE-E9C106742D53}"/>
                </a:ext>
              </a:extLst>
            </p:cNvPr>
            <p:cNvSpPr/>
            <p:nvPr/>
          </p:nvSpPr>
          <p:spPr>
            <a:xfrm>
              <a:off x="2787854" y="3926236"/>
              <a:ext cx="8956" cy="4478"/>
            </a:xfrm>
            <a:custGeom>
              <a:avLst/>
              <a:gdLst>
                <a:gd name="connsiteX0" fmla="*/ 10747 w 8955"/>
                <a:gd name="connsiteY0" fmla="*/ 4478 h 4477"/>
                <a:gd name="connsiteX1" fmla="*/ 2239 w 8955"/>
                <a:gd name="connsiteY1" fmla="*/ 4478 h 4477"/>
                <a:gd name="connsiteX2" fmla="*/ 0 w 8955"/>
                <a:gd name="connsiteY2" fmla="*/ 2239 h 4477"/>
                <a:gd name="connsiteX3" fmla="*/ 2239 w 8955"/>
                <a:gd name="connsiteY3" fmla="*/ 0 h 4477"/>
                <a:gd name="connsiteX4" fmla="*/ 10747 w 8955"/>
                <a:gd name="connsiteY4" fmla="*/ 0 h 4477"/>
                <a:gd name="connsiteX5" fmla="*/ 12986 w 8955"/>
                <a:gd name="connsiteY5" fmla="*/ 2239 h 4477"/>
                <a:gd name="connsiteX6" fmla="*/ 10747 w 895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10747" y="4478"/>
                  </a:moveTo>
                  <a:lnTo>
                    <a:pt x="2239" y="4478"/>
                  </a:lnTo>
                  <a:cubicBezTo>
                    <a:pt x="895" y="4478"/>
                    <a:pt x="0" y="3582"/>
                    <a:pt x="0" y="2239"/>
                  </a:cubicBezTo>
                  <a:cubicBezTo>
                    <a:pt x="0" y="896"/>
                    <a:pt x="895" y="0"/>
                    <a:pt x="2239" y="0"/>
                  </a:cubicBezTo>
                  <a:lnTo>
                    <a:pt x="10747" y="0"/>
                  </a:lnTo>
                  <a:cubicBezTo>
                    <a:pt x="12090" y="0"/>
                    <a:pt x="12986" y="896"/>
                    <a:pt x="12986" y="2239"/>
                  </a:cubicBezTo>
                  <a:cubicBezTo>
                    <a:pt x="12986" y="3582"/>
                    <a:pt x="11642" y="4478"/>
                    <a:pt x="10747" y="4478"/>
                  </a:cubicBezTo>
                  <a:close/>
                </a:path>
              </a:pathLst>
            </a:custGeom>
            <a:solidFill>
              <a:srgbClr val="231F20"/>
            </a:solidFill>
            <a:ln w="4474" cap="flat">
              <a:noFill/>
              <a:prstDash val="solid"/>
              <a:miter/>
            </a:ln>
          </p:spPr>
          <p:txBody>
            <a:bodyPr rtlCol="0" anchor="ctr"/>
            <a:lstStyle/>
            <a:p>
              <a:endParaRPr lang="en-US"/>
            </a:p>
          </p:txBody>
        </p:sp>
        <p:sp>
          <p:nvSpPr>
            <p:cNvPr id="4457" name="Freeform: Shape 4456">
              <a:extLst>
                <a:ext uri="{FF2B5EF4-FFF2-40B4-BE49-F238E27FC236}">
                  <a16:creationId xmlns:a16="http://schemas.microsoft.com/office/drawing/2014/main" id="{21F1237A-86E1-440B-8F93-46806EF09F7B}"/>
                </a:ext>
              </a:extLst>
            </p:cNvPr>
            <p:cNvSpPr/>
            <p:nvPr/>
          </p:nvSpPr>
          <p:spPr>
            <a:xfrm>
              <a:off x="2727403" y="3926236"/>
              <a:ext cx="8956" cy="4478"/>
            </a:xfrm>
            <a:custGeom>
              <a:avLst/>
              <a:gdLst>
                <a:gd name="connsiteX0" fmla="*/ 10747 w 8955"/>
                <a:gd name="connsiteY0" fmla="*/ 4478 h 4477"/>
                <a:gd name="connsiteX1" fmla="*/ 2239 w 8955"/>
                <a:gd name="connsiteY1" fmla="*/ 4478 h 4477"/>
                <a:gd name="connsiteX2" fmla="*/ 0 w 8955"/>
                <a:gd name="connsiteY2" fmla="*/ 2239 h 4477"/>
                <a:gd name="connsiteX3" fmla="*/ 2239 w 8955"/>
                <a:gd name="connsiteY3" fmla="*/ 0 h 4477"/>
                <a:gd name="connsiteX4" fmla="*/ 10747 w 8955"/>
                <a:gd name="connsiteY4" fmla="*/ 0 h 4477"/>
                <a:gd name="connsiteX5" fmla="*/ 12986 w 8955"/>
                <a:gd name="connsiteY5" fmla="*/ 2239 h 4477"/>
                <a:gd name="connsiteX6" fmla="*/ 10747 w 895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 h="4477">
                  <a:moveTo>
                    <a:pt x="10747" y="4478"/>
                  </a:moveTo>
                  <a:lnTo>
                    <a:pt x="2239" y="4478"/>
                  </a:lnTo>
                  <a:cubicBezTo>
                    <a:pt x="895" y="4478"/>
                    <a:pt x="0" y="3582"/>
                    <a:pt x="0" y="2239"/>
                  </a:cubicBezTo>
                  <a:cubicBezTo>
                    <a:pt x="0" y="896"/>
                    <a:pt x="895" y="0"/>
                    <a:pt x="2239" y="0"/>
                  </a:cubicBezTo>
                  <a:lnTo>
                    <a:pt x="10747" y="0"/>
                  </a:lnTo>
                  <a:cubicBezTo>
                    <a:pt x="12090" y="0"/>
                    <a:pt x="12986" y="896"/>
                    <a:pt x="12986" y="2239"/>
                  </a:cubicBezTo>
                  <a:cubicBezTo>
                    <a:pt x="12986" y="3582"/>
                    <a:pt x="12090" y="4478"/>
                    <a:pt x="10747" y="4478"/>
                  </a:cubicBezTo>
                  <a:close/>
                </a:path>
              </a:pathLst>
            </a:custGeom>
            <a:solidFill>
              <a:srgbClr val="231F20"/>
            </a:solidFill>
            <a:ln w="4474" cap="flat">
              <a:noFill/>
              <a:prstDash val="solid"/>
              <a:miter/>
            </a:ln>
          </p:spPr>
          <p:txBody>
            <a:bodyPr rtlCol="0" anchor="ctr"/>
            <a:lstStyle/>
            <a:p>
              <a:endParaRPr lang="en-US"/>
            </a:p>
          </p:txBody>
        </p:sp>
        <p:sp>
          <p:nvSpPr>
            <p:cNvPr id="4458" name="Freeform: Shape 4457">
              <a:extLst>
                <a:ext uri="{FF2B5EF4-FFF2-40B4-BE49-F238E27FC236}">
                  <a16:creationId xmlns:a16="http://schemas.microsoft.com/office/drawing/2014/main" id="{5BD94AC0-00D0-40A8-8FBB-0FCF84134A6A}"/>
                </a:ext>
              </a:extLst>
            </p:cNvPr>
            <p:cNvSpPr/>
            <p:nvPr/>
          </p:nvSpPr>
          <p:spPr>
            <a:xfrm>
              <a:off x="2748629" y="3906068"/>
              <a:ext cx="17911" cy="26867"/>
            </a:xfrm>
            <a:custGeom>
              <a:avLst/>
              <a:gdLst>
                <a:gd name="connsiteX0" fmla="*/ 15492 w 17911"/>
                <a:gd name="connsiteY0" fmla="*/ 26885 h 26866"/>
                <a:gd name="connsiteX1" fmla="*/ 13701 w 17911"/>
                <a:gd name="connsiteY1" fmla="*/ 25989 h 26866"/>
                <a:gd name="connsiteX2" fmla="*/ 268 w 17911"/>
                <a:gd name="connsiteY2" fmla="*/ 3600 h 26866"/>
                <a:gd name="connsiteX3" fmla="*/ 1163 w 17911"/>
                <a:gd name="connsiteY3" fmla="*/ 466 h 26866"/>
                <a:gd name="connsiteX4" fmla="*/ 4298 w 17911"/>
                <a:gd name="connsiteY4" fmla="*/ 1361 h 26866"/>
                <a:gd name="connsiteX5" fmla="*/ 13701 w 17911"/>
                <a:gd name="connsiteY5" fmla="*/ 17034 h 26866"/>
                <a:gd name="connsiteX6" fmla="*/ 13701 w 17911"/>
                <a:gd name="connsiteY6" fmla="*/ 5391 h 26866"/>
                <a:gd name="connsiteX7" fmla="*/ 15940 w 17911"/>
                <a:gd name="connsiteY7" fmla="*/ 3153 h 26866"/>
                <a:gd name="connsiteX8" fmla="*/ 18179 w 17911"/>
                <a:gd name="connsiteY8" fmla="*/ 5391 h 26866"/>
                <a:gd name="connsiteX9" fmla="*/ 18179 w 17911"/>
                <a:gd name="connsiteY9" fmla="*/ 25094 h 26866"/>
                <a:gd name="connsiteX10" fmla="*/ 16388 w 17911"/>
                <a:gd name="connsiteY10" fmla="*/ 27333 h 26866"/>
                <a:gd name="connsiteX11" fmla="*/ 15492 w 17911"/>
                <a:gd name="connsiteY11" fmla="*/ 26885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1" h="26866">
                  <a:moveTo>
                    <a:pt x="15492" y="26885"/>
                  </a:moveTo>
                  <a:cubicBezTo>
                    <a:pt x="14597" y="26885"/>
                    <a:pt x="14149" y="26437"/>
                    <a:pt x="13701" y="25989"/>
                  </a:cubicBezTo>
                  <a:lnTo>
                    <a:pt x="268" y="3600"/>
                  </a:lnTo>
                  <a:cubicBezTo>
                    <a:pt x="-180" y="2705"/>
                    <a:pt x="-180" y="1361"/>
                    <a:pt x="1163" y="466"/>
                  </a:cubicBezTo>
                  <a:cubicBezTo>
                    <a:pt x="2507" y="-430"/>
                    <a:pt x="3402" y="18"/>
                    <a:pt x="4298" y="1361"/>
                  </a:cubicBezTo>
                  <a:lnTo>
                    <a:pt x="13701" y="17034"/>
                  </a:lnTo>
                  <a:lnTo>
                    <a:pt x="13701" y="5391"/>
                  </a:lnTo>
                  <a:cubicBezTo>
                    <a:pt x="13701" y="4048"/>
                    <a:pt x="14597" y="3153"/>
                    <a:pt x="15940" y="3153"/>
                  </a:cubicBezTo>
                  <a:cubicBezTo>
                    <a:pt x="17283" y="3153"/>
                    <a:pt x="18179" y="4048"/>
                    <a:pt x="18179" y="5391"/>
                  </a:cubicBezTo>
                  <a:lnTo>
                    <a:pt x="18179" y="25094"/>
                  </a:lnTo>
                  <a:cubicBezTo>
                    <a:pt x="18179" y="25989"/>
                    <a:pt x="17731" y="26885"/>
                    <a:pt x="16388" y="27333"/>
                  </a:cubicBezTo>
                  <a:cubicBezTo>
                    <a:pt x="15940" y="26437"/>
                    <a:pt x="15492" y="26885"/>
                    <a:pt x="15492" y="26885"/>
                  </a:cubicBezTo>
                  <a:close/>
                </a:path>
              </a:pathLst>
            </a:custGeom>
            <a:solidFill>
              <a:srgbClr val="231F20"/>
            </a:solidFill>
            <a:ln w="4474" cap="flat">
              <a:noFill/>
              <a:prstDash val="solid"/>
              <a:miter/>
            </a:ln>
          </p:spPr>
          <p:txBody>
            <a:bodyPr rtlCol="0" anchor="ctr"/>
            <a:lstStyle/>
            <a:p>
              <a:endParaRPr lang="en-US"/>
            </a:p>
          </p:txBody>
        </p:sp>
      </p:grpSp>
      <p:sp>
        <p:nvSpPr>
          <p:cNvPr id="4459" name="Freeform: Shape 4458">
            <a:extLst>
              <a:ext uri="{FF2B5EF4-FFF2-40B4-BE49-F238E27FC236}">
                <a16:creationId xmlns:a16="http://schemas.microsoft.com/office/drawing/2014/main" id="{0053412E-60EF-4DEC-800C-58A074819D2B}"/>
              </a:ext>
              <a:ext uri="{C183D7F6-B498-43B3-948B-1728B52AA6E4}">
                <adec:decorative xmlns:adec="http://schemas.microsoft.com/office/drawing/2017/decorative" val="1"/>
              </a:ext>
            </a:extLst>
          </p:cNvPr>
          <p:cNvSpPr>
            <a:spLocks noChangeAspect="1"/>
          </p:cNvSpPr>
          <p:nvPr/>
        </p:nvSpPr>
        <p:spPr>
          <a:xfrm>
            <a:off x="1604361" y="4594060"/>
            <a:ext cx="147768" cy="107468"/>
          </a:xfrm>
          <a:custGeom>
            <a:avLst/>
            <a:gdLst>
              <a:gd name="connsiteX0" fmla="*/ 147768 w 147767"/>
              <a:gd name="connsiteY0" fmla="*/ 41644 h 107467"/>
              <a:gd name="connsiteX1" fmla="*/ 147768 w 147767"/>
              <a:gd name="connsiteY1" fmla="*/ 41644 h 107467"/>
              <a:gd name="connsiteX2" fmla="*/ 124483 w 147767"/>
              <a:gd name="connsiteY2" fmla="*/ 896 h 107467"/>
              <a:gd name="connsiteX3" fmla="*/ 124483 w 147767"/>
              <a:gd name="connsiteY3" fmla="*/ 896 h 107467"/>
              <a:gd name="connsiteX4" fmla="*/ 124036 w 147767"/>
              <a:gd name="connsiteY4" fmla="*/ 448 h 107467"/>
              <a:gd name="connsiteX5" fmla="*/ 123588 w 147767"/>
              <a:gd name="connsiteY5" fmla="*/ 448 h 107467"/>
              <a:gd name="connsiteX6" fmla="*/ 122692 w 147767"/>
              <a:gd name="connsiteY6" fmla="*/ 0 h 107467"/>
              <a:gd name="connsiteX7" fmla="*/ 122692 w 147767"/>
              <a:gd name="connsiteY7" fmla="*/ 0 h 107467"/>
              <a:gd name="connsiteX8" fmla="*/ 122692 w 147767"/>
              <a:gd name="connsiteY8" fmla="*/ 0 h 107467"/>
              <a:gd name="connsiteX9" fmla="*/ 122692 w 147767"/>
              <a:gd name="connsiteY9" fmla="*/ 0 h 107467"/>
              <a:gd name="connsiteX10" fmla="*/ 28658 w 147767"/>
              <a:gd name="connsiteY10" fmla="*/ 0 h 107467"/>
              <a:gd name="connsiteX11" fmla="*/ 28658 w 147767"/>
              <a:gd name="connsiteY11" fmla="*/ 0 h 107467"/>
              <a:gd name="connsiteX12" fmla="*/ 28658 w 147767"/>
              <a:gd name="connsiteY12" fmla="*/ 0 h 107467"/>
              <a:gd name="connsiteX13" fmla="*/ 27762 w 147767"/>
              <a:gd name="connsiteY13" fmla="*/ 448 h 107467"/>
              <a:gd name="connsiteX14" fmla="*/ 27762 w 147767"/>
              <a:gd name="connsiteY14" fmla="*/ 448 h 107467"/>
              <a:gd name="connsiteX15" fmla="*/ 27315 w 147767"/>
              <a:gd name="connsiteY15" fmla="*/ 896 h 107467"/>
              <a:gd name="connsiteX16" fmla="*/ 27315 w 147767"/>
              <a:gd name="connsiteY16" fmla="*/ 896 h 107467"/>
              <a:gd name="connsiteX17" fmla="*/ 27315 w 147767"/>
              <a:gd name="connsiteY17" fmla="*/ 896 h 107467"/>
              <a:gd name="connsiteX18" fmla="*/ 27315 w 147767"/>
              <a:gd name="connsiteY18" fmla="*/ 896 h 107467"/>
              <a:gd name="connsiteX19" fmla="*/ 4030 w 147767"/>
              <a:gd name="connsiteY19" fmla="*/ 40748 h 107467"/>
              <a:gd name="connsiteX20" fmla="*/ 4030 w 147767"/>
              <a:gd name="connsiteY20" fmla="*/ 40748 h 107467"/>
              <a:gd name="connsiteX21" fmla="*/ 0 w 147767"/>
              <a:gd name="connsiteY21" fmla="*/ 55077 h 107467"/>
              <a:gd name="connsiteX22" fmla="*/ 29106 w 147767"/>
              <a:gd name="connsiteY22" fmla="*/ 84183 h 107467"/>
              <a:gd name="connsiteX23" fmla="*/ 58212 w 147767"/>
              <a:gd name="connsiteY23" fmla="*/ 55077 h 107467"/>
              <a:gd name="connsiteX24" fmla="*/ 54629 w 147767"/>
              <a:gd name="connsiteY24" fmla="*/ 40748 h 107467"/>
              <a:gd name="connsiteX25" fmla="*/ 54629 w 147767"/>
              <a:gd name="connsiteY25" fmla="*/ 40300 h 107467"/>
              <a:gd name="connsiteX26" fmla="*/ 33136 w 147767"/>
              <a:gd name="connsiteY26" fmla="*/ 3135 h 107467"/>
              <a:gd name="connsiteX27" fmla="*/ 73884 w 147767"/>
              <a:gd name="connsiteY27" fmla="*/ 3135 h 107467"/>
              <a:gd name="connsiteX28" fmla="*/ 73884 w 147767"/>
              <a:gd name="connsiteY28" fmla="*/ 106124 h 107467"/>
              <a:gd name="connsiteX29" fmla="*/ 42539 w 147767"/>
              <a:gd name="connsiteY29" fmla="*/ 106124 h 107467"/>
              <a:gd name="connsiteX30" fmla="*/ 40300 w 147767"/>
              <a:gd name="connsiteY30" fmla="*/ 108363 h 107467"/>
              <a:gd name="connsiteX31" fmla="*/ 42539 w 147767"/>
              <a:gd name="connsiteY31" fmla="*/ 110602 h 107467"/>
              <a:gd name="connsiteX32" fmla="*/ 109707 w 147767"/>
              <a:gd name="connsiteY32" fmla="*/ 110602 h 107467"/>
              <a:gd name="connsiteX33" fmla="*/ 111945 w 147767"/>
              <a:gd name="connsiteY33" fmla="*/ 108363 h 107467"/>
              <a:gd name="connsiteX34" fmla="*/ 109707 w 147767"/>
              <a:gd name="connsiteY34" fmla="*/ 106124 h 107467"/>
              <a:gd name="connsiteX35" fmla="*/ 78362 w 147767"/>
              <a:gd name="connsiteY35" fmla="*/ 106124 h 107467"/>
              <a:gd name="connsiteX36" fmla="*/ 78362 w 147767"/>
              <a:gd name="connsiteY36" fmla="*/ 3135 h 107467"/>
              <a:gd name="connsiteX37" fmla="*/ 119110 w 147767"/>
              <a:gd name="connsiteY37" fmla="*/ 3135 h 107467"/>
              <a:gd name="connsiteX38" fmla="*/ 97616 w 147767"/>
              <a:gd name="connsiteY38" fmla="*/ 40300 h 107467"/>
              <a:gd name="connsiteX39" fmla="*/ 97616 w 147767"/>
              <a:gd name="connsiteY39" fmla="*/ 40300 h 107467"/>
              <a:gd name="connsiteX40" fmla="*/ 93586 w 147767"/>
              <a:gd name="connsiteY40" fmla="*/ 54629 h 107467"/>
              <a:gd name="connsiteX41" fmla="*/ 122692 w 147767"/>
              <a:gd name="connsiteY41" fmla="*/ 83735 h 107467"/>
              <a:gd name="connsiteX42" fmla="*/ 151798 w 147767"/>
              <a:gd name="connsiteY42" fmla="*/ 54629 h 107467"/>
              <a:gd name="connsiteX43" fmla="*/ 147768 w 147767"/>
              <a:gd name="connsiteY43" fmla="*/ 41644 h 107467"/>
              <a:gd name="connsiteX44" fmla="*/ 28658 w 147767"/>
              <a:gd name="connsiteY44" fmla="*/ 80601 h 107467"/>
              <a:gd name="connsiteX45" fmla="*/ 4030 w 147767"/>
              <a:gd name="connsiteY45" fmla="*/ 58212 h 107467"/>
              <a:gd name="connsiteX46" fmla="*/ 52838 w 147767"/>
              <a:gd name="connsiteY46" fmla="*/ 58212 h 107467"/>
              <a:gd name="connsiteX47" fmla="*/ 28658 w 147767"/>
              <a:gd name="connsiteY47" fmla="*/ 80601 h 107467"/>
              <a:gd name="connsiteX48" fmla="*/ 49704 w 147767"/>
              <a:gd name="connsiteY48" fmla="*/ 43883 h 107467"/>
              <a:gd name="connsiteX49" fmla="*/ 52838 w 147767"/>
              <a:gd name="connsiteY49" fmla="*/ 53734 h 107467"/>
              <a:gd name="connsiteX50" fmla="*/ 4030 w 147767"/>
              <a:gd name="connsiteY50" fmla="*/ 53734 h 107467"/>
              <a:gd name="connsiteX51" fmla="*/ 7165 w 147767"/>
              <a:gd name="connsiteY51" fmla="*/ 43883 h 107467"/>
              <a:gd name="connsiteX52" fmla="*/ 7165 w 147767"/>
              <a:gd name="connsiteY52" fmla="*/ 43883 h 107467"/>
              <a:gd name="connsiteX53" fmla="*/ 7165 w 147767"/>
              <a:gd name="connsiteY53" fmla="*/ 43883 h 107467"/>
              <a:gd name="connsiteX54" fmla="*/ 28658 w 147767"/>
              <a:gd name="connsiteY54" fmla="*/ 6717 h 107467"/>
              <a:gd name="connsiteX55" fmla="*/ 49704 w 147767"/>
              <a:gd name="connsiteY55" fmla="*/ 43883 h 107467"/>
              <a:gd name="connsiteX56" fmla="*/ 49704 w 147767"/>
              <a:gd name="connsiteY56" fmla="*/ 43883 h 107467"/>
              <a:gd name="connsiteX57" fmla="*/ 101199 w 147767"/>
              <a:gd name="connsiteY57" fmla="*/ 43883 h 107467"/>
              <a:gd name="connsiteX58" fmla="*/ 101199 w 147767"/>
              <a:gd name="connsiteY58" fmla="*/ 43883 h 107467"/>
              <a:gd name="connsiteX59" fmla="*/ 101199 w 147767"/>
              <a:gd name="connsiteY59" fmla="*/ 43883 h 107467"/>
              <a:gd name="connsiteX60" fmla="*/ 122692 w 147767"/>
              <a:gd name="connsiteY60" fmla="*/ 6717 h 107467"/>
              <a:gd name="connsiteX61" fmla="*/ 143738 w 147767"/>
              <a:gd name="connsiteY61" fmla="*/ 43435 h 107467"/>
              <a:gd name="connsiteX62" fmla="*/ 143738 w 147767"/>
              <a:gd name="connsiteY62" fmla="*/ 43435 h 107467"/>
              <a:gd name="connsiteX63" fmla="*/ 146872 w 147767"/>
              <a:gd name="connsiteY63" fmla="*/ 53286 h 107467"/>
              <a:gd name="connsiteX64" fmla="*/ 98064 w 147767"/>
              <a:gd name="connsiteY64" fmla="*/ 53286 h 107467"/>
              <a:gd name="connsiteX65" fmla="*/ 101199 w 147767"/>
              <a:gd name="connsiteY65" fmla="*/ 43883 h 107467"/>
              <a:gd name="connsiteX66" fmla="*/ 122692 w 147767"/>
              <a:gd name="connsiteY66" fmla="*/ 80601 h 107467"/>
              <a:gd name="connsiteX67" fmla="*/ 98064 w 147767"/>
              <a:gd name="connsiteY67" fmla="*/ 58212 h 107467"/>
              <a:gd name="connsiteX68" fmla="*/ 146872 w 147767"/>
              <a:gd name="connsiteY68" fmla="*/ 58212 h 107467"/>
              <a:gd name="connsiteX69" fmla="*/ 122692 w 147767"/>
              <a:gd name="connsiteY69" fmla="*/ 8060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47767" h="107467">
                <a:moveTo>
                  <a:pt x="147768" y="41644"/>
                </a:moveTo>
                <a:cubicBezTo>
                  <a:pt x="147768" y="41644"/>
                  <a:pt x="147768" y="41644"/>
                  <a:pt x="147768" y="41644"/>
                </a:cubicBezTo>
                <a:lnTo>
                  <a:pt x="124483" y="896"/>
                </a:lnTo>
                <a:cubicBezTo>
                  <a:pt x="124483" y="896"/>
                  <a:pt x="124483" y="896"/>
                  <a:pt x="124483" y="896"/>
                </a:cubicBezTo>
                <a:cubicBezTo>
                  <a:pt x="124483" y="896"/>
                  <a:pt x="124036" y="448"/>
                  <a:pt x="124036" y="448"/>
                </a:cubicBezTo>
                <a:cubicBezTo>
                  <a:pt x="124036" y="448"/>
                  <a:pt x="124036" y="448"/>
                  <a:pt x="123588" y="448"/>
                </a:cubicBezTo>
                <a:cubicBezTo>
                  <a:pt x="123140" y="448"/>
                  <a:pt x="123140" y="0"/>
                  <a:pt x="122692" y="0"/>
                </a:cubicBezTo>
                <a:cubicBezTo>
                  <a:pt x="122692" y="0"/>
                  <a:pt x="122692" y="0"/>
                  <a:pt x="122692" y="0"/>
                </a:cubicBezTo>
                <a:cubicBezTo>
                  <a:pt x="122692" y="0"/>
                  <a:pt x="122692" y="0"/>
                  <a:pt x="122692" y="0"/>
                </a:cubicBezTo>
                <a:cubicBezTo>
                  <a:pt x="122692" y="0"/>
                  <a:pt x="122692" y="0"/>
                  <a:pt x="122692" y="0"/>
                </a:cubicBezTo>
                <a:lnTo>
                  <a:pt x="28658" y="0"/>
                </a:lnTo>
                <a:lnTo>
                  <a:pt x="28658" y="0"/>
                </a:lnTo>
                <a:lnTo>
                  <a:pt x="28658" y="0"/>
                </a:lnTo>
                <a:cubicBezTo>
                  <a:pt x="28210" y="0"/>
                  <a:pt x="27762" y="0"/>
                  <a:pt x="27762" y="448"/>
                </a:cubicBezTo>
                <a:cubicBezTo>
                  <a:pt x="27762" y="448"/>
                  <a:pt x="27762" y="448"/>
                  <a:pt x="27762" y="448"/>
                </a:cubicBezTo>
                <a:cubicBezTo>
                  <a:pt x="27315" y="448"/>
                  <a:pt x="27315" y="896"/>
                  <a:pt x="27315" y="896"/>
                </a:cubicBezTo>
                <a:cubicBezTo>
                  <a:pt x="27315" y="896"/>
                  <a:pt x="27315" y="896"/>
                  <a:pt x="27315" y="896"/>
                </a:cubicBezTo>
                <a:lnTo>
                  <a:pt x="27315" y="896"/>
                </a:lnTo>
                <a:cubicBezTo>
                  <a:pt x="27315" y="896"/>
                  <a:pt x="27315" y="896"/>
                  <a:pt x="27315" y="896"/>
                </a:cubicBezTo>
                <a:lnTo>
                  <a:pt x="4030" y="40748"/>
                </a:lnTo>
                <a:cubicBezTo>
                  <a:pt x="4030" y="40748"/>
                  <a:pt x="4030" y="40748"/>
                  <a:pt x="4030" y="40748"/>
                </a:cubicBezTo>
                <a:cubicBezTo>
                  <a:pt x="1343" y="45226"/>
                  <a:pt x="0" y="50152"/>
                  <a:pt x="0" y="55077"/>
                </a:cubicBezTo>
                <a:cubicBezTo>
                  <a:pt x="0" y="71197"/>
                  <a:pt x="12986" y="84183"/>
                  <a:pt x="29106" y="84183"/>
                </a:cubicBezTo>
                <a:cubicBezTo>
                  <a:pt x="45226" y="84183"/>
                  <a:pt x="58212" y="71197"/>
                  <a:pt x="58212" y="55077"/>
                </a:cubicBezTo>
                <a:cubicBezTo>
                  <a:pt x="58212" y="50152"/>
                  <a:pt x="56868" y="45226"/>
                  <a:pt x="54629" y="40748"/>
                </a:cubicBezTo>
                <a:cubicBezTo>
                  <a:pt x="54629" y="40748"/>
                  <a:pt x="54629" y="40748"/>
                  <a:pt x="54629" y="40300"/>
                </a:cubicBezTo>
                <a:lnTo>
                  <a:pt x="33136" y="3135"/>
                </a:lnTo>
                <a:lnTo>
                  <a:pt x="73884" y="3135"/>
                </a:lnTo>
                <a:lnTo>
                  <a:pt x="73884" y="106124"/>
                </a:lnTo>
                <a:lnTo>
                  <a:pt x="42539" y="106124"/>
                </a:lnTo>
                <a:cubicBezTo>
                  <a:pt x="41196" y="106124"/>
                  <a:pt x="40300" y="107020"/>
                  <a:pt x="40300" y="108363"/>
                </a:cubicBezTo>
                <a:cubicBezTo>
                  <a:pt x="40300" y="109707"/>
                  <a:pt x="41196" y="110602"/>
                  <a:pt x="42539" y="110602"/>
                </a:cubicBezTo>
                <a:lnTo>
                  <a:pt x="109707" y="110602"/>
                </a:lnTo>
                <a:cubicBezTo>
                  <a:pt x="111050" y="110602"/>
                  <a:pt x="111945" y="109707"/>
                  <a:pt x="111945" y="108363"/>
                </a:cubicBezTo>
                <a:cubicBezTo>
                  <a:pt x="111945" y="107020"/>
                  <a:pt x="111050" y="106124"/>
                  <a:pt x="109707" y="106124"/>
                </a:cubicBezTo>
                <a:lnTo>
                  <a:pt x="78362" y="106124"/>
                </a:lnTo>
                <a:lnTo>
                  <a:pt x="78362" y="3135"/>
                </a:lnTo>
                <a:lnTo>
                  <a:pt x="119110" y="3135"/>
                </a:lnTo>
                <a:lnTo>
                  <a:pt x="97616" y="40300"/>
                </a:lnTo>
                <a:cubicBezTo>
                  <a:pt x="97616" y="40300"/>
                  <a:pt x="97616" y="40300"/>
                  <a:pt x="97616" y="40300"/>
                </a:cubicBezTo>
                <a:cubicBezTo>
                  <a:pt x="94930" y="44778"/>
                  <a:pt x="93586" y="49704"/>
                  <a:pt x="93586" y="54629"/>
                </a:cubicBezTo>
                <a:cubicBezTo>
                  <a:pt x="93586" y="70749"/>
                  <a:pt x="106572" y="83735"/>
                  <a:pt x="122692" y="83735"/>
                </a:cubicBezTo>
                <a:cubicBezTo>
                  <a:pt x="138812" y="83735"/>
                  <a:pt x="151798" y="70749"/>
                  <a:pt x="151798" y="54629"/>
                </a:cubicBezTo>
                <a:cubicBezTo>
                  <a:pt x="151798" y="51047"/>
                  <a:pt x="150455" y="46121"/>
                  <a:pt x="147768" y="41644"/>
                </a:cubicBezTo>
                <a:close/>
                <a:moveTo>
                  <a:pt x="28658" y="80601"/>
                </a:moveTo>
                <a:cubicBezTo>
                  <a:pt x="15672" y="80601"/>
                  <a:pt x="5373" y="70749"/>
                  <a:pt x="4030" y="58212"/>
                </a:cubicBezTo>
                <a:lnTo>
                  <a:pt x="52838" y="58212"/>
                </a:lnTo>
                <a:cubicBezTo>
                  <a:pt x="51943" y="70749"/>
                  <a:pt x="41644" y="80601"/>
                  <a:pt x="28658" y="80601"/>
                </a:cubicBezTo>
                <a:close/>
                <a:moveTo>
                  <a:pt x="49704" y="43883"/>
                </a:moveTo>
                <a:cubicBezTo>
                  <a:pt x="51495" y="47017"/>
                  <a:pt x="52390" y="50152"/>
                  <a:pt x="52838" y="53734"/>
                </a:cubicBezTo>
                <a:lnTo>
                  <a:pt x="4030" y="53734"/>
                </a:lnTo>
                <a:cubicBezTo>
                  <a:pt x="4478" y="50152"/>
                  <a:pt x="5373" y="46569"/>
                  <a:pt x="7165" y="43883"/>
                </a:cubicBezTo>
                <a:cubicBezTo>
                  <a:pt x="7165" y="43883"/>
                  <a:pt x="7165" y="43883"/>
                  <a:pt x="7165" y="43883"/>
                </a:cubicBezTo>
                <a:cubicBezTo>
                  <a:pt x="7165" y="43883"/>
                  <a:pt x="7165" y="43883"/>
                  <a:pt x="7165" y="43883"/>
                </a:cubicBezTo>
                <a:lnTo>
                  <a:pt x="28658" y="6717"/>
                </a:lnTo>
                <a:lnTo>
                  <a:pt x="49704" y="43883"/>
                </a:lnTo>
                <a:cubicBezTo>
                  <a:pt x="49704" y="43435"/>
                  <a:pt x="49704" y="43883"/>
                  <a:pt x="49704" y="43883"/>
                </a:cubicBezTo>
                <a:close/>
                <a:moveTo>
                  <a:pt x="101199" y="43883"/>
                </a:moveTo>
                <a:cubicBezTo>
                  <a:pt x="101199" y="43883"/>
                  <a:pt x="101199" y="43883"/>
                  <a:pt x="101199" y="43883"/>
                </a:cubicBezTo>
                <a:cubicBezTo>
                  <a:pt x="101199" y="43883"/>
                  <a:pt x="101199" y="43883"/>
                  <a:pt x="101199" y="43883"/>
                </a:cubicBezTo>
                <a:lnTo>
                  <a:pt x="122692" y="6717"/>
                </a:lnTo>
                <a:lnTo>
                  <a:pt x="143738" y="43435"/>
                </a:lnTo>
                <a:cubicBezTo>
                  <a:pt x="143738" y="43435"/>
                  <a:pt x="143738" y="43435"/>
                  <a:pt x="143738" y="43435"/>
                </a:cubicBezTo>
                <a:cubicBezTo>
                  <a:pt x="145529" y="46569"/>
                  <a:pt x="146425" y="49704"/>
                  <a:pt x="146872" y="53286"/>
                </a:cubicBezTo>
                <a:lnTo>
                  <a:pt x="98064" y="53286"/>
                </a:lnTo>
                <a:cubicBezTo>
                  <a:pt x="98512" y="50152"/>
                  <a:pt x="99408" y="47017"/>
                  <a:pt x="101199" y="43883"/>
                </a:cubicBezTo>
                <a:close/>
                <a:moveTo>
                  <a:pt x="122692" y="80601"/>
                </a:moveTo>
                <a:cubicBezTo>
                  <a:pt x="109707" y="80601"/>
                  <a:pt x="99408" y="70749"/>
                  <a:pt x="98064" y="58212"/>
                </a:cubicBezTo>
                <a:lnTo>
                  <a:pt x="146872" y="58212"/>
                </a:lnTo>
                <a:cubicBezTo>
                  <a:pt x="145977" y="70749"/>
                  <a:pt x="135678" y="80601"/>
                  <a:pt x="122692" y="80601"/>
                </a:cubicBezTo>
                <a:close/>
              </a:path>
            </a:pathLst>
          </a:custGeom>
          <a:solidFill>
            <a:srgbClr val="231F20"/>
          </a:solidFill>
          <a:ln w="4474" cap="flat">
            <a:noFill/>
            <a:prstDash val="solid"/>
            <a:miter/>
          </a:ln>
        </p:spPr>
        <p:txBody>
          <a:bodyPr rtlCol="0" anchor="ctr"/>
          <a:lstStyle/>
          <a:p>
            <a:endParaRPr lang="en-US"/>
          </a:p>
        </p:txBody>
      </p:sp>
      <p:sp>
        <p:nvSpPr>
          <p:cNvPr id="4460" name="Freeform: Shape 4459">
            <a:extLst>
              <a:ext uri="{FF2B5EF4-FFF2-40B4-BE49-F238E27FC236}">
                <a16:creationId xmlns:a16="http://schemas.microsoft.com/office/drawing/2014/main" id="{53602549-9A38-4DE8-BDA7-CB216C08C024}"/>
              </a:ext>
              <a:ext uri="{C183D7F6-B498-43B3-948B-1728B52AA6E4}">
                <adec:decorative xmlns:adec="http://schemas.microsoft.com/office/drawing/2017/decorative" val="1"/>
              </a:ext>
            </a:extLst>
          </p:cNvPr>
          <p:cNvSpPr>
            <a:spLocks noChangeAspect="1"/>
          </p:cNvSpPr>
          <p:nvPr/>
        </p:nvSpPr>
        <p:spPr>
          <a:xfrm>
            <a:off x="1333453" y="4588239"/>
            <a:ext cx="152246" cy="116423"/>
          </a:xfrm>
          <a:custGeom>
            <a:avLst/>
            <a:gdLst>
              <a:gd name="connsiteX0" fmla="*/ 148664 w 152245"/>
              <a:gd name="connsiteY0" fmla="*/ 67167 h 116423"/>
              <a:gd name="connsiteX1" fmla="*/ 148664 w 152245"/>
              <a:gd name="connsiteY1" fmla="*/ 67167 h 116423"/>
              <a:gd name="connsiteX2" fmla="*/ 125379 w 152245"/>
              <a:gd name="connsiteY2" fmla="*/ 26419 h 116423"/>
              <a:gd name="connsiteX3" fmla="*/ 125379 w 152245"/>
              <a:gd name="connsiteY3" fmla="*/ 26419 h 116423"/>
              <a:gd name="connsiteX4" fmla="*/ 124483 w 152245"/>
              <a:gd name="connsiteY4" fmla="*/ 25523 h 116423"/>
              <a:gd name="connsiteX5" fmla="*/ 124036 w 152245"/>
              <a:gd name="connsiteY5" fmla="*/ 25523 h 116423"/>
              <a:gd name="connsiteX6" fmla="*/ 123588 w 152245"/>
              <a:gd name="connsiteY6" fmla="*/ 25523 h 116423"/>
              <a:gd name="connsiteX7" fmla="*/ 29554 w 152245"/>
              <a:gd name="connsiteY7" fmla="*/ 0 h 116423"/>
              <a:gd name="connsiteX8" fmla="*/ 29106 w 152245"/>
              <a:gd name="connsiteY8" fmla="*/ 0 h 116423"/>
              <a:gd name="connsiteX9" fmla="*/ 29106 w 152245"/>
              <a:gd name="connsiteY9" fmla="*/ 0 h 116423"/>
              <a:gd name="connsiteX10" fmla="*/ 29106 w 152245"/>
              <a:gd name="connsiteY10" fmla="*/ 0 h 116423"/>
              <a:gd name="connsiteX11" fmla="*/ 29106 w 152245"/>
              <a:gd name="connsiteY11" fmla="*/ 0 h 116423"/>
              <a:gd name="connsiteX12" fmla="*/ 28210 w 152245"/>
              <a:gd name="connsiteY12" fmla="*/ 448 h 116423"/>
              <a:gd name="connsiteX13" fmla="*/ 28210 w 152245"/>
              <a:gd name="connsiteY13" fmla="*/ 448 h 116423"/>
              <a:gd name="connsiteX14" fmla="*/ 27315 w 152245"/>
              <a:gd name="connsiteY14" fmla="*/ 1343 h 116423"/>
              <a:gd name="connsiteX15" fmla="*/ 27315 w 152245"/>
              <a:gd name="connsiteY15" fmla="*/ 1343 h 116423"/>
              <a:gd name="connsiteX16" fmla="*/ 4030 w 152245"/>
              <a:gd name="connsiteY16" fmla="*/ 41644 h 116423"/>
              <a:gd name="connsiteX17" fmla="*/ 4030 w 152245"/>
              <a:gd name="connsiteY17" fmla="*/ 41644 h 116423"/>
              <a:gd name="connsiteX18" fmla="*/ 0 w 152245"/>
              <a:gd name="connsiteY18" fmla="*/ 55973 h 116423"/>
              <a:gd name="connsiteX19" fmla="*/ 0 w 152245"/>
              <a:gd name="connsiteY19" fmla="*/ 55973 h 116423"/>
              <a:gd name="connsiteX20" fmla="*/ 0 w 152245"/>
              <a:gd name="connsiteY20" fmla="*/ 55973 h 116423"/>
              <a:gd name="connsiteX21" fmla="*/ 0 w 152245"/>
              <a:gd name="connsiteY21" fmla="*/ 56420 h 116423"/>
              <a:gd name="connsiteX22" fmla="*/ 29106 w 152245"/>
              <a:gd name="connsiteY22" fmla="*/ 85526 h 116423"/>
              <a:gd name="connsiteX23" fmla="*/ 58212 w 152245"/>
              <a:gd name="connsiteY23" fmla="*/ 56420 h 116423"/>
              <a:gd name="connsiteX24" fmla="*/ 58212 w 152245"/>
              <a:gd name="connsiteY24" fmla="*/ 56420 h 116423"/>
              <a:gd name="connsiteX25" fmla="*/ 58212 w 152245"/>
              <a:gd name="connsiteY25" fmla="*/ 56420 h 116423"/>
              <a:gd name="connsiteX26" fmla="*/ 58212 w 152245"/>
              <a:gd name="connsiteY26" fmla="*/ 55973 h 116423"/>
              <a:gd name="connsiteX27" fmla="*/ 54629 w 152245"/>
              <a:gd name="connsiteY27" fmla="*/ 42539 h 116423"/>
              <a:gd name="connsiteX28" fmla="*/ 54629 w 152245"/>
              <a:gd name="connsiteY28" fmla="*/ 42091 h 116423"/>
              <a:gd name="connsiteX29" fmla="*/ 34031 w 152245"/>
              <a:gd name="connsiteY29" fmla="*/ 6269 h 116423"/>
              <a:gd name="connsiteX30" fmla="*/ 74332 w 152245"/>
              <a:gd name="connsiteY30" fmla="*/ 17016 h 116423"/>
              <a:gd name="connsiteX31" fmla="*/ 74332 w 152245"/>
              <a:gd name="connsiteY31" fmla="*/ 113736 h 116423"/>
              <a:gd name="connsiteX32" fmla="*/ 42987 w 152245"/>
              <a:gd name="connsiteY32" fmla="*/ 113736 h 116423"/>
              <a:gd name="connsiteX33" fmla="*/ 40748 w 152245"/>
              <a:gd name="connsiteY33" fmla="*/ 115975 h 116423"/>
              <a:gd name="connsiteX34" fmla="*/ 42987 w 152245"/>
              <a:gd name="connsiteY34" fmla="*/ 118214 h 116423"/>
              <a:gd name="connsiteX35" fmla="*/ 110154 w 152245"/>
              <a:gd name="connsiteY35" fmla="*/ 118214 h 116423"/>
              <a:gd name="connsiteX36" fmla="*/ 112393 w 152245"/>
              <a:gd name="connsiteY36" fmla="*/ 115975 h 116423"/>
              <a:gd name="connsiteX37" fmla="*/ 110154 w 152245"/>
              <a:gd name="connsiteY37" fmla="*/ 113736 h 116423"/>
              <a:gd name="connsiteX38" fmla="*/ 78810 w 152245"/>
              <a:gd name="connsiteY38" fmla="*/ 113736 h 116423"/>
              <a:gd name="connsiteX39" fmla="*/ 78810 w 152245"/>
              <a:gd name="connsiteY39" fmla="*/ 18359 h 116423"/>
              <a:gd name="connsiteX40" fmla="*/ 120006 w 152245"/>
              <a:gd name="connsiteY40" fmla="*/ 29553 h 116423"/>
              <a:gd name="connsiteX41" fmla="*/ 98064 w 152245"/>
              <a:gd name="connsiteY41" fmla="*/ 67167 h 116423"/>
              <a:gd name="connsiteX42" fmla="*/ 98064 w 152245"/>
              <a:gd name="connsiteY42" fmla="*/ 67167 h 116423"/>
              <a:gd name="connsiteX43" fmla="*/ 94034 w 152245"/>
              <a:gd name="connsiteY43" fmla="*/ 81496 h 116423"/>
              <a:gd name="connsiteX44" fmla="*/ 123140 w 152245"/>
              <a:gd name="connsiteY44" fmla="*/ 110602 h 116423"/>
              <a:gd name="connsiteX45" fmla="*/ 152246 w 152245"/>
              <a:gd name="connsiteY45" fmla="*/ 81496 h 116423"/>
              <a:gd name="connsiteX46" fmla="*/ 148664 w 152245"/>
              <a:gd name="connsiteY46" fmla="*/ 67167 h 116423"/>
              <a:gd name="connsiteX47" fmla="*/ 102094 w 152245"/>
              <a:gd name="connsiteY47" fmla="*/ 68958 h 116423"/>
              <a:gd name="connsiteX48" fmla="*/ 102094 w 152245"/>
              <a:gd name="connsiteY48" fmla="*/ 68958 h 116423"/>
              <a:gd name="connsiteX49" fmla="*/ 102094 w 152245"/>
              <a:gd name="connsiteY49" fmla="*/ 68958 h 116423"/>
              <a:gd name="connsiteX50" fmla="*/ 123588 w 152245"/>
              <a:gd name="connsiteY50" fmla="*/ 31792 h 116423"/>
              <a:gd name="connsiteX51" fmla="*/ 144634 w 152245"/>
              <a:gd name="connsiteY51" fmla="*/ 68511 h 116423"/>
              <a:gd name="connsiteX52" fmla="*/ 144634 w 152245"/>
              <a:gd name="connsiteY52" fmla="*/ 68511 h 116423"/>
              <a:gd name="connsiteX53" fmla="*/ 147768 w 152245"/>
              <a:gd name="connsiteY53" fmla="*/ 78362 h 116423"/>
              <a:gd name="connsiteX54" fmla="*/ 98960 w 152245"/>
              <a:gd name="connsiteY54" fmla="*/ 78362 h 116423"/>
              <a:gd name="connsiteX55" fmla="*/ 102094 w 152245"/>
              <a:gd name="connsiteY55" fmla="*/ 68958 h 116423"/>
              <a:gd name="connsiteX56" fmla="*/ 50599 w 152245"/>
              <a:gd name="connsiteY56" fmla="*/ 43435 h 116423"/>
              <a:gd name="connsiteX57" fmla="*/ 53734 w 152245"/>
              <a:gd name="connsiteY57" fmla="*/ 53286 h 116423"/>
              <a:gd name="connsiteX58" fmla="*/ 4926 w 152245"/>
              <a:gd name="connsiteY58" fmla="*/ 53286 h 116423"/>
              <a:gd name="connsiteX59" fmla="*/ 8060 w 152245"/>
              <a:gd name="connsiteY59" fmla="*/ 43435 h 116423"/>
              <a:gd name="connsiteX60" fmla="*/ 8060 w 152245"/>
              <a:gd name="connsiteY60" fmla="*/ 43435 h 116423"/>
              <a:gd name="connsiteX61" fmla="*/ 8060 w 152245"/>
              <a:gd name="connsiteY61" fmla="*/ 43435 h 116423"/>
              <a:gd name="connsiteX62" fmla="*/ 29554 w 152245"/>
              <a:gd name="connsiteY62" fmla="*/ 6717 h 116423"/>
              <a:gd name="connsiteX63" fmla="*/ 50599 w 152245"/>
              <a:gd name="connsiteY63" fmla="*/ 43435 h 116423"/>
              <a:gd name="connsiteX64" fmla="*/ 50599 w 152245"/>
              <a:gd name="connsiteY64" fmla="*/ 43435 h 116423"/>
              <a:gd name="connsiteX65" fmla="*/ 29554 w 152245"/>
              <a:gd name="connsiteY65" fmla="*/ 80601 h 116423"/>
              <a:gd name="connsiteX66" fmla="*/ 4926 w 152245"/>
              <a:gd name="connsiteY66" fmla="*/ 57764 h 116423"/>
              <a:gd name="connsiteX67" fmla="*/ 54182 w 152245"/>
              <a:gd name="connsiteY67" fmla="*/ 57764 h 116423"/>
              <a:gd name="connsiteX68" fmla="*/ 29554 w 152245"/>
              <a:gd name="connsiteY68" fmla="*/ 80601 h 116423"/>
              <a:gd name="connsiteX69" fmla="*/ 123588 w 152245"/>
              <a:gd name="connsiteY69" fmla="*/ 106124 h 116423"/>
              <a:gd name="connsiteX70" fmla="*/ 98960 w 152245"/>
              <a:gd name="connsiteY70" fmla="*/ 83735 h 116423"/>
              <a:gd name="connsiteX71" fmla="*/ 147768 w 152245"/>
              <a:gd name="connsiteY71" fmla="*/ 83735 h 116423"/>
              <a:gd name="connsiteX72" fmla="*/ 123588 w 152245"/>
              <a:gd name="connsiteY72" fmla="*/ 106124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52245" h="116423">
                <a:moveTo>
                  <a:pt x="148664" y="67167"/>
                </a:moveTo>
                <a:cubicBezTo>
                  <a:pt x="148664" y="66719"/>
                  <a:pt x="148664" y="66719"/>
                  <a:pt x="148664" y="67167"/>
                </a:cubicBezTo>
                <a:lnTo>
                  <a:pt x="125379" y="26419"/>
                </a:lnTo>
                <a:cubicBezTo>
                  <a:pt x="125379" y="26419"/>
                  <a:pt x="125379" y="26419"/>
                  <a:pt x="125379" y="26419"/>
                </a:cubicBezTo>
                <a:cubicBezTo>
                  <a:pt x="125379" y="25971"/>
                  <a:pt x="124931" y="25971"/>
                  <a:pt x="124483" y="25523"/>
                </a:cubicBezTo>
                <a:cubicBezTo>
                  <a:pt x="124483" y="25523"/>
                  <a:pt x="124483" y="25523"/>
                  <a:pt x="124036" y="25523"/>
                </a:cubicBezTo>
                <a:cubicBezTo>
                  <a:pt x="124036" y="25523"/>
                  <a:pt x="124036" y="25523"/>
                  <a:pt x="123588" y="25523"/>
                </a:cubicBezTo>
                <a:lnTo>
                  <a:pt x="29554" y="0"/>
                </a:lnTo>
                <a:cubicBezTo>
                  <a:pt x="29554" y="0"/>
                  <a:pt x="29106" y="0"/>
                  <a:pt x="29106" y="0"/>
                </a:cubicBezTo>
                <a:cubicBezTo>
                  <a:pt x="29106" y="0"/>
                  <a:pt x="29106" y="0"/>
                  <a:pt x="29106" y="0"/>
                </a:cubicBezTo>
                <a:lnTo>
                  <a:pt x="29106" y="0"/>
                </a:lnTo>
                <a:cubicBezTo>
                  <a:pt x="29106" y="0"/>
                  <a:pt x="29106" y="0"/>
                  <a:pt x="29106" y="0"/>
                </a:cubicBezTo>
                <a:cubicBezTo>
                  <a:pt x="28658" y="0"/>
                  <a:pt x="28210" y="0"/>
                  <a:pt x="28210" y="448"/>
                </a:cubicBezTo>
                <a:cubicBezTo>
                  <a:pt x="28210" y="448"/>
                  <a:pt x="28210" y="448"/>
                  <a:pt x="28210" y="448"/>
                </a:cubicBezTo>
                <a:cubicBezTo>
                  <a:pt x="27762" y="448"/>
                  <a:pt x="27762" y="895"/>
                  <a:pt x="27315" y="1343"/>
                </a:cubicBezTo>
                <a:cubicBezTo>
                  <a:pt x="27315" y="1343"/>
                  <a:pt x="27315" y="1343"/>
                  <a:pt x="27315" y="1343"/>
                </a:cubicBezTo>
                <a:lnTo>
                  <a:pt x="4030" y="41644"/>
                </a:lnTo>
                <a:cubicBezTo>
                  <a:pt x="4030" y="41644"/>
                  <a:pt x="4030" y="41644"/>
                  <a:pt x="4030" y="41644"/>
                </a:cubicBezTo>
                <a:cubicBezTo>
                  <a:pt x="1343" y="45674"/>
                  <a:pt x="0" y="50599"/>
                  <a:pt x="0" y="55973"/>
                </a:cubicBezTo>
                <a:cubicBezTo>
                  <a:pt x="0" y="55973"/>
                  <a:pt x="0" y="55973"/>
                  <a:pt x="0" y="55973"/>
                </a:cubicBezTo>
                <a:cubicBezTo>
                  <a:pt x="0" y="55973"/>
                  <a:pt x="0" y="55973"/>
                  <a:pt x="0" y="55973"/>
                </a:cubicBezTo>
                <a:cubicBezTo>
                  <a:pt x="0" y="55973"/>
                  <a:pt x="0" y="56420"/>
                  <a:pt x="0" y="56420"/>
                </a:cubicBezTo>
                <a:cubicBezTo>
                  <a:pt x="0" y="72540"/>
                  <a:pt x="12986" y="85526"/>
                  <a:pt x="29106" y="85526"/>
                </a:cubicBezTo>
                <a:cubicBezTo>
                  <a:pt x="45226" y="85526"/>
                  <a:pt x="58212" y="72540"/>
                  <a:pt x="58212" y="56420"/>
                </a:cubicBezTo>
                <a:cubicBezTo>
                  <a:pt x="58212" y="56420"/>
                  <a:pt x="58212" y="56420"/>
                  <a:pt x="58212" y="56420"/>
                </a:cubicBezTo>
                <a:cubicBezTo>
                  <a:pt x="58212" y="56420"/>
                  <a:pt x="58212" y="56420"/>
                  <a:pt x="58212" y="56420"/>
                </a:cubicBezTo>
                <a:cubicBezTo>
                  <a:pt x="58212" y="56420"/>
                  <a:pt x="58212" y="55973"/>
                  <a:pt x="58212" y="55973"/>
                </a:cubicBezTo>
                <a:cubicBezTo>
                  <a:pt x="58212" y="51047"/>
                  <a:pt x="56868" y="46569"/>
                  <a:pt x="54629" y="42539"/>
                </a:cubicBezTo>
                <a:cubicBezTo>
                  <a:pt x="54629" y="42539"/>
                  <a:pt x="54629" y="42539"/>
                  <a:pt x="54629" y="42091"/>
                </a:cubicBezTo>
                <a:lnTo>
                  <a:pt x="34031" y="6269"/>
                </a:lnTo>
                <a:lnTo>
                  <a:pt x="74332" y="17016"/>
                </a:lnTo>
                <a:lnTo>
                  <a:pt x="74332" y="113736"/>
                </a:lnTo>
                <a:lnTo>
                  <a:pt x="42987" y="113736"/>
                </a:lnTo>
                <a:cubicBezTo>
                  <a:pt x="41644" y="113736"/>
                  <a:pt x="40748" y="114632"/>
                  <a:pt x="40748" y="115975"/>
                </a:cubicBezTo>
                <a:cubicBezTo>
                  <a:pt x="40748" y="117319"/>
                  <a:pt x="41644" y="118214"/>
                  <a:pt x="42987" y="118214"/>
                </a:cubicBezTo>
                <a:lnTo>
                  <a:pt x="110154" y="118214"/>
                </a:lnTo>
                <a:cubicBezTo>
                  <a:pt x="111498" y="118214"/>
                  <a:pt x="112393" y="117319"/>
                  <a:pt x="112393" y="115975"/>
                </a:cubicBezTo>
                <a:cubicBezTo>
                  <a:pt x="112393" y="114632"/>
                  <a:pt x="111498" y="113736"/>
                  <a:pt x="110154" y="113736"/>
                </a:cubicBezTo>
                <a:lnTo>
                  <a:pt x="78810" y="113736"/>
                </a:lnTo>
                <a:lnTo>
                  <a:pt x="78810" y="18359"/>
                </a:lnTo>
                <a:lnTo>
                  <a:pt x="120006" y="29553"/>
                </a:lnTo>
                <a:lnTo>
                  <a:pt x="98064" y="67167"/>
                </a:lnTo>
                <a:cubicBezTo>
                  <a:pt x="98064" y="67167"/>
                  <a:pt x="98064" y="67167"/>
                  <a:pt x="98064" y="67167"/>
                </a:cubicBezTo>
                <a:cubicBezTo>
                  <a:pt x="95378" y="71645"/>
                  <a:pt x="94034" y="76571"/>
                  <a:pt x="94034" y="81496"/>
                </a:cubicBezTo>
                <a:cubicBezTo>
                  <a:pt x="94034" y="97616"/>
                  <a:pt x="107020" y="110602"/>
                  <a:pt x="123140" y="110602"/>
                </a:cubicBezTo>
                <a:cubicBezTo>
                  <a:pt x="139260" y="110602"/>
                  <a:pt x="152246" y="97616"/>
                  <a:pt x="152246" y="81496"/>
                </a:cubicBezTo>
                <a:cubicBezTo>
                  <a:pt x="152694" y="76123"/>
                  <a:pt x="151350" y="71197"/>
                  <a:pt x="148664" y="67167"/>
                </a:cubicBezTo>
                <a:close/>
                <a:moveTo>
                  <a:pt x="102094" y="68958"/>
                </a:moveTo>
                <a:cubicBezTo>
                  <a:pt x="102094" y="68958"/>
                  <a:pt x="102094" y="68958"/>
                  <a:pt x="102094" y="68958"/>
                </a:cubicBezTo>
                <a:cubicBezTo>
                  <a:pt x="102094" y="68958"/>
                  <a:pt x="102094" y="68958"/>
                  <a:pt x="102094" y="68958"/>
                </a:cubicBezTo>
                <a:lnTo>
                  <a:pt x="123588" y="31792"/>
                </a:lnTo>
                <a:lnTo>
                  <a:pt x="144634" y="68511"/>
                </a:lnTo>
                <a:cubicBezTo>
                  <a:pt x="144634" y="68511"/>
                  <a:pt x="144634" y="68511"/>
                  <a:pt x="144634" y="68511"/>
                </a:cubicBezTo>
                <a:cubicBezTo>
                  <a:pt x="146425" y="71645"/>
                  <a:pt x="147320" y="74779"/>
                  <a:pt x="147768" y="78362"/>
                </a:cubicBezTo>
                <a:lnTo>
                  <a:pt x="98960" y="78362"/>
                </a:lnTo>
                <a:cubicBezTo>
                  <a:pt x="99408" y="75675"/>
                  <a:pt x="100303" y="72093"/>
                  <a:pt x="102094" y="68958"/>
                </a:cubicBezTo>
                <a:close/>
                <a:moveTo>
                  <a:pt x="50599" y="43435"/>
                </a:moveTo>
                <a:cubicBezTo>
                  <a:pt x="52390" y="46569"/>
                  <a:pt x="53286" y="49704"/>
                  <a:pt x="53734" y="53286"/>
                </a:cubicBezTo>
                <a:lnTo>
                  <a:pt x="4926" y="53286"/>
                </a:lnTo>
                <a:cubicBezTo>
                  <a:pt x="5373" y="49704"/>
                  <a:pt x="6269" y="46569"/>
                  <a:pt x="8060" y="43435"/>
                </a:cubicBezTo>
                <a:cubicBezTo>
                  <a:pt x="8060" y="43435"/>
                  <a:pt x="8060" y="43435"/>
                  <a:pt x="8060" y="43435"/>
                </a:cubicBezTo>
                <a:cubicBezTo>
                  <a:pt x="8060" y="43435"/>
                  <a:pt x="8060" y="43435"/>
                  <a:pt x="8060" y="43435"/>
                </a:cubicBezTo>
                <a:lnTo>
                  <a:pt x="29554" y="6717"/>
                </a:lnTo>
                <a:lnTo>
                  <a:pt x="50599" y="43435"/>
                </a:lnTo>
                <a:cubicBezTo>
                  <a:pt x="50599" y="43435"/>
                  <a:pt x="50599" y="43435"/>
                  <a:pt x="50599" y="43435"/>
                </a:cubicBezTo>
                <a:close/>
                <a:moveTo>
                  <a:pt x="29554" y="80601"/>
                </a:moveTo>
                <a:cubicBezTo>
                  <a:pt x="16568" y="80601"/>
                  <a:pt x="5821" y="70749"/>
                  <a:pt x="4926" y="57764"/>
                </a:cubicBezTo>
                <a:lnTo>
                  <a:pt x="54182" y="57764"/>
                </a:lnTo>
                <a:cubicBezTo>
                  <a:pt x="52838" y="70302"/>
                  <a:pt x="42091" y="80601"/>
                  <a:pt x="29554" y="80601"/>
                </a:cubicBezTo>
                <a:close/>
                <a:moveTo>
                  <a:pt x="123588" y="106124"/>
                </a:moveTo>
                <a:cubicBezTo>
                  <a:pt x="110602" y="106124"/>
                  <a:pt x="100303" y="96273"/>
                  <a:pt x="98960" y="83735"/>
                </a:cubicBezTo>
                <a:lnTo>
                  <a:pt x="147768" y="83735"/>
                </a:lnTo>
                <a:cubicBezTo>
                  <a:pt x="146872" y="96273"/>
                  <a:pt x="136126" y="106124"/>
                  <a:pt x="123588" y="106124"/>
                </a:cubicBezTo>
                <a:close/>
              </a:path>
            </a:pathLst>
          </a:custGeom>
          <a:solidFill>
            <a:srgbClr val="231F20"/>
          </a:solidFill>
          <a:ln w="4474" cap="flat">
            <a:noFill/>
            <a:prstDash val="solid"/>
            <a:miter/>
          </a:ln>
        </p:spPr>
        <p:txBody>
          <a:bodyPr rtlCol="0" anchor="ctr"/>
          <a:lstStyle/>
          <a:p>
            <a:endParaRPr lang="en-US"/>
          </a:p>
        </p:txBody>
      </p:sp>
      <p:sp>
        <p:nvSpPr>
          <p:cNvPr id="4461" name="Freeform: Shape 4460">
            <a:extLst>
              <a:ext uri="{FF2B5EF4-FFF2-40B4-BE49-F238E27FC236}">
                <a16:creationId xmlns:a16="http://schemas.microsoft.com/office/drawing/2014/main" id="{FC58A6B7-D35F-44E2-B6A0-B5C996BD77C8}"/>
              </a:ext>
              <a:ext uri="{C183D7F6-B498-43B3-948B-1728B52AA6E4}">
                <adec:decorative xmlns:adec="http://schemas.microsoft.com/office/drawing/2017/decorative" val="1"/>
              </a:ext>
            </a:extLst>
          </p:cNvPr>
          <p:cNvSpPr>
            <a:spLocks noChangeAspect="1"/>
          </p:cNvSpPr>
          <p:nvPr/>
        </p:nvSpPr>
        <p:spPr>
          <a:xfrm>
            <a:off x="3438475" y="4580739"/>
            <a:ext cx="152246" cy="129857"/>
          </a:xfrm>
          <a:custGeom>
            <a:avLst/>
            <a:gdLst>
              <a:gd name="connsiteX0" fmla="*/ 124931 w 152245"/>
              <a:gd name="connsiteY0" fmla="*/ 83175 h 129856"/>
              <a:gd name="connsiteX1" fmla="*/ 125827 w 152245"/>
              <a:gd name="connsiteY1" fmla="*/ 81384 h 129856"/>
              <a:gd name="connsiteX2" fmla="*/ 125827 w 152245"/>
              <a:gd name="connsiteY2" fmla="*/ 58100 h 129856"/>
              <a:gd name="connsiteX3" fmla="*/ 151798 w 152245"/>
              <a:gd name="connsiteY3" fmla="*/ 42875 h 129856"/>
              <a:gd name="connsiteX4" fmla="*/ 152694 w 152245"/>
              <a:gd name="connsiteY4" fmla="*/ 41084 h 129856"/>
              <a:gd name="connsiteX5" fmla="*/ 151350 w 152245"/>
              <a:gd name="connsiteY5" fmla="*/ 39293 h 129856"/>
              <a:gd name="connsiteX6" fmla="*/ 77466 w 152245"/>
              <a:gd name="connsiteY6" fmla="*/ 336 h 129856"/>
              <a:gd name="connsiteX7" fmla="*/ 75228 w 152245"/>
              <a:gd name="connsiteY7" fmla="*/ 336 h 129856"/>
              <a:gd name="connsiteX8" fmla="*/ 1344 w 152245"/>
              <a:gd name="connsiteY8" fmla="*/ 39293 h 129856"/>
              <a:gd name="connsiteX9" fmla="*/ 0 w 152245"/>
              <a:gd name="connsiteY9" fmla="*/ 41084 h 129856"/>
              <a:gd name="connsiteX10" fmla="*/ 896 w 152245"/>
              <a:gd name="connsiteY10" fmla="*/ 42875 h 129856"/>
              <a:gd name="connsiteX11" fmla="*/ 26867 w 152245"/>
              <a:gd name="connsiteY11" fmla="*/ 58100 h 129856"/>
              <a:gd name="connsiteX12" fmla="*/ 26867 w 152245"/>
              <a:gd name="connsiteY12" fmla="*/ 84519 h 129856"/>
              <a:gd name="connsiteX13" fmla="*/ 28210 w 152245"/>
              <a:gd name="connsiteY13" fmla="*/ 86310 h 129856"/>
              <a:gd name="connsiteX14" fmla="*/ 73884 w 152245"/>
              <a:gd name="connsiteY14" fmla="*/ 111834 h 129856"/>
              <a:gd name="connsiteX15" fmla="*/ 74780 w 152245"/>
              <a:gd name="connsiteY15" fmla="*/ 112281 h 129856"/>
              <a:gd name="connsiteX16" fmla="*/ 76123 w 152245"/>
              <a:gd name="connsiteY16" fmla="*/ 111834 h 129856"/>
              <a:gd name="connsiteX17" fmla="*/ 107916 w 152245"/>
              <a:gd name="connsiteY17" fmla="*/ 93027 h 129856"/>
              <a:gd name="connsiteX18" fmla="*/ 107916 w 152245"/>
              <a:gd name="connsiteY18" fmla="*/ 115416 h 129856"/>
              <a:gd name="connsiteX19" fmla="*/ 95378 w 152245"/>
              <a:gd name="connsiteY19" fmla="*/ 127058 h 129856"/>
              <a:gd name="connsiteX20" fmla="*/ 94930 w 152245"/>
              <a:gd name="connsiteY20" fmla="*/ 129297 h 129856"/>
              <a:gd name="connsiteX21" fmla="*/ 97169 w 152245"/>
              <a:gd name="connsiteY21" fmla="*/ 130640 h 129856"/>
              <a:gd name="connsiteX22" fmla="*/ 124036 w 152245"/>
              <a:gd name="connsiteY22" fmla="*/ 130640 h 129856"/>
              <a:gd name="connsiteX23" fmla="*/ 126275 w 152245"/>
              <a:gd name="connsiteY23" fmla="*/ 129297 h 129856"/>
              <a:gd name="connsiteX24" fmla="*/ 125827 w 152245"/>
              <a:gd name="connsiteY24" fmla="*/ 126610 h 129856"/>
              <a:gd name="connsiteX25" fmla="*/ 112841 w 152245"/>
              <a:gd name="connsiteY25" fmla="*/ 114968 h 129856"/>
              <a:gd name="connsiteX26" fmla="*/ 112841 w 152245"/>
              <a:gd name="connsiteY26" fmla="*/ 89892 h 129856"/>
              <a:gd name="connsiteX27" fmla="*/ 124931 w 152245"/>
              <a:gd name="connsiteY27" fmla="*/ 83175 h 129856"/>
              <a:gd name="connsiteX28" fmla="*/ 118215 w 152245"/>
              <a:gd name="connsiteY28" fmla="*/ 126610 h 129856"/>
              <a:gd name="connsiteX29" fmla="*/ 102542 w 152245"/>
              <a:gd name="connsiteY29" fmla="*/ 126610 h 129856"/>
              <a:gd name="connsiteX30" fmla="*/ 110154 w 152245"/>
              <a:gd name="connsiteY30" fmla="*/ 119446 h 129856"/>
              <a:gd name="connsiteX31" fmla="*/ 118215 w 152245"/>
              <a:gd name="connsiteY31" fmla="*/ 126610 h 129856"/>
              <a:gd name="connsiteX32" fmla="*/ 121797 w 152245"/>
              <a:gd name="connsiteY32" fmla="*/ 80041 h 129856"/>
              <a:gd name="connsiteX33" fmla="*/ 112841 w 152245"/>
              <a:gd name="connsiteY33" fmla="*/ 85414 h 129856"/>
              <a:gd name="connsiteX34" fmla="*/ 112841 w 152245"/>
              <a:gd name="connsiteY34" fmla="*/ 69742 h 129856"/>
              <a:gd name="connsiteX35" fmla="*/ 111945 w 152245"/>
              <a:gd name="connsiteY35" fmla="*/ 67951 h 129856"/>
              <a:gd name="connsiteX36" fmla="*/ 111050 w 152245"/>
              <a:gd name="connsiteY36" fmla="*/ 67503 h 129856"/>
              <a:gd name="connsiteX37" fmla="*/ 121797 w 152245"/>
              <a:gd name="connsiteY37" fmla="*/ 61234 h 129856"/>
              <a:gd name="connsiteX38" fmla="*/ 121797 w 152245"/>
              <a:gd name="connsiteY38" fmla="*/ 80041 h 129856"/>
              <a:gd name="connsiteX39" fmla="*/ 77019 w 152245"/>
              <a:gd name="connsiteY39" fmla="*/ 4814 h 129856"/>
              <a:gd name="connsiteX40" fmla="*/ 146425 w 152245"/>
              <a:gd name="connsiteY40" fmla="*/ 41084 h 129856"/>
              <a:gd name="connsiteX41" fmla="*/ 106572 w 152245"/>
              <a:gd name="connsiteY41" fmla="*/ 64368 h 129856"/>
              <a:gd name="connsiteX42" fmla="*/ 78362 w 152245"/>
              <a:gd name="connsiteY42" fmla="*/ 46905 h 129856"/>
              <a:gd name="connsiteX43" fmla="*/ 75228 w 152245"/>
              <a:gd name="connsiteY43" fmla="*/ 47801 h 129856"/>
              <a:gd name="connsiteX44" fmla="*/ 76123 w 152245"/>
              <a:gd name="connsiteY44" fmla="*/ 50935 h 129856"/>
              <a:gd name="connsiteX45" fmla="*/ 102542 w 152245"/>
              <a:gd name="connsiteY45" fmla="*/ 67055 h 129856"/>
              <a:gd name="connsiteX46" fmla="*/ 77466 w 152245"/>
              <a:gd name="connsiteY46" fmla="*/ 81832 h 129856"/>
              <a:gd name="connsiteX47" fmla="*/ 8060 w 152245"/>
              <a:gd name="connsiteY47" fmla="*/ 41084 h 129856"/>
              <a:gd name="connsiteX48" fmla="*/ 77019 w 152245"/>
              <a:gd name="connsiteY48" fmla="*/ 4814 h 129856"/>
              <a:gd name="connsiteX49" fmla="*/ 75228 w 152245"/>
              <a:gd name="connsiteY49" fmla="*/ 107356 h 129856"/>
              <a:gd name="connsiteX50" fmla="*/ 31793 w 152245"/>
              <a:gd name="connsiteY50" fmla="*/ 83175 h 129856"/>
              <a:gd name="connsiteX51" fmla="*/ 31793 w 152245"/>
              <a:gd name="connsiteY51" fmla="*/ 60786 h 129856"/>
              <a:gd name="connsiteX52" fmla="*/ 75228 w 152245"/>
              <a:gd name="connsiteY52" fmla="*/ 86310 h 129856"/>
              <a:gd name="connsiteX53" fmla="*/ 76571 w 152245"/>
              <a:gd name="connsiteY53" fmla="*/ 86758 h 129856"/>
              <a:gd name="connsiteX54" fmla="*/ 77914 w 152245"/>
              <a:gd name="connsiteY54" fmla="*/ 86310 h 129856"/>
              <a:gd name="connsiteX55" fmla="*/ 106124 w 152245"/>
              <a:gd name="connsiteY55" fmla="*/ 69742 h 129856"/>
              <a:gd name="connsiteX56" fmla="*/ 107916 w 152245"/>
              <a:gd name="connsiteY56" fmla="*/ 70638 h 129856"/>
              <a:gd name="connsiteX57" fmla="*/ 107916 w 152245"/>
              <a:gd name="connsiteY57" fmla="*/ 87653 h 129856"/>
              <a:gd name="connsiteX58" fmla="*/ 75228 w 152245"/>
              <a:gd name="connsiteY58" fmla="*/ 10735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2245" h="129856">
                <a:moveTo>
                  <a:pt x="124931" y="83175"/>
                </a:moveTo>
                <a:cubicBezTo>
                  <a:pt x="125827" y="82728"/>
                  <a:pt x="125827" y="81832"/>
                  <a:pt x="125827" y="81384"/>
                </a:cubicBezTo>
                <a:lnTo>
                  <a:pt x="125827" y="58100"/>
                </a:lnTo>
                <a:lnTo>
                  <a:pt x="151798" y="42875"/>
                </a:lnTo>
                <a:cubicBezTo>
                  <a:pt x="152694" y="42427"/>
                  <a:pt x="153141" y="41532"/>
                  <a:pt x="152694" y="41084"/>
                </a:cubicBezTo>
                <a:cubicBezTo>
                  <a:pt x="152694" y="40188"/>
                  <a:pt x="152246" y="39740"/>
                  <a:pt x="151350" y="39293"/>
                </a:cubicBezTo>
                <a:lnTo>
                  <a:pt x="77466" y="336"/>
                </a:lnTo>
                <a:cubicBezTo>
                  <a:pt x="77019" y="-112"/>
                  <a:pt x="76123" y="-112"/>
                  <a:pt x="75228" y="336"/>
                </a:cubicBezTo>
                <a:lnTo>
                  <a:pt x="1344" y="39293"/>
                </a:lnTo>
                <a:cubicBezTo>
                  <a:pt x="448" y="39740"/>
                  <a:pt x="0" y="40188"/>
                  <a:pt x="0" y="41084"/>
                </a:cubicBezTo>
                <a:cubicBezTo>
                  <a:pt x="0" y="41979"/>
                  <a:pt x="448" y="42875"/>
                  <a:pt x="896" y="42875"/>
                </a:cubicBezTo>
                <a:lnTo>
                  <a:pt x="26867" y="58100"/>
                </a:lnTo>
                <a:lnTo>
                  <a:pt x="26867" y="84519"/>
                </a:lnTo>
                <a:cubicBezTo>
                  <a:pt x="26867" y="85414"/>
                  <a:pt x="27315" y="85862"/>
                  <a:pt x="28210" y="86310"/>
                </a:cubicBezTo>
                <a:lnTo>
                  <a:pt x="73884" y="111834"/>
                </a:lnTo>
                <a:cubicBezTo>
                  <a:pt x="74332" y="111834"/>
                  <a:pt x="74780" y="112281"/>
                  <a:pt x="74780" y="112281"/>
                </a:cubicBezTo>
                <a:cubicBezTo>
                  <a:pt x="75228" y="112281"/>
                  <a:pt x="75675" y="112281"/>
                  <a:pt x="76123" y="111834"/>
                </a:cubicBezTo>
                <a:lnTo>
                  <a:pt x="107916" y="93027"/>
                </a:lnTo>
                <a:lnTo>
                  <a:pt x="107916" y="115416"/>
                </a:lnTo>
                <a:lnTo>
                  <a:pt x="95378" y="127058"/>
                </a:lnTo>
                <a:cubicBezTo>
                  <a:pt x="94930" y="127506"/>
                  <a:pt x="94482" y="128849"/>
                  <a:pt x="94930" y="129297"/>
                </a:cubicBezTo>
                <a:cubicBezTo>
                  <a:pt x="95378" y="130192"/>
                  <a:pt x="96273" y="130640"/>
                  <a:pt x="97169" y="130640"/>
                </a:cubicBezTo>
                <a:lnTo>
                  <a:pt x="124036" y="130640"/>
                </a:lnTo>
                <a:cubicBezTo>
                  <a:pt x="124931" y="130640"/>
                  <a:pt x="125827" y="130192"/>
                  <a:pt x="126275" y="129297"/>
                </a:cubicBezTo>
                <a:cubicBezTo>
                  <a:pt x="126722" y="128401"/>
                  <a:pt x="126275" y="127506"/>
                  <a:pt x="125827" y="126610"/>
                </a:cubicBezTo>
                <a:lnTo>
                  <a:pt x="112841" y="114968"/>
                </a:lnTo>
                <a:lnTo>
                  <a:pt x="112841" y="89892"/>
                </a:lnTo>
                <a:lnTo>
                  <a:pt x="124931" y="83175"/>
                </a:lnTo>
                <a:close/>
                <a:moveTo>
                  <a:pt x="118215" y="126610"/>
                </a:moveTo>
                <a:lnTo>
                  <a:pt x="102542" y="126610"/>
                </a:lnTo>
                <a:lnTo>
                  <a:pt x="110154" y="119446"/>
                </a:lnTo>
                <a:lnTo>
                  <a:pt x="118215" y="126610"/>
                </a:lnTo>
                <a:close/>
                <a:moveTo>
                  <a:pt x="121797" y="80041"/>
                </a:moveTo>
                <a:lnTo>
                  <a:pt x="112841" y="85414"/>
                </a:lnTo>
                <a:lnTo>
                  <a:pt x="112841" y="69742"/>
                </a:lnTo>
                <a:cubicBezTo>
                  <a:pt x="112841" y="68846"/>
                  <a:pt x="112393" y="68399"/>
                  <a:pt x="111945" y="67951"/>
                </a:cubicBezTo>
                <a:lnTo>
                  <a:pt x="111050" y="67503"/>
                </a:lnTo>
                <a:lnTo>
                  <a:pt x="121797" y="61234"/>
                </a:lnTo>
                <a:lnTo>
                  <a:pt x="121797" y="80041"/>
                </a:lnTo>
                <a:close/>
                <a:moveTo>
                  <a:pt x="77019" y="4814"/>
                </a:moveTo>
                <a:lnTo>
                  <a:pt x="146425" y="41084"/>
                </a:lnTo>
                <a:lnTo>
                  <a:pt x="106572" y="64368"/>
                </a:lnTo>
                <a:lnTo>
                  <a:pt x="78362" y="46905"/>
                </a:lnTo>
                <a:cubicBezTo>
                  <a:pt x="77466" y="46457"/>
                  <a:pt x="76123" y="46457"/>
                  <a:pt x="75228" y="47801"/>
                </a:cubicBezTo>
                <a:cubicBezTo>
                  <a:pt x="74780" y="48696"/>
                  <a:pt x="74780" y="50040"/>
                  <a:pt x="76123" y="50935"/>
                </a:cubicBezTo>
                <a:lnTo>
                  <a:pt x="102542" y="67055"/>
                </a:lnTo>
                <a:lnTo>
                  <a:pt x="77466" y="81832"/>
                </a:lnTo>
                <a:lnTo>
                  <a:pt x="8060" y="41084"/>
                </a:lnTo>
                <a:lnTo>
                  <a:pt x="77019" y="4814"/>
                </a:lnTo>
                <a:close/>
                <a:moveTo>
                  <a:pt x="75228" y="107356"/>
                </a:moveTo>
                <a:lnTo>
                  <a:pt x="31793" y="83175"/>
                </a:lnTo>
                <a:lnTo>
                  <a:pt x="31793" y="60786"/>
                </a:lnTo>
                <a:lnTo>
                  <a:pt x="75228" y="86310"/>
                </a:lnTo>
                <a:cubicBezTo>
                  <a:pt x="75675" y="86310"/>
                  <a:pt x="76123" y="86758"/>
                  <a:pt x="76571" y="86758"/>
                </a:cubicBezTo>
                <a:cubicBezTo>
                  <a:pt x="77019" y="86758"/>
                  <a:pt x="77466" y="86758"/>
                  <a:pt x="77914" y="86310"/>
                </a:cubicBezTo>
                <a:lnTo>
                  <a:pt x="106124" y="69742"/>
                </a:lnTo>
                <a:lnTo>
                  <a:pt x="107916" y="70638"/>
                </a:lnTo>
                <a:lnTo>
                  <a:pt x="107916" y="87653"/>
                </a:lnTo>
                <a:lnTo>
                  <a:pt x="75228" y="107356"/>
                </a:lnTo>
                <a:close/>
              </a:path>
            </a:pathLst>
          </a:custGeom>
          <a:solidFill>
            <a:srgbClr val="231F20"/>
          </a:solidFill>
          <a:ln w="4474" cap="flat">
            <a:noFill/>
            <a:prstDash val="solid"/>
            <a:miter/>
          </a:ln>
        </p:spPr>
        <p:txBody>
          <a:bodyPr rtlCol="0" anchor="ctr"/>
          <a:lstStyle/>
          <a:p>
            <a:endParaRPr lang="en-US"/>
          </a:p>
        </p:txBody>
      </p:sp>
      <p:grpSp>
        <p:nvGrpSpPr>
          <p:cNvPr id="4462" name="Group 4461">
            <a:extLst>
              <a:ext uri="{FF2B5EF4-FFF2-40B4-BE49-F238E27FC236}">
                <a16:creationId xmlns:a16="http://schemas.microsoft.com/office/drawing/2014/main" id="{B7A89CBE-90B7-406F-98A7-1A4FB4607981}"/>
              </a:ext>
              <a:ext uri="{C183D7F6-B498-43B3-948B-1728B52AA6E4}">
                <adec:decorative xmlns:adec="http://schemas.microsoft.com/office/drawing/2017/decorative" val="1"/>
              </a:ext>
            </a:extLst>
          </p:cNvPr>
          <p:cNvGrpSpPr>
            <a:grpSpLocks noChangeAspect="1"/>
          </p:cNvGrpSpPr>
          <p:nvPr/>
        </p:nvGrpSpPr>
        <p:grpSpPr>
          <a:xfrm>
            <a:off x="2909248" y="4587121"/>
            <a:ext cx="148164" cy="116423"/>
            <a:chOff x="2950002" y="3851682"/>
            <a:chExt cx="148164" cy="116423"/>
          </a:xfrm>
        </p:grpSpPr>
        <p:sp>
          <p:nvSpPr>
            <p:cNvPr id="4463" name="Freeform: Shape 4462">
              <a:extLst>
                <a:ext uri="{FF2B5EF4-FFF2-40B4-BE49-F238E27FC236}">
                  <a16:creationId xmlns:a16="http://schemas.microsoft.com/office/drawing/2014/main" id="{4B2FE4CE-60A2-4519-BBF9-7FA423C85ADC}"/>
                </a:ext>
              </a:extLst>
            </p:cNvPr>
            <p:cNvSpPr/>
            <p:nvPr/>
          </p:nvSpPr>
          <p:spPr>
            <a:xfrm>
              <a:off x="2950002" y="3851682"/>
              <a:ext cx="129857" cy="116423"/>
            </a:xfrm>
            <a:custGeom>
              <a:avLst/>
              <a:gdLst>
                <a:gd name="connsiteX0" fmla="*/ 130253 w 129856"/>
                <a:gd name="connsiteY0" fmla="*/ 17238 h 116423"/>
                <a:gd name="connsiteX1" fmla="*/ 127119 w 129856"/>
                <a:gd name="connsiteY1" fmla="*/ 15894 h 116423"/>
                <a:gd name="connsiteX2" fmla="*/ 119954 w 129856"/>
                <a:gd name="connsiteY2" fmla="*/ 11417 h 116423"/>
                <a:gd name="connsiteX3" fmla="*/ 113685 w 129856"/>
                <a:gd name="connsiteY3" fmla="*/ 2461 h 116423"/>
                <a:gd name="connsiteX4" fmla="*/ 106073 w 129856"/>
                <a:gd name="connsiteY4" fmla="*/ 222 h 116423"/>
                <a:gd name="connsiteX5" fmla="*/ 98908 w 129856"/>
                <a:gd name="connsiteY5" fmla="*/ 7834 h 116423"/>
                <a:gd name="connsiteX6" fmla="*/ 98908 w 129856"/>
                <a:gd name="connsiteY6" fmla="*/ 8282 h 116423"/>
                <a:gd name="connsiteX7" fmla="*/ 89953 w 129856"/>
                <a:gd name="connsiteY7" fmla="*/ 670 h 116423"/>
                <a:gd name="connsiteX8" fmla="*/ 86818 w 129856"/>
                <a:gd name="connsiteY8" fmla="*/ 1118 h 116423"/>
                <a:gd name="connsiteX9" fmla="*/ 78311 w 129856"/>
                <a:gd name="connsiteY9" fmla="*/ 11417 h 116423"/>
                <a:gd name="connsiteX10" fmla="*/ 12934 w 129856"/>
                <a:gd name="connsiteY10" fmla="*/ 27089 h 116423"/>
                <a:gd name="connsiteX11" fmla="*/ 20099 w 129856"/>
                <a:gd name="connsiteY11" fmla="*/ 105898 h 116423"/>
                <a:gd name="connsiteX12" fmla="*/ 55921 w 129856"/>
                <a:gd name="connsiteY12" fmla="*/ 118884 h 116423"/>
                <a:gd name="connsiteX13" fmla="*/ 98908 w 129856"/>
                <a:gd name="connsiteY13" fmla="*/ 98734 h 116423"/>
                <a:gd name="connsiteX14" fmla="*/ 102043 w 129856"/>
                <a:gd name="connsiteY14" fmla="*/ 31567 h 116423"/>
                <a:gd name="connsiteX15" fmla="*/ 110551 w 129856"/>
                <a:gd name="connsiteY15" fmla="*/ 21268 h 116423"/>
                <a:gd name="connsiteX16" fmla="*/ 110999 w 129856"/>
                <a:gd name="connsiteY16" fmla="*/ 19477 h 116423"/>
                <a:gd name="connsiteX17" fmla="*/ 110103 w 129856"/>
                <a:gd name="connsiteY17" fmla="*/ 18133 h 116423"/>
                <a:gd name="connsiteX18" fmla="*/ 101147 w 129856"/>
                <a:gd name="connsiteY18" fmla="*/ 10521 h 116423"/>
                <a:gd name="connsiteX19" fmla="*/ 102491 w 129856"/>
                <a:gd name="connsiteY19" fmla="*/ 9178 h 116423"/>
                <a:gd name="connsiteX20" fmla="*/ 106521 w 129856"/>
                <a:gd name="connsiteY20" fmla="*/ 4252 h 116423"/>
                <a:gd name="connsiteX21" fmla="*/ 110103 w 129856"/>
                <a:gd name="connsiteY21" fmla="*/ 5596 h 116423"/>
                <a:gd name="connsiteX22" fmla="*/ 115476 w 129856"/>
                <a:gd name="connsiteY22" fmla="*/ 13208 h 116423"/>
                <a:gd name="connsiteX23" fmla="*/ 123984 w 129856"/>
                <a:gd name="connsiteY23" fmla="*/ 20820 h 116423"/>
                <a:gd name="connsiteX24" fmla="*/ 128014 w 129856"/>
                <a:gd name="connsiteY24" fmla="*/ 19924 h 116423"/>
                <a:gd name="connsiteX25" fmla="*/ 130253 w 129856"/>
                <a:gd name="connsiteY25" fmla="*/ 17238 h 116423"/>
                <a:gd name="connsiteX26" fmla="*/ 95774 w 129856"/>
                <a:gd name="connsiteY26" fmla="*/ 96047 h 116423"/>
                <a:gd name="connsiteX27" fmla="*/ 23233 w 129856"/>
                <a:gd name="connsiteY27" fmla="*/ 102764 h 116423"/>
                <a:gd name="connsiteX28" fmla="*/ 16516 w 129856"/>
                <a:gd name="connsiteY28" fmla="*/ 30224 h 116423"/>
                <a:gd name="connsiteX29" fmla="*/ 56369 w 129856"/>
                <a:gd name="connsiteY29" fmla="*/ 11864 h 116423"/>
                <a:gd name="connsiteX30" fmla="*/ 89057 w 129856"/>
                <a:gd name="connsiteY30" fmla="*/ 23507 h 116423"/>
                <a:gd name="connsiteX31" fmla="*/ 95774 w 129856"/>
                <a:gd name="connsiteY31" fmla="*/ 96047 h 116423"/>
                <a:gd name="connsiteX32" fmla="*/ 99804 w 129856"/>
                <a:gd name="connsiteY32" fmla="*/ 27985 h 116423"/>
                <a:gd name="connsiteX33" fmla="*/ 91744 w 129856"/>
                <a:gd name="connsiteY33" fmla="*/ 19924 h 116423"/>
                <a:gd name="connsiteX34" fmla="*/ 82340 w 129856"/>
                <a:gd name="connsiteY34" fmla="*/ 13656 h 116423"/>
                <a:gd name="connsiteX35" fmla="*/ 88609 w 129856"/>
                <a:gd name="connsiteY35" fmla="*/ 6043 h 116423"/>
                <a:gd name="connsiteX36" fmla="*/ 105625 w 129856"/>
                <a:gd name="connsiteY36" fmla="*/ 20372 h 116423"/>
                <a:gd name="connsiteX37" fmla="*/ 99804 w 129856"/>
                <a:gd name="connsiteY37" fmla="*/ 27985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9856" h="116423">
                  <a:moveTo>
                    <a:pt x="130253" y="17238"/>
                  </a:moveTo>
                  <a:cubicBezTo>
                    <a:pt x="129805" y="15894"/>
                    <a:pt x="128462" y="15447"/>
                    <a:pt x="127119" y="15894"/>
                  </a:cubicBezTo>
                  <a:cubicBezTo>
                    <a:pt x="123536" y="17238"/>
                    <a:pt x="122641" y="16342"/>
                    <a:pt x="119954" y="11417"/>
                  </a:cubicBezTo>
                  <a:cubicBezTo>
                    <a:pt x="118611" y="8730"/>
                    <a:pt x="116820" y="5148"/>
                    <a:pt x="113685" y="2461"/>
                  </a:cubicBezTo>
                  <a:cubicBezTo>
                    <a:pt x="110551" y="-226"/>
                    <a:pt x="107864" y="-226"/>
                    <a:pt x="106073" y="222"/>
                  </a:cubicBezTo>
                  <a:cubicBezTo>
                    <a:pt x="101595" y="1565"/>
                    <a:pt x="99356" y="7386"/>
                    <a:pt x="98908" y="7834"/>
                  </a:cubicBezTo>
                  <a:cubicBezTo>
                    <a:pt x="98908" y="7834"/>
                    <a:pt x="98908" y="8282"/>
                    <a:pt x="98908" y="8282"/>
                  </a:cubicBezTo>
                  <a:lnTo>
                    <a:pt x="89953" y="670"/>
                  </a:lnTo>
                  <a:cubicBezTo>
                    <a:pt x="89057" y="-226"/>
                    <a:pt x="87714" y="222"/>
                    <a:pt x="86818" y="1118"/>
                  </a:cubicBezTo>
                  <a:lnTo>
                    <a:pt x="78311" y="11417"/>
                  </a:lnTo>
                  <a:cubicBezTo>
                    <a:pt x="55921" y="2013"/>
                    <a:pt x="29055" y="7386"/>
                    <a:pt x="12934" y="27089"/>
                  </a:cubicBezTo>
                  <a:cubicBezTo>
                    <a:pt x="-6768" y="50821"/>
                    <a:pt x="-3634" y="86196"/>
                    <a:pt x="20099" y="105898"/>
                  </a:cubicBezTo>
                  <a:cubicBezTo>
                    <a:pt x="30398" y="114406"/>
                    <a:pt x="43383" y="118884"/>
                    <a:pt x="55921" y="118884"/>
                  </a:cubicBezTo>
                  <a:cubicBezTo>
                    <a:pt x="72041" y="118884"/>
                    <a:pt x="88162" y="112168"/>
                    <a:pt x="98908" y="98734"/>
                  </a:cubicBezTo>
                  <a:cubicBezTo>
                    <a:pt x="115028" y="79032"/>
                    <a:pt x="115924" y="51717"/>
                    <a:pt x="102043" y="31567"/>
                  </a:cubicBezTo>
                  <a:lnTo>
                    <a:pt x="110551" y="21268"/>
                  </a:lnTo>
                  <a:cubicBezTo>
                    <a:pt x="110999" y="20820"/>
                    <a:pt x="110999" y="20372"/>
                    <a:pt x="110999" y="19477"/>
                  </a:cubicBezTo>
                  <a:cubicBezTo>
                    <a:pt x="110999" y="19029"/>
                    <a:pt x="110551" y="18133"/>
                    <a:pt x="110103" y="18133"/>
                  </a:cubicBezTo>
                  <a:lnTo>
                    <a:pt x="101147" y="10521"/>
                  </a:lnTo>
                  <a:cubicBezTo>
                    <a:pt x="102043" y="10521"/>
                    <a:pt x="102491" y="10073"/>
                    <a:pt x="102491" y="9178"/>
                  </a:cubicBezTo>
                  <a:cubicBezTo>
                    <a:pt x="102939" y="8282"/>
                    <a:pt x="104282" y="4700"/>
                    <a:pt x="106521" y="4252"/>
                  </a:cubicBezTo>
                  <a:cubicBezTo>
                    <a:pt x="107416" y="3804"/>
                    <a:pt x="108760" y="4252"/>
                    <a:pt x="110103" y="5596"/>
                  </a:cubicBezTo>
                  <a:cubicBezTo>
                    <a:pt x="112790" y="7834"/>
                    <a:pt x="114133" y="10521"/>
                    <a:pt x="115476" y="13208"/>
                  </a:cubicBezTo>
                  <a:cubicBezTo>
                    <a:pt x="117267" y="16790"/>
                    <a:pt x="119506" y="20820"/>
                    <a:pt x="123984" y="20820"/>
                  </a:cubicBezTo>
                  <a:cubicBezTo>
                    <a:pt x="125328" y="20820"/>
                    <a:pt x="126671" y="20372"/>
                    <a:pt x="128014" y="19924"/>
                  </a:cubicBezTo>
                  <a:cubicBezTo>
                    <a:pt x="130253" y="19924"/>
                    <a:pt x="131149" y="18581"/>
                    <a:pt x="130253" y="17238"/>
                  </a:cubicBezTo>
                  <a:close/>
                  <a:moveTo>
                    <a:pt x="95774" y="96047"/>
                  </a:moveTo>
                  <a:cubicBezTo>
                    <a:pt x="77863" y="117989"/>
                    <a:pt x="45175" y="121123"/>
                    <a:pt x="23233" y="102764"/>
                  </a:cubicBezTo>
                  <a:cubicBezTo>
                    <a:pt x="1292" y="84405"/>
                    <a:pt x="-1843" y="52165"/>
                    <a:pt x="16516" y="30224"/>
                  </a:cubicBezTo>
                  <a:cubicBezTo>
                    <a:pt x="26816" y="18133"/>
                    <a:pt x="41592" y="11864"/>
                    <a:pt x="56369" y="11864"/>
                  </a:cubicBezTo>
                  <a:cubicBezTo>
                    <a:pt x="68011" y="11864"/>
                    <a:pt x="79654" y="15894"/>
                    <a:pt x="89057" y="23507"/>
                  </a:cubicBezTo>
                  <a:cubicBezTo>
                    <a:pt x="110999" y="41418"/>
                    <a:pt x="113685" y="74106"/>
                    <a:pt x="95774" y="96047"/>
                  </a:cubicBezTo>
                  <a:close/>
                  <a:moveTo>
                    <a:pt x="99804" y="27985"/>
                  </a:moveTo>
                  <a:cubicBezTo>
                    <a:pt x="97565" y="25298"/>
                    <a:pt x="94878" y="22611"/>
                    <a:pt x="91744" y="19924"/>
                  </a:cubicBezTo>
                  <a:cubicBezTo>
                    <a:pt x="88609" y="17685"/>
                    <a:pt x="85475" y="15447"/>
                    <a:pt x="82340" y="13656"/>
                  </a:cubicBezTo>
                  <a:lnTo>
                    <a:pt x="88609" y="6043"/>
                  </a:lnTo>
                  <a:lnTo>
                    <a:pt x="105625" y="20372"/>
                  </a:lnTo>
                  <a:lnTo>
                    <a:pt x="99804" y="27985"/>
                  </a:lnTo>
                  <a:close/>
                </a:path>
              </a:pathLst>
            </a:custGeom>
            <a:solidFill>
              <a:srgbClr val="231F20"/>
            </a:solidFill>
            <a:ln w="4474" cap="flat">
              <a:noFill/>
              <a:prstDash val="solid"/>
              <a:miter/>
            </a:ln>
          </p:spPr>
          <p:txBody>
            <a:bodyPr rtlCol="0" anchor="ctr"/>
            <a:lstStyle/>
            <a:p>
              <a:endParaRPr lang="en-US"/>
            </a:p>
          </p:txBody>
        </p:sp>
        <p:sp>
          <p:nvSpPr>
            <p:cNvPr id="4464" name="Freeform: Shape 4463">
              <a:extLst>
                <a:ext uri="{FF2B5EF4-FFF2-40B4-BE49-F238E27FC236}">
                  <a16:creationId xmlns:a16="http://schemas.microsoft.com/office/drawing/2014/main" id="{5AA7E33C-11CD-4761-B042-804D0908E765}"/>
                </a:ext>
              </a:extLst>
            </p:cNvPr>
            <p:cNvSpPr/>
            <p:nvPr/>
          </p:nvSpPr>
          <p:spPr>
            <a:xfrm>
              <a:off x="3084733" y="3865785"/>
              <a:ext cx="13433" cy="4478"/>
            </a:xfrm>
            <a:custGeom>
              <a:avLst/>
              <a:gdLst>
                <a:gd name="connsiteX0" fmla="*/ 2239 w 13433"/>
                <a:gd name="connsiteY0" fmla="*/ 6269 h 4477"/>
                <a:gd name="connsiteX1" fmla="*/ 0 w 13433"/>
                <a:gd name="connsiteY1" fmla="*/ 4478 h 4477"/>
                <a:gd name="connsiteX2" fmla="*/ 1791 w 13433"/>
                <a:gd name="connsiteY2" fmla="*/ 1791 h 4477"/>
                <a:gd name="connsiteX3" fmla="*/ 12090 w 13433"/>
                <a:gd name="connsiteY3" fmla="*/ 0 h 4477"/>
                <a:gd name="connsiteX4" fmla="*/ 14777 w 13433"/>
                <a:gd name="connsiteY4" fmla="*/ 1791 h 4477"/>
                <a:gd name="connsiteX5" fmla="*/ 12986 w 13433"/>
                <a:gd name="connsiteY5" fmla="*/ 4478 h 4477"/>
                <a:gd name="connsiteX6" fmla="*/ 2239 w 13433"/>
                <a:gd name="connsiteY6" fmla="*/ 6269 h 4477"/>
                <a:gd name="connsiteX7" fmla="*/ 2239 w 13433"/>
                <a:gd name="connsiteY7" fmla="*/ 6269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4477">
                  <a:moveTo>
                    <a:pt x="2239" y="6269"/>
                  </a:moveTo>
                  <a:cubicBezTo>
                    <a:pt x="1343" y="6269"/>
                    <a:pt x="0" y="5373"/>
                    <a:pt x="0" y="4478"/>
                  </a:cubicBezTo>
                  <a:cubicBezTo>
                    <a:pt x="0" y="3135"/>
                    <a:pt x="448" y="2239"/>
                    <a:pt x="1791" y="1791"/>
                  </a:cubicBezTo>
                  <a:lnTo>
                    <a:pt x="12090" y="0"/>
                  </a:lnTo>
                  <a:cubicBezTo>
                    <a:pt x="13433" y="0"/>
                    <a:pt x="14329" y="448"/>
                    <a:pt x="14777" y="1791"/>
                  </a:cubicBezTo>
                  <a:cubicBezTo>
                    <a:pt x="14777" y="3135"/>
                    <a:pt x="14329" y="4030"/>
                    <a:pt x="12986" y="4478"/>
                  </a:cubicBezTo>
                  <a:lnTo>
                    <a:pt x="2239" y="6269"/>
                  </a:lnTo>
                  <a:cubicBezTo>
                    <a:pt x="2687" y="6269"/>
                    <a:pt x="2687" y="6269"/>
                    <a:pt x="2239" y="6269"/>
                  </a:cubicBezTo>
                  <a:close/>
                </a:path>
              </a:pathLst>
            </a:custGeom>
            <a:solidFill>
              <a:srgbClr val="231F20"/>
            </a:solidFill>
            <a:ln w="4474" cap="flat">
              <a:noFill/>
              <a:prstDash val="solid"/>
              <a:miter/>
            </a:ln>
          </p:spPr>
          <p:txBody>
            <a:bodyPr rtlCol="0" anchor="ctr"/>
            <a:lstStyle/>
            <a:p>
              <a:endParaRPr lang="en-US"/>
            </a:p>
          </p:txBody>
        </p:sp>
        <p:sp>
          <p:nvSpPr>
            <p:cNvPr id="4465" name="Freeform: Shape 4464">
              <a:extLst>
                <a:ext uri="{FF2B5EF4-FFF2-40B4-BE49-F238E27FC236}">
                  <a16:creationId xmlns:a16="http://schemas.microsoft.com/office/drawing/2014/main" id="{820C1408-C8AC-4972-961E-4DEB759F2BAC}"/>
                </a:ext>
              </a:extLst>
            </p:cNvPr>
            <p:cNvSpPr/>
            <p:nvPr/>
          </p:nvSpPr>
          <p:spPr>
            <a:xfrm>
              <a:off x="3078796" y="3875968"/>
              <a:ext cx="4478" cy="8956"/>
            </a:xfrm>
            <a:custGeom>
              <a:avLst/>
              <a:gdLst>
                <a:gd name="connsiteX0" fmla="*/ 4146 w 4477"/>
                <a:gd name="connsiteY0" fmla="*/ 12207 h 8955"/>
                <a:gd name="connsiteX1" fmla="*/ 1908 w 4477"/>
                <a:gd name="connsiteY1" fmla="*/ 10416 h 8955"/>
                <a:gd name="connsiteX2" fmla="*/ 117 w 4477"/>
                <a:gd name="connsiteY2" fmla="*/ 2803 h 8955"/>
                <a:gd name="connsiteX3" fmla="*/ 1908 w 4477"/>
                <a:gd name="connsiteY3" fmla="*/ 116 h 8955"/>
                <a:gd name="connsiteX4" fmla="*/ 4594 w 4477"/>
                <a:gd name="connsiteY4" fmla="*/ 1908 h 8955"/>
                <a:gd name="connsiteX5" fmla="*/ 6385 w 4477"/>
                <a:gd name="connsiteY5" fmla="*/ 9520 h 8955"/>
                <a:gd name="connsiteX6" fmla="*/ 4594 w 4477"/>
                <a:gd name="connsiteY6" fmla="*/ 12207 h 8955"/>
                <a:gd name="connsiteX7" fmla="*/ 4146 w 4477"/>
                <a:gd name="connsiteY7" fmla="*/ 12207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4146" y="12207"/>
                  </a:moveTo>
                  <a:cubicBezTo>
                    <a:pt x="3251" y="12207"/>
                    <a:pt x="2355" y="11311"/>
                    <a:pt x="1908" y="10416"/>
                  </a:cubicBezTo>
                  <a:lnTo>
                    <a:pt x="117" y="2803"/>
                  </a:lnTo>
                  <a:cubicBezTo>
                    <a:pt x="-331" y="1460"/>
                    <a:pt x="564" y="564"/>
                    <a:pt x="1908" y="116"/>
                  </a:cubicBezTo>
                  <a:cubicBezTo>
                    <a:pt x="3251" y="-331"/>
                    <a:pt x="4146" y="564"/>
                    <a:pt x="4594" y="1908"/>
                  </a:cubicBezTo>
                  <a:lnTo>
                    <a:pt x="6385" y="9520"/>
                  </a:lnTo>
                  <a:cubicBezTo>
                    <a:pt x="6833" y="10863"/>
                    <a:pt x="5938" y="11759"/>
                    <a:pt x="4594" y="12207"/>
                  </a:cubicBezTo>
                  <a:cubicBezTo>
                    <a:pt x="4594" y="12207"/>
                    <a:pt x="4594" y="12207"/>
                    <a:pt x="4146" y="12207"/>
                  </a:cubicBezTo>
                  <a:close/>
                </a:path>
              </a:pathLst>
            </a:custGeom>
            <a:solidFill>
              <a:srgbClr val="231F20"/>
            </a:solidFill>
            <a:ln w="4474" cap="flat">
              <a:noFill/>
              <a:prstDash val="solid"/>
              <a:miter/>
            </a:ln>
          </p:spPr>
          <p:txBody>
            <a:bodyPr rtlCol="0" anchor="ctr"/>
            <a:lstStyle/>
            <a:p>
              <a:endParaRPr lang="en-US"/>
            </a:p>
          </p:txBody>
        </p:sp>
        <p:sp>
          <p:nvSpPr>
            <p:cNvPr id="4466" name="Freeform: Shape 4465">
              <a:extLst>
                <a:ext uri="{FF2B5EF4-FFF2-40B4-BE49-F238E27FC236}">
                  <a16:creationId xmlns:a16="http://schemas.microsoft.com/office/drawing/2014/main" id="{C1836EC6-11A2-4732-9373-A571B4556B93}"/>
                </a:ext>
              </a:extLst>
            </p:cNvPr>
            <p:cNvSpPr/>
            <p:nvPr/>
          </p:nvSpPr>
          <p:spPr>
            <a:xfrm>
              <a:off x="3074318" y="3851788"/>
              <a:ext cx="4478" cy="8956"/>
            </a:xfrm>
            <a:custGeom>
              <a:avLst/>
              <a:gdLst>
                <a:gd name="connsiteX0" fmla="*/ 4146 w 4477"/>
                <a:gd name="connsiteY0" fmla="*/ 12207 h 8955"/>
                <a:gd name="connsiteX1" fmla="*/ 1908 w 4477"/>
                <a:gd name="connsiteY1" fmla="*/ 10415 h 8955"/>
                <a:gd name="connsiteX2" fmla="*/ 117 w 4477"/>
                <a:gd name="connsiteY2" fmla="*/ 2803 h 8955"/>
                <a:gd name="connsiteX3" fmla="*/ 1908 w 4477"/>
                <a:gd name="connsiteY3" fmla="*/ 117 h 8955"/>
                <a:gd name="connsiteX4" fmla="*/ 4594 w 4477"/>
                <a:gd name="connsiteY4" fmla="*/ 1908 h 8955"/>
                <a:gd name="connsiteX5" fmla="*/ 6385 w 4477"/>
                <a:gd name="connsiteY5" fmla="*/ 9520 h 8955"/>
                <a:gd name="connsiteX6" fmla="*/ 4594 w 4477"/>
                <a:gd name="connsiteY6" fmla="*/ 12207 h 8955"/>
                <a:gd name="connsiteX7" fmla="*/ 4146 w 4477"/>
                <a:gd name="connsiteY7" fmla="*/ 12207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8955">
                  <a:moveTo>
                    <a:pt x="4146" y="12207"/>
                  </a:moveTo>
                  <a:cubicBezTo>
                    <a:pt x="3251" y="12207"/>
                    <a:pt x="2355" y="11311"/>
                    <a:pt x="1908" y="10415"/>
                  </a:cubicBezTo>
                  <a:lnTo>
                    <a:pt x="117" y="2803"/>
                  </a:lnTo>
                  <a:cubicBezTo>
                    <a:pt x="-331" y="1460"/>
                    <a:pt x="564" y="564"/>
                    <a:pt x="1908" y="117"/>
                  </a:cubicBezTo>
                  <a:cubicBezTo>
                    <a:pt x="3251" y="-331"/>
                    <a:pt x="4146" y="564"/>
                    <a:pt x="4594" y="1908"/>
                  </a:cubicBezTo>
                  <a:lnTo>
                    <a:pt x="6385" y="9520"/>
                  </a:lnTo>
                  <a:cubicBezTo>
                    <a:pt x="6833" y="10863"/>
                    <a:pt x="5938" y="11759"/>
                    <a:pt x="4594" y="12207"/>
                  </a:cubicBezTo>
                  <a:cubicBezTo>
                    <a:pt x="4594" y="12207"/>
                    <a:pt x="4594" y="12207"/>
                    <a:pt x="4146" y="12207"/>
                  </a:cubicBezTo>
                  <a:close/>
                </a:path>
              </a:pathLst>
            </a:custGeom>
            <a:solidFill>
              <a:srgbClr val="231F20"/>
            </a:solidFill>
            <a:ln w="4474" cap="flat">
              <a:noFill/>
              <a:prstDash val="solid"/>
              <a:miter/>
            </a:ln>
          </p:spPr>
          <p:txBody>
            <a:bodyPr rtlCol="0" anchor="ctr"/>
            <a:lstStyle/>
            <a:p>
              <a:endParaRPr lang="en-US"/>
            </a:p>
          </p:txBody>
        </p:sp>
      </p:grpSp>
      <p:grpSp>
        <p:nvGrpSpPr>
          <p:cNvPr id="4467" name="Group 4466">
            <a:extLst>
              <a:ext uri="{FF2B5EF4-FFF2-40B4-BE49-F238E27FC236}">
                <a16:creationId xmlns:a16="http://schemas.microsoft.com/office/drawing/2014/main" id="{6DE5AD15-8628-46F0-978D-0AA0195524C9}"/>
              </a:ext>
              <a:ext uri="{C183D7F6-B498-43B3-948B-1728B52AA6E4}">
                <adec:decorative xmlns:adec="http://schemas.microsoft.com/office/drawing/2017/decorative" val="1"/>
              </a:ext>
            </a:extLst>
          </p:cNvPr>
          <p:cNvGrpSpPr>
            <a:grpSpLocks noChangeAspect="1"/>
          </p:cNvGrpSpPr>
          <p:nvPr/>
        </p:nvGrpSpPr>
        <p:grpSpPr>
          <a:xfrm>
            <a:off x="3176075" y="4588239"/>
            <a:ext cx="138812" cy="125379"/>
            <a:chOff x="3216829" y="3852800"/>
            <a:chExt cx="138812" cy="125379"/>
          </a:xfrm>
        </p:grpSpPr>
        <p:sp>
          <p:nvSpPr>
            <p:cNvPr id="4468" name="Freeform: Shape 4467">
              <a:extLst>
                <a:ext uri="{FF2B5EF4-FFF2-40B4-BE49-F238E27FC236}">
                  <a16:creationId xmlns:a16="http://schemas.microsoft.com/office/drawing/2014/main" id="{44F605A4-ACD4-4F4D-97BF-85B504FC4CAB}"/>
                </a:ext>
              </a:extLst>
            </p:cNvPr>
            <p:cNvSpPr/>
            <p:nvPr/>
          </p:nvSpPr>
          <p:spPr>
            <a:xfrm>
              <a:off x="3263398" y="3898921"/>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269"/>
                    <a:pt x="4478" y="8956"/>
                  </a:cubicBezTo>
                  <a:cubicBezTo>
                    <a:pt x="4478" y="11642"/>
                    <a:pt x="6269" y="13433"/>
                    <a:pt x="8956" y="13433"/>
                  </a:cubicBezTo>
                  <a:cubicBezTo>
                    <a:pt x="11642" y="13433"/>
                    <a:pt x="13433" y="11642"/>
                    <a:pt x="13433" y="8956"/>
                  </a:cubicBezTo>
                  <a:cubicBezTo>
                    <a:pt x="13433" y="6269"/>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469" name="Freeform: Shape 4468">
              <a:extLst>
                <a:ext uri="{FF2B5EF4-FFF2-40B4-BE49-F238E27FC236}">
                  <a16:creationId xmlns:a16="http://schemas.microsoft.com/office/drawing/2014/main" id="{B38E0B1F-E22F-4757-BE9A-BD8D86CEE92E}"/>
                </a:ext>
              </a:extLst>
            </p:cNvPr>
            <p:cNvSpPr/>
            <p:nvPr/>
          </p:nvSpPr>
          <p:spPr>
            <a:xfrm>
              <a:off x="3229815" y="3865338"/>
              <a:ext cx="44778" cy="44778"/>
            </a:xfrm>
            <a:custGeom>
              <a:avLst/>
              <a:gdLst>
                <a:gd name="connsiteX0" fmla="*/ 2239 w 44778"/>
                <a:gd name="connsiteY0" fmla="*/ 44778 h 44778"/>
                <a:gd name="connsiteX1" fmla="*/ 0 w 44778"/>
                <a:gd name="connsiteY1" fmla="*/ 42539 h 44778"/>
                <a:gd name="connsiteX2" fmla="*/ 42539 w 44778"/>
                <a:gd name="connsiteY2" fmla="*/ 0 h 44778"/>
                <a:gd name="connsiteX3" fmla="*/ 44778 w 44778"/>
                <a:gd name="connsiteY3" fmla="*/ 2239 h 44778"/>
                <a:gd name="connsiteX4" fmla="*/ 42539 w 44778"/>
                <a:gd name="connsiteY4" fmla="*/ 4478 h 44778"/>
                <a:gd name="connsiteX5" fmla="*/ 4478 w 44778"/>
                <a:gd name="connsiteY5" fmla="*/ 42539 h 44778"/>
                <a:gd name="connsiteX6" fmla="*/ 2239 w 44778"/>
                <a:gd name="connsiteY6" fmla="*/ 447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8">
                  <a:moveTo>
                    <a:pt x="2239" y="44778"/>
                  </a:moveTo>
                  <a:cubicBezTo>
                    <a:pt x="895" y="44778"/>
                    <a:pt x="0" y="43883"/>
                    <a:pt x="0" y="42539"/>
                  </a:cubicBezTo>
                  <a:cubicBezTo>
                    <a:pt x="0" y="19255"/>
                    <a:pt x="19255" y="0"/>
                    <a:pt x="42539" y="0"/>
                  </a:cubicBezTo>
                  <a:cubicBezTo>
                    <a:pt x="43883" y="0"/>
                    <a:pt x="44778" y="896"/>
                    <a:pt x="44778" y="2239"/>
                  </a:cubicBezTo>
                  <a:cubicBezTo>
                    <a:pt x="44778" y="3582"/>
                    <a:pt x="43883" y="4478"/>
                    <a:pt x="42539" y="4478"/>
                  </a:cubicBezTo>
                  <a:cubicBezTo>
                    <a:pt x="21493" y="4478"/>
                    <a:pt x="4478" y="21493"/>
                    <a:pt x="4478" y="42539"/>
                  </a:cubicBezTo>
                  <a:cubicBezTo>
                    <a:pt x="4478" y="43883"/>
                    <a:pt x="3582" y="44778"/>
                    <a:pt x="2239" y="44778"/>
                  </a:cubicBezTo>
                  <a:close/>
                </a:path>
              </a:pathLst>
            </a:custGeom>
            <a:solidFill>
              <a:srgbClr val="231F20"/>
            </a:solidFill>
            <a:ln w="4474" cap="flat">
              <a:noFill/>
              <a:prstDash val="solid"/>
              <a:miter/>
            </a:ln>
          </p:spPr>
          <p:txBody>
            <a:bodyPr rtlCol="0" anchor="ctr"/>
            <a:lstStyle/>
            <a:p>
              <a:endParaRPr lang="en-US"/>
            </a:p>
          </p:txBody>
        </p:sp>
        <p:sp>
          <p:nvSpPr>
            <p:cNvPr id="4470" name="Freeform: Shape 4469">
              <a:extLst>
                <a:ext uri="{FF2B5EF4-FFF2-40B4-BE49-F238E27FC236}">
                  <a16:creationId xmlns:a16="http://schemas.microsoft.com/office/drawing/2014/main" id="{4C5FABDC-AAC7-4EBC-8063-6CFF2F30FB9E}"/>
                </a:ext>
              </a:extLst>
            </p:cNvPr>
            <p:cNvSpPr/>
            <p:nvPr/>
          </p:nvSpPr>
          <p:spPr>
            <a:xfrm>
              <a:off x="3216829" y="3852800"/>
              <a:ext cx="138812" cy="125379"/>
            </a:xfrm>
            <a:custGeom>
              <a:avLst/>
              <a:gdLst>
                <a:gd name="connsiteX0" fmla="*/ 137021 w 138812"/>
                <a:gd name="connsiteY0" fmla="*/ 26419 h 125378"/>
                <a:gd name="connsiteX1" fmla="*/ 134782 w 138812"/>
                <a:gd name="connsiteY1" fmla="*/ 26867 h 125378"/>
                <a:gd name="connsiteX2" fmla="*/ 121349 w 138812"/>
                <a:gd name="connsiteY2" fmla="*/ 40300 h 125378"/>
                <a:gd name="connsiteX3" fmla="*/ 120901 w 138812"/>
                <a:gd name="connsiteY3" fmla="*/ 42091 h 125378"/>
                <a:gd name="connsiteX4" fmla="*/ 120901 w 138812"/>
                <a:gd name="connsiteY4" fmla="*/ 68958 h 125378"/>
                <a:gd name="connsiteX5" fmla="*/ 121349 w 138812"/>
                <a:gd name="connsiteY5" fmla="*/ 70749 h 125378"/>
                <a:gd name="connsiteX6" fmla="*/ 134335 w 138812"/>
                <a:gd name="connsiteY6" fmla="*/ 83735 h 125378"/>
                <a:gd name="connsiteX7" fmla="*/ 134335 w 138812"/>
                <a:gd name="connsiteY7" fmla="*/ 107468 h 125378"/>
                <a:gd name="connsiteX8" fmla="*/ 98512 w 138812"/>
                <a:gd name="connsiteY8" fmla="*/ 107468 h 125378"/>
                <a:gd name="connsiteX9" fmla="*/ 98512 w 138812"/>
                <a:gd name="connsiteY9" fmla="*/ 92243 h 125378"/>
                <a:gd name="connsiteX10" fmla="*/ 98512 w 138812"/>
                <a:gd name="connsiteY10" fmla="*/ 92243 h 125378"/>
                <a:gd name="connsiteX11" fmla="*/ 111945 w 138812"/>
                <a:gd name="connsiteY11" fmla="*/ 55973 h 125378"/>
                <a:gd name="connsiteX12" fmla="*/ 55973 w 138812"/>
                <a:gd name="connsiteY12" fmla="*/ 0 h 125378"/>
                <a:gd name="connsiteX13" fmla="*/ 0 w 138812"/>
                <a:gd name="connsiteY13" fmla="*/ 55973 h 125378"/>
                <a:gd name="connsiteX14" fmla="*/ 13433 w 138812"/>
                <a:gd name="connsiteY14" fmla="*/ 92243 h 125378"/>
                <a:gd name="connsiteX15" fmla="*/ 13433 w 138812"/>
                <a:gd name="connsiteY15" fmla="*/ 92243 h 125378"/>
                <a:gd name="connsiteX16" fmla="*/ 13433 w 138812"/>
                <a:gd name="connsiteY16" fmla="*/ 109707 h 125378"/>
                <a:gd name="connsiteX17" fmla="*/ 29106 w 138812"/>
                <a:gd name="connsiteY17" fmla="*/ 125379 h 125378"/>
                <a:gd name="connsiteX18" fmla="*/ 82840 w 138812"/>
                <a:gd name="connsiteY18" fmla="*/ 125379 h 125378"/>
                <a:gd name="connsiteX19" fmla="*/ 98064 w 138812"/>
                <a:gd name="connsiteY19" fmla="*/ 111945 h 125378"/>
                <a:gd name="connsiteX20" fmla="*/ 136573 w 138812"/>
                <a:gd name="connsiteY20" fmla="*/ 111945 h 125378"/>
                <a:gd name="connsiteX21" fmla="*/ 138812 w 138812"/>
                <a:gd name="connsiteY21" fmla="*/ 109707 h 125378"/>
                <a:gd name="connsiteX22" fmla="*/ 138812 w 138812"/>
                <a:gd name="connsiteY22" fmla="*/ 82840 h 125378"/>
                <a:gd name="connsiteX23" fmla="*/ 138812 w 138812"/>
                <a:gd name="connsiteY23" fmla="*/ 82840 h 125378"/>
                <a:gd name="connsiteX24" fmla="*/ 138812 w 138812"/>
                <a:gd name="connsiteY24" fmla="*/ 29106 h 125378"/>
                <a:gd name="connsiteX25" fmla="*/ 137021 w 138812"/>
                <a:gd name="connsiteY25" fmla="*/ 26419 h 125378"/>
                <a:gd name="connsiteX26" fmla="*/ 55525 w 138812"/>
                <a:gd name="connsiteY26" fmla="*/ 3582 h 125378"/>
                <a:gd name="connsiteX27" fmla="*/ 107020 w 138812"/>
                <a:gd name="connsiteY27" fmla="*/ 55077 h 125378"/>
                <a:gd name="connsiteX28" fmla="*/ 55525 w 138812"/>
                <a:gd name="connsiteY28" fmla="*/ 106572 h 125378"/>
                <a:gd name="connsiteX29" fmla="*/ 4030 w 138812"/>
                <a:gd name="connsiteY29" fmla="*/ 55077 h 125378"/>
                <a:gd name="connsiteX30" fmla="*/ 55525 w 138812"/>
                <a:gd name="connsiteY30" fmla="*/ 3582 h 125378"/>
                <a:gd name="connsiteX31" fmla="*/ 82392 w 138812"/>
                <a:gd name="connsiteY31" fmla="*/ 120005 h 125378"/>
                <a:gd name="connsiteX32" fmla="*/ 28658 w 138812"/>
                <a:gd name="connsiteY32" fmla="*/ 120005 h 125378"/>
                <a:gd name="connsiteX33" fmla="*/ 17464 w 138812"/>
                <a:gd name="connsiteY33" fmla="*/ 108811 h 125378"/>
                <a:gd name="connsiteX34" fmla="*/ 17464 w 138812"/>
                <a:gd name="connsiteY34" fmla="*/ 95825 h 125378"/>
                <a:gd name="connsiteX35" fmla="*/ 55525 w 138812"/>
                <a:gd name="connsiteY35" fmla="*/ 111050 h 125378"/>
                <a:gd name="connsiteX36" fmla="*/ 93587 w 138812"/>
                <a:gd name="connsiteY36" fmla="*/ 95825 h 125378"/>
                <a:gd name="connsiteX37" fmla="*/ 93587 w 138812"/>
                <a:gd name="connsiteY37" fmla="*/ 108811 h 125378"/>
                <a:gd name="connsiteX38" fmla="*/ 82392 w 138812"/>
                <a:gd name="connsiteY38" fmla="*/ 120005 h 125378"/>
                <a:gd name="connsiteX39" fmla="*/ 133887 w 138812"/>
                <a:gd name="connsiteY39" fmla="*/ 76571 h 125378"/>
                <a:gd name="connsiteX40" fmla="*/ 124931 w 138812"/>
                <a:gd name="connsiteY40" fmla="*/ 67615 h 125378"/>
                <a:gd name="connsiteX41" fmla="*/ 124931 w 138812"/>
                <a:gd name="connsiteY41" fmla="*/ 42539 h 125378"/>
                <a:gd name="connsiteX42" fmla="*/ 133887 w 138812"/>
                <a:gd name="connsiteY42" fmla="*/ 33584 h 125378"/>
                <a:gd name="connsiteX43" fmla="*/ 133887 w 138812"/>
                <a:gd name="connsiteY43" fmla="*/ 7657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8812" h="125378">
                  <a:moveTo>
                    <a:pt x="137021" y="26419"/>
                  </a:moveTo>
                  <a:cubicBezTo>
                    <a:pt x="136126" y="25971"/>
                    <a:pt x="135230" y="26419"/>
                    <a:pt x="134782" y="26867"/>
                  </a:cubicBezTo>
                  <a:lnTo>
                    <a:pt x="121349" y="40300"/>
                  </a:lnTo>
                  <a:cubicBezTo>
                    <a:pt x="120901" y="40748"/>
                    <a:pt x="120901" y="41196"/>
                    <a:pt x="120901" y="42091"/>
                  </a:cubicBezTo>
                  <a:lnTo>
                    <a:pt x="120901" y="68958"/>
                  </a:lnTo>
                  <a:cubicBezTo>
                    <a:pt x="120901" y="69406"/>
                    <a:pt x="121349" y="70302"/>
                    <a:pt x="121349" y="70749"/>
                  </a:cubicBezTo>
                  <a:lnTo>
                    <a:pt x="134335" y="83735"/>
                  </a:lnTo>
                  <a:lnTo>
                    <a:pt x="134335" y="107468"/>
                  </a:lnTo>
                  <a:lnTo>
                    <a:pt x="98512" y="107468"/>
                  </a:lnTo>
                  <a:lnTo>
                    <a:pt x="98512" y="92243"/>
                  </a:lnTo>
                  <a:cubicBezTo>
                    <a:pt x="98512" y="92243"/>
                    <a:pt x="98512" y="92243"/>
                    <a:pt x="98512" y="92243"/>
                  </a:cubicBezTo>
                  <a:cubicBezTo>
                    <a:pt x="107020" y="82392"/>
                    <a:pt x="111945" y="69854"/>
                    <a:pt x="111945" y="55973"/>
                  </a:cubicBezTo>
                  <a:cubicBezTo>
                    <a:pt x="111945" y="25076"/>
                    <a:pt x="86870" y="0"/>
                    <a:pt x="55973" y="0"/>
                  </a:cubicBezTo>
                  <a:cubicBezTo>
                    <a:pt x="25076" y="0"/>
                    <a:pt x="0" y="25076"/>
                    <a:pt x="0" y="55973"/>
                  </a:cubicBezTo>
                  <a:cubicBezTo>
                    <a:pt x="0" y="69854"/>
                    <a:pt x="4925" y="82392"/>
                    <a:pt x="13433" y="92243"/>
                  </a:cubicBezTo>
                  <a:cubicBezTo>
                    <a:pt x="13433" y="92243"/>
                    <a:pt x="13433" y="92243"/>
                    <a:pt x="13433" y="92243"/>
                  </a:cubicBezTo>
                  <a:lnTo>
                    <a:pt x="13433" y="109707"/>
                  </a:lnTo>
                  <a:cubicBezTo>
                    <a:pt x="13433" y="118214"/>
                    <a:pt x="20598" y="125379"/>
                    <a:pt x="29106" y="125379"/>
                  </a:cubicBezTo>
                  <a:lnTo>
                    <a:pt x="82840" y="125379"/>
                  </a:lnTo>
                  <a:cubicBezTo>
                    <a:pt x="90900" y="125379"/>
                    <a:pt x="97169" y="119558"/>
                    <a:pt x="98064" y="111945"/>
                  </a:cubicBezTo>
                  <a:lnTo>
                    <a:pt x="136573" y="111945"/>
                  </a:lnTo>
                  <a:cubicBezTo>
                    <a:pt x="137917" y="111945"/>
                    <a:pt x="138812" y="111050"/>
                    <a:pt x="138812" y="109707"/>
                  </a:cubicBezTo>
                  <a:lnTo>
                    <a:pt x="138812" y="82840"/>
                  </a:lnTo>
                  <a:cubicBezTo>
                    <a:pt x="138812" y="82840"/>
                    <a:pt x="138812" y="82840"/>
                    <a:pt x="138812" y="82840"/>
                  </a:cubicBezTo>
                  <a:lnTo>
                    <a:pt x="138812" y="29106"/>
                  </a:lnTo>
                  <a:cubicBezTo>
                    <a:pt x="138365" y="27315"/>
                    <a:pt x="137917" y="26419"/>
                    <a:pt x="137021" y="26419"/>
                  </a:cubicBezTo>
                  <a:close/>
                  <a:moveTo>
                    <a:pt x="55525" y="3582"/>
                  </a:moveTo>
                  <a:cubicBezTo>
                    <a:pt x="83735" y="3582"/>
                    <a:pt x="107020" y="26867"/>
                    <a:pt x="107020" y="55077"/>
                  </a:cubicBezTo>
                  <a:cubicBezTo>
                    <a:pt x="107020" y="83287"/>
                    <a:pt x="83735" y="106572"/>
                    <a:pt x="55525" y="106572"/>
                  </a:cubicBezTo>
                  <a:cubicBezTo>
                    <a:pt x="27315" y="106572"/>
                    <a:pt x="4030" y="83287"/>
                    <a:pt x="4030" y="55077"/>
                  </a:cubicBezTo>
                  <a:cubicBezTo>
                    <a:pt x="4030" y="26867"/>
                    <a:pt x="27315" y="3582"/>
                    <a:pt x="55525" y="3582"/>
                  </a:cubicBezTo>
                  <a:close/>
                  <a:moveTo>
                    <a:pt x="82392" y="120005"/>
                  </a:moveTo>
                  <a:lnTo>
                    <a:pt x="28658" y="120005"/>
                  </a:lnTo>
                  <a:cubicBezTo>
                    <a:pt x="22389" y="120005"/>
                    <a:pt x="17464" y="115080"/>
                    <a:pt x="17464" y="108811"/>
                  </a:cubicBezTo>
                  <a:lnTo>
                    <a:pt x="17464" y="95825"/>
                  </a:lnTo>
                  <a:cubicBezTo>
                    <a:pt x="27315" y="105229"/>
                    <a:pt x="40748" y="111050"/>
                    <a:pt x="55525" y="111050"/>
                  </a:cubicBezTo>
                  <a:cubicBezTo>
                    <a:pt x="70302" y="111050"/>
                    <a:pt x="83735" y="105229"/>
                    <a:pt x="93587" y="95825"/>
                  </a:cubicBezTo>
                  <a:lnTo>
                    <a:pt x="93587" y="108811"/>
                  </a:lnTo>
                  <a:cubicBezTo>
                    <a:pt x="93587" y="115080"/>
                    <a:pt x="88661" y="120005"/>
                    <a:pt x="82392" y="120005"/>
                  </a:cubicBezTo>
                  <a:close/>
                  <a:moveTo>
                    <a:pt x="133887" y="76571"/>
                  </a:moveTo>
                  <a:lnTo>
                    <a:pt x="124931" y="67615"/>
                  </a:lnTo>
                  <a:lnTo>
                    <a:pt x="124931" y="42539"/>
                  </a:lnTo>
                  <a:lnTo>
                    <a:pt x="133887" y="33584"/>
                  </a:lnTo>
                  <a:lnTo>
                    <a:pt x="133887" y="76571"/>
                  </a:lnTo>
                  <a:close/>
                </a:path>
              </a:pathLst>
            </a:custGeom>
            <a:solidFill>
              <a:srgbClr val="231F20"/>
            </a:solidFill>
            <a:ln w="4474" cap="flat">
              <a:noFill/>
              <a:prstDash val="solid"/>
              <a:miter/>
            </a:ln>
          </p:spPr>
          <p:txBody>
            <a:bodyPr rtlCol="0" anchor="ctr"/>
            <a:lstStyle/>
            <a:p>
              <a:endParaRPr lang="en-US"/>
            </a:p>
          </p:txBody>
        </p:sp>
      </p:grpSp>
      <p:sp>
        <p:nvSpPr>
          <p:cNvPr id="4471" name="Freeform: Shape 4470">
            <a:extLst>
              <a:ext uri="{FF2B5EF4-FFF2-40B4-BE49-F238E27FC236}">
                <a16:creationId xmlns:a16="http://schemas.microsoft.com/office/drawing/2014/main" id="{83BD75E1-D6AC-42DE-95AD-6B1AD7205392}"/>
              </a:ext>
              <a:ext uri="{C183D7F6-B498-43B3-948B-1728B52AA6E4}">
                <adec:decorative xmlns:adec="http://schemas.microsoft.com/office/drawing/2017/decorative" val="1"/>
              </a:ext>
            </a:extLst>
          </p:cNvPr>
          <p:cNvSpPr>
            <a:spLocks noChangeAspect="1"/>
          </p:cNvSpPr>
          <p:nvPr/>
        </p:nvSpPr>
        <p:spPr>
          <a:xfrm>
            <a:off x="3702218" y="4577940"/>
            <a:ext cx="116423" cy="116423"/>
          </a:xfrm>
          <a:custGeom>
            <a:avLst/>
            <a:gdLst>
              <a:gd name="connsiteX0" fmla="*/ 116423 w 116423"/>
              <a:gd name="connsiteY0" fmla="*/ 118662 h 116423"/>
              <a:gd name="connsiteX1" fmla="*/ 35823 w 116423"/>
              <a:gd name="connsiteY1" fmla="*/ 118662 h 116423"/>
              <a:gd name="connsiteX2" fmla="*/ 33584 w 116423"/>
              <a:gd name="connsiteY2" fmla="*/ 116423 h 116423"/>
              <a:gd name="connsiteX3" fmla="*/ 33584 w 116423"/>
              <a:gd name="connsiteY3" fmla="*/ 82840 h 116423"/>
              <a:gd name="connsiteX4" fmla="*/ 29553 w 116423"/>
              <a:gd name="connsiteY4" fmla="*/ 82840 h 116423"/>
              <a:gd name="connsiteX5" fmla="*/ 15672 w 116423"/>
              <a:gd name="connsiteY5" fmla="*/ 91795 h 116423"/>
              <a:gd name="connsiteX6" fmla="*/ 0 w 116423"/>
              <a:gd name="connsiteY6" fmla="*/ 76123 h 116423"/>
              <a:gd name="connsiteX7" fmla="*/ 15672 w 116423"/>
              <a:gd name="connsiteY7" fmla="*/ 60451 h 116423"/>
              <a:gd name="connsiteX8" fmla="*/ 29106 w 116423"/>
              <a:gd name="connsiteY8" fmla="*/ 68063 h 116423"/>
              <a:gd name="connsiteX9" fmla="*/ 33584 w 116423"/>
              <a:gd name="connsiteY9" fmla="*/ 68063 h 116423"/>
              <a:gd name="connsiteX10" fmla="*/ 33584 w 116423"/>
              <a:gd name="connsiteY10" fmla="*/ 35823 h 116423"/>
              <a:gd name="connsiteX11" fmla="*/ 35823 w 116423"/>
              <a:gd name="connsiteY11" fmla="*/ 33584 h 116423"/>
              <a:gd name="connsiteX12" fmla="*/ 68511 w 116423"/>
              <a:gd name="connsiteY12" fmla="*/ 33584 h 116423"/>
              <a:gd name="connsiteX13" fmla="*/ 68511 w 116423"/>
              <a:gd name="connsiteY13" fmla="*/ 29554 h 116423"/>
              <a:gd name="connsiteX14" fmla="*/ 60451 w 116423"/>
              <a:gd name="connsiteY14" fmla="*/ 15672 h 116423"/>
              <a:gd name="connsiteX15" fmla="*/ 76123 w 116423"/>
              <a:gd name="connsiteY15" fmla="*/ 0 h 116423"/>
              <a:gd name="connsiteX16" fmla="*/ 91795 w 116423"/>
              <a:gd name="connsiteY16" fmla="*/ 15672 h 116423"/>
              <a:gd name="connsiteX17" fmla="*/ 83735 w 116423"/>
              <a:gd name="connsiteY17" fmla="*/ 29554 h 116423"/>
              <a:gd name="connsiteX18" fmla="*/ 83735 w 116423"/>
              <a:gd name="connsiteY18" fmla="*/ 33584 h 116423"/>
              <a:gd name="connsiteX19" fmla="*/ 116423 w 116423"/>
              <a:gd name="connsiteY19" fmla="*/ 33584 h 116423"/>
              <a:gd name="connsiteX20" fmla="*/ 118662 w 116423"/>
              <a:gd name="connsiteY20" fmla="*/ 35823 h 116423"/>
              <a:gd name="connsiteX21" fmla="*/ 118662 w 116423"/>
              <a:gd name="connsiteY21" fmla="*/ 70302 h 116423"/>
              <a:gd name="connsiteX22" fmla="*/ 118215 w 116423"/>
              <a:gd name="connsiteY22" fmla="*/ 72093 h 116423"/>
              <a:gd name="connsiteX23" fmla="*/ 116423 w 116423"/>
              <a:gd name="connsiteY23" fmla="*/ 72541 h 116423"/>
              <a:gd name="connsiteX24" fmla="*/ 116423 w 116423"/>
              <a:gd name="connsiteY24" fmla="*/ 72541 h 116423"/>
              <a:gd name="connsiteX25" fmla="*/ 108811 w 116423"/>
              <a:gd name="connsiteY25" fmla="*/ 72541 h 116423"/>
              <a:gd name="connsiteX26" fmla="*/ 106572 w 116423"/>
              <a:gd name="connsiteY26" fmla="*/ 71197 h 116423"/>
              <a:gd name="connsiteX27" fmla="*/ 96273 w 116423"/>
              <a:gd name="connsiteY27" fmla="*/ 64928 h 116423"/>
              <a:gd name="connsiteX28" fmla="*/ 85079 w 116423"/>
              <a:gd name="connsiteY28" fmla="*/ 76123 h 116423"/>
              <a:gd name="connsiteX29" fmla="*/ 96273 w 116423"/>
              <a:gd name="connsiteY29" fmla="*/ 87317 h 116423"/>
              <a:gd name="connsiteX30" fmla="*/ 106572 w 116423"/>
              <a:gd name="connsiteY30" fmla="*/ 80153 h 116423"/>
              <a:gd name="connsiteX31" fmla="*/ 108811 w 116423"/>
              <a:gd name="connsiteY31" fmla="*/ 78810 h 116423"/>
              <a:gd name="connsiteX32" fmla="*/ 115976 w 116423"/>
              <a:gd name="connsiteY32" fmla="*/ 78810 h 116423"/>
              <a:gd name="connsiteX33" fmla="*/ 117767 w 116423"/>
              <a:gd name="connsiteY33" fmla="*/ 79257 h 116423"/>
              <a:gd name="connsiteX34" fmla="*/ 118215 w 116423"/>
              <a:gd name="connsiteY34" fmla="*/ 81049 h 116423"/>
              <a:gd name="connsiteX35" fmla="*/ 118215 w 116423"/>
              <a:gd name="connsiteY35" fmla="*/ 116871 h 116423"/>
              <a:gd name="connsiteX36" fmla="*/ 116423 w 116423"/>
              <a:gd name="connsiteY36" fmla="*/ 118662 h 116423"/>
              <a:gd name="connsiteX37" fmla="*/ 38061 w 116423"/>
              <a:gd name="connsiteY37" fmla="*/ 114184 h 116423"/>
              <a:gd name="connsiteX38" fmla="*/ 114184 w 116423"/>
              <a:gd name="connsiteY38" fmla="*/ 114184 h 116423"/>
              <a:gd name="connsiteX39" fmla="*/ 114184 w 116423"/>
              <a:gd name="connsiteY39" fmla="*/ 82840 h 116423"/>
              <a:gd name="connsiteX40" fmla="*/ 110602 w 116423"/>
              <a:gd name="connsiteY40" fmla="*/ 82840 h 116423"/>
              <a:gd name="connsiteX41" fmla="*/ 96721 w 116423"/>
              <a:gd name="connsiteY41" fmla="*/ 91795 h 116423"/>
              <a:gd name="connsiteX42" fmla="*/ 81048 w 116423"/>
              <a:gd name="connsiteY42" fmla="*/ 76123 h 116423"/>
              <a:gd name="connsiteX43" fmla="*/ 96721 w 116423"/>
              <a:gd name="connsiteY43" fmla="*/ 60451 h 116423"/>
              <a:gd name="connsiteX44" fmla="*/ 110154 w 116423"/>
              <a:gd name="connsiteY44" fmla="*/ 68063 h 116423"/>
              <a:gd name="connsiteX45" fmla="*/ 114184 w 116423"/>
              <a:gd name="connsiteY45" fmla="*/ 68063 h 116423"/>
              <a:gd name="connsiteX46" fmla="*/ 114184 w 116423"/>
              <a:gd name="connsiteY46" fmla="*/ 38061 h 116423"/>
              <a:gd name="connsiteX47" fmla="*/ 81496 w 116423"/>
              <a:gd name="connsiteY47" fmla="*/ 38061 h 116423"/>
              <a:gd name="connsiteX48" fmla="*/ 79257 w 116423"/>
              <a:gd name="connsiteY48" fmla="*/ 35823 h 116423"/>
              <a:gd name="connsiteX49" fmla="*/ 79257 w 116423"/>
              <a:gd name="connsiteY49" fmla="*/ 28210 h 116423"/>
              <a:gd name="connsiteX50" fmla="*/ 80601 w 116423"/>
              <a:gd name="connsiteY50" fmla="*/ 25972 h 116423"/>
              <a:gd name="connsiteX51" fmla="*/ 87317 w 116423"/>
              <a:gd name="connsiteY51" fmla="*/ 15672 h 116423"/>
              <a:gd name="connsiteX52" fmla="*/ 76123 w 116423"/>
              <a:gd name="connsiteY52" fmla="*/ 4478 h 116423"/>
              <a:gd name="connsiteX53" fmla="*/ 64928 w 116423"/>
              <a:gd name="connsiteY53" fmla="*/ 15672 h 116423"/>
              <a:gd name="connsiteX54" fmla="*/ 71645 w 116423"/>
              <a:gd name="connsiteY54" fmla="*/ 25972 h 116423"/>
              <a:gd name="connsiteX55" fmla="*/ 72988 w 116423"/>
              <a:gd name="connsiteY55" fmla="*/ 28210 h 116423"/>
              <a:gd name="connsiteX56" fmla="*/ 72988 w 116423"/>
              <a:gd name="connsiteY56" fmla="*/ 35823 h 116423"/>
              <a:gd name="connsiteX57" fmla="*/ 70749 w 116423"/>
              <a:gd name="connsiteY57" fmla="*/ 38061 h 116423"/>
              <a:gd name="connsiteX58" fmla="*/ 38061 w 116423"/>
              <a:gd name="connsiteY58" fmla="*/ 38061 h 116423"/>
              <a:gd name="connsiteX59" fmla="*/ 38061 w 116423"/>
              <a:gd name="connsiteY59" fmla="*/ 70302 h 116423"/>
              <a:gd name="connsiteX60" fmla="*/ 35823 w 116423"/>
              <a:gd name="connsiteY60" fmla="*/ 72541 h 116423"/>
              <a:gd name="connsiteX61" fmla="*/ 28210 w 116423"/>
              <a:gd name="connsiteY61" fmla="*/ 72541 h 116423"/>
              <a:gd name="connsiteX62" fmla="*/ 25524 w 116423"/>
              <a:gd name="connsiteY62" fmla="*/ 71197 h 116423"/>
              <a:gd name="connsiteX63" fmla="*/ 15225 w 116423"/>
              <a:gd name="connsiteY63" fmla="*/ 64481 h 116423"/>
              <a:gd name="connsiteX64" fmla="*/ 4030 w 116423"/>
              <a:gd name="connsiteY64" fmla="*/ 75675 h 116423"/>
              <a:gd name="connsiteX65" fmla="*/ 15225 w 116423"/>
              <a:gd name="connsiteY65" fmla="*/ 86870 h 116423"/>
              <a:gd name="connsiteX66" fmla="*/ 25524 w 116423"/>
              <a:gd name="connsiteY66" fmla="*/ 79705 h 116423"/>
              <a:gd name="connsiteX67" fmla="*/ 27763 w 116423"/>
              <a:gd name="connsiteY67" fmla="*/ 78362 h 116423"/>
              <a:gd name="connsiteX68" fmla="*/ 35375 w 116423"/>
              <a:gd name="connsiteY68" fmla="*/ 78362 h 116423"/>
              <a:gd name="connsiteX69" fmla="*/ 37614 w 116423"/>
              <a:gd name="connsiteY69" fmla="*/ 80601 h 116423"/>
              <a:gd name="connsiteX70" fmla="*/ 37614 w 116423"/>
              <a:gd name="connsiteY70" fmla="*/ 114184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16423" h="116423">
                <a:moveTo>
                  <a:pt x="116423" y="118662"/>
                </a:moveTo>
                <a:lnTo>
                  <a:pt x="35823" y="118662"/>
                </a:lnTo>
                <a:cubicBezTo>
                  <a:pt x="34479" y="118662"/>
                  <a:pt x="33584" y="117767"/>
                  <a:pt x="33584" y="116423"/>
                </a:cubicBezTo>
                <a:lnTo>
                  <a:pt x="33584" y="82840"/>
                </a:lnTo>
                <a:lnTo>
                  <a:pt x="29553" y="82840"/>
                </a:lnTo>
                <a:cubicBezTo>
                  <a:pt x="26867" y="88213"/>
                  <a:pt x="21493" y="91795"/>
                  <a:pt x="15672" y="91795"/>
                </a:cubicBezTo>
                <a:cubicBezTo>
                  <a:pt x="7164" y="91795"/>
                  <a:pt x="0" y="84631"/>
                  <a:pt x="0" y="76123"/>
                </a:cubicBezTo>
                <a:cubicBezTo>
                  <a:pt x="0" y="67615"/>
                  <a:pt x="7164" y="60451"/>
                  <a:pt x="15672" y="60451"/>
                </a:cubicBezTo>
                <a:cubicBezTo>
                  <a:pt x="21046" y="60451"/>
                  <a:pt x="26419" y="63585"/>
                  <a:pt x="29106" y="68063"/>
                </a:cubicBezTo>
                <a:lnTo>
                  <a:pt x="33584" y="68063"/>
                </a:lnTo>
                <a:lnTo>
                  <a:pt x="33584" y="35823"/>
                </a:lnTo>
                <a:cubicBezTo>
                  <a:pt x="33584" y="34479"/>
                  <a:pt x="34479" y="33584"/>
                  <a:pt x="35823" y="33584"/>
                </a:cubicBezTo>
                <a:lnTo>
                  <a:pt x="68511" y="33584"/>
                </a:lnTo>
                <a:lnTo>
                  <a:pt x="68511" y="29554"/>
                </a:lnTo>
                <a:cubicBezTo>
                  <a:pt x="63585" y="26867"/>
                  <a:pt x="60451" y="21494"/>
                  <a:pt x="60451" y="15672"/>
                </a:cubicBezTo>
                <a:cubicBezTo>
                  <a:pt x="60451" y="7165"/>
                  <a:pt x="67615" y="0"/>
                  <a:pt x="76123" y="0"/>
                </a:cubicBezTo>
                <a:cubicBezTo>
                  <a:pt x="84631" y="0"/>
                  <a:pt x="91795" y="7165"/>
                  <a:pt x="91795" y="15672"/>
                </a:cubicBezTo>
                <a:cubicBezTo>
                  <a:pt x="91795" y="21494"/>
                  <a:pt x="88661" y="26867"/>
                  <a:pt x="83735" y="29554"/>
                </a:cubicBezTo>
                <a:lnTo>
                  <a:pt x="83735" y="33584"/>
                </a:lnTo>
                <a:lnTo>
                  <a:pt x="116423" y="33584"/>
                </a:lnTo>
                <a:cubicBezTo>
                  <a:pt x="117767" y="33584"/>
                  <a:pt x="118662" y="34479"/>
                  <a:pt x="118662" y="35823"/>
                </a:cubicBezTo>
                <a:lnTo>
                  <a:pt x="118662" y="70302"/>
                </a:lnTo>
                <a:cubicBezTo>
                  <a:pt x="118662" y="70750"/>
                  <a:pt x="118215" y="71645"/>
                  <a:pt x="118215" y="72093"/>
                </a:cubicBezTo>
                <a:cubicBezTo>
                  <a:pt x="118215" y="72541"/>
                  <a:pt x="117319" y="72541"/>
                  <a:pt x="116423" y="72541"/>
                </a:cubicBezTo>
                <a:cubicBezTo>
                  <a:pt x="116423" y="72541"/>
                  <a:pt x="116423" y="72541"/>
                  <a:pt x="116423" y="72541"/>
                </a:cubicBezTo>
                <a:lnTo>
                  <a:pt x="108811" y="72541"/>
                </a:lnTo>
                <a:cubicBezTo>
                  <a:pt x="107915" y="72541"/>
                  <a:pt x="107020" y="72093"/>
                  <a:pt x="106572" y="71197"/>
                </a:cubicBezTo>
                <a:cubicBezTo>
                  <a:pt x="104781" y="67167"/>
                  <a:pt x="100751" y="64928"/>
                  <a:pt x="96273" y="64928"/>
                </a:cubicBezTo>
                <a:cubicBezTo>
                  <a:pt x="90004" y="64928"/>
                  <a:pt x="85079" y="69854"/>
                  <a:pt x="85079" y="76123"/>
                </a:cubicBezTo>
                <a:cubicBezTo>
                  <a:pt x="85079" y="82392"/>
                  <a:pt x="90004" y="87317"/>
                  <a:pt x="96273" y="87317"/>
                </a:cubicBezTo>
                <a:cubicBezTo>
                  <a:pt x="100751" y="87317"/>
                  <a:pt x="105229" y="84183"/>
                  <a:pt x="106572" y="80153"/>
                </a:cubicBezTo>
                <a:cubicBezTo>
                  <a:pt x="107020" y="79257"/>
                  <a:pt x="107915" y="78810"/>
                  <a:pt x="108811" y="78810"/>
                </a:cubicBezTo>
                <a:lnTo>
                  <a:pt x="115976" y="78810"/>
                </a:lnTo>
                <a:cubicBezTo>
                  <a:pt x="116423" y="78810"/>
                  <a:pt x="117319" y="79257"/>
                  <a:pt x="117767" y="79257"/>
                </a:cubicBezTo>
                <a:cubicBezTo>
                  <a:pt x="118215" y="79257"/>
                  <a:pt x="118215" y="80153"/>
                  <a:pt x="118215" y="81049"/>
                </a:cubicBezTo>
                <a:lnTo>
                  <a:pt x="118215" y="116871"/>
                </a:lnTo>
                <a:cubicBezTo>
                  <a:pt x="118662" y="117319"/>
                  <a:pt x="117767" y="118662"/>
                  <a:pt x="116423" y="118662"/>
                </a:cubicBezTo>
                <a:close/>
                <a:moveTo>
                  <a:pt x="38061" y="114184"/>
                </a:moveTo>
                <a:lnTo>
                  <a:pt x="114184" y="114184"/>
                </a:lnTo>
                <a:lnTo>
                  <a:pt x="114184" y="82840"/>
                </a:lnTo>
                <a:lnTo>
                  <a:pt x="110602" y="82840"/>
                </a:lnTo>
                <a:cubicBezTo>
                  <a:pt x="107915" y="88213"/>
                  <a:pt x="102542" y="91795"/>
                  <a:pt x="96721" y="91795"/>
                </a:cubicBezTo>
                <a:cubicBezTo>
                  <a:pt x="88213" y="91795"/>
                  <a:pt x="81048" y="84631"/>
                  <a:pt x="81048" y="76123"/>
                </a:cubicBezTo>
                <a:cubicBezTo>
                  <a:pt x="81048" y="67615"/>
                  <a:pt x="88213" y="60451"/>
                  <a:pt x="96721" y="60451"/>
                </a:cubicBezTo>
                <a:cubicBezTo>
                  <a:pt x="102094" y="60451"/>
                  <a:pt x="107468" y="63585"/>
                  <a:pt x="110154" y="68063"/>
                </a:cubicBezTo>
                <a:lnTo>
                  <a:pt x="114184" y="68063"/>
                </a:lnTo>
                <a:lnTo>
                  <a:pt x="114184" y="38061"/>
                </a:lnTo>
                <a:lnTo>
                  <a:pt x="81496" y="38061"/>
                </a:lnTo>
                <a:cubicBezTo>
                  <a:pt x="80153" y="38061"/>
                  <a:pt x="79257" y="37166"/>
                  <a:pt x="79257" y="35823"/>
                </a:cubicBezTo>
                <a:lnTo>
                  <a:pt x="79257" y="28210"/>
                </a:lnTo>
                <a:cubicBezTo>
                  <a:pt x="79257" y="27315"/>
                  <a:pt x="79705" y="26419"/>
                  <a:pt x="80601" y="25972"/>
                </a:cubicBezTo>
                <a:cubicBezTo>
                  <a:pt x="84631" y="24180"/>
                  <a:pt x="87317" y="20150"/>
                  <a:pt x="87317" y="15672"/>
                </a:cubicBezTo>
                <a:cubicBezTo>
                  <a:pt x="87317" y="9404"/>
                  <a:pt x="82392" y="4478"/>
                  <a:pt x="76123" y="4478"/>
                </a:cubicBezTo>
                <a:cubicBezTo>
                  <a:pt x="69854" y="4478"/>
                  <a:pt x="64928" y="9404"/>
                  <a:pt x="64928" y="15672"/>
                </a:cubicBezTo>
                <a:cubicBezTo>
                  <a:pt x="64928" y="20150"/>
                  <a:pt x="67615" y="24180"/>
                  <a:pt x="71645" y="25972"/>
                </a:cubicBezTo>
                <a:cubicBezTo>
                  <a:pt x="72541" y="26419"/>
                  <a:pt x="72988" y="27315"/>
                  <a:pt x="72988" y="28210"/>
                </a:cubicBezTo>
                <a:lnTo>
                  <a:pt x="72988" y="35823"/>
                </a:lnTo>
                <a:cubicBezTo>
                  <a:pt x="72988" y="37166"/>
                  <a:pt x="72093" y="38061"/>
                  <a:pt x="70749" y="38061"/>
                </a:cubicBezTo>
                <a:lnTo>
                  <a:pt x="38061" y="38061"/>
                </a:lnTo>
                <a:lnTo>
                  <a:pt x="38061" y="70302"/>
                </a:lnTo>
                <a:cubicBezTo>
                  <a:pt x="38061" y="71645"/>
                  <a:pt x="37166" y="72541"/>
                  <a:pt x="35823" y="72541"/>
                </a:cubicBezTo>
                <a:lnTo>
                  <a:pt x="28210" y="72541"/>
                </a:lnTo>
                <a:cubicBezTo>
                  <a:pt x="27315" y="72541"/>
                  <a:pt x="25971" y="72093"/>
                  <a:pt x="25524" y="71197"/>
                </a:cubicBezTo>
                <a:cubicBezTo>
                  <a:pt x="23732" y="67167"/>
                  <a:pt x="19703" y="64481"/>
                  <a:pt x="15225" y="64481"/>
                </a:cubicBezTo>
                <a:cubicBezTo>
                  <a:pt x="8956" y="64481"/>
                  <a:pt x="4030" y="69406"/>
                  <a:pt x="4030" y="75675"/>
                </a:cubicBezTo>
                <a:cubicBezTo>
                  <a:pt x="4030" y="81944"/>
                  <a:pt x="8956" y="86870"/>
                  <a:pt x="15225" y="86870"/>
                </a:cubicBezTo>
                <a:cubicBezTo>
                  <a:pt x="19703" y="86870"/>
                  <a:pt x="24180" y="83735"/>
                  <a:pt x="25524" y="79705"/>
                </a:cubicBezTo>
                <a:cubicBezTo>
                  <a:pt x="25971" y="78810"/>
                  <a:pt x="26867" y="78362"/>
                  <a:pt x="27763" y="78362"/>
                </a:cubicBezTo>
                <a:lnTo>
                  <a:pt x="35375" y="78362"/>
                </a:lnTo>
                <a:cubicBezTo>
                  <a:pt x="36718" y="78362"/>
                  <a:pt x="37614" y="79257"/>
                  <a:pt x="37614" y="80601"/>
                </a:cubicBezTo>
                <a:lnTo>
                  <a:pt x="37614" y="114184"/>
                </a:lnTo>
                <a:close/>
              </a:path>
            </a:pathLst>
          </a:custGeom>
          <a:solidFill>
            <a:srgbClr val="231F20"/>
          </a:solidFill>
          <a:ln w="4474" cap="flat">
            <a:noFill/>
            <a:prstDash val="solid"/>
            <a:miter/>
          </a:ln>
        </p:spPr>
        <p:txBody>
          <a:bodyPr rtlCol="0" anchor="ctr"/>
          <a:lstStyle/>
          <a:p>
            <a:endParaRPr lang="en-US"/>
          </a:p>
        </p:txBody>
      </p:sp>
      <p:grpSp>
        <p:nvGrpSpPr>
          <p:cNvPr id="4472" name="Group 4471">
            <a:extLst>
              <a:ext uri="{FF2B5EF4-FFF2-40B4-BE49-F238E27FC236}">
                <a16:creationId xmlns:a16="http://schemas.microsoft.com/office/drawing/2014/main" id="{8865E012-60AD-4C88-85F1-076073087250}"/>
              </a:ext>
              <a:ext uri="{C183D7F6-B498-43B3-948B-1728B52AA6E4}">
                <adec:decorative xmlns:adec="http://schemas.microsoft.com/office/drawing/2017/decorative" val="1"/>
              </a:ext>
            </a:extLst>
          </p:cNvPr>
          <p:cNvGrpSpPr>
            <a:grpSpLocks noChangeAspect="1"/>
          </p:cNvGrpSpPr>
          <p:nvPr/>
        </p:nvGrpSpPr>
        <p:grpSpPr>
          <a:xfrm>
            <a:off x="4002680" y="4567193"/>
            <a:ext cx="85079" cy="144634"/>
            <a:chOff x="4043434" y="3831754"/>
            <a:chExt cx="85079" cy="144634"/>
          </a:xfrm>
        </p:grpSpPr>
        <p:sp>
          <p:nvSpPr>
            <p:cNvPr id="4473" name="Freeform: Shape 4472">
              <a:extLst>
                <a:ext uri="{FF2B5EF4-FFF2-40B4-BE49-F238E27FC236}">
                  <a16:creationId xmlns:a16="http://schemas.microsoft.com/office/drawing/2014/main" id="{70CFA8F6-24D3-490D-AACB-685E3323CC43}"/>
                </a:ext>
              </a:extLst>
            </p:cNvPr>
            <p:cNvSpPr/>
            <p:nvPr/>
          </p:nvSpPr>
          <p:spPr>
            <a:xfrm>
              <a:off x="4067167" y="3946386"/>
              <a:ext cx="35823" cy="4478"/>
            </a:xfrm>
            <a:custGeom>
              <a:avLst/>
              <a:gdLst>
                <a:gd name="connsiteX0" fmla="*/ 35375 w 35822"/>
                <a:gd name="connsiteY0" fmla="*/ 4478 h 4477"/>
                <a:gd name="connsiteX1" fmla="*/ 2239 w 35822"/>
                <a:gd name="connsiteY1" fmla="*/ 4478 h 4477"/>
                <a:gd name="connsiteX2" fmla="*/ 0 w 35822"/>
                <a:gd name="connsiteY2" fmla="*/ 2239 h 4477"/>
                <a:gd name="connsiteX3" fmla="*/ 2239 w 35822"/>
                <a:gd name="connsiteY3" fmla="*/ 0 h 4477"/>
                <a:gd name="connsiteX4" fmla="*/ 35375 w 35822"/>
                <a:gd name="connsiteY4" fmla="*/ 0 h 4477"/>
                <a:gd name="connsiteX5" fmla="*/ 37614 w 35822"/>
                <a:gd name="connsiteY5" fmla="*/ 2239 h 4477"/>
                <a:gd name="connsiteX6" fmla="*/ 35375 w 35822"/>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4477">
                  <a:moveTo>
                    <a:pt x="35375" y="4478"/>
                  </a:moveTo>
                  <a:lnTo>
                    <a:pt x="2239" y="4478"/>
                  </a:lnTo>
                  <a:cubicBezTo>
                    <a:pt x="895" y="4478"/>
                    <a:pt x="0" y="3582"/>
                    <a:pt x="0" y="2239"/>
                  </a:cubicBezTo>
                  <a:cubicBezTo>
                    <a:pt x="0" y="896"/>
                    <a:pt x="895" y="0"/>
                    <a:pt x="2239" y="0"/>
                  </a:cubicBezTo>
                  <a:lnTo>
                    <a:pt x="35375" y="0"/>
                  </a:lnTo>
                  <a:cubicBezTo>
                    <a:pt x="36718" y="0"/>
                    <a:pt x="37614" y="896"/>
                    <a:pt x="37614" y="2239"/>
                  </a:cubicBezTo>
                  <a:cubicBezTo>
                    <a:pt x="37614" y="3582"/>
                    <a:pt x="36718" y="4478"/>
                    <a:pt x="35375" y="4478"/>
                  </a:cubicBezTo>
                  <a:close/>
                </a:path>
              </a:pathLst>
            </a:custGeom>
            <a:solidFill>
              <a:srgbClr val="231F20"/>
            </a:solidFill>
            <a:ln w="4474" cap="flat">
              <a:noFill/>
              <a:prstDash val="solid"/>
              <a:miter/>
            </a:ln>
          </p:spPr>
          <p:txBody>
            <a:bodyPr rtlCol="0" anchor="ctr"/>
            <a:lstStyle/>
            <a:p>
              <a:endParaRPr lang="en-US"/>
            </a:p>
          </p:txBody>
        </p:sp>
        <p:sp>
          <p:nvSpPr>
            <p:cNvPr id="4474" name="Freeform: Shape 4473">
              <a:extLst>
                <a:ext uri="{FF2B5EF4-FFF2-40B4-BE49-F238E27FC236}">
                  <a16:creationId xmlns:a16="http://schemas.microsoft.com/office/drawing/2014/main" id="{7596DD32-D8C3-401C-AEC3-41BDD7840AD0}"/>
                </a:ext>
              </a:extLst>
            </p:cNvPr>
            <p:cNvSpPr/>
            <p:nvPr/>
          </p:nvSpPr>
          <p:spPr>
            <a:xfrm>
              <a:off x="4068958" y="3958476"/>
              <a:ext cx="31345" cy="4478"/>
            </a:xfrm>
            <a:custGeom>
              <a:avLst/>
              <a:gdLst>
                <a:gd name="connsiteX0" fmla="*/ 31793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31793 w 31344"/>
                <a:gd name="connsiteY4" fmla="*/ 0 h 4477"/>
                <a:gd name="connsiteX5" fmla="*/ 34032 w 31344"/>
                <a:gd name="connsiteY5" fmla="*/ 2239 h 4477"/>
                <a:gd name="connsiteX6" fmla="*/ 31793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31793" y="4478"/>
                  </a:moveTo>
                  <a:lnTo>
                    <a:pt x="2239" y="4478"/>
                  </a:lnTo>
                  <a:cubicBezTo>
                    <a:pt x="896" y="4478"/>
                    <a:pt x="0" y="3582"/>
                    <a:pt x="0" y="2239"/>
                  </a:cubicBezTo>
                  <a:cubicBezTo>
                    <a:pt x="0" y="896"/>
                    <a:pt x="896" y="0"/>
                    <a:pt x="2239" y="0"/>
                  </a:cubicBezTo>
                  <a:lnTo>
                    <a:pt x="31793" y="0"/>
                  </a:lnTo>
                  <a:cubicBezTo>
                    <a:pt x="33136" y="0"/>
                    <a:pt x="34032" y="896"/>
                    <a:pt x="34032" y="2239"/>
                  </a:cubicBezTo>
                  <a:cubicBezTo>
                    <a:pt x="34032" y="3582"/>
                    <a:pt x="33136" y="4478"/>
                    <a:pt x="31793" y="4478"/>
                  </a:cubicBezTo>
                  <a:close/>
                </a:path>
              </a:pathLst>
            </a:custGeom>
            <a:solidFill>
              <a:srgbClr val="231F20"/>
            </a:solidFill>
            <a:ln w="4474" cap="flat">
              <a:noFill/>
              <a:prstDash val="solid"/>
              <a:miter/>
            </a:ln>
          </p:spPr>
          <p:txBody>
            <a:bodyPr rtlCol="0" anchor="ctr"/>
            <a:lstStyle/>
            <a:p>
              <a:endParaRPr lang="en-US"/>
            </a:p>
          </p:txBody>
        </p:sp>
        <p:sp>
          <p:nvSpPr>
            <p:cNvPr id="4475" name="Freeform: Shape 4474">
              <a:extLst>
                <a:ext uri="{FF2B5EF4-FFF2-40B4-BE49-F238E27FC236}">
                  <a16:creationId xmlns:a16="http://schemas.microsoft.com/office/drawing/2014/main" id="{5036E039-D95D-4854-8553-749A2FA48441}"/>
                </a:ext>
              </a:extLst>
            </p:cNvPr>
            <p:cNvSpPr/>
            <p:nvPr/>
          </p:nvSpPr>
          <p:spPr>
            <a:xfrm>
              <a:off x="4074779" y="3971910"/>
              <a:ext cx="17911" cy="4478"/>
            </a:xfrm>
            <a:custGeom>
              <a:avLst/>
              <a:gdLst>
                <a:gd name="connsiteX0" fmla="*/ 19703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9703 w 17911"/>
                <a:gd name="connsiteY4" fmla="*/ 0 h 4477"/>
                <a:gd name="connsiteX5" fmla="*/ 21941 w 17911"/>
                <a:gd name="connsiteY5" fmla="*/ 2239 h 4477"/>
                <a:gd name="connsiteX6" fmla="*/ 19703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9703" y="4478"/>
                  </a:moveTo>
                  <a:lnTo>
                    <a:pt x="2239" y="4478"/>
                  </a:lnTo>
                  <a:cubicBezTo>
                    <a:pt x="896" y="4478"/>
                    <a:pt x="0" y="3582"/>
                    <a:pt x="0" y="2239"/>
                  </a:cubicBezTo>
                  <a:cubicBezTo>
                    <a:pt x="0" y="896"/>
                    <a:pt x="896" y="0"/>
                    <a:pt x="2239" y="0"/>
                  </a:cubicBezTo>
                  <a:lnTo>
                    <a:pt x="19703" y="0"/>
                  </a:lnTo>
                  <a:cubicBezTo>
                    <a:pt x="21046" y="0"/>
                    <a:pt x="21941" y="896"/>
                    <a:pt x="21941" y="2239"/>
                  </a:cubicBezTo>
                  <a:cubicBezTo>
                    <a:pt x="21941" y="3582"/>
                    <a:pt x="21046" y="4478"/>
                    <a:pt x="19703" y="4478"/>
                  </a:cubicBezTo>
                  <a:close/>
                </a:path>
              </a:pathLst>
            </a:custGeom>
            <a:solidFill>
              <a:srgbClr val="231F20"/>
            </a:solidFill>
            <a:ln w="4474" cap="flat">
              <a:noFill/>
              <a:prstDash val="solid"/>
              <a:miter/>
            </a:ln>
          </p:spPr>
          <p:txBody>
            <a:bodyPr rtlCol="0" anchor="ctr"/>
            <a:lstStyle/>
            <a:p>
              <a:endParaRPr lang="en-US"/>
            </a:p>
          </p:txBody>
        </p:sp>
        <p:sp>
          <p:nvSpPr>
            <p:cNvPr id="4476" name="Freeform: Shape 4475">
              <a:extLst>
                <a:ext uri="{FF2B5EF4-FFF2-40B4-BE49-F238E27FC236}">
                  <a16:creationId xmlns:a16="http://schemas.microsoft.com/office/drawing/2014/main" id="{D21F18B4-F2C9-45C6-9F95-59BF9AC4B798}"/>
                </a:ext>
              </a:extLst>
            </p:cNvPr>
            <p:cNvSpPr/>
            <p:nvPr/>
          </p:nvSpPr>
          <p:spPr>
            <a:xfrm>
              <a:off x="4043434" y="3831754"/>
              <a:ext cx="85079" cy="102990"/>
            </a:xfrm>
            <a:custGeom>
              <a:avLst/>
              <a:gdLst>
                <a:gd name="connsiteX0" fmla="*/ 42539 w 85078"/>
                <a:gd name="connsiteY0" fmla="*/ 0 h 102989"/>
                <a:gd name="connsiteX1" fmla="*/ 0 w 85078"/>
                <a:gd name="connsiteY1" fmla="*/ 42539 h 102989"/>
                <a:gd name="connsiteX2" fmla="*/ 9851 w 85078"/>
                <a:gd name="connsiteY2" fmla="*/ 69854 h 102989"/>
                <a:gd name="connsiteX3" fmla="*/ 10299 w 85078"/>
                <a:gd name="connsiteY3" fmla="*/ 70302 h 102989"/>
                <a:gd name="connsiteX4" fmla="*/ 21941 w 85078"/>
                <a:gd name="connsiteY4" fmla="*/ 88661 h 102989"/>
                <a:gd name="connsiteX5" fmla="*/ 23285 w 85078"/>
                <a:gd name="connsiteY5" fmla="*/ 96273 h 102989"/>
                <a:gd name="connsiteX6" fmla="*/ 24180 w 85078"/>
                <a:gd name="connsiteY6" fmla="*/ 102094 h 102989"/>
                <a:gd name="connsiteX7" fmla="*/ 26419 w 85078"/>
                <a:gd name="connsiteY7" fmla="*/ 103885 h 102989"/>
                <a:gd name="connsiteX8" fmla="*/ 36270 w 85078"/>
                <a:gd name="connsiteY8" fmla="*/ 103885 h 102989"/>
                <a:gd name="connsiteX9" fmla="*/ 49704 w 85078"/>
                <a:gd name="connsiteY9" fmla="*/ 103885 h 102989"/>
                <a:gd name="connsiteX10" fmla="*/ 59107 w 85078"/>
                <a:gd name="connsiteY10" fmla="*/ 103885 h 102989"/>
                <a:gd name="connsiteX11" fmla="*/ 61346 w 85078"/>
                <a:gd name="connsiteY11" fmla="*/ 102094 h 102989"/>
                <a:gd name="connsiteX12" fmla="*/ 62242 w 85078"/>
                <a:gd name="connsiteY12" fmla="*/ 96721 h 102989"/>
                <a:gd name="connsiteX13" fmla="*/ 63585 w 85078"/>
                <a:gd name="connsiteY13" fmla="*/ 90452 h 102989"/>
                <a:gd name="connsiteX14" fmla="*/ 75228 w 85078"/>
                <a:gd name="connsiteY14" fmla="*/ 69854 h 102989"/>
                <a:gd name="connsiteX15" fmla="*/ 85526 w 85078"/>
                <a:gd name="connsiteY15" fmla="*/ 42091 h 102989"/>
                <a:gd name="connsiteX16" fmla="*/ 42539 w 85078"/>
                <a:gd name="connsiteY16" fmla="*/ 0 h 102989"/>
                <a:gd name="connsiteX17" fmla="*/ 38061 w 85078"/>
                <a:gd name="connsiteY17" fmla="*/ 99855 h 102989"/>
                <a:gd name="connsiteX18" fmla="*/ 38061 w 85078"/>
                <a:gd name="connsiteY18" fmla="*/ 53286 h 102989"/>
                <a:gd name="connsiteX19" fmla="*/ 47017 w 85078"/>
                <a:gd name="connsiteY19" fmla="*/ 53286 h 102989"/>
                <a:gd name="connsiteX20" fmla="*/ 47017 w 85078"/>
                <a:gd name="connsiteY20" fmla="*/ 99855 h 102989"/>
                <a:gd name="connsiteX21" fmla="*/ 38061 w 85078"/>
                <a:gd name="connsiteY21" fmla="*/ 99855 h 102989"/>
                <a:gd name="connsiteX22" fmla="*/ 71197 w 85078"/>
                <a:gd name="connsiteY22" fmla="*/ 67615 h 102989"/>
                <a:gd name="connsiteX23" fmla="*/ 59107 w 85078"/>
                <a:gd name="connsiteY23" fmla="*/ 90004 h 102989"/>
                <a:gd name="connsiteX24" fmla="*/ 57764 w 85078"/>
                <a:gd name="connsiteY24" fmla="*/ 96721 h 102989"/>
                <a:gd name="connsiteX25" fmla="*/ 57316 w 85078"/>
                <a:gd name="connsiteY25" fmla="*/ 99855 h 102989"/>
                <a:gd name="connsiteX26" fmla="*/ 51943 w 85078"/>
                <a:gd name="connsiteY26" fmla="*/ 99855 h 102989"/>
                <a:gd name="connsiteX27" fmla="*/ 51943 w 85078"/>
                <a:gd name="connsiteY27" fmla="*/ 51047 h 102989"/>
                <a:gd name="connsiteX28" fmla="*/ 49704 w 85078"/>
                <a:gd name="connsiteY28" fmla="*/ 48808 h 102989"/>
                <a:gd name="connsiteX29" fmla="*/ 36270 w 85078"/>
                <a:gd name="connsiteY29" fmla="*/ 48808 h 102989"/>
                <a:gd name="connsiteX30" fmla="*/ 34032 w 85078"/>
                <a:gd name="connsiteY30" fmla="*/ 51047 h 102989"/>
                <a:gd name="connsiteX31" fmla="*/ 34032 w 85078"/>
                <a:gd name="connsiteY31" fmla="*/ 99855 h 102989"/>
                <a:gd name="connsiteX32" fmla="*/ 28658 w 85078"/>
                <a:gd name="connsiteY32" fmla="*/ 99855 h 102989"/>
                <a:gd name="connsiteX33" fmla="*/ 28210 w 85078"/>
                <a:gd name="connsiteY33" fmla="*/ 96273 h 102989"/>
                <a:gd name="connsiteX34" fmla="*/ 26867 w 85078"/>
                <a:gd name="connsiteY34" fmla="*/ 87317 h 102989"/>
                <a:gd name="connsiteX35" fmla="*/ 14777 w 85078"/>
                <a:gd name="connsiteY35" fmla="*/ 68063 h 102989"/>
                <a:gd name="connsiteX36" fmla="*/ 14329 w 85078"/>
                <a:gd name="connsiteY36" fmla="*/ 67615 h 102989"/>
                <a:gd name="connsiteX37" fmla="*/ 4926 w 85078"/>
                <a:gd name="connsiteY37" fmla="*/ 42987 h 102989"/>
                <a:gd name="connsiteX38" fmla="*/ 42987 w 85078"/>
                <a:gd name="connsiteY38" fmla="*/ 4925 h 102989"/>
                <a:gd name="connsiteX39" fmla="*/ 81049 w 85078"/>
                <a:gd name="connsiteY39" fmla="*/ 42987 h 102989"/>
                <a:gd name="connsiteX40" fmla="*/ 71197 w 85078"/>
                <a:gd name="connsiteY40" fmla="*/ 67615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5078" h="102989">
                  <a:moveTo>
                    <a:pt x="42539" y="0"/>
                  </a:moveTo>
                  <a:cubicBezTo>
                    <a:pt x="19255" y="0"/>
                    <a:pt x="0" y="19255"/>
                    <a:pt x="0" y="42539"/>
                  </a:cubicBezTo>
                  <a:cubicBezTo>
                    <a:pt x="0" y="52391"/>
                    <a:pt x="3582" y="62241"/>
                    <a:pt x="9851" y="69854"/>
                  </a:cubicBezTo>
                  <a:cubicBezTo>
                    <a:pt x="9851" y="69854"/>
                    <a:pt x="9851" y="70302"/>
                    <a:pt x="10299" y="70302"/>
                  </a:cubicBezTo>
                  <a:cubicBezTo>
                    <a:pt x="10299" y="70302"/>
                    <a:pt x="18359" y="80153"/>
                    <a:pt x="21941" y="88661"/>
                  </a:cubicBezTo>
                  <a:cubicBezTo>
                    <a:pt x="22389" y="90004"/>
                    <a:pt x="22837" y="93586"/>
                    <a:pt x="23285" y="96273"/>
                  </a:cubicBezTo>
                  <a:cubicBezTo>
                    <a:pt x="23733" y="98960"/>
                    <a:pt x="23733" y="100751"/>
                    <a:pt x="24180" y="102094"/>
                  </a:cubicBezTo>
                  <a:cubicBezTo>
                    <a:pt x="24628" y="102990"/>
                    <a:pt x="25524" y="103885"/>
                    <a:pt x="26419" y="103885"/>
                  </a:cubicBezTo>
                  <a:lnTo>
                    <a:pt x="36270" y="103885"/>
                  </a:lnTo>
                  <a:lnTo>
                    <a:pt x="49704" y="103885"/>
                  </a:lnTo>
                  <a:lnTo>
                    <a:pt x="59107" y="103885"/>
                  </a:lnTo>
                  <a:cubicBezTo>
                    <a:pt x="60003" y="103885"/>
                    <a:pt x="60898" y="103437"/>
                    <a:pt x="61346" y="102094"/>
                  </a:cubicBezTo>
                  <a:cubicBezTo>
                    <a:pt x="61794" y="101199"/>
                    <a:pt x="61794" y="98960"/>
                    <a:pt x="62242" y="96721"/>
                  </a:cubicBezTo>
                  <a:cubicBezTo>
                    <a:pt x="62689" y="94482"/>
                    <a:pt x="63137" y="91347"/>
                    <a:pt x="63585" y="90452"/>
                  </a:cubicBezTo>
                  <a:cubicBezTo>
                    <a:pt x="66720" y="81496"/>
                    <a:pt x="75228" y="69854"/>
                    <a:pt x="75228" y="69854"/>
                  </a:cubicBezTo>
                  <a:cubicBezTo>
                    <a:pt x="81944" y="62241"/>
                    <a:pt x="85526" y="52391"/>
                    <a:pt x="85526" y="42091"/>
                  </a:cubicBezTo>
                  <a:cubicBezTo>
                    <a:pt x="85079" y="19255"/>
                    <a:pt x="65824" y="0"/>
                    <a:pt x="42539" y="0"/>
                  </a:cubicBezTo>
                  <a:close/>
                  <a:moveTo>
                    <a:pt x="38061" y="99855"/>
                  </a:moveTo>
                  <a:lnTo>
                    <a:pt x="38061" y="53286"/>
                  </a:lnTo>
                  <a:lnTo>
                    <a:pt x="47017" y="53286"/>
                  </a:lnTo>
                  <a:lnTo>
                    <a:pt x="47017" y="99855"/>
                  </a:lnTo>
                  <a:lnTo>
                    <a:pt x="38061" y="99855"/>
                  </a:lnTo>
                  <a:close/>
                  <a:moveTo>
                    <a:pt x="71197" y="67615"/>
                  </a:moveTo>
                  <a:cubicBezTo>
                    <a:pt x="70750" y="68063"/>
                    <a:pt x="62242" y="80153"/>
                    <a:pt x="59107" y="90004"/>
                  </a:cubicBezTo>
                  <a:cubicBezTo>
                    <a:pt x="58660" y="91347"/>
                    <a:pt x="58212" y="93586"/>
                    <a:pt x="57764" y="96721"/>
                  </a:cubicBezTo>
                  <a:cubicBezTo>
                    <a:pt x="57764" y="98064"/>
                    <a:pt x="57316" y="98960"/>
                    <a:pt x="57316" y="99855"/>
                  </a:cubicBezTo>
                  <a:lnTo>
                    <a:pt x="51943" y="99855"/>
                  </a:lnTo>
                  <a:lnTo>
                    <a:pt x="51943" y="51047"/>
                  </a:lnTo>
                  <a:cubicBezTo>
                    <a:pt x="51943" y="49704"/>
                    <a:pt x="51047" y="48808"/>
                    <a:pt x="49704" y="48808"/>
                  </a:cubicBezTo>
                  <a:lnTo>
                    <a:pt x="36270" y="48808"/>
                  </a:lnTo>
                  <a:cubicBezTo>
                    <a:pt x="34927" y="48808"/>
                    <a:pt x="34032" y="49704"/>
                    <a:pt x="34032" y="51047"/>
                  </a:cubicBezTo>
                  <a:lnTo>
                    <a:pt x="34032" y="99855"/>
                  </a:lnTo>
                  <a:lnTo>
                    <a:pt x="28658" y="99855"/>
                  </a:lnTo>
                  <a:cubicBezTo>
                    <a:pt x="28658" y="98960"/>
                    <a:pt x="28210" y="97616"/>
                    <a:pt x="28210" y="96273"/>
                  </a:cubicBezTo>
                  <a:cubicBezTo>
                    <a:pt x="27763" y="91795"/>
                    <a:pt x="27315" y="89108"/>
                    <a:pt x="26867" y="87317"/>
                  </a:cubicBezTo>
                  <a:cubicBezTo>
                    <a:pt x="23285" y="79257"/>
                    <a:pt x="16568" y="70302"/>
                    <a:pt x="14777" y="68063"/>
                  </a:cubicBezTo>
                  <a:cubicBezTo>
                    <a:pt x="14777" y="68063"/>
                    <a:pt x="14777" y="67615"/>
                    <a:pt x="14329" y="67615"/>
                  </a:cubicBezTo>
                  <a:cubicBezTo>
                    <a:pt x="8060" y="60451"/>
                    <a:pt x="4926" y="51943"/>
                    <a:pt x="4926" y="42987"/>
                  </a:cubicBezTo>
                  <a:cubicBezTo>
                    <a:pt x="4926" y="21941"/>
                    <a:pt x="21941" y="4925"/>
                    <a:pt x="42987" y="4925"/>
                  </a:cubicBezTo>
                  <a:cubicBezTo>
                    <a:pt x="64033" y="4925"/>
                    <a:pt x="81049" y="21941"/>
                    <a:pt x="81049" y="42987"/>
                  </a:cubicBezTo>
                  <a:cubicBezTo>
                    <a:pt x="80601" y="51943"/>
                    <a:pt x="77019" y="60451"/>
                    <a:pt x="71197" y="67615"/>
                  </a:cubicBezTo>
                  <a:close/>
                </a:path>
              </a:pathLst>
            </a:custGeom>
            <a:solidFill>
              <a:srgbClr val="231F20"/>
            </a:solidFill>
            <a:ln w="4474" cap="flat">
              <a:noFill/>
              <a:prstDash val="solid"/>
              <a:miter/>
            </a:ln>
          </p:spPr>
          <p:txBody>
            <a:bodyPr rtlCol="0" anchor="ctr"/>
            <a:lstStyle/>
            <a:p>
              <a:endParaRPr lang="en-US"/>
            </a:p>
          </p:txBody>
        </p:sp>
      </p:grpSp>
      <p:grpSp>
        <p:nvGrpSpPr>
          <p:cNvPr id="4477" name="Group 4476">
            <a:extLst>
              <a:ext uri="{FF2B5EF4-FFF2-40B4-BE49-F238E27FC236}">
                <a16:creationId xmlns:a16="http://schemas.microsoft.com/office/drawing/2014/main" id="{C95AF1B8-E841-4B7B-9627-89791F9A6152}"/>
              </a:ext>
              <a:ext uri="{C183D7F6-B498-43B3-948B-1728B52AA6E4}">
                <adec:decorative xmlns:adec="http://schemas.microsoft.com/office/drawing/2017/decorative" val="1"/>
              </a:ext>
            </a:extLst>
          </p:cNvPr>
          <p:cNvGrpSpPr>
            <a:grpSpLocks noChangeAspect="1"/>
          </p:cNvGrpSpPr>
          <p:nvPr/>
        </p:nvGrpSpPr>
        <p:grpSpPr>
          <a:xfrm>
            <a:off x="3428356" y="5223344"/>
            <a:ext cx="147992" cy="147544"/>
            <a:chOff x="3479677" y="4492232"/>
            <a:chExt cx="147992" cy="147544"/>
          </a:xfrm>
        </p:grpSpPr>
        <p:sp>
          <p:nvSpPr>
            <p:cNvPr id="4478" name="Freeform: Shape 4477">
              <a:extLst>
                <a:ext uri="{FF2B5EF4-FFF2-40B4-BE49-F238E27FC236}">
                  <a16:creationId xmlns:a16="http://schemas.microsoft.com/office/drawing/2014/main" id="{F337C455-1B93-4E5B-BA25-98555C08B944}"/>
                </a:ext>
              </a:extLst>
            </p:cNvPr>
            <p:cNvSpPr/>
            <p:nvPr/>
          </p:nvSpPr>
          <p:spPr>
            <a:xfrm>
              <a:off x="3503185" y="4515293"/>
              <a:ext cx="22389" cy="22389"/>
            </a:xfrm>
            <a:custGeom>
              <a:avLst/>
              <a:gdLst>
                <a:gd name="connsiteX0" fmla="*/ 21270 w 22389"/>
                <a:gd name="connsiteY0" fmla="*/ 23508 h 22389"/>
                <a:gd name="connsiteX1" fmla="*/ 19478 w 22389"/>
                <a:gd name="connsiteY1" fmla="*/ 23061 h 22389"/>
                <a:gd name="connsiteX2" fmla="*/ 672 w 22389"/>
                <a:gd name="connsiteY2" fmla="*/ 3806 h 22389"/>
                <a:gd name="connsiteX3" fmla="*/ 672 w 22389"/>
                <a:gd name="connsiteY3" fmla="*/ 672 h 22389"/>
                <a:gd name="connsiteX4" fmla="*/ 3806 w 22389"/>
                <a:gd name="connsiteY4" fmla="*/ 672 h 22389"/>
                <a:gd name="connsiteX5" fmla="*/ 22613 w 22389"/>
                <a:gd name="connsiteY5" fmla="*/ 19926 h 22389"/>
                <a:gd name="connsiteX6" fmla="*/ 22613 w 22389"/>
                <a:gd name="connsiteY6" fmla="*/ 23061 h 22389"/>
                <a:gd name="connsiteX7" fmla="*/ 21270 w 22389"/>
                <a:gd name="connsiteY7" fmla="*/ 23508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9" h="22389">
                  <a:moveTo>
                    <a:pt x="21270" y="23508"/>
                  </a:moveTo>
                  <a:cubicBezTo>
                    <a:pt x="20822" y="23508"/>
                    <a:pt x="19926" y="23508"/>
                    <a:pt x="19478" y="23061"/>
                  </a:cubicBezTo>
                  <a:lnTo>
                    <a:pt x="672" y="3806"/>
                  </a:lnTo>
                  <a:cubicBezTo>
                    <a:pt x="-224" y="2911"/>
                    <a:pt x="-224" y="1567"/>
                    <a:pt x="672" y="672"/>
                  </a:cubicBezTo>
                  <a:cubicBezTo>
                    <a:pt x="1567" y="-224"/>
                    <a:pt x="2910" y="-224"/>
                    <a:pt x="3806" y="672"/>
                  </a:cubicBezTo>
                  <a:lnTo>
                    <a:pt x="22613" y="19926"/>
                  </a:lnTo>
                  <a:cubicBezTo>
                    <a:pt x="23509" y="20822"/>
                    <a:pt x="23509" y="22165"/>
                    <a:pt x="22613" y="23061"/>
                  </a:cubicBezTo>
                  <a:cubicBezTo>
                    <a:pt x="22165" y="23508"/>
                    <a:pt x="21717" y="23508"/>
                    <a:pt x="21270" y="23508"/>
                  </a:cubicBezTo>
                  <a:close/>
                </a:path>
              </a:pathLst>
            </a:custGeom>
            <a:solidFill>
              <a:srgbClr val="231F20"/>
            </a:solidFill>
            <a:ln w="4474" cap="flat">
              <a:noFill/>
              <a:prstDash val="solid"/>
              <a:miter/>
            </a:ln>
          </p:spPr>
          <p:txBody>
            <a:bodyPr rtlCol="0" anchor="ctr"/>
            <a:lstStyle/>
            <a:p>
              <a:endParaRPr lang="en-US"/>
            </a:p>
          </p:txBody>
        </p:sp>
        <p:sp>
          <p:nvSpPr>
            <p:cNvPr id="4479" name="Freeform: Shape 4478">
              <a:extLst>
                <a:ext uri="{FF2B5EF4-FFF2-40B4-BE49-F238E27FC236}">
                  <a16:creationId xmlns:a16="http://schemas.microsoft.com/office/drawing/2014/main" id="{74C8EDE2-632B-46C4-AC62-BDF1106E968C}"/>
                </a:ext>
              </a:extLst>
            </p:cNvPr>
            <p:cNvSpPr/>
            <p:nvPr/>
          </p:nvSpPr>
          <p:spPr>
            <a:xfrm>
              <a:off x="3487289" y="4545518"/>
              <a:ext cx="26867" cy="4478"/>
            </a:xfrm>
            <a:custGeom>
              <a:avLst/>
              <a:gdLst>
                <a:gd name="connsiteX0" fmla="*/ 27762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7762 w 26866"/>
                <a:gd name="connsiteY4" fmla="*/ 0 h 4477"/>
                <a:gd name="connsiteX5" fmla="*/ 30001 w 26866"/>
                <a:gd name="connsiteY5" fmla="*/ 2239 h 4477"/>
                <a:gd name="connsiteX6" fmla="*/ 27762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7762" y="4478"/>
                  </a:moveTo>
                  <a:lnTo>
                    <a:pt x="2239" y="4478"/>
                  </a:lnTo>
                  <a:cubicBezTo>
                    <a:pt x="895" y="4478"/>
                    <a:pt x="0" y="3582"/>
                    <a:pt x="0" y="2239"/>
                  </a:cubicBezTo>
                  <a:cubicBezTo>
                    <a:pt x="0" y="896"/>
                    <a:pt x="895" y="0"/>
                    <a:pt x="2239" y="0"/>
                  </a:cubicBezTo>
                  <a:lnTo>
                    <a:pt x="27762" y="0"/>
                  </a:lnTo>
                  <a:cubicBezTo>
                    <a:pt x="29106" y="0"/>
                    <a:pt x="30001" y="896"/>
                    <a:pt x="30001" y="2239"/>
                  </a:cubicBezTo>
                  <a:cubicBezTo>
                    <a:pt x="30001" y="3582"/>
                    <a:pt x="28658" y="4478"/>
                    <a:pt x="27762" y="4478"/>
                  </a:cubicBezTo>
                  <a:close/>
                </a:path>
              </a:pathLst>
            </a:custGeom>
            <a:solidFill>
              <a:srgbClr val="231F20"/>
            </a:solidFill>
            <a:ln w="4474" cap="flat">
              <a:noFill/>
              <a:prstDash val="solid"/>
              <a:miter/>
            </a:ln>
          </p:spPr>
          <p:txBody>
            <a:bodyPr rtlCol="0" anchor="ctr"/>
            <a:lstStyle/>
            <a:p>
              <a:endParaRPr lang="en-US"/>
            </a:p>
          </p:txBody>
        </p:sp>
        <p:sp>
          <p:nvSpPr>
            <p:cNvPr id="4480" name="Freeform: Shape 4479">
              <a:extLst>
                <a:ext uri="{FF2B5EF4-FFF2-40B4-BE49-F238E27FC236}">
                  <a16:creationId xmlns:a16="http://schemas.microsoft.com/office/drawing/2014/main" id="{608E9398-E34B-4FF0-ADD0-AF9500E89CD0}"/>
                </a:ext>
              </a:extLst>
            </p:cNvPr>
            <p:cNvSpPr/>
            <p:nvPr/>
          </p:nvSpPr>
          <p:spPr>
            <a:xfrm>
              <a:off x="3533411" y="4499397"/>
              <a:ext cx="4478" cy="26867"/>
            </a:xfrm>
            <a:custGeom>
              <a:avLst/>
              <a:gdLst>
                <a:gd name="connsiteX0" fmla="*/ 2239 w 4477"/>
                <a:gd name="connsiteY0" fmla="*/ 30449 h 26866"/>
                <a:gd name="connsiteX1" fmla="*/ 0 w 4477"/>
                <a:gd name="connsiteY1" fmla="*/ 28210 h 26866"/>
                <a:gd name="connsiteX2" fmla="*/ 0 w 4477"/>
                <a:gd name="connsiteY2" fmla="*/ 2239 h 26866"/>
                <a:gd name="connsiteX3" fmla="*/ 2239 w 4477"/>
                <a:gd name="connsiteY3" fmla="*/ 0 h 26866"/>
                <a:gd name="connsiteX4" fmla="*/ 4478 w 4477"/>
                <a:gd name="connsiteY4" fmla="*/ 2239 h 26866"/>
                <a:gd name="connsiteX5" fmla="*/ 4478 w 4477"/>
                <a:gd name="connsiteY5" fmla="*/ 28210 h 26866"/>
                <a:gd name="connsiteX6" fmla="*/ 2239 w 4477"/>
                <a:gd name="connsiteY6" fmla="*/ 30449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6866">
                  <a:moveTo>
                    <a:pt x="2239" y="30449"/>
                  </a:moveTo>
                  <a:cubicBezTo>
                    <a:pt x="896" y="30449"/>
                    <a:pt x="0" y="29554"/>
                    <a:pt x="0" y="28210"/>
                  </a:cubicBezTo>
                  <a:lnTo>
                    <a:pt x="0" y="2239"/>
                  </a:lnTo>
                  <a:cubicBezTo>
                    <a:pt x="0" y="896"/>
                    <a:pt x="896" y="0"/>
                    <a:pt x="2239" y="0"/>
                  </a:cubicBezTo>
                  <a:cubicBezTo>
                    <a:pt x="3582" y="0"/>
                    <a:pt x="4478" y="896"/>
                    <a:pt x="4478" y="2239"/>
                  </a:cubicBezTo>
                  <a:lnTo>
                    <a:pt x="4478" y="28210"/>
                  </a:lnTo>
                  <a:cubicBezTo>
                    <a:pt x="4478" y="29554"/>
                    <a:pt x="3582" y="30449"/>
                    <a:pt x="2239" y="30449"/>
                  </a:cubicBezTo>
                  <a:close/>
                </a:path>
              </a:pathLst>
            </a:custGeom>
            <a:solidFill>
              <a:srgbClr val="231F20"/>
            </a:solidFill>
            <a:ln w="4474" cap="flat">
              <a:noFill/>
              <a:prstDash val="solid"/>
              <a:miter/>
            </a:ln>
          </p:spPr>
          <p:txBody>
            <a:bodyPr rtlCol="0" anchor="ctr"/>
            <a:lstStyle/>
            <a:p>
              <a:endParaRPr lang="en-US"/>
            </a:p>
          </p:txBody>
        </p:sp>
        <p:sp>
          <p:nvSpPr>
            <p:cNvPr id="4481" name="Freeform: Shape 4480">
              <a:extLst>
                <a:ext uri="{FF2B5EF4-FFF2-40B4-BE49-F238E27FC236}">
                  <a16:creationId xmlns:a16="http://schemas.microsoft.com/office/drawing/2014/main" id="{ED558C72-C73F-4426-B5FD-6A344AB0CEB8}"/>
                </a:ext>
              </a:extLst>
            </p:cNvPr>
            <p:cNvSpPr/>
            <p:nvPr/>
          </p:nvSpPr>
          <p:spPr>
            <a:xfrm>
              <a:off x="3583786" y="4596789"/>
              <a:ext cx="22389" cy="22389"/>
            </a:xfrm>
            <a:custGeom>
              <a:avLst/>
              <a:gdLst>
                <a:gd name="connsiteX0" fmla="*/ 21270 w 22389"/>
                <a:gd name="connsiteY0" fmla="*/ 23508 h 22389"/>
                <a:gd name="connsiteX1" fmla="*/ 19478 w 22389"/>
                <a:gd name="connsiteY1" fmla="*/ 23061 h 22389"/>
                <a:gd name="connsiteX2" fmla="*/ 672 w 22389"/>
                <a:gd name="connsiteY2" fmla="*/ 3806 h 22389"/>
                <a:gd name="connsiteX3" fmla="*/ 672 w 22389"/>
                <a:gd name="connsiteY3" fmla="*/ 672 h 22389"/>
                <a:gd name="connsiteX4" fmla="*/ 3806 w 22389"/>
                <a:gd name="connsiteY4" fmla="*/ 672 h 22389"/>
                <a:gd name="connsiteX5" fmla="*/ 22613 w 22389"/>
                <a:gd name="connsiteY5" fmla="*/ 19926 h 22389"/>
                <a:gd name="connsiteX6" fmla="*/ 22613 w 22389"/>
                <a:gd name="connsiteY6" fmla="*/ 23061 h 22389"/>
                <a:gd name="connsiteX7" fmla="*/ 21270 w 22389"/>
                <a:gd name="connsiteY7" fmla="*/ 23508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9" h="22389">
                  <a:moveTo>
                    <a:pt x="21270" y="23508"/>
                  </a:moveTo>
                  <a:cubicBezTo>
                    <a:pt x="20822" y="23508"/>
                    <a:pt x="19926" y="23508"/>
                    <a:pt x="19478" y="23061"/>
                  </a:cubicBezTo>
                  <a:lnTo>
                    <a:pt x="672" y="3806"/>
                  </a:lnTo>
                  <a:cubicBezTo>
                    <a:pt x="-224" y="2911"/>
                    <a:pt x="-224" y="1567"/>
                    <a:pt x="672" y="672"/>
                  </a:cubicBezTo>
                  <a:cubicBezTo>
                    <a:pt x="1567" y="-224"/>
                    <a:pt x="2910" y="-224"/>
                    <a:pt x="3806" y="672"/>
                  </a:cubicBezTo>
                  <a:lnTo>
                    <a:pt x="22613" y="19926"/>
                  </a:lnTo>
                  <a:cubicBezTo>
                    <a:pt x="23509" y="20822"/>
                    <a:pt x="23509" y="22165"/>
                    <a:pt x="22613" y="23061"/>
                  </a:cubicBezTo>
                  <a:cubicBezTo>
                    <a:pt x="22613" y="23061"/>
                    <a:pt x="21717" y="23508"/>
                    <a:pt x="21270" y="23508"/>
                  </a:cubicBezTo>
                  <a:close/>
                </a:path>
              </a:pathLst>
            </a:custGeom>
            <a:solidFill>
              <a:srgbClr val="231F20"/>
            </a:solidFill>
            <a:ln w="4474" cap="flat">
              <a:noFill/>
              <a:prstDash val="solid"/>
              <a:miter/>
            </a:ln>
          </p:spPr>
          <p:txBody>
            <a:bodyPr rtlCol="0" anchor="ctr"/>
            <a:lstStyle/>
            <a:p>
              <a:endParaRPr lang="en-US"/>
            </a:p>
          </p:txBody>
        </p:sp>
        <p:sp>
          <p:nvSpPr>
            <p:cNvPr id="4482" name="Freeform: Shape 4481">
              <a:extLst>
                <a:ext uri="{FF2B5EF4-FFF2-40B4-BE49-F238E27FC236}">
                  <a16:creationId xmlns:a16="http://schemas.microsoft.com/office/drawing/2014/main" id="{ADCDFDF6-BB91-4DDF-9064-5C5DA0E02616}"/>
                </a:ext>
              </a:extLst>
            </p:cNvPr>
            <p:cNvSpPr/>
            <p:nvPr/>
          </p:nvSpPr>
          <p:spPr>
            <a:xfrm>
              <a:off x="3574159" y="4606864"/>
              <a:ext cx="4478" cy="26867"/>
            </a:xfrm>
            <a:custGeom>
              <a:avLst/>
              <a:gdLst>
                <a:gd name="connsiteX0" fmla="*/ 2239 w 4477"/>
                <a:gd name="connsiteY0" fmla="*/ 30449 h 26866"/>
                <a:gd name="connsiteX1" fmla="*/ 0 w 4477"/>
                <a:gd name="connsiteY1" fmla="*/ 28210 h 26866"/>
                <a:gd name="connsiteX2" fmla="*/ 0 w 4477"/>
                <a:gd name="connsiteY2" fmla="*/ 2239 h 26866"/>
                <a:gd name="connsiteX3" fmla="*/ 2239 w 4477"/>
                <a:gd name="connsiteY3" fmla="*/ 0 h 26866"/>
                <a:gd name="connsiteX4" fmla="*/ 4478 w 4477"/>
                <a:gd name="connsiteY4" fmla="*/ 2239 h 26866"/>
                <a:gd name="connsiteX5" fmla="*/ 4478 w 4477"/>
                <a:gd name="connsiteY5" fmla="*/ 28210 h 26866"/>
                <a:gd name="connsiteX6" fmla="*/ 2239 w 4477"/>
                <a:gd name="connsiteY6" fmla="*/ 30449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6866">
                  <a:moveTo>
                    <a:pt x="2239" y="30449"/>
                  </a:moveTo>
                  <a:cubicBezTo>
                    <a:pt x="896" y="30449"/>
                    <a:pt x="0" y="29554"/>
                    <a:pt x="0" y="28210"/>
                  </a:cubicBezTo>
                  <a:lnTo>
                    <a:pt x="0" y="2239"/>
                  </a:lnTo>
                  <a:cubicBezTo>
                    <a:pt x="0" y="896"/>
                    <a:pt x="896" y="0"/>
                    <a:pt x="2239" y="0"/>
                  </a:cubicBezTo>
                  <a:cubicBezTo>
                    <a:pt x="3582" y="0"/>
                    <a:pt x="4478" y="896"/>
                    <a:pt x="4478" y="2239"/>
                  </a:cubicBezTo>
                  <a:lnTo>
                    <a:pt x="4478" y="28210"/>
                  </a:lnTo>
                  <a:cubicBezTo>
                    <a:pt x="4478" y="29106"/>
                    <a:pt x="3582" y="30449"/>
                    <a:pt x="2239" y="30449"/>
                  </a:cubicBezTo>
                  <a:close/>
                </a:path>
              </a:pathLst>
            </a:custGeom>
            <a:solidFill>
              <a:srgbClr val="231F20"/>
            </a:solidFill>
            <a:ln w="4474" cap="flat">
              <a:noFill/>
              <a:prstDash val="solid"/>
              <a:miter/>
            </a:ln>
          </p:spPr>
          <p:txBody>
            <a:bodyPr rtlCol="0" anchor="ctr"/>
            <a:lstStyle/>
            <a:p>
              <a:endParaRPr lang="en-US"/>
            </a:p>
          </p:txBody>
        </p:sp>
        <p:sp>
          <p:nvSpPr>
            <p:cNvPr id="4483" name="Freeform: Shape 4482">
              <a:extLst>
                <a:ext uri="{FF2B5EF4-FFF2-40B4-BE49-F238E27FC236}">
                  <a16:creationId xmlns:a16="http://schemas.microsoft.com/office/drawing/2014/main" id="{4E953687-57C8-40E5-B580-A455B60D6D66}"/>
                </a:ext>
              </a:extLst>
            </p:cNvPr>
            <p:cNvSpPr/>
            <p:nvPr/>
          </p:nvSpPr>
          <p:spPr>
            <a:xfrm>
              <a:off x="3593413" y="4585818"/>
              <a:ext cx="26867" cy="4478"/>
            </a:xfrm>
            <a:custGeom>
              <a:avLst/>
              <a:gdLst>
                <a:gd name="connsiteX0" fmla="*/ 27763 w 26866"/>
                <a:gd name="connsiteY0" fmla="*/ 4478 h 4477"/>
                <a:gd name="connsiteX1" fmla="*/ 2239 w 26866"/>
                <a:gd name="connsiteY1" fmla="*/ 4478 h 4477"/>
                <a:gd name="connsiteX2" fmla="*/ 0 w 26866"/>
                <a:gd name="connsiteY2" fmla="*/ 2239 h 4477"/>
                <a:gd name="connsiteX3" fmla="*/ 2239 w 26866"/>
                <a:gd name="connsiteY3" fmla="*/ 0 h 4477"/>
                <a:gd name="connsiteX4" fmla="*/ 27763 w 26866"/>
                <a:gd name="connsiteY4" fmla="*/ 0 h 4477"/>
                <a:gd name="connsiteX5" fmla="*/ 30001 w 26866"/>
                <a:gd name="connsiteY5" fmla="*/ 2239 h 4477"/>
                <a:gd name="connsiteX6" fmla="*/ 27763 w 26866"/>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6" h="4477">
                  <a:moveTo>
                    <a:pt x="27763" y="4478"/>
                  </a:moveTo>
                  <a:lnTo>
                    <a:pt x="2239" y="4478"/>
                  </a:lnTo>
                  <a:cubicBezTo>
                    <a:pt x="896" y="4478"/>
                    <a:pt x="0" y="3582"/>
                    <a:pt x="0" y="2239"/>
                  </a:cubicBezTo>
                  <a:cubicBezTo>
                    <a:pt x="0" y="896"/>
                    <a:pt x="896" y="0"/>
                    <a:pt x="2239" y="0"/>
                  </a:cubicBezTo>
                  <a:lnTo>
                    <a:pt x="27763" y="0"/>
                  </a:lnTo>
                  <a:cubicBezTo>
                    <a:pt x="29106" y="0"/>
                    <a:pt x="30001" y="896"/>
                    <a:pt x="30001" y="2239"/>
                  </a:cubicBezTo>
                  <a:cubicBezTo>
                    <a:pt x="30001" y="3582"/>
                    <a:pt x="29106" y="4478"/>
                    <a:pt x="27763" y="4478"/>
                  </a:cubicBezTo>
                  <a:close/>
                </a:path>
              </a:pathLst>
            </a:custGeom>
            <a:solidFill>
              <a:srgbClr val="231F20"/>
            </a:solidFill>
            <a:ln w="4474" cap="flat">
              <a:noFill/>
              <a:prstDash val="solid"/>
              <a:miter/>
            </a:ln>
          </p:spPr>
          <p:txBody>
            <a:bodyPr rtlCol="0" anchor="ctr"/>
            <a:lstStyle/>
            <a:p>
              <a:endParaRPr lang="en-US"/>
            </a:p>
          </p:txBody>
        </p:sp>
        <p:sp>
          <p:nvSpPr>
            <p:cNvPr id="4484" name="Freeform: Shape 4483">
              <a:extLst>
                <a:ext uri="{FF2B5EF4-FFF2-40B4-BE49-F238E27FC236}">
                  <a16:creationId xmlns:a16="http://schemas.microsoft.com/office/drawing/2014/main" id="{0353F0F4-DB86-4F21-B8BA-CFD307969C9B}"/>
                </a:ext>
              </a:extLst>
            </p:cNvPr>
            <p:cNvSpPr/>
            <p:nvPr/>
          </p:nvSpPr>
          <p:spPr>
            <a:xfrm>
              <a:off x="3551546" y="4492232"/>
              <a:ext cx="76123" cy="76123"/>
            </a:xfrm>
            <a:custGeom>
              <a:avLst/>
              <a:gdLst>
                <a:gd name="connsiteX0" fmla="*/ 43211 w 76122"/>
                <a:gd name="connsiteY0" fmla="*/ 80153 h 76122"/>
                <a:gd name="connsiteX1" fmla="*/ 41420 w 76122"/>
                <a:gd name="connsiteY1" fmla="*/ 79705 h 76122"/>
                <a:gd name="connsiteX2" fmla="*/ 41420 w 76122"/>
                <a:gd name="connsiteY2" fmla="*/ 76571 h 76122"/>
                <a:gd name="connsiteX3" fmla="*/ 68287 w 76122"/>
                <a:gd name="connsiteY3" fmla="*/ 49704 h 76122"/>
                <a:gd name="connsiteX4" fmla="*/ 75899 w 76122"/>
                <a:gd name="connsiteY4" fmla="*/ 30897 h 76122"/>
                <a:gd name="connsiteX5" fmla="*/ 49480 w 76122"/>
                <a:gd name="connsiteY5" fmla="*/ 4478 h 76122"/>
                <a:gd name="connsiteX6" fmla="*/ 30673 w 76122"/>
                <a:gd name="connsiteY6" fmla="*/ 12090 h 76122"/>
                <a:gd name="connsiteX7" fmla="*/ 3806 w 76122"/>
                <a:gd name="connsiteY7" fmla="*/ 38957 h 76122"/>
                <a:gd name="connsiteX8" fmla="*/ 672 w 76122"/>
                <a:gd name="connsiteY8" fmla="*/ 38957 h 76122"/>
                <a:gd name="connsiteX9" fmla="*/ 672 w 76122"/>
                <a:gd name="connsiteY9" fmla="*/ 35823 h 76122"/>
                <a:gd name="connsiteX10" fmla="*/ 27539 w 76122"/>
                <a:gd name="connsiteY10" fmla="*/ 8956 h 76122"/>
                <a:gd name="connsiteX11" fmla="*/ 49480 w 76122"/>
                <a:gd name="connsiteY11" fmla="*/ 0 h 76122"/>
                <a:gd name="connsiteX12" fmla="*/ 80377 w 76122"/>
                <a:gd name="connsiteY12" fmla="*/ 30897 h 76122"/>
                <a:gd name="connsiteX13" fmla="*/ 71421 w 76122"/>
                <a:gd name="connsiteY13" fmla="*/ 52838 h 76122"/>
                <a:gd name="connsiteX14" fmla="*/ 44554 w 76122"/>
                <a:gd name="connsiteY14" fmla="*/ 79705 h 76122"/>
                <a:gd name="connsiteX15" fmla="*/ 43211 w 76122"/>
                <a:gd name="connsiteY15" fmla="*/ 80153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22" h="76122">
                  <a:moveTo>
                    <a:pt x="43211" y="80153"/>
                  </a:moveTo>
                  <a:cubicBezTo>
                    <a:pt x="42763" y="80153"/>
                    <a:pt x="41867" y="80153"/>
                    <a:pt x="41420" y="79705"/>
                  </a:cubicBezTo>
                  <a:cubicBezTo>
                    <a:pt x="40524" y="78809"/>
                    <a:pt x="40524" y="77466"/>
                    <a:pt x="41420" y="76571"/>
                  </a:cubicBezTo>
                  <a:lnTo>
                    <a:pt x="68287" y="49704"/>
                  </a:lnTo>
                  <a:cubicBezTo>
                    <a:pt x="73212" y="44778"/>
                    <a:pt x="75899" y="38061"/>
                    <a:pt x="75899" y="30897"/>
                  </a:cubicBezTo>
                  <a:cubicBezTo>
                    <a:pt x="75899" y="16120"/>
                    <a:pt x="64257" y="4478"/>
                    <a:pt x="49480" y="4478"/>
                  </a:cubicBezTo>
                  <a:cubicBezTo>
                    <a:pt x="42315" y="4478"/>
                    <a:pt x="36046" y="7164"/>
                    <a:pt x="30673" y="12090"/>
                  </a:cubicBezTo>
                  <a:lnTo>
                    <a:pt x="3806" y="38957"/>
                  </a:lnTo>
                  <a:cubicBezTo>
                    <a:pt x="2911" y="39852"/>
                    <a:pt x="1567" y="39852"/>
                    <a:pt x="672" y="38957"/>
                  </a:cubicBezTo>
                  <a:cubicBezTo>
                    <a:pt x="-224" y="38061"/>
                    <a:pt x="-224" y="36718"/>
                    <a:pt x="672" y="35823"/>
                  </a:cubicBezTo>
                  <a:lnTo>
                    <a:pt x="27539" y="8956"/>
                  </a:lnTo>
                  <a:cubicBezTo>
                    <a:pt x="33360" y="3135"/>
                    <a:pt x="40972" y="0"/>
                    <a:pt x="49480" y="0"/>
                  </a:cubicBezTo>
                  <a:cubicBezTo>
                    <a:pt x="66495" y="0"/>
                    <a:pt x="80377" y="13881"/>
                    <a:pt x="80377" y="30897"/>
                  </a:cubicBezTo>
                  <a:cubicBezTo>
                    <a:pt x="80377" y="38957"/>
                    <a:pt x="77242" y="47017"/>
                    <a:pt x="71421" y="52838"/>
                  </a:cubicBezTo>
                  <a:lnTo>
                    <a:pt x="44554" y="79705"/>
                  </a:lnTo>
                  <a:cubicBezTo>
                    <a:pt x="44554" y="79705"/>
                    <a:pt x="43659" y="80153"/>
                    <a:pt x="43211" y="80153"/>
                  </a:cubicBezTo>
                  <a:close/>
                </a:path>
              </a:pathLst>
            </a:custGeom>
            <a:solidFill>
              <a:srgbClr val="231F20"/>
            </a:solidFill>
            <a:ln w="4474" cap="flat">
              <a:noFill/>
              <a:prstDash val="solid"/>
              <a:miter/>
            </a:ln>
          </p:spPr>
          <p:txBody>
            <a:bodyPr rtlCol="0" anchor="ctr"/>
            <a:lstStyle/>
            <a:p>
              <a:endParaRPr lang="en-US"/>
            </a:p>
          </p:txBody>
        </p:sp>
        <p:sp>
          <p:nvSpPr>
            <p:cNvPr id="4485" name="Freeform: Shape 4484">
              <a:extLst>
                <a:ext uri="{FF2B5EF4-FFF2-40B4-BE49-F238E27FC236}">
                  <a16:creationId xmlns:a16="http://schemas.microsoft.com/office/drawing/2014/main" id="{B3FC87C9-9CB3-4774-8ECA-F78CD2430804}"/>
                </a:ext>
              </a:extLst>
            </p:cNvPr>
            <p:cNvSpPr/>
            <p:nvPr/>
          </p:nvSpPr>
          <p:spPr>
            <a:xfrm>
              <a:off x="3479677" y="4563653"/>
              <a:ext cx="76123" cy="76123"/>
            </a:xfrm>
            <a:custGeom>
              <a:avLst/>
              <a:gdLst>
                <a:gd name="connsiteX0" fmla="*/ 30897 w 76122"/>
                <a:gd name="connsiteY0" fmla="*/ 80377 h 76122"/>
                <a:gd name="connsiteX1" fmla="*/ 0 w 76122"/>
                <a:gd name="connsiteY1" fmla="*/ 49480 h 76122"/>
                <a:gd name="connsiteX2" fmla="*/ 8956 w 76122"/>
                <a:gd name="connsiteY2" fmla="*/ 27539 h 76122"/>
                <a:gd name="connsiteX3" fmla="*/ 35823 w 76122"/>
                <a:gd name="connsiteY3" fmla="*/ 672 h 76122"/>
                <a:gd name="connsiteX4" fmla="*/ 38957 w 76122"/>
                <a:gd name="connsiteY4" fmla="*/ 672 h 76122"/>
                <a:gd name="connsiteX5" fmla="*/ 38957 w 76122"/>
                <a:gd name="connsiteY5" fmla="*/ 3806 h 76122"/>
                <a:gd name="connsiteX6" fmla="*/ 12090 w 76122"/>
                <a:gd name="connsiteY6" fmla="*/ 30673 h 76122"/>
                <a:gd name="connsiteX7" fmla="*/ 4478 w 76122"/>
                <a:gd name="connsiteY7" fmla="*/ 49480 h 76122"/>
                <a:gd name="connsiteX8" fmla="*/ 30897 w 76122"/>
                <a:gd name="connsiteY8" fmla="*/ 75899 h 76122"/>
                <a:gd name="connsiteX9" fmla="*/ 49704 w 76122"/>
                <a:gd name="connsiteY9" fmla="*/ 68287 h 76122"/>
                <a:gd name="connsiteX10" fmla="*/ 76571 w 76122"/>
                <a:gd name="connsiteY10" fmla="*/ 41420 h 76122"/>
                <a:gd name="connsiteX11" fmla="*/ 79705 w 76122"/>
                <a:gd name="connsiteY11" fmla="*/ 41420 h 76122"/>
                <a:gd name="connsiteX12" fmla="*/ 79705 w 76122"/>
                <a:gd name="connsiteY12" fmla="*/ 44554 h 76122"/>
                <a:gd name="connsiteX13" fmla="*/ 52838 w 76122"/>
                <a:gd name="connsiteY13" fmla="*/ 71421 h 76122"/>
                <a:gd name="connsiteX14" fmla="*/ 30897 w 76122"/>
                <a:gd name="connsiteY14" fmla="*/ 80377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22" h="76122">
                  <a:moveTo>
                    <a:pt x="30897" y="80377"/>
                  </a:moveTo>
                  <a:cubicBezTo>
                    <a:pt x="13881" y="80377"/>
                    <a:pt x="0" y="66496"/>
                    <a:pt x="0" y="49480"/>
                  </a:cubicBezTo>
                  <a:cubicBezTo>
                    <a:pt x="0" y="41420"/>
                    <a:pt x="3135" y="33360"/>
                    <a:pt x="8956" y="27539"/>
                  </a:cubicBezTo>
                  <a:lnTo>
                    <a:pt x="35823" y="672"/>
                  </a:lnTo>
                  <a:cubicBezTo>
                    <a:pt x="36718" y="-224"/>
                    <a:pt x="38061" y="-224"/>
                    <a:pt x="38957" y="672"/>
                  </a:cubicBezTo>
                  <a:cubicBezTo>
                    <a:pt x="39852" y="1567"/>
                    <a:pt x="39852" y="2911"/>
                    <a:pt x="38957" y="3806"/>
                  </a:cubicBezTo>
                  <a:lnTo>
                    <a:pt x="12090" y="30673"/>
                  </a:lnTo>
                  <a:cubicBezTo>
                    <a:pt x="7164" y="35599"/>
                    <a:pt x="4478" y="42315"/>
                    <a:pt x="4478" y="49480"/>
                  </a:cubicBezTo>
                  <a:cubicBezTo>
                    <a:pt x="4478" y="64257"/>
                    <a:pt x="16120" y="75899"/>
                    <a:pt x="30897" y="75899"/>
                  </a:cubicBezTo>
                  <a:cubicBezTo>
                    <a:pt x="38061" y="75899"/>
                    <a:pt x="44330" y="73212"/>
                    <a:pt x="49704" y="68287"/>
                  </a:cubicBezTo>
                  <a:lnTo>
                    <a:pt x="76571" y="41420"/>
                  </a:lnTo>
                  <a:cubicBezTo>
                    <a:pt x="77466" y="40524"/>
                    <a:pt x="78809" y="40524"/>
                    <a:pt x="79705" y="41420"/>
                  </a:cubicBezTo>
                  <a:cubicBezTo>
                    <a:pt x="80601" y="42315"/>
                    <a:pt x="80601" y="43659"/>
                    <a:pt x="79705" y="44554"/>
                  </a:cubicBezTo>
                  <a:lnTo>
                    <a:pt x="52838" y="71421"/>
                  </a:lnTo>
                  <a:cubicBezTo>
                    <a:pt x="47017" y="76795"/>
                    <a:pt x="39405" y="80377"/>
                    <a:pt x="30897" y="80377"/>
                  </a:cubicBezTo>
                  <a:close/>
                </a:path>
              </a:pathLst>
            </a:custGeom>
            <a:solidFill>
              <a:srgbClr val="231F20"/>
            </a:solidFill>
            <a:ln w="4474" cap="flat">
              <a:noFill/>
              <a:prstDash val="solid"/>
              <a:miter/>
            </a:ln>
          </p:spPr>
          <p:txBody>
            <a:bodyPr rtlCol="0" anchor="ctr"/>
            <a:lstStyle/>
            <a:p>
              <a:endParaRPr lang="en-US"/>
            </a:p>
          </p:txBody>
        </p:sp>
      </p:grpSp>
      <p:grpSp>
        <p:nvGrpSpPr>
          <p:cNvPr id="4486" name="Group 4485">
            <a:extLst>
              <a:ext uri="{FF2B5EF4-FFF2-40B4-BE49-F238E27FC236}">
                <a16:creationId xmlns:a16="http://schemas.microsoft.com/office/drawing/2014/main" id="{4D327961-F727-413F-94E1-6F20C4023C65}"/>
              </a:ext>
              <a:ext uri="{C183D7F6-B498-43B3-948B-1728B52AA6E4}">
                <adec:decorative xmlns:adec="http://schemas.microsoft.com/office/drawing/2017/decorative" val="1"/>
              </a:ext>
            </a:extLst>
          </p:cNvPr>
          <p:cNvGrpSpPr>
            <a:grpSpLocks noChangeAspect="1"/>
          </p:cNvGrpSpPr>
          <p:nvPr/>
        </p:nvGrpSpPr>
        <p:grpSpPr>
          <a:xfrm>
            <a:off x="5278143" y="5223344"/>
            <a:ext cx="120901" cy="151798"/>
            <a:chOff x="5329464" y="4492232"/>
            <a:chExt cx="120901" cy="151798"/>
          </a:xfrm>
        </p:grpSpPr>
        <p:sp>
          <p:nvSpPr>
            <p:cNvPr id="4487" name="Freeform: Shape 4486">
              <a:extLst>
                <a:ext uri="{FF2B5EF4-FFF2-40B4-BE49-F238E27FC236}">
                  <a16:creationId xmlns:a16="http://schemas.microsoft.com/office/drawing/2014/main" id="{255E65B8-7EEE-4BFD-B38A-B5F225D88D34}"/>
                </a:ext>
              </a:extLst>
            </p:cNvPr>
            <p:cNvSpPr/>
            <p:nvPr/>
          </p:nvSpPr>
          <p:spPr>
            <a:xfrm>
              <a:off x="5329464" y="4639552"/>
              <a:ext cx="120901" cy="4478"/>
            </a:xfrm>
            <a:custGeom>
              <a:avLst/>
              <a:gdLst>
                <a:gd name="connsiteX0" fmla="*/ 120005 w 120901"/>
                <a:gd name="connsiteY0" fmla="*/ 4478 h 4477"/>
                <a:gd name="connsiteX1" fmla="*/ 2239 w 120901"/>
                <a:gd name="connsiteY1" fmla="*/ 4478 h 4477"/>
                <a:gd name="connsiteX2" fmla="*/ 0 w 120901"/>
                <a:gd name="connsiteY2" fmla="*/ 2239 h 4477"/>
                <a:gd name="connsiteX3" fmla="*/ 2239 w 120901"/>
                <a:gd name="connsiteY3" fmla="*/ 0 h 4477"/>
                <a:gd name="connsiteX4" fmla="*/ 120005 w 120901"/>
                <a:gd name="connsiteY4" fmla="*/ 0 h 4477"/>
                <a:gd name="connsiteX5" fmla="*/ 122244 w 120901"/>
                <a:gd name="connsiteY5" fmla="*/ 2239 h 4477"/>
                <a:gd name="connsiteX6" fmla="*/ 120005 w 12090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01" h="4477">
                  <a:moveTo>
                    <a:pt x="120005" y="4478"/>
                  </a:moveTo>
                  <a:lnTo>
                    <a:pt x="2239" y="4478"/>
                  </a:lnTo>
                  <a:cubicBezTo>
                    <a:pt x="895" y="4478"/>
                    <a:pt x="0" y="3582"/>
                    <a:pt x="0" y="2239"/>
                  </a:cubicBezTo>
                  <a:cubicBezTo>
                    <a:pt x="0" y="896"/>
                    <a:pt x="895" y="0"/>
                    <a:pt x="2239" y="0"/>
                  </a:cubicBezTo>
                  <a:lnTo>
                    <a:pt x="120005" y="0"/>
                  </a:lnTo>
                  <a:cubicBezTo>
                    <a:pt x="121349" y="0"/>
                    <a:pt x="122244" y="896"/>
                    <a:pt x="122244" y="2239"/>
                  </a:cubicBezTo>
                  <a:cubicBezTo>
                    <a:pt x="122244" y="3582"/>
                    <a:pt x="121349" y="4478"/>
                    <a:pt x="120005" y="4478"/>
                  </a:cubicBezTo>
                  <a:close/>
                </a:path>
              </a:pathLst>
            </a:custGeom>
            <a:solidFill>
              <a:srgbClr val="231F20"/>
            </a:solidFill>
            <a:ln w="4474" cap="flat">
              <a:noFill/>
              <a:prstDash val="solid"/>
              <a:miter/>
            </a:ln>
          </p:spPr>
          <p:txBody>
            <a:bodyPr rtlCol="0" anchor="ctr"/>
            <a:lstStyle/>
            <a:p>
              <a:endParaRPr lang="en-US"/>
            </a:p>
          </p:txBody>
        </p:sp>
        <p:sp>
          <p:nvSpPr>
            <p:cNvPr id="4488" name="Freeform: Shape 4487">
              <a:extLst>
                <a:ext uri="{FF2B5EF4-FFF2-40B4-BE49-F238E27FC236}">
                  <a16:creationId xmlns:a16="http://schemas.microsoft.com/office/drawing/2014/main" id="{AE38CA66-4AC2-4EFD-A95A-4CC6E9C02A64}"/>
                </a:ext>
              </a:extLst>
            </p:cNvPr>
            <p:cNvSpPr/>
            <p:nvPr/>
          </p:nvSpPr>
          <p:spPr>
            <a:xfrm>
              <a:off x="5341330" y="4492232"/>
              <a:ext cx="94034" cy="129857"/>
            </a:xfrm>
            <a:custGeom>
              <a:avLst/>
              <a:gdLst>
                <a:gd name="connsiteX0" fmla="*/ 94706 w 94034"/>
                <a:gd name="connsiteY0" fmla="*/ 84631 h 129856"/>
                <a:gd name="connsiteX1" fmla="*/ 91571 w 94034"/>
                <a:gd name="connsiteY1" fmla="*/ 84631 h 129856"/>
                <a:gd name="connsiteX2" fmla="*/ 49928 w 94034"/>
                <a:gd name="connsiteY2" fmla="*/ 126274 h 129856"/>
                <a:gd name="connsiteX3" fmla="*/ 49928 w 94034"/>
                <a:gd name="connsiteY3" fmla="*/ 2239 h 129856"/>
                <a:gd name="connsiteX4" fmla="*/ 47689 w 94034"/>
                <a:gd name="connsiteY4" fmla="*/ 0 h 129856"/>
                <a:gd name="connsiteX5" fmla="*/ 45450 w 94034"/>
                <a:gd name="connsiteY5" fmla="*/ 2239 h 129856"/>
                <a:gd name="connsiteX6" fmla="*/ 45450 w 94034"/>
                <a:gd name="connsiteY6" fmla="*/ 126274 h 129856"/>
                <a:gd name="connsiteX7" fmla="*/ 3806 w 94034"/>
                <a:gd name="connsiteY7" fmla="*/ 84631 h 129856"/>
                <a:gd name="connsiteX8" fmla="*/ 672 w 94034"/>
                <a:gd name="connsiteY8" fmla="*/ 84631 h 129856"/>
                <a:gd name="connsiteX9" fmla="*/ 672 w 94034"/>
                <a:gd name="connsiteY9" fmla="*/ 87765 h 129856"/>
                <a:gd name="connsiteX10" fmla="*/ 45897 w 94034"/>
                <a:gd name="connsiteY10" fmla="*/ 132991 h 129856"/>
                <a:gd name="connsiteX11" fmla="*/ 47689 w 94034"/>
                <a:gd name="connsiteY11" fmla="*/ 133439 h 129856"/>
                <a:gd name="connsiteX12" fmla="*/ 49480 w 94034"/>
                <a:gd name="connsiteY12" fmla="*/ 132991 h 129856"/>
                <a:gd name="connsiteX13" fmla="*/ 94706 w 94034"/>
                <a:gd name="connsiteY13" fmla="*/ 87765 h 129856"/>
                <a:gd name="connsiteX14" fmla="*/ 94706 w 94034"/>
                <a:gd name="connsiteY14" fmla="*/ 84631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034" h="129856">
                  <a:moveTo>
                    <a:pt x="94706" y="84631"/>
                  </a:moveTo>
                  <a:cubicBezTo>
                    <a:pt x="93810" y="83735"/>
                    <a:pt x="92467" y="83735"/>
                    <a:pt x="91571" y="84631"/>
                  </a:cubicBezTo>
                  <a:lnTo>
                    <a:pt x="49928" y="126274"/>
                  </a:lnTo>
                  <a:lnTo>
                    <a:pt x="49928" y="2239"/>
                  </a:lnTo>
                  <a:cubicBezTo>
                    <a:pt x="49928" y="896"/>
                    <a:pt x="49032" y="0"/>
                    <a:pt x="47689" y="0"/>
                  </a:cubicBezTo>
                  <a:cubicBezTo>
                    <a:pt x="46346" y="0"/>
                    <a:pt x="45450" y="896"/>
                    <a:pt x="45450" y="2239"/>
                  </a:cubicBezTo>
                  <a:lnTo>
                    <a:pt x="45450" y="126274"/>
                  </a:lnTo>
                  <a:lnTo>
                    <a:pt x="3806" y="84631"/>
                  </a:lnTo>
                  <a:cubicBezTo>
                    <a:pt x="2910" y="83735"/>
                    <a:pt x="1567" y="83735"/>
                    <a:pt x="672" y="84631"/>
                  </a:cubicBezTo>
                  <a:cubicBezTo>
                    <a:pt x="-224" y="85526"/>
                    <a:pt x="-224" y="86869"/>
                    <a:pt x="672" y="87765"/>
                  </a:cubicBezTo>
                  <a:lnTo>
                    <a:pt x="45897" y="132991"/>
                  </a:lnTo>
                  <a:cubicBezTo>
                    <a:pt x="46346" y="133439"/>
                    <a:pt x="46793" y="133439"/>
                    <a:pt x="47689" y="133439"/>
                  </a:cubicBezTo>
                  <a:cubicBezTo>
                    <a:pt x="48584" y="133439"/>
                    <a:pt x="49032" y="133439"/>
                    <a:pt x="49480" y="132991"/>
                  </a:cubicBezTo>
                  <a:lnTo>
                    <a:pt x="94706" y="87765"/>
                  </a:lnTo>
                  <a:cubicBezTo>
                    <a:pt x="95602" y="86869"/>
                    <a:pt x="95602" y="85526"/>
                    <a:pt x="94706" y="84631"/>
                  </a:cubicBezTo>
                  <a:close/>
                </a:path>
              </a:pathLst>
            </a:custGeom>
            <a:solidFill>
              <a:srgbClr val="231F20"/>
            </a:solidFill>
            <a:ln w="4474" cap="flat">
              <a:noFill/>
              <a:prstDash val="solid"/>
              <a:miter/>
            </a:ln>
          </p:spPr>
          <p:txBody>
            <a:bodyPr rtlCol="0" anchor="ctr"/>
            <a:lstStyle/>
            <a:p>
              <a:endParaRPr lang="en-US"/>
            </a:p>
          </p:txBody>
        </p:sp>
      </p:grpSp>
      <p:sp>
        <p:nvSpPr>
          <p:cNvPr id="4489" name="Freeform: Shape 4488">
            <a:extLst>
              <a:ext uri="{FF2B5EF4-FFF2-40B4-BE49-F238E27FC236}">
                <a16:creationId xmlns:a16="http://schemas.microsoft.com/office/drawing/2014/main" id="{9103BAB1-7937-4E7D-BF95-D547F4836094}"/>
              </a:ext>
              <a:ext uri="{C183D7F6-B498-43B3-948B-1728B52AA6E4}">
                <adec:decorative xmlns:adec="http://schemas.microsoft.com/office/drawing/2017/decorative" val="1"/>
              </a:ext>
            </a:extLst>
          </p:cNvPr>
          <p:cNvSpPr>
            <a:spLocks noChangeAspect="1"/>
          </p:cNvSpPr>
          <p:nvPr/>
        </p:nvSpPr>
        <p:spPr>
          <a:xfrm>
            <a:off x="4488255" y="5222896"/>
            <a:ext cx="147768" cy="147768"/>
          </a:xfrm>
          <a:custGeom>
            <a:avLst/>
            <a:gdLst>
              <a:gd name="connsiteX0" fmla="*/ 151350 w 147767"/>
              <a:gd name="connsiteY0" fmla="*/ 147768 h 147767"/>
              <a:gd name="connsiteX1" fmla="*/ 97168 w 147767"/>
              <a:gd name="connsiteY1" fmla="*/ 93586 h 147767"/>
              <a:gd name="connsiteX2" fmla="*/ 111945 w 147767"/>
              <a:gd name="connsiteY2" fmla="*/ 55973 h 147767"/>
              <a:gd name="connsiteX3" fmla="*/ 55973 w 147767"/>
              <a:gd name="connsiteY3" fmla="*/ 0 h 147767"/>
              <a:gd name="connsiteX4" fmla="*/ 0 w 147767"/>
              <a:gd name="connsiteY4" fmla="*/ 55973 h 147767"/>
              <a:gd name="connsiteX5" fmla="*/ 55973 w 147767"/>
              <a:gd name="connsiteY5" fmla="*/ 111945 h 147767"/>
              <a:gd name="connsiteX6" fmla="*/ 94034 w 147767"/>
              <a:gd name="connsiteY6" fmla="*/ 96721 h 147767"/>
              <a:gd name="connsiteX7" fmla="*/ 148216 w 147767"/>
              <a:gd name="connsiteY7" fmla="*/ 150902 h 147767"/>
              <a:gd name="connsiteX8" fmla="*/ 150007 w 147767"/>
              <a:gd name="connsiteY8" fmla="*/ 151350 h 147767"/>
              <a:gd name="connsiteX9" fmla="*/ 151798 w 147767"/>
              <a:gd name="connsiteY9" fmla="*/ 150902 h 147767"/>
              <a:gd name="connsiteX10" fmla="*/ 151350 w 147767"/>
              <a:gd name="connsiteY10" fmla="*/ 147768 h 147767"/>
              <a:gd name="connsiteX11" fmla="*/ 4478 w 147767"/>
              <a:gd name="connsiteY11" fmla="*/ 55973 h 147767"/>
              <a:gd name="connsiteX12" fmla="*/ 55973 w 147767"/>
              <a:gd name="connsiteY12" fmla="*/ 4478 h 147767"/>
              <a:gd name="connsiteX13" fmla="*/ 107468 w 147767"/>
              <a:gd name="connsiteY13" fmla="*/ 55973 h 147767"/>
              <a:gd name="connsiteX14" fmla="*/ 55973 w 147767"/>
              <a:gd name="connsiteY14" fmla="*/ 107468 h 147767"/>
              <a:gd name="connsiteX15" fmla="*/ 4478 w 147767"/>
              <a:gd name="connsiteY15" fmla="*/ 5597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767" h="147767">
                <a:moveTo>
                  <a:pt x="151350" y="147768"/>
                </a:moveTo>
                <a:lnTo>
                  <a:pt x="97168" y="93586"/>
                </a:lnTo>
                <a:cubicBezTo>
                  <a:pt x="106124" y="83735"/>
                  <a:pt x="111945" y="70302"/>
                  <a:pt x="111945" y="55973"/>
                </a:cubicBezTo>
                <a:cubicBezTo>
                  <a:pt x="111945" y="25076"/>
                  <a:pt x="86870" y="0"/>
                  <a:pt x="55973" y="0"/>
                </a:cubicBezTo>
                <a:cubicBezTo>
                  <a:pt x="25076" y="0"/>
                  <a:pt x="0" y="25076"/>
                  <a:pt x="0" y="55973"/>
                </a:cubicBezTo>
                <a:cubicBezTo>
                  <a:pt x="0" y="86870"/>
                  <a:pt x="25076" y="111945"/>
                  <a:pt x="55973" y="111945"/>
                </a:cubicBezTo>
                <a:cubicBezTo>
                  <a:pt x="70749" y="111945"/>
                  <a:pt x="84183" y="106124"/>
                  <a:pt x="94034" y="96721"/>
                </a:cubicBezTo>
                <a:lnTo>
                  <a:pt x="148216" y="150902"/>
                </a:lnTo>
                <a:cubicBezTo>
                  <a:pt x="148663" y="151350"/>
                  <a:pt x="149111" y="151350"/>
                  <a:pt x="150007" y="151350"/>
                </a:cubicBezTo>
                <a:cubicBezTo>
                  <a:pt x="150455" y="151350"/>
                  <a:pt x="151350" y="151350"/>
                  <a:pt x="151798" y="150902"/>
                </a:cubicBezTo>
                <a:cubicBezTo>
                  <a:pt x="152246" y="150007"/>
                  <a:pt x="152246" y="148664"/>
                  <a:pt x="151350" y="147768"/>
                </a:cubicBezTo>
                <a:close/>
                <a:moveTo>
                  <a:pt x="4478" y="55973"/>
                </a:moveTo>
                <a:cubicBezTo>
                  <a:pt x="4478" y="27763"/>
                  <a:pt x="27762" y="4478"/>
                  <a:pt x="55973" y="4478"/>
                </a:cubicBezTo>
                <a:cubicBezTo>
                  <a:pt x="84183" y="4478"/>
                  <a:pt x="107468" y="27763"/>
                  <a:pt x="107468" y="55973"/>
                </a:cubicBezTo>
                <a:cubicBezTo>
                  <a:pt x="107468" y="84183"/>
                  <a:pt x="84183" y="107468"/>
                  <a:pt x="55973" y="107468"/>
                </a:cubicBezTo>
                <a:cubicBezTo>
                  <a:pt x="27762" y="107468"/>
                  <a:pt x="4478" y="84183"/>
                  <a:pt x="4478" y="55973"/>
                </a:cubicBezTo>
                <a:close/>
              </a:path>
            </a:pathLst>
          </a:custGeom>
          <a:solidFill>
            <a:srgbClr val="231F20"/>
          </a:solidFill>
          <a:ln w="4474" cap="flat">
            <a:noFill/>
            <a:prstDash val="solid"/>
            <a:miter/>
          </a:ln>
        </p:spPr>
        <p:txBody>
          <a:bodyPr rtlCol="0" anchor="ctr"/>
          <a:lstStyle/>
          <a:p>
            <a:endParaRPr lang="en-US"/>
          </a:p>
        </p:txBody>
      </p:sp>
      <p:grpSp>
        <p:nvGrpSpPr>
          <p:cNvPr id="4490" name="Group 4489">
            <a:extLst>
              <a:ext uri="{FF2B5EF4-FFF2-40B4-BE49-F238E27FC236}">
                <a16:creationId xmlns:a16="http://schemas.microsoft.com/office/drawing/2014/main" id="{BD2F88C7-3B05-4E2E-B68A-B37BDEC44889}"/>
              </a:ext>
              <a:ext uri="{C183D7F6-B498-43B3-948B-1728B52AA6E4}">
                <adec:decorative xmlns:adec="http://schemas.microsoft.com/office/drawing/2017/decorative" val="1"/>
              </a:ext>
            </a:extLst>
          </p:cNvPr>
          <p:cNvGrpSpPr>
            <a:grpSpLocks noChangeAspect="1"/>
          </p:cNvGrpSpPr>
          <p:nvPr/>
        </p:nvGrpSpPr>
        <p:grpSpPr>
          <a:xfrm>
            <a:off x="4747521" y="5222896"/>
            <a:ext cx="152246" cy="147768"/>
            <a:chOff x="4798842" y="4491784"/>
            <a:chExt cx="152246" cy="147768"/>
          </a:xfrm>
        </p:grpSpPr>
        <p:sp>
          <p:nvSpPr>
            <p:cNvPr id="4491" name="Freeform: Shape 4490">
              <a:extLst>
                <a:ext uri="{FF2B5EF4-FFF2-40B4-BE49-F238E27FC236}">
                  <a16:creationId xmlns:a16="http://schemas.microsoft.com/office/drawing/2014/main" id="{C8DF1B35-D459-4758-86A4-83FF2431E73C}"/>
                </a:ext>
              </a:extLst>
            </p:cNvPr>
            <p:cNvSpPr/>
            <p:nvPr/>
          </p:nvSpPr>
          <p:spPr>
            <a:xfrm>
              <a:off x="4798842" y="4491784"/>
              <a:ext cx="152246" cy="147768"/>
            </a:xfrm>
            <a:custGeom>
              <a:avLst/>
              <a:gdLst>
                <a:gd name="connsiteX0" fmla="*/ 151798 w 152245"/>
                <a:gd name="connsiteY0" fmla="*/ 148216 h 147767"/>
                <a:gd name="connsiteX1" fmla="*/ 97169 w 152245"/>
                <a:gd name="connsiteY1" fmla="*/ 93586 h 147767"/>
                <a:gd name="connsiteX2" fmla="*/ 111945 w 152245"/>
                <a:gd name="connsiteY2" fmla="*/ 55973 h 147767"/>
                <a:gd name="connsiteX3" fmla="*/ 55973 w 152245"/>
                <a:gd name="connsiteY3" fmla="*/ 0 h 147767"/>
                <a:gd name="connsiteX4" fmla="*/ 0 w 152245"/>
                <a:gd name="connsiteY4" fmla="*/ 55973 h 147767"/>
                <a:gd name="connsiteX5" fmla="*/ 56421 w 152245"/>
                <a:gd name="connsiteY5" fmla="*/ 111498 h 147767"/>
                <a:gd name="connsiteX6" fmla="*/ 94482 w 152245"/>
                <a:gd name="connsiteY6" fmla="*/ 96721 h 147767"/>
                <a:gd name="connsiteX7" fmla="*/ 149111 w 152245"/>
                <a:gd name="connsiteY7" fmla="*/ 151350 h 147767"/>
                <a:gd name="connsiteX8" fmla="*/ 150903 w 152245"/>
                <a:gd name="connsiteY8" fmla="*/ 151798 h 147767"/>
                <a:gd name="connsiteX9" fmla="*/ 152694 w 152245"/>
                <a:gd name="connsiteY9" fmla="*/ 151350 h 147767"/>
                <a:gd name="connsiteX10" fmla="*/ 151798 w 152245"/>
                <a:gd name="connsiteY10" fmla="*/ 148216 h 147767"/>
                <a:gd name="connsiteX11" fmla="*/ 4926 w 152245"/>
                <a:gd name="connsiteY11" fmla="*/ 55973 h 147767"/>
                <a:gd name="connsiteX12" fmla="*/ 56421 w 152245"/>
                <a:gd name="connsiteY12" fmla="*/ 4478 h 147767"/>
                <a:gd name="connsiteX13" fmla="*/ 107916 w 152245"/>
                <a:gd name="connsiteY13" fmla="*/ 55973 h 147767"/>
                <a:gd name="connsiteX14" fmla="*/ 56421 w 152245"/>
                <a:gd name="connsiteY14" fmla="*/ 107468 h 147767"/>
                <a:gd name="connsiteX15" fmla="*/ 4926 w 152245"/>
                <a:gd name="connsiteY15" fmla="*/ 5597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245" h="147767">
                  <a:moveTo>
                    <a:pt x="151798" y="148216"/>
                  </a:moveTo>
                  <a:lnTo>
                    <a:pt x="97169" y="93586"/>
                  </a:lnTo>
                  <a:cubicBezTo>
                    <a:pt x="106572" y="83735"/>
                    <a:pt x="111945" y="70302"/>
                    <a:pt x="111945" y="55973"/>
                  </a:cubicBezTo>
                  <a:cubicBezTo>
                    <a:pt x="111945" y="25076"/>
                    <a:pt x="86870" y="0"/>
                    <a:pt x="55973" y="0"/>
                  </a:cubicBezTo>
                  <a:cubicBezTo>
                    <a:pt x="25076" y="0"/>
                    <a:pt x="0" y="25076"/>
                    <a:pt x="0" y="55973"/>
                  </a:cubicBezTo>
                  <a:cubicBezTo>
                    <a:pt x="0" y="86870"/>
                    <a:pt x="25524" y="111498"/>
                    <a:pt x="56421" y="111498"/>
                  </a:cubicBezTo>
                  <a:cubicBezTo>
                    <a:pt x="71197" y="111498"/>
                    <a:pt x="84183" y="105677"/>
                    <a:pt x="94482" y="96721"/>
                  </a:cubicBezTo>
                  <a:lnTo>
                    <a:pt x="149111" y="151350"/>
                  </a:lnTo>
                  <a:cubicBezTo>
                    <a:pt x="149559" y="151798"/>
                    <a:pt x="150007" y="151798"/>
                    <a:pt x="150903" y="151798"/>
                  </a:cubicBezTo>
                  <a:cubicBezTo>
                    <a:pt x="151798" y="151798"/>
                    <a:pt x="152246" y="151798"/>
                    <a:pt x="152694" y="151350"/>
                  </a:cubicBezTo>
                  <a:cubicBezTo>
                    <a:pt x="152694" y="150455"/>
                    <a:pt x="152694" y="149112"/>
                    <a:pt x="151798" y="148216"/>
                  </a:cubicBezTo>
                  <a:close/>
                  <a:moveTo>
                    <a:pt x="4926" y="55973"/>
                  </a:moveTo>
                  <a:cubicBezTo>
                    <a:pt x="4926" y="27763"/>
                    <a:pt x="28210" y="4478"/>
                    <a:pt x="56421" y="4478"/>
                  </a:cubicBezTo>
                  <a:cubicBezTo>
                    <a:pt x="84631" y="4478"/>
                    <a:pt x="107916" y="27763"/>
                    <a:pt x="107916" y="55973"/>
                  </a:cubicBezTo>
                  <a:cubicBezTo>
                    <a:pt x="107916" y="84183"/>
                    <a:pt x="84631" y="107468"/>
                    <a:pt x="56421" y="107468"/>
                  </a:cubicBezTo>
                  <a:cubicBezTo>
                    <a:pt x="27763" y="107020"/>
                    <a:pt x="4926" y="84183"/>
                    <a:pt x="4926" y="55973"/>
                  </a:cubicBezTo>
                  <a:close/>
                </a:path>
              </a:pathLst>
            </a:custGeom>
            <a:solidFill>
              <a:srgbClr val="231F20"/>
            </a:solidFill>
            <a:ln w="4474" cap="flat">
              <a:noFill/>
              <a:prstDash val="solid"/>
              <a:miter/>
            </a:ln>
          </p:spPr>
          <p:txBody>
            <a:bodyPr rtlCol="0" anchor="ctr"/>
            <a:lstStyle/>
            <a:p>
              <a:endParaRPr lang="en-US"/>
            </a:p>
          </p:txBody>
        </p:sp>
        <p:sp>
          <p:nvSpPr>
            <p:cNvPr id="4492" name="Freeform: Shape 4491">
              <a:extLst>
                <a:ext uri="{FF2B5EF4-FFF2-40B4-BE49-F238E27FC236}">
                  <a16:creationId xmlns:a16="http://schemas.microsoft.com/office/drawing/2014/main" id="{AD83013E-03B2-4D17-9EFF-88405339A439}"/>
                </a:ext>
              </a:extLst>
            </p:cNvPr>
            <p:cNvSpPr/>
            <p:nvPr/>
          </p:nvSpPr>
          <p:spPr>
            <a:xfrm>
              <a:off x="4820335" y="4513278"/>
              <a:ext cx="67167" cy="67167"/>
            </a:xfrm>
            <a:custGeom>
              <a:avLst/>
              <a:gdLst>
                <a:gd name="connsiteX0" fmla="*/ 66720 w 67167"/>
                <a:gd name="connsiteY0" fmla="*/ 32240 h 67167"/>
                <a:gd name="connsiteX1" fmla="*/ 36718 w 67167"/>
                <a:gd name="connsiteY1" fmla="*/ 32240 h 67167"/>
                <a:gd name="connsiteX2" fmla="*/ 36718 w 67167"/>
                <a:gd name="connsiteY2" fmla="*/ 2239 h 67167"/>
                <a:gd name="connsiteX3" fmla="*/ 34479 w 67167"/>
                <a:gd name="connsiteY3" fmla="*/ 0 h 67167"/>
                <a:gd name="connsiteX4" fmla="*/ 32240 w 67167"/>
                <a:gd name="connsiteY4" fmla="*/ 2239 h 67167"/>
                <a:gd name="connsiteX5" fmla="*/ 32240 w 67167"/>
                <a:gd name="connsiteY5" fmla="*/ 32240 h 67167"/>
                <a:gd name="connsiteX6" fmla="*/ 2239 w 67167"/>
                <a:gd name="connsiteY6" fmla="*/ 32240 h 67167"/>
                <a:gd name="connsiteX7" fmla="*/ 0 w 67167"/>
                <a:gd name="connsiteY7" fmla="*/ 34479 h 67167"/>
                <a:gd name="connsiteX8" fmla="*/ 2239 w 67167"/>
                <a:gd name="connsiteY8" fmla="*/ 36718 h 67167"/>
                <a:gd name="connsiteX9" fmla="*/ 32240 w 67167"/>
                <a:gd name="connsiteY9" fmla="*/ 36718 h 67167"/>
                <a:gd name="connsiteX10" fmla="*/ 32240 w 67167"/>
                <a:gd name="connsiteY10" fmla="*/ 66719 h 67167"/>
                <a:gd name="connsiteX11" fmla="*/ 34479 w 67167"/>
                <a:gd name="connsiteY11" fmla="*/ 68958 h 67167"/>
                <a:gd name="connsiteX12" fmla="*/ 36718 w 67167"/>
                <a:gd name="connsiteY12" fmla="*/ 66719 h 67167"/>
                <a:gd name="connsiteX13" fmla="*/ 36718 w 67167"/>
                <a:gd name="connsiteY13" fmla="*/ 36718 h 67167"/>
                <a:gd name="connsiteX14" fmla="*/ 66720 w 67167"/>
                <a:gd name="connsiteY14" fmla="*/ 36718 h 67167"/>
                <a:gd name="connsiteX15" fmla="*/ 68959 w 67167"/>
                <a:gd name="connsiteY15" fmla="*/ 34479 h 67167"/>
                <a:gd name="connsiteX16" fmla="*/ 66720 w 67167"/>
                <a:gd name="connsiteY16" fmla="*/ 32240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167" h="67167">
                  <a:moveTo>
                    <a:pt x="66720" y="32240"/>
                  </a:moveTo>
                  <a:lnTo>
                    <a:pt x="36718" y="32240"/>
                  </a:lnTo>
                  <a:lnTo>
                    <a:pt x="36718" y="2239"/>
                  </a:lnTo>
                  <a:cubicBezTo>
                    <a:pt x="36718" y="895"/>
                    <a:pt x="35823" y="0"/>
                    <a:pt x="34479" y="0"/>
                  </a:cubicBezTo>
                  <a:cubicBezTo>
                    <a:pt x="33136" y="0"/>
                    <a:pt x="32240" y="895"/>
                    <a:pt x="32240" y="2239"/>
                  </a:cubicBezTo>
                  <a:lnTo>
                    <a:pt x="32240" y="32240"/>
                  </a:lnTo>
                  <a:lnTo>
                    <a:pt x="2239" y="32240"/>
                  </a:lnTo>
                  <a:cubicBezTo>
                    <a:pt x="896" y="32240"/>
                    <a:pt x="0" y="33136"/>
                    <a:pt x="0" y="34479"/>
                  </a:cubicBezTo>
                  <a:cubicBezTo>
                    <a:pt x="0" y="35823"/>
                    <a:pt x="896" y="36718"/>
                    <a:pt x="2239" y="36718"/>
                  </a:cubicBezTo>
                  <a:lnTo>
                    <a:pt x="32240" y="36718"/>
                  </a:lnTo>
                  <a:lnTo>
                    <a:pt x="32240" y="66719"/>
                  </a:lnTo>
                  <a:cubicBezTo>
                    <a:pt x="32240" y="68063"/>
                    <a:pt x="33136" y="68958"/>
                    <a:pt x="34479" y="68958"/>
                  </a:cubicBezTo>
                  <a:cubicBezTo>
                    <a:pt x="35823" y="68958"/>
                    <a:pt x="36718" y="68063"/>
                    <a:pt x="36718" y="66719"/>
                  </a:cubicBezTo>
                  <a:lnTo>
                    <a:pt x="36718" y="36718"/>
                  </a:lnTo>
                  <a:lnTo>
                    <a:pt x="66720" y="36718"/>
                  </a:lnTo>
                  <a:cubicBezTo>
                    <a:pt x="68063" y="36718"/>
                    <a:pt x="68959" y="35823"/>
                    <a:pt x="68959" y="34479"/>
                  </a:cubicBezTo>
                  <a:cubicBezTo>
                    <a:pt x="68959" y="33136"/>
                    <a:pt x="68063" y="32240"/>
                    <a:pt x="66720" y="32240"/>
                  </a:cubicBezTo>
                  <a:close/>
                </a:path>
              </a:pathLst>
            </a:custGeom>
            <a:solidFill>
              <a:srgbClr val="231F20"/>
            </a:solidFill>
            <a:ln w="4474" cap="flat">
              <a:noFill/>
              <a:prstDash val="solid"/>
              <a:miter/>
            </a:ln>
          </p:spPr>
          <p:txBody>
            <a:bodyPr rtlCol="0" anchor="ctr"/>
            <a:lstStyle/>
            <a:p>
              <a:endParaRPr lang="en-US"/>
            </a:p>
          </p:txBody>
        </p:sp>
      </p:grpSp>
      <p:sp>
        <p:nvSpPr>
          <p:cNvPr id="4493" name="Freeform: Shape 4492">
            <a:extLst>
              <a:ext uri="{FF2B5EF4-FFF2-40B4-BE49-F238E27FC236}">
                <a16:creationId xmlns:a16="http://schemas.microsoft.com/office/drawing/2014/main" id="{178FB6EC-843F-41C9-8864-34B3906BB5C4}"/>
              </a:ext>
              <a:ext uri="{C183D7F6-B498-43B3-948B-1728B52AA6E4}">
                <adec:decorative xmlns:adec="http://schemas.microsoft.com/office/drawing/2017/decorative" val="1"/>
              </a:ext>
            </a:extLst>
          </p:cNvPr>
          <p:cNvSpPr>
            <a:spLocks noChangeAspect="1"/>
          </p:cNvSpPr>
          <p:nvPr/>
        </p:nvSpPr>
        <p:spPr>
          <a:xfrm>
            <a:off x="1059814" y="5571494"/>
            <a:ext cx="156724" cy="152246"/>
          </a:xfrm>
          <a:custGeom>
            <a:avLst/>
            <a:gdLst>
              <a:gd name="connsiteX0" fmla="*/ 158739 w 156723"/>
              <a:gd name="connsiteY0" fmla="*/ 67839 h 152245"/>
              <a:gd name="connsiteX1" fmla="*/ 81272 w 156723"/>
              <a:gd name="connsiteY1" fmla="*/ 672 h 152245"/>
              <a:gd name="connsiteX2" fmla="*/ 78138 w 156723"/>
              <a:gd name="connsiteY2" fmla="*/ 672 h 152245"/>
              <a:gd name="connsiteX3" fmla="*/ 672 w 156723"/>
              <a:gd name="connsiteY3" fmla="*/ 67839 h 152245"/>
              <a:gd name="connsiteX4" fmla="*/ 672 w 156723"/>
              <a:gd name="connsiteY4" fmla="*/ 70973 h 152245"/>
              <a:gd name="connsiteX5" fmla="*/ 2463 w 156723"/>
              <a:gd name="connsiteY5" fmla="*/ 71869 h 152245"/>
              <a:gd name="connsiteX6" fmla="*/ 3806 w 156723"/>
              <a:gd name="connsiteY6" fmla="*/ 71421 h 152245"/>
              <a:gd name="connsiteX7" fmla="*/ 16792 w 156723"/>
              <a:gd name="connsiteY7" fmla="*/ 59779 h 152245"/>
              <a:gd name="connsiteX8" fmla="*/ 16792 w 156723"/>
              <a:gd name="connsiteY8" fmla="*/ 150231 h 152245"/>
              <a:gd name="connsiteX9" fmla="*/ 19031 w 156723"/>
              <a:gd name="connsiteY9" fmla="*/ 152470 h 152245"/>
              <a:gd name="connsiteX10" fmla="*/ 139932 w 156723"/>
              <a:gd name="connsiteY10" fmla="*/ 152470 h 152245"/>
              <a:gd name="connsiteX11" fmla="*/ 142171 w 156723"/>
              <a:gd name="connsiteY11" fmla="*/ 150231 h 152245"/>
              <a:gd name="connsiteX12" fmla="*/ 142171 w 156723"/>
              <a:gd name="connsiteY12" fmla="*/ 59779 h 152245"/>
              <a:gd name="connsiteX13" fmla="*/ 155156 w 156723"/>
              <a:gd name="connsiteY13" fmla="*/ 71421 h 152245"/>
              <a:gd name="connsiteX14" fmla="*/ 158291 w 156723"/>
              <a:gd name="connsiteY14" fmla="*/ 71421 h 152245"/>
              <a:gd name="connsiteX15" fmla="*/ 158739 w 156723"/>
              <a:gd name="connsiteY15" fmla="*/ 67839 h 152245"/>
              <a:gd name="connsiteX16" fmla="*/ 138141 w 156723"/>
              <a:gd name="connsiteY16" fmla="*/ 57092 h 152245"/>
              <a:gd name="connsiteX17" fmla="*/ 138141 w 156723"/>
              <a:gd name="connsiteY17" fmla="*/ 147992 h 152245"/>
              <a:gd name="connsiteX18" fmla="*/ 21717 w 156723"/>
              <a:gd name="connsiteY18" fmla="*/ 147992 h 152245"/>
              <a:gd name="connsiteX19" fmla="*/ 21717 w 156723"/>
              <a:gd name="connsiteY19" fmla="*/ 57092 h 152245"/>
              <a:gd name="connsiteX20" fmla="*/ 21717 w 156723"/>
              <a:gd name="connsiteY20" fmla="*/ 56197 h 152245"/>
              <a:gd name="connsiteX21" fmla="*/ 79929 w 156723"/>
              <a:gd name="connsiteY21" fmla="*/ 5597 h 152245"/>
              <a:gd name="connsiteX22" fmla="*/ 138141 w 156723"/>
              <a:gd name="connsiteY22" fmla="*/ 56197 h 152245"/>
              <a:gd name="connsiteX23" fmla="*/ 138141 w 156723"/>
              <a:gd name="connsiteY23" fmla="*/ 57092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6723" h="152245">
                <a:moveTo>
                  <a:pt x="158739" y="67839"/>
                </a:moveTo>
                <a:lnTo>
                  <a:pt x="81272" y="672"/>
                </a:lnTo>
                <a:cubicBezTo>
                  <a:pt x="80377" y="-224"/>
                  <a:pt x="79033" y="-224"/>
                  <a:pt x="78138" y="672"/>
                </a:cubicBezTo>
                <a:lnTo>
                  <a:pt x="672" y="67839"/>
                </a:lnTo>
                <a:cubicBezTo>
                  <a:pt x="-224" y="68734"/>
                  <a:pt x="-224" y="70078"/>
                  <a:pt x="672" y="70973"/>
                </a:cubicBezTo>
                <a:cubicBezTo>
                  <a:pt x="1119" y="71421"/>
                  <a:pt x="1567" y="71869"/>
                  <a:pt x="2463" y="71869"/>
                </a:cubicBezTo>
                <a:cubicBezTo>
                  <a:pt x="2911" y="71869"/>
                  <a:pt x="3358" y="71869"/>
                  <a:pt x="3806" y="71421"/>
                </a:cubicBezTo>
                <a:lnTo>
                  <a:pt x="16792" y="59779"/>
                </a:lnTo>
                <a:lnTo>
                  <a:pt x="16792" y="150231"/>
                </a:lnTo>
                <a:cubicBezTo>
                  <a:pt x="16792" y="151574"/>
                  <a:pt x="17687" y="152470"/>
                  <a:pt x="19031" y="152470"/>
                </a:cubicBezTo>
                <a:lnTo>
                  <a:pt x="139932" y="152470"/>
                </a:lnTo>
                <a:cubicBezTo>
                  <a:pt x="141275" y="152470"/>
                  <a:pt x="142171" y="151574"/>
                  <a:pt x="142171" y="150231"/>
                </a:cubicBezTo>
                <a:lnTo>
                  <a:pt x="142171" y="59779"/>
                </a:lnTo>
                <a:lnTo>
                  <a:pt x="155156" y="71421"/>
                </a:lnTo>
                <a:cubicBezTo>
                  <a:pt x="156052" y="72317"/>
                  <a:pt x="157395" y="72317"/>
                  <a:pt x="158291" y="71421"/>
                </a:cubicBezTo>
                <a:cubicBezTo>
                  <a:pt x="159634" y="70078"/>
                  <a:pt x="159634" y="68734"/>
                  <a:pt x="158739" y="67839"/>
                </a:cubicBezTo>
                <a:close/>
                <a:moveTo>
                  <a:pt x="138141" y="57092"/>
                </a:moveTo>
                <a:lnTo>
                  <a:pt x="138141" y="147992"/>
                </a:lnTo>
                <a:lnTo>
                  <a:pt x="21717" y="147992"/>
                </a:lnTo>
                <a:lnTo>
                  <a:pt x="21717" y="57092"/>
                </a:lnTo>
                <a:cubicBezTo>
                  <a:pt x="21717" y="56644"/>
                  <a:pt x="21717" y="56644"/>
                  <a:pt x="21717" y="56197"/>
                </a:cubicBezTo>
                <a:lnTo>
                  <a:pt x="79929" y="5597"/>
                </a:lnTo>
                <a:lnTo>
                  <a:pt x="138141" y="56197"/>
                </a:lnTo>
                <a:cubicBezTo>
                  <a:pt x="138141" y="56197"/>
                  <a:pt x="138141" y="56644"/>
                  <a:pt x="138141" y="57092"/>
                </a:cubicBezTo>
                <a:close/>
              </a:path>
            </a:pathLst>
          </a:custGeom>
          <a:solidFill>
            <a:srgbClr val="231F20"/>
          </a:solidFill>
          <a:ln w="4474" cap="flat">
            <a:noFill/>
            <a:prstDash val="solid"/>
            <a:miter/>
          </a:ln>
        </p:spPr>
        <p:txBody>
          <a:bodyPr rtlCol="0" anchor="ctr"/>
          <a:lstStyle/>
          <a:p>
            <a:endParaRPr lang="en-US"/>
          </a:p>
        </p:txBody>
      </p:sp>
      <p:sp>
        <p:nvSpPr>
          <p:cNvPr id="4494" name="Freeform: Shape 4493">
            <a:extLst>
              <a:ext uri="{FF2B5EF4-FFF2-40B4-BE49-F238E27FC236}">
                <a16:creationId xmlns:a16="http://schemas.microsoft.com/office/drawing/2014/main" id="{FDC60FBA-3A1C-497C-9F0B-91244FEF6189}"/>
              </a:ext>
              <a:ext uri="{C183D7F6-B498-43B3-948B-1728B52AA6E4}">
                <adec:decorative xmlns:adec="http://schemas.microsoft.com/office/drawing/2017/decorative" val="1"/>
              </a:ext>
            </a:extLst>
          </p:cNvPr>
          <p:cNvSpPr>
            <a:spLocks noChangeAspect="1"/>
          </p:cNvSpPr>
          <p:nvPr/>
        </p:nvSpPr>
        <p:spPr>
          <a:xfrm>
            <a:off x="793608" y="5577092"/>
            <a:ext cx="152246" cy="129857"/>
          </a:xfrm>
          <a:custGeom>
            <a:avLst/>
            <a:gdLst>
              <a:gd name="connsiteX0" fmla="*/ 136573 w 152245"/>
              <a:gd name="connsiteY0" fmla="*/ 21046 h 129856"/>
              <a:gd name="connsiteX1" fmla="*/ 105229 w 152245"/>
              <a:gd name="connsiteY1" fmla="*/ 21046 h 129856"/>
              <a:gd name="connsiteX2" fmla="*/ 105229 w 152245"/>
              <a:gd name="connsiteY2" fmla="*/ 12986 h 129856"/>
              <a:gd name="connsiteX3" fmla="*/ 91347 w 152245"/>
              <a:gd name="connsiteY3" fmla="*/ 0 h 129856"/>
              <a:gd name="connsiteX4" fmla="*/ 60898 w 152245"/>
              <a:gd name="connsiteY4" fmla="*/ 0 h 129856"/>
              <a:gd name="connsiteX5" fmla="*/ 47017 w 152245"/>
              <a:gd name="connsiteY5" fmla="*/ 12986 h 129856"/>
              <a:gd name="connsiteX6" fmla="*/ 47017 w 152245"/>
              <a:gd name="connsiteY6" fmla="*/ 21046 h 129856"/>
              <a:gd name="connsiteX7" fmla="*/ 15672 w 152245"/>
              <a:gd name="connsiteY7" fmla="*/ 21046 h 129856"/>
              <a:gd name="connsiteX8" fmla="*/ 0 w 152245"/>
              <a:gd name="connsiteY8" fmla="*/ 36718 h 129856"/>
              <a:gd name="connsiteX9" fmla="*/ 0 w 152245"/>
              <a:gd name="connsiteY9" fmla="*/ 117319 h 129856"/>
              <a:gd name="connsiteX10" fmla="*/ 15672 w 152245"/>
              <a:gd name="connsiteY10" fmla="*/ 132991 h 129856"/>
              <a:gd name="connsiteX11" fmla="*/ 136573 w 152245"/>
              <a:gd name="connsiteY11" fmla="*/ 132991 h 129856"/>
              <a:gd name="connsiteX12" fmla="*/ 152246 w 152245"/>
              <a:gd name="connsiteY12" fmla="*/ 117319 h 129856"/>
              <a:gd name="connsiteX13" fmla="*/ 152246 w 152245"/>
              <a:gd name="connsiteY13" fmla="*/ 36718 h 129856"/>
              <a:gd name="connsiteX14" fmla="*/ 136573 w 152245"/>
              <a:gd name="connsiteY14" fmla="*/ 21046 h 129856"/>
              <a:gd name="connsiteX15" fmla="*/ 51495 w 152245"/>
              <a:gd name="connsiteY15" fmla="*/ 12986 h 129856"/>
              <a:gd name="connsiteX16" fmla="*/ 60898 w 152245"/>
              <a:gd name="connsiteY16" fmla="*/ 4478 h 129856"/>
              <a:gd name="connsiteX17" fmla="*/ 91347 w 152245"/>
              <a:gd name="connsiteY17" fmla="*/ 4478 h 129856"/>
              <a:gd name="connsiteX18" fmla="*/ 100751 w 152245"/>
              <a:gd name="connsiteY18" fmla="*/ 12986 h 129856"/>
              <a:gd name="connsiteX19" fmla="*/ 100751 w 152245"/>
              <a:gd name="connsiteY19" fmla="*/ 21046 h 129856"/>
              <a:gd name="connsiteX20" fmla="*/ 51495 w 152245"/>
              <a:gd name="connsiteY20" fmla="*/ 21046 h 129856"/>
              <a:gd name="connsiteX21" fmla="*/ 51495 w 152245"/>
              <a:gd name="connsiteY21" fmla="*/ 12986 h 129856"/>
              <a:gd name="connsiteX22" fmla="*/ 15672 w 152245"/>
              <a:gd name="connsiteY22" fmla="*/ 25524 h 129856"/>
              <a:gd name="connsiteX23" fmla="*/ 48360 w 152245"/>
              <a:gd name="connsiteY23" fmla="*/ 25524 h 129856"/>
              <a:gd name="connsiteX24" fmla="*/ 49256 w 152245"/>
              <a:gd name="connsiteY24" fmla="*/ 25524 h 129856"/>
              <a:gd name="connsiteX25" fmla="*/ 50152 w 152245"/>
              <a:gd name="connsiteY25" fmla="*/ 25524 h 129856"/>
              <a:gd name="connsiteX26" fmla="*/ 102542 w 152245"/>
              <a:gd name="connsiteY26" fmla="*/ 25524 h 129856"/>
              <a:gd name="connsiteX27" fmla="*/ 103438 w 152245"/>
              <a:gd name="connsiteY27" fmla="*/ 25524 h 129856"/>
              <a:gd name="connsiteX28" fmla="*/ 104333 w 152245"/>
              <a:gd name="connsiteY28" fmla="*/ 25524 h 129856"/>
              <a:gd name="connsiteX29" fmla="*/ 137021 w 152245"/>
              <a:gd name="connsiteY29" fmla="*/ 25524 h 129856"/>
              <a:gd name="connsiteX30" fmla="*/ 148216 w 152245"/>
              <a:gd name="connsiteY30" fmla="*/ 36718 h 129856"/>
              <a:gd name="connsiteX31" fmla="*/ 148216 w 152245"/>
              <a:gd name="connsiteY31" fmla="*/ 61346 h 129856"/>
              <a:gd name="connsiteX32" fmla="*/ 4926 w 152245"/>
              <a:gd name="connsiteY32" fmla="*/ 61346 h 129856"/>
              <a:gd name="connsiteX33" fmla="*/ 4926 w 152245"/>
              <a:gd name="connsiteY33" fmla="*/ 36718 h 129856"/>
              <a:gd name="connsiteX34" fmla="*/ 15672 w 152245"/>
              <a:gd name="connsiteY34" fmla="*/ 25524 h 129856"/>
              <a:gd name="connsiteX35" fmla="*/ 136573 w 152245"/>
              <a:gd name="connsiteY35" fmla="*/ 128513 h 129856"/>
              <a:gd name="connsiteX36" fmla="*/ 15672 w 152245"/>
              <a:gd name="connsiteY36" fmla="*/ 128513 h 129856"/>
              <a:gd name="connsiteX37" fmla="*/ 4478 w 152245"/>
              <a:gd name="connsiteY37" fmla="*/ 117319 h 129856"/>
              <a:gd name="connsiteX38" fmla="*/ 4478 w 152245"/>
              <a:gd name="connsiteY38" fmla="*/ 65824 h 129856"/>
              <a:gd name="connsiteX39" fmla="*/ 40300 w 152245"/>
              <a:gd name="connsiteY39" fmla="*/ 65824 h 129856"/>
              <a:gd name="connsiteX40" fmla="*/ 40300 w 152245"/>
              <a:gd name="connsiteY40" fmla="*/ 83735 h 129856"/>
              <a:gd name="connsiteX41" fmla="*/ 42539 w 152245"/>
              <a:gd name="connsiteY41" fmla="*/ 85974 h 129856"/>
              <a:gd name="connsiteX42" fmla="*/ 44778 w 152245"/>
              <a:gd name="connsiteY42" fmla="*/ 83735 h 129856"/>
              <a:gd name="connsiteX43" fmla="*/ 44778 w 152245"/>
              <a:gd name="connsiteY43" fmla="*/ 65824 h 129856"/>
              <a:gd name="connsiteX44" fmla="*/ 107468 w 152245"/>
              <a:gd name="connsiteY44" fmla="*/ 65824 h 129856"/>
              <a:gd name="connsiteX45" fmla="*/ 107468 w 152245"/>
              <a:gd name="connsiteY45" fmla="*/ 83735 h 129856"/>
              <a:gd name="connsiteX46" fmla="*/ 109707 w 152245"/>
              <a:gd name="connsiteY46" fmla="*/ 85974 h 129856"/>
              <a:gd name="connsiteX47" fmla="*/ 111945 w 152245"/>
              <a:gd name="connsiteY47" fmla="*/ 83735 h 129856"/>
              <a:gd name="connsiteX48" fmla="*/ 111945 w 152245"/>
              <a:gd name="connsiteY48" fmla="*/ 65824 h 129856"/>
              <a:gd name="connsiteX49" fmla="*/ 147768 w 152245"/>
              <a:gd name="connsiteY49" fmla="*/ 65824 h 129856"/>
              <a:gd name="connsiteX50" fmla="*/ 147768 w 152245"/>
              <a:gd name="connsiteY50" fmla="*/ 117319 h 129856"/>
              <a:gd name="connsiteX51" fmla="*/ 136573 w 152245"/>
              <a:gd name="connsiteY51" fmla="*/ 128513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2245" h="129856">
                <a:moveTo>
                  <a:pt x="136573" y="21046"/>
                </a:moveTo>
                <a:lnTo>
                  <a:pt x="105229" y="21046"/>
                </a:lnTo>
                <a:lnTo>
                  <a:pt x="105229" y="12986"/>
                </a:lnTo>
                <a:cubicBezTo>
                  <a:pt x="105229" y="5821"/>
                  <a:pt x="98960" y="0"/>
                  <a:pt x="91347" y="0"/>
                </a:cubicBezTo>
                <a:lnTo>
                  <a:pt x="60898" y="0"/>
                </a:lnTo>
                <a:cubicBezTo>
                  <a:pt x="53286" y="0"/>
                  <a:pt x="47017" y="5821"/>
                  <a:pt x="47017" y="12986"/>
                </a:cubicBezTo>
                <a:lnTo>
                  <a:pt x="47017" y="21046"/>
                </a:lnTo>
                <a:lnTo>
                  <a:pt x="15672" y="21046"/>
                </a:lnTo>
                <a:cubicBezTo>
                  <a:pt x="7165" y="21046"/>
                  <a:pt x="0" y="28210"/>
                  <a:pt x="0" y="36718"/>
                </a:cubicBezTo>
                <a:lnTo>
                  <a:pt x="0" y="117319"/>
                </a:lnTo>
                <a:cubicBezTo>
                  <a:pt x="0" y="125827"/>
                  <a:pt x="7165" y="132991"/>
                  <a:pt x="15672" y="132991"/>
                </a:cubicBezTo>
                <a:lnTo>
                  <a:pt x="136573" y="132991"/>
                </a:lnTo>
                <a:cubicBezTo>
                  <a:pt x="145081" y="132991"/>
                  <a:pt x="152246" y="125827"/>
                  <a:pt x="152246" y="117319"/>
                </a:cubicBezTo>
                <a:lnTo>
                  <a:pt x="152246" y="36718"/>
                </a:lnTo>
                <a:cubicBezTo>
                  <a:pt x="152246" y="28210"/>
                  <a:pt x="145081" y="21046"/>
                  <a:pt x="136573" y="21046"/>
                </a:cubicBezTo>
                <a:close/>
                <a:moveTo>
                  <a:pt x="51495" y="12986"/>
                </a:moveTo>
                <a:cubicBezTo>
                  <a:pt x="51495" y="8508"/>
                  <a:pt x="55525" y="4478"/>
                  <a:pt x="60898" y="4478"/>
                </a:cubicBezTo>
                <a:lnTo>
                  <a:pt x="91347" y="4478"/>
                </a:lnTo>
                <a:cubicBezTo>
                  <a:pt x="96273" y="4478"/>
                  <a:pt x="100751" y="8060"/>
                  <a:pt x="100751" y="12986"/>
                </a:cubicBezTo>
                <a:lnTo>
                  <a:pt x="100751" y="21046"/>
                </a:lnTo>
                <a:lnTo>
                  <a:pt x="51495" y="21046"/>
                </a:lnTo>
                <a:lnTo>
                  <a:pt x="51495" y="12986"/>
                </a:lnTo>
                <a:close/>
                <a:moveTo>
                  <a:pt x="15672" y="25524"/>
                </a:moveTo>
                <a:lnTo>
                  <a:pt x="48360" y="25524"/>
                </a:lnTo>
                <a:cubicBezTo>
                  <a:pt x="48808" y="25524"/>
                  <a:pt x="48808" y="25524"/>
                  <a:pt x="49256" y="25524"/>
                </a:cubicBezTo>
                <a:cubicBezTo>
                  <a:pt x="49704" y="25524"/>
                  <a:pt x="49704" y="25524"/>
                  <a:pt x="50152" y="25524"/>
                </a:cubicBezTo>
                <a:lnTo>
                  <a:pt x="102542" y="25524"/>
                </a:lnTo>
                <a:cubicBezTo>
                  <a:pt x="102990" y="25524"/>
                  <a:pt x="102990" y="25524"/>
                  <a:pt x="103438" y="25524"/>
                </a:cubicBezTo>
                <a:cubicBezTo>
                  <a:pt x="103885" y="25524"/>
                  <a:pt x="103885" y="25524"/>
                  <a:pt x="104333" y="25524"/>
                </a:cubicBezTo>
                <a:lnTo>
                  <a:pt x="137021" y="25524"/>
                </a:lnTo>
                <a:cubicBezTo>
                  <a:pt x="143290" y="25524"/>
                  <a:pt x="148216" y="30449"/>
                  <a:pt x="148216" y="36718"/>
                </a:cubicBezTo>
                <a:lnTo>
                  <a:pt x="148216" y="61346"/>
                </a:lnTo>
                <a:lnTo>
                  <a:pt x="4926" y="61346"/>
                </a:lnTo>
                <a:lnTo>
                  <a:pt x="4926" y="36718"/>
                </a:lnTo>
                <a:cubicBezTo>
                  <a:pt x="4030" y="30897"/>
                  <a:pt x="9403" y="25524"/>
                  <a:pt x="15672" y="25524"/>
                </a:cubicBezTo>
                <a:close/>
                <a:moveTo>
                  <a:pt x="136573" y="128513"/>
                </a:moveTo>
                <a:lnTo>
                  <a:pt x="15672" y="128513"/>
                </a:lnTo>
                <a:cubicBezTo>
                  <a:pt x="9403" y="128513"/>
                  <a:pt x="4478" y="123588"/>
                  <a:pt x="4478" y="117319"/>
                </a:cubicBezTo>
                <a:lnTo>
                  <a:pt x="4478" y="65824"/>
                </a:lnTo>
                <a:lnTo>
                  <a:pt x="40300" y="65824"/>
                </a:lnTo>
                <a:lnTo>
                  <a:pt x="40300" y="83735"/>
                </a:lnTo>
                <a:cubicBezTo>
                  <a:pt x="40300" y="85079"/>
                  <a:pt x="41196" y="85974"/>
                  <a:pt x="42539" y="85974"/>
                </a:cubicBezTo>
                <a:cubicBezTo>
                  <a:pt x="43883" y="85974"/>
                  <a:pt x="44778" y="85079"/>
                  <a:pt x="44778" y="83735"/>
                </a:cubicBezTo>
                <a:lnTo>
                  <a:pt x="44778" y="65824"/>
                </a:lnTo>
                <a:lnTo>
                  <a:pt x="107468" y="65824"/>
                </a:lnTo>
                <a:lnTo>
                  <a:pt x="107468" y="83735"/>
                </a:lnTo>
                <a:cubicBezTo>
                  <a:pt x="107468" y="85079"/>
                  <a:pt x="108363" y="85974"/>
                  <a:pt x="109707" y="85974"/>
                </a:cubicBezTo>
                <a:cubicBezTo>
                  <a:pt x="111050" y="85974"/>
                  <a:pt x="111945" y="85079"/>
                  <a:pt x="111945" y="83735"/>
                </a:cubicBezTo>
                <a:lnTo>
                  <a:pt x="111945" y="65824"/>
                </a:lnTo>
                <a:lnTo>
                  <a:pt x="147768" y="65824"/>
                </a:lnTo>
                <a:lnTo>
                  <a:pt x="147768" y="117319"/>
                </a:lnTo>
                <a:cubicBezTo>
                  <a:pt x="147768" y="123588"/>
                  <a:pt x="142395" y="128513"/>
                  <a:pt x="136573" y="128513"/>
                </a:cubicBezTo>
                <a:close/>
              </a:path>
            </a:pathLst>
          </a:custGeom>
          <a:solidFill>
            <a:srgbClr val="231F20"/>
          </a:solidFill>
          <a:ln w="4474" cap="flat">
            <a:noFill/>
            <a:prstDash val="solid"/>
            <a:miter/>
          </a:ln>
        </p:spPr>
        <p:txBody>
          <a:bodyPr rtlCol="0" anchor="ctr"/>
          <a:lstStyle/>
          <a:p>
            <a:endParaRPr lang="en-US"/>
          </a:p>
        </p:txBody>
      </p:sp>
      <p:sp>
        <p:nvSpPr>
          <p:cNvPr id="4495" name="Freeform: Shape 4494">
            <a:extLst>
              <a:ext uri="{FF2B5EF4-FFF2-40B4-BE49-F238E27FC236}">
                <a16:creationId xmlns:a16="http://schemas.microsoft.com/office/drawing/2014/main" id="{D7B26FC5-E413-4554-81CD-BEF216871453}"/>
              </a:ext>
              <a:ext uri="{C183D7F6-B498-43B3-948B-1728B52AA6E4}">
                <adec:decorative xmlns:adec="http://schemas.microsoft.com/office/drawing/2017/decorative" val="1"/>
              </a:ext>
            </a:extLst>
          </p:cNvPr>
          <p:cNvSpPr>
            <a:spLocks noChangeAspect="1"/>
          </p:cNvSpPr>
          <p:nvPr/>
        </p:nvSpPr>
        <p:spPr>
          <a:xfrm>
            <a:off x="4231676" y="5222449"/>
            <a:ext cx="125379" cy="152246"/>
          </a:xfrm>
          <a:custGeom>
            <a:avLst/>
            <a:gdLst>
              <a:gd name="connsiteX0" fmla="*/ 62689 w 125378"/>
              <a:gd name="connsiteY0" fmla="*/ 152693 h 152245"/>
              <a:gd name="connsiteX1" fmla="*/ 61346 w 125378"/>
              <a:gd name="connsiteY1" fmla="*/ 152246 h 152245"/>
              <a:gd name="connsiteX2" fmla="*/ 23285 w 125378"/>
              <a:gd name="connsiteY2" fmla="*/ 128961 h 152245"/>
              <a:gd name="connsiteX3" fmla="*/ 0 w 125378"/>
              <a:gd name="connsiteY3" fmla="*/ 88213 h 152245"/>
              <a:gd name="connsiteX4" fmla="*/ 0 w 125378"/>
              <a:gd name="connsiteY4" fmla="*/ 29106 h 152245"/>
              <a:gd name="connsiteX5" fmla="*/ 2239 w 125378"/>
              <a:gd name="connsiteY5" fmla="*/ 26867 h 152245"/>
              <a:gd name="connsiteX6" fmla="*/ 60898 w 125378"/>
              <a:gd name="connsiteY6" fmla="*/ 896 h 152245"/>
              <a:gd name="connsiteX7" fmla="*/ 62689 w 125378"/>
              <a:gd name="connsiteY7" fmla="*/ 0 h 152245"/>
              <a:gd name="connsiteX8" fmla="*/ 62689 w 125378"/>
              <a:gd name="connsiteY8" fmla="*/ 0 h 152245"/>
              <a:gd name="connsiteX9" fmla="*/ 64481 w 125378"/>
              <a:gd name="connsiteY9" fmla="*/ 896 h 152245"/>
              <a:gd name="connsiteX10" fmla="*/ 123140 w 125378"/>
              <a:gd name="connsiteY10" fmla="*/ 26867 h 152245"/>
              <a:gd name="connsiteX11" fmla="*/ 125379 w 125378"/>
              <a:gd name="connsiteY11" fmla="*/ 29106 h 152245"/>
              <a:gd name="connsiteX12" fmla="*/ 125379 w 125378"/>
              <a:gd name="connsiteY12" fmla="*/ 88213 h 152245"/>
              <a:gd name="connsiteX13" fmla="*/ 102094 w 125378"/>
              <a:gd name="connsiteY13" fmla="*/ 128961 h 152245"/>
              <a:gd name="connsiteX14" fmla="*/ 64033 w 125378"/>
              <a:gd name="connsiteY14" fmla="*/ 152246 h 152245"/>
              <a:gd name="connsiteX15" fmla="*/ 62689 w 125378"/>
              <a:gd name="connsiteY15" fmla="*/ 152693 h 152245"/>
              <a:gd name="connsiteX16" fmla="*/ 4478 w 125378"/>
              <a:gd name="connsiteY16" fmla="*/ 31345 h 152245"/>
              <a:gd name="connsiteX17" fmla="*/ 4478 w 125378"/>
              <a:gd name="connsiteY17" fmla="*/ 88213 h 152245"/>
              <a:gd name="connsiteX18" fmla="*/ 25524 w 125378"/>
              <a:gd name="connsiteY18" fmla="*/ 125379 h 152245"/>
              <a:gd name="connsiteX19" fmla="*/ 62689 w 125378"/>
              <a:gd name="connsiteY19" fmla="*/ 147768 h 152245"/>
              <a:gd name="connsiteX20" fmla="*/ 99408 w 125378"/>
              <a:gd name="connsiteY20" fmla="*/ 125379 h 152245"/>
              <a:gd name="connsiteX21" fmla="*/ 120901 w 125378"/>
              <a:gd name="connsiteY21" fmla="*/ 88213 h 152245"/>
              <a:gd name="connsiteX22" fmla="*/ 120901 w 125378"/>
              <a:gd name="connsiteY22" fmla="*/ 31345 h 152245"/>
              <a:gd name="connsiteX23" fmla="*/ 62689 w 125378"/>
              <a:gd name="connsiteY23" fmla="*/ 5821 h 152245"/>
              <a:gd name="connsiteX24" fmla="*/ 4478 w 125378"/>
              <a:gd name="connsiteY24" fmla="*/ 31345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5378" h="152245">
                <a:moveTo>
                  <a:pt x="62689" y="152693"/>
                </a:moveTo>
                <a:cubicBezTo>
                  <a:pt x="62242" y="152693"/>
                  <a:pt x="61794" y="152693"/>
                  <a:pt x="61346" y="152246"/>
                </a:cubicBezTo>
                <a:lnTo>
                  <a:pt x="23285" y="128961"/>
                </a:lnTo>
                <a:cubicBezTo>
                  <a:pt x="8956" y="120453"/>
                  <a:pt x="0" y="104781"/>
                  <a:pt x="0" y="88213"/>
                </a:cubicBezTo>
                <a:lnTo>
                  <a:pt x="0" y="29106"/>
                </a:lnTo>
                <a:cubicBezTo>
                  <a:pt x="0" y="27763"/>
                  <a:pt x="896" y="26867"/>
                  <a:pt x="2239" y="26867"/>
                </a:cubicBezTo>
                <a:cubicBezTo>
                  <a:pt x="26867" y="26867"/>
                  <a:pt x="49704" y="13881"/>
                  <a:pt x="60898" y="896"/>
                </a:cubicBezTo>
                <a:cubicBezTo>
                  <a:pt x="61346" y="448"/>
                  <a:pt x="61794" y="0"/>
                  <a:pt x="62689" y="0"/>
                </a:cubicBezTo>
                <a:lnTo>
                  <a:pt x="62689" y="0"/>
                </a:lnTo>
                <a:cubicBezTo>
                  <a:pt x="63137" y="0"/>
                  <a:pt x="64033" y="448"/>
                  <a:pt x="64481" y="896"/>
                </a:cubicBezTo>
                <a:cubicBezTo>
                  <a:pt x="75675" y="13881"/>
                  <a:pt x="98512" y="26867"/>
                  <a:pt x="123140" y="26867"/>
                </a:cubicBezTo>
                <a:cubicBezTo>
                  <a:pt x="124484" y="26867"/>
                  <a:pt x="125379" y="27763"/>
                  <a:pt x="125379" y="29106"/>
                </a:cubicBezTo>
                <a:lnTo>
                  <a:pt x="125379" y="88213"/>
                </a:lnTo>
                <a:cubicBezTo>
                  <a:pt x="125379" y="104781"/>
                  <a:pt x="116423" y="120453"/>
                  <a:pt x="102094" y="128961"/>
                </a:cubicBezTo>
                <a:lnTo>
                  <a:pt x="64033" y="152246"/>
                </a:lnTo>
                <a:cubicBezTo>
                  <a:pt x="63137" y="152246"/>
                  <a:pt x="62689" y="152693"/>
                  <a:pt x="62689" y="152693"/>
                </a:cubicBezTo>
                <a:close/>
                <a:moveTo>
                  <a:pt x="4478" y="31345"/>
                </a:moveTo>
                <a:lnTo>
                  <a:pt x="4478" y="88213"/>
                </a:lnTo>
                <a:cubicBezTo>
                  <a:pt x="4478" y="103437"/>
                  <a:pt x="12538" y="117319"/>
                  <a:pt x="25524" y="125379"/>
                </a:cubicBezTo>
                <a:lnTo>
                  <a:pt x="62689" y="147768"/>
                </a:lnTo>
                <a:lnTo>
                  <a:pt x="99408" y="125379"/>
                </a:lnTo>
                <a:cubicBezTo>
                  <a:pt x="112393" y="117767"/>
                  <a:pt x="120901" y="103437"/>
                  <a:pt x="120901" y="88213"/>
                </a:cubicBezTo>
                <a:lnTo>
                  <a:pt x="120901" y="31345"/>
                </a:lnTo>
                <a:cubicBezTo>
                  <a:pt x="96721" y="30449"/>
                  <a:pt x="74780" y="18359"/>
                  <a:pt x="62689" y="5821"/>
                </a:cubicBezTo>
                <a:cubicBezTo>
                  <a:pt x="50152" y="18359"/>
                  <a:pt x="28210" y="30449"/>
                  <a:pt x="4478" y="31345"/>
                </a:cubicBezTo>
                <a:close/>
              </a:path>
            </a:pathLst>
          </a:custGeom>
          <a:solidFill>
            <a:srgbClr val="231F20"/>
          </a:solidFill>
          <a:ln w="4474" cap="flat">
            <a:noFill/>
            <a:prstDash val="solid"/>
            <a:miter/>
          </a:ln>
        </p:spPr>
        <p:txBody>
          <a:bodyPr rtlCol="0" anchor="ctr"/>
          <a:lstStyle/>
          <a:p>
            <a:endParaRPr lang="en-US"/>
          </a:p>
        </p:txBody>
      </p:sp>
      <p:grpSp>
        <p:nvGrpSpPr>
          <p:cNvPr id="4496" name="Group 4495">
            <a:extLst>
              <a:ext uri="{FF2B5EF4-FFF2-40B4-BE49-F238E27FC236}">
                <a16:creationId xmlns:a16="http://schemas.microsoft.com/office/drawing/2014/main" id="{DEE0F1B8-B8F6-4BD3-9644-A69007A93E90}"/>
              </a:ext>
              <a:ext uri="{C183D7F6-B498-43B3-948B-1728B52AA6E4}">
                <adec:decorative xmlns:adec="http://schemas.microsoft.com/office/drawing/2017/decorative" val="1"/>
              </a:ext>
            </a:extLst>
          </p:cNvPr>
          <p:cNvGrpSpPr>
            <a:grpSpLocks noChangeAspect="1"/>
          </p:cNvGrpSpPr>
          <p:nvPr/>
        </p:nvGrpSpPr>
        <p:grpSpPr>
          <a:xfrm>
            <a:off x="3688517" y="5222896"/>
            <a:ext cx="151351" cy="151799"/>
            <a:chOff x="3739838" y="4491784"/>
            <a:chExt cx="151351" cy="151799"/>
          </a:xfrm>
        </p:grpSpPr>
        <p:sp>
          <p:nvSpPr>
            <p:cNvPr id="4497" name="Freeform: Shape 4496">
              <a:extLst>
                <a:ext uri="{FF2B5EF4-FFF2-40B4-BE49-F238E27FC236}">
                  <a16:creationId xmlns:a16="http://schemas.microsoft.com/office/drawing/2014/main" id="{30A237C6-5D42-460A-93C6-98C46482861B}"/>
                </a:ext>
              </a:extLst>
            </p:cNvPr>
            <p:cNvSpPr/>
            <p:nvPr/>
          </p:nvSpPr>
          <p:spPr>
            <a:xfrm>
              <a:off x="3806110" y="4491784"/>
              <a:ext cx="85079" cy="85079"/>
            </a:xfrm>
            <a:custGeom>
              <a:avLst/>
              <a:gdLst>
                <a:gd name="connsiteX0" fmla="*/ 31793 w 85078"/>
                <a:gd name="connsiteY0" fmla="*/ 85526 h 85078"/>
                <a:gd name="connsiteX1" fmla="*/ 28210 w 85078"/>
                <a:gd name="connsiteY1" fmla="*/ 85526 h 85078"/>
                <a:gd name="connsiteX2" fmla="*/ 25972 w 85078"/>
                <a:gd name="connsiteY2" fmla="*/ 83288 h 85078"/>
                <a:gd name="connsiteX3" fmla="*/ 28210 w 85078"/>
                <a:gd name="connsiteY3" fmla="*/ 81049 h 85078"/>
                <a:gd name="connsiteX4" fmla="*/ 31793 w 85078"/>
                <a:gd name="connsiteY4" fmla="*/ 81049 h 85078"/>
                <a:gd name="connsiteX5" fmla="*/ 49704 w 85078"/>
                <a:gd name="connsiteY5" fmla="*/ 73436 h 85078"/>
                <a:gd name="connsiteX6" fmla="*/ 73436 w 85078"/>
                <a:gd name="connsiteY6" fmla="*/ 49704 h 85078"/>
                <a:gd name="connsiteX7" fmla="*/ 81049 w 85078"/>
                <a:gd name="connsiteY7" fmla="*/ 30897 h 85078"/>
                <a:gd name="connsiteX8" fmla="*/ 54629 w 85078"/>
                <a:gd name="connsiteY8" fmla="*/ 4478 h 85078"/>
                <a:gd name="connsiteX9" fmla="*/ 35823 w 85078"/>
                <a:gd name="connsiteY9" fmla="*/ 12090 h 85078"/>
                <a:gd name="connsiteX10" fmla="*/ 12090 w 85078"/>
                <a:gd name="connsiteY10" fmla="*/ 35823 h 85078"/>
                <a:gd name="connsiteX11" fmla="*/ 4478 w 85078"/>
                <a:gd name="connsiteY11" fmla="*/ 53734 h 85078"/>
                <a:gd name="connsiteX12" fmla="*/ 4478 w 85078"/>
                <a:gd name="connsiteY12" fmla="*/ 57316 h 85078"/>
                <a:gd name="connsiteX13" fmla="*/ 2239 w 85078"/>
                <a:gd name="connsiteY13" fmla="*/ 59555 h 85078"/>
                <a:gd name="connsiteX14" fmla="*/ 0 w 85078"/>
                <a:gd name="connsiteY14" fmla="*/ 57316 h 85078"/>
                <a:gd name="connsiteX15" fmla="*/ 0 w 85078"/>
                <a:gd name="connsiteY15" fmla="*/ 53734 h 85078"/>
                <a:gd name="connsiteX16" fmla="*/ 8956 w 85078"/>
                <a:gd name="connsiteY16" fmla="*/ 32688 h 85078"/>
                <a:gd name="connsiteX17" fmla="*/ 32688 w 85078"/>
                <a:gd name="connsiteY17" fmla="*/ 8956 h 85078"/>
                <a:gd name="connsiteX18" fmla="*/ 54629 w 85078"/>
                <a:gd name="connsiteY18" fmla="*/ 0 h 85078"/>
                <a:gd name="connsiteX19" fmla="*/ 85526 w 85078"/>
                <a:gd name="connsiteY19" fmla="*/ 30897 h 85078"/>
                <a:gd name="connsiteX20" fmla="*/ 76571 w 85078"/>
                <a:gd name="connsiteY20" fmla="*/ 52838 h 85078"/>
                <a:gd name="connsiteX21" fmla="*/ 52838 w 85078"/>
                <a:gd name="connsiteY21" fmla="*/ 76571 h 85078"/>
                <a:gd name="connsiteX22" fmla="*/ 31793 w 85078"/>
                <a:gd name="connsiteY22" fmla="*/ 85526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85078">
                  <a:moveTo>
                    <a:pt x="31793" y="85526"/>
                  </a:moveTo>
                  <a:lnTo>
                    <a:pt x="28210" y="85526"/>
                  </a:lnTo>
                  <a:cubicBezTo>
                    <a:pt x="26867" y="85526"/>
                    <a:pt x="25972" y="84631"/>
                    <a:pt x="25972" y="83288"/>
                  </a:cubicBezTo>
                  <a:cubicBezTo>
                    <a:pt x="25972" y="81944"/>
                    <a:pt x="26867" y="81049"/>
                    <a:pt x="28210" y="81049"/>
                  </a:cubicBezTo>
                  <a:lnTo>
                    <a:pt x="31793" y="81049"/>
                  </a:lnTo>
                  <a:cubicBezTo>
                    <a:pt x="38509" y="81049"/>
                    <a:pt x="44778" y="78362"/>
                    <a:pt x="49704" y="73436"/>
                  </a:cubicBezTo>
                  <a:lnTo>
                    <a:pt x="73436" y="49704"/>
                  </a:lnTo>
                  <a:cubicBezTo>
                    <a:pt x="78362" y="44778"/>
                    <a:pt x="81049" y="38061"/>
                    <a:pt x="81049" y="30897"/>
                  </a:cubicBezTo>
                  <a:cubicBezTo>
                    <a:pt x="81049" y="16120"/>
                    <a:pt x="68959" y="4478"/>
                    <a:pt x="54629" y="4478"/>
                  </a:cubicBezTo>
                  <a:cubicBezTo>
                    <a:pt x="47465" y="4478"/>
                    <a:pt x="40748" y="7165"/>
                    <a:pt x="35823" y="12090"/>
                  </a:cubicBezTo>
                  <a:lnTo>
                    <a:pt x="12090" y="35823"/>
                  </a:lnTo>
                  <a:cubicBezTo>
                    <a:pt x="7165" y="40748"/>
                    <a:pt x="4478" y="47017"/>
                    <a:pt x="4478" y="53734"/>
                  </a:cubicBezTo>
                  <a:lnTo>
                    <a:pt x="4478" y="57316"/>
                  </a:lnTo>
                  <a:cubicBezTo>
                    <a:pt x="4478" y="58660"/>
                    <a:pt x="3582" y="59555"/>
                    <a:pt x="2239" y="59555"/>
                  </a:cubicBezTo>
                  <a:cubicBezTo>
                    <a:pt x="896" y="59555"/>
                    <a:pt x="0" y="58660"/>
                    <a:pt x="0" y="57316"/>
                  </a:cubicBezTo>
                  <a:lnTo>
                    <a:pt x="0" y="53734"/>
                  </a:lnTo>
                  <a:cubicBezTo>
                    <a:pt x="0" y="46122"/>
                    <a:pt x="3135" y="38509"/>
                    <a:pt x="8956" y="32688"/>
                  </a:cubicBezTo>
                  <a:lnTo>
                    <a:pt x="32688" y="8956"/>
                  </a:lnTo>
                  <a:cubicBezTo>
                    <a:pt x="38509" y="3135"/>
                    <a:pt x="46122" y="0"/>
                    <a:pt x="54629" y="0"/>
                  </a:cubicBezTo>
                  <a:cubicBezTo>
                    <a:pt x="71645" y="0"/>
                    <a:pt x="85526" y="13881"/>
                    <a:pt x="85526" y="30897"/>
                  </a:cubicBezTo>
                  <a:cubicBezTo>
                    <a:pt x="85526" y="38957"/>
                    <a:pt x="82392" y="47017"/>
                    <a:pt x="76571" y="52838"/>
                  </a:cubicBezTo>
                  <a:lnTo>
                    <a:pt x="52838" y="76571"/>
                  </a:lnTo>
                  <a:cubicBezTo>
                    <a:pt x="47017" y="82392"/>
                    <a:pt x="39405" y="85526"/>
                    <a:pt x="31793" y="85526"/>
                  </a:cubicBezTo>
                  <a:close/>
                </a:path>
              </a:pathLst>
            </a:custGeom>
            <a:solidFill>
              <a:srgbClr val="231F20"/>
            </a:solidFill>
            <a:ln w="4474" cap="flat">
              <a:noFill/>
              <a:prstDash val="solid"/>
              <a:miter/>
            </a:ln>
          </p:spPr>
          <p:txBody>
            <a:bodyPr rtlCol="0" anchor="ctr"/>
            <a:lstStyle/>
            <a:p>
              <a:endParaRPr lang="en-US"/>
            </a:p>
          </p:txBody>
        </p:sp>
        <p:sp>
          <p:nvSpPr>
            <p:cNvPr id="4498" name="Freeform: Shape 4497">
              <a:extLst>
                <a:ext uri="{FF2B5EF4-FFF2-40B4-BE49-F238E27FC236}">
                  <a16:creationId xmlns:a16="http://schemas.microsoft.com/office/drawing/2014/main" id="{F297E0F9-3886-4264-A7E0-1A3521184A3D}"/>
                </a:ext>
              </a:extLst>
            </p:cNvPr>
            <p:cNvSpPr/>
            <p:nvPr/>
          </p:nvSpPr>
          <p:spPr>
            <a:xfrm>
              <a:off x="3739838" y="4558504"/>
              <a:ext cx="85079" cy="85079"/>
            </a:xfrm>
            <a:custGeom>
              <a:avLst/>
              <a:gdLst>
                <a:gd name="connsiteX0" fmla="*/ 30897 w 85078"/>
                <a:gd name="connsiteY0" fmla="*/ 85526 h 85078"/>
                <a:gd name="connsiteX1" fmla="*/ 0 w 85078"/>
                <a:gd name="connsiteY1" fmla="*/ 54629 h 85078"/>
                <a:gd name="connsiteX2" fmla="*/ 8956 w 85078"/>
                <a:gd name="connsiteY2" fmla="*/ 32688 h 85078"/>
                <a:gd name="connsiteX3" fmla="*/ 32688 w 85078"/>
                <a:gd name="connsiteY3" fmla="*/ 8956 h 85078"/>
                <a:gd name="connsiteX4" fmla="*/ 53734 w 85078"/>
                <a:gd name="connsiteY4" fmla="*/ 0 h 85078"/>
                <a:gd name="connsiteX5" fmla="*/ 57316 w 85078"/>
                <a:gd name="connsiteY5" fmla="*/ 0 h 85078"/>
                <a:gd name="connsiteX6" fmla="*/ 59555 w 85078"/>
                <a:gd name="connsiteY6" fmla="*/ 2239 h 85078"/>
                <a:gd name="connsiteX7" fmla="*/ 57316 w 85078"/>
                <a:gd name="connsiteY7" fmla="*/ 4478 h 85078"/>
                <a:gd name="connsiteX8" fmla="*/ 53734 w 85078"/>
                <a:gd name="connsiteY8" fmla="*/ 4478 h 85078"/>
                <a:gd name="connsiteX9" fmla="*/ 35823 w 85078"/>
                <a:gd name="connsiteY9" fmla="*/ 12090 h 85078"/>
                <a:gd name="connsiteX10" fmla="*/ 12090 w 85078"/>
                <a:gd name="connsiteY10" fmla="*/ 35823 h 85078"/>
                <a:gd name="connsiteX11" fmla="*/ 4478 w 85078"/>
                <a:gd name="connsiteY11" fmla="*/ 54629 h 85078"/>
                <a:gd name="connsiteX12" fmla="*/ 30897 w 85078"/>
                <a:gd name="connsiteY12" fmla="*/ 81048 h 85078"/>
                <a:gd name="connsiteX13" fmla="*/ 49704 w 85078"/>
                <a:gd name="connsiteY13" fmla="*/ 73436 h 85078"/>
                <a:gd name="connsiteX14" fmla="*/ 73436 w 85078"/>
                <a:gd name="connsiteY14" fmla="*/ 49704 h 85078"/>
                <a:gd name="connsiteX15" fmla="*/ 81049 w 85078"/>
                <a:gd name="connsiteY15" fmla="*/ 31792 h 85078"/>
                <a:gd name="connsiteX16" fmla="*/ 81049 w 85078"/>
                <a:gd name="connsiteY16" fmla="*/ 28210 h 85078"/>
                <a:gd name="connsiteX17" fmla="*/ 83288 w 85078"/>
                <a:gd name="connsiteY17" fmla="*/ 25971 h 85078"/>
                <a:gd name="connsiteX18" fmla="*/ 85526 w 85078"/>
                <a:gd name="connsiteY18" fmla="*/ 28210 h 85078"/>
                <a:gd name="connsiteX19" fmla="*/ 85526 w 85078"/>
                <a:gd name="connsiteY19" fmla="*/ 31792 h 85078"/>
                <a:gd name="connsiteX20" fmla="*/ 76571 w 85078"/>
                <a:gd name="connsiteY20" fmla="*/ 52838 h 85078"/>
                <a:gd name="connsiteX21" fmla="*/ 52838 w 85078"/>
                <a:gd name="connsiteY21" fmla="*/ 76571 h 85078"/>
                <a:gd name="connsiteX22" fmla="*/ 30897 w 85078"/>
                <a:gd name="connsiteY22" fmla="*/ 85526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85078">
                  <a:moveTo>
                    <a:pt x="30897" y="85526"/>
                  </a:moveTo>
                  <a:cubicBezTo>
                    <a:pt x="13881" y="85526"/>
                    <a:pt x="0" y="71645"/>
                    <a:pt x="0" y="54629"/>
                  </a:cubicBezTo>
                  <a:cubicBezTo>
                    <a:pt x="0" y="46569"/>
                    <a:pt x="3135" y="38509"/>
                    <a:pt x="8956" y="32688"/>
                  </a:cubicBezTo>
                  <a:lnTo>
                    <a:pt x="32688" y="8956"/>
                  </a:lnTo>
                  <a:cubicBezTo>
                    <a:pt x="38509" y="3135"/>
                    <a:pt x="46121" y="0"/>
                    <a:pt x="53734" y="0"/>
                  </a:cubicBezTo>
                  <a:lnTo>
                    <a:pt x="57316" y="0"/>
                  </a:lnTo>
                  <a:cubicBezTo>
                    <a:pt x="58660" y="0"/>
                    <a:pt x="59555" y="896"/>
                    <a:pt x="59555" y="2239"/>
                  </a:cubicBezTo>
                  <a:cubicBezTo>
                    <a:pt x="59555" y="3582"/>
                    <a:pt x="58660" y="4478"/>
                    <a:pt x="57316" y="4478"/>
                  </a:cubicBezTo>
                  <a:lnTo>
                    <a:pt x="53734" y="4478"/>
                  </a:lnTo>
                  <a:cubicBezTo>
                    <a:pt x="47017" y="4478"/>
                    <a:pt x="40748" y="7164"/>
                    <a:pt x="35823" y="12090"/>
                  </a:cubicBezTo>
                  <a:lnTo>
                    <a:pt x="12090" y="35823"/>
                  </a:lnTo>
                  <a:cubicBezTo>
                    <a:pt x="7165" y="40748"/>
                    <a:pt x="4478" y="47465"/>
                    <a:pt x="4478" y="54629"/>
                  </a:cubicBezTo>
                  <a:cubicBezTo>
                    <a:pt x="4478" y="69406"/>
                    <a:pt x="16568" y="81048"/>
                    <a:pt x="30897" y="81048"/>
                  </a:cubicBezTo>
                  <a:cubicBezTo>
                    <a:pt x="38061" y="81048"/>
                    <a:pt x="44778" y="78362"/>
                    <a:pt x="49704" y="73436"/>
                  </a:cubicBezTo>
                  <a:lnTo>
                    <a:pt x="73436" y="49704"/>
                  </a:lnTo>
                  <a:cubicBezTo>
                    <a:pt x="78362" y="44778"/>
                    <a:pt x="81049" y="38509"/>
                    <a:pt x="81049" y="31792"/>
                  </a:cubicBezTo>
                  <a:lnTo>
                    <a:pt x="81049" y="28210"/>
                  </a:lnTo>
                  <a:cubicBezTo>
                    <a:pt x="81049" y="26867"/>
                    <a:pt x="81944" y="25971"/>
                    <a:pt x="83288" y="25971"/>
                  </a:cubicBezTo>
                  <a:cubicBezTo>
                    <a:pt x="84631" y="25971"/>
                    <a:pt x="85526" y="26867"/>
                    <a:pt x="85526" y="28210"/>
                  </a:cubicBezTo>
                  <a:lnTo>
                    <a:pt x="85526" y="31792"/>
                  </a:lnTo>
                  <a:cubicBezTo>
                    <a:pt x="85526" y="39405"/>
                    <a:pt x="82392" y="47017"/>
                    <a:pt x="76571" y="52838"/>
                  </a:cubicBezTo>
                  <a:lnTo>
                    <a:pt x="52838" y="76571"/>
                  </a:lnTo>
                  <a:cubicBezTo>
                    <a:pt x="46569" y="81944"/>
                    <a:pt x="38957" y="85526"/>
                    <a:pt x="30897" y="85526"/>
                  </a:cubicBezTo>
                  <a:close/>
                </a:path>
              </a:pathLst>
            </a:custGeom>
            <a:solidFill>
              <a:srgbClr val="231F20"/>
            </a:solidFill>
            <a:ln w="4474" cap="flat">
              <a:noFill/>
              <a:prstDash val="solid"/>
              <a:miter/>
            </a:ln>
          </p:spPr>
          <p:txBody>
            <a:bodyPr rtlCol="0" anchor="ctr"/>
            <a:lstStyle/>
            <a:p>
              <a:endParaRPr lang="en-US"/>
            </a:p>
          </p:txBody>
        </p:sp>
        <p:sp>
          <p:nvSpPr>
            <p:cNvPr id="4499" name="Freeform: Shape 4498">
              <a:extLst>
                <a:ext uri="{FF2B5EF4-FFF2-40B4-BE49-F238E27FC236}">
                  <a16:creationId xmlns:a16="http://schemas.microsoft.com/office/drawing/2014/main" id="{232A8A9B-843B-41E5-9D81-3855557CCDF6}"/>
                </a:ext>
              </a:extLst>
            </p:cNvPr>
            <p:cNvSpPr/>
            <p:nvPr/>
          </p:nvSpPr>
          <p:spPr>
            <a:xfrm>
              <a:off x="3785288" y="4537682"/>
              <a:ext cx="58212" cy="58212"/>
            </a:xfrm>
            <a:custGeom>
              <a:avLst/>
              <a:gdLst>
                <a:gd name="connsiteX0" fmla="*/ 2463 w 58211"/>
                <a:gd name="connsiteY0" fmla="*/ 60227 h 58211"/>
                <a:gd name="connsiteX1" fmla="*/ 672 w 58211"/>
                <a:gd name="connsiteY1" fmla="*/ 59779 h 58211"/>
                <a:gd name="connsiteX2" fmla="*/ 672 w 58211"/>
                <a:gd name="connsiteY2" fmla="*/ 56644 h 58211"/>
                <a:gd name="connsiteX3" fmla="*/ 56644 w 58211"/>
                <a:gd name="connsiteY3" fmla="*/ 672 h 58211"/>
                <a:gd name="connsiteX4" fmla="*/ 59779 w 58211"/>
                <a:gd name="connsiteY4" fmla="*/ 672 h 58211"/>
                <a:gd name="connsiteX5" fmla="*/ 59779 w 58211"/>
                <a:gd name="connsiteY5" fmla="*/ 3806 h 58211"/>
                <a:gd name="connsiteX6" fmla="*/ 3806 w 58211"/>
                <a:gd name="connsiteY6" fmla="*/ 59779 h 58211"/>
                <a:gd name="connsiteX7" fmla="*/ 2463 w 58211"/>
                <a:gd name="connsiteY7" fmla="*/ 6022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11" h="58211">
                  <a:moveTo>
                    <a:pt x="2463" y="60227"/>
                  </a:moveTo>
                  <a:cubicBezTo>
                    <a:pt x="2015" y="60227"/>
                    <a:pt x="1119" y="60227"/>
                    <a:pt x="672" y="59779"/>
                  </a:cubicBezTo>
                  <a:cubicBezTo>
                    <a:pt x="-224" y="58883"/>
                    <a:pt x="-224" y="57540"/>
                    <a:pt x="672" y="56644"/>
                  </a:cubicBezTo>
                  <a:lnTo>
                    <a:pt x="56644" y="672"/>
                  </a:lnTo>
                  <a:cubicBezTo>
                    <a:pt x="57540" y="-224"/>
                    <a:pt x="58883" y="-224"/>
                    <a:pt x="59779" y="672"/>
                  </a:cubicBezTo>
                  <a:cubicBezTo>
                    <a:pt x="60674" y="1567"/>
                    <a:pt x="60674" y="2911"/>
                    <a:pt x="59779" y="3806"/>
                  </a:cubicBezTo>
                  <a:lnTo>
                    <a:pt x="3806" y="59779"/>
                  </a:lnTo>
                  <a:cubicBezTo>
                    <a:pt x="3358" y="60227"/>
                    <a:pt x="2910" y="60227"/>
                    <a:pt x="2463" y="60227"/>
                  </a:cubicBezTo>
                  <a:close/>
                </a:path>
              </a:pathLst>
            </a:custGeom>
            <a:solidFill>
              <a:srgbClr val="231F20"/>
            </a:solidFill>
            <a:ln w="4474" cap="flat">
              <a:noFill/>
              <a:prstDash val="solid"/>
              <a:miter/>
            </a:ln>
          </p:spPr>
          <p:txBody>
            <a:bodyPr rtlCol="0" anchor="ctr"/>
            <a:lstStyle/>
            <a:p>
              <a:endParaRPr lang="en-US"/>
            </a:p>
          </p:txBody>
        </p:sp>
      </p:grpSp>
      <p:sp>
        <p:nvSpPr>
          <p:cNvPr id="4500" name="Freeform: Shape 4499">
            <a:extLst>
              <a:ext uri="{FF2B5EF4-FFF2-40B4-BE49-F238E27FC236}">
                <a16:creationId xmlns:a16="http://schemas.microsoft.com/office/drawing/2014/main" id="{941B44E3-A69D-42DC-84F4-6A8376988B7B}"/>
              </a:ext>
              <a:ext uri="{C183D7F6-B498-43B3-948B-1728B52AA6E4}">
                <adec:decorative xmlns:adec="http://schemas.microsoft.com/office/drawing/2017/decorative" val="1"/>
              </a:ext>
            </a:extLst>
          </p:cNvPr>
          <p:cNvSpPr>
            <a:spLocks noChangeAspect="1"/>
          </p:cNvSpPr>
          <p:nvPr/>
        </p:nvSpPr>
        <p:spPr>
          <a:xfrm>
            <a:off x="3966142" y="5222896"/>
            <a:ext cx="147768" cy="143290"/>
          </a:xfrm>
          <a:custGeom>
            <a:avLst/>
            <a:gdLst>
              <a:gd name="connsiteX0" fmla="*/ 148216 w 147767"/>
              <a:gd name="connsiteY0" fmla="*/ 120901 h 143290"/>
              <a:gd name="connsiteX1" fmla="*/ 141947 w 147767"/>
              <a:gd name="connsiteY1" fmla="*/ 120901 h 143290"/>
              <a:gd name="connsiteX2" fmla="*/ 127170 w 147767"/>
              <a:gd name="connsiteY2" fmla="*/ 51047 h 143290"/>
              <a:gd name="connsiteX3" fmla="*/ 75227 w 147767"/>
              <a:gd name="connsiteY3" fmla="*/ 0 h 143290"/>
              <a:gd name="connsiteX4" fmla="*/ 23285 w 147767"/>
              <a:gd name="connsiteY4" fmla="*/ 51047 h 143290"/>
              <a:gd name="connsiteX5" fmla="*/ 8508 w 147767"/>
              <a:gd name="connsiteY5" fmla="*/ 120901 h 143290"/>
              <a:gd name="connsiteX6" fmla="*/ 2239 w 147767"/>
              <a:gd name="connsiteY6" fmla="*/ 120901 h 143290"/>
              <a:gd name="connsiteX7" fmla="*/ 0 w 147767"/>
              <a:gd name="connsiteY7" fmla="*/ 123140 h 143290"/>
              <a:gd name="connsiteX8" fmla="*/ 2239 w 147767"/>
              <a:gd name="connsiteY8" fmla="*/ 125379 h 143290"/>
              <a:gd name="connsiteX9" fmla="*/ 55077 w 147767"/>
              <a:gd name="connsiteY9" fmla="*/ 125379 h 143290"/>
              <a:gd name="connsiteX10" fmla="*/ 75227 w 147767"/>
              <a:gd name="connsiteY10" fmla="*/ 145529 h 143290"/>
              <a:gd name="connsiteX11" fmla="*/ 95377 w 147767"/>
              <a:gd name="connsiteY11" fmla="*/ 125379 h 143290"/>
              <a:gd name="connsiteX12" fmla="*/ 148216 w 147767"/>
              <a:gd name="connsiteY12" fmla="*/ 125379 h 143290"/>
              <a:gd name="connsiteX13" fmla="*/ 150455 w 147767"/>
              <a:gd name="connsiteY13" fmla="*/ 123140 h 143290"/>
              <a:gd name="connsiteX14" fmla="*/ 148216 w 147767"/>
              <a:gd name="connsiteY14" fmla="*/ 120901 h 143290"/>
              <a:gd name="connsiteX15" fmla="*/ 27763 w 147767"/>
              <a:gd name="connsiteY15" fmla="*/ 51047 h 143290"/>
              <a:gd name="connsiteX16" fmla="*/ 75227 w 147767"/>
              <a:gd name="connsiteY16" fmla="*/ 4478 h 143290"/>
              <a:gd name="connsiteX17" fmla="*/ 122692 w 147767"/>
              <a:gd name="connsiteY17" fmla="*/ 51047 h 143290"/>
              <a:gd name="connsiteX18" fmla="*/ 134782 w 147767"/>
              <a:gd name="connsiteY18" fmla="*/ 120901 h 143290"/>
              <a:gd name="connsiteX19" fmla="*/ 15225 w 147767"/>
              <a:gd name="connsiteY19" fmla="*/ 120901 h 143290"/>
              <a:gd name="connsiteX20" fmla="*/ 27763 w 147767"/>
              <a:gd name="connsiteY20" fmla="*/ 51047 h 143290"/>
              <a:gd name="connsiteX21" fmla="*/ 75227 w 147767"/>
              <a:gd name="connsiteY21" fmla="*/ 141051 h 143290"/>
              <a:gd name="connsiteX22" fmla="*/ 59555 w 147767"/>
              <a:gd name="connsiteY22" fmla="*/ 125379 h 143290"/>
              <a:gd name="connsiteX23" fmla="*/ 90900 w 147767"/>
              <a:gd name="connsiteY23" fmla="*/ 125379 h 143290"/>
              <a:gd name="connsiteX24" fmla="*/ 75227 w 147767"/>
              <a:gd name="connsiteY24" fmla="*/ 141051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7767" h="143290">
                <a:moveTo>
                  <a:pt x="148216" y="120901"/>
                </a:moveTo>
                <a:lnTo>
                  <a:pt x="141947" y="120901"/>
                </a:lnTo>
                <a:cubicBezTo>
                  <a:pt x="135678" y="120901"/>
                  <a:pt x="127170" y="94482"/>
                  <a:pt x="127170" y="51047"/>
                </a:cubicBezTo>
                <a:cubicBezTo>
                  <a:pt x="127170" y="22837"/>
                  <a:pt x="103885" y="0"/>
                  <a:pt x="75227" y="0"/>
                </a:cubicBezTo>
                <a:cubicBezTo>
                  <a:pt x="46569" y="0"/>
                  <a:pt x="23285" y="22837"/>
                  <a:pt x="23285" y="51047"/>
                </a:cubicBezTo>
                <a:cubicBezTo>
                  <a:pt x="23285" y="94034"/>
                  <a:pt x="14777" y="120901"/>
                  <a:pt x="8508" y="120901"/>
                </a:cubicBezTo>
                <a:lnTo>
                  <a:pt x="2239" y="120901"/>
                </a:lnTo>
                <a:cubicBezTo>
                  <a:pt x="896" y="120901"/>
                  <a:pt x="0" y="121797"/>
                  <a:pt x="0" y="123140"/>
                </a:cubicBezTo>
                <a:cubicBezTo>
                  <a:pt x="0" y="124484"/>
                  <a:pt x="896" y="125379"/>
                  <a:pt x="2239" y="125379"/>
                </a:cubicBezTo>
                <a:lnTo>
                  <a:pt x="55077" y="125379"/>
                </a:lnTo>
                <a:cubicBezTo>
                  <a:pt x="55973" y="136573"/>
                  <a:pt x="64928" y="145529"/>
                  <a:pt x="75227" y="145529"/>
                </a:cubicBezTo>
                <a:cubicBezTo>
                  <a:pt x="85526" y="145529"/>
                  <a:pt x="94482" y="136573"/>
                  <a:pt x="95377" y="125379"/>
                </a:cubicBezTo>
                <a:lnTo>
                  <a:pt x="148216" y="125379"/>
                </a:lnTo>
                <a:cubicBezTo>
                  <a:pt x="149559" y="125379"/>
                  <a:pt x="150455" y="124484"/>
                  <a:pt x="150455" y="123140"/>
                </a:cubicBezTo>
                <a:cubicBezTo>
                  <a:pt x="150455" y="121797"/>
                  <a:pt x="149111" y="120901"/>
                  <a:pt x="148216" y="120901"/>
                </a:cubicBezTo>
                <a:close/>
                <a:moveTo>
                  <a:pt x="27763" y="51047"/>
                </a:moveTo>
                <a:cubicBezTo>
                  <a:pt x="27763" y="25076"/>
                  <a:pt x="49256" y="4478"/>
                  <a:pt x="75227" y="4478"/>
                </a:cubicBezTo>
                <a:cubicBezTo>
                  <a:pt x="101199" y="4478"/>
                  <a:pt x="122692" y="25524"/>
                  <a:pt x="122692" y="51047"/>
                </a:cubicBezTo>
                <a:cubicBezTo>
                  <a:pt x="122692" y="80153"/>
                  <a:pt x="126722" y="109707"/>
                  <a:pt x="134782" y="120901"/>
                </a:cubicBezTo>
                <a:lnTo>
                  <a:pt x="15225" y="120901"/>
                </a:lnTo>
                <a:cubicBezTo>
                  <a:pt x="23285" y="109707"/>
                  <a:pt x="27763" y="80153"/>
                  <a:pt x="27763" y="51047"/>
                </a:cubicBezTo>
                <a:close/>
                <a:moveTo>
                  <a:pt x="75227" y="141051"/>
                </a:moveTo>
                <a:cubicBezTo>
                  <a:pt x="67167" y="141051"/>
                  <a:pt x="60451" y="133887"/>
                  <a:pt x="59555" y="125379"/>
                </a:cubicBezTo>
                <a:lnTo>
                  <a:pt x="90900" y="125379"/>
                </a:lnTo>
                <a:cubicBezTo>
                  <a:pt x="90004" y="133887"/>
                  <a:pt x="83288" y="141051"/>
                  <a:pt x="75227" y="141051"/>
                </a:cubicBezTo>
                <a:close/>
              </a:path>
            </a:pathLst>
          </a:custGeom>
          <a:solidFill>
            <a:srgbClr val="231F20"/>
          </a:solidFill>
          <a:ln w="4474" cap="flat">
            <a:noFill/>
            <a:prstDash val="solid"/>
            <a:miter/>
          </a:ln>
        </p:spPr>
        <p:txBody>
          <a:bodyPr rtlCol="0" anchor="ctr"/>
          <a:lstStyle/>
          <a:p>
            <a:endParaRPr lang="en-US"/>
          </a:p>
        </p:txBody>
      </p:sp>
      <p:grpSp>
        <p:nvGrpSpPr>
          <p:cNvPr id="4501" name="Group 4500">
            <a:extLst>
              <a:ext uri="{FF2B5EF4-FFF2-40B4-BE49-F238E27FC236}">
                <a16:creationId xmlns:a16="http://schemas.microsoft.com/office/drawing/2014/main" id="{D67143B6-F8E2-408F-90B4-546796E3128C}"/>
              </a:ext>
              <a:ext uri="{C183D7F6-B498-43B3-948B-1728B52AA6E4}">
                <adec:decorative xmlns:adec="http://schemas.microsoft.com/office/drawing/2017/decorative" val="1"/>
              </a:ext>
            </a:extLst>
          </p:cNvPr>
          <p:cNvGrpSpPr>
            <a:grpSpLocks noChangeAspect="1"/>
          </p:cNvGrpSpPr>
          <p:nvPr/>
        </p:nvGrpSpPr>
        <p:grpSpPr>
          <a:xfrm>
            <a:off x="2382561" y="5598138"/>
            <a:ext cx="152246" cy="111945"/>
            <a:chOff x="2433882" y="4867026"/>
            <a:chExt cx="152246" cy="111945"/>
          </a:xfrm>
        </p:grpSpPr>
        <p:sp>
          <p:nvSpPr>
            <p:cNvPr id="4502" name="Freeform: Shape 4501">
              <a:extLst>
                <a:ext uri="{FF2B5EF4-FFF2-40B4-BE49-F238E27FC236}">
                  <a16:creationId xmlns:a16="http://schemas.microsoft.com/office/drawing/2014/main" id="{F4AE52EB-8EE5-48D0-A812-91282ECE7731}"/>
                </a:ext>
              </a:extLst>
            </p:cNvPr>
            <p:cNvSpPr/>
            <p:nvPr/>
          </p:nvSpPr>
          <p:spPr>
            <a:xfrm>
              <a:off x="2433882" y="4867026"/>
              <a:ext cx="152246" cy="111945"/>
            </a:xfrm>
            <a:custGeom>
              <a:avLst/>
              <a:gdLst>
                <a:gd name="connsiteX0" fmla="*/ 150231 w 152245"/>
                <a:gd name="connsiteY0" fmla="*/ 0 h 111945"/>
                <a:gd name="connsiteX1" fmla="*/ 51719 w 152245"/>
                <a:gd name="connsiteY1" fmla="*/ 0 h 111945"/>
                <a:gd name="connsiteX2" fmla="*/ 49928 w 152245"/>
                <a:gd name="connsiteY2" fmla="*/ 895 h 111945"/>
                <a:gd name="connsiteX3" fmla="*/ 672 w 152245"/>
                <a:gd name="connsiteY3" fmla="*/ 54629 h 111945"/>
                <a:gd name="connsiteX4" fmla="*/ 672 w 152245"/>
                <a:gd name="connsiteY4" fmla="*/ 57764 h 111945"/>
                <a:gd name="connsiteX5" fmla="*/ 49928 w 152245"/>
                <a:gd name="connsiteY5" fmla="*/ 111497 h 111945"/>
                <a:gd name="connsiteX6" fmla="*/ 51719 w 152245"/>
                <a:gd name="connsiteY6" fmla="*/ 112393 h 111945"/>
                <a:gd name="connsiteX7" fmla="*/ 150231 w 152245"/>
                <a:gd name="connsiteY7" fmla="*/ 112393 h 111945"/>
                <a:gd name="connsiteX8" fmla="*/ 152470 w 152245"/>
                <a:gd name="connsiteY8" fmla="*/ 110154 h 111945"/>
                <a:gd name="connsiteX9" fmla="*/ 152470 w 152245"/>
                <a:gd name="connsiteY9" fmla="*/ 2687 h 111945"/>
                <a:gd name="connsiteX10" fmla="*/ 150231 w 152245"/>
                <a:gd name="connsiteY10" fmla="*/ 0 h 111945"/>
                <a:gd name="connsiteX11" fmla="*/ 147992 w 152245"/>
                <a:gd name="connsiteY11" fmla="*/ 107468 h 111945"/>
                <a:gd name="connsiteX12" fmla="*/ 52614 w 152245"/>
                <a:gd name="connsiteY12" fmla="*/ 107468 h 111945"/>
                <a:gd name="connsiteX13" fmla="*/ 5597 w 152245"/>
                <a:gd name="connsiteY13" fmla="*/ 55973 h 111945"/>
                <a:gd name="connsiteX14" fmla="*/ 52614 w 152245"/>
                <a:gd name="connsiteY14" fmla="*/ 4478 h 111945"/>
                <a:gd name="connsiteX15" fmla="*/ 147992 w 152245"/>
                <a:gd name="connsiteY15" fmla="*/ 4478 h 111945"/>
                <a:gd name="connsiteX16" fmla="*/ 147992 w 152245"/>
                <a:gd name="connsiteY16"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245" h="111945">
                  <a:moveTo>
                    <a:pt x="150231" y="0"/>
                  </a:moveTo>
                  <a:lnTo>
                    <a:pt x="51719" y="0"/>
                  </a:lnTo>
                  <a:cubicBezTo>
                    <a:pt x="51271" y="0"/>
                    <a:pt x="50375" y="448"/>
                    <a:pt x="49928" y="895"/>
                  </a:cubicBezTo>
                  <a:lnTo>
                    <a:pt x="672" y="54629"/>
                  </a:lnTo>
                  <a:cubicBezTo>
                    <a:pt x="-224" y="55525"/>
                    <a:pt x="-224" y="56868"/>
                    <a:pt x="672" y="57764"/>
                  </a:cubicBezTo>
                  <a:lnTo>
                    <a:pt x="49928" y="111497"/>
                  </a:lnTo>
                  <a:cubicBezTo>
                    <a:pt x="50375" y="111945"/>
                    <a:pt x="50823" y="112393"/>
                    <a:pt x="51719" y="112393"/>
                  </a:cubicBezTo>
                  <a:lnTo>
                    <a:pt x="150231" y="112393"/>
                  </a:lnTo>
                  <a:cubicBezTo>
                    <a:pt x="151574" y="112393"/>
                    <a:pt x="152470" y="111497"/>
                    <a:pt x="152470" y="110154"/>
                  </a:cubicBezTo>
                  <a:lnTo>
                    <a:pt x="152470" y="2687"/>
                  </a:lnTo>
                  <a:cubicBezTo>
                    <a:pt x="152470" y="1343"/>
                    <a:pt x="151574" y="0"/>
                    <a:pt x="150231" y="0"/>
                  </a:cubicBezTo>
                  <a:close/>
                  <a:moveTo>
                    <a:pt x="147992" y="107468"/>
                  </a:moveTo>
                  <a:lnTo>
                    <a:pt x="52614" y="107468"/>
                  </a:lnTo>
                  <a:lnTo>
                    <a:pt x="5597" y="55973"/>
                  </a:lnTo>
                  <a:lnTo>
                    <a:pt x="52614" y="4478"/>
                  </a:lnTo>
                  <a:lnTo>
                    <a:pt x="147992" y="4478"/>
                  </a:lnTo>
                  <a:lnTo>
                    <a:pt x="147992" y="107468"/>
                  </a:lnTo>
                  <a:close/>
                </a:path>
              </a:pathLst>
            </a:custGeom>
            <a:solidFill>
              <a:srgbClr val="231F20"/>
            </a:solidFill>
            <a:ln w="4474" cap="flat">
              <a:noFill/>
              <a:prstDash val="solid"/>
              <a:miter/>
            </a:ln>
          </p:spPr>
          <p:txBody>
            <a:bodyPr rtlCol="0" anchor="ctr"/>
            <a:lstStyle/>
            <a:p>
              <a:endParaRPr lang="en-US"/>
            </a:p>
          </p:txBody>
        </p:sp>
        <p:sp>
          <p:nvSpPr>
            <p:cNvPr id="4503" name="Freeform: Shape 4502">
              <a:extLst>
                <a:ext uri="{FF2B5EF4-FFF2-40B4-BE49-F238E27FC236}">
                  <a16:creationId xmlns:a16="http://schemas.microsoft.com/office/drawing/2014/main" id="{CA6F15F9-7512-4A74-8455-407E42B5F379}"/>
                </a:ext>
              </a:extLst>
            </p:cNvPr>
            <p:cNvSpPr/>
            <p:nvPr/>
          </p:nvSpPr>
          <p:spPr>
            <a:xfrm>
              <a:off x="2487700" y="4894564"/>
              <a:ext cx="58212" cy="53734"/>
            </a:xfrm>
            <a:custGeom>
              <a:avLst/>
              <a:gdLst>
                <a:gd name="connsiteX0" fmla="*/ 588 w 58211"/>
                <a:gd name="connsiteY0" fmla="*/ 57092 h 53733"/>
                <a:gd name="connsiteX1" fmla="*/ 2379 w 58211"/>
                <a:gd name="connsiteY1" fmla="*/ 57540 h 53733"/>
                <a:gd name="connsiteX2" fmla="*/ 4171 w 58211"/>
                <a:gd name="connsiteY2" fmla="*/ 57092 h 53733"/>
                <a:gd name="connsiteX3" fmla="*/ 29246 w 58211"/>
                <a:gd name="connsiteY3" fmla="*/ 32016 h 53733"/>
                <a:gd name="connsiteX4" fmla="*/ 54322 w 58211"/>
                <a:gd name="connsiteY4" fmla="*/ 57092 h 53733"/>
                <a:gd name="connsiteX5" fmla="*/ 56113 w 58211"/>
                <a:gd name="connsiteY5" fmla="*/ 57540 h 53733"/>
                <a:gd name="connsiteX6" fmla="*/ 57904 w 58211"/>
                <a:gd name="connsiteY6" fmla="*/ 57092 h 53733"/>
                <a:gd name="connsiteX7" fmla="*/ 57904 w 58211"/>
                <a:gd name="connsiteY7" fmla="*/ 53958 h 53733"/>
                <a:gd name="connsiteX8" fmla="*/ 32829 w 58211"/>
                <a:gd name="connsiteY8" fmla="*/ 28882 h 53733"/>
                <a:gd name="connsiteX9" fmla="*/ 57904 w 58211"/>
                <a:gd name="connsiteY9" fmla="*/ 3806 h 53733"/>
                <a:gd name="connsiteX10" fmla="*/ 57904 w 58211"/>
                <a:gd name="connsiteY10" fmla="*/ 672 h 53733"/>
                <a:gd name="connsiteX11" fmla="*/ 54770 w 58211"/>
                <a:gd name="connsiteY11" fmla="*/ 672 h 53733"/>
                <a:gd name="connsiteX12" fmla="*/ 29694 w 58211"/>
                <a:gd name="connsiteY12" fmla="*/ 25747 h 53733"/>
                <a:gd name="connsiteX13" fmla="*/ 4618 w 58211"/>
                <a:gd name="connsiteY13" fmla="*/ 672 h 53733"/>
                <a:gd name="connsiteX14" fmla="*/ 1484 w 58211"/>
                <a:gd name="connsiteY14" fmla="*/ 672 h 53733"/>
                <a:gd name="connsiteX15" fmla="*/ 1484 w 58211"/>
                <a:gd name="connsiteY15" fmla="*/ 3806 h 53733"/>
                <a:gd name="connsiteX16" fmla="*/ 26560 w 58211"/>
                <a:gd name="connsiteY16" fmla="*/ 28882 h 53733"/>
                <a:gd name="connsiteX17" fmla="*/ 1484 w 58211"/>
                <a:gd name="connsiteY17" fmla="*/ 53958 h 53733"/>
                <a:gd name="connsiteX18" fmla="*/ 588 w 58211"/>
                <a:gd name="connsiteY18" fmla="*/ 57092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3733">
                  <a:moveTo>
                    <a:pt x="588" y="57092"/>
                  </a:moveTo>
                  <a:cubicBezTo>
                    <a:pt x="1036" y="57540"/>
                    <a:pt x="1484" y="57540"/>
                    <a:pt x="2379" y="57540"/>
                  </a:cubicBezTo>
                  <a:cubicBezTo>
                    <a:pt x="3275" y="57540"/>
                    <a:pt x="3723" y="57540"/>
                    <a:pt x="4171" y="57092"/>
                  </a:cubicBezTo>
                  <a:lnTo>
                    <a:pt x="29246" y="32016"/>
                  </a:lnTo>
                  <a:lnTo>
                    <a:pt x="54322" y="57092"/>
                  </a:lnTo>
                  <a:cubicBezTo>
                    <a:pt x="54770" y="57540"/>
                    <a:pt x="55218" y="57540"/>
                    <a:pt x="56113" y="57540"/>
                  </a:cubicBezTo>
                  <a:cubicBezTo>
                    <a:pt x="57009" y="57540"/>
                    <a:pt x="57457" y="57540"/>
                    <a:pt x="57904" y="57092"/>
                  </a:cubicBezTo>
                  <a:cubicBezTo>
                    <a:pt x="58800" y="56196"/>
                    <a:pt x="58800" y="54853"/>
                    <a:pt x="57904" y="53958"/>
                  </a:cubicBezTo>
                  <a:lnTo>
                    <a:pt x="32829" y="28882"/>
                  </a:lnTo>
                  <a:lnTo>
                    <a:pt x="57904" y="3806"/>
                  </a:lnTo>
                  <a:cubicBezTo>
                    <a:pt x="58800" y="2911"/>
                    <a:pt x="58800" y="1567"/>
                    <a:pt x="57904" y="672"/>
                  </a:cubicBezTo>
                  <a:cubicBezTo>
                    <a:pt x="57009" y="-224"/>
                    <a:pt x="55665" y="-224"/>
                    <a:pt x="54770" y="672"/>
                  </a:cubicBezTo>
                  <a:lnTo>
                    <a:pt x="29694" y="25747"/>
                  </a:lnTo>
                  <a:lnTo>
                    <a:pt x="4618" y="672"/>
                  </a:lnTo>
                  <a:cubicBezTo>
                    <a:pt x="3723" y="-224"/>
                    <a:pt x="2379" y="-224"/>
                    <a:pt x="1484" y="672"/>
                  </a:cubicBezTo>
                  <a:cubicBezTo>
                    <a:pt x="588" y="1567"/>
                    <a:pt x="588" y="2911"/>
                    <a:pt x="1484" y="3806"/>
                  </a:cubicBezTo>
                  <a:lnTo>
                    <a:pt x="26560" y="28882"/>
                  </a:lnTo>
                  <a:lnTo>
                    <a:pt x="1484" y="53958"/>
                  </a:lnTo>
                  <a:cubicBezTo>
                    <a:pt x="-307" y="54853"/>
                    <a:pt x="-307" y="56196"/>
                    <a:pt x="588" y="57092"/>
                  </a:cubicBezTo>
                  <a:close/>
                </a:path>
              </a:pathLst>
            </a:custGeom>
            <a:solidFill>
              <a:srgbClr val="231F20"/>
            </a:solidFill>
            <a:ln w="4474" cap="flat">
              <a:noFill/>
              <a:prstDash val="solid"/>
              <a:miter/>
            </a:ln>
          </p:spPr>
          <p:txBody>
            <a:bodyPr rtlCol="0" anchor="ctr"/>
            <a:lstStyle/>
            <a:p>
              <a:endParaRPr lang="en-US"/>
            </a:p>
          </p:txBody>
        </p:sp>
      </p:grpSp>
      <p:sp>
        <p:nvSpPr>
          <p:cNvPr id="4504" name="Freeform: Shape 4503">
            <a:extLst>
              <a:ext uri="{FF2B5EF4-FFF2-40B4-BE49-F238E27FC236}">
                <a16:creationId xmlns:a16="http://schemas.microsoft.com/office/drawing/2014/main" id="{274C84B5-E86B-44D2-8035-997F15AA69B5}"/>
              </a:ext>
              <a:ext uri="{C183D7F6-B498-43B3-948B-1728B52AA6E4}">
                <adec:decorative xmlns:adec="http://schemas.microsoft.com/office/drawing/2017/decorative" val="1"/>
              </a:ext>
            </a:extLst>
          </p:cNvPr>
          <p:cNvSpPr>
            <a:spLocks noChangeAspect="1"/>
          </p:cNvSpPr>
          <p:nvPr/>
        </p:nvSpPr>
        <p:spPr>
          <a:xfrm>
            <a:off x="2663097" y="5585152"/>
            <a:ext cx="111945" cy="134335"/>
          </a:xfrm>
          <a:custGeom>
            <a:avLst/>
            <a:gdLst>
              <a:gd name="connsiteX0" fmla="*/ 110602 w 111945"/>
              <a:gd name="connsiteY0" fmla="*/ 138365 h 134334"/>
              <a:gd name="connsiteX1" fmla="*/ 109707 w 111945"/>
              <a:gd name="connsiteY1" fmla="*/ 138365 h 134334"/>
              <a:gd name="connsiteX2" fmla="*/ 56421 w 111945"/>
              <a:gd name="connsiteY2" fmla="*/ 115528 h 134334"/>
              <a:gd name="connsiteX3" fmla="*/ 3135 w 111945"/>
              <a:gd name="connsiteY3" fmla="*/ 138365 h 134334"/>
              <a:gd name="connsiteX4" fmla="*/ 896 w 111945"/>
              <a:gd name="connsiteY4" fmla="*/ 138365 h 134334"/>
              <a:gd name="connsiteX5" fmla="*/ 0 w 111945"/>
              <a:gd name="connsiteY5" fmla="*/ 136573 h 134334"/>
              <a:gd name="connsiteX6" fmla="*/ 0 w 111945"/>
              <a:gd name="connsiteY6" fmla="*/ 2239 h 134334"/>
              <a:gd name="connsiteX7" fmla="*/ 2239 w 111945"/>
              <a:gd name="connsiteY7" fmla="*/ 0 h 134334"/>
              <a:gd name="connsiteX8" fmla="*/ 110154 w 111945"/>
              <a:gd name="connsiteY8" fmla="*/ 0 h 134334"/>
              <a:gd name="connsiteX9" fmla="*/ 112393 w 111945"/>
              <a:gd name="connsiteY9" fmla="*/ 2239 h 134334"/>
              <a:gd name="connsiteX10" fmla="*/ 112393 w 111945"/>
              <a:gd name="connsiteY10" fmla="*/ 136573 h 134334"/>
              <a:gd name="connsiteX11" fmla="*/ 111498 w 111945"/>
              <a:gd name="connsiteY11" fmla="*/ 138365 h 134334"/>
              <a:gd name="connsiteX12" fmla="*/ 110602 w 111945"/>
              <a:gd name="connsiteY12" fmla="*/ 138365 h 134334"/>
              <a:gd name="connsiteX13" fmla="*/ 56421 w 111945"/>
              <a:gd name="connsiteY13" fmla="*/ 110602 h 134334"/>
              <a:gd name="connsiteX14" fmla="*/ 57316 w 111945"/>
              <a:gd name="connsiteY14" fmla="*/ 110602 h 134334"/>
              <a:gd name="connsiteX15" fmla="*/ 108363 w 111945"/>
              <a:gd name="connsiteY15" fmla="*/ 132543 h 134334"/>
              <a:gd name="connsiteX16" fmla="*/ 108363 w 111945"/>
              <a:gd name="connsiteY16" fmla="*/ 4030 h 134334"/>
              <a:gd name="connsiteX17" fmla="*/ 4926 w 111945"/>
              <a:gd name="connsiteY17" fmla="*/ 4030 h 134334"/>
              <a:gd name="connsiteX18" fmla="*/ 4926 w 111945"/>
              <a:gd name="connsiteY18" fmla="*/ 132543 h 134334"/>
              <a:gd name="connsiteX19" fmla="*/ 55973 w 111945"/>
              <a:gd name="connsiteY19" fmla="*/ 110602 h 134334"/>
              <a:gd name="connsiteX20" fmla="*/ 56421 w 111945"/>
              <a:gd name="connsiteY20" fmla="*/ 110602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1945" h="134334">
                <a:moveTo>
                  <a:pt x="110602" y="138365"/>
                </a:moveTo>
                <a:cubicBezTo>
                  <a:pt x="110154" y="138365"/>
                  <a:pt x="110154" y="138365"/>
                  <a:pt x="109707" y="138365"/>
                </a:cubicBezTo>
                <a:lnTo>
                  <a:pt x="56421" y="115528"/>
                </a:lnTo>
                <a:lnTo>
                  <a:pt x="3135" y="138365"/>
                </a:lnTo>
                <a:cubicBezTo>
                  <a:pt x="2239" y="138812"/>
                  <a:pt x="1791" y="138812"/>
                  <a:pt x="896" y="138365"/>
                </a:cubicBezTo>
                <a:cubicBezTo>
                  <a:pt x="448" y="137917"/>
                  <a:pt x="0" y="137469"/>
                  <a:pt x="0" y="136573"/>
                </a:cubicBezTo>
                <a:lnTo>
                  <a:pt x="0" y="2239"/>
                </a:lnTo>
                <a:cubicBezTo>
                  <a:pt x="0" y="896"/>
                  <a:pt x="896" y="0"/>
                  <a:pt x="2239" y="0"/>
                </a:cubicBezTo>
                <a:lnTo>
                  <a:pt x="110154" y="0"/>
                </a:lnTo>
                <a:cubicBezTo>
                  <a:pt x="111498" y="0"/>
                  <a:pt x="112393" y="896"/>
                  <a:pt x="112393" y="2239"/>
                </a:cubicBezTo>
                <a:lnTo>
                  <a:pt x="112393" y="136573"/>
                </a:lnTo>
                <a:cubicBezTo>
                  <a:pt x="112393" y="137469"/>
                  <a:pt x="111945" y="137917"/>
                  <a:pt x="111498" y="138365"/>
                </a:cubicBezTo>
                <a:cubicBezTo>
                  <a:pt x="111050" y="138365"/>
                  <a:pt x="110602" y="138365"/>
                  <a:pt x="110602" y="138365"/>
                </a:cubicBezTo>
                <a:close/>
                <a:moveTo>
                  <a:pt x="56421" y="110602"/>
                </a:moveTo>
                <a:cubicBezTo>
                  <a:pt x="56868" y="110602"/>
                  <a:pt x="56868" y="110602"/>
                  <a:pt x="57316" y="110602"/>
                </a:cubicBezTo>
                <a:lnTo>
                  <a:pt x="108363" y="132543"/>
                </a:lnTo>
                <a:lnTo>
                  <a:pt x="108363" y="4030"/>
                </a:lnTo>
                <a:lnTo>
                  <a:pt x="4926" y="4030"/>
                </a:lnTo>
                <a:lnTo>
                  <a:pt x="4926" y="132543"/>
                </a:lnTo>
                <a:lnTo>
                  <a:pt x="55973" y="110602"/>
                </a:lnTo>
                <a:cubicBezTo>
                  <a:pt x="55973" y="111050"/>
                  <a:pt x="55973" y="110602"/>
                  <a:pt x="56421" y="110602"/>
                </a:cubicBezTo>
                <a:close/>
              </a:path>
            </a:pathLst>
          </a:custGeom>
          <a:solidFill>
            <a:srgbClr val="231F20"/>
          </a:solidFill>
          <a:ln w="4474" cap="flat">
            <a:noFill/>
            <a:prstDash val="solid"/>
            <a:miter/>
          </a:ln>
        </p:spPr>
        <p:txBody>
          <a:bodyPr rtlCol="0" anchor="ctr"/>
          <a:lstStyle/>
          <a:p>
            <a:endParaRPr lang="en-US"/>
          </a:p>
        </p:txBody>
      </p:sp>
      <p:grpSp>
        <p:nvGrpSpPr>
          <p:cNvPr id="4505" name="Group 4504">
            <a:extLst>
              <a:ext uri="{FF2B5EF4-FFF2-40B4-BE49-F238E27FC236}">
                <a16:creationId xmlns:a16="http://schemas.microsoft.com/office/drawing/2014/main" id="{427A150E-0DBC-4485-9550-C075DA05A331}"/>
              </a:ext>
              <a:ext uri="{C183D7F6-B498-43B3-948B-1728B52AA6E4}">
                <adec:decorative xmlns:adec="http://schemas.microsoft.com/office/drawing/2017/decorative" val="1"/>
              </a:ext>
            </a:extLst>
          </p:cNvPr>
          <p:cNvGrpSpPr>
            <a:grpSpLocks noChangeAspect="1"/>
          </p:cNvGrpSpPr>
          <p:nvPr/>
        </p:nvGrpSpPr>
        <p:grpSpPr>
          <a:xfrm>
            <a:off x="1323334" y="5578435"/>
            <a:ext cx="147768" cy="143290"/>
            <a:chOff x="1374655" y="4847323"/>
            <a:chExt cx="147768" cy="143290"/>
          </a:xfrm>
        </p:grpSpPr>
        <p:sp>
          <p:nvSpPr>
            <p:cNvPr id="4506" name="Freeform: Shape 4505">
              <a:extLst>
                <a:ext uri="{FF2B5EF4-FFF2-40B4-BE49-F238E27FC236}">
                  <a16:creationId xmlns:a16="http://schemas.microsoft.com/office/drawing/2014/main" id="{1A69A4B0-B04E-42B2-A55C-6D0FF2A981D3}"/>
                </a:ext>
              </a:extLst>
            </p:cNvPr>
            <p:cNvSpPr/>
            <p:nvPr/>
          </p:nvSpPr>
          <p:spPr>
            <a:xfrm>
              <a:off x="1374655" y="4847323"/>
              <a:ext cx="147768" cy="143290"/>
            </a:xfrm>
            <a:custGeom>
              <a:avLst/>
              <a:gdLst>
                <a:gd name="connsiteX0" fmla="*/ 150007 w 147767"/>
                <a:gd name="connsiteY0" fmla="*/ 20150 h 143290"/>
                <a:gd name="connsiteX1" fmla="*/ 98512 w 147767"/>
                <a:gd name="connsiteY1" fmla="*/ 20150 h 143290"/>
                <a:gd name="connsiteX2" fmla="*/ 98512 w 147767"/>
                <a:gd name="connsiteY2" fmla="*/ 2239 h 143290"/>
                <a:gd name="connsiteX3" fmla="*/ 96273 w 147767"/>
                <a:gd name="connsiteY3" fmla="*/ 0 h 143290"/>
                <a:gd name="connsiteX4" fmla="*/ 55973 w 147767"/>
                <a:gd name="connsiteY4" fmla="*/ 0 h 143290"/>
                <a:gd name="connsiteX5" fmla="*/ 53734 w 147767"/>
                <a:gd name="connsiteY5" fmla="*/ 2239 h 143290"/>
                <a:gd name="connsiteX6" fmla="*/ 53734 w 147767"/>
                <a:gd name="connsiteY6" fmla="*/ 19703 h 143290"/>
                <a:gd name="connsiteX7" fmla="*/ 2239 w 147767"/>
                <a:gd name="connsiteY7" fmla="*/ 19703 h 143290"/>
                <a:gd name="connsiteX8" fmla="*/ 0 w 147767"/>
                <a:gd name="connsiteY8" fmla="*/ 21941 h 143290"/>
                <a:gd name="connsiteX9" fmla="*/ 2239 w 147767"/>
                <a:gd name="connsiteY9" fmla="*/ 24180 h 143290"/>
                <a:gd name="connsiteX10" fmla="*/ 13433 w 147767"/>
                <a:gd name="connsiteY10" fmla="*/ 24180 h 143290"/>
                <a:gd name="connsiteX11" fmla="*/ 13433 w 147767"/>
                <a:gd name="connsiteY11" fmla="*/ 132096 h 143290"/>
                <a:gd name="connsiteX12" fmla="*/ 26867 w 147767"/>
                <a:gd name="connsiteY12" fmla="*/ 145081 h 143290"/>
                <a:gd name="connsiteX13" fmla="*/ 124931 w 147767"/>
                <a:gd name="connsiteY13" fmla="*/ 145081 h 143290"/>
                <a:gd name="connsiteX14" fmla="*/ 138365 w 147767"/>
                <a:gd name="connsiteY14" fmla="*/ 132096 h 143290"/>
                <a:gd name="connsiteX15" fmla="*/ 138365 w 147767"/>
                <a:gd name="connsiteY15" fmla="*/ 24628 h 143290"/>
                <a:gd name="connsiteX16" fmla="*/ 149559 w 147767"/>
                <a:gd name="connsiteY16" fmla="*/ 24628 h 143290"/>
                <a:gd name="connsiteX17" fmla="*/ 151798 w 147767"/>
                <a:gd name="connsiteY17" fmla="*/ 22389 h 143290"/>
                <a:gd name="connsiteX18" fmla="*/ 150007 w 147767"/>
                <a:gd name="connsiteY18" fmla="*/ 20150 h 143290"/>
                <a:gd name="connsiteX19" fmla="*/ 58212 w 147767"/>
                <a:gd name="connsiteY19" fmla="*/ 4478 h 143290"/>
                <a:gd name="connsiteX20" fmla="*/ 94034 w 147767"/>
                <a:gd name="connsiteY20" fmla="*/ 4478 h 143290"/>
                <a:gd name="connsiteX21" fmla="*/ 94034 w 147767"/>
                <a:gd name="connsiteY21" fmla="*/ 19703 h 143290"/>
                <a:gd name="connsiteX22" fmla="*/ 58212 w 147767"/>
                <a:gd name="connsiteY22" fmla="*/ 19703 h 143290"/>
                <a:gd name="connsiteX23" fmla="*/ 58212 w 147767"/>
                <a:gd name="connsiteY23" fmla="*/ 4478 h 143290"/>
                <a:gd name="connsiteX24" fmla="*/ 134335 w 147767"/>
                <a:gd name="connsiteY24" fmla="*/ 132543 h 143290"/>
                <a:gd name="connsiteX25" fmla="*/ 125379 w 147767"/>
                <a:gd name="connsiteY25" fmla="*/ 141051 h 143290"/>
                <a:gd name="connsiteX26" fmla="*/ 27315 w 147767"/>
                <a:gd name="connsiteY26" fmla="*/ 141051 h 143290"/>
                <a:gd name="connsiteX27" fmla="*/ 18359 w 147767"/>
                <a:gd name="connsiteY27" fmla="*/ 132543 h 143290"/>
                <a:gd name="connsiteX28" fmla="*/ 18359 w 147767"/>
                <a:gd name="connsiteY28" fmla="*/ 24628 h 143290"/>
                <a:gd name="connsiteX29" fmla="*/ 134782 w 147767"/>
                <a:gd name="connsiteY29" fmla="*/ 24628 h 143290"/>
                <a:gd name="connsiteX30" fmla="*/ 134782 w 147767"/>
                <a:gd name="connsiteY30" fmla="*/ 13254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7767" h="143290">
                  <a:moveTo>
                    <a:pt x="150007" y="20150"/>
                  </a:moveTo>
                  <a:lnTo>
                    <a:pt x="98512" y="20150"/>
                  </a:lnTo>
                  <a:lnTo>
                    <a:pt x="98512" y="2239"/>
                  </a:lnTo>
                  <a:cubicBezTo>
                    <a:pt x="98512" y="896"/>
                    <a:pt x="97616" y="0"/>
                    <a:pt x="96273" y="0"/>
                  </a:cubicBezTo>
                  <a:lnTo>
                    <a:pt x="55973" y="0"/>
                  </a:lnTo>
                  <a:cubicBezTo>
                    <a:pt x="54629" y="0"/>
                    <a:pt x="53734" y="896"/>
                    <a:pt x="53734" y="2239"/>
                  </a:cubicBezTo>
                  <a:lnTo>
                    <a:pt x="53734" y="19703"/>
                  </a:lnTo>
                  <a:lnTo>
                    <a:pt x="2239" y="19703"/>
                  </a:lnTo>
                  <a:cubicBezTo>
                    <a:pt x="896" y="19703"/>
                    <a:pt x="0" y="20598"/>
                    <a:pt x="0" y="21941"/>
                  </a:cubicBezTo>
                  <a:cubicBezTo>
                    <a:pt x="0" y="23285"/>
                    <a:pt x="896" y="24180"/>
                    <a:pt x="2239" y="24180"/>
                  </a:cubicBezTo>
                  <a:lnTo>
                    <a:pt x="13433" y="24180"/>
                  </a:lnTo>
                  <a:lnTo>
                    <a:pt x="13433" y="132096"/>
                  </a:lnTo>
                  <a:cubicBezTo>
                    <a:pt x="13433" y="139260"/>
                    <a:pt x="19702" y="145081"/>
                    <a:pt x="26867" y="145081"/>
                  </a:cubicBezTo>
                  <a:lnTo>
                    <a:pt x="124931" y="145081"/>
                  </a:lnTo>
                  <a:cubicBezTo>
                    <a:pt x="132543" y="145081"/>
                    <a:pt x="138365" y="139260"/>
                    <a:pt x="138365" y="132096"/>
                  </a:cubicBezTo>
                  <a:lnTo>
                    <a:pt x="138365" y="24628"/>
                  </a:lnTo>
                  <a:lnTo>
                    <a:pt x="149559" y="24628"/>
                  </a:lnTo>
                  <a:cubicBezTo>
                    <a:pt x="150902" y="24628"/>
                    <a:pt x="151798" y="23732"/>
                    <a:pt x="151798" y="22389"/>
                  </a:cubicBezTo>
                  <a:cubicBezTo>
                    <a:pt x="151798" y="21046"/>
                    <a:pt x="150902" y="20150"/>
                    <a:pt x="150007" y="20150"/>
                  </a:cubicBezTo>
                  <a:close/>
                  <a:moveTo>
                    <a:pt x="58212" y="4478"/>
                  </a:moveTo>
                  <a:lnTo>
                    <a:pt x="94034" y="4478"/>
                  </a:lnTo>
                  <a:lnTo>
                    <a:pt x="94034" y="19703"/>
                  </a:lnTo>
                  <a:lnTo>
                    <a:pt x="58212" y="19703"/>
                  </a:lnTo>
                  <a:lnTo>
                    <a:pt x="58212" y="4478"/>
                  </a:lnTo>
                  <a:close/>
                  <a:moveTo>
                    <a:pt x="134335" y="132543"/>
                  </a:moveTo>
                  <a:cubicBezTo>
                    <a:pt x="134335" y="137021"/>
                    <a:pt x="130304" y="141051"/>
                    <a:pt x="125379" y="141051"/>
                  </a:cubicBezTo>
                  <a:lnTo>
                    <a:pt x="27315" y="141051"/>
                  </a:lnTo>
                  <a:cubicBezTo>
                    <a:pt x="22389" y="141051"/>
                    <a:pt x="18359" y="137469"/>
                    <a:pt x="18359" y="132543"/>
                  </a:cubicBezTo>
                  <a:lnTo>
                    <a:pt x="18359" y="24628"/>
                  </a:lnTo>
                  <a:lnTo>
                    <a:pt x="134782" y="24628"/>
                  </a:lnTo>
                  <a:lnTo>
                    <a:pt x="134782" y="132543"/>
                  </a:lnTo>
                  <a:close/>
                </a:path>
              </a:pathLst>
            </a:custGeom>
            <a:solidFill>
              <a:srgbClr val="231F20"/>
            </a:solidFill>
            <a:ln w="4474" cap="flat">
              <a:noFill/>
              <a:prstDash val="solid"/>
              <a:miter/>
            </a:ln>
          </p:spPr>
          <p:txBody>
            <a:bodyPr rtlCol="0" anchor="ctr"/>
            <a:lstStyle/>
            <a:p>
              <a:endParaRPr lang="en-US"/>
            </a:p>
          </p:txBody>
        </p:sp>
        <p:sp>
          <p:nvSpPr>
            <p:cNvPr id="4507" name="Freeform: Shape 4506">
              <a:extLst>
                <a:ext uri="{FF2B5EF4-FFF2-40B4-BE49-F238E27FC236}">
                  <a16:creationId xmlns:a16="http://schemas.microsoft.com/office/drawing/2014/main" id="{2071CC24-9867-4988-8051-E23311A91925}"/>
                </a:ext>
              </a:extLst>
            </p:cNvPr>
            <p:cNvSpPr/>
            <p:nvPr/>
          </p:nvSpPr>
          <p:spPr>
            <a:xfrm>
              <a:off x="1421672" y="4899714"/>
              <a:ext cx="4478" cy="58212"/>
            </a:xfrm>
            <a:custGeom>
              <a:avLst/>
              <a:gdLst>
                <a:gd name="connsiteX0" fmla="*/ 2239 w 4477"/>
                <a:gd name="connsiteY0" fmla="*/ 0 h 58211"/>
                <a:gd name="connsiteX1" fmla="*/ 0 w 4477"/>
                <a:gd name="connsiteY1" fmla="*/ 2239 h 58211"/>
                <a:gd name="connsiteX2" fmla="*/ 0 w 4477"/>
                <a:gd name="connsiteY2" fmla="*/ 57764 h 58211"/>
                <a:gd name="connsiteX3" fmla="*/ 2239 w 4477"/>
                <a:gd name="connsiteY3" fmla="*/ 60003 h 58211"/>
                <a:gd name="connsiteX4" fmla="*/ 4478 w 4477"/>
                <a:gd name="connsiteY4" fmla="*/ 57764 h 58211"/>
                <a:gd name="connsiteX5" fmla="*/ 4478 w 4477"/>
                <a:gd name="connsiteY5" fmla="*/ 2239 h 58211"/>
                <a:gd name="connsiteX6" fmla="*/ 2239 w 4477"/>
                <a:gd name="connsiteY6" fmla="*/ 0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58211">
                  <a:moveTo>
                    <a:pt x="2239" y="0"/>
                  </a:moveTo>
                  <a:cubicBezTo>
                    <a:pt x="896" y="0"/>
                    <a:pt x="0" y="896"/>
                    <a:pt x="0" y="2239"/>
                  </a:cubicBezTo>
                  <a:lnTo>
                    <a:pt x="0" y="57764"/>
                  </a:lnTo>
                  <a:cubicBezTo>
                    <a:pt x="0" y="59107"/>
                    <a:pt x="896" y="60003"/>
                    <a:pt x="2239" y="60003"/>
                  </a:cubicBezTo>
                  <a:cubicBezTo>
                    <a:pt x="3582" y="60003"/>
                    <a:pt x="4478" y="59107"/>
                    <a:pt x="4478" y="57764"/>
                  </a:cubicBezTo>
                  <a:lnTo>
                    <a:pt x="4478" y="2239"/>
                  </a:lnTo>
                  <a:cubicBezTo>
                    <a:pt x="4478" y="1343"/>
                    <a:pt x="3134" y="0"/>
                    <a:pt x="2239" y="0"/>
                  </a:cubicBezTo>
                  <a:close/>
                </a:path>
              </a:pathLst>
            </a:custGeom>
            <a:solidFill>
              <a:srgbClr val="231F20"/>
            </a:solidFill>
            <a:ln w="4474" cap="flat">
              <a:noFill/>
              <a:prstDash val="solid"/>
              <a:miter/>
            </a:ln>
          </p:spPr>
          <p:txBody>
            <a:bodyPr rtlCol="0" anchor="ctr"/>
            <a:lstStyle/>
            <a:p>
              <a:endParaRPr lang="en-US"/>
            </a:p>
          </p:txBody>
        </p:sp>
        <p:sp>
          <p:nvSpPr>
            <p:cNvPr id="4508" name="Freeform: Shape 4507">
              <a:extLst>
                <a:ext uri="{FF2B5EF4-FFF2-40B4-BE49-F238E27FC236}">
                  <a16:creationId xmlns:a16="http://schemas.microsoft.com/office/drawing/2014/main" id="{C9A34B30-9CDB-4C62-935B-7FF39F6C558E}"/>
                </a:ext>
              </a:extLst>
            </p:cNvPr>
            <p:cNvSpPr/>
            <p:nvPr/>
          </p:nvSpPr>
          <p:spPr>
            <a:xfrm>
              <a:off x="1448539" y="4900161"/>
              <a:ext cx="4478" cy="58212"/>
            </a:xfrm>
            <a:custGeom>
              <a:avLst/>
              <a:gdLst>
                <a:gd name="connsiteX0" fmla="*/ 2239 w 4477"/>
                <a:gd name="connsiteY0" fmla="*/ 0 h 58211"/>
                <a:gd name="connsiteX1" fmla="*/ 0 w 4477"/>
                <a:gd name="connsiteY1" fmla="*/ 2239 h 58211"/>
                <a:gd name="connsiteX2" fmla="*/ 0 w 4477"/>
                <a:gd name="connsiteY2" fmla="*/ 57764 h 58211"/>
                <a:gd name="connsiteX3" fmla="*/ 2239 w 4477"/>
                <a:gd name="connsiteY3" fmla="*/ 60003 h 58211"/>
                <a:gd name="connsiteX4" fmla="*/ 4478 w 4477"/>
                <a:gd name="connsiteY4" fmla="*/ 57764 h 58211"/>
                <a:gd name="connsiteX5" fmla="*/ 4478 w 4477"/>
                <a:gd name="connsiteY5" fmla="*/ 2239 h 58211"/>
                <a:gd name="connsiteX6" fmla="*/ 2239 w 4477"/>
                <a:gd name="connsiteY6" fmla="*/ 0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58211">
                  <a:moveTo>
                    <a:pt x="2239" y="0"/>
                  </a:moveTo>
                  <a:cubicBezTo>
                    <a:pt x="896" y="0"/>
                    <a:pt x="0" y="896"/>
                    <a:pt x="0" y="2239"/>
                  </a:cubicBezTo>
                  <a:lnTo>
                    <a:pt x="0" y="57764"/>
                  </a:lnTo>
                  <a:cubicBezTo>
                    <a:pt x="0" y="59107"/>
                    <a:pt x="896" y="60003"/>
                    <a:pt x="2239" y="60003"/>
                  </a:cubicBezTo>
                  <a:cubicBezTo>
                    <a:pt x="3582" y="60003"/>
                    <a:pt x="4478" y="59107"/>
                    <a:pt x="4478" y="57764"/>
                  </a:cubicBezTo>
                  <a:lnTo>
                    <a:pt x="4478" y="2239"/>
                  </a:lnTo>
                  <a:cubicBezTo>
                    <a:pt x="4478" y="896"/>
                    <a:pt x="3134" y="0"/>
                    <a:pt x="2239" y="0"/>
                  </a:cubicBezTo>
                  <a:close/>
                </a:path>
              </a:pathLst>
            </a:custGeom>
            <a:solidFill>
              <a:srgbClr val="231F20"/>
            </a:solidFill>
            <a:ln w="4474" cap="flat">
              <a:noFill/>
              <a:prstDash val="solid"/>
              <a:miter/>
            </a:ln>
          </p:spPr>
          <p:txBody>
            <a:bodyPr rtlCol="0" anchor="ctr"/>
            <a:lstStyle/>
            <a:p>
              <a:endParaRPr lang="en-US"/>
            </a:p>
          </p:txBody>
        </p:sp>
        <p:sp>
          <p:nvSpPr>
            <p:cNvPr id="4509" name="Freeform: Shape 4508">
              <a:extLst>
                <a:ext uri="{FF2B5EF4-FFF2-40B4-BE49-F238E27FC236}">
                  <a16:creationId xmlns:a16="http://schemas.microsoft.com/office/drawing/2014/main" id="{8C9FCEB4-ECC4-4727-A51C-87BC4DBB1563}"/>
                </a:ext>
              </a:extLst>
            </p:cNvPr>
            <p:cNvSpPr/>
            <p:nvPr/>
          </p:nvSpPr>
          <p:spPr>
            <a:xfrm>
              <a:off x="1475405" y="4900161"/>
              <a:ext cx="4478" cy="58212"/>
            </a:xfrm>
            <a:custGeom>
              <a:avLst/>
              <a:gdLst>
                <a:gd name="connsiteX0" fmla="*/ 2239 w 4477"/>
                <a:gd name="connsiteY0" fmla="*/ 60003 h 58211"/>
                <a:gd name="connsiteX1" fmla="*/ 4478 w 4477"/>
                <a:gd name="connsiteY1" fmla="*/ 57764 h 58211"/>
                <a:gd name="connsiteX2" fmla="*/ 4478 w 4477"/>
                <a:gd name="connsiteY2" fmla="*/ 2239 h 58211"/>
                <a:gd name="connsiteX3" fmla="*/ 2239 w 4477"/>
                <a:gd name="connsiteY3" fmla="*/ 0 h 58211"/>
                <a:gd name="connsiteX4" fmla="*/ 0 w 4477"/>
                <a:gd name="connsiteY4" fmla="*/ 2239 h 58211"/>
                <a:gd name="connsiteX5" fmla="*/ 0 w 4477"/>
                <a:gd name="connsiteY5" fmla="*/ 57764 h 58211"/>
                <a:gd name="connsiteX6" fmla="*/ 2239 w 4477"/>
                <a:gd name="connsiteY6" fmla="*/ 60003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58211">
                  <a:moveTo>
                    <a:pt x="2239" y="60003"/>
                  </a:moveTo>
                  <a:cubicBezTo>
                    <a:pt x="3582" y="60003"/>
                    <a:pt x="4478" y="59107"/>
                    <a:pt x="4478" y="57764"/>
                  </a:cubicBezTo>
                  <a:lnTo>
                    <a:pt x="4478" y="2239"/>
                  </a:lnTo>
                  <a:cubicBezTo>
                    <a:pt x="4478" y="896"/>
                    <a:pt x="3582" y="0"/>
                    <a:pt x="2239" y="0"/>
                  </a:cubicBezTo>
                  <a:cubicBezTo>
                    <a:pt x="896" y="0"/>
                    <a:pt x="0" y="896"/>
                    <a:pt x="0" y="2239"/>
                  </a:cubicBezTo>
                  <a:lnTo>
                    <a:pt x="0" y="57764"/>
                  </a:lnTo>
                  <a:cubicBezTo>
                    <a:pt x="0" y="59107"/>
                    <a:pt x="896" y="60003"/>
                    <a:pt x="2239" y="60003"/>
                  </a:cubicBezTo>
                  <a:close/>
                </a:path>
              </a:pathLst>
            </a:custGeom>
            <a:solidFill>
              <a:srgbClr val="231F20"/>
            </a:solidFill>
            <a:ln w="4474" cap="flat">
              <a:noFill/>
              <a:prstDash val="solid"/>
              <a:miter/>
            </a:ln>
          </p:spPr>
          <p:txBody>
            <a:bodyPr rtlCol="0" anchor="ctr"/>
            <a:lstStyle/>
            <a:p>
              <a:endParaRPr lang="en-US"/>
            </a:p>
          </p:txBody>
        </p:sp>
      </p:grpSp>
      <p:grpSp>
        <p:nvGrpSpPr>
          <p:cNvPr id="4510" name="Group 4509">
            <a:extLst>
              <a:ext uri="{FF2B5EF4-FFF2-40B4-BE49-F238E27FC236}">
                <a16:creationId xmlns:a16="http://schemas.microsoft.com/office/drawing/2014/main" id="{638C7265-D33C-4F29-BF42-18E2D026D899}"/>
              </a:ext>
              <a:ext uri="{C183D7F6-B498-43B3-948B-1728B52AA6E4}">
                <adec:decorative xmlns:adec="http://schemas.microsoft.com/office/drawing/2017/decorative" val="1"/>
              </a:ext>
            </a:extLst>
          </p:cNvPr>
          <p:cNvGrpSpPr>
            <a:grpSpLocks noChangeAspect="1"/>
          </p:cNvGrpSpPr>
          <p:nvPr/>
        </p:nvGrpSpPr>
        <p:grpSpPr>
          <a:xfrm>
            <a:off x="533894" y="5598138"/>
            <a:ext cx="134335" cy="85079"/>
            <a:chOff x="585215" y="4867026"/>
            <a:chExt cx="134335" cy="85079"/>
          </a:xfrm>
        </p:grpSpPr>
        <p:sp>
          <p:nvSpPr>
            <p:cNvPr id="4511" name="Freeform: Shape 4510">
              <a:extLst>
                <a:ext uri="{FF2B5EF4-FFF2-40B4-BE49-F238E27FC236}">
                  <a16:creationId xmlns:a16="http://schemas.microsoft.com/office/drawing/2014/main" id="{BBA8B0C4-693A-4589-8B99-F6E5310D562D}"/>
                </a:ext>
              </a:extLst>
            </p:cNvPr>
            <p:cNvSpPr/>
            <p:nvPr/>
          </p:nvSpPr>
          <p:spPr>
            <a:xfrm>
              <a:off x="585215" y="4867026"/>
              <a:ext cx="134335" cy="85079"/>
            </a:xfrm>
            <a:custGeom>
              <a:avLst/>
              <a:gdLst>
                <a:gd name="connsiteX0" fmla="*/ 95378 w 134334"/>
                <a:gd name="connsiteY0" fmla="*/ 85079 h 85078"/>
                <a:gd name="connsiteX1" fmla="*/ 42987 w 134334"/>
                <a:gd name="connsiteY1" fmla="*/ 85079 h 85078"/>
                <a:gd name="connsiteX2" fmla="*/ 0 w 134334"/>
                <a:gd name="connsiteY2" fmla="*/ 42539 h 85078"/>
                <a:gd name="connsiteX3" fmla="*/ 42987 w 134334"/>
                <a:gd name="connsiteY3" fmla="*/ 0 h 85078"/>
                <a:gd name="connsiteX4" fmla="*/ 95378 w 134334"/>
                <a:gd name="connsiteY4" fmla="*/ 0 h 85078"/>
                <a:gd name="connsiteX5" fmla="*/ 138365 w 134334"/>
                <a:gd name="connsiteY5" fmla="*/ 42539 h 85078"/>
                <a:gd name="connsiteX6" fmla="*/ 95378 w 134334"/>
                <a:gd name="connsiteY6" fmla="*/ 85079 h 85078"/>
                <a:gd name="connsiteX7" fmla="*/ 42987 w 134334"/>
                <a:gd name="connsiteY7" fmla="*/ 4478 h 85078"/>
                <a:gd name="connsiteX8" fmla="*/ 4478 w 134334"/>
                <a:gd name="connsiteY8" fmla="*/ 42539 h 85078"/>
                <a:gd name="connsiteX9" fmla="*/ 42987 w 134334"/>
                <a:gd name="connsiteY9" fmla="*/ 80601 h 85078"/>
                <a:gd name="connsiteX10" fmla="*/ 95378 w 134334"/>
                <a:gd name="connsiteY10" fmla="*/ 80601 h 85078"/>
                <a:gd name="connsiteX11" fmla="*/ 133887 w 134334"/>
                <a:gd name="connsiteY11" fmla="*/ 42539 h 85078"/>
                <a:gd name="connsiteX12" fmla="*/ 95378 w 134334"/>
                <a:gd name="connsiteY12" fmla="*/ 4478 h 85078"/>
                <a:gd name="connsiteX13" fmla="*/ 42987 w 134334"/>
                <a:gd name="connsiteY13"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334" h="85078">
                  <a:moveTo>
                    <a:pt x="95378" y="85079"/>
                  </a:moveTo>
                  <a:lnTo>
                    <a:pt x="42987" y="85079"/>
                  </a:lnTo>
                  <a:cubicBezTo>
                    <a:pt x="19255" y="85079"/>
                    <a:pt x="0" y="65824"/>
                    <a:pt x="0" y="42539"/>
                  </a:cubicBezTo>
                  <a:cubicBezTo>
                    <a:pt x="0" y="19255"/>
                    <a:pt x="19255" y="0"/>
                    <a:pt x="42987" y="0"/>
                  </a:cubicBezTo>
                  <a:lnTo>
                    <a:pt x="95378" y="0"/>
                  </a:lnTo>
                  <a:cubicBezTo>
                    <a:pt x="119110" y="0"/>
                    <a:pt x="138365" y="19255"/>
                    <a:pt x="138365" y="42539"/>
                  </a:cubicBezTo>
                  <a:cubicBezTo>
                    <a:pt x="138365" y="65824"/>
                    <a:pt x="119110" y="85079"/>
                    <a:pt x="95378" y="85079"/>
                  </a:cubicBezTo>
                  <a:close/>
                  <a:moveTo>
                    <a:pt x="42987" y="4478"/>
                  </a:moveTo>
                  <a:cubicBezTo>
                    <a:pt x="21494" y="4478"/>
                    <a:pt x="4478" y="21493"/>
                    <a:pt x="4478" y="42539"/>
                  </a:cubicBezTo>
                  <a:cubicBezTo>
                    <a:pt x="4478" y="63585"/>
                    <a:pt x="21941" y="80601"/>
                    <a:pt x="42987" y="80601"/>
                  </a:cubicBezTo>
                  <a:lnTo>
                    <a:pt x="95378" y="80601"/>
                  </a:lnTo>
                  <a:cubicBezTo>
                    <a:pt x="116871" y="80601"/>
                    <a:pt x="133887" y="63585"/>
                    <a:pt x="133887" y="42539"/>
                  </a:cubicBezTo>
                  <a:cubicBezTo>
                    <a:pt x="133887" y="21493"/>
                    <a:pt x="116423" y="4478"/>
                    <a:pt x="95378" y="4478"/>
                  </a:cubicBezTo>
                  <a:lnTo>
                    <a:pt x="42987" y="4478"/>
                  </a:lnTo>
                  <a:close/>
                </a:path>
              </a:pathLst>
            </a:custGeom>
            <a:solidFill>
              <a:srgbClr val="231F20"/>
            </a:solidFill>
            <a:ln w="4474" cap="flat">
              <a:noFill/>
              <a:prstDash val="solid"/>
              <a:miter/>
            </a:ln>
          </p:spPr>
          <p:txBody>
            <a:bodyPr rtlCol="0" anchor="ctr"/>
            <a:lstStyle/>
            <a:p>
              <a:endParaRPr lang="en-US"/>
            </a:p>
          </p:txBody>
        </p:sp>
        <p:sp>
          <p:nvSpPr>
            <p:cNvPr id="4512" name="Freeform: Shape 4511">
              <a:extLst>
                <a:ext uri="{FF2B5EF4-FFF2-40B4-BE49-F238E27FC236}">
                  <a16:creationId xmlns:a16="http://schemas.microsoft.com/office/drawing/2014/main" id="{EC0F24EA-2A2D-422D-82A1-3032E163B9A7}"/>
                </a:ext>
              </a:extLst>
            </p:cNvPr>
            <p:cNvSpPr/>
            <p:nvPr/>
          </p:nvSpPr>
          <p:spPr>
            <a:xfrm>
              <a:off x="604470" y="4907326"/>
              <a:ext cx="44778" cy="4478"/>
            </a:xfrm>
            <a:custGeom>
              <a:avLst/>
              <a:gdLst>
                <a:gd name="connsiteX0" fmla="*/ 42987 w 44778"/>
                <a:gd name="connsiteY0" fmla="*/ 4478 h 4477"/>
                <a:gd name="connsiteX1" fmla="*/ 2239 w 44778"/>
                <a:gd name="connsiteY1" fmla="*/ 4478 h 4477"/>
                <a:gd name="connsiteX2" fmla="*/ 0 w 44778"/>
                <a:gd name="connsiteY2" fmla="*/ 2239 h 4477"/>
                <a:gd name="connsiteX3" fmla="*/ 2239 w 44778"/>
                <a:gd name="connsiteY3" fmla="*/ 0 h 4477"/>
                <a:gd name="connsiteX4" fmla="*/ 42987 w 44778"/>
                <a:gd name="connsiteY4" fmla="*/ 0 h 4477"/>
                <a:gd name="connsiteX5" fmla="*/ 45226 w 44778"/>
                <a:gd name="connsiteY5" fmla="*/ 2239 h 4477"/>
                <a:gd name="connsiteX6" fmla="*/ 42987 w 44778"/>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987" y="4478"/>
                  </a:moveTo>
                  <a:lnTo>
                    <a:pt x="2239" y="4478"/>
                  </a:lnTo>
                  <a:cubicBezTo>
                    <a:pt x="896" y="4478"/>
                    <a:pt x="0" y="3582"/>
                    <a:pt x="0" y="2239"/>
                  </a:cubicBezTo>
                  <a:cubicBezTo>
                    <a:pt x="0" y="895"/>
                    <a:pt x="896" y="0"/>
                    <a:pt x="2239" y="0"/>
                  </a:cubicBezTo>
                  <a:lnTo>
                    <a:pt x="42987" y="0"/>
                  </a:lnTo>
                  <a:cubicBezTo>
                    <a:pt x="44330" y="0"/>
                    <a:pt x="45226" y="895"/>
                    <a:pt x="45226" y="2239"/>
                  </a:cubicBezTo>
                  <a:cubicBezTo>
                    <a:pt x="45226" y="3582"/>
                    <a:pt x="44330" y="4478"/>
                    <a:pt x="42987" y="4478"/>
                  </a:cubicBezTo>
                  <a:close/>
                </a:path>
              </a:pathLst>
            </a:custGeom>
            <a:solidFill>
              <a:srgbClr val="231F20"/>
            </a:solidFill>
            <a:ln w="4474" cap="flat">
              <a:noFill/>
              <a:prstDash val="solid"/>
              <a:miter/>
            </a:ln>
          </p:spPr>
          <p:txBody>
            <a:bodyPr rtlCol="0" anchor="ctr"/>
            <a:lstStyle/>
            <a:p>
              <a:endParaRPr lang="en-US"/>
            </a:p>
          </p:txBody>
        </p:sp>
      </p:grpSp>
      <p:sp>
        <p:nvSpPr>
          <p:cNvPr id="4513" name="Freeform: Shape 4512">
            <a:extLst>
              <a:ext uri="{FF2B5EF4-FFF2-40B4-BE49-F238E27FC236}">
                <a16:creationId xmlns:a16="http://schemas.microsoft.com/office/drawing/2014/main" id="{2364B9EA-EE63-4A32-8E18-1807B35784BE}"/>
              </a:ext>
              <a:ext uri="{C183D7F6-B498-43B3-948B-1728B52AA6E4}">
                <adec:decorative xmlns:adec="http://schemas.microsoft.com/office/drawing/2017/decorative" val="1"/>
              </a:ext>
            </a:extLst>
          </p:cNvPr>
          <p:cNvSpPr>
            <a:spLocks noChangeAspect="1"/>
          </p:cNvSpPr>
          <p:nvPr/>
        </p:nvSpPr>
        <p:spPr>
          <a:xfrm>
            <a:off x="5529348" y="5256480"/>
            <a:ext cx="138812" cy="85079"/>
          </a:xfrm>
          <a:custGeom>
            <a:avLst/>
            <a:gdLst>
              <a:gd name="connsiteX0" fmla="*/ 96721 w 138812"/>
              <a:gd name="connsiteY0" fmla="*/ 0 h 85078"/>
              <a:gd name="connsiteX1" fmla="*/ 44778 w 138812"/>
              <a:gd name="connsiteY1" fmla="*/ 0 h 85078"/>
              <a:gd name="connsiteX2" fmla="*/ 44331 w 138812"/>
              <a:gd name="connsiteY2" fmla="*/ 0 h 85078"/>
              <a:gd name="connsiteX3" fmla="*/ 42539 w 138812"/>
              <a:gd name="connsiteY3" fmla="*/ 0 h 85078"/>
              <a:gd name="connsiteX4" fmla="*/ 0 w 138812"/>
              <a:gd name="connsiteY4" fmla="*/ 42539 h 85078"/>
              <a:gd name="connsiteX5" fmla="*/ 42539 w 138812"/>
              <a:gd name="connsiteY5" fmla="*/ 85079 h 85078"/>
              <a:gd name="connsiteX6" fmla="*/ 44331 w 138812"/>
              <a:gd name="connsiteY6" fmla="*/ 85079 h 85078"/>
              <a:gd name="connsiteX7" fmla="*/ 44778 w 138812"/>
              <a:gd name="connsiteY7" fmla="*/ 85079 h 85078"/>
              <a:gd name="connsiteX8" fmla="*/ 96721 w 138812"/>
              <a:gd name="connsiteY8" fmla="*/ 85079 h 85078"/>
              <a:gd name="connsiteX9" fmla="*/ 139260 w 138812"/>
              <a:gd name="connsiteY9" fmla="*/ 42539 h 85078"/>
              <a:gd name="connsiteX10" fmla="*/ 96721 w 138812"/>
              <a:gd name="connsiteY10" fmla="*/ 0 h 85078"/>
              <a:gd name="connsiteX11" fmla="*/ 4478 w 138812"/>
              <a:gd name="connsiteY11" fmla="*/ 42539 h 85078"/>
              <a:gd name="connsiteX12" fmla="*/ 42539 w 138812"/>
              <a:gd name="connsiteY12" fmla="*/ 4478 h 85078"/>
              <a:gd name="connsiteX13" fmla="*/ 80601 w 138812"/>
              <a:gd name="connsiteY13" fmla="*/ 42539 h 85078"/>
              <a:gd name="connsiteX14" fmla="*/ 42539 w 138812"/>
              <a:gd name="connsiteY14" fmla="*/ 80601 h 85078"/>
              <a:gd name="connsiteX15" fmla="*/ 4478 w 138812"/>
              <a:gd name="connsiteY15" fmla="*/ 42539 h 85078"/>
              <a:gd name="connsiteX16" fmla="*/ 96721 w 138812"/>
              <a:gd name="connsiteY16" fmla="*/ 80601 h 85078"/>
              <a:gd name="connsiteX17" fmla="*/ 61794 w 138812"/>
              <a:gd name="connsiteY17" fmla="*/ 80601 h 85078"/>
              <a:gd name="connsiteX18" fmla="*/ 85526 w 138812"/>
              <a:gd name="connsiteY18" fmla="*/ 42539 h 85078"/>
              <a:gd name="connsiteX19" fmla="*/ 61794 w 138812"/>
              <a:gd name="connsiteY19" fmla="*/ 4478 h 85078"/>
              <a:gd name="connsiteX20" fmla="*/ 96721 w 138812"/>
              <a:gd name="connsiteY20" fmla="*/ 4478 h 85078"/>
              <a:gd name="connsiteX21" fmla="*/ 134782 w 138812"/>
              <a:gd name="connsiteY21" fmla="*/ 42539 h 85078"/>
              <a:gd name="connsiteX22" fmla="*/ 96721 w 138812"/>
              <a:gd name="connsiteY22" fmla="*/ 80601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812" h="85078">
                <a:moveTo>
                  <a:pt x="96721" y="0"/>
                </a:moveTo>
                <a:lnTo>
                  <a:pt x="44778" y="0"/>
                </a:lnTo>
                <a:cubicBezTo>
                  <a:pt x="44778" y="0"/>
                  <a:pt x="44331" y="0"/>
                  <a:pt x="44331" y="0"/>
                </a:cubicBezTo>
                <a:cubicBezTo>
                  <a:pt x="43882" y="0"/>
                  <a:pt x="43435" y="0"/>
                  <a:pt x="42539" y="0"/>
                </a:cubicBezTo>
                <a:cubicBezTo>
                  <a:pt x="19254" y="0"/>
                  <a:pt x="0" y="19255"/>
                  <a:pt x="0" y="42539"/>
                </a:cubicBezTo>
                <a:cubicBezTo>
                  <a:pt x="0" y="65824"/>
                  <a:pt x="19254" y="85079"/>
                  <a:pt x="42539" y="85079"/>
                </a:cubicBezTo>
                <a:cubicBezTo>
                  <a:pt x="42987" y="85079"/>
                  <a:pt x="43435" y="85079"/>
                  <a:pt x="44331" y="85079"/>
                </a:cubicBezTo>
                <a:cubicBezTo>
                  <a:pt x="44331" y="85079"/>
                  <a:pt x="44778" y="85079"/>
                  <a:pt x="44778" y="85079"/>
                </a:cubicBezTo>
                <a:lnTo>
                  <a:pt x="96721" y="85079"/>
                </a:lnTo>
                <a:cubicBezTo>
                  <a:pt x="120005" y="85079"/>
                  <a:pt x="139260" y="65824"/>
                  <a:pt x="139260" y="42539"/>
                </a:cubicBezTo>
                <a:cubicBezTo>
                  <a:pt x="139260" y="19255"/>
                  <a:pt x="120005" y="0"/>
                  <a:pt x="96721" y="0"/>
                </a:cubicBezTo>
                <a:close/>
                <a:moveTo>
                  <a:pt x="4478" y="42539"/>
                </a:moveTo>
                <a:cubicBezTo>
                  <a:pt x="4478" y="21494"/>
                  <a:pt x="21493" y="4478"/>
                  <a:pt x="42539" y="4478"/>
                </a:cubicBezTo>
                <a:cubicBezTo>
                  <a:pt x="63585" y="4478"/>
                  <a:pt x="80601" y="21494"/>
                  <a:pt x="80601" y="42539"/>
                </a:cubicBezTo>
                <a:cubicBezTo>
                  <a:pt x="80601" y="63585"/>
                  <a:pt x="63585" y="80601"/>
                  <a:pt x="42539" y="80601"/>
                </a:cubicBezTo>
                <a:cubicBezTo>
                  <a:pt x="21493" y="80601"/>
                  <a:pt x="4478" y="63585"/>
                  <a:pt x="4478" y="42539"/>
                </a:cubicBezTo>
                <a:close/>
                <a:moveTo>
                  <a:pt x="96721" y="80601"/>
                </a:moveTo>
                <a:lnTo>
                  <a:pt x="61794" y="80601"/>
                </a:lnTo>
                <a:cubicBezTo>
                  <a:pt x="75675" y="73436"/>
                  <a:pt x="85526" y="59107"/>
                  <a:pt x="85526" y="42539"/>
                </a:cubicBezTo>
                <a:cubicBezTo>
                  <a:pt x="85526" y="25972"/>
                  <a:pt x="75675" y="11642"/>
                  <a:pt x="61794" y="4478"/>
                </a:cubicBezTo>
                <a:lnTo>
                  <a:pt x="96721" y="4478"/>
                </a:lnTo>
                <a:cubicBezTo>
                  <a:pt x="117766" y="4478"/>
                  <a:pt x="134782" y="21494"/>
                  <a:pt x="134782" y="42539"/>
                </a:cubicBezTo>
                <a:cubicBezTo>
                  <a:pt x="134782" y="63585"/>
                  <a:pt x="117766" y="80601"/>
                  <a:pt x="96721" y="80601"/>
                </a:cubicBezTo>
                <a:close/>
              </a:path>
            </a:pathLst>
          </a:custGeom>
          <a:solidFill>
            <a:srgbClr val="231F20"/>
          </a:solidFill>
          <a:ln w="4474" cap="flat">
            <a:noFill/>
            <a:prstDash val="solid"/>
            <a:miter/>
          </a:ln>
        </p:spPr>
        <p:txBody>
          <a:bodyPr rtlCol="0" anchor="ctr"/>
          <a:lstStyle/>
          <a:p>
            <a:endParaRPr lang="en-US"/>
          </a:p>
        </p:txBody>
      </p:sp>
      <p:grpSp>
        <p:nvGrpSpPr>
          <p:cNvPr id="4514" name="Group 4513">
            <a:extLst>
              <a:ext uri="{FF2B5EF4-FFF2-40B4-BE49-F238E27FC236}">
                <a16:creationId xmlns:a16="http://schemas.microsoft.com/office/drawing/2014/main" id="{ADA200FA-7391-4D40-A78C-6820AF760654}"/>
              </a:ext>
              <a:ext uri="{C183D7F6-B498-43B3-948B-1728B52AA6E4}">
                <adec:decorative xmlns:adec="http://schemas.microsoft.com/office/drawing/2017/decorative" val="1"/>
              </a:ext>
            </a:extLst>
          </p:cNvPr>
          <p:cNvGrpSpPr>
            <a:grpSpLocks noChangeAspect="1"/>
          </p:cNvGrpSpPr>
          <p:nvPr/>
        </p:nvGrpSpPr>
        <p:grpSpPr>
          <a:xfrm>
            <a:off x="1859328" y="5578883"/>
            <a:ext cx="138812" cy="138812"/>
            <a:chOff x="1910649" y="4847771"/>
            <a:chExt cx="138812" cy="138812"/>
          </a:xfrm>
        </p:grpSpPr>
        <p:sp>
          <p:nvSpPr>
            <p:cNvPr id="4515" name="Freeform: Shape 4514">
              <a:extLst>
                <a:ext uri="{FF2B5EF4-FFF2-40B4-BE49-F238E27FC236}">
                  <a16:creationId xmlns:a16="http://schemas.microsoft.com/office/drawing/2014/main" id="{4EB540D0-58E4-481F-8F6A-3BD959527697}"/>
                </a:ext>
              </a:extLst>
            </p:cNvPr>
            <p:cNvSpPr/>
            <p:nvPr/>
          </p:nvSpPr>
          <p:spPr>
            <a:xfrm>
              <a:off x="1958562" y="4893892"/>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927"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516" name="Freeform: Shape 4515">
              <a:extLst>
                <a:ext uri="{FF2B5EF4-FFF2-40B4-BE49-F238E27FC236}">
                  <a16:creationId xmlns:a16="http://schemas.microsoft.com/office/drawing/2014/main" id="{7C0542F1-649A-4A3D-856F-8E45B2876E3E}"/>
                </a:ext>
              </a:extLst>
            </p:cNvPr>
            <p:cNvSpPr/>
            <p:nvPr/>
          </p:nvSpPr>
          <p:spPr>
            <a:xfrm>
              <a:off x="1910649" y="4847771"/>
              <a:ext cx="138812" cy="138812"/>
            </a:xfrm>
            <a:custGeom>
              <a:avLst/>
              <a:gdLst>
                <a:gd name="connsiteX0" fmla="*/ 76123 w 138812"/>
                <a:gd name="connsiteY0" fmla="*/ 138812 h 138812"/>
                <a:gd name="connsiteX1" fmla="*/ 62689 w 138812"/>
                <a:gd name="connsiteY1" fmla="*/ 138812 h 138812"/>
                <a:gd name="connsiteX2" fmla="*/ 60451 w 138812"/>
                <a:gd name="connsiteY2" fmla="*/ 137469 h 138812"/>
                <a:gd name="connsiteX3" fmla="*/ 54629 w 138812"/>
                <a:gd name="connsiteY3" fmla="*/ 120006 h 138812"/>
                <a:gd name="connsiteX4" fmla="*/ 43435 w 138812"/>
                <a:gd name="connsiteY4" fmla="*/ 116423 h 138812"/>
                <a:gd name="connsiteX5" fmla="*/ 25524 w 138812"/>
                <a:gd name="connsiteY5" fmla="*/ 123140 h 138812"/>
                <a:gd name="connsiteX6" fmla="*/ 23285 w 138812"/>
                <a:gd name="connsiteY6" fmla="*/ 122692 h 138812"/>
                <a:gd name="connsiteX7" fmla="*/ 16120 w 138812"/>
                <a:gd name="connsiteY7" fmla="*/ 115528 h 138812"/>
                <a:gd name="connsiteX8" fmla="*/ 15672 w 138812"/>
                <a:gd name="connsiteY8" fmla="*/ 113289 h 138812"/>
                <a:gd name="connsiteX9" fmla="*/ 22389 w 138812"/>
                <a:gd name="connsiteY9" fmla="*/ 95378 h 138812"/>
                <a:gd name="connsiteX10" fmla="*/ 18807 w 138812"/>
                <a:gd name="connsiteY10" fmla="*/ 84183 h 138812"/>
                <a:gd name="connsiteX11" fmla="*/ 1343 w 138812"/>
                <a:gd name="connsiteY11" fmla="*/ 78362 h 138812"/>
                <a:gd name="connsiteX12" fmla="*/ 0 w 138812"/>
                <a:gd name="connsiteY12" fmla="*/ 76123 h 138812"/>
                <a:gd name="connsiteX13" fmla="*/ 0 w 138812"/>
                <a:gd name="connsiteY13" fmla="*/ 62689 h 138812"/>
                <a:gd name="connsiteX14" fmla="*/ 1343 w 138812"/>
                <a:gd name="connsiteY14" fmla="*/ 60451 h 138812"/>
                <a:gd name="connsiteX15" fmla="*/ 18807 w 138812"/>
                <a:gd name="connsiteY15" fmla="*/ 54629 h 138812"/>
                <a:gd name="connsiteX16" fmla="*/ 22389 w 138812"/>
                <a:gd name="connsiteY16" fmla="*/ 43435 h 138812"/>
                <a:gd name="connsiteX17" fmla="*/ 15672 w 138812"/>
                <a:gd name="connsiteY17" fmla="*/ 25524 h 138812"/>
                <a:gd name="connsiteX18" fmla="*/ 16120 w 138812"/>
                <a:gd name="connsiteY18" fmla="*/ 23285 h 138812"/>
                <a:gd name="connsiteX19" fmla="*/ 23285 w 138812"/>
                <a:gd name="connsiteY19" fmla="*/ 16120 h 138812"/>
                <a:gd name="connsiteX20" fmla="*/ 25524 w 138812"/>
                <a:gd name="connsiteY20" fmla="*/ 15672 h 138812"/>
                <a:gd name="connsiteX21" fmla="*/ 43435 w 138812"/>
                <a:gd name="connsiteY21" fmla="*/ 22389 h 138812"/>
                <a:gd name="connsiteX22" fmla="*/ 54629 w 138812"/>
                <a:gd name="connsiteY22" fmla="*/ 18807 h 138812"/>
                <a:gd name="connsiteX23" fmla="*/ 60451 w 138812"/>
                <a:gd name="connsiteY23" fmla="*/ 1344 h 138812"/>
                <a:gd name="connsiteX24" fmla="*/ 62689 w 138812"/>
                <a:gd name="connsiteY24" fmla="*/ 0 h 138812"/>
                <a:gd name="connsiteX25" fmla="*/ 76123 w 138812"/>
                <a:gd name="connsiteY25" fmla="*/ 0 h 138812"/>
                <a:gd name="connsiteX26" fmla="*/ 78362 w 138812"/>
                <a:gd name="connsiteY26" fmla="*/ 1344 h 138812"/>
                <a:gd name="connsiteX27" fmla="*/ 84183 w 138812"/>
                <a:gd name="connsiteY27" fmla="*/ 18807 h 138812"/>
                <a:gd name="connsiteX28" fmla="*/ 95378 w 138812"/>
                <a:gd name="connsiteY28" fmla="*/ 22389 h 138812"/>
                <a:gd name="connsiteX29" fmla="*/ 113289 w 138812"/>
                <a:gd name="connsiteY29" fmla="*/ 15672 h 138812"/>
                <a:gd name="connsiteX30" fmla="*/ 115528 w 138812"/>
                <a:gd name="connsiteY30" fmla="*/ 16120 h 138812"/>
                <a:gd name="connsiteX31" fmla="*/ 122692 w 138812"/>
                <a:gd name="connsiteY31" fmla="*/ 23285 h 138812"/>
                <a:gd name="connsiteX32" fmla="*/ 123140 w 138812"/>
                <a:gd name="connsiteY32" fmla="*/ 25524 h 138812"/>
                <a:gd name="connsiteX33" fmla="*/ 116423 w 138812"/>
                <a:gd name="connsiteY33" fmla="*/ 43435 h 138812"/>
                <a:gd name="connsiteX34" fmla="*/ 120006 w 138812"/>
                <a:gd name="connsiteY34" fmla="*/ 54629 h 138812"/>
                <a:gd name="connsiteX35" fmla="*/ 137469 w 138812"/>
                <a:gd name="connsiteY35" fmla="*/ 60451 h 138812"/>
                <a:gd name="connsiteX36" fmla="*/ 138812 w 138812"/>
                <a:gd name="connsiteY36" fmla="*/ 62689 h 138812"/>
                <a:gd name="connsiteX37" fmla="*/ 138812 w 138812"/>
                <a:gd name="connsiteY37" fmla="*/ 76123 h 138812"/>
                <a:gd name="connsiteX38" fmla="*/ 137469 w 138812"/>
                <a:gd name="connsiteY38" fmla="*/ 78362 h 138812"/>
                <a:gd name="connsiteX39" fmla="*/ 120006 w 138812"/>
                <a:gd name="connsiteY39" fmla="*/ 84183 h 138812"/>
                <a:gd name="connsiteX40" fmla="*/ 116423 w 138812"/>
                <a:gd name="connsiteY40" fmla="*/ 95378 h 138812"/>
                <a:gd name="connsiteX41" fmla="*/ 123140 w 138812"/>
                <a:gd name="connsiteY41" fmla="*/ 113289 h 138812"/>
                <a:gd name="connsiteX42" fmla="*/ 122692 w 138812"/>
                <a:gd name="connsiteY42" fmla="*/ 115528 h 138812"/>
                <a:gd name="connsiteX43" fmla="*/ 115528 w 138812"/>
                <a:gd name="connsiteY43" fmla="*/ 122692 h 138812"/>
                <a:gd name="connsiteX44" fmla="*/ 113289 w 138812"/>
                <a:gd name="connsiteY44" fmla="*/ 123140 h 138812"/>
                <a:gd name="connsiteX45" fmla="*/ 95378 w 138812"/>
                <a:gd name="connsiteY45" fmla="*/ 116423 h 138812"/>
                <a:gd name="connsiteX46" fmla="*/ 84183 w 138812"/>
                <a:gd name="connsiteY46" fmla="*/ 120006 h 138812"/>
                <a:gd name="connsiteX47" fmla="*/ 78362 w 138812"/>
                <a:gd name="connsiteY47" fmla="*/ 137469 h 138812"/>
                <a:gd name="connsiteX48" fmla="*/ 76123 w 138812"/>
                <a:gd name="connsiteY48" fmla="*/ 138812 h 138812"/>
                <a:gd name="connsiteX49" fmla="*/ 64481 w 138812"/>
                <a:gd name="connsiteY49" fmla="*/ 134335 h 138812"/>
                <a:gd name="connsiteX50" fmla="*/ 74780 w 138812"/>
                <a:gd name="connsiteY50" fmla="*/ 134335 h 138812"/>
                <a:gd name="connsiteX51" fmla="*/ 80601 w 138812"/>
                <a:gd name="connsiteY51" fmla="*/ 117319 h 138812"/>
                <a:gd name="connsiteX52" fmla="*/ 81944 w 138812"/>
                <a:gd name="connsiteY52" fmla="*/ 115976 h 138812"/>
                <a:gd name="connsiteX53" fmla="*/ 94930 w 138812"/>
                <a:gd name="connsiteY53" fmla="*/ 111945 h 138812"/>
                <a:gd name="connsiteX54" fmla="*/ 96273 w 138812"/>
                <a:gd name="connsiteY54" fmla="*/ 111945 h 138812"/>
                <a:gd name="connsiteX55" fmla="*/ 113737 w 138812"/>
                <a:gd name="connsiteY55" fmla="*/ 118214 h 138812"/>
                <a:gd name="connsiteX56" fmla="*/ 118662 w 138812"/>
                <a:gd name="connsiteY56" fmla="*/ 113289 h 138812"/>
                <a:gd name="connsiteX57" fmla="*/ 112393 w 138812"/>
                <a:gd name="connsiteY57" fmla="*/ 95825 h 138812"/>
                <a:gd name="connsiteX58" fmla="*/ 112393 w 138812"/>
                <a:gd name="connsiteY58" fmla="*/ 94482 h 138812"/>
                <a:gd name="connsiteX59" fmla="*/ 116423 w 138812"/>
                <a:gd name="connsiteY59" fmla="*/ 81496 h 138812"/>
                <a:gd name="connsiteX60" fmla="*/ 117767 w 138812"/>
                <a:gd name="connsiteY60" fmla="*/ 80153 h 138812"/>
                <a:gd name="connsiteX61" fmla="*/ 134782 w 138812"/>
                <a:gd name="connsiteY61" fmla="*/ 74332 h 138812"/>
                <a:gd name="connsiteX62" fmla="*/ 134782 w 138812"/>
                <a:gd name="connsiteY62" fmla="*/ 64033 h 138812"/>
                <a:gd name="connsiteX63" fmla="*/ 117767 w 138812"/>
                <a:gd name="connsiteY63" fmla="*/ 58212 h 138812"/>
                <a:gd name="connsiteX64" fmla="*/ 116423 w 138812"/>
                <a:gd name="connsiteY64" fmla="*/ 56868 h 138812"/>
                <a:gd name="connsiteX65" fmla="*/ 112393 w 138812"/>
                <a:gd name="connsiteY65" fmla="*/ 43883 h 138812"/>
                <a:gd name="connsiteX66" fmla="*/ 112393 w 138812"/>
                <a:gd name="connsiteY66" fmla="*/ 42539 h 138812"/>
                <a:gd name="connsiteX67" fmla="*/ 118662 w 138812"/>
                <a:gd name="connsiteY67" fmla="*/ 25076 h 138812"/>
                <a:gd name="connsiteX68" fmla="*/ 113737 w 138812"/>
                <a:gd name="connsiteY68" fmla="*/ 20150 h 138812"/>
                <a:gd name="connsiteX69" fmla="*/ 96273 w 138812"/>
                <a:gd name="connsiteY69" fmla="*/ 26419 h 138812"/>
                <a:gd name="connsiteX70" fmla="*/ 94930 w 138812"/>
                <a:gd name="connsiteY70" fmla="*/ 26419 h 138812"/>
                <a:gd name="connsiteX71" fmla="*/ 81944 w 138812"/>
                <a:gd name="connsiteY71" fmla="*/ 22389 h 138812"/>
                <a:gd name="connsiteX72" fmla="*/ 80601 w 138812"/>
                <a:gd name="connsiteY72" fmla="*/ 21046 h 138812"/>
                <a:gd name="connsiteX73" fmla="*/ 74780 w 138812"/>
                <a:gd name="connsiteY73" fmla="*/ 4030 h 138812"/>
                <a:gd name="connsiteX74" fmla="*/ 64481 w 138812"/>
                <a:gd name="connsiteY74" fmla="*/ 4030 h 138812"/>
                <a:gd name="connsiteX75" fmla="*/ 58659 w 138812"/>
                <a:gd name="connsiteY75" fmla="*/ 21046 h 138812"/>
                <a:gd name="connsiteX76" fmla="*/ 57316 w 138812"/>
                <a:gd name="connsiteY76" fmla="*/ 22389 h 138812"/>
                <a:gd name="connsiteX77" fmla="*/ 44331 w 138812"/>
                <a:gd name="connsiteY77" fmla="*/ 26419 h 138812"/>
                <a:gd name="connsiteX78" fmla="*/ 42987 w 138812"/>
                <a:gd name="connsiteY78" fmla="*/ 26419 h 138812"/>
                <a:gd name="connsiteX79" fmla="*/ 25524 w 138812"/>
                <a:gd name="connsiteY79" fmla="*/ 20150 h 138812"/>
                <a:gd name="connsiteX80" fmla="*/ 20598 w 138812"/>
                <a:gd name="connsiteY80" fmla="*/ 25076 h 138812"/>
                <a:gd name="connsiteX81" fmla="*/ 26867 w 138812"/>
                <a:gd name="connsiteY81" fmla="*/ 42539 h 138812"/>
                <a:gd name="connsiteX82" fmla="*/ 26867 w 138812"/>
                <a:gd name="connsiteY82" fmla="*/ 43883 h 138812"/>
                <a:gd name="connsiteX83" fmla="*/ 22837 w 138812"/>
                <a:gd name="connsiteY83" fmla="*/ 56868 h 138812"/>
                <a:gd name="connsiteX84" fmla="*/ 21494 w 138812"/>
                <a:gd name="connsiteY84" fmla="*/ 58212 h 138812"/>
                <a:gd name="connsiteX85" fmla="*/ 4478 w 138812"/>
                <a:gd name="connsiteY85" fmla="*/ 64033 h 138812"/>
                <a:gd name="connsiteX86" fmla="*/ 4478 w 138812"/>
                <a:gd name="connsiteY86" fmla="*/ 74332 h 138812"/>
                <a:gd name="connsiteX87" fmla="*/ 21494 w 138812"/>
                <a:gd name="connsiteY87" fmla="*/ 80153 h 138812"/>
                <a:gd name="connsiteX88" fmla="*/ 22837 w 138812"/>
                <a:gd name="connsiteY88" fmla="*/ 81496 h 138812"/>
                <a:gd name="connsiteX89" fmla="*/ 26867 w 138812"/>
                <a:gd name="connsiteY89" fmla="*/ 94482 h 138812"/>
                <a:gd name="connsiteX90" fmla="*/ 26867 w 138812"/>
                <a:gd name="connsiteY90" fmla="*/ 95825 h 138812"/>
                <a:gd name="connsiteX91" fmla="*/ 20598 w 138812"/>
                <a:gd name="connsiteY91" fmla="*/ 113289 h 138812"/>
                <a:gd name="connsiteX92" fmla="*/ 25524 w 138812"/>
                <a:gd name="connsiteY92" fmla="*/ 118214 h 138812"/>
                <a:gd name="connsiteX93" fmla="*/ 42987 w 138812"/>
                <a:gd name="connsiteY93" fmla="*/ 111945 h 138812"/>
                <a:gd name="connsiteX94" fmla="*/ 44331 w 138812"/>
                <a:gd name="connsiteY94" fmla="*/ 111945 h 138812"/>
                <a:gd name="connsiteX95" fmla="*/ 57316 w 138812"/>
                <a:gd name="connsiteY95" fmla="*/ 115976 h 138812"/>
                <a:gd name="connsiteX96" fmla="*/ 58659 w 138812"/>
                <a:gd name="connsiteY96" fmla="*/ 117319 h 138812"/>
                <a:gd name="connsiteX97" fmla="*/ 64481 w 138812"/>
                <a:gd name="connsiteY97"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8812" h="138812">
                  <a:moveTo>
                    <a:pt x="76123" y="138812"/>
                  </a:moveTo>
                  <a:lnTo>
                    <a:pt x="62689" y="138812"/>
                  </a:lnTo>
                  <a:cubicBezTo>
                    <a:pt x="61794" y="138812"/>
                    <a:pt x="60898" y="138365"/>
                    <a:pt x="60451" y="137469"/>
                  </a:cubicBezTo>
                  <a:lnTo>
                    <a:pt x="54629" y="120006"/>
                  </a:lnTo>
                  <a:lnTo>
                    <a:pt x="43435" y="116423"/>
                  </a:lnTo>
                  <a:lnTo>
                    <a:pt x="25524" y="123140"/>
                  </a:lnTo>
                  <a:cubicBezTo>
                    <a:pt x="24628" y="123588"/>
                    <a:pt x="23733" y="123140"/>
                    <a:pt x="23285" y="122692"/>
                  </a:cubicBezTo>
                  <a:lnTo>
                    <a:pt x="16120" y="115528"/>
                  </a:lnTo>
                  <a:cubicBezTo>
                    <a:pt x="15672" y="115080"/>
                    <a:pt x="15225" y="114184"/>
                    <a:pt x="15672" y="113289"/>
                  </a:cubicBezTo>
                  <a:lnTo>
                    <a:pt x="22389" y="95378"/>
                  </a:lnTo>
                  <a:lnTo>
                    <a:pt x="18807" y="84183"/>
                  </a:lnTo>
                  <a:lnTo>
                    <a:pt x="1343" y="78362"/>
                  </a:lnTo>
                  <a:cubicBezTo>
                    <a:pt x="448" y="77914"/>
                    <a:pt x="0" y="77019"/>
                    <a:pt x="0" y="76123"/>
                  </a:cubicBezTo>
                  <a:lnTo>
                    <a:pt x="0" y="62689"/>
                  </a:lnTo>
                  <a:cubicBezTo>
                    <a:pt x="0" y="61794"/>
                    <a:pt x="448" y="60898"/>
                    <a:pt x="1343" y="60451"/>
                  </a:cubicBezTo>
                  <a:lnTo>
                    <a:pt x="18807" y="54629"/>
                  </a:lnTo>
                  <a:lnTo>
                    <a:pt x="22389" y="43435"/>
                  </a:lnTo>
                  <a:lnTo>
                    <a:pt x="15672" y="25524"/>
                  </a:lnTo>
                  <a:cubicBezTo>
                    <a:pt x="15225" y="24628"/>
                    <a:pt x="15672" y="23733"/>
                    <a:pt x="16120" y="23285"/>
                  </a:cubicBezTo>
                  <a:lnTo>
                    <a:pt x="23285" y="16120"/>
                  </a:lnTo>
                  <a:cubicBezTo>
                    <a:pt x="23733" y="15672"/>
                    <a:pt x="24628" y="15225"/>
                    <a:pt x="25524" y="15672"/>
                  </a:cubicBezTo>
                  <a:lnTo>
                    <a:pt x="43435" y="22389"/>
                  </a:lnTo>
                  <a:lnTo>
                    <a:pt x="54629" y="18807"/>
                  </a:lnTo>
                  <a:lnTo>
                    <a:pt x="60451" y="1344"/>
                  </a:lnTo>
                  <a:cubicBezTo>
                    <a:pt x="60898" y="448"/>
                    <a:pt x="61794" y="0"/>
                    <a:pt x="62689" y="0"/>
                  </a:cubicBezTo>
                  <a:lnTo>
                    <a:pt x="76123" y="0"/>
                  </a:lnTo>
                  <a:cubicBezTo>
                    <a:pt x="77019" y="0"/>
                    <a:pt x="77914" y="448"/>
                    <a:pt x="78362" y="1344"/>
                  </a:cubicBezTo>
                  <a:lnTo>
                    <a:pt x="84183" y="18807"/>
                  </a:lnTo>
                  <a:lnTo>
                    <a:pt x="95378" y="22389"/>
                  </a:lnTo>
                  <a:lnTo>
                    <a:pt x="113289" y="15672"/>
                  </a:lnTo>
                  <a:cubicBezTo>
                    <a:pt x="114184" y="15225"/>
                    <a:pt x="115080" y="15672"/>
                    <a:pt x="115528" y="16120"/>
                  </a:cubicBezTo>
                  <a:lnTo>
                    <a:pt x="122692" y="23285"/>
                  </a:lnTo>
                  <a:cubicBezTo>
                    <a:pt x="123140" y="23733"/>
                    <a:pt x="123588" y="24628"/>
                    <a:pt x="123140" y="25524"/>
                  </a:cubicBezTo>
                  <a:lnTo>
                    <a:pt x="116423" y="43435"/>
                  </a:lnTo>
                  <a:lnTo>
                    <a:pt x="120006" y="54629"/>
                  </a:lnTo>
                  <a:lnTo>
                    <a:pt x="137469" y="60451"/>
                  </a:lnTo>
                  <a:cubicBezTo>
                    <a:pt x="138365" y="60898"/>
                    <a:pt x="138812" y="61794"/>
                    <a:pt x="138812" y="62689"/>
                  </a:cubicBezTo>
                  <a:lnTo>
                    <a:pt x="138812" y="76123"/>
                  </a:lnTo>
                  <a:cubicBezTo>
                    <a:pt x="138812" y="77019"/>
                    <a:pt x="138365" y="77914"/>
                    <a:pt x="137469" y="78362"/>
                  </a:cubicBezTo>
                  <a:lnTo>
                    <a:pt x="120006" y="84183"/>
                  </a:lnTo>
                  <a:lnTo>
                    <a:pt x="116423" y="95378"/>
                  </a:lnTo>
                  <a:lnTo>
                    <a:pt x="123140" y="113289"/>
                  </a:lnTo>
                  <a:cubicBezTo>
                    <a:pt x="123588" y="114184"/>
                    <a:pt x="123140" y="115080"/>
                    <a:pt x="122692" y="115528"/>
                  </a:cubicBezTo>
                  <a:lnTo>
                    <a:pt x="115528" y="122692"/>
                  </a:lnTo>
                  <a:cubicBezTo>
                    <a:pt x="115080" y="123140"/>
                    <a:pt x="114184" y="123588"/>
                    <a:pt x="113289" y="123140"/>
                  </a:cubicBezTo>
                  <a:lnTo>
                    <a:pt x="95378" y="116423"/>
                  </a:lnTo>
                  <a:lnTo>
                    <a:pt x="84183" y="120006"/>
                  </a:lnTo>
                  <a:lnTo>
                    <a:pt x="78362" y="137469"/>
                  </a:lnTo>
                  <a:cubicBezTo>
                    <a:pt x="77914" y="138365"/>
                    <a:pt x="77019" y="138812"/>
                    <a:pt x="76123" y="138812"/>
                  </a:cubicBezTo>
                  <a:close/>
                  <a:moveTo>
                    <a:pt x="64481" y="134335"/>
                  </a:moveTo>
                  <a:lnTo>
                    <a:pt x="74780" y="134335"/>
                  </a:lnTo>
                  <a:lnTo>
                    <a:pt x="80601" y="117319"/>
                  </a:lnTo>
                  <a:cubicBezTo>
                    <a:pt x="81049" y="116871"/>
                    <a:pt x="81496" y="115976"/>
                    <a:pt x="81944" y="115976"/>
                  </a:cubicBezTo>
                  <a:lnTo>
                    <a:pt x="94930" y="111945"/>
                  </a:lnTo>
                  <a:cubicBezTo>
                    <a:pt x="95378" y="111945"/>
                    <a:pt x="95825" y="111945"/>
                    <a:pt x="96273" y="111945"/>
                  </a:cubicBezTo>
                  <a:lnTo>
                    <a:pt x="113737" y="118214"/>
                  </a:lnTo>
                  <a:lnTo>
                    <a:pt x="118662" y="113289"/>
                  </a:lnTo>
                  <a:lnTo>
                    <a:pt x="112393" y="95825"/>
                  </a:lnTo>
                  <a:cubicBezTo>
                    <a:pt x="112393" y="95378"/>
                    <a:pt x="112393" y="94930"/>
                    <a:pt x="112393" y="94482"/>
                  </a:cubicBezTo>
                  <a:lnTo>
                    <a:pt x="116423" y="81496"/>
                  </a:lnTo>
                  <a:cubicBezTo>
                    <a:pt x="116423" y="80601"/>
                    <a:pt x="117319" y="80153"/>
                    <a:pt x="117767" y="80153"/>
                  </a:cubicBezTo>
                  <a:lnTo>
                    <a:pt x="134782" y="74332"/>
                  </a:lnTo>
                  <a:lnTo>
                    <a:pt x="134782" y="64033"/>
                  </a:lnTo>
                  <a:lnTo>
                    <a:pt x="117767" y="58212"/>
                  </a:lnTo>
                  <a:cubicBezTo>
                    <a:pt x="117319" y="57764"/>
                    <a:pt x="116423" y="57316"/>
                    <a:pt x="116423" y="56868"/>
                  </a:cubicBezTo>
                  <a:lnTo>
                    <a:pt x="112393" y="43883"/>
                  </a:lnTo>
                  <a:cubicBezTo>
                    <a:pt x="112393" y="43435"/>
                    <a:pt x="112393" y="42987"/>
                    <a:pt x="112393" y="42539"/>
                  </a:cubicBezTo>
                  <a:lnTo>
                    <a:pt x="118662" y="25076"/>
                  </a:lnTo>
                  <a:lnTo>
                    <a:pt x="113737" y="20150"/>
                  </a:lnTo>
                  <a:lnTo>
                    <a:pt x="96273" y="26419"/>
                  </a:lnTo>
                  <a:cubicBezTo>
                    <a:pt x="95825" y="26419"/>
                    <a:pt x="95378" y="26419"/>
                    <a:pt x="94930" y="26419"/>
                  </a:cubicBezTo>
                  <a:lnTo>
                    <a:pt x="81944" y="22389"/>
                  </a:lnTo>
                  <a:cubicBezTo>
                    <a:pt x="81049" y="22389"/>
                    <a:pt x="80601" y="21494"/>
                    <a:pt x="80601" y="21046"/>
                  </a:cubicBezTo>
                  <a:lnTo>
                    <a:pt x="74780" y="4030"/>
                  </a:lnTo>
                  <a:lnTo>
                    <a:pt x="64481" y="4030"/>
                  </a:lnTo>
                  <a:lnTo>
                    <a:pt x="58659" y="21046"/>
                  </a:lnTo>
                  <a:cubicBezTo>
                    <a:pt x="58212" y="21494"/>
                    <a:pt x="57764" y="22389"/>
                    <a:pt x="57316" y="22389"/>
                  </a:cubicBezTo>
                  <a:lnTo>
                    <a:pt x="44331" y="26419"/>
                  </a:lnTo>
                  <a:cubicBezTo>
                    <a:pt x="43883" y="26419"/>
                    <a:pt x="43435" y="26419"/>
                    <a:pt x="42987" y="26419"/>
                  </a:cubicBezTo>
                  <a:lnTo>
                    <a:pt x="25524" y="20150"/>
                  </a:lnTo>
                  <a:lnTo>
                    <a:pt x="20598" y="25076"/>
                  </a:lnTo>
                  <a:lnTo>
                    <a:pt x="26867" y="42539"/>
                  </a:lnTo>
                  <a:cubicBezTo>
                    <a:pt x="26867" y="42987"/>
                    <a:pt x="26867" y="43435"/>
                    <a:pt x="26867" y="43883"/>
                  </a:cubicBezTo>
                  <a:lnTo>
                    <a:pt x="22837" y="56868"/>
                  </a:lnTo>
                  <a:cubicBezTo>
                    <a:pt x="22837" y="57764"/>
                    <a:pt x="21941" y="58212"/>
                    <a:pt x="21494" y="58212"/>
                  </a:cubicBezTo>
                  <a:lnTo>
                    <a:pt x="4478" y="64033"/>
                  </a:lnTo>
                  <a:lnTo>
                    <a:pt x="4478" y="74332"/>
                  </a:lnTo>
                  <a:lnTo>
                    <a:pt x="21494" y="80153"/>
                  </a:lnTo>
                  <a:cubicBezTo>
                    <a:pt x="21941" y="80601"/>
                    <a:pt x="22837" y="81049"/>
                    <a:pt x="22837" y="81496"/>
                  </a:cubicBezTo>
                  <a:lnTo>
                    <a:pt x="26867" y="94482"/>
                  </a:lnTo>
                  <a:cubicBezTo>
                    <a:pt x="26867" y="94930"/>
                    <a:pt x="26867" y="95378"/>
                    <a:pt x="26867" y="95825"/>
                  </a:cubicBezTo>
                  <a:lnTo>
                    <a:pt x="20598" y="113289"/>
                  </a:lnTo>
                  <a:lnTo>
                    <a:pt x="25524" y="118214"/>
                  </a:lnTo>
                  <a:lnTo>
                    <a:pt x="42987" y="111945"/>
                  </a:lnTo>
                  <a:cubicBezTo>
                    <a:pt x="43435" y="111945"/>
                    <a:pt x="43883" y="111945"/>
                    <a:pt x="44331" y="111945"/>
                  </a:cubicBezTo>
                  <a:lnTo>
                    <a:pt x="57316" y="115976"/>
                  </a:lnTo>
                  <a:cubicBezTo>
                    <a:pt x="58212" y="115976"/>
                    <a:pt x="58659" y="116871"/>
                    <a:pt x="58659" y="117319"/>
                  </a:cubicBezTo>
                  <a:lnTo>
                    <a:pt x="64481" y="134335"/>
                  </a:lnTo>
                  <a:close/>
                </a:path>
              </a:pathLst>
            </a:custGeom>
            <a:solidFill>
              <a:srgbClr val="231F20"/>
            </a:solidFill>
            <a:ln w="4474" cap="flat">
              <a:noFill/>
              <a:prstDash val="solid"/>
              <a:miter/>
            </a:ln>
          </p:spPr>
          <p:txBody>
            <a:bodyPr rtlCol="0" anchor="ctr"/>
            <a:lstStyle/>
            <a:p>
              <a:endParaRPr lang="en-US"/>
            </a:p>
          </p:txBody>
        </p:sp>
      </p:grpSp>
      <p:sp>
        <p:nvSpPr>
          <p:cNvPr id="4517" name="Freeform: Shape 4516">
            <a:extLst>
              <a:ext uri="{FF2B5EF4-FFF2-40B4-BE49-F238E27FC236}">
                <a16:creationId xmlns:a16="http://schemas.microsoft.com/office/drawing/2014/main" id="{F7B345F0-D189-416E-A6C7-FDA802522F54}"/>
              </a:ext>
              <a:ext uri="{C183D7F6-B498-43B3-948B-1728B52AA6E4}">
                <adec:decorative xmlns:adec="http://schemas.microsoft.com/office/drawing/2017/decorative" val="1"/>
              </a:ext>
            </a:extLst>
          </p:cNvPr>
          <p:cNvSpPr>
            <a:spLocks noChangeAspect="1"/>
          </p:cNvSpPr>
          <p:nvPr/>
        </p:nvSpPr>
        <p:spPr>
          <a:xfrm>
            <a:off x="2127997" y="5595899"/>
            <a:ext cx="143290" cy="111945"/>
          </a:xfrm>
          <a:custGeom>
            <a:avLst/>
            <a:gdLst>
              <a:gd name="connsiteX0" fmla="*/ 138365 w 143290"/>
              <a:gd name="connsiteY0" fmla="*/ 109707 h 111945"/>
              <a:gd name="connsiteX1" fmla="*/ 105229 w 143290"/>
              <a:gd name="connsiteY1" fmla="*/ 109707 h 111945"/>
              <a:gd name="connsiteX2" fmla="*/ 117319 w 143290"/>
              <a:gd name="connsiteY2" fmla="*/ 83735 h 111945"/>
              <a:gd name="connsiteX3" fmla="*/ 143290 w 143290"/>
              <a:gd name="connsiteY3" fmla="*/ 64480 h 111945"/>
              <a:gd name="connsiteX4" fmla="*/ 124483 w 143290"/>
              <a:gd name="connsiteY4" fmla="*/ 45674 h 111945"/>
              <a:gd name="connsiteX5" fmla="*/ 125379 w 143290"/>
              <a:gd name="connsiteY5" fmla="*/ 38061 h 111945"/>
              <a:gd name="connsiteX6" fmla="*/ 124931 w 143290"/>
              <a:gd name="connsiteY6" fmla="*/ 36270 h 111945"/>
              <a:gd name="connsiteX7" fmla="*/ 123140 w 143290"/>
              <a:gd name="connsiteY7" fmla="*/ 35375 h 111945"/>
              <a:gd name="connsiteX8" fmla="*/ 91348 w 143290"/>
              <a:gd name="connsiteY8" fmla="*/ 35375 h 111945"/>
              <a:gd name="connsiteX9" fmla="*/ 79257 w 143290"/>
              <a:gd name="connsiteY9" fmla="*/ 24180 h 111945"/>
              <a:gd name="connsiteX10" fmla="*/ 81049 w 143290"/>
              <a:gd name="connsiteY10" fmla="*/ 18359 h 111945"/>
              <a:gd name="connsiteX11" fmla="*/ 85079 w 143290"/>
              <a:gd name="connsiteY11" fmla="*/ 12090 h 111945"/>
              <a:gd name="connsiteX12" fmla="*/ 86422 w 143290"/>
              <a:gd name="connsiteY12" fmla="*/ 7612 h 111945"/>
              <a:gd name="connsiteX13" fmla="*/ 77019 w 143290"/>
              <a:gd name="connsiteY13" fmla="*/ 0 h 111945"/>
              <a:gd name="connsiteX14" fmla="*/ 74780 w 143290"/>
              <a:gd name="connsiteY14" fmla="*/ 2239 h 111945"/>
              <a:gd name="connsiteX15" fmla="*/ 77019 w 143290"/>
              <a:gd name="connsiteY15" fmla="*/ 4478 h 111945"/>
              <a:gd name="connsiteX16" fmla="*/ 81944 w 143290"/>
              <a:gd name="connsiteY16" fmla="*/ 7612 h 111945"/>
              <a:gd name="connsiteX17" fmla="*/ 81496 w 143290"/>
              <a:gd name="connsiteY17" fmla="*/ 9851 h 111945"/>
              <a:gd name="connsiteX18" fmla="*/ 77466 w 143290"/>
              <a:gd name="connsiteY18" fmla="*/ 16120 h 111945"/>
              <a:gd name="connsiteX19" fmla="*/ 75227 w 143290"/>
              <a:gd name="connsiteY19" fmla="*/ 24180 h 111945"/>
              <a:gd name="connsiteX20" fmla="*/ 80153 w 143290"/>
              <a:gd name="connsiteY20" fmla="*/ 35375 h 111945"/>
              <a:gd name="connsiteX21" fmla="*/ 63137 w 143290"/>
              <a:gd name="connsiteY21" fmla="*/ 35375 h 111945"/>
              <a:gd name="connsiteX22" fmla="*/ 51047 w 143290"/>
              <a:gd name="connsiteY22" fmla="*/ 24180 h 111945"/>
              <a:gd name="connsiteX23" fmla="*/ 52838 w 143290"/>
              <a:gd name="connsiteY23" fmla="*/ 18359 h 111945"/>
              <a:gd name="connsiteX24" fmla="*/ 56868 w 143290"/>
              <a:gd name="connsiteY24" fmla="*/ 12090 h 111945"/>
              <a:gd name="connsiteX25" fmla="*/ 58212 w 143290"/>
              <a:gd name="connsiteY25" fmla="*/ 7612 h 111945"/>
              <a:gd name="connsiteX26" fmla="*/ 48808 w 143290"/>
              <a:gd name="connsiteY26" fmla="*/ 0 h 111945"/>
              <a:gd name="connsiteX27" fmla="*/ 46569 w 143290"/>
              <a:gd name="connsiteY27" fmla="*/ 2239 h 111945"/>
              <a:gd name="connsiteX28" fmla="*/ 48808 w 143290"/>
              <a:gd name="connsiteY28" fmla="*/ 4478 h 111945"/>
              <a:gd name="connsiteX29" fmla="*/ 53734 w 143290"/>
              <a:gd name="connsiteY29" fmla="*/ 7612 h 111945"/>
              <a:gd name="connsiteX30" fmla="*/ 53286 w 143290"/>
              <a:gd name="connsiteY30" fmla="*/ 9851 h 111945"/>
              <a:gd name="connsiteX31" fmla="*/ 49256 w 143290"/>
              <a:gd name="connsiteY31" fmla="*/ 16120 h 111945"/>
              <a:gd name="connsiteX32" fmla="*/ 47017 w 143290"/>
              <a:gd name="connsiteY32" fmla="*/ 24180 h 111945"/>
              <a:gd name="connsiteX33" fmla="*/ 51943 w 143290"/>
              <a:gd name="connsiteY33" fmla="*/ 35375 h 111945"/>
              <a:gd name="connsiteX34" fmla="*/ 20150 w 143290"/>
              <a:gd name="connsiteY34" fmla="*/ 35375 h 111945"/>
              <a:gd name="connsiteX35" fmla="*/ 18359 w 143290"/>
              <a:gd name="connsiteY35" fmla="*/ 36270 h 111945"/>
              <a:gd name="connsiteX36" fmla="*/ 17911 w 143290"/>
              <a:gd name="connsiteY36" fmla="*/ 38061 h 111945"/>
              <a:gd name="connsiteX37" fmla="*/ 35375 w 143290"/>
              <a:gd name="connsiteY37" fmla="*/ 109707 h 111945"/>
              <a:gd name="connsiteX38" fmla="*/ 2239 w 143290"/>
              <a:gd name="connsiteY38" fmla="*/ 109707 h 111945"/>
              <a:gd name="connsiteX39" fmla="*/ 0 w 143290"/>
              <a:gd name="connsiteY39" fmla="*/ 111945 h 111945"/>
              <a:gd name="connsiteX40" fmla="*/ 2239 w 143290"/>
              <a:gd name="connsiteY40" fmla="*/ 114184 h 111945"/>
              <a:gd name="connsiteX41" fmla="*/ 139708 w 143290"/>
              <a:gd name="connsiteY41" fmla="*/ 114184 h 111945"/>
              <a:gd name="connsiteX42" fmla="*/ 141947 w 143290"/>
              <a:gd name="connsiteY42" fmla="*/ 111945 h 111945"/>
              <a:gd name="connsiteX43" fmla="*/ 138365 w 143290"/>
              <a:gd name="connsiteY43" fmla="*/ 109707 h 111945"/>
              <a:gd name="connsiteX44" fmla="*/ 138812 w 143290"/>
              <a:gd name="connsiteY44" fmla="*/ 64928 h 111945"/>
              <a:gd name="connsiteX45" fmla="*/ 118662 w 143290"/>
              <a:gd name="connsiteY45" fmla="*/ 79705 h 111945"/>
              <a:gd name="connsiteX46" fmla="*/ 124036 w 143290"/>
              <a:gd name="connsiteY46" fmla="*/ 50599 h 111945"/>
              <a:gd name="connsiteX47" fmla="*/ 138812 w 143290"/>
              <a:gd name="connsiteY47" fmla="*/ 64928 h 111945"/>
              <a:gd name="connsiteX48" fmla="*/ 120453 w 143290"/>
              <a:gd name="connsiteY48" fmla="*/ 40300 h 111945"/>
              <a:gd name="connsiteX49" fmla="*/ 96273 w 143290"/>
              <a:gd name="connsiteY49" fmla="*/ 109707 h 111945"/>
              <a:gd name="connsiteX50" fmla="*/ 42987 w 143290"/>
              <a:gd name="connsiteY50" fmla="*/ 109707 h 111945"/>
              <a:gd name="connsiteX51" fmla="*/ 21494 w 143290"/>
              <a:gd name="connsiteY51" fmla="*/ 40300 h 111945"/>
              <a:gd name="connsiteX52" fmla="*/ 120453 w 143290"/>
              <a:gd name="connsiteY52" fmla="*/ 40300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3290" h="111945">
                <a:moveTo>
                  <a:pt x="138365" y="109707"/>
                </a:moveTo>
                <a:lnTo>
                  <a:pt x="105229" y="109707"/>
                </a:lnTo>
                <a:cubicBezTo>
                  <a:pt x="110602" y="104333"/>
                  <a:pt x="114184" y="94482"/>
                  <a:pt x="117319" y="83735"/>
                </a:cubicBezTo>
                <a:cubicBezTo>
                  <a:pt x="129857" y="83735"/>
                  <a:pt x="143290" y="78809"/>
                  <a:pt x="143290" y="64480"/>
                </a:cubicBezTo>
                <a:cubicBezTo>
                  <a:pt x="143290" y="54629"/>
                  <a:pt x="134782" y="46121"/>
                  <a:pt x="124483" y="45674"/>
                </a:cubicBezTo>
                <a:cubicBezTo>
                  <a:pt x="124931" y="42091"/>
                  <a:pt x="125379" y="38957"/>
                  <a:pt x="125379" y="38061"/>
                </a:cubicBezTo>
                <a:cubicBezTo>
                  <a:pt x="125379" y="37614"/>
                  <a:pt x="125379" y="36718"/>
                  <a:pt x="124931" y="36270"/>
                </a:cubicBezTo>
                <a:cubicBezTo>
                  <a:pt x="124483" y="35823"/>
                  <a:pt x="124036" y="35375"/>
                  <a:pt x="123140" y="35375"/>
                </a:cubicBezTo>
                <a:lnTo>
                  <a:pt x="91348" y="35375"/>
                </a:lnTo>
                <a:cubicBezTo>
                  <a:pt x="84631" y="35375"/>
                  <a:pt x="79257" y="30449"/>
                  <a:pt x="79257" y="24180"/>
                </a:cubicBezTo>
                <a:cubicBezTo>
                  <a:pt x="79257" y="22389"/>
                  <a:pt x="79705" y="20150"/>
                  <a:pt x="81049" y="18359"/>
                </a:cubicBezTo>
                <a:lnTo>
                  <a:pt x="85079" y="12090"/>
                </a:lnTo>
                <a:cubicBezTo>
                  <a:pt x="85974" y="10747"/>
                  <a:pt x="86422" y="8956"/>
                  <a:pt x="86422" y="7612"/>
                </a:cubicBezTo>
                <a:cubicBezTo>
                  <a:pt x="86422" y="3134"/>
                  <a:pt x="82392" y="0"/>
                  <a:pt x="77019" y="0"/>
                </a:cubicBezTo>
                <a:cubicBezTo>
                  <a:pt x="75675" y="0"/>
                  <a:pt x="74780" y="895"/>
                  <a:pt x="74780" y="2239"/>
                </a:cubicBezTo>
                <a:cubicBezTo>
                  <a:pt x="74780" y="3582"/>
                  <a:pt x="75675" y="4478"/>
                  <a:pt x="77019" y="4478"/>
                </a:cubicBezTo>
                <a:cubicBezTo>
                  <a:pt x="78362" y="4478"/>
                  <a:pt x="81944" y="4925"/>
                  <a:pt x="81944" y="7612"/>
                </a:cubicBezTo>
                <a:cubicBezTo>
                  <a:pt x="81944" y="8508"/>
                  <a:pt x="81496" y="8956"/>
                  <a:pt x="81496" y="9851"/>
                </a:cubicBezTo>
                <a:lnTo>
                  <a:pt x="77466" y="16120"/>
                </a:lnTo>
                <a:cubicBezTo>
                  <a:pt x="75675" y="18359"/>
                  <a:pt x="75227" y="21493"/>
                  <a:pt x="75227" y="24180"/>
                </a:cubicBezTo>
                <a:cubicBezTo>
                  <a:pt x="75227" y="28658"/>
                  <a:pt x="77019" y="32240"/>
                  <a:pt x="80153" y="35375"/>
                </a:cubicBezTo>
                <a:lnTo>
                  <a:pt x="63137" y="35375"/>
                </a:lnTo>
                <a:cubicBezTo>
                  <a:pt x="56421" y="35375"/>
                  <a:pt x="51047" y="30449"/>
                  <a:pt x="51047" y="24180"/>
                </a:cubicBezTo>
                <a:cubicBezTo>
                  <a:pt x="51047" y="22389"/>
                  <a:pt x="51495" y="20150"/>
                  <a:pt x="52838" y="18359"/>
                </a:cubicBezTo>
                <a:lnTo>
                  <a:pt x="56868" y="12090"/>
                </a:lnTo>
                <a:cubicBezTo>
                  <a:pt x="57764" y="10747"/>
                  <a:pt x="58212" y="8956"/>
                  <a:pt x="58212" y="7612"/>
                </a:cubicBezTo>
                <a:cubicBezTo>
                  <a:pt x="58212" y="3134"/>
                  <a:pt x="54182" y="0"/>
                  <a:pt x="48808" y="0"/>
                </a:cubicBezTo>
                <a:cubicBezTo>
                  <a:pt x="47465" y="0"/>
                  <a:pt x="46569" y="895"/>
                  <a:pt x="46569" y="2239"/>
                </a:cubicBezTo>
                <a:cubicBezTo>
                  <a:pt x="46569" y="3582"/>
                  <a:pt x="47465" y="4478"/>
                  <a:pt x="48808" y="4478"/>
                </a:cubicBezTo>
                <a:cubicBezTo>
                  <a:pt x="50152" y="4478"/>
                  <a:pt x="53734" y="4925"/>
                  <a:pt x="53734" y="7612"/>
                </a:cubicBezTo>
                <a:cubicBezTo>
                  <a:pt x="53734" y="8508"/>
                  <a:pt x="53286" y="8956"/>
                  <a:pt x="53286" y="9851"/>
                </a:cubicBezTo>
                <a:lnTo>
                  <a:pt x="49256" y="16120"/>
                </a:lnTo>
                <a:cubicBezTo>
                  <a:pt x="47465" y="18359"/>
                  <a:pt x="47017" y="21493"/>
                  <a:pt x="47017" y="24180"/>
                </a:cubicBezTo>
                <a:cubicBezTo>
                  <a:pt x="47017" y="28658"/>
                  <a:pt x="48808" y="32240"/>
                  <a:pt x="51943" y="35375"/>
                </a:cubicBezTo>
                <a:lnTo>
                  <a:pt x="20150" y="35375"/>
                </a:lnTo>
                <a:cubicBezTo>
                  <a:pt x="19703" y="35375"/>
                  <a:pt x="18807" y="35823"/>
                  <a:pt x="18359" y="36270"/>
                </a:cubicBezTo>
                <a:cubicBezTo>
                  <a:pt x="17911" y="36718"/>
                  <a:pt x="17911" y="37166"/>
                  <a:pt x="17911" y="38061"/>
                </a:cubicBezTo>
                <a:cubicBezTo>
                  <a:pt x="18359" y="44778"/>
                  <a:pt x="21046" y="94482"/>
                  <a:pt x="35375" y="109707"/>
                </a:cubicBezTo>
                <a:lnTo>
                  <a:pt x="2239" y="109707"/>
                </a:lnTo>
                <a:cubicBezTo>
                  <a:pt x="896" y="109707"/>
                  <a:pt x="0" y="110602"/>
                  <a:pt x="0" y="111945"/>
                </a:cubicBezTo>
                <a:cubicBezTo>
                  <a:pt x="0" y="113289"/>
                  <a:pt x="896" y="114184"/>
                  <a:pt x="2239" y="114184"/>
                </a:cubicBezTo>
                <a:lnTo>
                  <a:pt x="139708" y="114184"/>
                </a:lnTo>
                <a:cubicBezTo>
                  <a:pt x="141051" y="114184"/>
                  <a:pt x="141947" y="113289"/>
                  <a:pt x="141947" y="111945"/>
                </a:cubicBezTo>
                <a:cubicBezTo>
                  <a:pt x="140604" y="111050"/>
                  <a:pt x="139708" y="109707"/>
                  <a:pt x="138365" y="109707"/>
                </a:cubicBezTo>
                <a:close/>
                <a:moveTo>
                  <a:pt x="138812" y="64928"/>
                </a:moveTo>
                <a:cubicBezTo>
                  <a:pt x="138812" y="77466"/>
                  <a:pt x="124931" y="79257"/>
                  <a:pt x="118662" y="79705"/>
                </a:cubicBezTo>
                <a:cubicBezTo>
                  <a:pt x="121349" y="69406"/>
                  <a:pt x="123140" y="58659"/>
                  <a:pt x="124036" y="50599"/>
                </a:cubicBezTo>
                <a:cubicBezTo>
                  <a:pt x="132096" y="51047"/>
                  <a:pt x="138812" y="57316"/>
                  <a:pt x="138812" y="64928"/>
                </a:cubicBezTo>
                <a:close/>
                <a:moveTo>
                  <a:pt x="120453" y="40300"/>
                </a:moveTo>
                <a:cubicBezTo>
                  <a:pt x="117767" y="68063"/>
                  <a:pt x="109259" y="109707"/>
                  <a:pt x="96273" y="109707"/>
                </a:cubicBezTo>
                <a:lnTo>
                  <a:pt x="42987" y="109707"/>
                </a:lnTo>
                <a:cubicBezTo>
                  <a:pt x="30001" y="109707"/>
                  <a:pt x="22837" y="68063"/>
                  <a:pt x="21494" y="40300"/>
                </a:cubicBezTo>
                <a:lnTo>
                  <a:pt x="120453" y="40300"/>
                </a:lnTo>
                <a:close/>
              </a:path>
            </a:pathLst>
          </a:custGeom>
          <a:solidFill>
            <a:srgbClr val="231F20"/>
          </a:solidFill>
          <a:ln w="4474" cap="flat">
            <a:noFill/>
            <a:prstDash val="solid"/>
            <a:miter/>
          </a:ln>
        </p:spPr>
        <p:txBody>
          <a:bodyPr rtlCol="0" anchor="ctr"/>
          <a:lstStyle/>
          <a:p>
            <a:endParaRPr lang="en-US"/>
          </a:p>
        </p:txBody>
      </p:sp>
      <p:grpSp>
        <p:nvGrpSpPr>
          <p:cNvPr id="4518" name="Group 4517">
            <a:extLst>
              <a:ext uri="{FF2B5EF4-FFF2-40B4-BE49-F238E27FC236}">
                <a16:creationId xmlns:a16="http://schemas.microsoft.com/office/drawing/2014/main" id="{8F0CAB33-7005-4695-8737-7D524CB7B647}"/>
              </a:ext>
              <a:ext uri="{C183D7F6-B498-43B3-948B-1728B52AA6E4}">
                <adec:decorative xmlns:adec="http://schemas.microsoft.com/office/drawing/2017/decorative" val="1"/>
              </a:ext>
            </a:extLst>
          </p:cNvPr>
          <p:cNvGrpSpPr>
            <a:grpSpLocks noChangeAspect="1"/>
          </p:cNvGrpSpPr>
          <p:nvPr/>
        </p:nvGrpSpPr>
        <p:grpSpPr>
          <a:xfrm>
            <a:off x="3172225" y="5571718"/>
            <a:ext cx="125379" cy="152246"/>
            <a:chOff x="3223546" y="4840606"/>
            <a:chExt cx="125379" cy="152246"/>
          </a:xfrm>
        </p:grpSpPr>
        <p:sp>
          <p:nvSpPr>
            <p:cNvPr id="4519" name="Freeform: Shape 4518">
              <a:extLst>
                <a:ext uri="{FF2B5EF4-FFF2-40B4-BE49-F238E27FC236}">
                  <a16:creationId xmlns:a16="http://schemas.microsoft.com/office/drawing/2014/main" id="{3667410D-C701-49CB-BAEF-02743A790B40}"/>
                </a:ext>
              </a:extLst>
            </p:cNvPr>
            <p:cNvSpPr/>
            <p:nvPr/>
          </p:nvSpPr>
          <p:spPr>
            <a:xfrm>
              <a:off x="3223546" y="4840606"/>
              <a:ext cx="125379" cy="152246"/>
            </a:xfrm>
            <a:custGeom>
              <a:avLst/>
              <a:gdLst>
                <a:gd name="connsiteX0" fmla="*/ 124483 w 125378"/>
                <a:gd name="connsiteY0" fmla="*/ 25971 h 152245"/>
                <a:gd name="connsiteX1" fmla="*/ 95825 w 125378"/>
                <a:gd name="connsiteY1" fmla="*/ 448 h 152245"/>
                <a:gd name="connsiteX2" fmla="*/ 94482 w 125378"/>
                <a:gd name="connsiteY2" fmla="*/ 0 h 152245"/>
                <a:gd name="connsiteX3" fmla="*/ 13881 w 125378"/>
                <a:gd name="connsiteY3" fmla="*/ 0 h 152245"/>
                <a:gd name="connsiteX4" fmla="*/ 0 w 125378"/>
                <a:gd name="connsiteY4" fmla="*/ 12538 h 152245"/>
                <a:gd name="connsiteX5" fmla="*/ 0 w 125378"/>
                <a:gd name="connsiteY5" fmla="*/ 139708 h 152245"/>
                <a:gd name="connsiteX6" fmla="*/ 13881 w 125378"/>
                <a:gd name="connsiteY6" fmla="*/ 152246 h 152245"/>
                <a:gd name="connsiteX7" fmla="*/ 111945 w 125378"/>
                <a:gd name="connsiteY7" fmla="*/ 152246 h 152245"/>
                <a:gd name="connsiteX8" fmla="*/ 125827 w 125378"/>
                <a:gd name="connsiteY8" fmla="*/ 139708 h 152245"/>
                <a:gd name="connsiteX9" fmla="*/ 125827 w 125378"/>
                <a:gd name="connsiteY9" fmla="*/ 27763 h 152245"/>
                <a:gd name="connsiteX10" fmla="*/ 124483 w 125378"/>
                <a:gd name="connsiteY10" fmla="*/ 25971 h 152245"/>
                <a:gd name="connsiteX11" fmla="*/ 120453 w 125378"/>
                <a:gd name="connsiteY11" fmla="*/ 139708 h 152245"/>
                <a:gd name="connsiteX12" fmla="*/ 111050 w 125378"/>
                <a:gd name="connsiteY12" fmla="*/ 147768 h 152245"/>
                <a:gd name="connsiteX13" fmla="*/ 12986 w 125378"/>
                <a:gd name="connsiteY13" fmla="*/ 147768 h 152245"/>
                <a:gd name="connsiteX14" fmla="*/ 3582 w 125378"/>
                <a:gd name="connsiteY14" fmla="*/ 139708 h 152245"/>
                <a:gd name="connsiteX15" fmla="*/ 3582 w 125378"/>
                <a:gd name="connsiteY15" fmla="*/ 12538 h 152245"/>
                <a:gd name="connsiteX16" fmla="*/ 12986 w 125378"/>
                <a:gd name="connsiteY16" fmla="*/ 4478 h 152245"/>
                <a:gd name="connsiteX17" fmla="*/ 92691 w 125378"/>
                <a:gd name="connsiteY17" fmla="*/ 4478 h 152245"/>
                <a:gd name="connsiteX18" fmla="*/ 120005 w 125378"/>
                <a:gd name="connsiteY18" fmla="*/ 28658 h 152245"/>
                <a:gd name="connsiteX19" fmla="*/ 120005 w 125378"/>
                <a:gd name="connsiteY19" fmla="*/ 13970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78" h="152245">
                  <a:moveTo>
                    <a:pt x="124483" y="25971"/>
                  </a:moveTo>
                  <a:lnTo>
                    <a:pt x="95825" y="448"/>
                  </a:lnTo>
                  <a:cubicBezTo>
                    <a:pt x="95377" y="0"/>
                    <a:pt x="94930" y="0"/>
                    <a:pt x="94482" y="0"/>
                  </a:cubicBezTo>
                  <a:lnTo>
                    <a:pt x="13881" y="0"/>
                  </a:lnTo>
                  <a:cubicBezTo>
                    <a:pt x="6269" y="0"/>
                    <a:pt x="0" y="5373"/>
                    <a:pt x="0" y="12538"/>
                  </a:cubicBezTo>
                  <a:lnTo>
                    <a:pt x="0" y="139708"/>
                  </a:lnTo>
                  <a:cubicBezTo>
                    <a:pt x="0" y="146425"/>
                    <a:pt x="6269" y="152246"/>
                    <a:pt x="13881" y="152246"/>
                  </a:cubicBezTo>
                  <a:lnTo>
                    <a:pt x="111945" y="152246"/>
                  </a:lnTo>
                  <a:cubicBezTo>
                    <a:pt x="119558" y="152246"/>
                    <a:pt x="125827" y="146872"/>
                    <a:pt x="125827" y="139708"/>
                  </a:cubicBezTo>
                  <a:lnTo>
                    <a:pt x="125827" y="27763"/>
                  </a:lnTo>
                  <a:cubicBezTo>
                    <a:pt x="124931" y="26867"/>
                    <a:pt x="124931" y="26419"/>
                    <a:pt x="124483" y="25971"/>
                  </a:cubicBezTo>
                  <a:close/>
                  <a:moveTo>
                    <a:pt x="120453" y="139708"/>
                  </a:moveTo>
                  <a:cubicBezTo>
                    <a:pt x="120453" y="144186"/>
                    <a:pt x="116423" y="147768"/>
                    <a:pt x="111050" y="147768"/>
                  </a:cubicBezTo>
                  <a:lnTo>
                    <a:pt x="12986" y="147768"/>
                  </a:lnTo>
                  <a:cubicBezTo>
                    <a:pt x="8060" y="147768"/>
                    <a:pt x="3582" y="144186"/>
                    <a:pt x="3582" y="139708"/>
                  </a:cubicBezTo>
                  <a:lnTo>
                    <a:pt x="3582" y="12538"/>
                  </a:lnTo>
                  <a:cubicBezTo>
                    <a:pt x="3582" y="8060"/>
                    <a:pt x="7612" y="4478"/>
                    <a:pt x="12986" y="4478"/>
                  </a:cubicBezTo>
                  <a:lnTo>
                    <a:pt x="92691" y="4478"/>
                  </a:lnTo>
                  <a:lnTo>
                    <a:pt x="120005" y="28658"/>
                  </a:lnTo>
                  <a:lnTo>
                    <a:pt x="120005" y="139708"/>
                  </a:lnTo>
                  <a:close/>
                </a:path>
              </a:pathLst>
            </a:custGeom>
            <a:solidFill>
              <a:srgbClr val="231F20"/>
            </a:solidFill>
            <a:ln w="4474" cap="flat">
              <a:noFill/>
              <a:prstDash val="solid"/>
              <a:miter/>
            </a:ln>
          </p:spPr>
          <p:txBody>
            <a:bodyPr rtlCol="0" anchor="ctr"/>
            <a:lstStyle/>
            <a:p>
              <a:endParaRPr lang="en-US"/>
            </a:p>
          </p:txBody>
        </p:sp>
        <p:sp>
          <p:nvSpPr>
            <p:cNvPr id="4520" name="Freeform: Shape 4519">
              <a:extLst>
                <a:ext uri="{FF2B5EF4-FFF2-40B4-BE49-F238E27FC236}">
                  <a16:creationId xmlns:a16="http://schemas.microsoft.com/office/drawing/2014/main" id="{73D30069-0565-42CB-B774-A08D1497F2DA}"/>
                </a:ext>
              </a:extLst>
            </p:cNvPr>
            <p:cNvSpPr/>
            <p:nvPr/>
          </p:nvSpPr>
          <p:spPr>
            <a:xfrm>
              <a:off x="3240561" y="4903296"/>
              <a:ext cx="89556" cy="71645"/>
            </a:xfrm>
            <a:custGeom>
              <a:avLst/>
              <a:gdLst>
                <a:gd name="connsiteX0" fmla="*/ 32688 w 89556"/>
                <a:gd name="connsiteY0" fmla="*/ 0 h 71645"/>
                <a:gd name="connsiteX1" fmla="*/ 8060 w 89556"/>
                <a:gd name="connsiteY1" fmla="*/ 0 h 71645"/>
                <a:gd name="connsiteX2" fmla="*/ 0 w 89556"/>
                <a:gd name="connsiteY2" fmla="*/ 7164 h 71645"/>
                <a:gd name="connsiteX3" fmla="*/ 0 w 89556"/>
                <a:gd name="connsiteY3" fmla="*/ 46569 h 71645"/>
                <a:gd name="connsiteX4" fmla="*/ 0 w 89556"/>
                <a:gd name="connsiteY4" fmla="*/ 46569 h 71645"/>
                <a:gd name="connsiteX5" fmla="*/ 0 w 89556"/>
                <a:gd name="connsiteY5" fmla="*/ 68063 h 71645"/>
                <a:gd name="connsiteX6" fmla="*/ 0 w 89556"/>
                <a:gd name="connsiteY6" fmla="*/ 68063 h 71645"/>
                <a:gd name="connsiteX7" fmla="*/ 0 w 89556"/>
                <a:gd name="connsiteY7" fmla="*/ 68063 h 71645"/>
                <a:gd name="connsiteX8" fmla="*/ 8060 w 89556"/>
                <a:gd name="connsiteY8" fmla="*/ 75227 h 71645"/>
                <a:gd name="connsiteX9" fmla="*/ 8060 w 89556"/>
                <a:gd name="connsiteY9" fmla="*/ 75227 h 71645"/>
                <a:gd name="connsiteX10" fmla="*/ 8508 w 89556"/>
                <a:gd name="connsiteY10" fmla="*/ 75227 h 71645"/>
                <a:gd name="connsiteX11" fmla="*/ 31793 w 89556"/>
                <a:gd name="connsiteY11" fmla="*/ 75227 h 71645"/>
                <a:gd name="connsiteX12" fmla="*/ 31793 w 89556"/>
                <a:gd name="connsiteY12" fmla="*/ 75227 h 71645"/>
                <a:gd name="connsiteX13" fmla="*/ 31793 w 89556"/>
                <a:gd name="connsiteY13" fmla="*/ 75227 h 71645"/>
                <a:gd name="connsiteX14" fmla="*/ 58212 w 89556"/>
                <a:gd name="connsiteY14" fmla="*/ 75227 h 71645"/>
                <a:gd name="connsiteX15" fmla="*/ 58212 w 89556"/>
                <a:gd name="connsiteY15" fmla="*/ 75227 h 71645"/>
                <a:gd name="connsiteX16" fmla="*/ 58212 w 89556"/>
                <a:gd name="connsiteY16" fmla="*/ 75227 h 71645"/>
                <a:gd name="connsiteX17" fmla="*/ 82392 w 89556"/>
                <a:gd name="connsiteY17" fmla="*/ 75227 h 71645"/>
                <a:gd name="connsiteX18" fmla="*/ 82392 w 89556"/>
                <a:gd name="connsiteY18" fmla="*/ 75227 h 71645"/>
                <a:gd name="connsiteX19" fmla="*/ 82392 w 89556"/>
                <a:gd name="connsiteY19" fmla="*/ 75227 h 71645"/>
                <a:gd name="connsiteX20" fmla="*/ 90452 w 89556"/>
                <a:gd name="connsiteY20" fmla="*/ 68063 h 71645"/>
                <a:gd name="connsiteX21" fmla="*/ 90452 w 89556"/>
                <a:gd name="connsiteY21" fmla="*/ 68063 h 71645"/>
                <a:gd name="connsiteX22" fmla="*/ 90452 w 89556"/>
                <a:gd name="connsiteY22" fmla="*/ 68063 h 71645"/>
                <a:gd name="connsiteX23" fmla="*/ 90452 w 89556"/>
                <a:gd name="connsiteY23" fmla="*/ 46569 h 71645"/>
                <a:gd name="connsiteX24" fmla="*/ 90452 w 89556"/>
                <a:gd name="connsiteY24" fmla="*/ 46569 h 71645"/>
                <a:gd name="connsiteX25" fmla="*/ 90452 w 89556"/>
                <a:gd name="connsiteY25" fmla="*/ 27315 h 71645"/>
                <a:gd name="connsiteX26" fmla="*/ 90452 w 89556"/>
                <a:gd name="connsiteY26" fmla="*/ 7164 h 71645"/>
                <a:gd name="connsiteX27" fmla="*/ 82392 w 89556"/>
                <a:gd name="connsiteY27" fmla="*/ 0 h 71645"/>
                <a:gd name="connsiteX28" fmla="*/ 57764 w 89556"/>
                <a:gd name="connsiteY28" fmla="*/ 0 h 71645"/>
                <a:gd name="connsiteX29" fmla="*/ 32688 w 89556"/>
                <a:gd name="connsiteY29" fmla="*/ 0 h 71645"/>
                <a:gd name="connsiteX30" fmla="*/ 55973 w 89556"/>
                <a:gd name="connsiteY30" fmla="*/ 4478 h 71645"/>
                <a:gd name="connsiteX31" fmla="*/ 55973 w 89556"/>
                <a:gd name="connsiteY31" fmla="*/ 25524 h 71645"/>
                <a:gd name="connsiteX32" fmla="*/ 34927 w 89556"/>
                <a:gd name="connsiteY32" fmla="*/ 25524 h 71645"/>
                <a:gd name="connsiteX33" fmla="*/ 34927 w 89556"/>
                <a:gd name="connsiteY33" fmla="*/ 4478 h 71645"/>
                <a:gd name="connsiteX34" fmla="*/ 55973 w 89556"/>
                <a:gd name="connsiteY34" fmla="*/ 4478 h 71645"/>
                <a:gd name="connsiteX35" fmla="*/ 8060 w 89556"/>
                <a:gd name="connsiteY35" fmla="*/ 4478 h 71645"/>
                <a:gd name="connsiteX36" fmla="*/ 30449 w 89556"/>
                <a:gd name="connsiteY36" fmla="*/ 4478 h 71645"/>
                <a:gd name="connsiteX37" fmla="*/ 30449 w 89556"/>
                <a:gd name="connsiteY37" fmla="*/ 27763 h 71645"/>
                <a:gd name="connsiteX38" fmla="*/ 32688 w 89556"/>
                <a:gd name="connsiteY38" fmla="*/ 30001 h 71645"/>
                <a:gd name="connsiteX39" fmla="*/ 58212 w 89556"/>
                <a:gd name="connsiteY39" fmla="*/ 30001 h 71645"/>
                <a:gd name="connsiteX40" fmla="*/ 86422 w 89556"/>
                <a:gd name="connsiteY40" fmla="*/ 30001 h 71645"/>
                <a:gd name="connsiteX41" fmla="*/ 86422 w 89556"/>
                <a:gd name="connsiteY41" fmla="*/ 44778 h 71645"/>
                <a:gd name="connsiteX42" fmla="*/ 58212 w 89556"/>
                <a:gd name="connsiteY42" fmla="*/ 44778 h 71645"/>
                <a:gd name="connsiteX43" fmla="*/ 58212 w 89556"/>
                <a:gd name="connsiteY43" fmla="*/ 44778 h 71645"/>
                <a:gd name="connsiteX44" fmla="*/ 58212 w 89556"/>
                <a:gd name="connsiteY44" fmla="*/ 44778 h 71645"/>
                <a:gd name="connsiteX45" fmla="*/ 4478 w 89556"/>
                <a:gd name="connsiteY45" fmla="*/ 44778 h 71645"/>
                <a:gd name="connsiteX46" fmla="*/ 4478 w 89556"/>
                <a:gd name="connsiteY46" fmla="*/ 7612 h 71645"/>
                <a:gd name="connsiteX47" fmla="*/ 8060 w 89556"/>
                <a:gd name="connsiteY47" fmla="*/ 4478 h 71645"/>
                <a:gd name="connsiteX48" fmla="*/ 82840 w 89556"/>
                <a:gd name="connsiteY48" fmla="*/ 71197 h 71645"/>
                <a:gd name="connsiteX49" fmla="*/ 60451 w 89556"/>
                <a:gd name="connsiteY49" fmla="*/ 71197 h 71645"/>
                <a:gd name="connsiteX50" fmla="*/ 60451 w 89556"/>
                <a:gd name="connsiteY50" fmla="*/ 48808 h 71645"/>
                <a:gd name="connsiteX51" fmla="*/ 86422 w 89556"/>
                <a:gd name="connsiteY51" fmla="*/ 48808 h 71645"/>
                <a:gd name="connsiteX52" fmla="*/ 86422 w 89556"/>
                <a:gd name="connsiteY52" fmla="*/ 68063 h 71645"/>
                <a:gd name="connsiteX53" fmla="*/ 82840 w 89556"/>
                <a:gd name="connsiteY53" fmla="*/ 71197 h 71645"/>
                <a:gd name="connsiteX54" fmla="*/ 4478 w 89556"/>
                <a:gd name="connsiteY54" fmla="*/ 68511 h 71645"/>
                <a:gd name="connsiteX55" fmla="*/ 4478 w 89556"/>
                <a:gd name="connsiteY55" fmla="*/ 49256 h 71645"/>
                <a:gd name="connsiteX56" fmla="*/ 29554 w 89556"/>
                <a:gd name="connsiteY56" fmla="*/ 49256 h 71645"/>
                <a:gd name="connsiteX57" fmla="*/ 29554 w 89556"/>
                <a:gd name="connsiteY57" fmla="*/ 71645 h 71645"/>
                <a:gd name="connsiteX58" fmla="*/ 8508 w 89556"/>
                <a:gd name="connsiteY58" fmla="*/ 71645 h 71645"/>
                <a:gd name="connsiteX59" fmla="*/ 4478 w 89556"/>
                <a:gd name="connsiteY59" fmla="*/ 68511 h 71645"/>
                <a:gd name="connsiteX60" fmla="*/ 55973 w 89556"/>
                <a:gd name="connsiteY60" fmla="*/ 49256 h 71645"/>
                <a:gd name="connsiteX61" fmla="*/ 55973 w 89556"/>
                <a:gd name="connsiteY61" fmla="*/ 71645 h 71645"/>
                <a:gd name="connsiteX62" fmla="*/ 34032 w 89556"/>
                <a:gd name="connsiteY62" fmla="*/ 71645 h 71645"/>
                <a:gd name="connsiteX63" fmla="*/ 34032 w 89556"/>
                <a:gd name="connsiteY63" fmla="*/ 49256 h 71645"/>
                <a:gd name="connsiteX64" fmla="*/ 55973 w 89556"/>
                <a:gd name="connsiteY64" fmla="*/ 49256 h 71645"/>
                <a:gd name="connsiteX65" fmla="*/ 86422 w 89556"/>
                <a:gd name="connsiteY65" fmla="*/ 7612 h 71645"/>
                <a:gd name="connsiteX66" fmla="*/ 86422 w 89556"/>
                <a:gd name="connsiteY66" fmla="*/ 25524 h 71645"/>
                <a:gd name="connsiteX67" fmla="*/ 60451 w 89556"/>
                <a:gd name="connsiteY67" fmla="*/ 25524 h 71645"/>
                <a:gd name="connsiteX68" fmla="*/ 60451 w 89556"/>
                <a:gd name="connsiteY68" fmla="*/ 4478 h 71645"/>
                <a:gd name="connsiteX69" fmla="*/ 82840 w 89556"/>
                <a:gd name="connsiteY69" fmla="*/ 4478 h 71645"/>
                <a:gd name="connsiteX70" fmla="*/ 86422 w 89556"/>
                <a:gd name="connsiteY70" fmla="*/ 7612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89556" h="71645">
                  <a:moveTo>
                    <a:pt x="32688" y="0"/>
                  </a:moveTo>
                  <a:lnTo>
                    <a:pt x="8060" y="0"/>
                  </a:lnTo>
                  <a:cubicBezTo>
                    <a:pt x="3582" y="0"/>
                    <a:pt x="0" y="3135"/>
                    <a:pt x="0" y="7164"/>
                  </a:cubicBezTo>
                  <a:lnTo>
                    <a:pt x="0" y="46569"/>
                  </a:lnTo>
                  <a:cubicBezTo>
                    <a:pt x="0" y="46569"/>
                    <a:pt x="0" y="46569"/>
                    <a:pt x="0" y="46569"/>
                  </a:cubicBezTo>
                  <a:lnTo>
                    <a:pt x="0" y="68063"/>
                  </a:lnTo>
                  <a:cubicBezTo>
                    <a:pt x="0" y="68063"/>
                    <a:pt x="0" y="68063"/>
                    <a:pt x="0" y="68063"/>
                  </a:cubicBezTo>
                  <a:lnTo>
                    <a:pt x="0" y="68063"/>
                  </a:lnTo>
                  <a:cubicBezTo>
                    <a:pt x="0" y="72093"/>
                    <a:pt x="3582" y="75227"/>
                    <a:pt x="8060" y="75227"/>
                  </a:cubicBezTo>
                  <a:lnTo>
                    <a:pt x="8060" y="75227"/>
                  </a:lnTo>
                  <a:cubicBezTo>
                    <a:pt x="8060" y="75227"/>
                    <a:pt x="8060" y="75227"/>
                    <a:pt x="8508" y="75227"/>
                  </a:cubicBezTo>
                  <a:lnTo>
                    <a:pt x="31793" y="75227"/>
                  </a:lnTo>
                  <a:cubicBezTo>
                    <a:pt x="31793" y="75227"/>
                    <a:pt x="31793" y="75227"/>
                    <a:pt x="31793" y="75227"/>
                  </a:cubicBezTo>
                  <a:cubicBezTo>
                    <a:pt x="31793" y="75227"/>
                    <a:pt x="31793" y="75227"/>
                    <a:pt x="31793" y="75227"/>
                  </a:cubicBezTo>
                  <a:lnTo>
                    <a:pt x="58212" y="75227"/>
                  </a:lnTo>
                  <a:cubicBezTo>
                    <a:pt x="58212" y="75227"/>
                    <a:pt x="58212" y="75227"/>
                    <a:pt x="58212" y="75227"/>
                  </a:cubicBezTo>
                  <a:cubicBezTo>
                    <a:pt x="58212" y="75227"/>
                    <a:pt x="58212" y="75227"/>
                    <a:pt x="58212" y="75227"/>
                  </a:cubicBezTo>
                  <a:lnTo>
                    <a:pt x="82392" y="75227"/>
                  </a:lnTo>
                  <a:cubicBezTo>
                    <a:pt x="82392" y="75227"/>
                    <a:pt x="82392" y="75227"/>
                    <a:pt x="82392" y="75227"/>
                  </a:cubicBezTo>
                  <a:lnTo>
                    <a:pt x="82392" y="75227"/>
                  </a:lnTo>
                  <a:cubicBezTo>
                    <a:pt x="86870" y="75227"/>
                    <a:pt x="90452" y="72093"/>
                    <a:pt x="90452" y="68063"/>
                  </a:cubicBezTo>
                  <a:lnTo>
                    <a:pt x="90452" y="68063"/>
                  </a:lnTo>
                  <a:cubicBezTo>
                    <a:pt x="90452" y="68063"/>
                    <a:pt x="90452" y="68063"/>
                    <a:pt x="90452" y="68063"/>
                  </a:cubicBezTo>
                  <a:lnTo>
                    <a:pt x="90452" y="46569"/>
                  </a:lnTo>
                  <a:cubicBezTo>
                    <a:pt x="90452" y="46569"/>
                    <a:pt x="90452" y="46569"/>
                    <a:pt x="90452" y="46569"/>
                  </a:cubicBezTo>
                  <a:lnTo>
                    <a:pt x="90452" y="27315"/>
                  </a:lnTo>
                  <a:lnTo>
                    <a:pt x="90452" y="7164"/>
                  </a:lnTo>
                  <a:cubicBezTo>
                    <a:pt x="90452" y="3135"/>
                    <a:pt x="86870" y="0"/>
                    <a:pt x="82392" y="0"/>
                  </a:cubicBezTo>
                  <a:lnTo>
                    <a:pt x="57764" y="0"/>
                  </a:lnTo>
                  <a:lnTo>
                    <a:pt x="32688" y="0"/>
                  </a:lnTo>
                  <a:close/>
                  <a:moveTo>
                    <a:pt x="55973" y="4478"/>
                  </a:moveTo>
                  <a:lnTo>
                    <a:pt x="55973" y="25524"/>
                  </a:lnTo>
                  <a:lnTo>
                    <a:pt x="34927" y="25524"/>
                  </a:lnTo>
                  <a:lnTo>
                    <a:pt x="34927" y="4478"/>
                  </a:lnTo>
                  <a:lnTo>
                    <a:pt x="55973" y="4478"/>
                  </a:lnTo>
                  <a:close/>
                  <a:moveTo>
                    <a:pt x="8060" y="4478"/>
                  </a:moveTo>
                  <a:lnTo>
                    <a:pt x="30449" y="4478"/>
                  </a:lnTo>
                  <a:lnTo>
                    <a:pt x="30449" y="27763"/>
                  </a:lnTo>
                  <a:cubicBezTo>
                    <a:pt x="30449" y="29106"/>
                    <a:pt x="31345" y="30001"/>
                    <a:pt x="32688" y="30001"/>
                  </a:cubicBezTo>
                  <a:lnTo>
                    <a:pt x="58212" y="30001"/>
                  </a:lnTo>
                  <a:lnTo>
                    <a:pt x="86422" y="30001"/>
                  </a:lnTo>
                  <a:lnTo>
                    <a:pt x="86422" y="44778"/>
                  </a:lnTo>
                  <a:lnTo>
                    <a:pt x="58212" y="44778"/>
                  </a:lnTo>
                  <a:cubicBezTo>
                    <a:pt x="58212" y="44778"/>
                    <a:pt x="58212" y="44778"/>
                    <a:pt x="58212" y="44778"/>
                  </a:cubicBezTo>
                  <a:cubicBezTo>
                    <a:pt x="58212" y="44778"/>
                    <a:pt x="58212" y="44778"/>
                    <a:pt x="58212" y="44778"/>
                  </a:cubicBezTo>
                  <a:lnTo>
                    <a:pt x="4478" y="44778"/>
                  </a:lnTo>
                  <a:lnTo>
                    <a:pt x="4478" y="7612"/>
                  </a:lnTo>
                  <a:cubicBezTo>
                    <a:pt x="4478" y="5821"/>
                    <a:pt x="5821" y="4478"/>
                    <a:pt x="8060" y="4478"/>
                  </a:cubicBezTo>
                  <a:close/>
                  <a:moveTo>
                    <a:pt x="82840" y="71197"/>
                  </a:moveTo>
                  <a:lnTo>
                    <a:pt x="60451" y="71197"/>
                  </a:lnTo>
                  <a:lnTo>
                    <a:pt x="60451" y="48808"/>
                  </a:lnTo>
                  <a:lnTo>
                    <a:pt x="86422" y="48808"/>
                  </a:lnTo>
                  <a:lnTo>
                    <a:pt x="86422" y="68063"/>
                  </a:lnTo>
                  <a:cubicBezTo>
                    <a:pt x="86422" y="69854"/>
                    <a:pt x="84631" y="71197"/>
                    <a:pt x="82840" y="71197"/>
                  </a:cubicBezTo>
                  <a:close/>
                  <a:moveTo>
                    <a:pt x="4478" y="68511"/>
                  </a:moveTo>
                  <a:lnTo>
                    <a:pt x="4478" y="49256"/>
                  </a:lnTo>
                  <a:lnTo>
                    <a:pt x="29554" y="49256"/>
                  </a:lnTo>
                  <a:lnTo>
                    <a:pt x="29554" y="71645"/>
                  </a:lnTo>
                  <a:lnTo>
                    <a:pt x="8508" y="71645"/>
                  </a:lnTo>
                  <a:cubicBezTo>
                    <a:pt x="6269" y="71197"/>
                    <a:pt x="4478" y="69854"/>
                    <a:pt x="4478" y="68511"/>
                  </a:cubicBezTo>
                  <a:close/>
                  <a:moveTo>
                    <a:pt x="55973" y="49256"/>
                  </a:moveTo>
                  <a:lnTo>
                    <a:pt x="55973" y="71645"/>
                  </a:lnTo>
                  <a:lnTo>
                    <a:pt x="34032" y="71645"/>
                  </a:lnTo>
                  <a:lnTo>
                    <a:pt x="34032" y="49256"/>
                  </a:lnTo>
                  <a:lnTo>
                    <a:pt x="55973" y="49256"/>
                  </a:lnTo>
                  <a:close/>
                  <a:moveTo>
                    <a:pt x="86422" y="7612"/>
                  </a:moveTo>
                  <a:lnTo>
                    <a:pt x="86422" y="25524"/>
                  </a:lnTo>
                  <a:lnTo>
                    <a:pt x="60451" y="25524"/>
                  </a:lnTo>
                  <a:lnTo>
                    <a:pt x="60451" y="4478"/>
                  </a:lnTo>
                  <a:lnTo>
                    <a:pt x="82840" y="4478"/>
                  </a:lnTo>
                  <a:cubicBezTo>
                    <a:pt x="84631" y="4478"/>
                    <a:pt x="86422" y="5821"/>
                    <a:pt x="86422" y="7612"/>
                  </a:cubicBezTo>
                  <a:close/>
                </a:path>
              </a:pathLst>
            </a:custGeom>
            <a:solidFill>
              <a:srgbClr val="231F20"/>
            </a:solidFill>
            <a:ln w="4474" cap="flat">
              <a:noFill/>
              <a:prstDash val="solid"/>
              <a:miter/>
            </a:ln>
          </p:spPr>
          <p:txBody>
            <a:bodyPr rtlCol="0" anchor="ctr"/>
            <a:lstStyle/>
            <a:p>
              <a:endParaRPr lang="en-US"/>
            </a:p>
          </p:txBody>
        </p:sp>
      </p:grpSp>
      <p:grpSp>
        <p:nvGrpSpPr>
          <p:cNvPr id="4521" name="Group 4520">
            <a:extLst>
              <a:ext uri="{FF2B5EF4-FFF2-40B4-BE49-F238E27FC236}">
                <a16:creationId xmlns:a16="http://schemas.microsoft.com/office/drawing/2014/main" id="{553594B8-5548-4986-BF75-A4731A1D062D}"/>
              </a:ext>
              <a:ext uri="{C183D7F6-B498-43B3-948B-1728B52AA6E4}">
                <adec:decorative xmlns:adec="http://schemas.microsoft.com/office/drawing/2017/decorative" val="1"/>
              </a:ext>
            </a:extLst>
          </p:cNvPr>
          <p:cNvGrpSpPr>
            <a:grpSpLocks noChangeAspect="1"/>
          </p:cNvGrpSpPr>
          <p:nvPr/>
        </p:nvGrpSpPr>
        <p:grpSpPr>
          <a:xfrm>
            <a:off x="2898516" y="5570823"/>
            <a:ext cx="149449" cy="145024"/>
            <a:chOff x="2949837" y="4839711"/>
            <a:chExt cx="149449" cy="145024"/>
          </a:xfrm>
        </p:grpSpPr>
        <p:sp>
          <p:nvSpPr>
            <p:cNvPr id="4522" name="Freeform: Shape 4521">
              <a:extLst>
                <a:ext uri="{FF2B5EF4-FFF2-40B4-BE49-F238E27FC236}">
                  <a16:creationId xmlns:a16="http://schemas.microsoft.com/office/drawing/2014/main" id="{E1133B03-4709-4ECD-B0A5-752E11D5F27F}"/>
                </a:ext>
              </a:extLst>
            </p:cNvPr>
            <p:cNvSpPr/>
            <p:nvPr/>
          </p:nvSpPr>
          <p:spPr>
            <a:xfrm>
              <a:off x="2949837" y="4894788"/>
              <a:ext cx="76123" cy="76123"/>
            </a:xfrm>
            <a:custGeom>
              <a:avLst/>
              <a:gdLst>
                <a:gd name="connsiteX0" fmla="*/ 77132 w 76122"/>
                <a:gd name="connsiteY0" fmla="*/ 41196 h 76122"/>
                <a:gd name="connsiteX1" fmla="*/ 73550 w 76122"/>
                <a:gd name="connsiteY1" fmla="*/ 39853 h 76122"/>
                <a:gd name="connsiteX2" fmla="*/ 43101 w 76122"/>
                <a:gd name="connsiteY2" fmla="*/ 39853 h 76122"/>
                <a:gd name="connsiteX3" fmla="*/ 45340 w 76122"/>
                <a:gd name="connsiteY3" fmla="*/ 34032 h 76122"/>
                <a:gd name="connsiteX4" fmla="*/ 51161 w 76122"/>
                <a:gd name="connsiteY4" fmla="*/ 37614 h 76122"/>
                <a:gd name="connsiteX5" fmla="*/ 56982 w 76122"/>
                <a:gd name="connsiteY5" fmla="*/ 36718 h 76122"/>
                <a:gd name="connsiteX6" fmla="*/ 57878 w 76122"/>
                <a:gd name="connsiteY6" fmla="*/ 30897 h 76122"/>
                <a:gd name="connsiteX7" fmla="*/ 41758 w 76122"/>
                <a:gd name="connsiteY7" fmla="*/ 2687 h 76122"/>
                <a:gd name="connsiteX8" fmla="*/ 37280 w 76122"/>
                <a:gd name="connsiteY8" fmla="*/ 0 h 76122"/>
                <a:gd name="connsiteX9" fmla="*/ 5040 w 76122"/>
                <a:gd name="connsiteY9" fmla="*/ 0 h 76122"/>
                <a:gd name="connsiteX10" fmla="*/ 5040 w 76122"/>
                <a:gd name="connsiteY10" fmla="*/ 0 h 76122"/>
                <a:gd name="connsiteX11" fmla="*/ 114 w 76122"/>
                <a:gd name="connsiteY11" fmla="*/ 3582 h 76122"/>
                <a:gd name="connsiteX12" fmla="*/ 2353 w 76122"/>
                <a:gd name="connsiteY12" fmla="*/ 8956 h 76122"/>
                <a:gd name="connsiteX13" fmla="*/ 8622 w 76122"/>
                <a:gd name="connsiteY13" fmla="*/ 12538 h 76122"/>
                <a:gd name="connsiteX14" fmla="*/ 5487 w 76122"/>
                <a:gd name="connsiteY14" fmla="*/ 17911 h 76122"/>
                <a:gd name="connsiteX15" fmla="*/ 5487 w 76122"/>
                <a:gd name="connsiteY15" fmla="*/ 38509 h 76122"/>
                <a:gd name="connsiteX16" fmla="*/ 25638 w 76122"/>
                <a:gd name="connsiteY16" fmla="*/ 73436 h 76122"/>
                <a:gd name="connsiteX17" fmla="*/ 39519 w 76122"/>
                <a:gd name="connsiteY17" fmla="*/ 78362 h 76122"/>
                <a:gd name="connsiteX18" fmla="*/ 51609 w 76122"/>
                <a:gd name="connsiteY18" fmla="*/ 78362 h 76122"/>
                <a:gd name="connsiteX19" fmla="*/ 73550 w 76122"/>
                <a:gd name="connsiteY19" fmla="*/ 78362 h 76122"/>
                <a:gd name="connsiteX20" fmla="*/ 78476 w 76122"/>
                <a:gd name="connsiteY20" fmla="*/ 73436 h 76122"/>
                <a:gd name="connsiteX21" fmla="*/ 78476 w 76122"/>
                <a:gd name="connsiteY21" fmla="*/ 44331 h 76122"/>
                <a:gd name="connsiteX22" fmla="*/ 78028 w 76122"/>
                <a:gd name="connsiteY22" fmla="*/ 41644 h 76122"/>
                <a:gd name="connsiteX23" fmla="*/ 77132 w 76122"/>
                <a:gd name="connsiteY23" fmla="*/ 41196 h 76122"/>
                <a:gd name="connsiteX24" fmla="*/ 9965 w 76122"/>
                <a:gd name="connsiteY24" fmla="*/ 20598 h 76122"/>
                <a:gd name="connsiteX25" fmla="*/ 15339 w 76122"/>
                <a:gd name="connsiteY25" fmla="*/ 11195 h 76122"/>
                <a:gd name="connsiteX26" fmla="*/ 5487 w 76122"/>
                <a:gd name="connsiteY26" fmla="*/ 5373 h 76122"/>
                <a:gd name="connsiteX27" fmla="*/ 5040 w 76122"/>
                <a:gd name="connsiteY27" fmla="*/ 4926 h 76122"/>
                <a:gd name="connsiteX28" fmla="*/ 5487 w 76122"/>
                <a:gd name="connsiteY28" fmla="*/ 4478 h 76122"/>
                <a:gd name="connsiteX29" fmla="*/ 37728 w 76122"/>
                <a:gd name="connsiteY29" fmla="*/ 4478 h 76122"/>
                <a:gd name="connsiteX30" fmla="*/ 38176 w 76122"/>
                <a:gd name="connsiteY30" fmla="*/ 4926 h 76122"/>
                <a:gd name="connsiteX31" fmla="*/ 54296 w 76122"/>
                <a:gd name="connsiteY31" fmla="*/ 33136 h 76122"/>
                <a:gd name="connsiteX32" fmla="*/ 54296 w 76122"/>
                <a:gd name="connsiteY32" fmla="*/ 33584 h 76122"/>
                <a:gd name="connsiteX33" fmla="*/ 53848 w 76122"/>
                <a:gd name="connsiteY33" fmla="*/ 33584 h 76122"/>
                <a:gd name="connsiteX34" fmla="*/ 43549 w 76122"/>
                <a:gd name="connsiteY34" fmla="*/ 27763 h 76122"/>
                <a:gd name="connsiteX35" fmla="*/ 38623 w 76122"/>
                <a:gd name="connsiteY35" fmla="*/ 39853 h 76122"/>
                <a:gd name="connsiteX36" fmla="*/ 11756 w 76122"/>
                <a:gd name="connsiteY36" fmla="*/ 39853 h 76122"/>
                <a:gd name="connsiteX37" fmla="*/ 10413 w 76122"/>
                <a:gd name="connsiteY37" fmla="*/ 37166 h 76122"/>
                <a:gd name="connsiteX38" fmla="*/ 9965 w 76122"/>
                <a:gd name="connsiteY38" fmla="*/ 20598 h 76122"/>
                <a:gd name="connsiteX39" fmla="*/ 74446 w 76122"/>
                <a:gd name="connsiteY39" fmla="*/ 73884 h 76122"/>
                <a:gd name="connsiteX40" fmla="*/ 73550 w 76122"/>
                <a:gd name="connsiteY40" fmla="*/ 74332 h 76122"/>
                <a:gd name="connsiteX41" fmla="*/ 39967 w 76122"/>
                <a:gd name="connsiteY41" fmla="*/ 74332 h 76122"/>
                <a:gd name="connsiteX42" fmla="*/ 29668 w 76122"/>
                <a:gd name="connsiteY42" fmla="*/ 71645 h 76122"/>
                <a:gd name="connsiteX43" fmla="*/ 13995 w 76122"/>
                <a:gd name="connsiteY43" fmla="*/ 44331 h 76122"/>
                <a:gd name="connsiteX44" fmla="*/ 36832 w 76122"/>
                <a:gd name="connsiteY44" fmla="*/ 44331 h 76122"/>
                <a:gd name="connsiteX45" fmla="*/ 36832 w 76122"/>
                <a:gd name="connsiteY45" fmla="*/ 44331 h 76122"/>
                <a:gd name="connsiteX46" fmla="*/ 73998 w 76122"/>
                <a:gd name="connsiteY46" fmla="*/ 44331 h 76122"/>
                <a:gd name="connsiteX47" fmla="*/ 73998 w 76122"/>
                <a:gd name="connsiteY47" fmla="*/ 42092 h 76122"/>
                <a:gd name="connsiteX48" fmla="*/ 74446 w 76122"/>
                <a:gd name="connsiteY48" fmla="*/ 44778 h 76122"/>
                <a:gd name="connsiteX49" fmla="*/ 74446 w 76122"/>
                <a:gd name="connsiteY49" fmla="*/ 73884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6122" h="76122">
                  <a:moveTo>
                    <a:pt x="77132" y="41196"/>
                  </a:moveTo>
                  <a:cubicBezTo>
                    <a:pt x="76237" y="40300"/>
                    <a:pt x="74894" y="39853"/>
                    <a:pt x="73550" y="39853"/>
                  </a:cubicBezTo>
                  <a:lnTo>
                    <a:pt x="43101" y="39853"/>
                  </a:lnTo>
                  <a:lnTo>
                    <a:pt x="45340" y="34032"/>
                  </a:lnTo>
                  <a:lnTo>
                    <a:pt x="51161" y="37614"/>
                  </a:lnTo>
                  <a:cubicBezTo>
                    <a:pt x="52952" y="38957"/>
                    <a:pt x="55639" y="38509"/>
                    <a:pt x="56982" y="36718"/>
                  </a:cubicBezTo>
                  <a:cubicBezTo>
                    <a:pt x="58773" y="34927"/>
                    <a:pt x="58773" y="32688"/>
                    <a:pt x="57878" y="30897"/>
                  </a:cubicBezTo>
                  <a:lnTo>
                    <a:pt x="41758" y="2687"/>
                  </a:lnTo>
                  <a:cubicBezTo>
                    <a:pt x="40862" y="1344"/>
                    <a:pt x="39071" y="0"/>
                    <a:pt x="37280" y="0"/>
                  </a:cubicBezTo>
                  <a:lnTo>
                    <a:pt x="5040" y="0"/>
                  </a:lnTo>
                  <a:cubicBezTo>
                    <a:pt x="5040" y="0"/>
                    <a:pt x="5040" y="0"/>
                    <a:pt x="5040" y="0"/>
                  </a:cubicBezTo>
                  <a:cubicBezTo>
                    <a:pt x="2801" y="0"/>
                    <a:pt x="1010" y="1344"/>
                    <a:pt x="114" y="3582"/>
                  </a:cubicBezTo>
                  <a:cubicBezTo>
                    <a:pt x="-334" y="5821"/>
                    <a:pt x="562" y="8060"/>
                    <a:pt x="2353" y="8956"/>
                  </a:cubicBezTo>
                  <a:lnTo>
                    <a:pt x="8622" y="12538"/>
                  </a:lnTo>
                  <a:lnTo>
                    <a:pt x="5487" y="17911"/>
                  </a:lnTo>
                  <a:cubicBezTo>
                    <a:pt x="1905" y="24180"/>
                    <a:pt x="1905" y="31345"/>
                    <a:pt x="5487" y="38509"/>
                  </a:cubicBezTo>
                  <a:lnTo>
                    <a:pt x="25638" y="73436"/>
                  </a:lnTo>
                  <a:cubicBezTo>
                    <a:pt x="28324" y="76571"/>
                    <a:pt x="32802" y="77914"/>
                    <a:pt x="39519" y="78362"/>
                  </a:cubicBezTo>
                  <a:cubicBezTo>
                    <a:pt x="41758" y="78362"/>
                    <a:pt x="46236" y="78362"/>
                    <a:pt x="51609" y="78362"/>
                  </a:cubicBezTo>
                  <a:cubicBezTo>
                    <a:pt x="59669" y="78362"/>
                    <a:pt x="69520" y="78362"/>
                    <a:pt x="73550" y="78362"/>
                  </a:cubicBezTo>
                  <a:cubicBezTo>
                    <a:pt x="76237" y="78362"/>
                    <a:pt x="78476" y="76123"/>
                    <a:pt x="78476" y="73436"/>
                  </a:cubicBezTo>
                  <a:lnTo>
                    <a:pt x="78476" y="44331"/>
                  </a:lnTo>
                  <a:cubicBezTo>
                    <a:pt x="78476" y="43435"/>
                    <a:pt x="78028" y="42539"/>
                    <a:pt x="78028" y="41644"/>
                  </a:cubicBezTo>
                  <a:cubicBezTo>
                    <a:pt x="78028" y="41644"/>
                    <a:pt x="77580" y="41196"/>
                    <a:pt x="77132" y="41196"/>
                  </a:cubicBezTo>
                  <a:close/>
                  <a:moveTo>
                    <a:pt x="9965" y="20598"/>
                  </a:moveTo>
                  <a:lnTo>
                    <a:pt x="15339" y="11195"/>
                  </a:lnTo>
                  <a:lnTo>
                    <a:pt x="5487" y="5373"/>
                  </a:lnTo>
                  <a:cubicBezTo>
                    <a:pt x="5487" y="5373"/>
                    <a:pt x="5040" y="4926"/>
                    <a:pt x="5040" y="4926"/>
                  </a:cubicBezTo>
                  <a:cubicBezTo>
                    <a:pt x="5040" y="4926"/>
                    <a:pt x="5487" y="4478"/>
                    <a:pt x="5487" y="4478"/>
                  </a:cubicBezTo>
                  <a:lnTo>
                    <a:pt x="37728" y="4478"/>
                  </a:lnTo>
                  <a:cubicBezTo>
                    <a:pt x="37728" y="4478"/>
                    <a:pt x="38176" y="4478"/>
                    <a:pt x="38176" y="4926"/>
                  </a:cubicBezTo>
                  <a:lnTo>
                    <a:pt x="54296" y="33136"/>
                  </a:lnTo>
                  <a:cubicBezTo>
                    <a:pt x="54296" y="33136"/>
                    <a:pt x="54296" y="33584"/>
                    <a:pt x="54296" y="33584"/>
                  </a:cubicBezTo>
                  <a:cubicBezTo>
                    <a:pt x="54296" y="33584"/>
                    <a:pt x="53848" y="33584"/>
                    <a:pt x="53848" y="33584"/>
                  </a:cubicBezTo>
                  <a:lnTo>
                    <a:pt x="43549" y="27763"/>
                  </a:lnTo>
                  <a:lnTo>
                    <a:pt x="38623" y="39853"/>
                  </a:lnTo>
                  <a:lnTo>
                    <a:pt x="11756" y="39853"/>
                  </a:lnTo>
                  <a:lnTo>
                    <a:pt x="10413" y="37166"/>
                  </a:lnTo>
                  <a:cubicBezTo>
                    <a:pt x="7279" y="31345"/>
                    <a:pt x="7279" y="25524"/>
                    <a:pt x="9965" y="20598"/>
                  </a:cubicBezTo>
                  <a:close/>
                  <a:moveTo>
                    <a:pt x="74446" y="73884"/>
                  </a:moveTo>
                  <a:cubicBezTo>
                    <a:pt x="74446" y="74332"/>
                    <a:pt x="74446" y="74332"/>
                    <a:pt x="73550" y="74332"/>
                  </a:cubicBezTo>
                  <a:cubicBezTo>
                    <a:pt x="67281" y="74332"/>
                    <a:pt x="45788" y="74332"/>
                    <a:pt x="39967" y="74332"/>
                  </a:cubicBezTo>
                  <a:cubicBezTo>
                    <a:pt x="34593" y="74332"/>
                    <a:pt x="31011" y="72989"/>
                    <a:pt x="29668" y="71645"/>
                  </a:cubicBezTo>
                  <a:lnTo>
                    <a:pt x="13995" y="44331"/>
                  </a:lnTo>
                  <a:lnTo>
                    <a:pt x="36832" y="44331"/>
                  </a:lnTo>
                  <a:lnTo>
                    <a:pt x="36832" y="44331"/>
                  </a:lnTo>
                  <a:lnTo>
                    <a:pt x="73998" y="44331"/>
                  </a:lnTo>
                  <a:lnTo>
                    <a:pt x="73998" y="42092"/>
                  </a:lnTo>
                  <a:lnTo>
                    <a:pt x="74446" y="44778"/>
                  </a:lnTo>
                  <a:lnTo>
                    <a:pt x="74446" y="73884"/>
                  </a:lnTo>
                  <a:close/>
                </a:path>
              </a:pathLst>
            </a:custGeom>
            <a:solidFill>
              <a:srgbClr val="231F20"/>
            </a:solidFill>
            <a:ln w="4474" cap="flat">
              <a:noFill/>
              <a:prstDash val="solid"/>
              <a:miter/>
            </a:ln>
          </p:spPr>
          <p:txBody>
            <a:bodyPr rtlCol="0" anchor="ctr"/>
            <a:lstStyle/>
            <a:p>
              <a:endParaRPr lang="en-US"/>
            </a:p>
          </p:txBody>
        </p:sp>
        <p:sp>
          <p:nvSpPr>
            <p:cNvPr id="4523" name="Freeform: Shape 4522">
              <a:extLst>
                <a:ext uri="{FF2B5EF4-FFF2-40B4-BE49-F238E27FC236}">
                  <a16:creationId xmlns:a16="http://schemas.microsoft.com/office/drawing/2014/main" id="{F6C364FB-B737-4AB0-82AC-9BA1BF4CA329}"/>
                </a:ext>
              </a:extLst>
            </p:cNvPr>
            <p:cNvSpPr/>
            <p:nvPr/>
          </p:nvSpPr>
          <p:spPr>
            <a:xfrm>
              <a:off x="2975073" y="4839711"/>
              <a:ext cx="102990" cy="58212"/>
            </a:xfrm>
            <a:custGeom>
              <a:avLst/>
              <a:gdLst>
                <a:gd name="connsiteX0" fmla="*/ 2192 w 102989"/>
                <a:gd name="connsiteY0" fmla="*/ 47017 h 58211"/>
                <a:gd name="connsiteX1" fmla="*/ 27716 w 102989"/>
                <a:gd name="connsiteY1" fmla="*/ 61346 h 58211"/>
                <a:gd name="connsiteX2" fmla="*/ 30403 w 102989"/>
                <a:gd name="connsiteY2" fmla="*/ 61794 h 58211"/>
                <a:gd name="connsiteX3" fmla="*/ 30403 w 102989"/>
                <a:gd name="connsiteY3" fmla="*/ 61794 h 58211"/>
                <a:gd name="connsiteX4" fmla="*/ 31746 w 102989"/>
                <a:gd name="connsiteY4" fmla="*/ 61794 h 58211"/>
                <a:gd name="connsiteX5" fmla="*/ 34880 w 102989"/>
                <a:gd name="connsiteY5" fmla="*/ 59555 h 58211"/>
                <a:gd name="connsiteX6" fmla="*/ 49657 w 102989"/>
                <a:gd name="connsiteY6" fmla="*/ 33136 h 58211"/>
                <a:gd name="connsiteX7" fmla="*/ 53240 w 102989"/>
                <a:gd name="connsiteY7" fmla="*/ 38061 h 58211"/>
                <a:gd name="connsiteX8" fmla="*/ 47418 w 102989"/>
                <a:gd name="connsiteY8" fmla="*/ 41196 h 58211"/>
                <a:gd name="connsiteX9" fmla="*/ 45179 w 102989"/>
                <a:gd name="connsiteY9" fmla="*/ 46569 h 58211"/>
                <a:gd name="connsiteX10" fmla="*/ 50105 w 102989"/>
                <a:gd name="connsiteY10" fmla="*/ 50152 h 58211"/>
                <a:gd name="connsiteX11" fmla="*/ 82346 w 102989"/>
                <a:gd name="connsiteY11" fmla="*/ 49704 h 58211"/>
                <a:gd name="connsiteX12" fmla="*/ 86823 w 102989"/>
                <a:gd name="connsiteY12" fmla="*/ 47017 h 58211"/>
                <a:gd name="connsiteX13" fmla="*/ 102943 w 102989"/>
                <a:gd name="connsiteY13" fmla="*/ 18807 h 58211"/>
                <a:gd name="connsiteX14" fmla="*/ 102048 w 102989"/>
                <a:gd name="connsiteY14" fmla="*/ 12986 h 58211"/>
                <a:gd name="connsiteX15" fmla="*/ 96227 w 102989"/>
                <a:gd name="connsiteY15" fmla="*/ 12090 h 58211"/>
                <a:gd name="connsiteX16" fmla="*/ 90406 w 102989"/>
                <a:gd name="connsiteY16" fmla="*/ 15672 h 58211"/>
                <a:gd name="connsiteX17" fmla="*/ 87271 w 102989"/>
                <a:gd name="connsiteY17" fmla="*/ 10299 h 58211"/>
                <a:gd name="connsiteX18" fmla="*/ 69360 w 102989"/>
                <a:gd name="connsiteY18" fmla="*/ 0 h 58211"/>
                <a:gd name="connsiteX19" fmla="*/ 31746 w 102989"/>
                <a:gd name="connsiteY19" fmla="*/ 0 h 58211"/>
                <a:gd name="connsiteX20" fmla="*/ 17865 w 102989"/>
                <a:gd name="connsiteY20" fmla="*/ 9851 h 58211"/>
                <a:gd name="connsiteX21" fmla="*/ 1297 w 102989"/>
                <a:gd name="connsiteY21" fmla="*/ 39405 h 58211"/>
                <a:gd name="connsiteX22" fmla="*/ 2192 w 102989"/>
                <a:gd name="connsiteY22" fmla="*/ 47017 h 58211"/>
                <a:gd name="connsiteX23" fmla="*/ 82346 w 102989"/>
                <a:gd name="connsiteY23" fmla="*/ 12986 h 58211"/>
                <a:gd name="connsiteX24" fmla="*/ 87719 w 102989"/>
                <a:gd name="connsiteY24" fmla="*/ 22389 h 58211"/>
                <a:gd name="connsiteX25" fmla="*/ 97570 w 102989"/>
                <a:gd name="connsiteY25" fmla="*/ 16568 h 58211"/>
                <a:gd name="connsiteX26" fmla="*/ 98018 w 102989"/>
                <a:gd name="connsiteY26" fmla="*/ 16568 h 58211"/>
                <a:gd name="connsiteX27" fmla="*/ 98018 w 102989"/>
                <a:gd name="connsiteY27" fmla="*/ 17016 h 58211"/>
                <a:gd name="connsiteX28" fmla="*/ 81898 w 102989"/>
                <a:gd name="connsiteY28" fmla="*/ 45226 h 58211"/>
                <a:gd name="connsiteX29" fmla="*/ 81450 w 102989"/>
                <a:gd name="connsiteY29" fmla="*/ 45674 h 58211"/>
                <a:gd name="connsiteX30" fmla="*/ 49210 w 102989"/>
                <a:gd name="connsiteY30" fmla="*/ 46121 h 58211"/>
                <a:gd name="connsiteX31" fmla="*/ 48762 w 102989"/>
                <a:gd name="connsiteY31" fmla="*/ 45674 h 58211"/>
                <a:gd name="connsiteX32" fmla="*/ 48762 w 102989"/>
                <a:gd name="connsiteY32" fmla="*/ 45226 h 58211"/>
                <a:gd name="connsiteX33" fmla="*/ 59061 w 102989"/>
                <a:gd name="connsiteY33" fmla="*/ 39405 h 58211"/>
                <a:gd name="connsiteX34" fmla="*/ 51001 w 102989"/>
                <a:gd name="connsiteY34" fmla="*/ 29106 h 58211"/>
                <a:gd name="connsiteX35" fmla="*/ 64434 w 102989"/>
                <a:gd name="connsiteY35" fmla="*/ 5373 h 58211"/>
                <a:gd name="connsiteX36" fmla="*/ 67569 w 102989"/>
                <a:gd name="connsiteY36" fmla="*/ 5373 h 58211"/>
                <a:gd name="connsiteX37" fmla="*/ 82346 w 102989"/>
                <a:gd name="connsiteY37" fmla="*/ 12986 h 58211"/>
                <a:gd name="connsiteX38" fmla="*/ 4431 w 102989"/>
                <a:gd name="connsiteY38" fmla="*/ 42092 h 58211"/>
                <a:gd name="connsiteX39" fmla="*/ 20999 w 102989"/>
                <a:gd name="connsiteY39" fmla="*/ 12986 h 58211"/>
                <a:gd name="connsiteX40" fmla="*/ 31298 w 102989"/>
                <a:gd name="connsiteY40" fmla="*/ 5373 h 58211"/>
                <a:gd name="connsiteX41" fmla="*/ 60404 w 102989"/>
                <a:gd name="connsiteY41" fmla="*/ 5373 h 58211"/>
                <a:gd name="connsiteX42" fmla="*/ 49210 w 102989"/>
                <a:gd name="connsiteY42" fmla="*/ 25076 h 58211"/>
                <a:gd name="connsiteX43" fmla="*/ 49210 w 102989"/>
                <a:gd name="connsiteY43" fmla="*/ 25076 h 58211"/>
                <a:gd name="connsiteX44" fmla="*/ 30851 w 102989"/>
                <a:gd name="connsiteY44" fmla="*/ 57316 h 58211"/>
                <a:gd name="connsiteX45" fmla="*/ 30403 w 102989"/>
                <a:gd name="connsiteY45" fmla="*/ 57316 h 58211"/>
                <a:gd name="connsiteX46" fmla="*/ 4879 w 102989"/>
                <a:gd name="connsiteY46" fmla="*/ 42987 h 58211"/>
                <a:gd name="connsiteX47" fmla="*/ 4879 w 102989"/>
                <a:gd name="connsiteY47" fmla="*/ 42987 h 58211"/>
                <a:gd name="connsiteX48" fmla="*/ 4431 w 102989"/>
                <a:gd name="connsiteY48" fmla="*/ 4209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2989" h="58211">
                  <a:moveTo>
                    <a:pt x="2192" y="47017"/>
                  </a:moveTo>
                  <a:lnTo>
                    <a:pt x="27716" y="61346"/>
                  </a:lnTo>
                  <a:cubicBezTo>
                    <a:pt x="28612" y="61794"/>
                    <a:pt x="29507" y="61794"/>
                    <a:pt x="30403" y="61794"/>
                  </a:cubicBezTo>
                  <a:cubicBezTo>
                    <a:pt x="30403" y="61794"/>
                    <a:pt x="30403" y="61794"/>
                    <a:pt x="30403" y="61794"/>
                  </a:cubicBezTo>
                  <a:cubicBezTo>
                    <a:pt x="30851" y="61794"/>
                    <a:pt x="31298" y="61794"/>
                    <a:pt x="31746" y="61794"/>
                  </a:cubicBezTo>
                  <a:cubicBezTo>
                    <a:pt x="33090" y="61346"/>
                    <a:pt x="33985" y="60451"/>
                    <a:pt x="34880" y="59555"/>
                  </a:cubicBezTo>
                  <a:lnTo>
                    <a:pt x="49657" y="33136"/>
                  </a:lnTo>
                  <a:lnTo>
                    <a:pt x="53240" y="38061"/>
                  </a:lnTo>
                  <a:lnTo>
                    <a:pt x="47418" y="41196"/>
                  </a:lnTo>
                  <a:cubicBezTo>
                    <a:pt x="45627" y="42539"/>
                    <a:pt x="44732" y="44778"/>
                    <a:pt x="45179" y="46569"/>
                  </a:cubicBezTo>
                  <a:cubicBezTo>
                    <a:pt x="45627" y="48808"/>
                    <a:pt x="47866" y="50152"/>
                    <a:pt x="50105" y="50152"/>
                  </a:cubicBezTo>
                  <a:lnTo>
                    <a:pt x="82346" y="49704"/>
                  </a:lnTo>
                  <a:cubicBezTo>
                    <a:pt x="84136" y="49704"/>
                    <a:pt x="85928" y="48808"/>
                    <a:pt x="86823" y="47017"/>
                  </a:cubicBezTo>
                  <a:lnTo>
                    <a:pt x="102943" y="18807"/>
                  </a:lnTo>
                  <a:cubicBezTo>
                    <a:pt x="103839" y="17016"/>
                    <a:pt x="103839" y="14329"/>
                    <a:pt x="102048" y="12986"/>
                  </a:cubicBezTo>
                  <a:cubicBezTo>
                    <a:pt x="100257" y="11195"/>
                    <a:pt x="98018" y="11195"/>
                    <a:pt x="96227" y="12090"/>
                  </a:cubicBezTo>
                  <a:lnTo>
                    <a:pt x="90406" y="15672"/>
                  </a:lnTo>
                  <a:lnTo>
                    <a:pt x="87271" y="10299"/>
                  </a:lnTo>
                  <a:cubicBezTo>
                    <a:pt x="83689" y="4030"/>
                    <a:pt x="76972" y="448"/>
                    <a:pt x="69360" y="0"/>
                  </a:cubicBezTo>
                  <a:lnTo>
                    <a:pt x="31746" y="0"/>
                  </a:lnTo>
                  <a:cubicBezTo>
                    <a:pt x="25925" y="448"/>
                    <a:pt x="20551" y="5373"/>
                    <a:pt x="17865" y="9851"/>
                  </a:cubicBezTo>
                  <a:cubicBezTo>
                    <a:pt x="14730" y="15225"/>
                    <a:pt x="3536" y="35375"/>
                    <a:pt x="1297" y="39405"/>
                  </a:cubicBezTo>
                  <a:cubicBezTo>
                    <a:pt x="-942" y="42539"/>
                    <a:pt x="-46" y="45674"/>
                    <a:pt x="2192" y="47017"/>
                  </a:cubicBezTo>
                  <a:close/>
                  <a:moveTo>
                    <a:pt x="82346" y="12986"/>
                  </a:moveTo>
                  <a:lnTo>
                    <a:pt x="87719" y="22389"/>
                  </a:lnTo>
                  <a:lnTo>
                    <a:pt x="97570" y="16568"/>
                  </a:lnTo>
                  <a:cubicBezTo>
                    <a:pt x="97570" y="16568"/>
                    <a:pt x="98018" y="16568"/>
                    <a:pt x="98018" y="16568"/>
                  </a:cubicBezTo>
                  <a:cubicBezTo>
                    <a:pt x="98018" y="16568"/>
                    <a:pt x="98018" y="17016"/>
                    <a:pt x="98018" y="17016"/>
                  </a:cubicBezTo>
                  <a:lnTo>
                    <a:pt x="81898" y="45226"/>
                  </a:lnTo>
                  <a:cubicBezTo>
                    <a:pt x="81898" y="45226"/>
                    <a:pt x="81450" y="45674"/>
                    <a:pt x="81450" y="45674"/>
                  </a:cubicBezTo>
                  <a:lnTo>
                    <a:pt x="49210" y="46121"/>
                  </a:lnTo>
                  <a:cubicBezTo>
                    <a:pt x="48762" y="46121"/>
                    <a:pt x="48762" y="46121"/>
                    <a:pt x="48762" y="45674"/>
                  </a:cubicBezTo>
                  <a:cubicBezTo>
                    <a:pt x="48762" y="45226"/>
                    <a:pt x="48762" y="45226"/>
                    <a:pt x="48762" y="45226"/>
                  </a:cubicBezTo>
                  <a:lnTo>
                    <a:pt x="59061" y="39405"/>
                  </a:lnTo>
                  <a:lnTo>
                    <a:pt x="51001" y="29106"/>
                  </a:lnTo>
                  <a:lnTo>
                    <a:pt x="64434" y="5373"/>
                  </a:lnTo>
                  <a:lnTo>
                    <a:pt x="67569" y="5373"/>
                  </a:lnTo>
                  <a:cubicBezTo>
                    <a:pt x="74285" y="5373"/>
                    <a:pt x="79659" y="8508"/>
                    <a:pt x="82346" y="12986"/>
                  </a:cubicBezTo>
                  <a:close/>
                  <a:moveTo>
                    <a:pt x="4431" y="42092"/>
                  </a:moveTo>
                  <a:cubicBezTo>
                    <a:pt x="6670" y="38061"/>
                    <a:pt x="17865" y="18359"/>
                    <a:pt x="20999" y="12986"/>
                  </a:cubicBezTo>
                  <a:cubicBezTo>
                    <a:pt x="23686" y="8956"/>
                    <a:pt x="27716" y="5373"/>
                    <a:pt x="31298" y="5373"/>
                  </a:cubicBezTo>
                  <a:lnTo>
                    <a:pt x="60404" y="5373"/>
                  </a:lnTo>
                  <a:lnTo>
                    <a:pt x="49210" y="25076"/>
                  </a:lnTo>
                  <a:lnTo>
                    <a:pt x="49210" y="25076"/>
                  </a:lnTo>
                  <a:lnTo>
                    <a:pt x="30851" y="57316"/>
                  </a:lnTo>
                  <a:lnTo>
                    <a:pt x="30403" y="57316"/>
                  </a:lnTo>
                  <a:lnTo>
                    <a:pt x="4879" y="42987"/>
                  </a:lnTo>
                  <a:lnTo>
                    <a:pt x="4879" y="42987"/>
                  </a:lnTo>
                  <a:cubicBezTo>
                    <a:pt x="4431" y="42987"/>
                    <a:pt x="4431" y="42539"/>
                    <a:pt x="4431" y="42092"/>
                  </a:cubicBezTo>
                  <a:close/>
                </a:path>
              </a:pathLst>
            </a:custGeom>
            <a:solidFill>
              <a:srgbClr val="231F20"/>
            </a:solidFill>
            <a:ln w="4474" cap="flat">
              <a:noFill/>
              <a:prstDash val="solid"/>
              <a:miter/>
            </a:ln>
          </p:spPr>
          <p:txBody>
            <a:bodyPr rtlCol="0" anchor="ctr"/>
            <a:lstStyle/>
            <a:p>
              <a:endParaRPr lang="en-US"/>
            </a:p>
          </p:txBody>
        </p:sp>
        <p:sp>
          <p:nvSpPr>
            <p:cNvPr id="4524" name="Freeform: Shape 4523">
              <a:extLst>
                <a:ext uri="{FF2B5EF4-FFF2-40B4-BE49-F238E27FC236}">
                  <a16:creationId xmlns:a16="http://schemas.microsoft.com/office/drawing/2014/main" id="{64037F80-3CDB-4F5B-B50F-EB87635D50C2}"/>
                </a:ext>
              </a:extLst>
            </p:cNvPr>
            <p:cNvSpPr/>
            <p:nvPr/>
          </p:nvSpPr>
          <p:spPr>
            <a:xfrm>
              <a:off x="3032119" y="4881745"/>
              <a:ext cx="67167" cy="102990"/>
            </a:xfrm>
            <a:custGeom>
              <a:avLst/>
              <a:gdLst>
                <a:gd name="connsiteX0" fmla="*/ 66048 w 67167"/>
                <a:gd name="connsiteY0" fmla="*/ 30954 h 102989"/>
                <a:gd name="connsiteX1" fmla="*/ 48136 w 67167"/>
                <a:gd name="connsiteY1" fmla="*/ 2296 h 102989"/>
                <a:gd name="connsiteX2" fmla="*/ 41420 w 67167"/>
                <a:gd name="connsiteY2" fmla="*/ 953 h 102989"/>
                <a:gd name="connsiteX3" fmla="*/ 16792 w 67167"/>
                <a:gd name="connsiteY3" fmla="*/ 16177 h 102989"/>
                <a:gd name="connsiteX4" fmla="*/ 15001 w 67167"/>
                <a:gd name="connsiteY4" fmla="*/ 17969 h 102989"/>
                <a:gd name="connsiteX5" fmla="*/ 14553 w 67167"/>
                <a:gd name="connsiteY5" fmla="*/ 19312 h 102989"/>
                <a:gd name="connsiteX6" fmla="*/ 15001 w 67167"/>
                <a:gd name="connsiteY6" fmla="*/ 22894 h 102989"/>
                <a:gd name="connsiteX7" fmla="*/ 31121 w 67167"/>
                <a:gd name="connsiteY7" fmla="*/ 48418 h 102989"/>
                <a:gd name="connsiteX8" fmla="*/ 24852 w 67167"/>
                <a:gd name="connsiteY8" fmla="*/ 49313 h 102989"/>
                <a:gd name="connsiteX9" fmla="*/ 24852 w 67167"/>
                <a:gd name="connsiteY9" fmla="*/ 42597 h 102989"/>
                <a:gd name="connsiteX10" fmla="*/ 21270 w 67167"/>
                <a:gd name="connsiteY10" fmla="*/ 37671 h 102989"/>
                <a:gd name="connsiteX11" fmla="*/ 15896 w 67167"/>
                <a:gd name="connsiteY11" fmla="*/ 40358 h 102989"/>
                <a:gd name="connsiteX12" fmla="*/ 672 w 67167"/>
                <a:gd name="connsiteY12" fmla="*/ 69015 h 102989"/>
                <a:gd name="connsiteX13" fmla="*/ 672 w 67167"/>
                <a:gd name="connsiteY13" fmla="*/ 73941 h 102989"/>
                <a:gd name="connsiteX14" fmla="*/ 17687 w 67167"/>
                <a:gd name="connsiteY14" fmla="*/ 101256 h 102989"/>
                <a:gd name="connsiteX15" fmla="*/ 21717 w 67167"/>
                <a:gd name="connsiteY15" fmla="*/ 103495 h 102989"/>
                <a:gd name="connsiteX16" fmla="*/ 23061 w 67167"/>
                <a:gd name="connsiteY16" fmla="*/ 103495 h 102989"/>
                <a:gd name="connsiteX17" fmla="*/ 26643 w 67167"/>
                <a:gd name="connsiteY17" fmla="*/ 98569 h 102989"/>
                <a:gd name="connsiteX18" fmla="*/ 26195 w 67167"/>
                <a:gd name="connsiteY18" fmla="*/ 91405 h 102989"/>
                <a:gd name="connsiteX19" fmla="*/ 32464 w 67167"/>
                <a:gd name="connsiteY19" fmla="*/ 91405 h 102989"/>
                <a:gd name="connsiteX20" fmla="*/ 49928 w 67167"/>
                <a:gd name="connsiteY20" fmla="*/ 80658 h 102989"/>
                <a:gd name="connsiteX21" fmla="*/ 68734 w 67167"/>
                <a:gd name="connsiteY21" fmla="*/ 45283 h 102989"/>
                <a:gd name="connsiteX22" fmla="*/ 66048 w 67167"/>
                <a:gd name="connsiteY22" fmla="*/ 30954 h 102989"/>
                <a:gd name="connsiteX23" fmla="*/ 46345 w 67167"/>
                <a:gd name="connsiteY23" fmla="*/ 78419 h 102989"/>
                <a:gd name="connsiteX24" fmla="*/ 32464 w 67167"/>
                <a:gd name="connsiteY24" fmla="*/ 86927 h 102989"/>
                <a:gd name="connsiteX25" fmla="*/ 21717 w 67167"/>
                <a:gd name="connsiteY25" fmla="*/ 87375 h 102989"/>
                <a:gd name="connsiteX26" fmla="*/ 22165 w 67167"/>
                <a:gd name="connsiteY26" fmla="*/ 99017 h 102989"/>
                <a:gd name="connsiteX27" fmla="*/ 21717 w 67167"/>
                <a:gd name="connsiteY27" fmla="*/ 99465 h 102989"/>
                <a:gd name="connsiteX28" fmla="*/ 21270 w 67167"/>
                <a:gd name="connsiteY28" fmla="*/ 99465 h 102989"/>
                <a:gd name="connsiteX29" fmla="*/ 4254 w 67167"/>
                <a:gd name="connsiteY29" fmla="*/ 72150 h 102989"/>
                <a:gd name="connsiteX30" fmla="*/ 4254 w 67167"/>
                <a:gd name="connsiteY30" fmla="*/ 71702 h 102989"/>
                <a:gd name="connsiteX31" fmla="*/ 19478 w 67167"/>
                <a:gd name="connsiteY31" fmla="*/ 43044 h 102989"/>
                <a:gd name="connsiteX32" fmla="*/ 19926 w 67167"/>
                <a:gd name="connsiteY32" fmla="*/ 42597 h 102989"/>
                <a:gd name="connsiteX33" fmla="*/ 19926 w 67167"/>
                <a:gd name="connsiteY33" fmla="*/ 42597 h 102989"/>
                <a:gd name="connsiteX34" fmla="*/ 20374 w 67167"/>
                <a:gd name="connsiteY34" fmla="*/ 43044 h 102989"/>
                <a:gd name="connsiteX35" fmla="*/ 20822 w 67167"/>
                <a:gd name="connsiteY35" fmla="*/ 54687 h 102989"/>
                <a:gd name="connsiteX36" fmla="*/ 33807 w 67167"/>
                <a:gd name="connsiteY36" fmla="*/ 52448 h 102989"/>
                <a:gd name="connsiteX37" fmla="*/ 48136 w 67167"/>
                <a:gd name="connsiteY37" fmla="*/ 75285 h 102989"/>
                <a:gd name="connsiteX38" fmla="*/ 46345 w 67167"/>
                <a:gd name="connsiteY38" fmla="*/ 78419 h 102989"/>
                <a:gd name="connsiteX39" fmla="*/ 65152 w 67167"/>
                <a:gd name="connsiteY39" fmla="*/ 43492 h 102989"/>
                <a:gd name="connsiteX40" fmla="*/ 50375 w 67167"/>
                <a:gd name="connsiteY40" fmla="*/ 71254 h 102989"/>
                <a:gd name="connsiteX41" fmla="*/ 38285 w 67167"/>
                <a:gd name="connsiteY41" fmla="*/ 52000 h 102989"/>
                <a:gd name="connsiteX42" fmla="*/ 38285 w 67167"/>
                <a:gd name="connsiteY42" fmla="*/ 52000 h 102989"/>
                <a:gd name="connsiteX43" fmla="*/ 18583 w 67167"/>
                <a:gd name="connsiteY43" fmla="*/ 20655 h 102989"/>
                <a:gd name="connsiteX44" fmla="*/ 18583 w 67167"/>
                <a:gd name="connsiteY44" fmla="*/ 20207 h 102989"/>
                <a:gd name="connsiteX45" fmla="*/ 43211 w 67167"/>
                <a:gd name="connsiteY45" fmla="*/ 4983 h 102989"/>
                <a:gd name="connsiteX46" fmla="*/ 43211 w 67167"/>
                <a:gd name="connsiteY46" fmla="*/ 4983 h 102989"/>
                <a:gd name="connsiteX47" fmla="*/ 44106 w 67167"/>
                <a:gd name="connsiteY47" fmla="*/ 5431 h 102989"/>
                <a:gd name="connsiteX48" fmla="*/ 61570 w 67167"/>
                <a:gd name="connsiteY48" fmla="*/ 33641 h 102989"/>
                <a:gd name="connsiteX49" fmla="*/ 65152 w 67167"/>
                <a:gd name="connsiteY49" fmla="*/ 43492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7167" h="102989">
                  <a:moveTo>
                    <a:pt x="66048" y="30954"/>
                  </a:moveTo>
                  <a:cubicBezTo>
                    <a:pt x="62913" y="25581"/>
                    <a:pt x="51719" y="7670"/>
                    <a:pt x="48136" y="2296"/>
                  </a:cubicBezTo>
                  <a:cubicBezTo>
                    <a:pt x="46793" y="57"/>
                    <a:pt x="43659" y="-838"/>
                    <a:pt x="41420" y="953"/>
                  </a:cubicBezTo>
                  <a:lnTo>
                    <a:pt x="16792" y="16177"/>
                  </a:lnTo>
                  <a:cubicBezTo>
                    <a:pt x="15896" y="16625"/>
                    <a:pt x="15448" y="17073"/>
                    <a:pt x="15001" y="17969"/>
                  </a:cubicBezTo>
                  <a:cubicBezTo>
                    <a:pt x="15001" y="18416"/>
                    <a:pt x="14553" y="18864"/>
                    <a:pt x="14553" y="19312"/>
                  </a:cubicBezTo>
                  <a:cubicBezTo>
                    <a:pt x="14105" y="20655"/>
                    <a:pt x="14553" y="21998"/>
                    <a:pt x="15001" y="22894"/>
                  </a:cubicBezTo>
                  <a:lnTo>
                    <a:pt x="31121" y="48418"/>
                  </a:lnTo>
                  <a:lnTo>
                    <a:pt x="24852" y="49313"/>
                  </a:lnTo>
                  <a:lnTo>
                    <a:pt x="24852" y="42597"/>
                  </a:lnTo>
                  <a:cubicBezTo>
                    <a:pt x="24852" y="40358"/>
                    <a:pt x="23061" y="38566"/>
                    <a:pt x="21270" y="37671"/>
                  </a:cubicBezTo>
                  <a:cubicBezTo>
                    <a:pt x="19031" y="37223"/>
                    <a:pt x="16792" y="38119"/>
                    <a:pt x="15896" y="40358"/>
                  </a:cubicBezTo>
                  <a:lnTo>
                    <a:pt x="672" y="69015"/>
                  </a:lnTo>
                  <a:cubicBezTo>
                    <a:pt x="-224" y="70359"/>
                    <a:pt x="-224" y="72598"/>
                    <a:pt x="672" y="73941"/>
                  </a:cubicBezTo>
                  <a:lnTo>
                    <a:pt x="17687" y="101256"/>
                  </a:lnTo>
                  <a:cubicBezTo>
                    <a:pt x="18583" y="102599"/>
                    <a:pt x="20374" y="103495"/>
                    <a:pt x="21717" y="103495"/>
                  </a:cubicBezTo>
                  <a:cubicBezTo>
                    <a:pt x="22165" y="103495"/>
                    <a:pt x="22613" y="103495"/>
                    <a:pt x="23061" y="103495"/>
                  </a:cubicBezTo>
                  <a:cubicBezTo>
                    <a:pt x="25300" y="103047"/>
                    <a:pt x="26643" y="100808"/>
                    <a:pt x="26643" y="98569"/>
                  </a:cubicBezTo>
                  <a:lnTo>
                    <a:pt x="26195" y="91405"/>
                  </a:lnTo>
                  <a:lnTo>
                    <a:pt x="32464" y="91405"/>
                  </a:lnTo>
                  <a:cubicBezTo>
                    <a:pt x="39629" y="90957"/>
                    <a:pt x="45898" y="87375"/>
                    <a:pt x="49928" y="80658"/>
                  </a:cubicBezTo>
                  <a:lnTo>
                    <a:pt x="68734" y="45283"/>
                  </a:lnTo>
                  <a:cubicBezTo>
                    <a:pt x="70526" y="41253"/>
                    <a:pt x="69630" y="36775"/>
                    <a:pt x="66048" y="30954"/>
                  </a:cubicBezTo>
                  <a:close/>
                  <a:moveTo>
                    <a:pt x="46345" y="78419"/>
                  </a:moveTo>
                  <a:cubicBezTo>
                    <a:pt x="43211" y="83793"/>
                    <a:pt x="37838" y="86927"/>
                    <a:pt x="32464" y="86927"/>
                  </a:cubicBezTo>
                  <a:lnTo>
                    <a:pt x="21717" y="87375"/>
                  </a:lnTo>
                  <a:lnTo>
                    <a:pt x="22165" y="99017"/>
                  </a:lnTo>
                  <a:cubicBezTo>
                    <a:pt x="22165" y="99017"/>
                    <a:pt x="22165" y="99465"/>
                    <a:pt x="21717" y="99465"/>
                  </a:cubicBezTo>
                  <a:cubicBezTo>
                    <a:pt x="21717" y="99465"/>
                    <a:pt x="21270" y="99465"/>
                    <a:pt x="21270" y="99465"/>
                  </a:cubicBezTo>
                  <a:lnTo>
                    <a:pt x="4254" y="72150"/>
                  </a:lnTo>
                  <a:cubicBezTo>
                    <a:pt x="4254" y="72150"/>
                    <a:pt x="4254" y="71702"/>
                    <a:pt x="4254" y="71702"/>
                  </a:cubicBezTo>
                  <a:lnTo>
                    <a:pt x="19478" y="43044"/>
                  </a:lnTo>
                  <a:cubicBezTo>
                    <a:pt x="19478" y="43044"/>
                    <a:pt x="19926" y="42597"/>
                    <a:pt x="19926" y="42597"/>
                  </a:cubicBezTo>
                  <a:cubicBezTo>
                    <a:pt x="19926" y="42597"/>
                    <a:pt x="19926" y="42597"/>
                    <a:pt x="19926" y="42597"/>
                  </a:cubicBezTo>
                  <a:cubicBezTo>
                    <a:pt x="19926" y="42597"/>
                    <a:pt x="20374" y="43044"/>
                    <a:pt x="20374" y="43044"/>
                  </a:cubicBezTo>
                  <a:lnTo>
                    <a:pt x="20822" y="54687"/>
                  </a:lnTo>
                  <a:lnTo>
                    <a:pt x="33807" y="52448"/>
                  </a:lnTo>
                  <a:lnTo>
                    <a:pt x="48136" y="75285"/>
                  </a:lnTo>
                  <a:lnTo>
                    <a:pt x="46345" y="78419"/>
                  </a:lnTo>
                  <a:close/>
                  <a:moveTo>
                    <a:pt x="65152" y="43492"/>
                  </a:moveTo>
                  <a:lnTo>
                    <a:pt x="50375" y="71254"/>
                  </a:lnTo>
                  <a:lnTo>
                    <a:pt x="38285" y="52000"/>
                  </a:lnTo>
                  <a:lnTo>
                    <a:pt x="38285" y="52000"/>
                  </a:lnTo>
                  <a:lnTo>
                    <a:pt x="18583" y="20655"/>
                  </a:lnTo>
                  <a:lnTo>
                    <a:pt x="18583" y="20207"/>
                  </a:lnTo>
                  <a:lnTo>
                    <a:pt x="43211" y="4983"/>
                  </a:lnTo>
                  <a:lnTo>
                    <a:pt x="43211" y="4983"/>
                  </a:lnTo>
                  <a:cubicBezTo>
                    <a:pt x="43211" y="4983"/>
                    <a:pt x="43659" y="4983"/>
                    <a:pt x="44106" y="5431"/>
                  </a:cubicBezTo>
                  <a:cubicBezTo>
                    <a:pt x="47689" y="10804"/>
                    <a:pt x="58883" y="28715"/>
                    <a:pt x="61570" y="33641"/>
                  </a:cubicBezTo>
                  <a:cubicBezTo>
                    <a:pt x="65152" y="37671"/>
                    <a:pt x="66048" y="41253"/>
                    <a:pt x="65152" y="43492"/>
                  </a:cubicBezTo>
                  <a:close/>
                </a:path>
              </a:pathLst>
            </a:custGeom>
            <a:solidFill>
              <a:srgbClr val="231F20"/>
            </a:solidFill>
            <a:ln w="4474" cap="flat">
              <a:noFill/>
              <a:prstDash val="solid"/>
              <a:miter/>
            </a:ln>
          </p:spPr>
          <p:txBody>
            <a:bodyPr rtlCol="0" anchor="ctr"/>
            <a:lstStyle/>
            <a:p>
              <a:endParaRPr lang="en-US"/>
            </a:p>
          </p:txBody>
        </p:sp>
      </p:grpSp>
      <p:sp>
        <p:nvSpPr>
          <p:cNvPr id="4525" name="Freeform: Shape 4524">
            <a:extLst>
              <a:ext uri="{FF2B5EF4-FFF2-40B4-BE49-F238E27FC236}">
                <a16:creationId xmlns:a16="http://schemas.microsoft.com/office/drawing/2014/main" id="{E5249027-E36E-4E69-9A8E-16E27057B229}"/>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grpSp>
        <p:nvGrpSpPr>
          <p:cNvPr id="4526" name="Group 4525">
            <a:extLst>
              <a:ext uri="{FF2B5EF4-FFF2-40B4-BE49-F238E27FC236}">
                <a16:creationId xmlns:a16="http://schemas.microsoft.com/office/drawing/2014/main" id="{445934DC-64AF-4DAC-A107-9C12D5B9162E}"/>
              </a:ext>
              <a:ext uri="{C183D7F6-B498-43B3-948B-1728B52AA6E4}">
                <adec:decorative xmlns:adec="http://schemas.microsoft.com/office/drawing/2017/decorative" val="1"/>
              </a:ext>
            </a:extLst>
          </p:cNvPr>
          <p:cNvGrpSpPr>
            <a:grpSpLocks noChangeAspect="1"/>
          </p:cNvGrpSpPr>
          <p:nvPr/>
        </p:nvGrpSpPr>
        <p:grpSpPr>
          <a:xfrm>
            <a:off x="5008130" y="5222896"/>
            <a:ext cx="152246" cy="152246"/>
            <a:chOff x="5059451" y="4491784"/>
            <a:chExt cx="152246" cy="152246"/>
          </a:xfrm>
        </p:grpSpPr>
        <p:sp>
          <p:nvSpPr>
            <p:cNvPr id="4527" name="Freeform: Shape 4526">
              <a:extLst>
                <a:ext uri="{FF2B5EF4-FFF2-40B4-BE49-F238E27FC236}">
                  <a16:creationId xmlns:a16="http://schemas.microsoft.com/office/drawing/2014/main" id="{D322448A-FE59-40F4-8D98-CD0701D97C97}"/>
                </a:ext>
              </a:extLst>
            </p:cNvPr>
            <p:cNvSpPr/>
            <p:nvPr/>
          </p:nvSpPr>
          <p:spPr>
            <a:xfrm>
              <a:off x="5059451" y="4491784"/>
              <a:ext cx="152246" cy="152246"/>
            </a:xfrm>
            <a:custGeom>
              <a:avLst/>
              <a:gdLst>
                <a:gd name="connsiteX0" fmla="*/ 151798 w 152245"/>
                <a:gd name="connsiteY0" fmla="*/ 148216 h 152245"/>
                <a:gd name="connsiteX1" fmla="*/ 97169 w 152245"/>
                <a:gd name="connsiteY1" fmla="*/ 93586 h 152245"/>
                <a:gd name="connsiteX2" fmla="*/ 111945 w 152245"/>
                <a:gd name="connsiteY2" fmla="*/ 55973 h 152245"/>
                <a:gd name="connsiteX3" fmla="*/ 55973 w 152245"/>
                <a:gd name="connsiteY3" fmla="*/ 0 h 152245"/>
                <a:gd name="connsiteX4" fmla="*/ 0 w 152245"/>
                <a:gd name="connsiteY4" fmla="*/ 55973 h 152245"/>
                <a:gd name="connsiteX5" fmla="*/ 55973 w 152245"/>
                <a:gd name="connsiteY5" fmla="*/ 111945 h 152245"/>
                <a:gd name="connsiteX6" fmla="*/ 94034 w 152245"/>
                <a:gd name="connsiteY6" fmla="*/ 97169 h 152245"/>
                <a:gd name="connsiteX7" fmla="*/ 148663 w 152245"/>
                <a:gd name="connsiteY7" fmla="*/ 151798 h 152245"/>
                <a:gd name="connsiteX8" fmla="*/ 150455 w 152245"/>
                <a:gd name="connsiteY8" fmla="*/ 152246 h 152245"/>
                <a:gd name="connsiteX9" fmla="*/ 152246 w 152245"/>
                <a:gd name="connsiteY9" fmla="*/ 151798 h 152245"/>
                <a:gd name="connsiteX10" fmla="*/ 151798 w 152245"/>
                <a:gd name="connsiteY10" fmla="*/ 148216 h 152245"/>
                <a:gd name="connsiteX11" fmla="*/ 4925 w 152245"/>
                <a:gd name="connsiteY11" fmla="*/ 55973 h 152245"/>
                <a:gd name="connsiteX12" fmla="*/ 56420 w 152245"/>
                <a:gd name="connsiteY12" fmla="*/ 4478 h 152245"/>
                <a:gd name="connsiteX13" fmla="*/ 107915 w 152245"/>
                <a:gd name="connsiteY13" fmla="*/ 55973 h 152245"/>
                <a:gd name="connsiteX14" fmla="*/ 56420 w 152245"/>
                <a:gd name="connsiteY14" fmla="*/ 107468 h 152245"/>
                <a:gd name="connsiteX15" fmla="*/ 4925 w 152245"/>
                <a:gd name="connsiteY15" fmla="*/ 55973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245" h="152245">
                  <a:moveTo>
                    <a:pt x="151798" y="148216"/>
                  </a:moveTo>
                  <a:lnTo>
                    <a:pt x="97169" y="93586"/>
                  </a:lnTo>
                  <a:cubicBezTo>
                    <a:pt x="106572" y="83735"/>
                    <a:pt x="111945" y="70302"/>
                    <a:pt x="111945" y="55973"/>
                  </a:cubicBezTo>
                  <a:cubicBezTo>
                    <a:pt x="111945" y="25076"/>
                    <a:pt x="86870" y="0"/>
                    <a:pt x="55973" y="0"/>
                  </a:cubicBezTo>
                  <a:cubicBezTo>
                    <a:pt x="25076" y="0"/>
                    <a:pt x="0" y="25076"/>
                    <a:pt x="0" y="55973"/>
                  </a:cubicBezTo>
                  <a:cubicBezTo>
                    <a:pt x="0" y="86870"/>
                    <a:pt x="25076" y="111945"/>
                    <a:pt x="55973" y="111945"/>
                  </a:cubicBezTo>
                  <a:cubicBezTo>
                    <a:pt x="70749" y="111945"/>
                    <a:pt x="83735" y="106124"/>
                    <a:pt x="94034" y="97169"/>
                  </a:cubicBezTo>
                  <a:lnTo>
                    <a:pt x="148663" y="151798"/>
                  </a:lnTo>
                  <a:cubicBezTo>
                    <a:pt x="149112" y="152246"/>
                    <a:pt x="149559" y="152246"/>
                    <a:pt x="150455" y="152246"/>
                  </a:cubicBezTo>
                  <a:cubicBezTo>
                    <a:pt x="151350" y="152246"/>
                    <a:pt x="151798" y="152246"/>
                    <a:pt x="152246" y="151798"/>
                  </a:cubicBezTo>
                  <a:cubicBezTo>
                    <a:pt x="152693" y="150455"/>
                    <a:pt x="152693" y="149112"/>
                    <a:pt x="151798" y="148216"/>
                  </a:cubicBezTo>
                  <a:close/>
                  <a:moveTo>
                    <a:pt x="4925" y="55973"/>
                  </a:moveTo>
                  <a:cubicBezTo>
                    <a:pt x="4925" y="27763"/>
                    <a:pt x="28210" y="4478"/>
                    <a:pt x="56420" y="4478"/>
                  </a:cubicBezTo>
                  <a:cubicBezTo>
                    <a:pt x="84631" y="4478"/>
                    <a:pt x="107915" y="27763"/>
                    <a:pt x="107915" y="55973"/>
                  </a:cubicBezTo>
                  <a:cubicBezTo>
                    <a:pt x="107915" y="84183"/>
                    <a:pt x="84631" y="107468"/>
                    <a:pt x="56420" y="107468"/>
                  </a:cubicBezTo>
                  <a:cubicBezTo>
                    <a:pt x="27763" y="107020"/>
                    <a:pt x="4925" y="84183"/>
                    <a:pt x="4925" y="55973"/>
                  </a:cubicBezTo>
                  <a:close/>
                </a:path>
              </a:pathLst>
            </a:custGeom>
            <a:solidFill>
              <a:srgbClr val="231F20"/>
            </a:solidFill>
            <a:ln w="4474" cap="flat">
              <a:noFill/>
              <a:prstDash val="solid"/>
              <a:miter/>
            </a:ln>
          </p:spPr>
          <p:txBody>
            <a:bodyPr rtlCol="0" anchor="ctr"/>
            <a:lstStyle/>
            <a:p>
              <a:endParaRPr lang="en-US"/>
            </a:p>
          </p:txBody>
        </p:sp>
        <p:sp>
          <p:nvSpPr>
            <p:cNvPr id="4528" name="Freeform: Shape 4527">
              <a:extLst>
                <a:ext uri="{FF2B5EF4-FFF2-40B4-BE49-F238E27FC236}">
                  <a16:creationId xmlns:a16="http://schemas.microsoft.com/office/drawing/2014/main" id="{042BFE25-D746-4F77-8EA3-EA8E0252854B}"/>
                </a:ext>
              </a:extLst>
            </p:cNvPr>
            <p:cNvSpPr/>
            <p:nvPr/>
          </p:nvSpPr>
          <p:spPr>
            <a:xfrm>
              <a:off x="5080944" y="4545518"/>
              <a:ext cx="67167" cy="4478"/>
            </a:xfrm>
            <a:custGeom>
              <a:avLst/>
              <a:gdLst>
                <a:gd name="connsiteX0" fmla="*/ 66720 w 67167"/>
                <a:gd name="connsiteY0" fmla="*/ 4478 h 4477"/>
                <a:gd name="connsiteX1" fmla="*/ 2239 w 67167"/>
                <a:gd name="connsiteY1" fmla="*/ 4478 h 4477"/>
                <a:gd name="connsiteX2" fmla="*/ 0 w 67167"/>
                <a:gd name="connsiteY2" fmla="*/ 2239 h 4477"/>
                <a:gd name="connsiteX3" fmla="*/ 2239 w 67167"/>
                <a:gd name="connsiteY3" fmla="*/ 0 h 4477"/>
                <a:gd name="connsiteX4" fmla="*/ 66720 w 67167"/>
                <a:gd name="connsiteY4" fmla="*/ 0 h 4477"/>
                <a:gd name="connsiteX5" fmla="*/ 68959 w 67167"/>
                <a:gd name="connsiteY5" fmla="*/ 2239 h 4477"/>
                <a:gd name="connsiteX6" fmla="*/ 66720 w 67167"/>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67" h="4477">
                  <a:moveTo>
                    <a:pt x="66720" y="4478"/>
                  </a:moveTo>
                  <a:lnTo>
                    <a:pt x="2239" y="4478"/>
                  </a:lnTo>
                  <a:cubicBezTo>
                    <a:pt x="896" y="4478"/>
                    <a:pt x="0" y="3582"/>
                    <a:pt x="0" y="2239"/>
                  </a:cubicBezTo>
                  <a:cubicBezTo>
                    <a:pt x="0" y="896"/>
                    <a:pt x="896" y="0"/>
                    <a:pt x="2239" y="0"/>
                  </a:cubicBezTo>
                  <a:lnTo>
                    <a:pt x="66720" y="0"/>
                  </a:lnTo>
                  <a:cubicBezTo>
                    <a:pt x="68063" y="0"/>
                    <a:pt x="68959" y="896"/>
                    <a:pt x="68959" y="2239"/>
                  </a:cubicBezTo>
                  <a:cubicBezTo>
                    <a:pt x="68959" y="3582"/>
                    <a:pt x="68063" y="4478"/>
                    <a:pt x="66720" y="4478"/>
                  </a:cubicBezTo>
                  <a:close/>
                </a:path>
              </a:pathLst>
            </a:custGeom>
            <a:solidFill>
              <a:srgbClr val="231F20"/>
            </a:solidFill>
            <a:ln w="4474" cap="flat">
              <a:noFill/>
              <a:prstDash val="solid"/>
              <a:miter/>
            </a:ln>
          </p:spPr>
          <p:txBody>
            <a:bodyPr rtlCol="0" anchor="ctr"/>
            <a:lstStyle/>
            <a:p>
              <a:endParaRPr lang="en-US"/>
            </a:p>
          </p:txBody>
        </p:sp>
      </p:grpSp>
      <p:grpSp>
        <p:nvGrpSpPr>
          <p:cNvPr id="4529" name="Group 4528">
            <a:extLst>
              <a:ext uri="{FF2B5EF4-FFF2-40B4-BE49-F238E27FC236}">
                <a16:creationId xmlns:a16="http://schemas.microsoft.com/office/drawing/2014/main" id="{EEE00557-9104-46F5-8C99-B91BE93E9D65}"/>
              </a:ext>
              <a:ext uri="{C183D7F6-B498-43B3-948B-1728B52AA6E4}">
                <adec:decorative xmlns:adec="http://schemas.microsoft.com/office/drawing/2017/decorative" val="1"/>
              </a:ext>
            </a:extLst>
          </p:cNvPr>
          <p:cNvGrpSpPr>
            <a:grpSpLocks noChangeAspect="1"/>
          </p:cNvGrpSpPr>
          <p:nvPr/>
        </p:nvGrpSpPr>
        <p:grpSpPr>
          <a:xfrm>
            <a:off x="1606779" y="5575748"/>
            <a:ext cx="125379" cy="147768"/>
            <a:chOff x="1658100" y="4844636"/>
            <a:chExt cx="125379" cy="147768"/>
          </a:xfrm>
        </p:grpSpPr>
        <p:sp>
          <p:nvSpPr>
            <p:cNvPr id="4530" name="Freeform: Shape 4529">
              <a:extLst>
                <a:ext uri="{FF2B5EF4-FFF2-40B4-BE49-F238E27FC236}">
                  <a16:creationId xmlns:a16="http://schemas.microsoft.com/office/drawing/2014/main" id="{3062B2CA-5B26-4B12-AFB8-83ECEC70D488}"/>
                </a:ext>
              </a:extLst>
            </p:cNvPr>
            <p:cNvSpPr/>
            <p:nvPr/>
          </p:nvSpPr>
          <p:spPr>
            <a:xfrm>
              <a:off x="1658100" y="4880459"/>
              <a:ext cx="125379" cy="111945"/>
            </a:xfrm>
            <a:custGeom>
              <a:avLst/>
              <a:gdLst>
                <a:gd name="connsiteX0" fmla="*/ 123140 w 125378"/>
                <a:gd name="connsiteY0" fmla="*/ 0 h 111945"/>
                <a:gd name="connsiteX1" fmla="*/ 96273 w 125378"/>
                <a:gd name="connsiteY1" fmla="*/ 0 h 111945"/>
                <a:gd name="connsiteX2" fmla="*/ 94034 w 125378"/>
                <a:gd name="connsiteY2" fmla="*/ 2239 h 111945"/>
                <a:gd name="connsiteX3" fmla="*/ 94034 w 125378"/>
                <a:gd name="connsiteY3" fmla="*/ 49256 h 111945"/>
                <a:gd name="connsiteX4" fmla="*/ 62689 w 125378"/>
                <a:gd name="connsiteY4" fmla="*/ 80601 h 111945"/>
                <a:gd name="connsiteX5" fmla="*/ 31345 w 125378"/>
                <a:gd name="connsiteY5" fmla="*/ 49256 h 111945"/>
                <a:gd name="connsiteX6" fmla="*/ 31345 w 125378"/>
                <a:gd name="connsiteY6" fmla="*/ 2239 h 111945"/>
                <a:gd name="connsiteX7" fmla="*/ 29106 w 125378"/>
                <a:gd name="connsiteY7" fmla="*/ 0 h 111945"/>
                <a:gd name="connsiteX8" fmla="*/ 2239 w 125378"/>
                <a:gd name="connsiteY8" fmla="*/ 0 h 111945"/>
                <a:gd name="connsiteX9" fmla="*/ 0 w 125378"/>
                <a:gd name="connsiteY9" fmla="*/ 2239 h 111945"/>
                <a:gd name="connsiteX10" fmla="*/ 0 w 125378"/>
                <a:gd name="connsiteY10" fmla="*/ 49256 h 111945"/>
                <a:gd name="connsiteX11" fmla="*/ 62689 w 125378"/>
                <a:gd name="connsiteY11" fmla="*/ 111945 h 111945"/>
                <a:gd name="connsiteX12" fmla="*/ 125379 w 125378"/>
                <a:gd name="connsiteY12" fmla="*/ 49256 h 111945"/>
                <a:gd name="connsiteX13" fmla="*/ 125379 w 125378"/>
                <a:gd name="connsiteY13" fmla="*/ 2239 h 111945"/>
                <a:gd name="connsiteX14" fmla="*/ 123140 w 125378"/>
                <a:gd name="connsiteY14" fmla="*/ 0 h 111945"/>
                <a:gd name="connsiteX15" fmla="*/ 120901 w 125378"/>
                <a:gd name="connsiteY15" fmla="*/ 4478 h 111945"/>
                <a:gd name="connsiteX16" fmla="*/ 120901 w 125378"/>
                <a:gd name="connsiteY16" fmla="*/ 26867 h 111945"/>
                <a:gd name="connsiteX17" fmla="*/ 98512 w 125378"/>
                <a:gd name="connsiteY17" fmla="*/ 26867 h 111945"/>
                <a:gd name="connsiteX18" fmla="*/ 98512 w 125378"/>
                <a:gd name="connsiteY18" fmla="*/ 4478 h 111945"/>
                <a:gd name="connsiteX19" fmla="*/ 120901 w 125378"/>
                <a:gd name="connsiteY19" fmla="*/ 4478 h 111945"/>
                <a:gd name="connsiteX20" fmla="*/ 26867 w 125378"/>
                <a:gd name="connsiteY20" fmla="*/ 4478 h 111945"/>
                <a:gd name="connsiteX21" fmla="*/ 26867 w 125378"/>
                <a:gd name="connsiteY21" fmla="*/ 26867 h 111945"/>
                <a:gd name="connsiteX22" fmla="*/ 4478 w 125378"/>
                <a:gd name="connsiteY22" fmla="*/ 26867 h 111945"/>
                <a:gd name="connsiteX23" fmla="*/ 4478 w 125378"/>
                <a:gd name="connsiteY23" fmla="*/ 4478 h 111945"/>
                <a:gd name="connsiteX24" fmla="*/ 26867 w 125378"/>
                <a:gd name="connsiteY24" fmla="*/ 4478 h 111945"/>
                <a:gd name="connsiteX25" fmla="*/ 62689 w 125378"/>
                <a:gd name="connsiteY25" fmla="*/ 107468 h 111945"/>
                <a:gd name="connsiteX26" fmla="*/ 4478 w 125378"/>
                <a:gd name="connsiteY26" fmla="*/ 49256 h 111945"/>
                <a:gd name="connsiteX27" fmla="*/ 4478 w 125378"/>
                <a:gd name="connsiteY27" fmla="*/ 31345 h 111945"/>
                <a:gd name="connsiteX28" fmla="*/ 26867 w 125378"/>
                <a:gd name="connsiteY28" fmla="*/ 31345 h 111945"/>
                <a:gd name="connsiteX29" fmla="*/ 26867 w 125378"/>
                <a:gd name="connsiteY29" fmla="*/ 49256 h 111945"/>
                <a:gd name="connsiteX30" fmla="*/ 62689 w 125378"/>
                <a:gd name="connsiteY30" fmla="*/ 85079 h 111945"/>
                <a:gd name="connsiteX31" fmla="*/ 98512 w 125378"/>
                <a:gd name="connsiteY31" fmla="*/ 49256 h 111945"/>
                <a:gd name="connsiteX32" fmla="*/ 98512 w 125378"/>
                <a:gd name="connsiteY32" fmla="*/ 31345 h 111945"/>
                <a:gd name="connsiteX33" fmla="*/ 120901 w 125378"/>
                <a:gd name="connsiteY33" fmla="*/ 31345 h 111945"/>
                <a:gd name="connsiteX34" fmla="*/ 120901 w 125378"/>
                <a:gd name="connsiteY34" fmla="*/ 49256 h 111945"/>
                <a:gd name="connsiteX35" fmla="*/ 62689 w 125378"/>
                <a:gd name="connsiteY35" fmla="*/ 10746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5378" h="111945">
                  <a:moveTo>
                    <a:pt x="123140" y="0"/>
                  </a:moveTo>
                  <a:lnTo>
                    <a:pt x="96273" y="0"/>
                  </a:lnTo>
                  <a:cubicBezTo>
                    <a:pt x="94930" y="0"/>
                    <a:pt x="94034" y="895"/>
                    <a:pt x="94034" y="2239"/>
                  </a:cubicBezTo>
                  <a:lnTo>
                    <a:pt x="94034" y="49256"/>
                  </a:lnTo>
                  <a:cubicBezTo>
                    <a:pt x="94034" y="66719"/>
                    <a:pt x="80153" y="80601"/>
                    <a:pt x="62689" y="80601"/>
                  </a:cubicBezTo>
                  <a:cubicBezTo>
                    <a:pt x="45226" y="80601"/>
                    <a:pt x="31345" y="66719"/>
                    <a:pt x="31345" y="49256"/>
                  </a:cubicBezTo>
                  <a:lnTo>
                    <a:pt x="31345" y="2239"/>
                  </a:lnTo>
                  <a:cubicBezTo>
                    <a:pt x="31345" y="895"/>
                    <a:pt x="30449" y="0"/>
                    <a:pt x="29106" y="0"/>
                  </a:cubicBezTo>
                  <a:lnTo>
                    <a:pt x="2239" y="0"/>
                  </a:lnTo>
                  <a:cubicBezTo>
                    <a:pt x="896" y="0"/>
                    <a:pt x="0" y="895"/>
                    <a:pt x="0" y="2239"/>
                  </a:cubicBezTo>
                  <a:lnTo>
                    <a:pt x="0" y="49256"/>
                  </a:lnTo>
                  <a:cubicBezTo>
                    <a:pt x="0" y="83735"/>
                    <a:pt x="28210" y="111945"/>
                    <a:pt x="62689" y="111945"/>
                  </a:cubicBezTo>
                  <a:cubicBezTo>
                    <a:pt x="97169" y="111945"/>
                    <a:pt x="125379" y="83735"/>
                    <a:pt x="125379" y="49256"/>
                  </a:cubicBezTo>
                  <a:lnTo>
                    <a:pt x="125379" y="2239"/>
                  </a:lnTo>
                  <a:cubicBezTo>
                    <a:pt x="125379" y="1343"/>
                    <a:pt x="124483" y="0"/>
                    <a:pt x="123140" y="0"/>
                  </a:cubicBezTo>
                  <a:close/>
                  <a:moveTo>
                    <a:pt x="120901" y="4478"/>
                  </a:moveTo>
                  <a:lnTo>
                    <a:pt x="120901" y="26867"/>
                  </a:lnTo>
                  <a:lnTo>
                    <a:pt x="98512" y="26867"/>
                  </a:lnTo>
                  <a:lnTo>
                    <a:pt x="98512" y="4478"/>
                  </a:lnTo>
                  <a:lnTo>
                    <a:pt x="120901" y="4478"/>
                  </a:lnTo>
                  <a:close/>
                  <a:moveTo>
                    <a:pt x="26867" y="4478"/>
                  </a:moveTo>
                  <a:lnTo>
                    <a:pt x="26867" y="26867"/>
                  </a:lnTo>
                  <a:lnTo>
                    <a:pt x="4478" y="26867"/>
                  </a:lnTo>
                  <a:lnTo>
                    <a:pt x="4478" y="4478"/>
                  </a:lnTo>
                  <a:lnTo>
                    <a:pt x="26867" y="4478"/>
                  </a:lnTo>
                  <a:close/>
                  <a:moveTo>
                    <a:pt x="62689" y="107468"/>
                  </a:moveTo>
                  <a:cubicBezTo>
                    <a:pt x="30449" y="107468"/>
                    <a:pt x="4478" y="81496"/>
                    <a:pt x="4478" y="49256"/>
                  </a:cubicBezTo>
                  <a:lnTo>
                    <a:pt x="4478" y="31345"/>
                  </a:lnTo>
                  <a:lnTo>
                    <a:pt x="26867" y="31345"/>
                  </a:lnTo>
                  <a:lnTo>
                    <a:pt x="26867" y="49256"/>
                  </a:lnTo>
                  <a:cubicBezTo>
                    <a:pt x="26867" y="68958"/>
                    <a:pt x="42987" y="85079"/>
                    <a:pt x="62689" y="85079"/>
                  </a:cubicBezTo>
                  <a:cubicBezTo>
                    <a:pt x="82392" y="85079"/>
                    <a:pt x="98512" y="68958"/>
                    <a:pt x="98512" y="49256"/>
                  </a:cubicBezTo>
                  <a:lnTo>
                    <a:pt x="98512" y="31345"/>
                  </a:lnTo>
                  <a:lnTo>
                    <a:pt x="120901" y="31345"/>
                  </a:lnTo>
                  <a:lnTo>
                    <a:pt x="120901" y="49256"/>
                  </a:lnTo>
                  <a:cubicBezTo>
                    <a:pt x="120901" y="81496"/>
                    <a:pt x="94930" y="107468"/>
                    <a:pt x="62689" y="107468"/>
                  </a:cubicBezTo>
                  <a:close/>
                </a:path>
              </a:pathLst>
            </a:custGeom>
            <a:solidFill>
              <a:srgbClr val="231F20"/>
            </a:solidFill>
            <a:ln w="4474" cap="flat">
              <a:noFill/>
              <a:prstDash val="solid"/>
              <a:miter/>
            </a:ln>
          </p:spPr>
          <p:txBody>
            <a:bodyPr rtlCol="0" anchor="ctr"/>
            <a:lstStyle/>
            <a:p>
              <a:endParaRPr lang="en-US"/>
            </a:p>
          </p:txBody>
        </p:sp>
        <p:sp>
          <p:nvSpPr>
            <p:cNvPr id="4531" name="Freeform: Shape 4530">
              <a:extLst>
                <a:ext uri="{FF2B5EF4-FFF2-40B4-BE49-F238E27FC236}">
                  <a16:creationId xmlns:a16="http://schemas.microsoft.com/office/drawing/2014/main" id="{764129B7-85B9-48F7-9017-34FA414F50B7}"/>
                </a:ext>
              </a:extLst>
            </p:cNvPr>
            <p:cNvSpPr/>
            <p:nvPr/>
          </p:nvSpPr>
          <p:spPr>
            <a:xfrm>
              <a:off x="1658100"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2" name="Freeform: Shape 4531">
              <a:extLst>
                <a:ext uri="{FF2B5EF4-FFF2-40B4-BE49-F238E27FC236}">
                  <a16:creationId xmlns:a16="http://schemas.microsoft.com/office/drawing/2014/main" id="{CDE63ABF-FA46-4985-8AEC-22E39C604E71}"/>
                </a:ext>
              </a:extLst>
            </p:cNvPr>
            <p:cNvSpPr/>
            <p:nvPr/>
          </p:nvSpPr>
          <p:spPr>
            <a:xfrm>
              <a:off x="1658100"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3" name="Freeform: Shape 4532">
              <a:extLst>
                <a:ext uri="{FF2B5EF4-FFF2-40B4-BE49-F238E27FC236}">
                  <a16:creationId xmlns:a16="http://schemas.microsoft.com/office/drawing/2014/main" id="{37655CB8-E86C-435E-B00E-B9942E27C885}"/>
                </a:ext>
              </a:extLst>
            </p:cNvPr>
            <p:cNvSpPr/>
            <p:nvPr/>
          </p:nvSpPr>
          <p:spPr>
            <a:xfrm>
              <a:off x="1658100"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4" name="Freeform: Shape 4533">
              <a:extLst>
                <a:ext uri="{FF2B5EF4-FFF2-40B4-BE49-F238E27FC236}">
                  <a16:creationId xmlns:a16="http://schemas.microsoft.com/office/drawing/2014/main" id="{34F256C2-9407-478A-B923-6FDABA139643}"/>
                </a:ext>
              </a:extLst>
            </p:cNvPr>
            <p:cNvSpPr/>
            <p:nvPr/>
          </p:nvSpPr>
          <p:spPr>
            <a:xfrm>
              <a:off x="1671534"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5" name="Freeform: Shape 4534">
              <a:extLst>
                <a:ext uri="{FF2B5EF4-FFF2-40B4-BE49-F238E27FC236}">
                  <a16:creationId xmlns:a16="http://schemas.microsoft.com/office/drawing/2014/main" id="{78233BF7-FB1B-46B1-9494-DC394F54A91A}"/>
                </a:ext>
              </a:extLst>
            </p:cNvPr>
            <p:cNvSpPr/>
            <p:nvPr/>
          </p:nvSpPr>
          <p:spPr>
            <a:xfrm>
              <a:off x="1671534"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6" name="Freeform: Shape 4535">
              <a:extLst>
                <a:ext uri="{FF2B5EF4-FFF2-40B4-BE49-F238E27FC236}">
                  <a16:creationId xmlns:a16="http://schemas.microsoft.com/office/drawing/2014/main" id="{E13EBF17-0785-409A-BE1C-F849C71BB9EC}"/>
                </a:ext>
              </a:extLst>
            </p:cNvPr>
            <p:cNvSpPr/>
            <p:nvPr/>
          </p:nvSpPr>
          <p:spPr>
            <a:xfrm>
              <a:off x="1671534"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7" name="Freeform: Shape 4536">
              <a:extLst>
                <a:ext uri="{FF2B5EF4-FFF2-40B4-BE49-F238E27FC236}">
                  <a16:creationId xmlns:a16="http://schemas.microsoft.com/office/drawing/2014/main" id="{EC2EE84C-E140-4CB0-81CC-01149646731B}"/>
                </a:ext>
              </a:extLst>
            </p:cNvPr>
            <p:cNvSpPr/>
            <p:nvPr/>
          </p:nvSpPr>
          <p:spPr>
            <a:xfrm>
              <a:off x="1684967"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8" name="Freeform: Shape 4537">
              <a:extLst>
                <a:ext uri="{FF2B5EF4-FFF2-40B4-BE49-F238E27FC236}">
                  <a16:creationId xmlns:a16="http://schemas.microsoft.com/office/drawing/2014/main" id="{52708728-8C7F-4A1E-A747-7984E478BC61}"/>
                </a:ext>
              </a:extLst>
            </p:cNvPr>
            <p:cNvSpPr/>
            <p:nvPr/>
          </p:nvSpPr>
          <p:spPr>
            <a:xfrm>
              <a:off x="1684967"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39" name="Freeform: Shape 4538">
              <a:extLst>
                <a:ext uri="{FF2B5EF4-FFF2-40B4-BE49-F238E27FC236}">
                  <a16:creationId xmlns:a16="http://schemas.microsoft.com/office/drawing/2014/main" id="{AE68F2F2-5FAB-4AB2-A2AF-DF2373D31884}"/>
                </a:ext>
              </a:extLst>
            </p:cNvPr>
            <p:cNvSpPr/>
            <p:nvPr/>
          </p:nvSpPr>
          <p:spPr>
            <a:xfrm>
              <a:off x="1684967"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0" name="Freeform: Shape 4539">
              <a:extLst>
                <a:ext uri="{FF2B5EF4-FFF2-40B4-BE49-F238E27FC236}">
                  <a16:creationId xmlns:a16="http://schemas.microsoft.com/office/drawing/2014/main" id="{68FF6086-0007-4105-A95E-5EA24F3A4543}"/>
                </a:ext>
              </a:extLst>
            </p:cNvPr>
            <p:cNvSpPr/>
            <p:nvPr/>
          </p:nvSpPr>
          <p:spPr>
            <a:xfrm>
              <a:off x="1752135"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1" name="Freeform: Shape 4540">
              <a:extLst>
                <a:ext uri="{FF2B5EF4-FFF2-40B4-BE49-F238E27FC236}">
                  <a16:creationId xmlns:a16="http://schemas.microsoft.com/office/drawing/2014/main" id="{E2065B46-4384-490F-8104-59E7C7AD54D7}"/>
                </a:ext>
              </a:extLst>
            </p:cNvPr>
            <p:cNvSpPr/>
            <p:nvPr/>
          </p:nvSpPr>
          <p:spPr>
            <a:xfrm>
              <a:off x="1752135"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2" name="Freeform: Shape 4541">
              <a:extLst>
                <a:ext uri="{FF2B5EF4-FFF2-40B4-BE49-F238E27FC236}">
                  <a16:creationId xmlns:a16="http://schemas.microsoft.com/office/drawing/2014/main" id="{60F7923F-5E3D-4DC7-AD93-E474FEC7291A}"/>
                </a:ext>
              </a:extLst>
            </p:cNvPr>
            <p:cNvSpPr/>
            <p:nvPr/>
          </p:nvSpPr>
          <p:spPr>
            <a:xfrm>
              <a:off x="1752135"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3" name="Freeform: Shape 4542">
              <a:extLst>
                <a:ext uri="{FF2B5EF4-FFF2-40B4-BE49-F238E27FC236}">
                  <a16:creationId xmlns:a16="http://schemas.microsoft.com/office/drawing/2014/main" id="{9EAE9516-0D82-4947-94CB-277634D30A48}"/>
                </a:ext>
              </a:extLst>
            </p:cNvPr>
            <p:cNvSpPr/>
            <p:nvPr/>
          </p:nvSpPr>
          <p:spPr>
            <a:xfrm>
              <a:off x="1765568" y="4862548"/>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4" name="Freeform: Shape 4543">
              <a:extLst>
                <a:ext uri="{FF2B5EF4-FFF2-40B4-BE49-F238E27FC236}">
                  <a16:creationId xmlns:a16="http://schemas.microsoft.com/office/drawing/2014/main" id="{CA522E5E-1C10-4BFC-9BAF-E9CE0C1CF416}"/>
                </a:ext>
              </a:extLst>
            </p:cNvPr>
            <p:cNvSpPr/>
            <p:nvPr/>
          </p:nvSpPr>
          <p:spPr>
            <a:xfrm>
              <a:off x="1765568" y="4853592"/>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5" name="Freeform: Shape 4544">
              <a:extLst>
                <a:ext uri="{FF2B5EF4-FFF2-40B4-BE49-F238E27FC236}">
                  <a16:creationId xmlns:a16="http://schemas.microsoft.com/office/drawing/2014/main" id="{1E7B4957-FFB0-4C0D-8604-06D7908431B0}"/>
                </a:ext>
              </a:extLst>
            </p:cNvPr>
            <p:cNvSpPr/>
            <p:nvPr/>
          </p:nvSpPr>
          <p:spPr>
            <a:xfrm>
              <a:off x="1765568" y="4844636"/>
              <a:ext cx="4478" cy="4478"/>
            </a:xfrm>
            <a:custGeom>
              <a:avLst/>
              <a:gdLst>
                <a:gd name="connsiteX0" fmla="*/ 2239 w 4477"/>
                <a:gd name="connsiteY0" fmla="*/ 6717 h 4477"/>
                <a:gd name="connsiteX1" fmla="*/ 4478 w 4477"/>
                <a:gd name="connsiteY1" fmla="*/ 4478 h 4477"/>
                <a:gd name="connsiteX2" fmla="*/ 4478 w 4477"/>
                <a:gd name="connsiteY2" fmla="*/ 2239 h 4477"/>
                <a:gd name="connsiteX3" fmla="*/ 2239 w 4477"/>
                <a:gd name="connsiteY3" fmla="*/ 0 h 4477"/>
                <a:gd name="connsiteX4" fmla="*/ 0 w 4477"/>
                <a:gd name="connsiteY4" fmla="*/ 2239 h 4477"/>
                <a:gd name="connsiteX5" fmla="*/ 0 w 4477"/>
                <a:gd name="connsiteY5" fmla="*/ 4478 h 4477"/>
                <a:gd name="connsiteX6" fmla="*/ 2239 w 4477"/>
                <a:gd name="connsiteY6" fmla="*/ 6717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6717"/>
                  </a:moveTo>
                  <a:cubicBezTo>
                    <a:pt x="3582" y="6717"/>
                    <a:pt x="4478" y="5821"/>
                    <a:pt x="4478" y="4478"/>
                  </a:cubicBezTo>
                  <a:lnTo>
                    <a:pt x="4478" y="2239"/>
                  </a:lnTo>
                  <a:cubicBezTo>
                    <a:pt x="4478" y="895"/>
                    <a:pt x="3582" y="0"/>
                    <a:pt x="2239" y="0"/>
                  </a:cubicBezTo>
                  <a:cubicBezTo>
                    <a:pt x="896" y="0"/>
                    <a:pt x="0" y="895"/>
                    <a:pt x="0" y="2239"/>
                  </a:cubicBezTo>
                  <a:lnTo>
                    <a:pt x="0" y="4478"/>
                  </a:lnTo>
                  <a:cubicBezTo>
                    <a:pt x="0" y="5821"/>
                    <a:pt x="896" y="6717"/>
                    <a:pt x="2239" y="6717"/>
                  </a:cubicBezTo>
                  <a:close/>
                </a:path>
              </a:pathLst>
            </a:custGeom>
            <a:solidFill>
              <a:srgbClr val="231F20"/>
            </a:solidFill>
            <a:ln w="4474" cap="flat">
              <a:noFill/>
              <a:prstDash val="solid"/>
              <a:miter/>
            </a:ln>
          </p:spPr>
          <p:txBody>
            <a:bodyPr rtlCol="0" anchor="ctr"/>
            <a:lstStyle/>
            <a:p>
              <a:endParaRPr lang="en-US"/>
            </a:p>
          </p:txBody>
        </p:sp>
        <p:sp>
          <p:nvSpPr>
            <p:cNvPr id="4546" name="Freeform: Shape 4545">
              <a:extLst>
                <a:ext uri="{FF2B5EF4-FFF2-40B4-BE49-F238E27FC236}">
                  <a16:creationId xmlns:a16="http://schemas.microsoft.com/office/drawing/2014/main" id="{11BDCBE6-1E53-4E38-980B-A08945821AEC}"/>
                </a:ext>
              </a:extLst>
            </p:cNvPr>
            <p:cNvSpPr/>
            <p:nvPr/>
          </p:nvSpPr>
          <p:spPr>
            <a:xfrm>
              <a:off x="1779001" y="4862548"/>
              <a:ext cx="4478" cy="4478"/>
            </a:xfrm>
            <a:custGeom>
              <a:avLst/>
              <a:gdLst>
                <a:gd name="connsiteX0" fmla="*/ 2239 w 4477"/>
                <a:gd name="connsiteY0" fmla="*/ 0 h 4477"/>
                <a:gd name="connsiteX1" fmla="*/ 0 w 4477"/>
                <a:gd name="connsiteY1" fmla="*/ 2239 h 4477"/>
                <a:gd name="connsiteX2" fmla="*/ 0 w 4477"/>
                <a:gd name="connsiteY2" fmla="*/ 4478 h 4477"/>
                <a:gd name="connsiteX3" fmla="*/ 2239 w 4477"/>
                <a:gd name="connsiteY3" fmla="*/ 6717 h 4477"/>
                <a:gd name="connsiteX4" fmla="*/ 4478 w 4477"/>
                <a:gd name="connsiteY4" fmla="*/ 4478 h 4477"/>
                <a:gd name="connsiteX5" fmla="*/ 4478 w 4477"/>
                <a:gd name="connsiteY5" fmla="*/ 2239 h 4477"/>
                <a:gd name="connsiteX6" fmla="*/ 2239 w 4477"/>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0"/>
                  </a:moveTo>
                  <a:cubicBezTo>
                    <a:pt x="896" y="0"/>
                    <a:pt x="0" y="895"/>
                    <a:pt x="0" y="2239"/>
                  </a:cubicBezTo>
                  <a:lnTo>
                    <a:pt x="0" y="4478"/>
                  </a:lnTo>
                  <a:cubicBezTo>
                    <a:pt x="0" y="5821"/>
                    <a:pt x="896" y="6717"/>
                    <a:pt x="2239" y="6717"/>
                  </a:cubicBezTo>
                  <a:cubicBezTo>
                    <a:pt x="3582" y="6717"/>
                    <a:pt x="4478" y="5821"/>
                    <a:pt x="4478" y="4478"/>
                  </a:cubicBezTo>
                  <a:lnTo>
                    <a:pt x="4478" y="2239"/>
                  </a:lnTo>
                  <a:cubicBezTo>
                    <a:pt x="4478" y="1343"/>
                    <a:pt x="3582" y="0"/>
                    <a:pt x="2239" y="0"/>
                  </a:cubicBezTo>
                  <a:close/>
                </a:path>
              </a:pathLst>
            </a:custGeom>
            <a:solidFill>
              <a:srgbClr val="231F20"/>
            </a:solidFill>
            <a:ln w="4474" cap="flat">
              <a:noFill/>
              <a:prstDash val="solid"/>
              <a:miter/>
            </a:ln>
          </p:spPr>
          <p:txBody>
            <a:bodyPr rtlCol="0" anchor="ctr"/>
            <a:lstStyle/>
            <a:p>
              <a:endParaRPr lang="en-US"/>
            </a:p>
          </p:txBody>
        </p:sp>
        <p:sp>
          <p:nvSpPr>
            <p:cNvPr id="4547" name="Freeform: Shape 4546">
              <a:extLst>
                <a:ext uri="{FF2B5EF4-FFF2-40B4-BE49-F238E27FC236}">
                  <a16:creationId xmlns:a16="http://schemas.microsoft.com/office/drawing/2014/main" id="{9C9D09A8-4DAB-4E2F-9EA4-C373E63C94B6}"/>
                </a:ext>
              </a:extLst>
            </p:cNvPr>
            <p:cNvSpPr/>
            <p:nvPr/>
          </p:nvSpPr>
          <p:spPr>
            <a:xfrm>
              <a:off x="1779001" y="4853592"/>
              <a:ext cx="4478" cy="4478"/>
            </a:xfrm>
            <a:custGeom>
              <a:avLst/>
              <a:gdLst>
                <a:gd name="connsiteX0" fmla="*/ 2239 w 4477"/>
                <a:gd name="connsiteY0" fmla="*/ 0 h 4477"/>
                <a:gd name="connsiteX1" fmla="*/ 0 w 4477"/>
                <a:gd name="connsiteY1" fmla="*/ 2239 h 4477"/>
                <a:gd name="connsiteX2" fmla="*/ 0 w 4477"/>
                <a:gd name="connsiteY2" fmla="*/ 4478 h 4477"/>
                <a:gd name="connsiteX3" fmla="*/ 2239 w 4477"/>
                <a:gd name="connsiteY3" fmla="*/ 6717 h 4477"/>
                <a:gd name="connsiteX4" fmla="*/ 4478 w 4477"/>
                <a:gd name="connsiteY4" fmla="*/ 4478 h 4477"/>
                <a:gd name="connsiteX5" fmla="*/ 4478 w 4477"/>
                <a:gd name="connsiteY5" fmla="*/ 2239 h 4477"/>
                <a:gd name="connsiteX6" fmla="*/ 2239 w 4477"/>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0"/>
                  </a:moveTo>
                  <a:cubicBezTo>
                    <a:pt x="896" y="0"/>
                    <a:pt x="0" y="895"/>
                    <a:pt x="0" y="2239"/>
                  </a:cubicBezTo>
                  <a:lnTo>
                    <a:pt x="0" y="4478"/>
                  </a:lnTo>
                  <a:cubicBezTo>
                    <a:pt x="0" y="5821"/>
                    <a:pt x="896" y="6717"/>
                    <a:pt x="2239" y="6717"/>
                  </a:cubicBezTo>
                  <a:cubicBezTo>
                    <a:pt x="3582" y="6717"/>
                    <a:pt x="4478" y="5821"/>
                    <a:pt x="4478" y="4478"/>
                  </a:cubicBezTo>
                  <a:lnTo>
                    <a:pt x="4478" y="2239"/>
                  </a:lnTo>
                  <a:cubicBezTo>
                    <a:pt x="4478" y="1343"/>
                    <a:pt x="3582" y="0"/>
                    <a:pt x="2239" y="0"/>
                  </a:cubicBezTo>
                  <a:close/>
                </a:path>
              </a:pathLst>
            </a:custGeom>
            <a:solidFill>
              <a:srgbClr val="231F20"/>
            </a:solidFill>
            <a:ln w="4474" cap="flat">
              <a:noFill/>
              <a:prstDash val="solid"/>
              <a:miter/>
            </a:ln>
          </p:spPr>
          <p:txBody>
            <a:bodyPr rtlCol="0" anchor="ctr"/>
            <a:lstStyle/>
            <a:p>
              <a:endParaRPr lang="en-US"/>
            </a:p>
          </p:txBody>
        </p:sp>
        <p:sp>
          <p:nvSpPr>
            <p:cNvPr id="4548" name="Freeform: Shape 4547">
              <a:extLst>
                <a:ext uri="{FF2B5EF4-FFF2-40B4-BE49-F238E27FC236}">
                  <a16:creationId xmlns:a16="http://schemas.microsoft.com/office/drawing/2014/main" id="{78949B6C-BE77-44DC-8E11-8148806B866C}"/>
                </a:ext>
              </a:extLst>
            </p:cNvPr>
            <p:cNvSpPr/>
            <p:nvPr/>
          </p:nvSpPr>
          <p:spPr>
            <a:xfrm>
              <a:off x="1779001" y="4844636"/>
              <a:ext cx="4478" cy="4478"/>
            </a:xfrm>
            <a:custGeom>
              <a:avLst/>
              <a:gdLst>
                <a:gd name="connsiteX0" fmla="*/ 2239 w 4477"/>
                <a:gd name="connsiteY0" fmla="*/ 0 h 4477"/>
                <a:gd name="connsiteX1" fmla="*/ 0 w 4477"/>
                <a:gd name="connsiteY1" fmla="*/ 2239 h 4477"/>
                <a:gd name="connsiteX2" fmla="*/ 0 w 4477"/>
                <a:gd name="connsiteY2" fmla="*/ 4478 h 4477"/>
                <a:gd name="connsiteX3" fmla="*/ 2239 w 4477"/>
                <a:gd name="connsiteY3" fmla="*/ 6717 h 4477"/>
                <a:gd name="connsiteX4" fmla="*/ 4478 w 4477"/>
                <a:gd name="connsiteY4" fmla="*/ 4478 h 4477"/>
                <a:gd name="connsiteX5" fmla="*/ 4478 w 4477"/>
                <a:gd name="connsiteY5" fmla="*/ 2239 h 4477"/>
                <a:gd name="connsiteX6" fmla="*/ 2239 w 4477"/>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
                  <a:moveTo>
                    <a:pt x="2239" y="0"/>
                  </a:moveTo>
                  <a:cubicBezTo>
                    <a:pt x="896" y="0"/>
                    <a:pt x="0" y="895"/>
                    <a:pt x="0" y="2239"/>
                  </a:cubicBezTo>
                  <a:lnTo>
                    <a:pt x="0" y="4478"/>
                  </a:lnTo>
                  <a:cubicBezTo>
                    <a:pt x="0" y="5821"/>
                    <a:pt x="896" y="6717"/>
                    <a:pt x="2239" y="6717"/>
                  </a:cubicBezTo>
                  <a:cubicBezTo>
                    <a:pt x="3582" y="6717"/>
                    <a:pt x="4478" y="5821"/>
                    <a:pt x="4478" y="4478"/>
                  </a:cubicBezTo>
                  <a:lnTo>
                    <a:pt x="4478" y="2239"/>
                  </a:lnTo>
                  <a:cubicBezTo>
                    <a:pt x="4478" y="1343"/>
                    <a:pt x="3582" y="0"/>
                    <a:pt x="2239" y="0"/>
                  </a:cubicBezTo>
                  <a:close/>
                </a:path>
              </a:pathLst>
            </a:custGeom>
            <a:solidFill>
              <a:srgbClr val="231F20"/>
            </a:solidFill>
            <a:ln w="4474" cap="flat">
              <a:noFill/>
              <a:prstDash val="solid"/>
              <a:miter/>
            </a:ln>
          </p:spPr>
          <p:txBody>
            <a:bodyPr rtlCol="0" anchor="ctr"/>
            <a:lstStyle/>
            <a:p>
              <a:endParaRPr lang="en-US"/>
            </a:p>
          </p:txBody>
        </p:sp>
      </p:grpSp>
      <p:grpSp>
        <p:nvGrpSpPr>
          <p:cNvPr id="4549" name="Group 4548">
            <a:extLst>
              <a:ext uri="{FF2B5EF4-FFF2-40B4-BE49-F238E27FC236}">
                <a16:creationId xmlns:a16="http://schemas.microsoft.com/office/drawing/2014/main" id="{F62B06B6-08DB-4076-87D3-9154C7F15271}"/>
              </a:ext>
              <a:ext uri="{C183D7F6-B498-43B3-948B-1728B52AA6E4}">
                <adec:decorative xmlns:adec="http://schemas.microsoft.com/office/drawing/2017/decorative" val="1"/>
              </a:ext>
            </a:extLst>
          </p:cNvPr>
          <p:cNvGrpSpPr>
            <a:grpSpLocks noChangeAspect="1"/>
          </p:cNvGrpSpPr>
          <p:nvPr/>
        </p:nvGrpSpPr>
        <p:grpSpPr>
          <a:xfrm>
            <a:off x="4261946" y="4567641"/>
            <a:ext cx="85079" cy="144186"/>
            <a:chOff x="4302700" y="3832202"/>
            <a:chExt cx="85079" cy="144186"/>
          </a:xfrm>
        </p:grpSpPr>
        <p:sp>
          <p:nvSpPr>
            <p:cNvPr id="4550" name="Freeform: Shape 4549">
              <a:extLst>
                <a:ext uri="{FF2B5EF4-FFF2-40B4-BE49-F238E27FC236}">
                  <a16:creationId xmlns:a16="http://schemas.microsoft.com/office/drawing/2014/main" id="{142FFA73-4E21-4B72-B413-E3B8D2A4C4F3}"/>
                </a:ext>
              </a:extLst>
            </p:cNvPr>
            <p:cNvSpPr/>
            <p:nvPr/>
          </p:nvSpPr>
          <p:spPr>
            <a:xfrm>
              <a:off x="4302700" y="3832202"/>
              <a:ext cx="85079" cy="102990"/>
            </a:xfrm>
            <a:custGeom>
              <a:avLst/>
              <a:gdLst>
                <a:gd name="connsiteX0" fmla="*/ 59107 w 85078"/>
                <a:gd name="connsiteY0" fmla="*/ 103885 h 102989"/>
                <a:gd name="connsiteX1" fmla="*/ 26419 w 85078"/>
                <a:gd name="connsiteY1" fmla="*/ 103885 h 102989"/>
                <a:gd name="connsiteX2" fmla="*/ 24180 w 85078"/>
                <a:gd name="connsiteY2" fmla="*/ 102094 h 102989"/>
                <a:gd name="connsiteX3" fmla="*/ 23285 w 85078"/>
                <a:gd name="connsiteY3" fmla="*/ 96273 h 102989"/>
                <a:gd name="connsiteX4" fmla="*/ 21941 w 85078"/>
                <a:gd name="connsiteY4" fmla="*/ 88661 h 102989"/>
                <a:gd name="connsiteX5" fmla="*/ 10299 w 85078"/>
                <a:gd name="connsiteY5" fmla="*/ 70302 h 102989"/>
                <a:gd name="connsiteX6" fmla="*/ 9851 w 85078"/>
                <a:gd name="connsiteY6" fmla="*/ 69854 h 102989"/>
                <a:gd name="connsiteX7" fmla="*/ 0 w 85078"/>
                <a:gd name="connsiteY7" fmla="*/ 42539 h 102989"/>
                <a:gd name="connsiteX8" fmla="*/ 42539 w 85078"/>
                <a:gd name="connsiteY8" fmla="*/ 0 h 102989"/>
                <a:gd name="connsiteX9" fmla="*/ 85079 w 85078"/>
                <a:gd name="connsiteY9" fmla="*/ 42539 h 102989"/>
                <a:gd name="connsiteX10" fmla="*/ 74780 w 85078"/>
                <a:gd name="connsiteY10" fmla="*/ 70302 h 102989"/>
                <a:gd name="connsiteX11" fmla="*/ 74780 w 85078"/>
                <a:gd name="connsiteY11" fmla="*/ 70302 h 102989"/>
                <a:gd name="connsiteX12" fmla="*/ 63137 w 85078"/>
                <a:gd name="connsiteY12" fmla="*/ 90900 h 102989"/>
                <a:gd name="connsiteX13" fmla="*/ 61794 w 85078"/>
                <a:gd name="connsiteY13" fmla="*/ 97169 h 102989"/>
                <a:gd name="connsiteX14" fmla="*/ 60898 w 85078"/>
                <a:gd name="connsiteY14" fmla="*/ 102542 h 102989"/>
                <a:gd name="connsiteX15" fmla="*/ 59107 w 85078"/>
                <a:gd name="connsiteY15" fmla="*/ 103885 h 102989"/>
                <a:gd name="connsiteX16" fmla="*/ 28210 w 85078"/>
                <a:gd name="connsiteY16" fmla="*/ 99408 h 102989"/>
                <a:gd name="connsiteX17" fmla="*/ 57316 w 85078"/>
                <a:gd name="connsiteY17" fmla="*/ 99408 h 102989"/>
                <a:gd name="connsiteX18" fmla="*/ 57764 w 85078"/>
                <a:gd name="connsiteY18" fmla="*/ 96273 h 102989"/>
                <a:gd name="connsiteX19" fmla="*/ 59107 w 85078"/>
                <a:gd name="connsiteY19" fmla="*/ 89556 h 102989"/>
                <a:gd name="connsiteX20" fmla="*/ 71197 w 85078"/>
                <a:gd name="connsiteY20" fmla="*/ 67167 h 102989"/>
                <a:gd name="connsiteX21" fmla="*/ 80601 w 85078"/>
                <a:gd name="connsiteY21" fmla="*/ 42092 h 102989"/>
                <a:gd name="connsiteX22" fmla="*/ 42539 w 85078"/>
                <a:gd name="connsiteY22" fmla="*/ 4030 h 102989"/>
                <a:gd name="connsiteX23" fmla="*/ 4478 w 85078"/>
                <a:gd name="connsiteY23" fmla="*/ 42092 h 102989"/>
                <a:gd name="connsiteX24" fmla="*/ 13881 w 85078"/>
                <a:gd name="connsiteY24" fmla="*/ 66720 h 102989"/>
                <a:gd name="connsiteX25" fmla="*/ 14329 w 85078"/>
                <a:gd name="connsiteY25" fmla="*/ 67167 h 102989"/>
                <a:gd name="connsiteX26" fmla="*/ 26419 w 85078"/>
                <a:gd name="connsiteY26" fmla="*/ 86422 h 102989"/>
                <a:gd name="connsiteX27" fmla="*/ 27763 w 85078"/>
                <a:gd name="connsiteY27" fmla="*/ 95377 h 102989"/>
                <a:gd name="connsiteX28" fmla="*/ 28210 w 85078"/>
                <a:gd name="connsiteY28" fmla="*/ 99408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078" h="102989">
                  <a:moveTo>
                    <a:pt x="59107" y="103885"/>
                  </a:moveTo>
                  <a:lnTo>
                    <a:pt x="26419" y="103885"/>
                  </a:lnTo>
                  <a:cubicBezTo>
                    <a:pt x="25524" y="103885"/>
                    <a:pt x="24628" y="102990"/>
                    <a:pt x="24180" y="102094"/>
                  </a:cubicBezTo>
                  <a:cubicBezTo>
                    <a:pt x="23732" y="100751"/>
                    <a:pt x="23732" y="98512"/>
                    <a:pt x="23285" y="96273"/>
                  </a:cubicBezTo>
                  <a:cubicBezTo>
                    <a:pt x="22837" y="93586"/>
                    <a:pt x="22389" y="89556"/>
                    <a:pt x="21941" y="88661"/>
                  </a:cubicBezTo>
                  <a:cubicBezTo>
                    <a:pt x="18359" y="80153"/>
                    <a:pt x="10299" y="70302"/>
                    <a:pt x="10299" y="70302"/>
                  </a:cubicBezTo>
                  <a:cubicBezTo>
                    <a:pt x="10299" y="70302"/>
                    <a:pt x="10299" y="69854"/>
                    <a:pt x="9851" y="69854"/>
                  </a:cubicBezTo>
                  <a:cubicBezTo>
                    <a:pt x="3582" y="62242"/>
                    <a:pt x="0" y="52391"/>
                    <a:pt x="0" y="42539"/>
                  </a:cubicBezTo>
                  <a:cubicBezTo>
                    <a:pt x="0" y="19255"/>
                    <a:pt x="19255" y="0"/>
                    <a:pt x="42539" y="0"/>
                  </a:cubicBezTo>
                  <a:cubicBezTo>
                    <a:pt x="65824" y="0"/>
                    <a:pt x="85079" y="19255"/>
                    <a:pt x="85079" y="42539"/>
                  </a:cubicBezTo>
                  <a:cubicBezTo>
                    <a:pt x="85079" y="52838"/>
                    <a:pt x="81496" y="62689"/>
                    <a:pt x="74780" y="70302"/>
                  </a:cubicBezTo>
                  <a:lnTo>
                    <a:pt x="74780" y="70302"/>
                  </a:lnTo>
                  <a:cubicBezTo>
                    <a:pt x="74780" y="70302"/>
                    <a:pt x="66272" y="81944"/>
                    <a:pt x="63137" y="90900"/>
                  </a:cubicBezTo>
                  <a:cubicBezTo>
                    <a:pt x="62689" y="91795"/>
                    <a:pt x="62242" y="94930"/>
                    <a:pt x="61794" y="97169"/>
                  </a:cubicBezTo>
                  <a:cubicBezTo>
                    <a:pt x="61346" y="99408"/>
                    <a:pt x="60898" y="101647"/>
                    <a:pt x="60898" y="102542"/>
                  </a:cubicBezTo>
                  <a:cubicBezTo>
                    <a:pt x="60898" y="102990"/>
                    <a:pt x="60003" y="103885"/>
                    <a:pt x="59107" y="103885"/>
                  </a:cubicBezTo>
                  <a:close/>
                  <a:moveTo>
                    <a:pt x="28210" y="99408"/>
                  </a:moveTo>
                  <a:lnTo>
                    <a:pt x="57316" y="99408"/>
                  </a:lnTo>
                  <a:cubicBezTo>
                    <a:pt x="57316" y="98512"/>
                    <a:pt x="57764" y="97616"/>
                    <a:pt x="57764" y="96273"/>
                  </a:cubicBezTo>
                  <a:cubicBezTo>
                    <a:pt x="58212" y="93139"/>
                    <a:pt x="58659" y="90452"/>
                    <a:pt x="59107" y="89556"/>
                  </a:cubicBezTo>
                  <a:cubicBezTo>
                    <a:pt x="62242" y="79705"/>
                    <a:pt x="70749" y="68063"/>
                    <a:pt x="71197" y="67167"/>
                  </a:cubicBezTo>
                  <a:cubicBezTo>
                    <a:pt x="77466" y="60003"/>
                    <a:pt x="80601" y="51495"/>
                    <a:pt x="80601" y="42092"/>
                  </a:cubicBezTo>
                  <a:cubicBezTo>
                    <a:pt x="80601" y="21046"/>
                    <a:pt x="63585" y="4030"/>
                    <a:pt x="42539" y="4030"/>
                  </a:cubicBezTo>
                  <a:cubicBezTo>
                    <a:pt x="21493" y="4030"/>
                    <a:pt x="4478" y="21046"/>
                    <a:pt x="4478" y="42092"/>
                  </a:cubicBezTo>
                  <a:cubicBezTo>
                    <a:pt x="4478" y="51495"/>
                    <a:pt x="7612" y="60003"/>
                    <a:pt x="13881" y="66720"/>
                  </a:cubicBezTo>
                  <a:cubicBezTo>
                    <a:pt x="13881" y="66720"/>
                    <a:pt x="14329" y="67167"/>
                    <a:pt x="14329" y="67167"/>
                  </a:cubicBezTo>
                  <a:cubicBezTo>
                    <a:pt x="16120" y="69406"/>
                    <a:pt x="22837" y="77914"/>
                    <a:pt x="26419" y="86422"/>
                  </a:cubicBezTo>
                  <a:cubicBezTo>
                    <a:pt x="27315" y="88213"/>
                    <a:pt x="27315" y="90900"/>
                    <a:pt x="27763" y="95377"/>
                  </a:cubicBezTo>
                  <a:cubicBezTo>
                    <a:pt x="27763" y="96721"/>
                    <a:pt x="28210" y="98064"/>
                    <a:pt x="28210" y="99408"/>
                  </a:cubicBezTo>
                  <a:close/>
                </a:path>
              </a:pathLst>
            </a:custGeom>
            <a:solidFill>
              <a:srgbClr val="231F20"/>
            </a:solidFill>
            <a:ln w="4474" cap="flat">
              <a:noFill/>
              <a:prstDash val="solid"/>
              <a:miter/>
            </a:ln>
          </p:spPr>
          <p:txBody>
            <a:bodyPr rtlCol="0" anchor="ctr"/>
            <a:lstStyle/>
            <a:p>
              <a:endParaRPr lang="en-US"/>
            </a:p>
          </p:txBody>
        </p:sp>
        <p:sp>
          <p:nvSpPr>
            <p:cNvPr id="4551" name="Freeform: Shape 4550">
              <a:extLst>
                <a:ext uri="{FF2B5EF4-FFF2-40B4-BE49-F238E27FC236}">
                  <a16:creationId xmlns:a16="http://schemas.microsoft.com/office/drawing/2014/main" id="{1A3E81DE-FE4A-4720-9529-AFDB60C7664C}"/>
                </a:ext>
              </a:extLst>
            </p:cNvPr>
            <p:cNvSpPr/>
            <p:nvPr/>
          </p:nvSpPr>
          <p:spPr>
            <a:xfrm>
              <a:off x="4326880" y="3945043"/>
              <a:ext cx="35823" cy="4478"/>
            </a:xfrm>
            <a:custGeom>
              <a:avLst/>
              <a:gdLst>
                <a:gd name="connsiteX0" fmla="*/ 35375 w 35822"/>
                <a:gd name="connsiteY0" fmla="*/ 4478 h 4477"/>
                <a:gd name="connsiteX1" fmla="*/ 2239 w 35822"/>
                <a:gd name="connsiteY1" fmla="*/ 4478 h 4477"/>
                <a:gd name="connsiteX2" fmla="*/ 0 w 35822"/>
                <a:gd name="connsiteY2" fmla="*/ 2239 h 4477"/>
                <a:gd name="connsiteX3" fmla="*/ 2239 w 35822"/>
                <a:gd name="connsiteY3" fmla="*/ 0 h 4477"/>
                <a:gd name="connsiteX4" fmla="*/ 35375 w 35822"/>
                <a:gd name="connsiteY4" fmla="*/ 0 h 4477"/>
                <a:gd name="connsiteX5" fmla="*/ 37614 w 35822"/>
                <a:gd name="connsiteY5" fmla="*/ 2239 h 4477"/>
                <a:gd name="connsiteX6" fmla="*/ 35375 w 35822"/>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4477">
                  <a:moveTo>
                    <a:pt x="35375" y="4478"/>
                  </a:moveTo>
                  <a:lnTo>
                    <a:pt x="2239" y="4478"/>
                  </a:lnTo>
                  <a:cubicBezTo>
                    <a:pt x="895" y="4478"/>
                    <a:pt x="0" y="3582"/>
                    <a:pt x="0" y="2239"/>
                  </a:cubicBezTo>
                  <a:cubicBezTo>
                    <a:pt x="0" y="896"/>
                    <a:pt x="895" y="0"/>
                    <a:pt x="2239" y="0"/>
                  </a:cubicBezTo>
                  <a:lnTo>
                    <a:pt x="35375" y="0"/>
                  </a:lnTo>
                  <a:cubicBezTo>
                    <a:pt x="36718" y="0"/>
                    <a:pt x="37614" y="896"/>
                    <a:pt x="37614" y="2239"/>
                  </a:cubicBezTo>
                  <a:cubicBezTo>
                    <a:pt x="37614" y="3582"/>
                    <a:pt x="36718" y="4478"/>
                    <a:pt x="35375" y="4478"/>
                  </a:cubicBezTo>
                  <a:close/>
                </a:path>
              </a:pathLst>
            </a:custGeom>
            <a:solidFill>
              <a:srgbClr val="231F20"/>
            </a:solidFill>
            <a:ln w="4474" cap="flat">
              <a:noFill/>
              <a:prstDash val="solid"/>
              <a:miter/>
            </a:ln>
          </p:spPr>
          <p:txBody>
            <a:bodyPr rtlCol="0" anchor="ctr"/>
            <a:lstStyle/>
            <a:p>
              <a:endParaRPr lang="en-US"/>
            </a:p>
          </p:txBody>
        </p:sp>
        <p:sp>
          <p:nvSpPr>
            <p:cNvPr id="4552" name="Freeform: Shape 4551">
              <a:extLst>
                <a:ext uri="{FF2B5EF4-FFF2-40B4-BE49-F238E27FC236}">
                  <a16:creationId xmlns:a16="http://schemas.microsoft.com/office/drawing/2014/main" id="{71F1550D-AF42-4869-9898-0729B0569576}"/>
                </a:ext>
              </a:extLst>
            </p:cNvPr>
            <p:cNvSpPr/>
            <p:nvPr/>
          </p:nvSpPr>
          <p:spPr>
            <a:xfrm>
              <a:off x="4328671" y="3958476"/>
              <a:ext cx="31345" cy="4478"/>
            </a:xfrm>
            <a:custGeom>
              <a:avLst/>
              <a:gdLst>
                <a:gd name="connsiteX0" fmla="*/ 31793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31793 w 31344"/>
                <a:gd name="connsiteY4" fmla="*/ 0 h 4477"/>
                <a:gd name="connsiteX5" fmla="*/ 34032 w 31344"/>
                <a:gd name="connsiteY5" fmla="*/ 2239 h 4477"/>
                <a:gd name="connsiteX6" fmla="*/ 31793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31793" y="4478"/>
                  </a:moveTo>
                  <a:lnTo>
                    <a:pt x="2239" y="4478"/>
                  </a:lnTo>
                  <a:cubicBezTo>
                    <a:pt x="896" y="4478"/>
                    <a:pt x="0" y="3582"/>
                    <a:pt x="0" y="2239"/>
                  </a:cubicBezTo>
                  <a:cubicBezTo>
                    <a:pt x="0" y="896"/>
                    <a:pt x="896" y="0"/>
                    <a:pt x="2239" y="0"/>
                  </a:cubicBezTo>
                  <a:lnTo>
                    <a:pt x="31793" y="0"/>
                  </a:lnTo>
                  <a:cubicBezTo>
                    <a:pt x="33136" y="0"/>
                    <a:pt x="34032" y="896"/>
                    <a:pt x="34032" y="2239"/>
                  </a:cubicBezTo>
                  <a:cubicBezTo>
                    <a:pt x="34032" y="3582"/>
                    <a:pt x="33136" y="4478"/>
                    <a:pt x="31793" y="4478"/>
                  </a:cubicBezTo>
                  <a:close/>
                </a:path>
              </a:pathLst>
            </a:custGeom>
            <a:solidFill>
              <a:srgbClr val="231F20"/>
            </a:solidFill>
            <a:ln w="4474" cap="flat">
              <a:noFill/>
              <a:prstDash val="solid"/>
              <a:miter/>
            </a:ln>
          </p:spPr>
          <p:txBody>
            <a:bodyPr rtlCol="0" anchor="ctr"/>
            <a:lstStyle/>
            <a:p>
              <a:endParaRPr lang="en-US"/>
            </a:p>
          </p:txBody>
        </p:sp>
        <p:sp>
          <p:nvSpPr>
            <p:cNvPr id="4553" name="Freeform: Shape 4552">
              <a:extLst>
                <a:ext uri="{FF2B5EF4-FFF2-40B4-BE49-F238E27FC236}">
                  <a16:creationId xmlns:a16="http://schemas.microsoft.com/office/drawing/2014/main" id="{8649101A-7222-4B03-A83E-90D6F43AA60E}"/>
                </a:ext>
              </a:extLst>
            </p:cNvPr>
            <p:cNvSpPr/>
            <p:nvPr/>
          </p:nvSpPr>
          <p:spPr>
            <a:xfrm>
              <a:off x="4334492" y="3971910"/>
              <a:ext cx="17911" cy="4478"/>
            </a:xfrm>
            <a:custGeom>
              <a:avLst/>
              <a:gdLst>
                <a:gd name="connsiteX0" fmla="*/ 19703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9703 w 17911"/>
                <a:gd name="connsiteY4" fmla="*/ 0 h 4477"/>
                <a:gd name="connsiteX5" fmla="*/ 21941 w 17911"/>
                <a:gd name="connsiteY5" fmla="*/ 2239 h 4477"/>
                <a:gd name="connsiteX6" fmla="*/ 19703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9703" y="4478"/>
                  </a:moveTo>
                  <a:lnTo>
                    <a:pt x="2239" y="4478"/>
                  </a:lnTo>
                  <a:cubicBezTo>
                    <a:pt x="896" y="4478"/>
                    <a:pt x="0" y="3582"/>
                    <a:pt x="0" y="2239"/>
                  </a:cubicBezTo>
                  <a:cubicBezTo>
                    <a:pt x="0" y="896"/>
                    <a:pt x="896" y="0"/>
                    <a:pt x="2239" y="0"/>
                  </a:cubicBezTo>
                  <a:lnTo>
                    <a:pt x="19703" y="0"/>
                  </a:lnTo>
                  <a:cubicBezTo>
                    <a:pt x="21046" y="0"/>
                    <a:pt x="21941" y="896"/>
                    <a:pt x="21941" y="2239"/>
                  </a:cubicBezTo>
                  <a:cubicBezTo>
                    <a:pt x="21941" y="3582"/>
                    <a:pt x="21046" y="4478"/>
                    <a:pt x="19703" y="4478"/>
                  </a:cubicBezTo>
                  <a:close/>
                </a:path>
              </a:pathLst>
            </a:custGeom>
            <a:solidFill>
              <a:srgbClr val="231F20"/>
            </a:solidFill>
            <a:ln w="4474" cap="flat">
              <a:noFill/>
              <a:prstDash val="solid"/>
              <a:miter/>
            </a:ln>
          </p:spPr>
          <p:txBody>
            <a:bodyPr rtlCol="0" anchor="ctr"/>
            <a:lstStyle/>
            <a:p>
              <a:endParaRPr lang="en-US"/>
            </a:p>
          </p:txBody>
        </p:sp>
      </p:grpSp>
      <p:grpSp>
        <p:nvGrpSpPr>
          <p:cNvPr id="4554" name="Group 4553">
            <a:extLst>
              <a:ext uri="{FF2B5EF4-FFF2-40B4-BE49-F238E27FC236}">
                <a16:creationId xmlns:a16="http://schemas.microsoft.com/office/drawing/2014/main" id="{A6E3075E-2EE2-4151-B889-820246ACBFE6}"/>
              </a:ext>
              <a:ext uri="{C183D7F6-B498-43B3-948B-1728B52AA6E4}">
                <adec:decorative xmlns:adec="http://schemas.microsoft.com/office/drawing/2017/decorative" val="1"/>
              </a:ext>
            </a:extLst>
          </p:cNvPr>
          <p:cNvGrpSpPr>
            <a:grpSpLocks noChangeAspect="1"/>
          </p:cNvGrpSpPr>
          <p:nvPr/>
        </p:nvGrpSpPr>
        <p:grpSpPr>
          <a:xfrm>
            <a:off x="4505091" y="4558238"/>
            <a:ext cx="138365" cy="167022"/>
            <a:chOff x="4545845" y="3822799"/>
            <a:chExt cx="138365" cy="167022"/>
          </a:xfrm>
        </p:grpSpPr>
        <p:sp>
          <p:nvSpPr>
            <p:cNvPr id="4555" name="Freeform: Shape 4554">
              <a:extLst>
                <a:ext uri="{FF2B5EF4-FFF2-40B4-BE49-F238E27FC236}">
                  <a16:creationId xmlns:a16="http://schemas.microsoft.com/office/drawing/2014/main" id="{04A04224-0B38-4A02-AF26-D7D467498772}"/>
                </a:ext>
              </a:extLst>
            </p:cNvPr>
            <p:cNvSpPr/>
            <p:nvPr/>
          </p:nvSpPr>
          <p:spPr>
            <a:xfrm>
              <a:off x="4571816" y="3845635"/>
              <a:ext cx="85079" cy="102990"/>
            </a:xfrm>
            <a:custGeom>
              <a:avLst/>
              <a:gdLst>
                <a:gd name="connsiteX0" fmla="*/ 59107 w 85078"/>
                <a:gd name="connsiteY0" fmla="*/ 103885 h 102989"/>
                <a:gd name="connsiteX1" fmla="*/ 26419 w 85078"/>
                <a:gd name="connsiteY1" fmla="*/ 103885 h 102989"/>
                <a:gd name="connsiteX2" fmla="*/ 24180 w 85078"/>
                <a:gd name="connsiteY2" fmla="*/ 102094 h 102989"/>
                <a:gd name="connsiteX3" fmla="*/ 23285 w 85078"/>
                <a:gd name="connsiteY3" fmla="*/ 96273 h 102989"/>
                <a:gd name="connsiteX4" fmla="*/ 21941 w 85078"/>
                <a:gd name="connsiteY4" fmla="*/ 88661 h 102989"/>
                <a:gd name="connsiteX5" fmla="*/ 10299 w 85078"/>
                <a:gd name="connsiteY5" fmla="*/ 70302 h 102989"/>
                <a:gd name="connsiteX6" fmla="*/ 9851 w 85078"/>
                <a:gd name="connsiteY6" fmla="*/ 69854 h 102989"/>
                <a:gd name="connsiteX7" fmla="*/ 0 w 85078"/>
                <a:gd name="connsiteY7" fmla="*/ 42539 h 102989"/>
                <a:gd name="connsiteX8" fmla="*/ 42539 w 85078"/>
                <a:gd name="connsiteY8" fmla="*/ 0 h 102989"/>
                <a:gd name="connsiteX9" fmla="*/ 85079 w 85078"/>
                <a:gd name="connsiteY9" fmla="*/ 42539 h 102989"/>
                <a:gd name="connsiteX10" fmla="*/ 74780 w 85078"/>
                <a:gd name="connsiteY10" fmla="*/ 70302 h 102989"/>
                <a:gd name="connsiteX11" fmla="*/ 74780 w 85078"/>
                <a:gd name="connsiteY11" fmla="*/ 70302 h 102989"/>
                <a:gd name="connsiteX12" fmla="*/ 63137 w 85078"/>
                <a:gd name="connsiteY12" fmla="*/ 90900 h 102989"/>
                <a:gd name="connsiteX13" fmla="*/ 61794 w 85078"/>
                <a:gd name="connsiteY13" fmla="*/ 97169 h 102989"/>
                <a:gd name="connsiteX14" fmla="*/ 60898 w 85078"/>
                <a:gd name="connsiteY14" fmla="*/ 102542 h 102989"/>
                <a:gd name="connsiteX15" fmla="*/ 59107 w 85078"/>
                <a:gd name="connsiteY15" fmla="*/ 103885 h 102989"/>
                <a:gd name="connsiteX16" fmla="*/ 28658 w 85078"/>
                <a:gd name="connsiteY16" fmla="*/ 99408 h 102989"/>
                <a:gd name="connsiteX17" fmla="*/ 57764 w 85078"/>
                <a:gd name="connsiteY17" fmla="*/ 99408 h 102989"/>
                <a:gd name="connsiteX18" fmla="*/ 58212 w 85078"/>
                <a:gd name="connsiteY18" fmla="*/ 96273 h 102989"/>
                <a:gd name="connsiteX19" fmla="*/ 59555 w 85078"/>
                <a:gd name="connsiteY19" fmla="*/ 89556 h 102989"/>
                <a:gd name="connsiteX20" fmla="*/ 71645 w 85078"/>
                <a:gd name="connsiteY20" fmla="*/ 67167 h 102989"/>
                <a:gd name="connsiteX21" fmla="*/ 81049 w 85078"/>
                <a:gd name="connsiteY21" fmla="*/ 42092 h 102989"/>
                <a:gd name="connsiteX22" fmla="*/ 42987 w 85078"/>
                <a:gd name="connsiteY22" fmla="*/ 4030 h 102989"/>
                <a:gd name="connsiteX23" fmla="*/ 4926 w 85078"/>
                <a:gd name="connsiteY23" fmla="*/ 42092 h 102989"/>
                <a:gd name="connsiteX24" fmla="*/ 14329 w 85078"/>
                <a:gd name="connsiteY24" fmla="*/ 66720 h 102989"/>
                <a:gd name="connsiteX25" fmla="*/ 14777 w 85078"/>
                <a:gd name="connsiteY25" fmla="*/ 67167 h 102989"/>
                <a:gd name="connsiteX26" fmla="*/ 26867 w 85078"/>
                <a:gd name="connsiteY26" fmla="*/ 86422 h 102989"/>
                <a:gd name="connsiteX27" fmla="*/ 28210 w 85078"/>
                <a:gd name="connsiteY27" fmla="*/ 95377 h 102989"/>
                <a:gd name="connsiteX28" fmla="*/ 28658 w 85078"/>
                <a:gd name="connsiteY28" fmla="*/ 99408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078" h="102989">
                  <a:moveTo>
                    <a:pt x="59107" y="103885"/>
                  </a:moveTo>
                  <a:lnTo>
                    <a:pt x="26419" y="103885"/>
                  </a:lnTo>
                  <a:cubicBezTo>
                    <a:pt x="25524" y="103885"/>
                    <a:pt x="24628" y="102990"/>
                    <a:pt x="24180" y="102094"/>
                  </a:cubicBezTo>
                  <a:cubicBezTo>
                    <a:pt x="23733" y="100751"/>
                    <a:pt x="23733" y="98512"/>
                    <a:pt x="23285" y="96273"/>
                  </a:cubicBezTo>
                  <a:cubicBezTo>
                    <a:pt x="22837" y="93586"/>
                    <a:pt x="22389" y="89556"/>
                    <a:pt x="21941" y="88661"/>
                  </a:cubicBezTo>
                  <a:cubicBezTo>
                    <a:pt x="18359" y="80153"/>
                    <a:pt x="10299" y="70302"/>
                    <a:pt x="10299" y="70302"/>
                  </a:cubicBezTo>
                  <a:cubicBezTo>
                    <a:pt x="10299" y="70302"/>
                    <a:pt x="10299" y="69854"/>
                    <a:pt x="9851" y="69854"/>
                  </a:cubicBezTo>
                  <a:cubicBezTo>
                    <a:pt x="3582" y="62242"/>
                    <a:pt x="0" y="52391"/>
                    <a:pt x="0" y="42539"/>
                  </a:cubicBezTo>
                  <a:cubicBezTo>
                    <a:pt x="0" y="19255"/>
                    <a:pt x="19255" y="0"/>
                    <a:pt x="42539" y="0"/>
                  </a:cubicBezTo>
                  <a:cubicBezTo>
                    <a:pt x="65824" y="0"/>
                    <a:pt x="85079" y="19255"/>
                    <a:pt x="85079" y="42539"/>
                  </a:cubicBezTo>
                  <a:cubicBezTo>
                    <a:pt x="85079" y="52838"/>
                    <a:pt x="81496" y="62689"/>
                    <a:pt x="74780" y="70302"/>
                  </a:cubicBezTo>
                  <a:lnTo>
                    <a:pt x="74780" y="70302"/>
                  </a:lnTo>
                  <a:cubicBezTo>
                    <a:pt x="74780" y="70302"/>
                    <a:pt x="66272" y="81944"/>
                    <a:pt x="63137" y="90900"/>
                  </a:cubicBezTo>
                  <a:cubicBezTo>
                    <a:pt x="62689" y="91795"/>
                    <a:pt x="62242" y="94930"/>
                    <a:pt x="61794" y="97169"/>
                  </a:cubicBezTo>
                  <a:cubicBezTo>
                    <a:pt x="61346" y="99408"/>
                    <a:pt x="60898" y="101647"/>
                    <a:pt x="60898" y="102542"/>
                  </a:cubicBezTo>
                  <a:cubicBezTo>
                    <a:pt x="61346" y="102990"/>
                    <a:pt x="60451" y="103885"/>
                    <a:pt x="59107" y="103885"/>
                  </a:cubicBezTo>
                  <a:close/>
                  <a:moveTo>
                    <a:pt x="28658" y="99408"/>
                  </a:moveTo>
                  <a:lnTo>
                    <a:pt x="57764" y="99408"/>
                  </a:lnTo>
                  <a:cubicBezTo>
                    <a:pt x="57764" y="98512"/>
                    <a:pt x="58212" y="97616"/>
                    <a:pt x="58212" y="96273"/>
                  </a:cubicBezTo>
                  <a:cubicBezTo>
                    <a:pt x="58660" y="93139"/>
                    <a:pt x="59107" y="90452"/>
                    <a:pt x="59555" y="89556"/>
                  </a:cubicBezTo>
                  <a:cubicBezTo>
                    <a:pt x="62689" y="79705"/>
                    <a:pt x="71197" y="68063"/>
                    <a:pt x="71645" y="67167"/>
                  </a:cubicBezTo>
                  <a:cubicBezTo>
                    <a:pt x="77914" y="60003"/>
                    <a:pt x="81049" y="51495"/>
                    <a:pt x="81049" y="42092"/>
                  </a:cubicBezTo>
                  <a:cubicBezTo>
                    <a:pt x="81049" y="21046"/>
                    <a:pt x="64033" y="4030"/>
                    <a:pt x="42987" y="4030"/>
                  </a:cubicBezTo>
                  <a:cubicBezTo>
                    <a:pt x="21941" y="4030"/>
                    <a:pt x="4926" y="21046"/>
                    <a:pt x="4926" y="42092"/>
                  </a:cubicBezTo>
                  <a:cubicBezTo>
                    <a:pt x="4926" y="51495"/>
                    <a:pt x="8060" y="60003"/>
                    <a:pt x="14329" y="66720"/>
                  </a:cubicBezTo>
                  <a:cubicBezTo>
                    <a:pt x="14329" y="66720"/>
                    <a:pt x="14777" y="67167"/>
                    <a:pt x="14777" y="67167"/>
                  </a:cubicBezTo>
                  <a:cubicBezTo>
                    <a:pt x="16568" y="69406"/>
                    <a:pt x="23285" y="77914"/>
                    <a:pt x="26867" y="86422"/>
                  </a:cubicBezTo>
                  <a:cubicBezTo>
                    <a:pt x="27763" y="88213"/>
                    <a:pt x="27763" y="90900"/>
                    <a:pt x="28210" y="95377"/>
                  </a:cubicBezTo>
                  <a:cubicBezTo>
                    <a:pt x="28210" y="97169"/>
                    <a:pt x="28210" y="98512"/>
                    <a:pt x="28658" y="99408"/>
                  </a:cubicBezTo>
                  <a:close/>
                </a:path>
              </a:pathLst>
            </a:custGeom>
            <a:solidFill>
              <a:srgbClr val="231F20"/>
            </a:solidFill>
            <a:ln w="4474" cap="flat">
              <a:noFill/>
              <a:prstDash val="solid"/>
              <a:miter/>
            </a:ln>
          </p:spPr>
          <p:txBody>
            <a:bodyPr rtlCol="0" anchor="ctr"/>
            <a:lstStyle/>
            <a:p>
              <a:endParaRPr lang="en-US"/>
            </a:p>
          </p:txBody>
        </p:sp>
        <p:sp>
          <p:nvSpPr>
            <p:cNvPr id="4556" name="Freeform: Shape 4555">
              <a:extLst>
                <a:ext uri="{FF2B5EF4-FFF2-40B4-BE49-F238E27FC236}">
                  <a16:creationId xmlns:a16="http://schemas.microsoft.com/office/drawing/2014/main" id="{823BFB90-8401-48D2-9FC1-748685290EBF}"/>
                </a:ext>
              </a:extLst>
            </p:cNvPr>
            <p:cNvSpPr/>
            <p:nvPr/>
          </p:nvSpPr>
          <p:spPr>
            <a:xfrm>
              <a:off x="4595549" y="3958476"/>
              <a:ext cx="35823" cy="4478"/>
            </a:xfrm>
            <a:custGeom>
              <a:avLst/>
              <a:gdLst>
                <a:gd name="connsiteX0" fmla="*/ 35375 w 35822"/>
                <a:gd name="connsiteY0" fmla="*/ 4478 h 4477"/>
                <a:gd name="connsiteX1" fmla="*/ 2239 w 35822"/>
                <a:gd name="connsiteY1" fmla="*/ 4478 h 4477"/>
                <a:gd name="connsiteX2" fmla="*/ 0 w 35822"/>
                <a:gd name="connsiteY2" fmla="*/ 2239 h 4477"/>
                <a:gd name="connsiteX3" fmla="*/ 2239 w 35822"/>
                <a:gd name="connsiteY3" fmla="*/ 0 h 4477"/>
                <a:gd name="connsiteX4" fmla="*/ 35375 w 35822"/>
                <a:gd name="connsiteY4" fmla="*/ 0 h 4477"/>
                <a:gd name="connsiteX5" fmla="*/ 37614 w 35822"/>
                <a:gd name="connsiteY5" fmla="*/ 2239 h 4477"/>
                <a:gd name="connsiteX6" fmla="*/ 35375 w 35822"/>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4477">
                  <a:moveTo>
                    <a:pt x="35375" y="4478"/>
                  </a:moveTo>
                  <a:lnTo>
                    <a:pt x="2239" y="4478"/>
                  </a:lnTo>
                  <a:cubicBezTo>
                    <a:pt x="895" y="4478"/>
                    <a:pt x="0" y="3582"/>
                    <a:pt x="0" y="2239"/>
                  </a:cubicBezTo>
                  <a:cubicBezTo>
                    <a:pt x="0" y="896"/>
                    <a:pt x="895" y="0"/>
                    <a:pt x="2239" y="0"/>
                  </a:cubicBezTo>
                  <a:lnTo>
                    <a:pt x="35375" y="0"/>
                  </a:lnTo>
                  <a:cubicBezTo>
                    <a:pt x="36718" y="0"/>
                    <a:pt x="37614" y="896"/>
                    <a:pt x="37614" y="2239"/>
                  </a:cubicBezTo>
                  <a:cubicBezTo>
                    <a:pt x="37614" y="3582"/>
                    <a:pt x="36270" y="4478"/>
                    <a:pt x="35375" y="4478"/>
                  </a:cubicBezTo>
                  <a:close/>
                </a:path>
              </a:pathLst>
            </a:custGeom>
            <a:solidFill>
              <a:srgbClr val="231F20"/>
            </a:solidFill>
            <a:ln w="4474" cap="flat">
              <a:noFill/>
              <a:prstDash val="solid"/>
              <a:miter/>
            </a:ln>
          </p:spPr>
          <p:txBody>
            <a:bodyPr rtlCol="0" anchor="ctr"/>
            <a:lstStyle/>
            <a:p>
              <a:endParaRPr lang="en-US"/>
            </a:p>
          </p:txBody>
        </p:sp>
        <p:sp>
          <p:nvSpPr>
            <p:cNvPr id="4557" name="Freeform: Shape 4556">
              <a:extLst>
                <a:ext uri="{FF2B5EF4-FFF2-40B4-BE49-F238E27FC236}">
                  <a16:creationId xmlns:a16="http://schemas.microsoft.com/office/drawing/2014/main" id="{181FEA04-DAD9-44C1-87E6-251981D117D8}"/>
                </a:ext>
              </a:extLst>
            </p:cNvPr>
            <p:cNvSpPr/>
            <p:nvPr/>
          </p:nvSpPr>
          <p:spPr>
            <a:xfrm>
              <a:off x="4597340" y="3971910"/>
              <a:ext cx="31345" cy="4478"/>
            </a:xfrm>
            <a:custGeom>
              <a:avLst/>
              <a:gdLst>
                <a:gd name="connsiteX0" fmla="*/ 31793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31793 w 31344"/>
                <a:gd name="connsiteY4" fmla="*/ 0 h 4477"/>
                <a:gd name="connsiteX5" fmla="*/ 34032 w 31344"/>
                <a:gd name="connsiteY5" fmla="*/ 2239 h 4477"/>
                <a:gd name="connsiteX6" fmla="*/ 31793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31793" y="4478"/>
                  </a:moveTo>
                  <a:lnTo>
                    <a:pt x="2239" y="4478"/>
                  </a:lnTo>
                  <a:cubicBezTo>
                    <a:pt x="896" y="4478"/>
                    <a:pt x="0" y="3582"/>
                    <a:pt x="0" y="2239"/>
                  </a:cubicBezTo>
                  <a:cubicBezTo>
                    <a:pt x="0" y="896"/>
                    <a:pt x="896" y="0"/>
                    <a:pt x="2239" y="0"/>
                  </a:cubicBezTo>
                  <a:lnTo>
                    <a:pt x="31793" y="0"/>
                  </a:lnTo>
                  <a:cubicBezTo>
                    <a:pt x="33136" y="0"/>
                    <a:pt x="34032" y="896"/>
                    <a:pt x="34032" y="2239"/>
                  </a:cubicBezTo>
                  <a:cubicBezTo>
                    <a:pt x="34032" y="3582"/>
                    <a:pt x="32688" y="4478"/>
                    <a:pt x="31793" y="4478"/>
                  </a:cubicBezTo>
                  <a:close/>
                </a:path>
              </a:pathLst>
            </a:custGeom>
            <a:solidFill>
              <a:srgbClr val="231F20"/>
            </a:solidFill>
            <a:ln w="4474" cap="flat">
              <a:noFill/>
              <a:prstDash val="solid"/>
              <a:miter/>
            </a:ln>
          </p:spPr>
          <p:txBody>
            <a:bodyPr rtlCol="0" anchor="ctr"/>
            <a:lstStyle/>
            <a:p>
              <a:endParaRPr lang="en-US"/>
            </a:p>
          </p:txBody>
        </p:sp>
        <p:sp>
          <p:nvSpPr>
            <p:cNvPr id="4558" name="Freeform: Shape 4557">
              <a:extLst>
                <a:ext uri="{FF2B5EF4-FFF2-40B4-BE49-F238E27FC236}">
                  <a16:creationId xmlns:a16="http://schemas.microsoft.com/office/drawing/2014/main" id="{723FC496-4F2A-460E-B082-ABEA70A69F51}"/>
                </a:ext>
              </a:extLst>
            </p:cNvPr>
            <p:cNvSpPr/>
            <p:nvPr/>
          </p:nvSpPr>
          <p:spPr>
            <a:xfrm>
              <a:off x="4603161" y="3985343"/>
              <a:ext cx="17911" cy="4478"/>
            </a:xfrm>
            <a:custGeom>
              <a:avLst/>
              <a:gdLst>
                <a:gd name="connsiteX0" fmla="*/ 19703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9703 w 17911"/>
                <a:gd name="connsiteY4" fmla="*/ 0 h 4477"/>
                <a:gd name="connsiteX5" fmla="*/ 21941 w 17911"/>
                <a:gd name="connsiteY5" fmla="*/ 2239 h 4477"/>
                <a:gd name="connsiteX6" fmla="*/ 19703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9703" y="4478"/>
                  </a:moveTo>
                  <a:lnTo>
                    <a:pt x="2239" y="4478"/>
                  </a:lnTo>
                  <a:cubicBezTo>
                    <a:pt x="896" y="4478"/>
                    <a:pt x="0" y="3582"/>
                    <a:pt x="0" y="2239"/>
                  </a:cubicBezTo>
                  <a:cubicBezTo>
                    <a:pt x="0" y="896"/>
                    <a:pt x="896" y="0"/>
                    <a:pt x="2239" y="0"/>
                  </a:cubicBezTo>
                  <a:lnTo>
                    <a:pt x="19703" y="0"/>
                  </a:lnTo>
                  <a:cubicBezTo>
                    <a:pt x="21046" y="0"/>
                    <a:pt x="21941" y="896"/>
                    <a:pt x="21941" y="2239"/>
                  </a:cubicBezTo>
                  <a:cubicBezTo>
                    <a:pt x="21941" y="3582"/>
                    <a:pt x="21046" y="4478"/>
                    <a:pt x="19703" y="4478"/>
                  </a:cubicBezTo>
                  <a:close/>
                </a:path>
              </a:pathLst>
            </a:custGeom>
            <a:solidFill>
              <a:srgbClr val="231F20"/>
            </a:solidFill>
            <a:ln w="4474" cap="flat">
              <a:noFill/>
              <a:prstDash val="solid"/>
              <a:miter/>
            </a:ln>
          </p:spPr>
          <p:txBody>
            <a:bodyPr rtlCol="0" anchor="ctr"/>
            <a:lstStyle/>
            <a:p>
              <a:endParaRPr lang="en-US"/>
            </a:p>
          </p:txBody>
        </p:sp>
        <p:sp>
          <p:nvSpPr>
            <p:cNvPr id="4559" name="Freeform: Shape 4558">
              <a:extLst>
                <a:ext uri="{FF2B5EF4-FFF2-40B4-BE49-F238E27FC236}">
                  <a16:creationId xmlns:a16="http://schemas.microsoft.com/office/drawing/2014/main" id="{4F929331-D9AB-4442-AE37-6CA96B3FC9AD}"/>
                </a:ext>
              </a:extLst>
            </p:cNvPr>
            <p:cNvSpPr/>
            <p:nvPr/>
          </p:nvSpPr>
          <p:spPr>
            <a:xfrm>
              <a:off x="4613460" y="3822799"/>
              <a:ext cx="4478" cy="17911"/>
            </a:xfrm>
            <a:custGeom>
              <a:avLst/>
              <a:gdLst>
                <a:gd name="connsiteX0" fmla="*/ 2239 w 4477"/>
                <a:gd name="connsiteY0" fmla="*/ 19255 h 17911"/>
                <a:gd name="connsiteX1" fmla="*/ 0 w 4477"/>
                <a:gd name="connsiteY1" fmla="*/ 17016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7016 h 17911"/>
                <a:gd name="connsiteX6" fmla="*/ 2239 w 4477"/>
                <a:gd name="connsiteY6" fmla="*/ 19255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19255"/>
                  </a:moveTo>
                  <a:cubicBezTo>
                    <a:pt x="895" y="19255"/>
                    <a:pt x="0" y="18359"/>
                    <a:pt x="0" y="17016"/>
                  </a:cubicBezTo>
                  <a:lnTo>
                    <a:pt x="0" y="2239"/>
                  </a:lnTo>
                  <a:cubicBezTo>
                    <a:pt x="0" y="896"/>
                    <a:pt x="895" y="0"/>
                    <a:pt x="2239" y="0"/>
                  </a:cubicBezTo>
                  <a:cubicBezTo>
                    <a:pt x="3582" y="0"/>
                    <a:pt x="4478" y="896"/>
                    <a:pt x="4478" y="2239"/>
                  </a:cubicBezTo>
                  <a:lnTo>
                    <a:pt x="4478" y="17016"/>
                  </a:lnTo>
                  <a:cubicBezTo>
                    <a:pt x="4478" y="18359"/>
                    <a:pt x="3134" y="19255"/>
                    <a:pt x="2239" y="19255"/>
                  </a:cubicBezTo>
                  <a:close/>
                </a:path>
              </a:pathLst>
            </a:custGeom>
            <a:solidFill>
              <a:srgbClr val="231F20"/>
            </a:solidFill>
            <a:ln w="4474" cap="flat">
              <a:noFill/>
              <a:prstDash val="solid"/>
              <a:miter/>
            </a:ln>
          </p:spPr>
          <p:txBody>
            <a:bodyPr rtlCol="0" anchor="ctr"/>
            <a:lstStyle/>
            <a:p>
              <a:endParaRPr lang="en-US"/>
            </a:p>
          </p:txBody>
        </p:sp>
        <p:sp>
          <p:nvSpPr>
            <p:cNvPr id="4560" name="Freeform: Shape 4559">
              <a:extLst>
                <a:ext uri="{FF2B5EF4-FFF2-40B4-BE49-F238E27FC236}">
                  <a16:creationId xmlns:a16="http://schemas.microsoft.com/office/drawing/2014/main" id="{E6A30D55-402D-4DD5-9A01-3316894FF87D}"/>
                </a:ext>
              </a:extLst>
            </p:cNvPr>
            <p:cNvSpPr/>
            <p:nvPr/>
          </p:nvSpPr>
          <p:spPr>
            <a:xfrm>
              <a:off x="4649507" y="3840486"/>
              <a:ext cx="13433" cy="13433"/>
            </a:xfrm>
            <a:custGeom>
              <a:avLst/>
              <a:gdLst>
                <a:gd name="connsiteX0" fmla="*/ 2463 w 13433"/>
                <a:gd name="connsiteY0" fmla="*/ 14553 h 13433"/>
                <a:gd name="connsiteX1" fmla="*/ 672 w 13433"/>
                <a:gd name="connsiteY1" fmla="*/ 14105 h 13433"/>
                <a:gd name="connsiteX2" fmla="*/ 672 w 13433"/>
                <a:gd name="connsiteY2" fmla="*/ 10971 h 13433"/>
                <a:gd name="connsiteX3" fmla="*/ 10971 w 13433"/>
                <a:gd name="connsiteY3" fmla="*/ 672 h 13433"/>
                <a:gd name="connsiteX4" fmla="*/ 14105 w 13433"/>
                <a:gd name="connsiteY4" fmla="*/ 672 h 13433"/>
                <a:gd name="connsiteX5" fmla="*/ 14105 w 13433"/>
                <a:gd name="connsiteY5" fmla="*/ 3806 h 13433"/>
                <a:gd name="connsiteX6" fmla="*/ 3806 w 13433"/>
                <a:gd name="connsiteY6" fmla="*/ 14105 h 13433"/>
                <a:gd name="connsiteX7" fmla="*/ 2463 w 13433"/>
                <a:gd name="connsiteY7" fmla="*/ 1455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463" y="14553"/>
                  </a:moveTo>
                  <a:cubicBezTo>
                    <a:pt x="2015" y="14553"/>
                    <a:pt x="1119" y="14553"/>
                    <a:pt x="672" y="14105"/>
                  </a:cubicBezTo>
                  <a:cubicBezTo>
                    <a:pt x="-224" y="13210"/>
                    <a:pt x="-224" y="11866"/>
                    <a:pt x="672" y="10971"/>
                  </a:cubicBezTo>
                  <a:lnTo>
                    <a:pt x="10971" y="672"/>
                  </a:lnTo>
                  <a:cubicBezTo>
                    <a:pt x="11866" y="-224"/>
                    <a:pt x="13210" y="-224"/>
                    <a:pt x="14105" y="672"/>
                  </a:cubicBezTo>
                  <a:cubicBezTo>
                    <a:pt x="15001" y="1567"/>
                    <a:pt x="15001" y="2911"/>
                    <a:pt x="14105" y="3806"/>
                  </a:cubicBezTo>
                  <a:lnTo>
                    <a:pt x="3806" y="14105"/>
                  </a:lnTo>
                  <a:cubicBezTo>
                    <a:pt x="3806" y="14105"/>
                    <a:pt x="2910" y="14553"/>
                    <a:pt x="2463" y="14553"/>
                  </a:cubicBezTo>
                  <a:close/>
                </a:path>
              </a:pathLst>
            </a:custGeom>
            <a:solidFill>
              <a:srgbClr val="231F20"/>
            </a:solidFill>
            <a:ln w="4474" cap="flat">
              <a:noFill/>
              <a:prstDash val="solid"/>
              <a:miter/>
            </a:ln>
          </p:spPr>
          <p:txBody>
            <a:bodyPr rtlCol="0" anchor="ctr"/>
            <a:lstStyle/>
            <a:p>
              <a:endParaRPr lang="en-US"/>
            </a:p>
          </p:txBody>
        </p:sp>
        <p:sp>
          <p:nvSpPr>
            <p:cNvPr id="4561" name="Freeform: Shape 4560">
              <a:extLst>
                <a:ext uri="{FF2B5EF4-FFF2-40B4-BE49-F238E27FC236}">
                  <a16:creationId xmlns:a16="http://schemas.microsoft.com/office/drawing/2014/main" id="{7CED2C13-EA13-41F4-A5BC-AFFCCB0B0341}"/>
                </a:ext>
              </a:extLst>
            </p:cNvPr>
            <p:cNvSpPr/>
            <p:nvPr/>
          </p:nvSpPr>
          <p:spPr>
            <a:xfrm>
              <a:off x="4666299" y="3883697"/>
              <a:ext cx="17911" cy="4478"/>
            </a:xfrm>
            <a:custGeom>
              <a:avLst/>
              <a:gdLst>
                <a:gd name="connsiteX0" fmla="*/ 17016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7016 w 17911"/>
                <a:gd name="connsiteY4" fmla="*/ 0 h 4477"/>
                <a:gd name="connsiteX5" fmla="*/ 19255 w 17911"/>
                <a:gd name="connsiteY5" fmla="*/ 2239 h 4477"/>
                <a:gd name="connsiteX6" fmla="*/ 17016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7016" y="4478"/>
                  </a:moveTo>
                  <a:lnTo>
                    <a:pt x="2239" y="4478"/>
                  </a:lnTo>
                  <a:cubicBezTo>
                    <a:pt x="896" y="4478"/>
                    <a:pt x="0" y="3582"/>
                    <a:pt x="0" y="2239"/>
                  </a:cubicBezTo>
                  <a:cubicBezTo>
                    <a:pt x="0" y="896"/>
                    <a:pt x="896" y="0"/>
                    <a:pt x="2239" y="0"/>
                  </a:cubicBezTo>
                  <a:lnTo>
                    <a:pt x="17016" y="0"/>
                  </a:lnTo>
                  <a:cubicBezTo>
                    <a:pt x="18359" y="0"/>
                    <a:pt x="19255" y="896"/>
                    <a:pt x="19255" y="2239"/>
                  </a:cubicBezTo>
                  <a:cubicBezTo>
                    <a:pt x="19255" y="3582"/>
                    <a:pt x="17911" y="4478"/>
                    <a:pt x="17016" y="4478"/>
                  </a:cubicBezTo>
                  <a:close/>
                </a:path>
              </a:pathLst>
            </a:custGeom>
            <a:solidFill>
              <a:srgbClr val="231F20"/>
            </a:solidFill>
            <a:ln w="4474" cap="flat">
              <a:noFill/>
              <a:prstDash val="solid"/>
              <a:miter/>
            </a:ln>
          </p:spPr>
          <p:txBody>
            <a:bodyPr rtlCol="0" anchor="ctr"/>
            <a:lstStyle/>
            <a:p>
              <a:endParaRPr lang="en-US"/>
            </a:p>
          </p:txBody>
        </p:sp>
        <p:sp>
          <p:nvSpPr>
            <p:cNvPr id="4562" name="Freeform: Shape 4561">
              <a:extLst>
                <a:ext uri="{FF2B5EF4-FFF2-40B4-BE49-F238E27FC236}">
                  <a16:creationId xmlns:a16="http://schemas.microsoft.com/office/drawing/2014/main" id="{5AA9675B-21C0-40F9-BCE7-77EC2825388F}"/>
                </a:ext>
              </a:extLst>
            </p:cNvPr>
            <p:cNvSpPr/>
            <p:nvPr/>
          </p:nvSpPr>
          <p:spPr>
            <a:xfrm>
              <a:off x="4545845" y="3883697"/>
              <a:ext cx="17911" cy="4478"/>
            </a:xfrm>
            <a:custGeom>
              <a:avLst/>
              <a:gdLst>
                <a:gd name="connsiteX0" fmla="*/ 17016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7016 w 17911"/>
                <a:gd name="connsiteY4" fmla="*/ 0 h 4477"/>
                <a:gd name="connsiteX5" fmla="*/ 19255 w 17911"/>
                <a:gd name="connsiteY5" fmla="*/ 2239 h 4477"/>
                <a:gd name="connsiteX6" fmla="*/ 17016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7016" y="4478"/>
                  </a:moveTo>
                  <a:lnTo>
                    <a:pt x="2239" y="4478"/>
                  </a:lnTo>
                  <a:cubicBezTo>
                    <a:pt x="896" y="4478"/>
                    <a:pt x="0" y="3582"/>
                    <a:pt x="0" y="2239"/>
                  </a:cubicBezTo>
                  <a:cubicBezTo>
                    <a:pt x="0" y="896"/>
                    <a:pt x="896" y="0"/>
                    <a:pt x="2239" y="0"/>
                  </a:cubicBezTo>
                  <a:lnTo>
                    <a:pt x="17016" y="0"/>
                  </a:lnTo>
                  <a:cubicBezTo>
                    <a:pt x="18359" y="0"/>
                    <a:pt x="19255" y="896"/>
                    <a:pt x="19255" y="2239"/>
                  </a:cubicBezTo>
                  <a:cubicBezTo>
                    <a:pt x="19255" y="3582"/>
                    <a:pt x="18359" y="4478"/>
                    <a:pt x="17016" y="4478"/>
                  </a:cubicBezTo>
                  <a:close/>
                </a:path>
              </a:pathLst>
            </a:custGeom>
            <a:solidFill>
              <a:srgbClr val="231F20"/>
            </a:solidFill>
            <a:ln w="4474" cap="flat">
              <a:noFill/>
              <a:prstDash val="solid"/>
              <a:miter/>
            </a:ln>
          </p:spPr>
          <p:txBody>
            <a:bodyPr rtlCol="0" anchor="ctr"/>
            <a:lstStyle/>
            <a:p>
              <a:endParaRPr lang="en-US"/>
            </a:p>
          </p:txBody>
        </p:sp>
        <p:sp>
          <p:nvSpPr>
            <p:cNvPr id="4563" name="Freeform: Shape 4562">
              <a:extLst>
                <a:ext uri="{FF2B5EF4-FFF2-40B4-BE49-F238E27FC236}">
                  <a16:creationId xmlns:a16="http://schemas.microsoft.com/office/drawing/2014/main" id="{A65BC45E-2641-491C-A732-AE3E3B4D1617}"/>
                </a:ext>
              </a:extLst>
            </p:cNvPr>
            <p:cNvSpPr/>
            <p:nvPr/>
          </p:nvSpPr>
          <p:spPr>
            <a:xfrm>
              <a:off x="4565772" y="3840486"/>
              <a:ext cx="13433" cy="13433"/>
            </a:xfrm>
            <a:custGeom>
              <a:avLst/>
              <a:gdLst>
                <a:gd name="connsiteX0" fmla="*/ 12762 w 13433"/>
                <a:gd name="connsiteY0" fmla="*/ 14553 h 13433"/>
                <a:gd name="connsiteX1" fmla="*/ 10971 w 13433"/>
                <a:gd name="connsiteY1" fmla="*/ 14105 h 13433"/>
                <a:gd name="connsiteX2" fmla="*/ 672 w 13433"/>
                <a:gd name="connsiteY2" fmla="*/ 3806 h 13433"/>
                <a:gd name="connsiteX3" fmla="*/ 672 w 13433"/>
                <a:gd name="connsiteY3" fmla="*/ 672 h 13433"/>
                <a:gd name="connsiteX4" fmla="*/ 3806 w 13433"/>
                <a:gd name="connsiteY4" fmla="*/ 672 h 13433"/>
                <a:gd name="connsiteX5" fmla="*/ 14105 w 13433"/>
                <a:gd name="connsiteY5" fmla="*/ 10971 h 13433"/>
                <a:gd name="connsiteX6" fmla="*/ 14105 w 13433"/>
                <a:gd name="connsiteY6" fmla="*/ 14105 h 13433"/>
                <a:gd name="connsiteX7" fmla="*/ 12762 w 13433"/>
                <a:gd name="connsiteY7" fmla="*/ 1455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12762" y="14553"/>
                  </a:moveTo>
                  <a:cubicBezTo>
                    <a:pt x="12314" y="14553"/>
                    <a:pt x="11418" y="14553"/>
                    <a:pt x="10971" y="14105"/>
                  </a:cubicBezTo>
                  <a:lnTo>
                    <a:pt x="672" y="3806"/>
                  </a:lnTo>
                  <a:cubicBezTo>
                    <a:pt x="-224" y="2911"/>
                    <a:pt x="-224" y="1567"/>
                    <a:pt x="672" y="672"/>
                  </a:cubicBezTo>
                  <a:cubicBezTo>
                    <a:pt x="1567" y="-224"/>
                    <a:pt x="2911" y="-224"/>
                    <a:pt x="3806" y="672"/>
                  </a:cubicBezTo>
                  <a:lnTo>
                    <a:pt x="14105" y="10971"/>
                  </a:lnTo>
                  <a:cubicBezTo>
                    <a:pt x="15001" y="11866"/>
                    <a:pt x="15001" y="13210"/>
                    <a:pt x="14105" y="14105"/>
                  </a:cubicBezTo>
                  <a:cubicBezTo>
                    <a:pt x="14105" y="14105"/>
                    <a:pt x="13657" y="14553"/>
                    <a:pt x="12762" y="14553"/>
                  </a:cubicBezTo>
                  <a:close/>
                </a:path>
              </a:pathLst>
            </a:custGeom>
            <a:solidFill>
              <a:srgbClr val="231F20"/>
            </a:solidFill>
            <a:ln w="4474" cap="flat">
              <a:noFill/>
              <a:prstDash val="solid"/>
              <a:miter/>
            </a:ln>
          </p:spPr>
          <p:txBody>
            <a:bodyPr rtlCol="0" anchor="ctr"/>
            <a:lstStyle/>
            <a:p>
              <a:endParaRPr lang="en-US"/>
            </a:p>
          </p:txBody>
        </p:sp>
      </p:grpSp>
      <p:sp>
        <p:nvSpPr>
          <p:cNvPr id="4564" name="Freeform: Shape 4563">
            <a:extLst>
              <a:ext uri="{FF2B5EF4-FFF2-40B4-BE49-F238E27FC236}">
                <a16:creationId xmlns:a16="http://schemas.microsoft.com/office/drawing/2014/main" id="{9FB8A482-D9D0-4D4A-A806-C1F7BC332B03}"/>
              </a:ext>
              <a:ext uri="{C183D7F6-B498-43B3-948B-1728B52AA6E4}">
                <adec:decorative xmlns:adec="http://schemas.microsoft.com/office/drawing/2017/decorative" val="1"/>
              </a:ext>
            </a:extLst>
          </p:cNvPr>
          <p:cNvSpPr>
            <a:spLocks noChangeAspect="1"/>
          </p:cNvSpPr>
          <p:nvPr/>
        </p:nvSpPr>
        <p:spPr>
          <a:xfrm>
            <a:off x="4805105" y="4567193"/>
            <a:ext cx="58212" cy="152246"/>
          </a:xfrm>
          <a:custGeom>
            <a:avLst/>
            <a:gdLst>
              <a:gd name="connsiteX0" fmla="*/ 31345 w 58211"/>
              <a:gd name="connsiteY0" fmla="*/ 94482 h 152245"/>
              <a:gd name="connsiteX1" fmla="*/ 31345 w 58211"/>
              <a:gd name="connsiteY1" fmla="*/ 31345 h 152245"/>
              <a:gd name="connsiteX2" fmla="*/ 55973 w 58211"/>
              <a:gd name="connsiteY2" fmla="*/ 31345 h 152245"/>
              <a:gd name="connsiteX3" fmla="*/ 58212 w 58211"/>
              <a:gd name="connsiteY3" fmla="*/ 29106 h 152245"/>
              <a:gd name="connsiteX4" fmla="*/ 55973 w 58211"/>
              <a:gd name="connsiteY4" fmla="*/ 26867 h 152245"/>
              <a:gd name="connsiteX5" fmla="*/ 31345 w 58211"/>
              <a:gd name="connsiteY5" fmla="*/ 26867 h 152245"/>
              <a:gd name="connsiteX6" fmla="*/ 31345 w 58211"/>
              <a:gd name="connsiteY6" fmla="*/ 17911 h 152245"/>
              <a:gd name="connsiteX7" fmla="*/ 42539 w 58211"/>
              <a:gd name="connsiteY7" fmla="*/ 17911 h 152245"/>
              <a:gd name="connsiteX8" fmla="*/ 44778 w 58211"/>
              <a:gd name="connsiteY8" fmla="*/ 15672 h 152245"/>
              <a:gd name="connsiteX9" fmla="*/ 42539 w 58211"/>
              <a:gd name="connsiteY9" fmla="*/ 13433 h 152245"/>
              <a:gd name="connsiteX10" fmla="*/ 31345 w 58211"/>
              <a:gd name="connsiteY10" fmla="*/ 13433 h 152245"/>
              <a:gd name="connsiteX11" fmla="*/ 31345 w 58211"/>
              <a:gd name="connsiteY11" fmla="*/ 4478 h 152245"/>
              <a:gd name="connsiteX12" fmla="*/ 54629 w 58211"/>
              <a:gd name="connsiteY12" fmla="*/ 4478 h 152245"/>
              <a:gd name="connsiteX13" fmla="*/ 56868 w 58211"/>
              <a:gd name="connsiteY13" fmla="*/ 2239 h 152245"/>
              <a:gd name="connsiteX14" fmla="*/ 54629 w 58211"/>
              <a:gd name="connsiteY14" fmla="*/ 0 h 152245"/>
              <a:gd name="connsiteX15" fmla="*/ 29106 w 58211"/>
              <a:gd name="connsiteY15" fmla="*/ 0 h 152245"/>
              <a:gd name="connsiteX16" fmla="*/ 26867 w 58211"/>
              <a:gd name="connsiteY16" fmla="*/ 2239 h 152245"/>
              <a:gd name="connsiteX17" fmla="*/ 26867 w 58211"/>
              <a:gd name="connsiteY17" fmla="*/ 94482 h 152245"/>
              <a:gd name="connsiteX18" fmla="*/ 0 w 58211"/>
              <a:gd name="connsiteY18" fmla="*/ 123140 h 152245"/>
              <a:gd name="connsiteX19" fmla="*/ 29106 w 58211"/>
              <a:gd name="connsiteY19" fmla="*/ 152246 h 152245"/>
              <a:gd name="connsiteX20" fmla="*/ 58212 w 58211"/>
              <a:gd name="connsiteY20" fmla="*/ 123140 h 152245"/>
              <a:gd name="connsiteX21" fmla="*/ 31345 w 58211"/>
              <a:gd name="connsiteY21" fmla="*/ 94482 h 152245"/>
              <a:gd name="connsiteX22" fmla="*/ 29106 w 58211"/>
              <a:gd name="connsiteY22" fmla="*/ 147768 h 152245"/>
              <a:gd name="connsiteX23" fmla="*/ 4478 w 58211"/>
              <a:gd name="connsiteY23" fmla="*/ 123140 h 152245"/>
              <a:gd name="connsiteX24" fmla="*/ 29106 w 58211"/>
              <a:gd name="connsiteY24" fmla="*/ 98512 h 152245"/>
              <a:gd name="connsiteX25" fmla="*/ 53734 w 58211"/>
              <a:gd name="connsiteY25" fmla="*/ 123140 h 152245"/>
              <a:gd name="connsiteX26" fmla="*/ 29106 w 58211"/>
              <a:gd name="connsiteY26"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11" h="152245">
                <a:moveTo>
                  <a:pt x="31345" y="94482"/>
                </a:moveTo>
                <a:lnTo>
                  <a:pt x="31345" y="31345"/>
                </a:lnTo>
                <a:lnTo>
                  <a:pt x="55973" y="31345"/>
                </a:lnTo>
                <a:cubicBezTo>
                  <a:pt x="57316" y="31345"/>
                  <a:pt x="58212" y="30449"/>
                  <a:pt x="58212" y="29106"/>
                </a:cubicBezTo>
                <a:cubicBezTo>
                  <a:pt x="58212" y="27763"/>
                  <a:pt x="57316" y="26867"/>
                  <a:pt x="55973" y="26867"/>
                </a:cubicBezTo>
                <a:lnTo>
                  <a:pt x="31345" y="26867"/>
                </a:lnTo>
                <a:lnTo>
                  <a:pt x="31345" y="17911"/>
                </a:lnTo>
                <a:lnTo>
                  <a:pt x="42539" y="17911"/>
                </a:lnTo>
                <a:cubicBezTo>
                  <a:pt x="43883" y="17911"/>
                  <a:pt x="44778" y="17016"/>
                  <a:pt x="44778" y="15672"/>
                </a:cubicBezTo>
                <a:cubicBezTo>
                  <a:pt x="44778" y="14329"/>
                  <a:pt x="43883" y="13433"/>
                  <a:pt x="42539" y="13433"/>
                </a:cubicBezTo>
                <a:lnTo>
                  <a:pt x="31345" y="13433"/>
                </a:lnTo>
                <a:lnTo>
                  <a:pt x="31345" y="4478"/>
                </a:lnTo>
                <a:lnTo>
                  <a:pt x="54629" y="4478"/>
                </a:lnTo>
                <a:cubicBezTo>
                  <a:pt x="55973" y="4478"/>
                  <a:pt x="56868" y="3582"/>
                  <a:pt x="56868" y="2239"/>
                </a:cubicBezTo>
                <a:cubicBezTo>
                  <a:pt x="56868" y="896"/>
                  <a:pt x="55973" y="0"/>
                  <a:pt x="54629" y="0"/>
                </a:cubicBezTo>
                <a:lnTo>
                  <a:pt x="29106" y="0"/>
                </a:lnTo>
                <a:cubicBezTo>
                  <a:pt x="27763" y="0"/>
                  <a:pt x="26867" y="896"/>
                  <a:pt x="26867" y="2239"/>
                </a:cubicBezTo>
                <a:lnTo>
                  <a:pt x="26867" y="94482"/>
                </a:lnTo>
                <a:cubicBezTo>
                  <a:pt x="12090" y="95825"/>
                  <a:pt x="0" y="107915"/>
                  <a:pt x="0" y="123140"/>
                </a:cubicBezTo>
                <a:cubicBezTo>
                  <a:pt x="0" y="139260"/>
                  <a:pt x="12986" y="152246"/>
                  <a:pt x="29106" y="152246"/>
                </a:cubicBezTo>
                <a:cubicBezTo>
                  <a:pt x="45226" y="152246"/>
                  <a:pt x="58212" y="139260"/>
                  <a:pt x="58212" y="123140"/>
                </a:cubicBezTo>
                <a:cubicBezTo>
                  <a:pt x="58212" y="107915"/>
                  <a:pt x="46569" y="95825"/>
                  <a:pt x="31345" y="94482"/>
                </a:cubicBezTo>
                <a:close/>
                <a:moveTo>
                  <a:pt x="29106" y="147768"/>
                </a:moveTo>
                <a:cubicBezTo>
                  <a:pt x="15672" y="147768"/>
                  <a:pt x="4478" y="136573"/>
                  <a:pt x="4478" y="123140"/>
                </a:cubicBezTo>
                <a:cubicBezTo>
                  <a:pt x="4478" y="109707"/>
                  <a:pt x="15672" y="98512"/>
                  <a:pt x="29106" y="98512"/>
                </a:cubicBezTo>
                <a:cubicBezTo>
                  <a:pt x="42539" y="98512"/>
                  <a:pt x="53734" y="109707"/>
                  <a:pt x="53734" y="123140"/>
                </a:cubicBezTo>
                <a:cubicBezTo>
                  <a:pt x="53734" y="136573"/>
                  <a:pt x="42987" y="147768"/>
                  <a:pt x="29106" y="147768"/>
                </a:cubicBezTo>
                <a:close/>
              </a:path>
            </a:pathLst>
          </a:custGeom>
          <a:solidFill>
            <a:srgbClr val="231F20"/>
          </a:solidFill>
          <a:ln w="4474" cap="flat">
            <a:noFill/>
            <a:prstDash val="solid"/>
            <a:miter/>
          </a:ln>
        </p:spPr>
        <p:txBody>
          <a:bodyPr rtlCol="0" anchor="ctr"/>
          <a:lstStyle/>
          <a:p>
            <a:endParaRPr lang="en-US"/>
          </a:p>
        </p:txBody>
      </p:sp>
      <p:grpSp>
        <p:nvGrpSpPr>
          <p:cNvPr id="4565" name="Group 4564">
            <a:extLst>
              <a:ext uri="{FF2B5EF4-FFF2-40B4-BE49-F238E27FC236}">
                <a16:creationId xmlns:a16="http://schemas.microsoft.com/office/drawing/2014/main" id="{8AD3343E-C929-42CE-A334-C4A556F2355A}"/>
              </a:ext>
              <a:ext uri="{C183D7F6-B498-43B3-948B-1728B52AA6E4}">
                <adec:decorative xmlns:adec="http://schemas.microsoft.com/office/drawing/2017/decorative" val="1"/>
              </a:ext>
            </a:extLst>
          </p:cNvPr>
          <p:cNvGrpSpPr>
            <a:grpSpLocks noChangeAspect="1"/>
          </p:cNvGrpSpPr>
          <p:nvPr/>
        </p:nvGrpSpPr>
        <p:grpSpPr>
          <a:xfrm>
            <a:off x="5032578" y="4580627"/>
            <a:ext cx="125379" cy="125379"/>
            <a:chOff x="5073332" y="3845188"/>
            <a:chExt cx="125379" cy="125379"/>
          </a:xfrm>
        </p:grpSpPr>
        <p:sp>
          <p:nvSpPr>
            <p:cNvPr id="4566" name="Freeform: Shape 4565">
              <a:extLst>
                <a:ext uri="{FF2B5EF4-FFF2-40B4-BE49-F238E27FC236}">
                  <a16:creationId xmlns:a16="http://schemas.microsoft.com/office/drawing/2014/main" id="{E94E1660-56C3-41EB-B6D7-EB432BDFEA2F}"/>
                </a:ext>
              </a:extLst>
            </p:cNvPr>
            <p:cNvSpPr/>
            <p:nvPr/>
          </p:nvSpPr>
          <p:spPr>
            <a:xfrm>
              <a:off x="5073332" y="3845188"/>
              <a:ext cx="125379" cy="125379"/>
            </a:xfrm>
            <a:custGeom>
              <a:avLst/>
              <a:gdLst>
                <a:gd name="connsiteX0" fmla="*/ 114184 w 125378"/>
                <a:gd name="connsiteY0" fmla="*/ 125379 h 125378"/>
                <a:gd name="connsiteX1" fmla="*/ 11195 w 125378"/>
                <a:gd name="connsiteY1" fmla="*/ 125379 h 125378"/>
                <a:gd name="connsiteX2" fmla="*/ 0 w 125378"/>
                <a:gd name="connsiteY2" fmla="*/ 114184 h 125378"/>
                <a:gd name="connsiteX3" fmla="*/ 0 w 125378"/>
                <a:gd name="connsiteY3" fmla="*/ 11195 h 125378"/>
                <a:gd name="connsiteX4" fmla="*/ 11195 w 125378"/>
                <a:gd name="connsiteY4" fmla="*/ 0 h 125378"/>
                <a:gd name="connsiteX5" fmla="*/ 114184 w 125378"/>
                <a:gd name="connsiteY5" fmla="*/ 0 h 125378"/>
                <a:gd name="connsiteX6" fmla="*/ 125379 w 125378"/>
                <a:gd name="connsiteY6" fmla="*/ 11195 h 125378"/>
                <a:gd name="connsiteX7" fmla="*/ 125379 w 125378"/>
                <a:gd name="connsiteY7" fmla="*/ 114184 h 125378"/>
                <a:gd name="connsiteX8" fmla="*/ 114184 w 125378"/>
                <a:gd name="connsiteY8" fmla="*/ 125379 h 125378"/>
                <a:gd name="connsiteX9" fmla="*/ 11195 w 125378"/>
                <a:gd name="connsiteY9" fmla="*/ 4478 h 125378"/>
                <a:gd name="connsiteX10" fmla="*/ 4478 w 125378"/>
                <a:gd name="connsiteY10" fmla="*/ 11195 h 125378"/>
                <a:gd name="connsiteX11" fmla="*/ 4478 w 125378"/>
                <a:gd name="connsiteY11" fmla="*/ 114184 h 125378"/>
                <a:gd name="connsiteX12" fmla="*/ 11195 w 125378"/>
                <a:gd name="connsiteY12" fmla="*/ 120901 h 125378"/>
                <a:gd name="connsiteX13" fmla="*/ 114184 w 125378"/>
                <a:gd name="connsiteY13" fmla="*/ 120901 h 125378"/>
                <a:gd name="connsiteX14" fmla="*/ 120901 w 125378"/>
                <a:gd name="connsiteY14" fmla="*/ 114184 h 125378"/>
                <a:gd name="connsiteX15" fmla="*/ 120901 w 125378"/>
                <a:gd name="connsiteY15" fmla="*/ 11195 h 125378"/>
                <a:gd name="connsiteX16" fmla="*/ 114184 w 125378"/>
                <a:gd name="connsiteY16" fmla="*/ 4478 h 125378"/>
                <a:gd name="connsiteX17" fmla="*/ 11195 w 125378"/>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378" h="125378">
                  <a:moveTo>
                    <a:pt x="114184" y="125379"/>
                  </a:moveTo>
                  <a:lnTo>
                    <a:pt x="11195" y="125379"/>
                  </a:lnTo>
                  <a:cubicBezTo>
                    <a:pt x="4926" y="125379"/>
                    <a:pt x="0" y="120453"/>
                    <a:pt x="0" y="114184"/>
                  </a:cubicBezTo>
                  <a:lnTo>
                    <a:pt x="0" y="11195"/>
                  </a:lnTo>
                  <a:cubicBezTo>
                    <a:pt x="0" y="4925"/>
                    <a:pt x="4926" y="0"/>
                    <a:pt x="11195" y="0"/>
                  </a:cubicBezTo>
                  <a:lnTo>
                    <a:pt x="114184" y="0"/>
                  </a:lnTo>
                  <a:cubicBezTo>
                    <a:pt x="120453" y="0"/>
                    <a:pt x="125379" y="4925"/>
                    <a:pt x="125379" y="11195"/>
                  </a:cubicBezTo>
                  <a:lnTo>
                    <a:pt x="125379" y="114184"/>
                  </a:lnTo>
                  <a:cubicBezTo>
                    <a:pt x="125379" y="120453"/>
                    <a:pt x="120006" y="125379"/>
                    <a:pt x="114184" y="125379"/>
                  </a:cubicBezTo>
                  <a:close/>
                  <a:moveTo>
                    <a:pt x="11195" y="4478"/>
                  </a:moveTo>
                  <a:cubicBezTo>
                    <a:pt x="7612" y="4478"/>
                    <a:pt x="4478" y="7612"/>
                    <a:pt x="4478" y="11195"/>
                  </a:cubicBezTo>
                  <a:lnTo>
                    <a:pt x="4478" y="114184"/>
                  </a:lnTo>
                  <a:cubicBezTo>
                    <a:pt x="4478" y="117767"/>
                    <a:pt x="7612" y="120901"/>
                    <a:pt x="11195" y="120901"/>
                  </a:cubicBezTo>
                  <a:lnTo>
                    <a:pt x="114184" y="120901"/>
                  </a:lnTo>
                  <a:cubicBezTo>
                    <a:pt x="117767" y="120901"/>
                    <a:pt x="120901" y="117767"/>
                    <a:pt x="120901" y="114184"/>
                  </a:cubicBezTo>
                  <a:lnTo>
                    <a:pt x="120901" y="11195"/>
                  </a:lnTo>
                  <a:cubicBezTo>
                    <a:pt x="120901" y="7612"/>
                    <a:pt x="117767" y="4478"/>
                    <a:pt x="114184" y="4478"/>
                  </a:cubicBezTo>
                  <a:lnTo>
                    <a:pt x="11195" y="4478"/>
                  </a:lnTo>
                  <a:close/>
                </a:path>
              </a:pathLst>
            </a:custGeom>
            <a:solidFill>
              <a:srgbClr val="231F20"/>
            </a:solidFill>
            <a:ln w="4474" cap="flat">
              <a:noFill/>
              <a:prstDash val="solid"/>
              <a:miter/>
            </a:ln>
          </p:spPr>
          <p:txBody>
            <a:bodyPr rtlCol="0" anchor="ctr"/>
            <a:lstStyle/>
            <a:p>
              <a:endParaRPr lang="en-US"/>
            </a:p>
          </p:txBody>
        </p:sp>
        <p:sp>
          <p:nvSpPr>
            <p:cNvPr id="4567" name="Freeform: Shape 4566">
              <a:extLst>
                <a:ext uri="{FF2B5EF4-FFF2-40B4-BE49-F238E27FC236}">
                  <a16:creationId xmlns:a16="http://schemas.microsoft.com/office/drawing/2014/main" id="{63EC1D8B-7348-4240-85E7-41B510458308}"/>
                </a:ext>
              </a:extLst>
            </p:cNvPr>
            <p:cNvSpPr/>
            <p:nvPr/>
          </p:nvSpPr>
          <p:spPr>
            <a:xfrm>
              <a:off x="5092741" y="3877134"/>
              <a:ext cx="85079" cy="62689"/>
            </a:xfrm>
            <a:custGeom>
              <a:avLst/>
              <a:gdLst>
                <a:gd name="connsiteX0" fmla="*/ 32982 w 85078"/>
                <a:gd name="connsiteY0" fmla="*/ 66566 h 62689"/>
                <a:gd name="connsiteX1" fmla="*/ 31639 w 85078"/>
                <a:gd name="connsiteY1" fmla="*/ 66118 h 62689"/>
                <a:gd name="connsiteX2" fmla="*/ 742 w 85078"/>
                <a:gd name="connsiteY2" fmla="*/ 40595 h 62689"/>
                <a:gd name="connsiteX3" fmla="*/ 294 w 85078"/>
                <a:gd name="connsiteY3" fmla="*/ 37460 h 62689"/>
                <a:gd name="connsiteX4" fmla="*/ 3429 w 85078"/>
                <a:gd name="connsiteY4" fmla="*/ 37012 h 62689"/>
                <a:gd name="connsiteX5" fmla="*/ 32534 w 85078"/>
                <a:gd name="connsiteY5" fmla="*/ 61192 h 62689"/>
                <a:gd name="connsiteX6" fmla="*/ 82686 w 85078"/>
                <a:gd name="connsiteY6" fmla="*/ 742 h 62689"/>
                <a:gd name="connsiteX7" fmla="*/ 85820 w 85078"/>
                <a:gd name="connsiteY7" fmla="*/ 294 h 62689"/>
                <a:gd name="connsiteX8" fmla="*/ 86268 w 85078"/>
                <a:gd name="connsiteY8" fmla="*/ 3429 h 62689"/>
                <a:gd name="connsiteX9" fmla="*/ 34773 w 85078"/>
                <a:gd name="connsiteY9" fmla="*/ 65670 h 62689"/>
                <a:gd name="connsiteX10" fmla="*/ 32982 w 85078"/>
                <a:gd name="connsiteY10" fmla="*/ 66566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78" h="62689">
                  <a:moveTo>
                    <a:pt x="32982" y="66566"/>
                  </a:moveTo>
                  <a:cubicBezTo>
                    <a:pt x="32534" y="66566"/>
                    <a:pt x="32086" y="66566"/>
                    <a:pt x="31639" y="66118"/>
                  </a:cubicBezTo>
                  <a:lnTo>
                    <a:pt x="742" y="40595"/>
                  </a:lnTo>
                  <a:cubicBezTo>
                    <a:pt x="-154" y="39699"/>
                    <a:pt x="-154" y="38356"/>
                    <a:pt x="294" y="37460"/>
                  </a:cubicBezTo>
                  <a:cubicBezTo>
                    <a:pt x="1190" y="36564"/>
                    <a:pt x="2533" y="36564"/>
                    <a:pt x="3429" y="37012"/>
                  </a:cubicBezTo>
                  <a:lnTo>
                    <a:pt x="32534" y="61192"/>
                  </a:lnTo>
                  <a:lnTo>
                    <a:pt x="82686" y="742"/>
                  </a:lnTo>
                  <a:cubicBezTo>
                    <a:pt x="83581" y="-154"/>
                    <a:pt x="84925" y="-154"/>
                    <a:pt x="85820" y="294"/>
                  </a:cubicBezTo>
                  <a:cubicBezTo>
                    <a:pt x="86716" y="1190"/>
                    <a:pt x="86716" y="2533"/>
                    <a:pt x="86268" y="3429"/>
                  </a:cubicBezTo>
                  <a:lnTo>
                    <a:pt x="34773" y="65670"/>
                  </a:lnTo>
                  <a:cubicBezTo>
                    <a:pt x="34325" y="66566"/>
                    <a:pt x="33430" y="66566"/>
                    <a:pt x="32982" y="66566"/>
                  </a:cubicBezTo>
                  <a:close/>
                </a:path>
              </a:pathLst>
            </a:custGeom>
            <a:solidFill>
              <a:srgbClr val="231F20"/>
            </a:solidFill>
            <a:ln w="4474" cap="flat">
              <a:noFill/>
              <a:prstDash val="solid"/>
              <a:miter/>
            </a:ln>
          </p:spPr>
          <p:txBody>
            <a:bodyPr rtlCol="0" anchor="ctr"/>
            <a:lstStyle/>
            <a:p>
              <a:endParaRPr lang="en-US"/>
            </a:p>
          </p:txBody>
        </p:sp>
      </p:grpSp>
      <p:grpSp>
        <p:nvGrpSpPr>
          <p:cNvPr id="4568" name="Group 4567">
            <a:extLst>
              <a:ext uri="{FF2B5EF4-FFF2-40B4-BE49-F238E27FC236}">
                <a16:creationId xmlns:a16="http://schemas.microsoft.com/office/drawing/2014/main" id="{B59EDAB3-F34E-4936-AB75-428E320D913C}"/>
              </a:ext>
              <a:ext uri="{C183D7F6-B498-43B3-948B-1728B52AA6E4}">
                <adec:decorative xmlns:adec="http://schemas.microsoft.com/office/drawing/2017/decorative" val="1"/>
              </a:ext>
            </a:extLst>
          </p:cNvPr>
          <p:cNvGrpSpPr>
            <a:grpSpLocks noChangeAspect="1"/>
          </p:cNvGrpSpPr>
          <p:nvPr/>
        </p:nvGrpSpPr>
        <p:grpSpPr>
          <a:xfrm>
            <a:off x="5286022" y="4580627"/>
            <a:ext cx="125379" cy="125379"/>
            <a:chOff x="5326776" y="3845188"/>
            <a:chExt cx="125379" cy="125379"/>
          </a:xfrm>
        </p:grpSpPr>
        <p:sp>
          <p:nvSpPr>
            <p:cNvPr id="4569" name="Freeform: Shape 4568">
              <a:extLst>
                <a:ext uri="{FF2B5EF4-FFF2-40B4-BE49-F238E27FC236}">
                  <a16:creationId xmlns:a16="http://schemas.microsoft.com/office/drawing/2014/main" id="{CD12F21D-32D5-45E5-B294-DB78565507EE}"/>
                </a:ext>
              </a:extLst>
            </p:cNvPr>
            <p:cNvSpPr/>
            <p:nvPr/>
          </p:nvSpPr>
          <p:spPr>
            <a:xfrm>
              <a:off x="5326776" y="3845188"/>
              <a:ext cx="125379" cy="125379"/>
            </a:xfrm>
            <a:custGeom>
              <a:avLst/>
              <a:gdLst>
                <a:gd name="connsiteX0" fmla="*/ 114184 w 125378"/>
                <a:gd name="connsiteY0" fmla="*/ 125379 h 125378"/>
                <a:gd name="connsiteX1" fmla="*/ 11195 w 125378"/>
                <a:gd name="connsiteY1" fmla="*/ 125379 h 125378"/>
                <a:gd name="connsiteX2" fmla="*/ 0 w 125378"/>
                <a:gd name="connsiteY2" fmla="*/ 114184 h 125378"/>
                <a:gd name="connsiteX3" fmla="*/ 0 w 125378"/>
                <a:gd name="connsiteY3" fmla="*/ 11195 h 125378"/>
                <a:gd name="connsiteX4" fmla="*/ 11195 w 125378"/>
                <a:gd name="connsiteY4" fmla="*/ 0 h 125378"/>
                <a:gd name="connsiteX5" fmla="*/ 114184 w 125378"/>
                <a:gd name="connsiteY5" fmla="*/ 0 h 125378"/>
                <a:gd name="connsiteX6" fmla="*/ 125379 w 125378"/>
                <a:gd name="connsiteY6" fmla="*/ 11195 h 125378"/>
                <a:gd name="connsiteX7" fmla="*/ 125379 w 125378"/>
                <a:gd name="connsiteY7" fmla="*/ 114184 h 125378"/>
                <a:gd name="connsiteX8" fmla="*/ 114184 w 125378"/>
                <a:gd name="connsiteY8" fmla="*/ 125379 h 125378"/>
                <a:gd name="connsiteX9" fmla="*/ 11195 w 125378"/>
                <a:gd name="connsiteY9" fmla="*/ 4478 h 125378"/>
                <a:gd name="connsiteX10" fmla="*/ 4478 w 125378"/>
                <a:gd name="connsiteY10" fmla="*/ 11195 h 125378"/>
                <a:gd name="connsiteX11" fmla="*/ 4478 w 125378"/>
                <a:gd name="connsiteY11" fmla="*/ 114184 h 125378"/>
                <a:gd name="connsiteX12" fmla="*/ 11195 w 125378"/>
                <a:gd name="connsiteY12" fmla="*/ 120901 h 125378"/>
                <a:gd name="connsiteX13" fmla="*/ 114184 w 125378"/>
                <a:gd name="connsiteY13" fmla="*/ 120901 h 125378"/>
                <a:gd name="connsiteX14" fmla="*/ 120901 w 125378"/>
                <a:gd name="connsiteY14" fmla="*/ 114184 h 125378"/>
                <a:gd name="connsiteX15" fmla="*/ 120901 w 125378"/>
                <a:gd name="connsiteY15" fmla="*/ 11195 h 125378"/>
                <a:gd name="connsiteX16" fmla="*/ 114184 w 125378"/>
                <a:gd name="connsiteY16" fmla="*/ 4478 h 125378"/>
                <a:gd name="connsiteX17" fmla="*/ 11195 w 125378"/>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378" h="125378">
                  <a:moveTo>
                    <a:pt x="114184" y="125379"/>
                  </a:moveTo>
                  <a:lnTo>
                    <a:pt x="11195" y="125379"/>
                  </a:lnTo>
                  <a:cubicBezTo>
                    <a:pt x="4926" y="125379"/>
                    <a:pt x="0" y="120453"/>
                    <a:pt x="0" y="114184"/>
                  </a:cubicBezTo>
                  <a:lnTo>
                    <a:pt x="0" y="11195"/>
                  </a:lnTo>
                  <a:cubicBezTo>
                    <a:pt x="0" y="4925"/>
                    <a:pt x="4926" y="0"/>
                    <a:pt x="11195" y="0"/>
                  </a:cubicBezTo>
                  <a:lnTo>
                    <a:pt x="114184" y="0"/>
                  </a:lnTo>
                  <a:cubicBezTo>
                    <a:pt x="120453" y="0"/>
                    <a:pt x="125379" y="4925"/>
                    <a:pt x="125379" y="11195"/>
                  </a:cubicBezTo>
                  <a:lnTo>
                    <a:pt x="125379" y="114184"/>
                  </a:lnTo>
                  <a:cubicBezTo>
                    <a:pt x="125379" y="120453"/>
                    <a:pt x="120453" y="125379"/>
                    <a:pt x="114184" y="125379"/>
                  </a:cubicBezTo>
                  <a:close/>
                  <a:moveTo>
                    <a:pt x="11195" y="4478"/>
                  </a:moveTo>
                  <a:cubicBezTo>
                    <a:pt x="7613" y="4478"/>
                    <a:pt x="4478" y="7612"/>
                    <a:pt x="4478" y="11195"/>
                  </a:cubicBezTo>
                  <a:lnTo>
                    <a:pt x="4478" y="114184"/>
                  </a:lnTo>
                  <a:cubicBezTo>
                    <a:pt x="4478" y="117767"/>
                    <a:pt x="7613" y="120901"/>
                    <a:pt x="11195" y="120901"/>
                  </a:cubicBezTo>
                  <a:lnTo>
                    <a:pt x="114184" y="120901"/>
                  </a:lnTo>
                  <a:cubicBezTo>
                    <a:pt x="117767" y="120901"/>
                    <a:pt x="120901" y="117767"/>
                    <a:pt x="120901" y="114184"/>
                  </a:cubicBezTo>
                  <a:lnTo>
                    <a:pt x="120901" y="11195"/>
                  </a:lnTo>
                  <a:cubicBezTo>
                    <a:pt x="120901" y="7612"/>
                    <a:pt x="117767" y="4478"/>
                    <a:pt x="114184" y="4478"/>
                  </a:cubicBezTo>
                  <a:lnTo>
                    <a:pt x="11195" y="4478"/>
                  </a:lnTo>
                  <a:close/>
                </a:path>
              </a:pathLst>
            </a:custGeom>
            <a:solidFill>
              <a:srgbClr val="231F20"/>
            </a:solidFill>
            <a:ln w="4474" cap="flat">
              <a:noFill/>
              <a:prstDash val="solid"/>
              <a:miter/>
            </a:ln>
          </p:spPr>
          <p:txBody>
            <a:bodyPr rtlCol="0" anchor="ctr"/>
            <a:lstStyle/>
            <a:p>
              <a:endParaRPr lang="en-US"/>
            </a:p>
          </p:txBody>
        </p:sp>
        <p:sp>
          <p:nvSpPr>
            <p:cNvPr id="4570" name="Freeform: Shape 4569">
              <a:extLst>
                <a:ext uri="{FF2B5EF4-FFF2-40B4-BE49-F238E27FC236}">
                  <a16:creationId xmlns:a16="http://schemas.microsoft.com/office/drawing/2014/main" id="{2F731F0D-3ADA-45AD-8A24-4B6D114C0425}"/>
                </a:ext>
              </a:extLst>
            </p:cNvPr>
            <p:cNvSpPr/>
            <p:nvPr/>
          </p:nvSpPr>
          <p:spPr>
            <a:xfrm>
              <a:off x="5359241" y="3878547"/>
              <a:ext cx="58212" cy="58212"/>
            </a:xfrm>
            <a:custGeom>
              <a:avLst/>
              <a:gdLst>
                <a:gd name="connsiteX0" fmla="*/ 58883 w 58211"/>
                <a:gd name="connsiteY0" fmla="*/ 55301 h 58211"/>
                <a:gd name="connsiteX1" fmla="*/ 32912 w 58211"/>
                <a:gd name="connsiteY1" fmla="*/ 29778 h 58211"/>
                <a:gd name="connsiteX2" fmla="*/ 58435 w 58211"/>
                <a:gd name="connsiteY2" fmla="*/ 3806 h 58211"/>
                <a:gd name="connsiteX3" fmla="*/ 58435 w 58211"/>
                <a:gd name="connsiteY3" fmla="*/ 672 h 58211"/>
                <a:gd name="connsiteX4" fmla="*/ 55301 w 58211"/>
                <a:gd name="connsiteY4" fmla="*/ 672 h 58211"/>
                <a:gd name="connsiteX5" fmla="*/ 29777 w 58211"/>
                <a:gd name="connsiteY5" fmla="*/ 26643 h 58211"/>
                <a:gd name="connsiteX6" fmla="*/ 3806 w 58211"/>
                <a:gd name="connsiteY6" fmla="*/ 1120 h 58211"/>
                <a:gd name="connsiteX7" fmla="*/ 672 w 58211"/>
                <a:gd name="connsiteY7" fmla="*/ 1120 h 58211"/>
                <a:gd name="connsiteX8" fmla="*/ 672 w 58211"/>
                <a:gd name="connsiteY8" fmla="*/ 4254 h 58211"/>
                <a:gd name="connsiteX9" fmla="*/ 26643 w 58211"/>
                <a:gd name="connsiteY9" fmla="*/ 29778 h 58211"/>
                <a:gd name="connsiteX10" fmla="*/ 1119 w 58211"/>
                <a:gd name="connsiteY10" fmla="*/ 55749 h 58211"/>
                <a:gd name="connsiteX11" fmla="*/ 1119 w 58211"/>
                <a:gd name="connsiteY11" fmla="*/ 58883 h 58211"/>
                <a:gd name="connsiteX12" fmla="*/ 2910 w 58211"/>
                <a:gd name="connsiteY12" fmla="*/ 59331 h 58211"/>
                <a:gd name="connsiteX13" fmla="*/ 4702 w 58211"/>
                <a:gd name="connsiteY13" fmla="*/ 58883 h 58211"/>
                <a:gd name="connsiteX14" fmla="*/ 30225 w 58211"/>
                <a:gd name="connsiteY14" fmla="*/ 32912 h 58211"/>
                <a:gd name="connsiteX15" fmla="*/ 56197 w 58211"/>
                <a:gd name="connsiteY15" fmla="*/ 58436 h 58211"/>
                <a:gd name="connsiteX16" fmla="*/ 57988 w 58211"/>
                <a:gd name="connsiteY16" fmla="*/ 58883 h 58211"/>
                <a:gd name="connsiteX17" fmla="*/ 59779 w 58211"/>
                <a:gd name="connsiteY17" fmla="*/ 58436 h 58211"/>
                <a:gd name="connsiteX18" fmla="*/ 58883 w 58211"/>
                <a:gd name="connsiteY18" fmla="*/ 5530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8211">
                  <a:moveTo>
                    <a:pt x="58883" y="55301"/>
                  </a:moveTo>
                  <a:lnTo>
                    <a:pt x="32912" y="29778"/>
                  </a:lnTo>
                  <a:lnTo>
                    <a:pt x="58435" y="3806"/>
                  </a:lnTo>
                  <a:cubicBezTo>
                    <a:pt x="59331" y="2911"/>
                    <a:pt x="59331" y="1567"/>
                    <a:pt x="58435" y="672"/>
                  </a:cubicBezTo>
                  <a:cubicBezTo>
                    <a:pt x="57540" y="-224"/>
                    <a:pt x="56197" y="-224"/>
                    <a:pt x="55301" y="672"/>
                  </a:cubicBezTo>
                  <a:lnTo>
                    <a:pt x="29777" y="26643"/>
                  </a:lnTo>
                  <a:lnTo>
                    <a:pt x="3806" y="1120"/>
                  </a:lnTo>
                  <a:cubicBezTo>
                    <a:pt x="2910" y="224"/>
                    <a:pt x="1567" y="224"/>
                    <a:pt x="672" y="1120"/>
                  </a:cubicBezTo>
                  <a:cubicBezTo>
                    <a:pt x="-224" y="2015"/>
                    <a:pt x="-224" y="3359"/>
                    <a:pt x="672" y="4254"/>
                  </a:cubicBezTo>
                  <a:lnTo>
                    <a:pt x="26643" y="29778"/>
                  </a:lnTo>
                  <a:lnTo>
                    <a:pt x="1119" y="55749"/>
                  </a:lnTo>
                  <a:cubicBezTo>
                    <a:pt x="224" y="56644"/>
                    <a:pt x="224" y="57988"/>
                    <a:pt x="1119" y="58883"/>
                  </a:cubicBezTo>
                  <a:cubicBezTo>
                    <a:pt x="1567" y="59331"/>
                    <a:pt x="2015" y="59331"/>
                    <a:pt x="2910" y="59331"/>
                  </a:cubicBezTo>
                  <a:cubicBezTo>
                    <a:pt x="3358" y="59331"/>
                    <a:pt x="4254" y="59331"/>
                    <a:pt x="4702" y="58883"/>
                  </a:cubicBezTo>
                  <a:lnTo>
                    <a:pt x="30225" y="32912"/>
                  </a:lnTo>
                  <a:lnTo>
                    <a:pt x="56197" y="58436"/>
                  </a:lnTo>
                  <a:cubicBezTo>
                    <a:pt x="56644" y="58883"/>
                    <a:pt x="57092" y="58883"/>
                    <a:pt x="57988" y="58883"/>
                  </a:cubicBezTo>
                  <a:cubicBezTo>
                    <a:pt x="58435" y="58883"/>
                    <a:pt x="59331" y="58883"/>
                    <a:pt x="59779" y="58436"/>
                  </a:cubicBezTo>
                  <a:cubicBezTo>
                    <a:pt x="59779" y="57540"/>
                    <a:pt x="59779" y="56197"/>
                    <a:pt x="58883" y="55301"/>
                  </a:cubicBezTo>
                  <a:close/>
                </a:path>
              </a:pathLst>
            </a:custGeom>
            <a:solidFill>
              <a:srgbClr val="231F20"/>
            </a:solidFill>
            <a:ln w="4474" cap="flat">
              <a:noFill/>
              <a:prstDash val="solid"/>
              <a:miter/>
            </a:ln>
          </p:spPr>
          <p:txBody>
            <a:bodyPr rtlCol="0" anchor="ctr"/>
            <a:lstStyle/>
            <a:p>
              <a:endParaRPr lang="en-US"/>
            </a:p>
          </p:txBody>
        </p:sp>
      </p:grpSp>
      <p:grpSp>
        <p:nvGrpSpPr>
          <p:cNvPr id="4571" name="Group 4570">
            <a:extLst>
              <a:ext uri="{FF2B5EF4-FFF2-40B4-BE49-F238E27FC236}">
                <a16:creationId xmlns:a16="http://schemas.microsoft.com/office/drawing/2014/main" id="{CA16B881-354C-4650-8352-665B58710D9D}"/>
              </a:ext>
              <a:ext uri="{C183D7F6-B498-43B3-948B-1728B52AA6E4}">
                <adec:decorative xmlns:adec="http://schemas.microsoft.com/office/drawing/2017/decorative" val="1"/>
              </a:ext>
            </a:extLst>
          </p:cNvPr>
          <p:cNvGrpSpPr>
            <a:grpSpLocks noChangeAspect="1"/>
          </p:cNvGrpSpPr>
          <p:nvPr/>
        </p:nvGrpSpPr>
        <p:grpSpPr>
          <a:xfrm>
            <a:off x="5547079" y="4580627"/>
            <a:ext cx="125379" cy="125379"/>
            <a:chOff x="5587833" y="3845188"/>
            <a:chExt cx="125379" cy="125379"/>
          </a:xfrm>
        </p:grpSpPr>
        <p:sp>
          <p:nvSpPr>
            <p:cNvPr id="4572" name="Freeform: Shape 4571">
              <a:extLst>
                <a:ext uri="{FF2B5EF4-FFF2-40B4-BE49-F238E27FC236}">
                  <a16:creationId xmlns:a16="http://schemas.microsoft.com/office/drawing/2014/main" id="{24EE6E4A-84F2-42E8-9945-F0D57F3F7843}"/>
                </a:ext>
              </a:extLst>
            </p:cNvPr>
            <p:cNvSpPr/>
            <p:nvPr/>
          </p:nvSpPr>
          <p:spPr>
            <a:xfrm>
              <a:off x="5587833" y="3845188"/>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8" y="0"/>
                    <a:pt x="125379" y="28210"/>
                    <a:pt x="125379" y="62689"/>
                  </a:cubicBezTo>
                  <a:cubicBezTo>
                    <a:pt x="125379" y="97169"/>
                    <a:pt x="97168"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73" name="Freeform: Shape 4572">
              <a:extLst>
                <a:ext uri="{FF2B5EF4-FFF2-40B4-BE49-F238E27FC236}">
                  <a16:creationId xmlns:a16="http://schemas.microsoft.com/office/drawing/2014/main" id="{D43E560E-85CE-414D-B46C-6970A672F184}"/>
                </a:ext>
              </a:extLst>
            </p:cNvPr>
            <p:cNvSpPr/>
            <p:nvPr/>
          </p:nvSpPr>
          <p:spPr>
            <a:xfrm>
              <a:off x="5620298" y="3878547"/>
              <a:ext cx="58212" cy="58212"/>
            </a:xfrm>
            <a:custGeom>
              <a:avLst/>
              <a:gdLst>
                <a:gd name="connsiteX0" fmla="*/ 58884 w 58211"/>
                <a:gd name="connsiteY0" fmla="*/ 55301 h 58211"/>
                <a:gd name="connsiteX1" fmla="*/ 32912 w 58211"/>
                <a:gd name="connsiteY1" fmla="*/ 29778 h 58211"/>
                <a:gd name="connsiteX2" fmla="*/ 58436 w 58211"/>
                <a:gd name="connsiteY2" fmla="*/ 3806 h 58211"/>
                <a:gd name="connsiteX3" fmla="*/ 58436 w 58211"/>
                <a:gd name="connsiteY3" fmla="*/ 672 h 58211"/>
                <a:gd name="connsiteX4" fmla="*/ 55301 w 58211"/>
                <a:gd name="connsiteY4" fmla="*/ 672 h 58211"/>
                <a:gd name="connsiteX5" fmla="*/ 29778 w 58211"/>
                <a:gd name="connsiteY5" fmla="*/ 26643 h 58211"/>
                <a:gd name="connsiteX6" fmla="*/ 3806 w 58211"/>
                <a:gd name="connsiteY6" fmla="*/ 1120 h 58211"/>
                <a:gd name="connsiteX7" fmla="*/ 672 w 58211"/>
                <a:gd name="connsiteY7" fmla="*/ 1120 h 58211"/>
                <a:gd name="connsiteX8" fmla="*/ 672 w 58211"/>
                <a:gd name="connsiteY8" fmla="*/ 4254 h 58211"/>
                <a:gd name="connsiteX9" fmla="*/ 26643 w 58211"/>
                <a:gd name="connsiteY9" fmla="*/ 29778 h 58211"/>
                <a:gd name="connsiteX10" fmla="*/ 1120 w 58211"/>
                <a:gd name="connsiteY10" fmla="*/ 55749 h 58211"/>
                <a:gd name="connsiteX11" fmla="*/ 1120 w 58211"/>
                <a:gd name="connsiteY11" fmla="*/ 58883 h 58211"/>
                <a:gd name="connsiteX12" fmla="*/ 2911 w 58211"/>
                <a:gd name="connsiteY12" fmla="*/ 59331 h 58211"/>
                <a:gd name="connsiteX13" fmla="*/ 4702 w 58211"/>
                <a:gd name="connsiteY13" fmla="*/ 58883 h 58211"/>
                <a:gd name="connsiteX14" fmla="*/ 30225 w 58211"/>
                <a:gd name="connsiteY14" fmla="*/ 32912 h 58211"/>
                <a:gd name="connsiteX15" fmla="*/ 56197 w 58211"/>
                <a:gd name="connsiteY15" fmla="*/ 58436 h 58211"/>
                <a:gd name="connsiteX16" fmla="*/ 57988 w 58211"/>
                <a:gd name="connsiteY16" fmla="*/ 58883 h 58211"/>
                <a:gd name="connsiteX17" fmla="*/ 59779 w 58211"/>
                <a:gd name="connsiteY17" fmla="*/ 58436 h 58211"/>
                <a:gd name="connsiteX18" fmla="*/ 58884 w 58211"/>
                <a:gd name="connsiteY18" fmla="*/ 55301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8211">
                  <a:moveTo>
                    <a:pt x="58884" y="55301"/>
                  </a:moveTo>
                  <a:lnTo>
                    <a:pt x="32912" y="29778"/>
                  </a:lnTo>
                  <a:lnTo>
                    <a:pt x="58436" y="3806"/>
                  </a:lnTo>
                  <a:cubicBezTo>
                    <a:pt x="59331" y="2911"/>
                    <a:pt x="59331" y="1567"/>
                    <a:pt x="58436" y="672"/>
                  </a:cubicBezTo>
                  <a:cubicBezTo>
                    <a:pt x="57540" y="-224"/>
                    <a:pt x="56197" y="-224"/>
                    <a:pt x="55301" y="672"/>
                  </a:cubicBezTo>
                  <a:lnTo>
                    <a:pt x="29778" y="26643"/>
                  </a:lnTo>
                  <a:lnTo>
                    <a:pt x="3806" y="1120"/>
                  </a:lnTo>
                  <a:cubicBezTo>
                    <a:pt x="2911" y="224"/>
                    <a:pt x="1567" y="224"/>
                    <a:pt x="672" y="1120"/>
                  </a:cubicBezTo>
                  <a:cubicBezTo>
                    <a:pt x="-224" y="2015"/>
                    <a:pt x="-224" y="3359"/>
                    <a:pt x="672" y="4254"/>
                  </a:cubicBezTo>
                  <a:lnTo>
                    <a:pt x="26643" y="29778"/>
                  </a:lnTo>
                  <a:lnTo>
                    <a:pt x="1120" y="55749"/>
                  </a:lnTo>
                  <a:cubicBezTo>
                    <a:pt x="224" y="56644"/>
                    <a:pt x="224" y="57988"/>
                    <a:pt x="1120" y="58883"/>
                  </a:cubicBezTo>
                  <a:cubicBezTo>
                    <a:pt x="1567" y="59331"/>
                    <a:pt x="2015" y="59331"/>
                    <a:pt x="2911" y="59331"/>
                  </a:cubicBezTo>
                  <a:cubicBezTo>
                    <a:pt x="3359" y="59331"/>
                    <a:pt x="4254" y="59331"/>
                    <a:pt x="4702" y="58883"/>
                  </a:cubicBezTo>
                  <a:lnTo>
                    <a:pt x="30225" y="32912"/>
                  </a:lnTo>
                  <a:lnTo>
                    <a:pt x="56197" y="58436"/>
                  </a:lnTo>
                  <a:cubicBezTo>
                    <a:pt x="56645" y="58883"/>
                    <a:pt x="57092" y="58883"/>
                    <a:pt x="57988" y="58883"/>
                  </a:cubicBezTo>
                  <a:cubicBezTo>
                    <a:pt x="58436" y="58883"/>
                    <a:pt x="59331" y="58883"/>
                    <a:pt x="59779" y="58436"/>
                  </a:cubicBezTo>
                  <a:cubicBezTo>
                    <a:pt x="59779" y="57540"/>
                    <a:pt x="59779" y="56197"/>
                    <a:pt x="58884" y="55301"/>
                  </a:cubicBezTo>
                  <a:close/>
                </a:path>
              </a:pathLst>
            </a:custGeom>
            <a:solidFill>
              <a:srgbClr val="231F20"/>
            </a:solidFill>
            <a:ln w="4474" cap="flat">
              <a:noFill/>
              <a:prstDash val="solid"/>
              <a:miter/>
            </a:ln>
          </p:spPr>
          <p:txBody>
            <a:bodyPr rtlCol="0" anchor="ctr"/>
            <a:lstStyle/>
            <a:p>
              <a:endParaRPr lang="en-US"/>
            </a:p>
          </p:txBody>
        </p:sp>
      </p:grpSp>
      <p:sp>
        <p:nvSpPr>
          <p:cNvPr id="4574" name="Freeform: Shape 4573">
            <a:extLst>
              <a:ext uri="{FF2B5EF4-FFF2-40B4-BE49-F238E27FC236}">
                <a16:creationId xmlns:a16="http://schemas.microsoft.com/office/drawing/2014/main" id="{9843426B-EBD7-4A3B-8B7E-5B0F21EC53BD}"/>
              </a:ext>
              <a:ext uri="{C183D7F6-B498-43B3-948B-1728B52AA6E4}">
                <adec:decorative xmlns:adec="http://schemas.microsoft.com/office/drawing/2017/decorative" val="1"/>
              </a:ext>
            </a:extLst>
          </p:cNvPr>
          <p:cNvSpPr>
            <a:spLocks noChangeAspect="1"/>
          </p:cNvSpPr>
          <p:nvPr/>
        </p:nvSpPr>
        <p:spPr>
          <a:xfrm>
            <a:off x="2904451" y="4879896"/>
            <a:ext cx="138812" cy="134335"/>
          </a:xfrm>
          <a:custGeom>
            <a:avLst/>
            <a:gdLst>
              <a:gd name="connsiteX0" fmla="*/ 137469 w 138812"/>
              <a:gd name="connsiteY0" fmla="*/ 66272 h 134334"/>
              <a:gd name="connsiteX1" fmla="*/ 72541 w 138812"/>
              <a:gd name="connsiteY1" fmla="*/ 66272 h 134334"/>
              <a:gd name="connsiteX2" fmla="*/ 72541 w 138812"/>
              <a:gd name="connsiteY2" fmla="*/ 2239 h 134334"/>
              <a:gd name="connsiteX3" fmla="*/ 70302 w 138812"/>
              <a:gd name="connsiteY3" fmla="*/ 0 h 134334"/>
              <a:gd name="connsiteX4" fmla="*/ 68063 w 138812"/>
              <a:gd name="connsiteY4" fmla="*/ 2239 h 134334"/>
              <a:gd name="connsiteX5" fmla="*/ 68063 w 138812"/>
              <a:gd name="connsiteY5" fmla="*/ 66272 h 134334"/>
              <a:gd name="connsiteX6" fmla="*/ 2239 w 138812"/>
              <a:gd name="connsiteY6" fmla="*/ 66272 h 134334"/>
              <a:gd name="connsiteX7" fmla="*/ 0 w 138812"/>
              <a:gd name="connsiteY7" fmla="*/ 68511 h 134334"/>
              <a:gd name="connsiteX8" fmla="*/ 2239 w 138812"/>
              <a:gd name="connsiteY8" fmla="*/ 70749 h 134334"/>
              <a:gd name="connsiteX9" fmla="*/ 68063 w 138812"/>
              <a:gd name="connsiteY9" fmla="*/ 70749 h 134334"/>
              <a:gd name="connsiteX10" fmla="*/ 68063 w 138812"/>
              <a:gd name="connsiteY10" fmla="*/ 135678 h 134334"/>
              <a:gd name="connsiteX11" fmla="*/ 70302 w 138812"/>
              <a:gd name="connsiteY11" fmla="*/ 137917 h 134334"/>
              <a:gd name="connsiteX12" fmla="*/ 72541 w 138812"/>
              <a:gd name="connsiteY12" fmla="*/ 135678 h 134334"/>
              <a:gd name="connsiteX13" fmla="*/ 72541 w 138812"/>
              <a:gd name="connsiteY13" fmla="*/ 70749 h 134334"/>
              <a:gd name="connsiteX14" fmla="*/ 137469 w 138812"/>
              <a:gd name="connsiteY14" fmla="*/ 70749 h 134334"/>
              <a:gd name="connsiteX15" fmla="*/ 139708 w 138812"/>
              <a:gd name="connsiteY15" fmla="*/ 68511 h 134334"/>
              <a:gd name="connsiteX16" fmla="*/ 137469 w 138812"/>
              <a:gd name="connsiteY16" fmla="*/ 66272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812" h="134334">
                <a:moveTo>
                  <a:pt x="137469" y="66272"/>
                </a:moveTo>
                <a:lnTo>
                  <a:pt x="72541" y="66272"/>
                </a:lnTo>
                <a:lnTo>
                  <a:pt x="72541" y="2239"/>
                </a:lnTo>
                <a:cubicBezTo>
                  <a:pt x="72541" y="896"/>
                  <a:pt x="71645" y="0"/>
                  <a:pt x="70302" y="0"/>
                </a:cubicBezTo>
                <a:cubicBezTo>
                  <a:pt x="68958" y="0"/>
                  <a:pt x="68063" y="896"/>
                  <a:pt x="68063" y="2239"/>
                </a:cubicBezTo>
                <a:lnTo>
                  <a:pt x="68063" y="66272"/>
                </a:lnTo>
                <a:lnTo>
                  <a:pt x="2239" y="66272"/>
                </a:lnTo>
                <a:cubicBezTo>
                  <a:pt x="896" y="66272"/>
                  <a:pt x="0" y="67167"/>
                  <a:pt x="0" y="68511"/>
                </a:cubicBezTo>
                <a:cubicBezTo>
                  <a:pt x="0" y="69854"/>
                  <a:pt x="896" y="70749"/>
                  <a:pt x="2239" y="70749"/>
                </a:cubicBezTo>
                <a:lnTo>
                  <a:pt x="68063" y="70749"/>
                </a:lnTo>
                <a:lnTo>
                  <a:pt x="68063" y="135678"/>
                </a:lnTo>
                <a:cubicBezTo>
                  <a:pt x="68063" y="137021"/>
                  <a:pt x="68958" y="137917"/>
                  <a:pt x="70302" y="137917"/>
                </a:cubicBezTo>
                <a:cubicBezTo>
                  <a:pt x="71645" y="137917"/>
                  <a:pt x="72541" y="137021"/>
                  <a:pt x="72541" y="135678"/>
                </a:cubicBezTo>
                <a:lnTo>
                  <a:pt x="72541" y="70749"/>
                </a:lnTo>
                <a:lnTo>
                  <a:pt x="137469" y="70749"/>
                </a:lnTo>
                <a:cubicBezTo>
                  <a:pt x="138812" y="70749"/>
                  <a:pt x="139708" y="69854"/>
                  <a:pt x="139708" y="68511"/>
                </a:cubicBezTo>
                <a:cubicBezTo>
                  <a:pt x="139708" y="67167"/>
                  <a:pt x="138812" y="66272"/>
                  <a:pt x="137469" y="66272"/>
                </a:cubicBezTo>
                <a:close/>
              </a:path>
            </a:pathLst>
          </a:custGeom>
          <a:solidFill>
            <a:srgbClr val="231F20"/>
          </a:solidFill>
          <a:ln w="4474" cap="flat">
            <a:noFill/>
            <a:prstDash val="solid"/>
            <a:miter/>
          </a:ln>
        </p:spPr>
        <p:txBody>
          <a:bodyPr rtlCol="0" anchor="ctr"/>
          <a:lstStyle/>
          <a:p>
            <a:endParaRPr lang="en-US"/>
          </a:p>
        </p:txBody>
      </p:sp>
      <p:sp>
        <p:nvSpPr>
          <p:cNvPr id="4575" name="Freeform: Shape 4574">
            <a:extLst>
              <a:ext uri="{FF2B5EF4-FFF2-40B4-BE49-F238E27FC236}">
                <a16:creationId xmlns:a16="http://schemas.microsoft.com/office/drawing/2014/main" id="{9639CB4C-4D6F-4D85-A6F2-5BE60177842F}"/>
              </a:ext>
              <a:ext uri="{C183D7F6-B498-43B3-948B-1728B52AA6E4}">
                <adec:decorative xmlns:adec="http://schemas.microsoft.com/office/drawing/2017/decorative" val="1"/>
              </a:ext>
            </a:extLst>
          </p:cNvPr>
          <p:cNvSpPr>
            <a:spLocks noChangeAspect="1"/>
          </p:cNvSpPr>
          <p:nvPr/>
        </p:nvSpPr>
        <p:spPr>
          <a:xfrm>
            <a:off x="3985620" y="4899374"/>
            <a:ext cx="98512" cy="94034"/>
          </a:xfrm>
          <a:custGeom>
            <a:avLst/>
            <a:gdLst>
              <a:gd name="connsiteX0" fmla="*/ 52167 w 98511"/>
              <a:gd name="connsiteY0" fmla="*/ 49032 h 94034"/>
              <a:gd name="connsiteX1" fmla="*/ 97393 w 98511"/>
              <a:gd name="connsiteY1" fmla="*/ 3806 h 94034"/>
              <a:gd name="connsiteX2" fmla="*/ 97393 w 98511"/>
              <a:gd name="connsiteY2" fmla="*/ 672 h 94034"/>
              <a:gd name="connsiteX3" fmla="*/ 94258 w 98511"/>
              <a:gd name="connsiteY3" fmla="*/ 672 h 94034"/>
              <a:gd name="connsiteX4" fmla="*/ 49032 w 98511"/>
              <a:gd name="connsiteY4" fmla="*/ 45898 h 94034"/>
              <a:gd name="connsiteX5" fmla="*/ 3806 w 98511"/>
              <a:gd name="connsiteY5" fmla="*/ 672 h 94034"/>
              <a:gd name="connsiteX6" fmla="*/ 672 w 98511"/>
              <a:gd name="connsiteY6" fmla="*/ 672 h 94034"/>
              <a:gd name="connsiteX7" fmla="*/ 672 w 98511"/>
              <a:gd name="connsiteY7" fmla="*/ 3806 h 94034"/>
              <a:gd name="connsiteX8" fmla="*/ 45898 w 98511"/>
              <a:gd name="connsiteY8" fmla="*/ 49032 h 94034"/>
              <a:gd name="connsiteX9" fmla="*/ 672 w 98511"/>
              <a:gd name="connsiteY9" fmla="*/ 94258 h 94034"/>
              <a:gd name="connsiteX10" fmla="*/ 672 w 98511"/>
              <a:gd name="connsiteY10" fmla="*/ 97392 h 94034"/>
              <a:gd name="connsiteX11" fmla="*/ 2463 w 98511"/>
              <a:gd name="connsiteY11" fmla="*/ 97840 h 94034"/>
              <a:gd name="connsiteX12" fmla="*/ 4254 w 98511"/>
              <a:gd name="connsiteY12" fmla="*/ 97392 h 94034"/>
              <a:gd name="connsiteX13" fmla="*/ 49480 w 98511"/>
              <a:gd name="connsiteY13" fmla="*/ 52167 h 94034"/>
              <a:gd name="connsiteX14" fmla="*/ 94706 w 98511"/>
              <a:gd name="connsiteY14" fmla="*/ 97392 h 94034"/>
              <a:gd name="connsiteX15" fmla="*/ 96497 w 98511"/>
              <a:gd name="connsiteY15" fmla="*/ 97840 h 94034"/>
              <a:gd name="connsiteX16" fmla="*/ 98288 w 98511"/>
              <a:gd name="connsiteY16" fmla="*/ 97392 h 94034"/>
              <a:gd name="connsiteX17" fmla="*/ 98288 w 98511"/>
              <a:gd name="connsiteY17" fmla="*/ 94258 h 94034"/>
              <a:gd name="connsiteX18" fmla="*/ 52167 w 98511"/>
              <a:gd name="connsiteY18" fmla="*/ 4903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511" h="94034">
                <a:moveTo>
                  <a:pt x="52167" y="49032"/>
                </a:moveTo>
                <a:lnTo>
                  <a:pt x="97393" y="3806"/>
                </a:lnTo>
                <a:cubicBezTo>
                  <a:pt x="98288" y="2911"/>
                  <a:pt x="98288" y="1567"/>
                  <a:pt x="97393" y="672"/>
                </a:cubicBezTo>
                <a:cubicBezTo>
                  <a:pt x="96497" y="-224"/>
                  <a:pt x="95154" y="-224"/>
                  <a:pt x="94258" y="672"/>
                </a:cubicBezTo>
                <a:lnTo>
                  <a:pt x="49032" y="45898"/>
                </a:lnTo>
                <a:lnTo>
                  <a:pt x="3806" y="672"/>
                </a:lnTo>
                <a:cubicBezTo>
                  <a:pt x="2911" y="-224"/>
                  <a:pt x="1567" y="-224"/>
                  <a:pt x="672" y="672"/>
                </a:cubicBezTo>
                <a:cubicBezTo>
                  <a:pt x="-224" y="1567"/>
                  <a:pt x="-224" y="2911"/>
                  <a:pt x="672" y="3806"/>
                </a:cubicBezTo>
                <a:lnTo>
                  <a:pt x="45898" y="49032"/>
                </a:lnTo>
                <a:lnTo>
                  <a:pt x="672" y="94258"/>
                </a:lnTo>
                <a:cubicBezTo>
                  <a:pt x="-224" y="95154"/>
                  <a:pt x="-224" y="96497"/>
                  <a:pt x="672" y="97392"/>
                </a:cubicBezTo>
                <a:cubicBezTo>
                  <a:pt x="1120" y="97840"/>
                  <a:pt x="1567" y="97840"/>
                  <a:pt x="2463" y="97840"/>
                </a:cubicBezTo>
                <a:cubicBezTo>
                  <a:pt x="3359" y="97840"/>
                  <a:pt x="3806" y="97840"/>
                  <a:pt x="4254" y="97392"/>
                </a:cubicBezTo>
                <a:lnTo>
                  <a:pt x="49480" y="52167"/>
                </a:lnTo>
                <a:lnTo>
                  <a:pt x="94706" y="97392"/>
                </a:lnTo>
                <a:cubicBezTo>
                  <a:pt x="95154" y="97840"/>
                  <a:pt x="95602" y="97840"/>
                  <a:pt x="96497" y="97840"/>
                </a:cubicBezTo>
                <a:cubicBezTo>
                  <a:pt x="97393" y="97840"/>
                  <a:pt x="97840" y="97840"/>
                  <a:pt x="98288" y="97392"/>
                </a:cubicBezTo>
                <a:cubicBezTo>
                  <a:pt x="99184" y="96497"/>
                  <a:pt x="99184" y="95154"/>
                  <a:pt x="98288" y="94258"/>
                </a:cubicBezTo>
                <a:lnTo>
                  <a:pt x="52167" y="49032"/>
                </a:lnTo>
                <a:close/>
              </a:path>
            </a:pathLst>
          </a:custGeom>
          <a:solidFill>
            <a:srgbClr val="231F20"/>
          </a:solidFill>
          <a:ln w="4474" cap="flat">
            <a:noFill/>
            <a:prstDash val="solid"/>
            <a:miter/>
          </a:ln>
        </p:spPr>
        <p:txBody>
          <a:bodyPr rtlCol="0" anchor="ctr"/>
          <a:lstStyle/>
          <a:p>
            <a:endParaRPr lang="en-US"/>
          </a:p>
        </p:txBody>
      </p:sp>
      <p:sp>
        <p:nvSpPr>
          <p:cNvPr id="4576" name="Freeform: Shape 4575">
            <a:extLst>
              <a:ext uri="{FF2B5EF4-FFF2-40B4-BE49-F238E27FC236}">
                <a16:creationId xmlns:a16="http://schemas.microsoft.com/office/drawing/2014/main" id="{A306984B-8672-4442-8BA7-E434C988952E}"/>
              </a:ext>
              <a:ext uri="{C183D7F6-B498-43B3-948B-1728B52AA6E4}">
                <adec:decorative xmlns:adec="http://schemas.microsoft.com/office/drawing/2017/decorative" val="1"/>
              </a:ext>
            </a:extLst>
          </p:cNvPr>
          <p:cNvSpPr>
            <a:spLocks noChangeAspect="1"/>
          </p:cNvSpPr>
          <p:nvPr/>
        </p:nvSpPr>
        <p:spPr>
          <a:xfrm>
            <a:off x="3165508" y="4946167"/>
            <a:ext cx="134335" cy="4478"/>
          </a:xfrm>
          <a:custGeom>
            <a:avLst/>
            <a:gdLst>
              <a:gd name="connsiteX0" fmla="*/ 135678 w 134334"/>
              <a:gd name="connsiteY0" fmla="*/ 4478 h 4477"/>
              <a:gd name="connsiteX1" fmla="*/ 2239 w 134334"/>
              <a:gd name="connsiteY1" fmla="*/ 4478 h 4477"/>
              <a:gd name="connsiteX2" fmla="*/ 0 w 134334"/>
              <a:gd name="connsiteY2" fmla="*/ 2239 h 4477"/>
              <a:gd name="connsiteX3" fmla="*/ 2239 w 134334"/>
              <a:gd name="connsiteY3" fmla="*/ 0 h 4477"/>
              <a:gd name="connsiteX4" fmla="*/ 135678 w 134334"/>
              <a:gd name="connsiteY4" fmla="*/ 0 h 4477"/>
              <a:gd name="connsiteX5" fmla="*/ 137917 w 134334"/>
              <a:gd name="connsiteY5" fmla="*/ 2239 h 4477"/>
              <a:gd name="connsiteX6" fmla="*/ 135678 w 13433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4" h="4477">
                <a:moveTo>
                  <a:pt x="135678" y="4478"/>
                </a:moveTo>
                <a:lnTo>
                  <a:pt x="2239" y="4478"/>
                </a:lnTo>
                <a:cubicBezTo>
                  <a:pt x="896" y="4478"/>
                  <a:pt x="0" y="3582"/>
                  <a:pt x="0" y="2239"/>
                </a:cubicBezTo>
                <a:cubicBezTo>
                  <a:pt x="0" y="896"/>
                  <a:pt x="896" y="0"/>
                  <a:pt x="2239" y="0"/>
                </a:cubicBezTo>
                <a:lnTo>
                  <a:pt x="135678" y="0"/>
                </a:lnTo>
                <a:cubicBezTo>
                  <a:pt x="137021" y="0"/>
                  <a:pt x="137917" y="896"/>
                  <a:pt x="137917" y="2239"/>
                </a:cubicBezTo>
                <a:cubicBezTo>
                  <a:pt x="137917" y="3582"/>
                  <a:pt x="137021" y="4478"/>
                  <a:pt x="135678" y="4478"/>
                </a:cubicBezTo>
                <a:close/>
              </a:path>
            </a:pathLst>
          </a:custGeom>
          <a:solidFill>
            <a:srgbClr val="231F20"/>
          </a:solidFill>
          <a:ln w="4474" cap="flat">
            <a:noFill/>
            <a:prstDash val="solid"/>
            <a:miter/>
          </a:ln>
        </p:spPr>
        <p:txBody>
          <a:bodyPr rtlCol="0" anchor="ctr"/>
          <a:lstStyle/>
          <a:p>
            <a:endParaRPr lang="en-US"/>
          </a:p>
        </p:txBody>
      </p:sp>
      <p:grpSp>
        <p:nvGrpSpPr>
          <p:cNvPr id="4577" name="Group 4576">
            <a:extLst>
              <a:ext uri="{FF2B5EF4-FFF2-40B4-BE49-F238E27FC236}">
                <a16:creationId xmlns:a16="http://schemas.microsoft.com/office/drawing/2014/main" id="{989590DE-3918-4DD9-BF19-9F26506B37CC}"/>
              </a:ext>
              <a:ext uri="{C183D7F6-B498-43B3-948B-1728B52AA6E4}">
                <adec:decorative xmlns:adec="http://schemas.microsoft.com/office/drawing/2017/decorative" val="1"/>
              </a:ext>
            </a:extLst>
          </p:cNvPr>
          <p:cNvGrpSpPr>
            <a:grpSpLocks noChangeAspect="1"/>
          </p:cNvGrpSpPr>
          <p:nvPr/>
        </p:nvGrpSpPr>
        <p:grpSpPr>
          <a:xfrm>
            <a:off x="3435073" y="4932286"/>
            <a:ext cx="138812" cy="31345"/>
            <a:chOff x="3486394" y="4201174"/>
            <a:chExt cx="138812" cy="31345"/>
          </a:xfrm>
        </p:grpSpPr>
        <p:sp>
          <p:nvSpPr>
            <p:cNvPr id="4578" name="Freeform: Shape 4577">
              <a:extLst>
                <a:ext uri="{FF2B5EF4-FFF2-40B4-BE49-F238E27FC236}">
                  <a16:creationId xmlns:a16="http://schemas.microsoft.com/office/drawing/2014/main" id="{1E85DD1D-B095-44D7-BFF5-EB6D8EF2AF06}"/>
                </a:ext>
              </a:extLst>
            </p:cNvPr>
            <p:cNvSpPr/>
            <p:nvPr/>
          </p:nvSpPr>
          <p:spPr>
            <a:xfrm>
              <a:off x="3486394" y="4201174"/>
              <a:ext cx="138812" cy="4478"/>
            </a:xfrm>
            <a:custGeom>
              <a:avLst/>
              <a:gdLst>
                <a:gd name="connsiteX0" fmla="*/ 2239 w 138812"/>
                <a:gd name="connsiteY0" fmla="*/ 4925 h 4477"/>
                <a:gd name="connsiteX1" fmla="*/ 0 w 138812"/>
                <a:gd name="connsiteY1" fmla="*/ 2687 h 4477"/>
                <a:gd name="connsiteX2" fmla="*/ 2239 w 138812"/>
                <a:gd name="connsiteY2" fmla="*/ 448 h 4477"/>
                <a:gd name="connsiteX3" fmla="*/ 137469 w 138812"/>
                <a:gd name="connsiteY3" fmla="*/ 0 h 4477"/>
                <a:gd name="connsiteX4" fmla="*/ 137469 w 138812"/>
                <a:gd name="connsiteY4" fmla="*/ 0 h 4477"/>
                <a:gd name="connsiteX5" fmla="*/ 139708 w 138812"/>
                <a:gd name="connsiteY5" fmla="*/ 2239 h 4477"/>
                <a:gd name="connsiteX6" fmla="*/ 137469 w 138812"/>
                <a:gd name="connsiteY6" fmla="*/ 4478 h 4477"/>
                <a:gd name="connsiteX7" fmla="*/ 2239 w 138812"/>
                <a:gd name="connsiteY7" fmla="*/ 4925 h 4477"/>
                <a:gd name="connsiteX8" fmla="*/ 2239 w 138812"/>
                <a:gd name="connsiteY8" fmla="*/ 4925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12" h="4477">
                  <a:moveTo>
                    <a:pt x="2239" y="4925"/>
                  </a:moveTo>
                  <a:cubicBezTo>
                    <a:pt x="896" y="4925"/>
                    <a:pt x="0" y="4030"/>
                    <a:pt x="0" y="2687"/>
                  </a:cubicBezTo>
                  <a:cubicBezTo>
                    <a:pt x="0" y="1343"/>
                    <a:pt x="896" y="448"/>
                    <a:pt x="2239" y="448"/>
                  </a:cubicBezTo>
                  <a:lnTo>
                    <a:pt x="137469" y="0"/>
                  </a:lnTo>
                  <a:cubicBezTo>
                    <a:pt x="137469" y="0"/>
                    <a:pt x="137469" y="0"/>
                    <a:pt x="137469" y="0"/>
                  </a:cubicBezTo>
                  <a:cubicBezTo>
                    <a:pt x="138812" y="0"/>
                    <a:pt x="139708" y="896"/>
                    <a:pt x="139708" y="2239"/>
                  </a:cubicBezTo>
                  <a:cubicBezTo>
                    <a:pt x="139708" y="3582"/>
                    <a:pt x="138812" y="4478"/>
                    <a:pt x="137469" y="4478"/>
                  </a:cubicBezTo>
                  <a:lnTo>
                    <a:pt x="2239" y="4925"/>
                  </a:lnTo>
                  <a:cubicBezTo>
                    <a:pt x="2239" y="4925"/>
                    <a:pt x="2239" y="4925"/>
                    <a:pt x="2239" y="4925"/>
                  </a:cubicBezTo>
                  <a:close/>
                </a:path>
              </a:pathLst>
            </a:custGeom>
            <a:solidFill>
              <a:srgbClr val="231F20"/>
            </a:solidFill>
            <a:ln w="4474" cap="flat">
              <a:noFill/>
              <a:prstDash val="solid"/>
              <a:miter/>
            </a:ln>
          </p:spPr>
          <p:txBody>
            <a:bodyPr rtlCol="0" anchor="ctr"/>
            <a:lstStyle/>
            <a:p>
              <a:endParaRPr lang="en-US"/>
            </a:p>
          </p:txBody>
        </p:sp>
        <p:sp>
          <p:nvSpPr>
            <p:cNvPr id="4579" name="Freeform: Shape 4578">
              <a:extLst>
                <a:ext uri="{FF2B5EF4-FFF2-40B4-BE49-F238E27FC236}">
                  <a16:creationId xmlns:a16="http://schemas.microsoft.com/office/drawing/2014/main" id="{22555EE8-8AC0-4632-8B45-66DDC20371AA}"/>
                </a:ext>
              </a:extLst>
            </p:cNvPr>
            <p:cNvSpPr/>
            <p:nvPr/>
          </p:nvSpPr>
          <p:spPr>
            <a:xfrm>
              <a:off x="3486394" y="4228041"/>
              <a:ext cx="138812" cy="4478"/>
            </a:xfrm>
            <a:custGeom>
              <a:avLst/>
              <a:gdLst>
                <a:gd name="connsiteX0" fmla="*/ 2239 w 138812"/>
                <a:gd name="connsiteY0" fmla="*/ 4925 h 4477"/>
                <a:gd name="connsiteX1" fmla="*/ 0 w 138812"/>
                <a:gd name="connsiteY1" fmla="*/ 2687 h 4477"/>
                <a:gd name="connsiteX2" fmla="*/ 2239 w 138812"/>
                <a:gd name="connsiteY2" fmla="*/ 448 h 4477"/>
                <a:gd name="connsiteX3" fmla="*/ 137469 w 138812"/>
                <a:gd name="connsiteY3" fmla="*/ 0 h 4477"/>
                <a:gd name="connsiteX4" fmla="*/ 137469 w 138812"/>
                <a:gd name="connsiteY4" fmla="*/ 0 h 4477"/>
                <a:gd name="connsiteX5" fmla="*/ 139708 w 138812"/>
                <a:gd name="connsiteY5" fmla="*/ 2239 h 4477"/>
                <a:gd name="connsiteX6" fmla="*/ 137469 w 138812"/>
                <a:gd name="connsiteY6" fmla="*/ 4478 h 4477"/>
                <a:gd name="connsiteX7" fmla="*/ 2239 w 138812"/>
                <a:gd name="connsiteY7" fmla="*/ 4925 h 4477"/>
                <a:gd name="connsiteX8" fmla="*/ 2239 w 138812"/>
                <a:gd name="connsiteY8" fmla="*/ 4925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12" h="4477">
                  <a:moveTo>
                    <a:pt x="2239" y="4925"/>
                  </a:moveTo>
                  <a:cubicBezTo>
                    <a:pt x="896" y="4925"/>
                    <a:pt x="0" y="4030"/>
                    <a:pt x="0" y="2687"/>
                  </a:cubicBezTo>
                  <a:cubicBezTo>
                    <a:pt x="0" y="1343"/>
                    <a:pt x="896" y="448"/>
                    <a:pt x="2239" y="448"/>
                  </a:cubicBezTo>
                  <a:lnTo>
                    <a:pt x="137469" y="0"/>
                  </a:lnTo>
                  <a:cubicBezTo>
                    <a:pt x="137469" y="0"/>
                    <a:pt x="137469" y="0"/>
                    <a:pt x="137469" y="0"/>
                  </a:cubicBezTo>
                  <a:cubicBezTo>
                    <a:pt x="138812" y="0"/>
                    <a:pt x="139708" y="896"/>
                    <a:pt x="139708" y="2239"/>
                  </a:cubicBezTo>
                  <a:cubicBezTo>
                    <a:pt x="139708" y="3582"/>
                    <a:pt x="138812" y="4478"/>
                    <a:pt x="137469" y="4478"/>
                  </a:cubicBezTo>
                  <a:lnTo>
                    <a:pt x="2239" y="4925"/>
                  </a:lnTo>
                  <a:cubicBezTo>
                    <a:pt x="2239" y="4925"/>
                    <a:pt x="2239" y="4925"/>
                    <a:pt x="2239" y="4925"/>
                  </a:cubicBezTo>
                  <a:close/>
                </a:path>
              </a:pathLst>
            </a:custGeom>
            <a:solidFill>
              <a:srgbClr val="231F20"/>
            </a:solidFill>
            <a:ln w="4474" cap="flat">
              <a:noFill/>
              <a:prstDash val="solid"/>
              <a:miter/>
            </a:ln>
          </p:spPr>
          <p:txBody>
            <a:bodyPr rtlCol="0" anchor="ctr"/>
            <a:lstStyle/>
            <a:p>
              <a:endParaRPr lang="en-US"/>
            </a:p>
          </p:txBody>
        </p:sp>
      </p:grpSp>
      <p:grpSp>
        <p:nvGrpSpPr>
          <p:cNvPr id="4580" name="Group 4579">
            <a:extLst>
              <a:ext uri="{FF2B5EF4-FFF2-40B4-BE49-F238E27FC236}">
                <a16:creationId xmlns:a16="http://schemas.microsoft.com/office/drawing/2014/main" id="{961CA47E-AAB4-4954-8668-DE4584AFCDE2}"/>
              </a:ext>
              <a:ext uri="{C183D7F6-B498-43B3-948B-1728B52AA6E4}">
                <adec:decorative xmlns:adec="http://schemas.microsoft.com/office/drawing/2017/decorative" val="1"/>
              </a:ext>
            </a:extLst>
          </p:cNvPr>
          <p:cNvGrpSpPr>
            <a:grpSpLocks noChangeAspect="1"/>
          </p:cNvGrpSpPr>
          <p:nvPr/>
        </p:nvGrpSpPr>
        <p:grpSpPr>
          <a:xfrm>
            <a:off x="2655932" y="4899150"/>
            <a:ext cx="126051" cy="98512"/>
            <a:chOff x="2707253" y="4168038"/>
            <a:chExt cx="126051" cy="98512"/>
          </a:xfrm>
        </p:grpSpPr>
        <p:sp>
          <p:nvSpPr>
            <p:cNvPr id="4581" name="Freeform: Shape 4580">
              <a:extLst>
                <a:ext uri="{FF2B5EF4-FFF2-40B4-BE49-F238E27FC236}">
                  <a16:creationId xmlns:a16="http://schemas.microsoft.com/office/drawing/2014/main" id="{2F1C93B8-F5CE-4A9C-9D3F-AE078A378AC2}"/>
                </a:ext>
              </a:extLst>
            </p:cNvPr>
            <p:cNvSpPr/>
            <p:nvPr/>
          </p:nvSpPr>
          <p:spPr>
            <a:xfrm>
              <a:off x="2707253" y="4168038"/>
              <a:ext cx="125379" cy="98512"/>
            </a:xfrm>
            <a:custGeom>
              <a:avLst/>
              <a:gdLst>
                <a:gd name="connsiteX0" fmla="*/ 29553 w 125378"/>
                <a:gd name="connsiteY0" fmla="*/ 98512 h 98511"/>
                <a:gd name="connsiteX1" fmla="*/ 27315 w 125378"/>
                <a:gd name="connsiteY1" fmla="*/ 97169 h 98511"/>
                <a:gd name="connsiteX2" fmla="*/ 14329 w 125378"/>
                <a:gd name="connsiteY2" fmla="*/ 58660 h 98511"/>
                <a:gd name="connsiteX3" fmla="*/ 2239 w 125378"/>
                <a:gd name="connsiteY3" fmla="*/ 58660 h 98511"/>
                <a:gd name="connsiteX4" fmla="*/ 0 w 125378"/>
                <a:gd name="connsiteY4" fmla="*/ 56421 h 98511"/>
                <a:gd name="connsiteX5" fmla="*/ 2239 w 125378"/>
                <a:gd name="connsiteY5" fmla="*/ 54182 h 98511"/>
                <a:gd name="connsiteX6" fmla="*/ 15672 w 125378"/>
                <a:gd name="connsiteY6" fmla="*/ 54182 h 98511"/>
                <a:gd name="connsiteX7" fmla="*/ 17911 w 125378"/>
                <a:gd name="connsiteY7" fmla="*/ 55525 h 98511"/>
                <a:gd name="connsiteX8" fmla="*/ 29106 w 125378"/>
                <a:gd name="connsiteY8" fmla="*/ 88661 h 98511"/>
                <a:gd name="connsiteX9" fmla="*/ 54181 w 125378"/>
                <a:gd name="connsiteY9" fmla="*/ 1791 h 98511"/>
                <a:gd name="connsiteX10" fmla="*/ 56420 w 125378"/>
                <a:gd name="connsiteY10" fmla="*/ 0 h 98511"/>
                <a:gd name="connsiteX11" fmla="*/ 123588 w 125378"/>
                <a:gd name="connsiteY11" fmla="*/ 0 h 98511"/>
                <a:gd name="connsiteX12" fmla="*/ 125827 w 125378"/>
                <a:gd name="connsiteY12" fmla="*/ 2239 h 98511"/>
                <a:gd name="connsiteX13" fmla="*/ 123588 w 125378"/>
                <a:gd name="connsiteY13" fmla="*/ 4478 h 98511"/>
                <a:gd name="connsiteX14" fmla="*/ 58212 w 125378"/>
                <a:gd name="connsiteY14" fmla="*/ 4478 h 98511"/>
                <a:gd name="connsiteX15" fmla="*/ 31792 w 125378"/>
                <a:gd name="connsiteY15" fmla="*/ 96721 h 98511"/>
                <a:gd name="connsiteX16" fmla="*/ 29553 w 125378"/>
                <a:gd name="connsiteY16" fmla="*/ 98512 h 98511"/>
                <a:gd name="connsiteX17" fmla="*/ 29553 w 125378"/>
                <a:gd name="connsiteY17" fmla="*/ 98512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378" h="98511">
                  <a:moveTo>
                    <a:pt x="29553" y="98512"/>
                  </a:moveTo>
                  <a:cubicBezTo>
                    <a:pt x="28658" y="98512"/>
                    <a:pt x="27762" y="98064"/>
                    <a:pt x="27315" y="97169"/>
                  </a:cubicBezTo>
                  <a:lnTo>
                    <a:pt x="14329" y="58660"/>
                  </a:lnTo>
                  <a:lnTo>
                    <a:pt x="2239" y="58660"/>
                  </a:lnTo>
                  <a:cubicBezTo>
                    <a:pt x="895" y="58660"/>
                    <a:pt x="0" y="57764"/>
                    <a:pt x="0" y="56421"/>
                  </a:cubicBezTo>
                  <a:cubicBezTo>
                    <a:pt x="0" y="55077"/>
                    <a:pt x="895" y="54182"/>
                    <a:pt x="2239" y="54182"/>
                  </a:cubicBezTo>
                  <a:lnTo>
                    <a:pt x="15672" y="54182"/>
                  </a:lnTo>
                  <a:cubicBezTo>
                    <a:pt x="16568" y="54182"/>
                    <a:pt x="17463" y="54629"/>
                    <a:pt x="17911" y="55525"/>
                  </a:cubicBezTo>
                  <a:lnTo>
                    <a:pt x="29106" y="88661"/>
                  </a:lnTo>
                  <a:lnTo>
                    <a:pt x="54181" y="1791"/>
                  </a:lnTo>
                  <a:cubicBezTo>
                    <a:pt x="54629" y="896"/>
                    <a:pt x="55525" y="0"/>
                    <a:pt x="56420" y="0"/>
                  </a:cubicBezTo>
                  <a:lnTo>
                    <a:pt x="123588" y="0"/>
                  </a:lnTo>
                  <a:cubicBezTo>
                    <a:pt x="124931" y="0"/>
                    <a:pt x="125827" y="896"/>
                    <a:pt x="125827" y="2239"/>
                  </a:cubicBezTo>
                  <a:cubicBezTo>
                    <a:pt x="125827" y="3582"/>
                    <a:pt x="124931" y="4478"/>
                    <a:pt x="123588" y="4478"/>
                  </a:cubicBezTo>
                  <a:lnTo>
                    <a:pt x="58212" y="4478"/>
                  </a:lnTo>
                  <a:lnTo>
                    <a:pt x="31792" y="96721"/>
                  </a:lnTo>
                  <a:cubicBezTo>
                    <a:pt x="31792" y="97616"/>
                    <a:pt x="30897" y="98512"/>
                    <a:pt x="29553" y="98512"/>
                  </a:cubicBezTo>
                  <a:cubicBezTo>
                    <a:pt x="30001" y="98512"/>
                    <a:pt x="29553" y="98512"/>
                    <a:pt x="29553" y="98512"/>
                  </a:cubicBezTo>
                  <a:close/>
                </a:path>
              </a:pathLst>
            </a:custGeom>
            <a:solidFill>
              <a:srgbClr val="231F20"/>
            </a:solidFill>
            <a:ln w="4474" cap="flat">
              <a:noFill/>
              <a:prstDash val="solid"/>
              <a:miter/>
            </a:ln>
          </p:spPr>
          <p:txBody>
            <a:bodyPr rtlCol="0" anchor="ctr"/>
            <a:lstStyle/>
            <a:p>
              <a:endParaRPr lang="en-US"/>
            </a:p>
          </p:txBody>
        </p:sp>
        <p:sp>
          <p:nvSpPr>
            <p:cNvPr id="4582" name="Freeform: Shape 4581">
              <a:extLst>
                <a:ext uri="{FF2B5EF4-FFF2-40B4-BE49-F238E27FC236}">
                  <a16:creationId xmlns:a16="http://schemas.microsoft.com/office/drawing/2014/main" id="{60D4AFED-4147-4EAD-A9E3-FCC0E6DD7614}"/>
                </a:ext>
              </a:extLst>
            </p:cNvPr>
            <p:cNvSpPr/>
            <p:nvPr/>
          </p:nvSpPr>
          <p:spPr>
            <a:xfrm>
              <a:off x="2775092" y="4208562"/>
              <a:ext cx="58212" cy="53734"/>
            </a:xfrm>
            <a:custGeom>
              <a:avLst/>
              <a:gdLst>
                <a:gd name="connsiteX0" fmla="*/ 32016 w 58211"/>
                <a:gd name="connsiteY0" fmla="*/ 28882 h 53733"/>
                <a:gd name="connsiteX1" fmla="*/ 57092 w 58211"/>
                <a:gd name="connsiteY1" fmla="*/ 3806 h 53733"/>
                <a:gd name="connsiteX2" fmla="*/ 57092 w 58211"/>
                <a:gd name="connsiteY2" fmla="*/ 672 h 53733"/>
                <a:gd name="connsiteX3" fmla="*/ 53958 w 58211"/>
                <a:gd name="connsiteY3" fmla="*/ 672 h 53733"/>
                <a:gd name="connsiteX4" fmla="*/ 28882 w 58211"/>
                <a:gd name="connsiteY4" fmla="*/ 25747 h 53733"/>
                <a:gd name="connsiteX5" fmla="*/ 3806 w 58211"/>
                <a:gd name="connsiteY5" fmla="*/ 672 h 53733"/>
                <a:gd name="connsiteX6" fmla="*/ 672 w 58211"/>
                <a:gd name="connsiteY6" fmla="*/ 672 h 53733"/>
                <a:gd name="connsiteX7" fmla="*/ 672 w 58211"/>
                <a:gd name="connsiteY7" fmla="*/ 3806 h 53733"/>
                <a:gd name="connsiteX8" fmla="*/ 25748 w 58211"/>
                <a:gd name="connsiteY8" fmla="*/ 28882 h 53733"/>
                <a:gd name="connsiteX9" fmla="*/ 672 w 58211"/>
                <a:gd name="connsiteY9" fmla="*/ 53958 h 53733"/>
                <a:gd name="connsiteX10" fmla="*/ 672 w 58211"/>
                <a:gd name="connsiteY10" fmla="*/ 57092 h 53733"/>
                <a:gd name="connsiteX11" fmla="*/ 2463 w 58211"/>
                <a:gd name="connsiteY11" fmla="*/ 57540 h 53733"/>
                <a:gd name="connsiteX12" fmla="*/ 4254 w 58211"/>
                <a:gd name="connsiteY12" fmla="*/ 57092 h 53733"/>
                <a:gd name="connsiteX13" fmla="*/ 29330 w 58211"/>
                <a:gd name="connsiteY13" fmla="*/ 32016 h 53733"/>
                <a:gd name="connsiteX14" fmla="*/ 54406 w 58211"/>
                <a:gd name="connsiteY14" fmla="*/ 57092 h 53733"/>
                <a:gd name="connsiteX15" fmla="*/ 56197 w 58211"/>
                <a:gd name="connsiteY15" fmla="*/ 57540 h 53733"/>
                <a:gd name="connsiteX16" fmla="*/ 57988 w 58211"/>
                <a:gd name="connsiteY16" fmla="*/ 57092 h 53733"/>
                <a:gd name="connsiteX17" fmla="*/ 57988 w 58211"/>
                <a:gd name="connsiteY17" fmla="*/ 53958 h 53733"/>
                <a:gd name="connsiteX18" fmla="*/ 32016 w 58211"/>
                <a:gd name="connsiteY18" fmla="*/ 28882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11" h="53733">
                  <a:moveTo>
                    <a:pt x="32016" y="28882"/>
                  </a:moveTo>
                  <a:lnTo>
                    <a:pt x="57092" y="3806"/>
                  </a:lnTo>
                  <a:cubicBezTo>
                    <a:pt x="57988" y="2911"/>
                    <a:pt x="57988" y="1567"/>
                    <a:pt x="57092" y="672"/>
                  </a:cubicBezTo>
                  <a:cubicBezTo>
                    <a:pt x="56197" y="-224"/>
                    <a:pt x="54853" y="-224"/>
                    <a:pt x="53958" y="672"/>
                  </a:cubicBezTo>
                  <a:lnTo>
                    <a:pt x="28882" y="25747"/>
                  </a:lnTo>
                  <a:lnTo>
                    <a:pt x="3806" y="672"/>
                  </a:lnTo>
                  <a:cubicBezTo>
                    <a:pt x="2911" y="-224"/>
                    <a:pt x="1567" y="-224"/>
                    <a:pt x="672" y="672"/>
                  </a:cubicBezTo>
                  <a:cubicBezTo>
                    <a:pt x="-224" y="1567"/>
                    <a:pt x="-224" y="2911"/>
                    <a:pt x="672" y="3806"/>
                  </a:cubicBezTo>
                  <a:lnTo>
                    <a:pt x="25748" y="28882"/>
                  </a:lnTo>
                  <a:lnTo>
                    <a:pt x="672" y="53958"/>
                  </a:lnTo>
                  <a:cubicBezTo>
                    <a:pt x="-224" y="54853"/>
                    <a:pt x="-224" y="56197"/>
                    <a:pt x="672" y="57092"/>
                  </a:cubicBezTo>
                  <a:cubicBezTo>
                    <a:pt x="1120" y="57540"/>
                    <a:pt x="1567" y="57540"/>
                    <a:pt x="2463" y="57540"/>
                  </a:cubicBezTo>
                  <a:cubicBezTo>
                    <a:pt x="3358" y="57540"/>
                    <a:pt x="3806" y="57540"/>
                    <a:pt x="4254" y="57092"/>
                  </a:cubicBezTo>
                  <a:lnTo>
                    <a:pt x="29330" y="32016"/>
                  </a:lnTo>
                  <a:lnTo>
                    <a:pt x="54406" y="57092"/>
                  </a:lnTo>
                  <a:cubicBezTo>
                    <a:pt x="54853" y="57540"/>
                    <a:pt x="55301" y="57540"/>
                    <a:pt x="56197" y="57540"/>
                  </a:cubicBezTo>
                  <a:cubicBezTo>
                    <a:pt x="57092" y="57540"/>
                    <a:pt x="57540" y="57540"/>
                    <a:pt x="57988" y="57092"/>
                  </a:cubicBezTo>
                  <a:cubicBezTo>
                    <a:pt x="58883" y="56197"/>
                    <a:pt x="58883" y="54853"/>
                    <a:pt x="57988" y="53958"/>
                  </a:cubicBezTo>
                  <a:lnTo>
                    <a:pt x="32016" y="28882"/>
                  </a:lnTo>
                  <a:close/>
                </a:path>
              </a:pathLst>
            </a:custGeom>
            <a:solidFill>
              <a:srgbClr val="231F20"/>
            </a:solidFill>
            <a:ln w="4474" cap="flat">
              <a:noFill/>
              <a:prstDash val="solid"/>
              <a:miter/>
            </a:ln>
          </p:spPr>
          <p:txBody>
            <a:bodyPr rtlCol="0" anchor="ctr"/>
            <a:lstStyle/>
            <a:p>
              <a:endParaRPr lang="en-US"/>
            </a:p>
          </p:txBody>
        </p:sp>
      </p:grpSp>
      <p:grpSp>
        <p:nvGrpSpPr>
          <p:cNvPr id="4583" name="Group 4582">
            <a:extLst>
              <a:ext uri="{FF2B5EF4-FFF2-40B4-BE49-F238E27FC236}">
                <a16:creationId xmlns:a16="http://schemas.microsoft.com/office/drawing/2014/main" id="{453A1E1B-3F46-4BF5-BBA8-46684D984FF8}"/>
              </a:ext>
              <a:ext uri="{C183D7F6-B498-43B3-948B-1728B52AA6E4}">
                <adec:decorative xmlns:adec="http://schemas.microsoft.com/office/drawing/2017/decorative" val="1"/>
              </a:ext>
            </a:extLst>
          </p:cNvPr>
          <p:cNvGrpSpPr>
            <a:grpSpLocks noChangeAspect="1"/>
          </p:cNvGrpSpPr>
          <p:nvPr/>
        </p:nvGrpSpPr>
        <p:grpSpPr>
          <a:xfrm>
            <a:off x="554044" y="4885717"/>
            <a:ext cx="120901" cy="125379"/>
            <a:chOff x="605365" y="4154605"/>
            <a:chExt cx="120901" cy="125379"/>
          </a:xfrm>
        </p:grpSpPr>
        <p:sp>
          <p:nvSpPr>
            <p:cNvPr id="4584" name="Freeform: Shape 4583">
              <a:extLst>
                <a:ext uri="{FF2B5EF4-FFF2-40B4-BE49-F238E27FC236}">
                  <a16:creationId xmlns:a16="http://schemas.microsoft.com/office/drawing/2014/main" id="{F00613E7-77E9-4CAA-B05E-EF4B7E0BBDF2}"/>
                </a:ext>
              </a:extLst>
            </p:cNvPr>
            <p:cNvSpPr/>
            <p:nvPr/>
          </p:nvSpPr>
          <p:spPr>
            <a:xfrm>
              <a:off x="605365" y="4154605"/>
              <a:ext cx="120901" cy="125379"/>
            </a:xfrm>
            <a:custGeom>
              <a:avLst/>
              <a:gdLst>
                <a:gd name="connsiteX0" fmla="*/ 62689 w 120901"/>
                <a:gd name="connsiteY0" fmla="*/ 125379 h 125378"/>
                <a:gd name="connsiteX1" fmla="*/ 0 w 120901"/>
                <a:gd name="connsiteY1" fmla="*/ 62689 h 125378"/>
                <a:gd name="connsiteX2" fmla="*/ 62689 w 120901"/>
                <a:gd name="connsiteY2" fmla="*/ 0 h 125378"/>
                <a:gd name="connsiteX3" fmla="*/ 125379 w 120901"/>
                <a:gd name="connsiteY3" fmla="*/ 62689 h 125378"/>
                <a:gd name="connsiteX4" fmla="*/ 62689 w 120901"/>
                <a:gd name="connsiteY4" fmla="*/ 125379 h 125378"/>
                <a:gd name="connsiteX5" fmla="*/ 62689 w 120901"/>
                <a:gd name="connsiteY5" fmla="*/ 4478 h 125378"/>
                <a:gd name="connsiteX6" fmla="*/ 4478 w 120901"/>
                <a:gd name="connsiteY6" fmla="*/ 62689 h 125378"/>
                <a:gd name="connsiteX7" fmla="*/ 62689 w 120901"/>
                <a:gd name="connsiteY7" fmla="*/ 120901 h 125378"/>
                <a:gd name="connsiteX8" fmla="*/ 62689 w 120901"/>
                <a:gd name="connsiteY8" fmla="*/ 120901 h 125378"/>
                <a:gd name="connsiteX9" fmla="*/ 120901 w 120901"/>
                <a:gd name="connsiteY9" fmla="*/ 62689 h 125378"/>
                <a:gd name="connsiteX10" fmla="*/ 62689 w 120901"/>
                <a:gd name="connsiteY10"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901"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lnTo>
                    <a:pt x="62689" y="120901"/>
                  </a:ln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85" name="Freeform: Shape 4584">
              <a:extLst>
                <a:ext uri="{FF2B5EF4-FFF2-40B4-BE49-F238E27FC236}">
                  <a16:creationId xmlns:a16="http://schemas.microsoft.com/office/drawing/2014/main" id="{2C018EB2-4F4C-4A5A-AF66-E6459F8D806C}"/>
                </a:ext>
              </a:extLst>
            </p:cNvPr>
            <p:cNvSpPr/>
            <p:nvPr/>
          </p:nvSpPr>
          <p:spPr>
            <a:xfrm>
              <a:off x="638207" y="4194611"/>
              <a:ext cx="62689" cy="44778"/>
            </a:xfrm>
            <a:custGeom>
              <a:avLst/>
              <a:gdLst>
                <a:gd name="connsiteX0" fmla="*/ 26265 w 62689"/>
                <a:gd name="connsiteY0" fmla="*/ 49102 h 44778"/>
                <a:gd name="connsiteX1" fmla="*/ 24922 w 62689"/>
                <a:gd name="connsiteY1" fmla="*/ 48654 h 44778"/>
                <a:gd name="connsiteX2" fmla="*/ 742 w 62689"/>
                <a:gd name="connsiteY2" fmla="*/ 28504 h 44778"/>
                <a:gd name="connsiteX3" fmla="*/ 294 w 62689"/>
                <a:gd name="connsiteY3" fmla="*/ 25370 h 44778"/>
                <a:gd name="connsiteX4" fmla="*/ 3429 w 62689"/>
                <a:gd name="connsiteY4" fmla="*/ 24922 h 44778"/>
                <a:gd name="connsiteX5" fmla="*/ 25818 w 62689"/>
                <a:gd name="connsiteY5" fmla="*/ 43729 h 44778"/>
                <a:gd name="connsiteX6" fmla="*/ 61640 w 62689"/>
                <a:gd name="connsiteY6" fmla="*/ 742 h 44778"/>
                <a:gd name="connsiteX7" fmla="*/ 64775 w 62689"/>
                <a:gd name="connsiteY7" fmla="*/ 294 h 44778"/>
                <a:gd name="connsiteX8" fmla="*/ 65222 w 62689"/>
                <a:gd name="connsiteY8" fmla="*/ 3429 h 44778"/>
                <a:gd name="connsiteX9" fmla="*/ 28057 w 62689"/>
                <a:gd name="connsiteY9" fmla="*/ 48207 h 44778"/>
                <a:gd name="connsiteX10" fmla="*/ 26265 w 62689"/>
                <a:gd name="connsiteY10" fmla="*/ 49102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689" h="44778">
                  <a:moveTo>
                    <a:pt x="26265" y="49102"/>
                  </a:moveTo>
                  <a:cubicBezTo>
                    <a:pt x="25818" y="49102"/>
                    <a:pt x="25370" y="49102"/>
                    <a:pt x="24922" y="48654"/>
                  </a:cubicBezTo>
                  <a:lnTo>
                    <a:pt x="742" y="28504"/>
                  </a:lnTo>
                  <a:cubicBezTo>
                    <a:pt x="-154" y="27609"/>
                    <a:pt x="-154" y="26265"/>
                    <a:pt x="294" y="25370"/>
                  </a:cubicBezTo>
                  <a:cubicBezTo>
                    <a:pt x="1190" y="24474"/>
                    <a:pt x="2533" y="24474"/>
                    <a:pt x="3429" y="24922"/>
                  </a:cubicBezTo>
                  <a:lnTo>
                    <a:pt x="25818" y="43729"/>
                  </a:lnTo>
                  <a:lnTo>
                    <a:pt x="61640" y="742"/>
                  </a:lnTo>
                  <a:cubicBezTo>
                    <a:pt x="62536" y="-154"/>
                    <a:pt x="63879" y="-154"/>
                    <a:pt x="64775" y="294"/>
                  </a:cubicBezTo>
                  <a:cubicBezTo>
                    <a:pt x="65670" y="1190"/>
                    <a:pt x="65670" y="2533"/>
                    <a:pt x="65222" y="3429"/>
                  </a:cubicBezTo>
                  <a:lnTo>
                    <a:pt x="28057" y="48207"/>
                  </a:lnTo>
                  <a:cubicBezTo>
                    <a:pt x="27609" y="49102"/>
                    <a:pt x="26713" y="49102"/>
                    <a:pt x="26265" y="49102"/>
                  </a:cubicBezTo>
                  <a:close/>
                </a:path>
              </a:pathLst>
            </a:custGeom>
            <a:solidFill>
              <a:srgbClr val="231F20"/>
            </a:solidFill>
            <a:ln w="4474" cap="flat">
              <a:noFill/>
              <a:prstDash val="solid"/>
              <a:miter/>
            </a:ln>
          </p:spPr>
          <p:txBody>
            <a:bodyPr rtlCol="0" anchor="ctr"/>
            <a:lstStyle/>
            <a:p>
              <a:endParaRPr lang="en-US"/>
            </a:p>
          </p:txBody>
        </p:sp>
      </p:grpSp>
      <p:grpSp>
        <p:nvGrpSpPr>
          <p:cNvPr id="4586" name="Group 4585">
            <a:extLst>
              <a:ext uri="{FF2B5EF4-FFF2-40B4-BE49-F238E27FC236}">
                <a16:creationId xmlns:a16="http://schemas.microsoft.com/office/drawing/2014/main" id="{45072D80-BF31-4D7A-B7AE-F0A8BA4534F0}"/>
              </a:ext>
              <a:ext uri="{C183D7F6-B498-43B3-948B-1728B52AA6E4}">
                <adec:decorative xmlns:adec="http://schemas.microsoft.com/office/drawing/2017/decorative" val="1"/>
              </a:ext>
            </a:extLst>
          </p:cNvPr>
          <p:cNvGrpSpPr>
            <a:grpSpLocks noChangeAspect="1"/>
          </p:cNvGrpSpPr>
          <p:nvPr/>
        </p:nvGrpSpPr>
        <p:grpSpPr>
          <a:xfrm>
            <a:off x="807041" y="4885717"/>
            <a:ext cx="125379" cy="125379"/>
            <a:chOff x="858362" y="4154605"/>
            <a:chExt cx="125379" cy="125379"/>
          </a:xfrm>
        </p:grpSpPr>
        <p:sp>
          <p:nvSpPr>
            <p:cNvPr id="4587" name="Freeform: Shape 4586">
              <a:extLst>
                <a:ext uri="{FF2B5EF4-FFF2-40B4-BE49-F238E27FC236}">
                  <a16:creationId xmlns:a16="http://schemas.microsoft.com/office/drawing/2014/main" id="{A437D439-756A-4D38-9C82-787257CDE506}"/>
                </a:ext>
              </a:extLst>
            </p:cNvPr>
            <p:cNvSpPr/>
            <p:nvPr/>
          </p:nvSpPr>
          <p:spPr>
            <a:xfrm>
              <a:off x="858362"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88" name="Freeform: Shape 4587">
              <a:extLst>
                <a:ext uri="{FF2B5EF4-FFF2-40B4-BE49-F238E27FC236}">
                  <a16:creationId xmlns:a16="http://schemas.microsoft.com/office/drawing/2014/main" id="{8C6940FB-8BDC-4121-B380-5D50BB819D05}"/>
                </a:ext>
              </a:extLst>
            </p:cNvPr>
            <p:cNvSpPr/>
            <p:nvPr/>
          </p:nvSpPr>
          <p:spPr>
            <a:xfrm>
              <a:off x="891946"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589" name="Freeform: Shape 4588">
              <a:extLst>
                <a:ext uri="{FF2B5EF4-FFF2-40B4-BE49-F238E27FC236}">
                  <a16:creationId xmlns:a16="http://schemas.microsoft.com/office/drawing/2014/main" id="{66613CFA-82EB-488E-9A6D-0BCF3591C87F}"/>
                </a:ext>
              </a:extLst>
            </p:cNvPr>
            <p:cNvSpPr/>
            <p:nvPr/>
          </p:nvSpPr>
          <p:spPr>
            <a:xfrm>
              <a:off x="932246"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195"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590" name="Freeform: Shape 4589">
              <a:extLst>
                <a:ext uri="{FF2B5EF4-FFF2-40B4-BE49-F238E27FC236}">
                  <a16:creationId xmlns:a16="http://schemas.microsoft.com/office/drawing/2014/main" id="{6D258C0E-0498-4DE9-8BB7-CBAAA65A8CE2}"/>
                </a:ext>
              </a:extLst>
            </p:cNvPr>
            <p:cNvSpPr/>
            <p:nvPr/>
          </p:nvSpPr>
          <p:spPr>
            <a:xfrm>
              <a:off x="891946" y="4220429"/>
              <a:ext cx="58212" cy="31345"/>
            </a:xfrm>
            <a:custGeom>
              <a:avLst/>
              <a:gdLst>
                <a:gd name="connsiteX0" fmla="*/ 55973 w 58211"/>
                <a:gd name="connsiteY0" fmla="*/ 31345 h 31344"/>
                <a:gd name="connsiteX1" fmla="*/ 53734 w 58211"/>
                <a:gd name="connsiteY1" fmla="*/ 29106 h 31344"/>
                <a:gd name="connsiteX2" fmla="*/ 29106 w 58211"/>
                <a:gd name="connsiteY2" fmla="*/ 4478 h 31344"/>
                <a:gd name="connsiteX3" fmla="*/ 4478 w 58211"/>
                <a:gd name="connsiteY3" fmla="*/ 29106 h 31344"/>
                <a:gd name="connsiteX4" fmla="*/ 2239 w 58211"/>
                <a:gd name="connsiteY4" fmla="*/ 31345 h 31344"/>
                <a:gd name="connsiteX5" fmla="*/ 0 w 58211"/>
                <a:gd name="connsiteY5" fmla="*/ 29106 h 31344"/>
                <a:gd name="connsiteX6" fmla="*/ 29106 w 58211"/>
                <a:gd name="connsiteY6" fmla="*/ 0 h 31344"/>
                <a:gd name="connsiteX7" fmla="*/ 58212 w 58211"/>
                <a:gd name="connsiteY7" fmla="*/ 29106 h 31344"/>
                <a:gd name="connsiteX8" fmla="*/ 55973 w 58211"/>
                <a:gd name="connsiteY8" fmla="*/ 31345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1" h="31344">
                  <a:moveTo>
                    <a:pt x="55973" y="31345"/>
                  </a:moveTo>
                  <a:cubicBezTo>
                    <a:pt x="54629" y="31345"/>
                    <a:pt x="53734" y="30449"/>
                    <a:pt x="53734" y="29106"/>
                  </a:cubicBezTo>
                  <a:cubicBezTo>
                    <a:pt x="53734" y="15672"/>
                    <a:pt x="42539" y="4478"/>
                    <a:pt x="29106" y="4478"/>
                  </a:cubicBezTo>
                  <a:cubicBezTo>
                    <a:pt x="15672" y="4478"/>
                    <a:pt x="4478" y="15672"/>
                    <a:pt x="4478" y="29106"/>
                  </a:cubicBezTo>
                  <a:cubicBezTo>
                    <a:pt x="4478" y="30449"/>
                    <a:pt x="3582" y="31345"/>
                    <a:pt x="2239" y="31345"/>
                  </a:cubicBezTo>
                  <a:cubicBezTo>
                    <a:pt x="896" y="31345"/>
                    <a:pt x="0" y="30449"/>
                    <a:pt x="0" y="29106"/>
                  </a:cubicBezTo>
                  <a:cubicBezTo>
                    <a:pt x="0" y="12986"/>
                    <a:pt x="12986" y="0"/>
                    <a:pt x="29106" y="0"/>
                  </a:cubicBezTo>
                  <a:cubicBezTo>
                    <a:pt x="45226" y="0"/>
                    <a:pt x="58212" y="12986"/>
                    <a:pt x="58212" y="29106"/>
                  </a:cubicBezTo>
                  <a:cubicBezTo>
                    <a:pt x="58212" y="30449"/>
                    <a:pt x="56868" y="31345"/>
                    <a:pt x="55973" y="31345"/>
                  </a:cubicBezTo>
                  <a:close/>
                </a:path>
              </a:pathLst>
            </a:custGeom>
            <a:solidFill>
              <a:srgbClr val="231F20"/>
            </a:solidFill>
            <a:ln w="4474" cap="flat">
              <a:noFill/>
              <a:prstDash val="solid"/>
              <a:miter/>
            </a:ln>
          </p:spPr>
          <p:txBody>
            <a:bodyPr rtlCol="0" anchor="ctr"/>
            <a:lstStyle/>
            <a:p>
              <a:endParaRPr lang="en-US"/>
            </a:p>
          </p:txBody>
        </p:sp>
      </p:grpSp>
      <p:grpSp>
        <p:nvGrpSpPr>
          <p:cNvPr id="4591" name="Group 4590">
            <a:extLst>
              <a:ext uri="{FF2B5EF4-FFF2-40B4-BE49-F238E27FC236}">
                <a16:creationId xmlns:a16="http://schemas.microsoft.com/office/drawing/2014/main" id="{AA99346B-2DEE-4648-A96D-4A8428454DB5}"/>
              </a:ext>
              <a:ext uri="{C183D7F6-B498-43B3-948B-1728B52AA6E4}">
                <adec:decorative xmlns:adec="http://schemas.microsoft.com/office/drawing/2017/decorative" val="1"/>
              </a:ext>
            </a:extLst>
          </p:cNvPr>
          <p:cNvGrpSpPr>
            <a:grpSpLocks noChangeAspect="1"/>
          </p:cNvGrpSpPr>
          <p:nvPr/>
        </p:nvGrpSpPr>
        <p:grpSpPr>
          <a:xfrm>
            <a:off x="1336767" y="4885717"/>
            <a:ext cx="125379" cy="125379"/>
            <a:chOff x="1388088" y="4154605"/>
            <a:chExt cx="125379" cy="125379"/>
          </a:xfrm>
        </p:grpSpPr>
        <p:sp>
          <p:nvSpPr>
            <p:cNvPr id="4592" name="Freeform: Shape 4591">
              <a:extLst>
                <a:ext uri="{FF2B5EF4-FFF2-40B4-BE49-F238E27FC236}">
                  <a16:creationId xmlns:a16="http://schemas.microsoft.com/office/drawing/2014/main" id="{A54457A4-E3A7-44B9-87C6-14534A98D77E}"/>
                </a:ext>
              </a:extLst>
            </p:cNvPr>
            <p:cNvSpPr/>
            <p:nvPr/>
          </p:nvSpPr>
          <p:spPr>
            <a:xfrm>
              <a:off x="1388088"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93" name="Freeform: Shape 4592">
              <a:extLst>
                <a:ext uri="{FF2B5EF4-FFF2-40B4-BE49-F238E27FC236}">
                  <a16:creationId xmlns:a16="http://schemas.microsoft.com/office/drawing/2014/main" id="{B9527CF6-8BC6-470E-8868-FF372D2B5E3C}"/>
                </a:ext>
              </a:extLst>
            </p:cNvPr>
            <p:cNvSpPr/>
            <p:nvPr/>
          </p:nvSpPr>
          <p:spPr>
            <a:xfrm>
              <a:off x="1421672"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8359" y="13881"/>
                    <a:pt x="14329"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881"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594" name="Freeform: Shape 4593">
              <a:extLst>
                <a:ext uri="{FF2B5EF4-FFF2-40B4-BE49-F238E27FC236}">
                  <a16:creationId xmlns:a16="http://schemas.microsoft.com/office/drawing/2014/main" id="{E88AC847-7B05-4CA9-9FBF-F514F6F837EF}"/>
                </a:ext>
              </a:extLst>
            </p:cNvPr>
            <p:cNvSpPr/>
            <p:nvPr/>
          </p:nvSpPr>
          <p:spPr>
            <a:xfrm>
              <a:off x="1461972"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8359" y="13881"/>
                    <a:pt x="14329"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881"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595" name="Freeform: Shape 4594">
              <a:extLst>
                <a:ext uri="{FF2B5EF4-FFF2-40B4-BE49-F238E27FC236}">
                  <a16:creationId xmlns:a16="http://schemas.microsoft.com/office/drawing/2014/main" id="{7706A0AC-548A-47FA-90C8-45B5F101F363}"/>
                </a:ext>
              </a:extLst>
            </p:cNvPr>
            <p:cNvSpPr/>
            <p:nvPr/>
          </p:nvSpPr>
          <p:spPr>
            <a:xfrm>
              <a:off x="1414388" y="4220708"/>
              <a:ext cx="67167" cy="26867"/>
            </a:xfrm>
            <a:custGeom>
              <a:avLst/>
              <a:gdLst>
                <a:gd name="connsiteX0" fmla="*/ 36389 w 67167"/>
                <a:gd name="connsiteY0" fmla="*/ 31065 h 26866"/>
                <a:gd name="connsiteX1" fmla="*/ 119 w 67167"/>
                <a:gd name="connsiteY1" fmla="*/ 2855 h 26866"/>
                <a:gd name="connsiteX2" fmla="*/ 1462 w 67167"/>
                <a:gd name="connsiteY2" fmla="*/ 168 h 26866"/>
                <a:gd name="connsiteX3" fmla="*/ 4149 w 67167"/>
                <a:gd name="connsiteY3" fmla="*/ 1511 h 26866"/>
                <a:gd name="connsiteX4" fmla="*/ 35942 w 67167"/>
                <a:gd name="connsiteY4" fmla="*/ 27035 h 26866"/>
                <a:gd name="connsiteX5" fmla="*/ 66839 w 67167"/>
                <a:gd name="connsiteY5" fmla="*/ 1511 h 26866"/>
                <a:gd name="connsiteX6" fmla="*/ 69525 w 67167"/>
                <a:gd name="connsiteY6" fmla="*/ 168 h 26866"/>
                <a:gd name="connsiteX7" fmla="*/ 70869 w 67167"/>
                <a:gd name="connsiteY7" fmla="*/ 2855 h 26866"/>
                <a:gd name="connsiteX8" fmla="*/ 36389 w 67167"/>
                <a:gd name="connsiteY8" fmla="*/ 31065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67" h="26866">
                  <a:moveTo>
                    <a:pt x="36389" y="31065"/>
                  </a:moveTo>
                  <a:cubicBezTo>
                    <a:pt x="18478" y="31065"/>
                    <a:pt x="6836" y="21662"/>
                    <a:pt x="119" y="2855"/>
                  </a:cubicBezTo>
                  <a:cubicBezTo>
                    <a:pt x="-329" y="1511"/>
                    <a:pt x="567" y="616"/>
                    <a:pt x="1462" y="168"/>
                  </a:cubicBezTo>
                  <a:cubicBezTo>
                    <a:pt x="2806" y="-280"/>
                    <a:pt x="3701" y="616"/>
                    <a:pt x="4149" y="1511"/>
                  </a:cubicBezTo>
                  <a:cubicBezTo>
                    <a:pt x="9970" y="18975"/>
                    <a:pt x="19821" y="27035"/>
                    <a:pt x="35942" y="27035"/>
                  </a:cubicBezTo>
                  <a:cubicBezTo>
                    <a:pt x="50718" y="27035"/>
                    <a:pt x="61465" y="18079"/>
                    <a:pt x="66839" y="1511"/>
                  </a:cubicBezTo>
                  <a:cubicBezTo>
                    <a:pt x="67286" y="168"/>
                    <a:pt x="68630" y="-280"/>
                    <a:pt x="69525" y="168"/>
                  </a:cubicBezTo>
                  <a:cubicBezTo>
                    <a:pt x="70869" y="616"/>
                    <a:pt x="71316" y="1959"/>
                    <a:pt x="70869" y="2855"/>
                  </a:cubicBezTo>
                  <a:cubicBezTo>
                    <a:pt x="64152" y="26139"/>
                    <a:pt x="48480" y="31065"/>
                    <a:pt x="36389" y="31065"/>
                  </a:cubicBezTo>
                  <a:close/>
                </a:path>
              </a:pathLst>
            </a:custGeom>
            <a:solidFill>
              <a:srgbClr val="231F20"/>
            </a:solidFill>
            <a:ln w="4474" cap="flat">
              <a:noFill/>
              <a:prstDash val="solid"/>
              <a:miter/>
            </a:ln>
          </p:spPr>
          <p:txBody>
            <a:bodyPr rtlCol="0" anchor="ctr"/>
            <a:lstStyle/>
            <a:p>
              <a:endParaRPr lang="en-US"/>
            </a:p>
          </p:txBody>
        </p:sp>
      </p:grpSp>
      <p:grpSp>
        <p:nvGrpSpPr>
          <p:cNvPr id="4596" name="Group 4595">
            <a:extLst>
              <a:ext uri="{FF2B5EF4-FFF2-40B4-BE49-F238E27FC236}">
                <a16:creationId xmlns:a16="http://schemas.microsoft.com/office/drawing/2014/main" id="{C18BB326-047D-4B3C-9962-691CD5A79479}"/>
              </a:ext>
              <a:ext uri="{C183D7F6-B498-43B3-948B-1728B52AA6E4}">
                <adec:decorative xmlns:adec="http://schemas.microsoft.com/office/drawing/2017/decorative" val="1"/>
              </a:ext>
            </a:extLst>
          </p:cNvPr>
          <p:cNvGrpSpPr>
            <a:grpSpLocks noChangeAspect="1"/>
          </p:cNvGrpSpPr>
          <p:nvPr/>
        </p:nvGrpSpPr>
        <p:grpSpPr>
          <a:xfrm>
            <a:off x="1077053" y="4885717"/>
            <a:ext cx="125379" cy="125379"/>
            <a:chOff x="1128374" y="4154605"/>
            <a:chExt cx="125379" cy="125379"/>
          </a:xfrm>
        </p:grpSpPr>
        <p:sp>
          <p:nvSpPr>
            <p:cNvPr id="4597" name="Freeform: Shape 4596">
              <a:extLst>
                <a:ext uri="{FF2B5EF4-FFF2-40B4-BE49-F238E27FC236}">
                  <a16:creationId xmlns:a16="http://schemas.microsoft.com/office/drawing/2014/main" id="{1A89BB13-E161-450C-B3D0-CC24C38840FA}"/>
                </a:ext>
              </a:extLst>
            </p:cNvPr>
            <p:cNvSpPr/>
            <p:nvPr/>
          </p:nvSpPr>
          <p:spPr>
            <a:xfrm>
              <a:off x="1128374"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598" name="Freeform: Shape 4597">
              <a:extLst>
                <a:ext uri="{FF2B5EF4-FFF2-40B4-BE49-F238E27FC236}">
                  <a16:creationId xmlns:a16="http://schemas.microsoft.com/office/drawing/2014/main" id="{B358F4A3-EE35-48C2-BDFD-811DEFD1D9B0}"/>
                </a:ext>
              </a:extLst>
            </p:cNvPr>
            <p:cNvSpPr/>
            <p:nvPr/>
          </p:nvSpPr>
          <p:spPr>
            <a:xfrm>
              <a:off x="1161510"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599" name="Freeform: Shape 4598">
              <a:extLst>
                <a:ext uri="{FF2B5EF4-FFF2-40B4-BE49-F238E27FC236}">
                  <a16:creationId xmlns:a16="http://schemas.microsoft.com/office/drawing/2014/main" id="{AE621755-6641-4014-84A0-69BE717A6760}"/>
                </a:ext>
              </a:extLst>
            </p:cNvPr>
            <p:cNvSpPr/>
            <p:nvPr/>
          </p:nvSpPr>
          <p:spPr>
            <a:xfrm>
              <a:off x="1201811"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642" y="4478"/>
                    <a:pt x="8956" y="4478"/>
                  </a:cubicBezTo>
                  <a:close/>
                </a:path>
              </a:pathLst>
            </a:custGeom>
            <a:solidFill>
              <a:srgbClr val="231F20"/>
            </a:solidFill>
            <a:ln w="4474" cap="flat">
              <a:noFill/>
              <a:prstDash val="solid"/>
              <a:miter/>
            </a:ln>
          </p:spPr>
          <p:txBody>
            <a:bodyPr rtlCol="0" anchor="ctr"/>
            <a:lstStyle/>
            <a:p>
              <a:endParaRPr lang="en-US"/>
            </a:p>
          </p:txBody>
        </p:sp>
        <p:sp>
          <p:nvSpPr>
            <p:cNvPr id="4600" name="Freeform: Shape 4599">
              <a:extLst>
                <a:ext uri="{FF2B5EF4-FFF2-40B4-BE49-F238E27FC236}">
                  <a16:creationId xmlns:a16="http://schemas.microsoft.com/office/drawing/2014/main" id="{6386126E-FB22-4372-A0F2-E29005424C3A}"/>
                </a:ext>
              </a:extLst>
            </p:cNvPr>
            <p:cNvSpPr/>
            <p:nvPr/>
          </p:nvSpPr>
          <p:spPr>
            <a:xfrm>
              <a:off x="1154346" y="4233862"/>
              <a:ext cx="71645" cy="4478"/>
            </a:xfrm>
            <a:custGeom>
              <a:avLst/>
              <a:gdLst>
                <a:gd name="connsiteX0" fmla="*/ 69406 w 71645"/>
                <a:gd name="connsiteY0" fmla="*/ 4478 h 4477"/>
                <a:gd name="connsiteX1" fmla="*/ 2239 w 71645"/>
                <a:gd name="connsiteY1" fmla="*/ 4478 h 4477"/>
                <a:gd name="connsiteX2" fmla="*/ 0 w 71645"/>
                <a:gd name="connsiteY2" fmla="*/ 2239 h 4477"/>
                <a:gd name="connsiteX3" fmla="*/ 2239 w 71645"/>
                <a:gd name="connsiteY3" fmla="*/ 0 h 4477"/>
                <a:gd name="connsiteX4" fmla="*/ 69406 w 71645"/>
                <a:gd name="connsiteY4" fmla="*/ 0 h 4477"/>
                <a:gd name="connsiteX5" fmla="*/ 71645 w 71645"/>
                <a:gd name="connsiteY5" fmla="*/ 2239 h 4477"/>
                <a:gd name="connsiteX6" fmla="*/ 69406 w 71645"/>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5" h="4477">
                  <a:moveTo>
                    <a:pt x="69406" y="4478"/>
                  </a:moveTo>
                  <a:lnTo>
                    <a:pt x="2239" y="4478"/>
                  </a:lnTo>
                  <a:cubicBezTo>
                    <a:pt x="896" y="4478"/>
                    <a:pt x="0" y="3582"/>
                    <a:pt x="0" y="2239"/>
                  </a:cubicBezTo>
                  <a:cubicBezTo>
                    <a:pt x="0" y="896"/>
                    <a:pt x="896" y="0"/>
                    <a:pt x="2239" y="0"/>
                  </a:cubicBezTo>
                  <a:lnTo>
                    <a:pt x="69406" y="0"/>
                  </a:lnTo>
                  <a:cubicBezTo>
                    <a:pt x="70750" y="0"/>
                    <a:pt x="71645" y="896"/>
                    <a:pt x="71645" y="2239"/>
                  </a:cubicBezTo>
                  <a:cubicBezTo>
                    <a:pt x="71645" y="3582"/>
                    <a:pt x="70750" y="4478"/>
                    <a:pt x="69406" y="4478"/>
                  </a:cubicBezTo>
                  <a:close/>
                </a:path>
              </a:pathLst>
            </a:custGeom>
            <a:solidFill>
              <a:srgbClr val="231F20"/>
            </a:solidFill>
            <a:ln w="4474" cap="flat">
              <a:noFill/>
              <a:prstDash val="solid"/>
              <a:miter/>
            </a:ln>
          </p:spPr>
          <p:txBody>
            <a:bodyPr rtlCol="0" anchor="ctr"/>
            <a:lstStyle/>
            <a:p>
              <a:endParaRPr lang="en-US"/>
            </a:p>
          </p:txBody>
        </p:sp>
      </p:grpSp>
      <p:grpSp>
        <p:nvGrpSpPr>
          <p:cNvPr id="4601" name="Group 4600">
            <a:extLst>
              <a:ext uri="{FF2B5EF4-FFF2-40B4-BE49-F238E27FC236}">
                <a16:creationId xmlns:a16="http://schemas.microsoft.com/office/drawing/2014/main" id="{1B15E096-FDFC-4DE5-89E1-EC07FE6D9EE0}"/>
              </a:ext>
              <a:ext uri="{C183D7F6-B498-43B3-948B-1728B52AA6E4}">
                <adec:decorative xmlns:adec="http://schemas.microsoft.com/office/drawing/2017/decorative" val="1"/>
              </a:ext>
            </a:extLst>
          </p:cNvPr>
          <p:cNvGrpSpPr>
            <a:grpSpLocks noChangeAspect="1"/>
          </p:cNvGrpSpPr>
          <p:nvPr/>
        </p:nvGrpSpPr>
        <p:grpSpPr>
          <a:xfrm>
            <a:off x="1879926" y="4885717"/>
            <a:ext cx="98512" cy="125379"/>
            <a:chOff x="1931247" y="4154605"/>
            <a:chExt cx="98512" cy="125379"/>
          </a:xfrm>
        </p:grpSpPr>
        <p:sp>
          <p:nvSpPr>
            <p:cNvPr id="4602" name="Freeform: Shape 4601">
              <a:extLst>
                <a:ext uri="{FF2B5EF4-FFF2-40B4-BE49-F238E27FC236}">
                  <a16:creationId xmlns:a16="http://schemas.microsoft.com/office/drawing/2014/main" id="{379CB65B-2E2A-4B66-A5CC-25B10084D8F1}"/>
                </a:ext>
              </a:extLst>
            </p:cNvPr>
            <p:cNvSpPr/>
            <p:nvPr/>
          </p:nvSpPr>
          <p:spPr>
            <a:xfrm>
              <a:off x="1931247" y="4154605"/>
              <a:ext cx="98512" cy="125379"/>
            </a:xfrm>
            <a:custGeom>
              <a:avLst/>
              <a:gdLst>
                <a:gd name="connsiteX0" fmla="*/ 96273 w 98511"/>
                <a:gd name="connsiteY0" fmla="*/ 53734 h 125378"/>
                <a:gd name="connsiteX1" fmla="*/ 17911 w 98511"/>
                <a:gd name="connsiteY1" fmla="*/ 53734 h 125378"/>
                <a:gd name="connsiteX2" fmla="*/ 17911 w 98511"/>
                <a:gd name="connsiteY2" fmla="*/ 35823 h 125378"/>
                <a:gd name="connsiteX3" fmla="*/ 49256 w 98511"/>
                <a:gd name="connsiteY3" fmla="*/ 4478 h 125378"/>
                <a:gd name="connsiteX4" fmla="*/ 80601 w 98511"/>
                <a:gd name="connsiteY4" fmla="*/ 35823 h 125378"/>
                <a:gd name="connsiteX5" fmla="*/ 80601 w 98511"/>
                <a:gd name="connsiteY5" fmla="*/ 42539 h 125378"/>
                <a:gd name="connsiteX6" fmla="*/ 82840 w 98511"/>
                <a:gd name="connsiteY6" fmla="*/ 44778 h 125378"/>
                <a:gd name="connsiteX7" fmla="*/ 85079 w 98511"/>
                <a:gd name="connsiteY7" fmla="*/ 42539 h 125378"/>
                <a:gd name="connsiteX8" fmla="*/ 85079 w 98511"/>
                <a:gd name="connsiteY8" fmla="*/ 35823 h 125378"/>
                <a:gd name="connsiteX9" fmla="*/ 49256 w 98511"/>
                <a:gd name="connsiteY9" fmla="*/ 0 h 125378"/>
                <a:gd name="connsiteX10" fmla="*/ 13433 w 98511"/>
                <a:gd name="connsiteY10" fmla="*/ 35823 h 125378"/>
                <a:gd name="connsiteX11" fmla="*/ 13433 w 98511"/>
                <a:gd name="connsiteY11" fmla="*/ 53734 h 125378"/>
                <a:gd name="connsiteX12" fmla="*/ 2239 w 98511"/>
                <a:gd name="connsiteY12" fmla="*/ 53734 h 125378"/>
                <a:gd name="connsiteX13" fmla="*/ 0 w 98511"/>
                <a:gd name="connsiteY13" fmla="*/ 55973 h 125378"/>
                <a:gd name="connsiteX14" fmla="*/ 0 w 98511"/>
                <a:gd name="connsiteY14" fmla="*/ 123140 h 125378"/>
                <a:gd name="connsiteX15" fmla="*/ 2239 w 98511"/>
                <a:gd name="connsiteY15" fmla="*/ 125379 h 125378"/>
                <a:gd name="connsiteX16" fmla="*/ 96273 w 98511"/>
                <a:gd name="connsiteY16" fmla="*/ 125379 h 125378"/>
                <a:gd name="connsiteX17" fmla="*/ 98512 w 98511"/>
                <a:gd name="connsiteY17" fmla="*/ 123140 h 125378"/>
                <a:gd name="connsiteX18" fmla="*/ 98512 w 98511"/>
                <a:gd name="connsiteY18" fmla="*/ 55973 h 125378"/>
                <a:gd name="connsiteX19" fmla="*/ 96273 w 98511"/>
                <a:gd name="connsiteY19" fmla="*/ 53734 h 125378"/>
                <a:gd name="connsiteX20" fmla="*/ 94034 w 98511"/>
                <a:gd name="connsiteY20" fmla="*/ 120901 h 125378"/>
                <a:gd name="connsiteX21" fmla="*/ 4478 w 98511"/>
                <a:gd name="connsiteY21" fmla="*/ 120901 h 125378"/>
                <a:gd name="connsiteX22" fmla="*/ 4478 w 98511"/>
                <a:gd name="connsiteY22" fmla="*/ 58212 h 125378"/>
                <a:gd name="connsiteX23" fmla="*/ 94034 w 98511"/>
                <a:gd name="connsiteY23" fmla="*/ 58212 h 125378"/>
                <a:gd name="connsiteX24" fmla="*/ 94034 w 98511"/>
                <a:gd name="connsiteY24"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8511" h="125378">
                  <a:moveTo>
                    <a:pt x="96273" y="53734"/>
                  </a:moveTo>
                  <a:lnTo>
                    <a:pt x="17911" y="53734"/>
                  </a:lnTo>
                  <a:lnTo>
                    <a:pt x="17911" y="35823"/>
                  </a:lnTo>
                  <a:cubicBezTo>
                    <a:pt x="17911" y="18359"/>
                    <a:pt x="31793" y="4478"/>
                    <a:pt x="49256" y="4478"/>
                  </a:cubicBezTo>
                  <a:cubicBezTo>
                    <a:pt x="66719" y="4478"/>
                    <a:pt x="80601" y="18359"/>
                    <a:pt x="80601" y="35823"/>
                  </a:cubicBezTo>
                  <a:lnTo>
                    <a:pt x="80601" y="42539"/>
                  </a:lnTo>
                  <a:cubicBezTo>
                    <a:pt x="80601" y="43883"/>
                    <a:pt x="81496" y="44778"/>
                    <a:pt x="82840" y="44778"/>
                  </a:cubicBezTo>
                  <a:cubicBezTo>
                    <a:pt x="84183" y="44778"/>
                    <a:pt x="85079" y="43883"/>
                    <a:pt x="85079" y="42539"/>
                  </a:cubicBezTo>
                  <a:lnTo>
                    <a:pt x="85079" y="35823"/>
                  </a:lnTo>
                  <a:cubicBezTo>
                    <a:pt x="85079" y="16120"/>
                    <a:pt x="68958" y="0"/>
                    <a:pt x="49256" y="0"/>
                  </a:cubicBezTo>
                  <a:cubicBezTo>
                    <a:pt x="29554" y="0"/>
                    <a:pt x="13433" y="16120"/>
                    <a:pt x="13433" y="35823"/>
                  </a:cubicBezTo>
                  <a:lnTo>
                    <a:pt x="13433" y="53734"/>
                  </a:lnTo>
                  <a:lnTo>
                    <a:pt x="2239" y="53734"/>
                  </a:lnTo>
                  <a:cubicBezTo>
                    <a:pt x="896" y="53734"/>
                    <a:pt x="0" y="54629"/>
                    <a:pt x="0" y="55973"/>
                  </a:cubicBezTo>
                  <a:lnTo>
                    <a:pt x="0" y="123140"/>
                  </a:lnTo>
                  <a:cubicBezTo>
                    <a:pt x="0" y="124483"/>
                    <a:pt x="896" y="125379"/>
                    <a:pt x="2239" y="125379"/>
                  </a:cubicBezTo>
                  <a:lnTo>
                    <a:pt x="96273" y="125379"/>
                  </a:lnTo>
                  <a:cubicBezTo>
                    <a:pt x="97617" y="125379"/>
                    <a:pt x="98512" y="124483"/>
                    <a:pt x="98512" y="123140"/>
                  </a:cubicBezTo>
                  <a:lnTo>
                    <a:pt x="98512" y="55973"/>
                  </a:lnTo>
                  <a:cubicBezTo>
                    <a:pt x="98512" y="54629"/>
                    <a:pt x="97169" y="53734"/>
                    <a:pt x="96273" y="53734"/>
                  </a:cubicBezTo>
                  <a:close/>
                  <a:moveTo>
                    <a:pt x="94034" y="120901"/>
                  </a:moveTo>
                  <a:lnTo>
                    <a:pt x="4478" y="120901"/>
                  </a:lnTo>
                  <a:lnTo>
                    <a:pt x="4478" y="58212"/>
                  </a:lnTo>
                  <a:lnTo>
                    <a:pt x="94034" y="58212"/>
                  </a:lnTo>
                  <a:lnTo>
                    <a:pt x="94034" y="120901"/>
                  </a:lnTo>
                  <a:close/>
                </a:path>
              </a:pathLst>
            </a:custGeom>
            <a:solidFill>
              <a:srgbClr val="231F20"/>
            </a:solidFill>
            <a:ln w="4474" cap="flat">
              <a:noFill/>
              <a:prstDash val="solid"/>
              <a:miter/>
            </a:ln>
          </p:spPr>
          <p:txBody>
            <a:bodyPr rtlCol="0" anchor="ctr"/>
            <a:lstStyle/>
            <a:p>
              <a:endParaRPr lang="en-US"/>
            </a:p>
          </p:txBody>
        </p:sp>
        <p:sp>
          <p:nvSpPr>
            <p:cNvPr id="4603" name="Freeform: Shape 4602">
              <a:extLst>
                <a:ext uri="{FF2B5EF4-FFF2-40B4-BE49-F238E27FC236}">
                  <a16:creationId xmlns:a16="http://schemas.microsoft.com/office/drawing/2014/main" id="{4FD913DF-754B-4C35-AD25-9290E90C53CA}"/>
                </a:ext>
              </a:extLst>
            </p:cNvPr>
            <p:cNvSpPr/>
            <p:nvPr/>
          </p:nvSpPr>
          <p:spPr>
            <a:xfrm>
              <a:off x="1969309" y="4224011"/>
              <a:ext cx="17911" cy="31345"/>
            </a:xfrm>
            <a:custGeom>
              <a:avLst/>
              <a:gdLst>
                <a:gd name="connsiteX0" fmla="*/ 21494 w 17911"/>
                <a:gd name="connsiteY0" fmla="*/ 10747 h 31344"/>
                <a:gd name="connsiteX1" fmla="*/ 10747 w 17911"/>
                <a:gd name="connsiteY1" fmla="*/ 0 h 31344"/>
                <a:gd name="connsiteX2" fmla="*/ 0 w 17911"/>
                <a:gd name="connsiteY2" fmla="*/ 10747 h 31344"/>
                <a:gd name="connsiteX3" fmla="*/ 7165 w 17911"/>
                <a:gd name="connsiteY3" fmla="*/ 20598 h 31344"/>
                <a:gd name="connsiteX4" fmla="*/ 7165 w 17911"/>
                <a:gd name="connsiteY4" fmla="*/ 34479 h 31344"/>
                <a:gd name="connsiteX5" fmla="*/ 13881 w 17911"/>
                <a:gd name="connsiteY5" fmla="*/ 34479 h 31344"/>
                <a:gd name="connsiteX6" fmla="*/ 13881 w 17911"/>
                <a:gd name="connsiteY6" fmla="*/ 20598 h 31344"/>
                <a:gd name="connsiteX7" fmla="*/ 21494 w 17911"/>
                <a:gd name="connsiteY7" fmla="*/ 1074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31344">
                  <a:moveTo>
                    <a:pt x="21494" y="10747"/>
                  </a:moveTo>
                  <a:cubicBezTo>
                    <a:pt x="21494" y="4926"/>
                    <a:pt x="16568" y="0"/>
                    <a:pt x="10747" y="0"/>
                  </a:cubicBezTo>
                  <a:cubicBezTo>
                    <a:pt x="4926" y="0"/>
                    <a:pt x="0" y="4926"/>
                    <a:pt x="0" y="10747"/>
                  </a:cubicBezTo>
                  <a:cubicBezTo>
                    <a:pt x="0" y="15225"/>
                    <a:pt x="3135" y="19255"/>
                    <a:pt x="7165" y="20598"/>
                  </a:cubicBezTo>
                  <a:lnTo>
                    <a:pt x="7165" y="34479"/>
                  </a:lnTo>
                  <a:lnTo>
                    <a:pt x="13881" y="34479"/>
                  </a:lnTo>
                  <a:lnTo>
                    <a:pt x="13881" y="20598"/>
                  </a:lnTo>
                  <a:cubicBezTo>
                    <a:pt x="18807" y="19255"/>
                    <a:pt x="21494" y="15225"/>
                    <a:pt x="21494" y="10747"/>
                  </a:cubicBezTo>
                  <a:close/>
                </a:path>
              </a:pathLst>
            </a:custGeom>
            <a:solidFill>
              <a:srgbClr val="231F20"/>
            </a:solidFill>
            <a:ln w="4474" cap="flat">
              <a:noFill/>
              <a:prstDash val="solid"/>
              <a:miter/>
            </a:ln>
          </p:spPr>
          <p:txBody>
            <a:bodyPr rtlCol="0" anchor="ctr"/>
            <a:lstStyle/>
            <a:p>
              <a:endParaRPr lang="en-US"/>
            </a:p>
          </p:txBody>
        </p:sp>
      </p:grpSp>
      <p:grpSp>
        <p:nvGrpSpPr>
          <p:cNvPr id="4604" name="Group 4603">
            <a:extLst>
              <a:ext uri="{FF2B5EF4-FFF2-40B4-BE49-F238E27FC236}">
                <a16:creationId xmlns:a16="http://schemas.microsoft.com/office/drawing/2014/main" id="{153DE737-2582-4C7B-B1EA-8D8BA3D8AE5A}"/>
              </a:ext>
              <a:ext uri="{C183D7F6-B498-43B3-948B-1728B52AA6E4}">
                <adec:decorative xmlns:adec="http://schemas.microsoft.com/office/drawing/2017/decorative" val="1"/>
              </a:ext>
            </a:extLst>
          </p:cNvPr>
          <p:cNvGrpSpPr>
            <a:grpSpLocks noChangeAspect="1"/>
          </p:cNvGrpSpPr>
          <p:nvPr/>
        </p:nvGrpSpPr>
        <p:grpSpPr>
          <a:xfrm>
            <a:off x="2396219" y="4885717"/>
            <a:ext cx="125379" cy="125379"/>
            <a:chOff x="2447540" y="4154605"/>
            <a:chExt cx="125379" cy="125379"/>
          </a:xfrm>
        </p:grpSpPr>
        <p:sp>
          <p:nvSpPr>
            <p:cNvPr id="4605" name="Freeform: Shape 4604">
              <a:extLst>
                <a:ext uri="{FF2B5EF4-FFF2-40B4-BE49-F238E27FC236}">
                  <a16:creationId xmlns:a16="http://schemas.microsoft.com/office/drawing/2014/main" id="{1D342592-92AC-4AB6-8584-1EF65CFF2196}"/>
                </a:ext>
              </a:extLst>
            </p:cNvPr>
            <p:cNvSpPr/>
            <p:nvPr/>
          </p:nvSpPr>
          <p:spPr>
            <a:xfrm>
              <a:off x="2460973" y="4235205"/>
              <a:ext cx="31345" cy="31345"/>
            </a:xfrm>
            <a:custGeom>
              <a:avLst/>
              <a:gdLst>
                <a:gd name="connsiteX0" fmla="*/ 29106 w 31344"/>
                <a:gd name="connsiteY0" fmla="*/ 13433 h 31344"/>
                <a:gd name="connsiteX1" fmla="*/ 17911 w 31344"/>
                <a:gd name="connsiteY1" fmla="*/ 13433 h 31344"/>
                <a:gd name="connsiteX2" fmla="*/ 17911 w 31344"/>
                <a:gd name="connsiteY2" fmla="*/ 2239 h 31344"/>
                <a:gd name="connsiteX3" fmla="*/ 15672 w 31344"/>
                <a:gd name="connsiteY3" fmla="*/ 0 h 31344"/>
                <a:gd name="connsiteX4" fmla="*/ 13433 w 31344"/>
                <a:gd name="connsiteY4" fmla="*/ 2239 h 31344"/>
                <a:gd name="connsiteX5" fmla="*/ 13433 w 31344"/>
                <a:gd name="connsiteY5" fmla="*/ 13433 h 31344"/>
                <a:gd name="connsiteX6" fmla="*/ 2239 w 31344"/>
                <a:gd name="connsiteY6" fmla="*/ 13433 h 31344"/>
                <a:gd name="connsiteX7" fmla="*/ 0 w 31344"/>
                <a:gd name="connsiteY7" fmla="*/ 15672 h 31344"/>
                <a:gd name="connsiteX8" fmla="*/ 2239 w 31344"/>
                <a:gd name="connsiteY8" fmla="*/ 17911 h 31344"/>
                <a:gd name="connsiteX9" fmla="*/ 13433 w 31344"/>
                <a:gd name="connsiteY9" fmla="*/ 17911 h 31344"/>
                <a:gd name="connsiteX10" fmla="*/ 13433 w 31344"/>
                <a:gd name="connsiteY10" fmla="*/ 29106 h 31344"/>
                <a:gd name="connsiteX11" fmla="*/ 15672 w 31344"/>
                <a:gd name="connsiteY11" fmla="*/ 31345 h 31344"/>
                <a:gd name="connsiteX12" fmla="*/ 17911 w 31344"/>
                <a:gd name="connsiteY12" fmla="*/ 29106 h 31344"/>
                <a:gd name="connsiteX13" fmla="*/ 17911 w 31344"/>
                <a:gd name="connsiteY13" fmla="*/ 17911 h 31344"/>
                <a:gd name="connsiteX14" fmla="*/ 29106 w 31344"/>
                <a:gd name="connsiteY14" fmla="*/ 17911 h 31344"/>
                <a:gd name="connsiteX15" fmla="*/ 31345 w 31344"/>
                <a:gd name="connsiteY15" fmla="*/ 15672 h 31344"/>
                <a:gd name="connsiteX16" fmla="*/ 29106 w 31344"/>
                <a:gd name="connsiteY16" fmla="*/ 13433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44" h="31344">
                  <a:moveTo>
                    <a:pt x="29106" y="13433"/>
                  </a:moveTo>
                  <a:lnTo>
                    <a:pt x="17911" y="13433"/>
                  </a:lnTo>
                  <a:lnTo>
                    <a:pt x="17911" y="2239"/>
                  </a:lnTo>
                  <a:cubicBezTo>
                    <a:pt x="17911" y="896"/>
                    <a:pt x="17016" y="0"/>
                    <a:pt x="15672" y="0"/>
                  </a:cubicBezTo>
                  <a:cubicBezTo>
                    <a:pt x="14329" y="0"/>
                    <a:pt x="13433" y="896"/>
                    <a:pt x="13433" y="2239"/>
                  </a:cubicBezTo>
                  <a:lnTo>
                    <a:pt x="13433" y="13433"/>
                  </a:lnTo>
                  <a:lnTo>
                    <a:pt x="2239" y="13433"/>
                  </a:lnTo>
                  <a:cubicBezTo>
                    <a:pt x="895" y="13433"/>
                    <a:pt x="0" y="14329"/>
                    <a:pt x="0" y="15672"/>
                  </a:cubicBezTo>
                  <a:cubicBezTo>
                    <a:pt x="0" y="17016"/>
                    <a:pt x="895" y="17911"/>
                    <a:pt x="2239" y="17911"/>
                  </a:cubicBezTo>
                  <a:lnTo>
                    <a:pt x="13433" y="17911"/>
                  </a:lnTo>
                  <a:lnTo>
                    <a:pt x="13433" y="29106"/>
                  </a:lnTo>
                  <a:cubicBezTo>
                    <a:pt x="13433" y="30449"/>
                    <a:pt x="14329" y="31345"/>
                    <a:pt x="15672" y="31345"/>
                  </a:cubicBezTo>
                  <a:cubicBezTo>
                    <a:pt x="17016" y="31345"/>
                    <a:pt x="17911" y="30449"/>
                    <a:pt x="17911" y="29106"/>
                  </a:cubicBezTo>
                  <a:lnTo>
                    <a:pt x="17911" y="17911"/>
                  </a:lnTo>
                  <a:lnTo>
                    <a:pt x="29106" y="17911"/>
                  </a:lnTo>
                  <a:cubicBezTo>
                    <a:pt x="30449" y="17911"/>
                    <a:pt x="31345" y="17016"/>
                    <a:pt x="31345" y="15672"/>
                  </a:cubicBezTo>
                  <a:cubicBezTo>
                    <a:pt x="31345" y="14329"/>
                    <a:pt x="30001" y="13433"/>
                    <a:pt x="29106" y="13433"/>
                  </a:cubicBezTo>
                  <a:close/>
                </a:path>
              </a:pathLst>
            </a:custGeom>
            <a:solidFill>
              <a:srgbClr val="231F20"/>
            </a:solidFill>
            <a:ln w="4474" cap="flat">
              <a:noFill/>
              <a:prstDash val="solid"/>
              <a:miter/>
            </a:ln>
          </p:spPr>
          <p:txBody>
            <a:bodyPr rtlCol="0" anchor="ctr"/>
            <a:lstStyle/>
            <a:p>
              <a:endParaRPr lang="en-US"/>
            </a:p>
          </p:txBody>
        </p:sp>
        <p:sp>
          <p:nvSpPr>
            <p:cNvPr id="4606" name="Freeform: Shape 4605">
              <a:extLst>
                <a:ext uri="{FF2B5EF4-FFF2-40B4-BE49-F238E27FC236}">
                  <a16:creationId xmlns:a16="http://schemas.microsoft.com/office/drawing/2014/main" id="{FEBD94F2-FA44-4FE9-879A-40F0500A9892}"/>
                </a:ext>
              </a:extLst>
            </p:cNvPr>
            <p:cNvSpPr/>
            <p:nvPr/>
          </p:nvSpPr>
          <p:spPr>
            <a:xfrm>
              <a:off x="2528588" y="4181472"/>
              <a:ext cx="31345" cy="4478"/>
            </a:xfrm>
            <a:custGeom>
              <a:avLst/>
              <a:gdLst>
                <a:gd name="connsiteX0" fmla="*/ 29106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29106 w 31344"/>
                <a:gd name="connsiteY4" fmla="*/ 0 h 4477"/>
                <a:gd name="connsiteX5" fmla="*/ 31345 w 31344"/>
                <a:gd name="connsiteY5" fmla="*/ 2239 h 4477"/>
                <a:gd name="connsiteX6" fmla="*/ 29106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29106" y="4478"/>
                  </a:moveTo>
                  <a:lnTo>
                    <a:pt x="2239" y="4478"/>
                  </a:lnTo>
                  <a:cubicBezTo>
                    <a:pt x="896" y="4478"/>
                    <a:pt x="0" y="3582"/>
                    <a:pt x="0" y="2239"/>
                  </a:cubicBezTo>
                  <a:cubicBezTo>
                    <a:pt x="0" y="896"/>
                    <a:pt x="896" y="0"/>
                    <a:pt x="2239" y="0"/>
                  </a:cubicBezTo>
                  <a:lnTo>
                    <a:pt x="29106" y="0"/>
                  </a:lnTo>
                  <a:cubicBezTo>
                    <a:pt x="30449" y="0"/>
                    <a:pt x="31345" y="896"/>
                    <a:pt x="31345" y="2239"/>
                  </a:cubicBezTo>
                  <a:cubicBezTo>
                    <a:pt x="31345" y="3582"/>
                    <a:pt x="30001" y="4478"/>
                    <a:pt x="29106" y="4478"/>
                  </a:cubicBezTo>
                  <a:close/>
                </a:path>
              </a:pathLst>
            </a:custGeom>
            <a:solidFill>
              <a:srgbClr val="231F20"/>
            </a:solidFill>
            <a:ln w="4474" cap="flat">
              <a:noFill/>
              <a:prstDash val="solid"/>
              <a:miter/>
            </a:ln>
          </p:spPr>
          <p:txBody>
            <a:bodyPr rtlCol="0" anchor="ctr"/>
            <a:lstStyle/>
            <a:p>
              <a:endParaRPr lang="en-US"/>
            </a:p>
          </p:txBody>
        </p:sp>
        <p:sp>
          <p:nvSpPr>
            <p:cNvPr id="4607" name="Freeform: Shape 4606">
              <a:extLst>
                <a:ext uri="{FF2B5EF4-FFF2-40B4-BE49-F238E27FC236}">
                  <a16:creationId xmlns:a16="http://schemas.microsoft.com/office/drawing/2014/main" id="{70CA0F92-1EF9-47CF-B344-91619DBEA2BE}"/>
                </a:ext>
              </a:extLst>
            </p:cNvPr>
            <p:cNvSpPr/>
            <p:nvPr/>
          </p:nvSpPr>
          <p:spPr>
            <a:xfrm>
              <a:off x="2461197" y="4168262"/>
              <a:ext cx="31345" cy="26867"/>
            </a:xfrm>
            <a:custGeom>
              <a:avLst/>
              <a:gdLst>
                <a:gd name="connsiteX0" fmla="*/ 18583 w 31344"/>
                <a:gd name="connsiteY0" fmla="*/ 15448 h 26866"/>
                <a:gd name="connsiteX1" fmla="*/ 30225 w 31344"/>
                <a:gd name="connsiteY1" fmla="*/ 3806 h 26866"/>
                <a:gd name="connsiteX2" fmla="*/ 30225 w 31344"/>
                <a:gd name="connsiteY2" fmla="*/ 672 h 26866"/>
                <a:gd name="connsiteX3" fmla="*/ 27091 w 31344"/>
                <a:gd name="connsiteY3" fmla="*/ 672 h 26866"/>
                <a:gd name="connsiteX4" fmla="*/ 15448 w 31344"/>
                <a:gd name="connsiteY4" fmla="*/ 12314 h 26866"/>
                <a:gd name="connsiteX5" fmla="*/ 3806 w 31344"/>
                <a:gd name="connsiteY5" fmla="*/ 672 h 26866"/>
                <a:gd name="connsiteX6" fmla="*/ 672 w 31344"/>
                <a:gd name="connsiteY6" fmla="*/ 672 h 26866"/>
                <a:gd name="connsiteX7" fmla="*/ 672 w 31344"/>
                <a:gd name="connsiteY7" fmla="*/ 3806 h 26866"/>
                <a:gd name="connsiteX8" fmla="*/ 12314 w 31344"/>
                <a:gd name="connsiteY8" fmla="*/ 15448 h 26866"/>
                <a:gd name="connsiteX9" fmla="*/ 672 w 31344"/>
                <a:gd name="connsiteY9" fmla="*/ 27091 h 26866"/>
                <a:gd name="connsiteX10" fmla="*/ 672 w 31344"/>
                <a:gd name="connsiteY10" fmla="*/ 30225 h 26866"/>
                <a:gd name="connsiteX11" fmla="*/ 2463 w 31344"/>
                <a:gd name="connsiteY11" fmla="*/ 30673 h 26866"/>
                <a:gd name="connsiteX12" fmla="*/ 4254 w 31344"/>
                <a:gd name="connsiteY12" fmla="*/ 30225 h 26866"/>
                <a:gd name="connsiteX13" fmla="*/ 15896 w 31344"/>
                <a:gd name="connsiteY13" fmla="*/ 18583 h 26866"/>
                <a:gd name="connsiteX14" fmla="*/ 27539 w 31344"/>
                <a:gd name="connsiteY14" fmla="*/ 30225 h 26866"/>
                <a:gd name="connsiteX15" fmla="*/ 29330 w 31344"/>
                <a:gd name="connsiteY15" fmla="*/ 30673 h 26866"/>
                <a:gd name="connsiteX16" fmla="*/ 31121 w 31344"/>
                <a:gd name="connsiteY16" fmla="*/ 30225 h 26866"/>
                <a:gd name="connsiteX17" fmla="*/ 31121 w 31344"/>
                <a:gd name="connsiteY17" fmla="*/ 27091 h 26866"/>
                <a:gd name="connsiteX18" fmla="*/ 18583 w 31344"/>
                <a:gd name="connsiteY18" fmla="*/ 15448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44" h="26866">
                  <a:moveTo>
                    <a:pt x="18583" y="15448"/>
                  </a:moveTo>
                  <a:lnTo>
                    <a:pt x="30225" y="3806"/>
                  </a:lnTo>
                  <a:cubicBezTo>
                    <a:pt x="31121" y="2911"/>
                    <a:pt x="31121" y="1567"/>
                    <a:pt x="30225" y="672"/>
                  </a:cubicBezTo>
                  <a:cubicBezTo>
                    <a:pt x="29330" y="-224"/>
                    <a:pt x="27986" y="-224"/>
                    <a:pt x="27091" y="672"/>
                  </a:cubicBezTo>
                  <a:lnTo>
                    <a:pt x="15448" y="12314"/>
                  </a:lnTo>
                  <a:lnTo>
                    <a:pt x="3806" y="672"/>
                  </a:lnTo>
                  <a:cubicBezTo>
                    <a:pt x="2911" y="-224"/>
                    <a:pt x="1567" y="-224"/>
                    <a:pt x="672" y="672"/>
                  </a:cubicBezTo>
                  <a:cubicBezTo>
                    <a:pt x="-224" y="1567"/>
                    <a:pt x="-224" y="2911"/>
                    <a:pt x="672" y="3806"/>
                  </a:cubicBezTo>
                  <a:lnTo>
                    <a:pt x="12314" y="15448"/>
                  </a:lnTo>
                  <a:lnTo>
                    <a:pt x="672" y="27091"/>
                  </a:lnTo>
                  <a:cubicBezTo>
                    <a:pt x="-224" y="27986"/>
                    <a:pt x="-224" y="29330"/>
                    <a:pt x="672" y="30225"/>
                  </a:cubicBezTo>
                  <a:cubicBezTo>
                    <a:pt x="1119" y="30673"/>
                    <a:pt x="1567" y="30673"/>
                    <a:pt x="2463" y="30673"/>
                  </a:cubicBezTo>
                  <a:cubicBezTo>
                    <a:pt x="3358" y="30673"/>
                    <a:pt x="3806" y="30673"/>
                    <a:pt x="4254" y="30225"/>
                  </a:cubicBezTo>
                  <a:lnTo>
                    <a:pt x="15896" y="18583"/>
                  </a:lnTo>
                  <a:lnTo>
                    <a:pt x="27539" y="30225"/>
                  </a:lnTo>
                  <a:cubicBezTo>
                    <a:pt x="27986" y="30673"/>
                    <a:pt x="28434" y="30673"/>
                    <a:pt x="29330" y="30673"/>
                  </a:cubicBezTo>
                  <a:cubicBezTo>
                    <a:pt x="30225" y="30673"/>
                    <a:pt x="30673" y="30673"/>
                    <a:pt x="31121" y="30225"/>
                  </a:cubicBezTo>
                  <a:cubicBezTo>
                    <a:pt x="32016" y="29330"/>
                    <a:pt x="32016" y="27986"/>
                    <a:pt x="31121" y="27091"/>
                  </a:cubicBezTo>
                  <a:lnTo>
                    <a:pt x="18583" y="15448"/>
                  </a:lnTo>
                  <a:close/>
                </a:path>
              </a:pathLst>
            </a:custGeom>
            <a:solidFill>
              <a:srgbClr val="231F20"/>
            </a:solidFill>
            <a:ln w="4474" cap="flat">
              <a:noFill/>
              <a:prstDash val="solid"/>
              <a:miter/>
            </a:ln>
          </p:spPr>
          <p:txBody>
            <a:bodyPr rtlCol="0" anchor="ctr"/>
            <a:lstStyle/>
            <a:p>
              <a:endParaRPr lang="en-US"/>
            </a:p>
          </p:txBody>
        </p:sp>
        <p:sp>
          <p:nvSpPr>
            <p:cNvPr id="4608" name="Freeform: Shape 4607">
              <a:extLst>
                <a:ext uri="{FF2B5EF4-FFF2-40B4-BE49-F238E27FC236}">
                  <a16:creationId xmlns:a16="http://schemas.microsoft.com/office/drawing/2014/main" id="{034BC326-F219-4D30-B07F-5A010D2C9E11}"/>
                </a:ext>
              </a:extLst>
            </p:cNvPr>
            <p:cNvSpPr/>
            <p:nvPr/>
          </p:nvSpPr>
          <p:spPr>
            <a:xfrm>
              <a:off x="2528140" y="4248639"/>
              <a:ext cx="31345" cy="4478"/>
            </a:xfrm>
            <a:custGeom>
              <a:avLst/>
              <a:gdLst>
                <a:gd name="connsiteX0" fmla="*/ 29106 w 31344"/>
                <a:gd name="connsiteY0" fmla="*/ 4478 h 4477"/>
                <a:gd name="connsiteX1" fmla="*/ 2239 w 31344"/>
                <a:gd name="connsiteY1" fmla="*/ 4478 h 4477"/>
                <a:gd name="connsiteX2" fmla="*/ 0 w 31344"/>
                <a:gd name="connsiteY2" fmla="*/ 2239 h 4477"/>
                <a:gd name="connsiteX3" fmla="*/ 2239 w 31344"/>
                <a:gd name="connsiteY3" fmla="*/ 0 h 4477"/>
                <a:gd name="connsiteX4" fmla="*/ 29106 w 31344"/>
                <a:gd name="connsiteY4" fmla="*/ 0 h 4477"/>
                <a:gd name="connsiteX5" fmla="*/ 31345 w 31344"/>
                <a:gd name="connsiteY5" fmla="*/ 2239 h 4477"/>
                <a:gd name="connsiteX6" fmla="*/ 29106 w 3134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29106" y="4478"/>
                  </a:moveTo>
                  <a:lnTo>
                    <a:pt x="2239" y="4478"/>
                  </a:lnTo>
                  <a:cubicBezTo>
                    <a:pt x="895" y="4478"/>
                    <a:pt x="0" y="3582"/>
                    <a:pt x="0" y="2239"/>
                  </a:cubicBezTo>
                  <a:cubicBezTo>
                    <a:pt x="0" y="896"/>
                    <a:pt x="895" y="0"/>
                    <a:pt x="2239" y="0"/>
                  </a:cubicBezTo>
                  <a:lnTo>
                    <a:pt x="29106" y="0"/>
                  </a:lnTo>
                  <a:cubicBezTo>
                    <a:pt x="30449" y="0"/>
                    <a:pt x="31345" y="896"/>
                    <a:pt x="31345" y="2239"/>
                  </a:cubicBezTo>
                  <a:cubicBezTo>
                    <a:pt x="31345" y="3582"/>
                    <a:pt x="30001" y="4478"/>
                    <a:pt x="29106" y="4478"/>
                  </a:cubicBezTo>
                  <a:close/>
                </a:path>
              </a:pathLst>
            </a:custGeom>
            <a:solidFill>
              <a:srgbClr val="231F20"/>
            </a:solidFill>
            <a:ln w="4474" cap="flat">
              <a:noFill/>
              <a:prstDash val="solid"/>
              <a:miter/>
            </a:ln>
          </p:spPr>
          <p:txBody>
            <a:bodyPr rtlCol="0" anchor="ctr"/>
            <a:lstStyle/>
            <a:p>
              <a:endParaRPr lang="en-US"/>
            </a:p>
          </p:txBody>
        </p:sp>
        <p:sp>
          <p:nvSpPr>
            <p:cNvPr id="4609" name="Freeform: Shape 4608">
              <a:extLst>
                <a:ext uri="{FF2B5EF4-FFF2-40B4-BE49-F238E27FC236}">
                  <a16:creationId xmlns:a16="http://schemas.microsoft.com/office/drawing/2014/main" id="{66BB0A8E-1B4A-4602-AA8E-2688D8D9587A}"/>
                </a:ext>
              </a:extLst>
            </p:cNvPr>
            <p:cNvSpPr/>
            <p:nvPr/>
          </p:nvSpPr>
          <p:spPr>
            <a:xfrm>
              <a:off x="2541574" y="4261849"/>
              <a:ext cx="4478" cy="4478"/>
            </a:xfrm>
            <a:custGeom>
              <a:avLst/>
              <a:gdLst>
                <a:gd name="connsiteX0" fmla="*/ 2239 w 0"/>
                <a:gd name="connsiteY0" fmla="*/ 4702 h 4477"/>
                <a:gd name="connsiteX1" fmla="*/ 448 w 0"/>
                <a:gd name="connsiteY1" fmla="*/ 4254 h 4477"/>
                <a:gd name="connsiteX2" fmla="*/ 0 w 0"/>
                <a:gd name="connsiteY2" fmla="*/ 2463 h 4477"/>
                <a:gd name="connsiteX3" fmla="*/ 448 w 0"/>
                <a:gd name="connsiteY3" fmla="*/ 672 h 4477"/>
                <a:gd name="connsiteX4" fmla="*/ 3582 w 0"/>
                <a:gd name="connsiteY4" fmla="*/ 672 h 4477"/>
                <a:gd name="connsiteX5" fmla="*/ 4030 w 0"/>
                <a:gd name="connsiteY5" fmla="*/ 2463 h 4477"/>
                <a:gd name="connsiteX6" fmla="*/ 3582 w 0"/>
                <a:gd name="connsiteY6" fmla="*/ 4254 h 4477"/>
                <a:gd name="connsiteX7" fmla="*/ 2239 w 0"/>
                <a:gd name="connsiteY7" fmla="*/ 4702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77">
                  <a:moveTo>
                    <a:pt x="2239" y="4702"/>
                  </a:moveTo>
                  <a:cubicBezTo>
                    <a:pt x="1791" y="4702"/>
                    <a:pt x="895" y="4254"/>
                    <a:pt x="448" y="4254"/>
                  </a:cubicBezTo>
                  <a:cubicBezTo>
                    <a:pt x="0" y="3806"/>
                    <a:pt x="0" y="3358"/>
                    <a:pt x="0" y="2463"/>
                  </a:cubicBezTo>
                  <a:cubicBezTo>
                    <a:pt x="0" y="2015"/>
                    <a:pt x="448" y="1119"/>
                    <a:pt x="448" y="672"/>
                  </a:cubicBezTo>
                  <a:cubicBezTo>
                    <a:pt x="1343" y="-224"/>
                    <a:pt x="2687" y="-224"/>
                    <a:pt x="3582" y="672"/>
                  </a:cubicBezTo>
                  <a:cubicBezTo>
                    <a:pt x="4030" y="1119"/>
                    <a:pt x="4030" y="1567"/>
                    <a:pt x="4030" y="2463"/>
                  </a:cubicBezTo>
                  <a:cubicBezTo>
                    <a:pt x="4030" y="2911"/>
                    <a:pt x="3582" y="3806"/>
                    <a:pt x="3582" y="4254"/>
                  </a:cubicBezTo>
                  <a:cubicBezTo>
                    <a:pt x="3134" y="4254"/>
                    <a:pt x="2687" y="4702"/>
                    <a:pt x="2239" y="4702"/>
                  </a:cubicBezTo>
                  <a:close/>
                </a:path>
              </a:pathLst>
            </a:custGeom>
            <a:solidFill>
              <a:srgbClr val="231F20"/>
            </a:solidFill>
            <a:ln w="4474" cap="flat">
              <a:noFill/>
              <a:prstDash val="solid"/>
              <a:miter/>
            </a:ln>
          </p:spPr>
          <p:txBody>
            <a:bodyPr rtlCol="0" anchor="ctr"/>
            <a:lstStyle/>
            <a:p>
              <a:endParaRPr lang="en-US"/>
            </a:p>
          </p:txBody>
        </p:sp>
        <p:sp>
          <p:nvSpPr>
            <p:cNvPr id="4610" name="Freeform: Shape 4609">
              <a:extLst>
                <a:ext uri="{FF2B5EF4-FFF2-40B4-BE49-F238E27FC236}">
                  <a16:creationId xmlns:a16="http://schemas.microsoft.com/office/drawing/2014/main" id="{96F46F65-1636-40F5-A2B3-6AF4662D7609}"/>
                </a:ext>
              </a:extLst>
            </p:cNvPr>
            <p:cNvSpPr/>
            <p:nvPr/>
          </p:nvSpPr>
          <p:spPr>
            <a:xfrm>
              <a:off x="2447540" y="4154605"/>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1" name="Freeform: Shape 4610">
              <a:extLst>
                <a:ext uri="{FF2B5EF4-FFF2-40B4-BE49-F238E27FC236}">
                  <a16:creationId xmlns:a16="http://schemas.microsoft.com/office/drawing/2014/main" id="{80E8C828-76F7-41C5-9072-DC125D53E50A}"/>
                </a:ext>
              </a:extLst>
            </p:cNvPr>
            <p:cNvSpPr/>
            <p:nvPr/>
          </p:nvSpPr>
          <p:spPr>
            <a:xfrm>
              <a:off x="2514707" y="4154605"/>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2" name="Freeform: Shape 4611">
              <a:extLst>
                <a:ext uri="{FF2B5EF4-FFF2-40B4-BE49-F238E27FC236}">
                  <a16:creationId xmlns:a16="http://schemas.microsoft.com/office/drawing/2014/main" id="{1EF2BF6C-4407-4023-807C-F4751F463040}"/>
                </a:ext>
              </a:extLst>
            </p:cNvPr>
            <p:cNvSpPr/>
            <p:nvPr/>
          </p:nvSpPr>
          <p:spPr>
            <a:xfrm>
              <a:off x="2447540" y="4221772"/>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3" name="Freeform: Shape 4612">
              <a:extLst>
                <a:ext uri="{FF2B5EF4-FFF2-40B4-BE49-F238E27FC236}">
                  <a16:creationId xmlns:a16="http://schemas.microsoft.com/office/drawing/2014/main" id="{80DEC079-7EAF-42D1-94FB-8EF5244D14AD}"/>
                </a:ext>
              </a:extLst>
            </p:cNvPr>
            <p:cNvSpPr/>
            <p:nvPr/>
          </p:nvSpPr>
          <p:spPr>
            <a:xfrm>
              <a:off x="2514707" y="4221772"/>
              <a:ext cx="58212" cy="58212"/>
            </a:xfrm>
            <a:custGeom>
              <a:avLst/>
              <a:gdLst>
                <a:gd name="connsiteX0" fmla="*/ 55973 w 58211"/>
                <a:gd name="connsiteY0" fmla="*/ 58212 h 58211"/>
                <a:gd name="connsiteX1" fmla="*/ 2239 w 58211"/>
                <a:gd name="connsiteY1" fmla="*/ 58212 h 58211"/>
                <a:gd name="connsiteX2" fmla="*/ 0 w 58211"/>
                <a:gd name="connsiteY2" fmla="*/ 55973 h 58211"/>
                <a:gd name="connsiteX3" fmla="*/ 0 w 58211"/>
                <a:gd name="connsiteY3" fmla="*/ 2239 h 58211"/>
                <a:gd name="connsiteX4" fmla="*/ 2239 w 58211"/>
                <a:gd name="connsiteY4" fmla="*/ 0 h 58211"/>
                <a:gd name="connsiteX5" fmla="*/ 55973 w 58211"/>
                <a:gd name="connsiteY5" fmla="*/ 0 h 58211"/>
                <a:gd name="connsiteX6" fmla="*/ 58212 w 58211"/>
                <a:gd name="connsiteY6" fmla="*/ 2239 h 58211"/>
                <a:gd name="connsiteX7" fmla="*/ 58212 w 58211"/>
                <a:gd name="connsiteY7" fmla="*/ 55973 h 58211"/>
                <a:gd name="connsiteX8" fmla="*/ 55973 w 58211"/>
                <a:gd name="connsiteY8" fmla="*/ 58212 h 58211"/>
                <a:gd name="connsiteX9" fmla="*/ 4478 w 58211"/>
                <a:gd name="connsiteY9" fmla="*/ 53734 h 58211"/>
                <a:gd name="connsiteX10" fmla="*/ 53734 w 58211"/>
                <a:gd name="connsiteY10" fmla="*/ 53734 h 58211"/>
                <a:gd name="connsiteX11" fmla="*/ 53734 w 58211"/>
                <a:gd name="connsiteY11" fmla="*/ 4478 h 58211"/>
                <a:gd name="connsiteX12" fmla="*/ 4478 w 58211"/>
                <a:gd name="connsiteY12" fmla="*/ 4478 h 58211"/>
                <a:gd name="connsiteX13" fmla="*/ 4478 w 58211"/>
                <a:gd name="connsiteY13"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11" h="58211">
                  <a:moveTo>
                    <a:pt x="55973" y="58212"/>
                  </a:moveTo>
                  <a:lnTo>
                    <a:pt x="2239" y="58212"/>
                  </a:lnTo>
                  <a:cubicBezTo>
                    <a:pt x="895" y="58212"/>
                    <a:pt x="0" y="57316"/>
                    <a:pt x="0" y="55973"/>
                  </a:cubicBezTo>
                  <a:lnTo>
                    <a:pt x="0" y="2239"/>
                  </a:lnTo>
                  <a:cubicBezTo>
                    <a:pt x="0" y="896"/>
                    <a:pt x="895" y="0"/>
                    <a:pt x="2239" y="0"/>
                  </a:cubicBezTo>
                  <a:lnTo>
                    <a:pt x="55973" y="0"/>
                  </a:lnTo>
                  <a:cubicBezTo>
                    <a:pt x="57316" y="0"/>
                    <a:pt x="58212" y="896"/>
                    <a:pt x="58212" y="2239"/>
                  </a:cubicBezTo>
                  <a:lnTo>
                    <a:pt x="58212" y="55973"/>
                  </a:lnTo>
                  <a:cubicBezTo>
                    <a:pt x="58212" y="57316"/>
                    <a:pt x="57316" y="58212"/>
                    <a:pt x="55973" y="58212"/>
                  </a:cubicBezTo>
                  <a:close/>
                  <a:moveTo>
                    <a:pt x="4478" y="53734"/>
                  </a:moveTo>
                  <a:lnTo>
                    <a:pt x="53734" y="53734"/>
                  </a:lnTo>
                  <a:lnTo>
                    <a:pt x="53734" y="4478"/>
                  </a:lnTo>
                  <a:lnTo>
                    <a:pt x="4478" y="4478"/>
                  </a:lnTo>
                  <a:lnTo>
                    <a:pt x="4478" y="53734"/>
                  </a:lnTo>
                  <a:close/>
                </a:path>
              </a:pathLst>
            </a:custGeom>
            <a:solidFill>
              <a:srgbClr val="231F20"/>
            </a:solidFill>
            <a:ln w="4474" cap="flat">
              <a:noFill/>
              <a:prstDash val="solid"/>
              <a:miter/>
            </a:ln>
          </p:spPr>
          <p:txBody>
            <a:bodyPr rtlCol="0" anchor="ctr"/>
            <a:lstStyle/>
            <a:p>
              <a:endParaRPr lang="en-US"/>
            </a:p>
          </p:txBody>
        </p:sp>
        <p:sp>
          <p:nvSpPr>
            <p:cNvPr id="4614" name="Freeform: Shape 4613">
              <a:extLst>
                <a:ext uri="{FF2B5EF4-FFF2-40B4-BE49-F238E27FC236}">
                  <a16:creationId xmlns:a16="http://schemas.microsoft.com/office/drawing/2014/main" id="{7D4A2F36-3DAC-4A80-A70A-982880FB9542}"/>
                </a:ext>
              </a:extLst>
            </p:cNvPr>
            <p:cNvSpPr/>
            <p:nvPr/>
          </p:nvSpPr>
          <p:spPr>
            <a:xfrm>
              <a:off x="2541574" y="4234982"/>
              <a:ext cx="4478" cy="4478"/>
            </a:xfrm>
            <a:custGeom>
              <a:avLst/>
              <a:gdLst>
                <a:gd name="connsiteX0" fmla="*/ 2239 w 0"/>
                <a:gd name="connsiteY0" fmla="*/ 4702 h 4477"/>
                <a:gd name="connsiteX1" fmla="*/ 448 w 0"/>
                <a:gd name="connsiteY1" fmla="*/ 4254 h 4477"/>
                <a:gd name="connsiteX2" fmla="*/ 0 w 0"/>
                <a:gd name="connsiteY2" fmla="*/ 2463 h 4477"/>
                <a:gd name="connsiteX3" fmla="*/ 448 w 0"/>
                <a:gd name="connsiteY3" fmla="*/ 672 h 4477"/>
                <a:gd name="connsiteX4" fmla="*/ 3582 w 0"/>
                <a:gd name="connsiteY4" fmla="*/ 672 h 4477"/>
                <a:gd name="connsiteX5" fmla="*/ 4030 w 0"/>
                <a:gd name="connsiteY5" fmla="*/ 2463 h 4477"/>
                <a:gd name="connsiteX6" fmla="*/ 3582 w 0"/>
                <a:gd name="connsiteY6" fmla="*/ 4254 h 4477"/>
                <a:gd name="connsiteX7" fmla="*/ 2239 w 0"/>
                <a:gd name="connsiteY7" fmla="*/ 4702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77">
                  <a:moveTo>
                    <a:pt x="2239" y="4702"/>
                  </a:moveTo>
                  <a:cubicBezTo>
                    <a:pt x="1791" y="4702"/>
                    <a:pt x="895" y="4254"/>
                    <a:pt x="448" y="4254"/>
                  </a:cubicBezTo>
                  <a:cubicBezTo>
                    <a:pt x="0" y="3806"/>
                    <a:pt x="0" y="3358"/>
                    <a:pt x="0" y="2463"/>
                  </a:cubicBezTo>
                  <a:cubicBezTo>
                    <a:pt x="0" y="2015"/>
                    <a:pt x="448" y="1119"/>
                    <a:pt x="448" y="672"/>
                  </a:cubicBezTo>
                  <a:cubicBezTo>
                    <a:pt x="1343" y="-224"/>
                    <a:pt x="2687" y="-224"/>
                    <a:pt x="3582" y="672"/>
                  </a:cubicBezTo>
                  <a:cubicBezTo>
                    <a:pt x="4030" y="1119"/>
                    <a:pt x="4030" y="1567"/>
                    <a:pt x="4030" y="2463"/>
                  </a:cubicBezTo>
                  <a:cubicBezTo>
                    <a:pt x="4030" y="2911"/>
                    <a:pt x="3582" y="3806"/>
                    <a:pt x="3582" y="4254"/>
                  </a:cubicBezTo>
                  <a:cubicBezTo>
                    <a:pt x="3134" y="4254"/>
                    <a:pt x="2687" y="4702"/>
                    <a:pt x="2239" y="4702"/>
                  </a:cubicBezTo>
                  <a:close/>
                </a:path>
              </a:pathLst>
            </a:custGeom>
            <a:solidFill>
              <a:srgbClr val="231F20"/>
            </a:solidFill>
            <a:ln w="4474" cap="flat">
              <a:noFill/>
              <a:prstDash val="solid"/>
              <a:miter/>
            </a:ln>
          </p:spPr>
          <p:txBody>
            <a:bodyPr rtlCol="0" anchor="ctr"/>
            <a:lstStyle/>
            <a:p>
              <a:endParaRPr lang="en-US"/>
            </a:p>
          </p:txBody>
        </p:sp>
      </p:grpSp>
      <p:grpSp>
        <p:nvGrpSpPr>
          <p:cNvPr id="4615" name="Group 4614">
            <a:extLst>
              <a:ext uri="{FF2B5EF4-FFF2-40B4-BE49-F238E27FC236}">
                <a16:creationId xmlns:a16="http://schemas.microsoft.com/office/drawing/2014/main" id="{EF4479FD-ABF3-42A7-B4AC-0380D42E688C}"/>
              </a:ext>
              <a:ext uri="{C183D7F6-B498-43B3-948B-1728B52AA6E4}">
                <adec:decorative xmlns:adec="http://schemas.microsoft.com/office/drawing/2017/decorative" val="1"/>
              </a:ext>
            </a:extLst>
          </p:cNvPr>
          <p:cNvGrpSpPr>
            <a:grpSpLocks noChangeAspect="1"/>
          </p:cNvGrpSpPr>
          <p:nvPr/>
        </p:nvGrpSpPr>
        <p:grpSpPr>
          <a:xfrm>
            <a:off x="3694786" y="4904076"/>
            <a:ext cx="134335" cy="85078"/>
            <a:chOff x="3746107" y="4172964"/>
            <a:chExt cx="134335" cy="85078"/>
          </a:xfrm>
        </p:grpSpPr>
        <p:sp>
          <p:nvSpPr>
            <p:cNvPr id="4616" name="Freeform: Shape 4615">
              <a:extLst>
                <a:ext uri="{FF2B5EF4-FFF2-40B4-BE49-F238E27FC236}">
                  <a16:creationId xmlns:a16="http://schemas.microsoft.com/office/drawing/2014/main" id="{D28A9AED-25CF-4237-A6B7-708A7CD17F07}"/>
                </a:ext>
              </a:extLst>
            </p:cNvPr>
            <p:cNvSpPr/>
            <p:nvPr/>
          </p:nvSpPr>
          <p:spPr>
            <a:xfrm>
              <a:off x="3746107" y="4215055"/>
              <a:ext cx="134335" cy="4478"/>
            </a:xfrm>
            <a:custGeom>
              <a:avLst/>
              <a:gdLst>
                <a:gd name="connsiteX0" fmla="*/ 136126 w 134334"/>
                <a:gd name="connsiteY0" fmla="*/ 4478 h 4477"/>
                <a:gd name="connsiteX1" fmla="*/ 2239 w 134334"/>
                <a:gd name="connsiteY1" fmla="*/ 4478 h 4477"/>
                <a:gd name="connsiteX2" fmla="*/ 0 w 134334"/>
                <a:gd name="connsiteY2" fmla="*/ 2239 h 4477"/>
                <a:gd name="connsiteX3" fmla="*/ 2239 w 134334"/>
                <a:gd name="connsiteY3" fmla="*/ 0 h 4477"/>
                <a:gd name="connsiteX4" fmla="*/ 136126 w 134334"/>
                <a:gd name="connsiteY4" fmla="*/ 0 h 4477"/>
                <a:gd name="connsiteX5" fmla="*/ 138364 w 134334"/>
                <a:gd name="connsiteY5" fmla="*/ 2239 h 4477"/>
                <a:gd name="connsiteX6" fmla="*/ 136126 w 134334"/>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4" h="4477">
                  <a:moveTo>
                    <a:pt x="136126" y="4478"/>
                  </a:moveTo>
                  <a:lnTo>
                    <a:pt x="2239" y="4478"/>
                  </a:lnTo>
                  <a:cubicBezTo>
                    <a:pt x="896" y="4478"/>
                    <a:pt x="0" y="3582"/>
                    <a:pt x="0" y="2239"/>
                  </a:cubicBezTo>
                  <a:cubicBezTo>
                    <a:pt x="0" y="896"/>
                    <a:pt x="896" y="0"/>
                    <a:pt x="2239" y="0"/>
                  </a:cubicBezTo>
                  <a:lnTo>
                    <a:pt x="136126" y="0"/>
                  </a:lnTo>
                  <a:cubicBezTo>
                    <a:pt x="137469" y="0"/>
                    <a:pt x="138364" y="896"/>
                    <a:pt x="138364" y="2239"/>
                  </a:cubicBezTo>
                  <a:cubicBezTo>
                    <a:pt x="138364" y="3582"/>
                    <a:pt x="137469" y="4478"/>
                    <a:pt x="136126" y="4478"/>
                  </a:cubicBezTo>
                  <a:close/>
                </a:path>
              </a:pathLst>
            </a:custGeom>
            <a:solidFill>
              <a:srgbClr val="231F20"/>
            </a:solidFill>
            <a:ln w="4474" cap="flat">
              <a:noFill/>
              <a:prstDash val="solid"/>
              <a:miter/>
            </a:ln>
          </p:spPr>
          <p:txBody>
            <a:bodyPr rtlCol="0" anchor="ctr"/>
            <a:lstStyle/>
            <a:p>
              <a:endParaRPr lang="en-US"/>
            </a:p>
          </p:txBody>
        </p:sp>
        <p:sp>
          <p:nvSpPr>
            <p:cNvPr id="4617" name="Freeform: Shape 4616">
              <a:extLst>
                <a:ext uri="{FF2B5EF4-FFF2-40B4-BE49-F238E27FC236}">
                  <a16:creationId xmlns:a16="http://schemas.microsoft.com/office/drawing/2014/main" id="{1C79BA6A-9EC6-4974-987B-0FADE5C7B9DE}"/>
                </a:ext>
              </a:extLst>
            </p:cNvPr>
            <p:cNvSpPr/>
            <p:nvPr/>
          </p:nvSpPr>
          <p:spPr>
            <a:xfrm>
              <a:off x="3804766" y="4172964"/>
              <a:ext cx="17911" cy="17911"/>
            </a:xfrm>
            <a:custGeom>
              <a:avLst/>
              <a:gdLst>
                <a:gd name="connsiteX0" fmla="*/ 21493 w 17911"/>
                <a:gd name="connsiteY0" fmla="*/ 10747 h 17911"/>
                <a:gd name="connsiteX1" fmla="*/ 10747 w 17911"/>
                <a:gd name="connsiteY1" fmla="*/ 21494 h 17911"/>
                <a:gd name="connsiteX2" fmla="*/ 0 w 17911"/>
                <a:gd name="connsiteY2" fmla="*/ 10747 h 17911"/>
                <a:gd name="connsiteX3" fmla="*/ 10747 w 17911"/>
                <a:gd name="connsiteY3" fmla="*/ 0 h 17911"/>
                <a:gd name="connsiteX4" fmla="*/ 21493 w 17911"/>
                <a:gd name="connsiteY4" fmla="*/ 10747 h 17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1" h="17911">
                  <a:moveTo>
                    <a:pt x="21493" y="10747"/>
                  </a:moveTo>
                  <a:cubicBezTo>
                    <a:pt x="21493" y="16682"/>
                    <a:pt x="16682" y="21494"/>
                    <a:pt x="10747" y="21494"/>
                  </a:cubicBezTo>
                  <a:cubicBezTo>
                    <a:pt x="4811" y="21494"/>
                    <a:pt x="0" y="16682"/>
                    <a:pt x="0" y="10747"/>
                  </a:cubicBezTo>
                  <a:cubicBezTo>
                    <a:pt x="0" y="4811"/>
                    <a:pt x="4811" y="0"/>
                    <a:pt x="10747" y="0"/>
                  </a:cubicBezTo>
                  <a:cubicBezTo>
                    <a:pt x="16682" y="0"/>
                    <a:pt x="21493" y="4811"/>
                    <a:pt x="21493" y="10747"/>
                  </a:cubicBezTo>
                  <a:close/>
                </a:path>
              </a:pathLst>
            </a:custGeom>
            <a:solidFill>
              <a:srgbClr val="231F20"/>
            </a:solidFill>
            <a:ln w="4474" cap="flat">
              <a:noFill/>
              <a:prstDash val="solid"/>
              <a:miter/>
            </a:ln>
          </p:spPr>
          <p:txBody>
            <a:bodyPr rtlCol="0" anchor="ctr"/>
            <a:lstStyle/>
            <a:p>
              <a:endParaRPr lang="en-US"/>
            </a:p>
          </p:txBody>
        </p:sp>
        <p:sp>
          <p:nvSpPr>
            <p:cNvPr id="4618" name="Freeform: Shape 4617">
              <a:extLst>
                <a:ext uri="{FF2B5EF4-FFF2-40B4-BE49-F238E27FC236}">
                  <a16:creationId xmlns:a16="http://schemas.microsoft.com/office/drawing/2014/main" id="{A874F3B0-FBE1-4B7F-8F40-D48C69B36483}"/>
                </a:ext>
              </a:extLst>
            </p:cNvPr>
            <p:cNvSpPr/>
            <p:nvPr/>
          </p:nvSpPr>
          <p:spPr>
            <a:xfrm>
              <a:off x="3804766" y="4240131"/>
              <a:ext cx="17911" cy="17911"/>
            </a:xfrm>
            <a:custGeom>
              <a:avLst/>
              <a:gdLst>
                <a:gd name="connsiteX0" fmla="*/ 21493 w 17911"/>
                <a:gd name="connsiteY0" fmla="*/ 10747 h 17911"/>
                <a:gd name="connsiteX1" fmla="*/ 10747 w 17911"/>
                <a:gd name="connsiteY1" fmla="*/ 21494 h 17911"/>
                <a:gd name="connsiteX2" fmla="*/ 0 w 17911"/>
                <a:gd name="connsiteY2" fmla="*/ 10747 h 17911"/>
                <a:gd name="connsiteX3" fmla="*/ 10747 w 17911"/>
                <a:gd name="connsiteY3" fmla="*/ 0 h 17911"/>
                <a:gd name="connsiteX4" fmla="*/ 21493 w 17911"/>
                <a:gd name="connsiteY4" fmla="*/ 10747 h 17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1" h="17911">
                  <a:moveTo>
                    <a:pt x="21493" y="10747"/>
                  </a:moveTo>
                  <a:cubicBezTo>
                    <a:pt x="21493" y="16682"/>
                    <a:pt x="16682" y="21494"/>
                    <a:pt x="10747" y="21494"/>
                  </a:cubicBezTo>
                  <a:cubicBezTo>
                    <a:pt x="4811" y="21494"/>
                    <a:pt x="0" y="16682"/>
                    <a:pt x="0" y="10747"/>
                  </a:cubicBezTo>
                  <a:cubicBezTo>
                    <a:pt x="0" y="4811"/>
                    <a:pt x="4811" y="0"/>
                    <a:pt x="10747" y="0"/>
                  </a:cubicBezTo>
                  <a:cubicBezTo>
                    <a:pt x="16682" y="0"/>
                    <a:pt x="21493" y="4811"/>
                    <a:pt x="21493" y="10747"/>
                  </a:cubicBezTo>
                  <a:close/>
                </a:path>
              </a:pathLst>
            </a:custGeom>
            <a:solidFill>
              <a:srgbClr val="231F20"/>
            </a:solidFill>
            <a:ln w="4474" cap="flat">
              <a:noFill/>
              <a:prstDash val="solid"/>
              <a:miter/>
            </a:ln>
          </p:spPr>
          <p:txBody>
            <a:bodyPr rtlCol="0" anchor="ctr"/>
            <a:lstStyle/>
            <a:p>
              <a:endParaRPr lang="en-US"/>
            </a:p>
          </p:txBody>
        </p:sp>
      </p:grpSp>
      <p:grpSp>
        <p:nvGrpSpPr>
          <p:cNvPr id="4619" name="Group 4618">
            <a:extLst>
              <a:ext uri="{FF2B5EF4-FFF2-40B4-BE49-F238E27FC236}">
                <a16:creationId xmlns:a16="http://schemas.microsoft.com/office/drawing/2014/main" id="{9484F933-0DB3-4759-86A3-68449CF5A52E}"/>
              </a:ext>
              <a:ext uri="{C183D7F6-B498-43B3-948B-1728B52AA6E4}">
                <adec:decorative xmlns:adec="http://schemas.microsoft.com/office/drawing/2017/decorative" val="1"/>
              </a:ext>
            </a:extLst>
          </p:cNvPr>
          <p:cNvGrpSpPr>
            <a:grpSpLocks noChangeAspect="1"/>
          </p:cNvGrpSpPr>
          <p:nvPr/>
        </p:nvGrpSpPr>
        <p:grpSpPr>
          <a:xfrm>
            <a:off x="1606779" y="4885717"/>
            <a:ext cx="125379" cy="125379"/>
            <a:chOff x="1658100" y="4154605"/>
            <a:chExt cx="125379" cy="125379"/>
          </a:xfrm>
        </p:grpSpPr>
        <p:sp>
          <p:nvSpPr>
            <p:cNvPr id="4620" name="Freeform: Shape 4619">
              <a:extLst>
                <a:ext uri="{FF2B5EF4-FFF2-40B4-BE49-F238E27FC236}">
                  <a16:creationId xmlns:a16="http://schemas.microsoft.com/office/drawing/2014/main" id="{02E577C6-F0B7-4684-87E3-CC4D47CB9341}"/>
                </a:ext>
              </a:extLst>
            </p:cNvPr>
            <p:cNvSpPr/>
            <p:nvPr/>
          </p:nvSpPr>
          <p:spPr>
            <a:xfrm>
              <a:off x="1658100" y="4154605"/>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930" y="4478"/>
                    <a:pt x="62689" y="4478"/>
                  </a:cubicBezTo>
                  <a:close/>
                </a:path>
              </a:pathLst>
            </a:custGeom>
            <a:solidFill>
              <a:srgbClr val="231F20"/>
            </a:solidFill>
            <a:ln w="4474" cap="flat">
              <a:noFill/>
              <a:prstDash val="solid"/>
              <a:miter/>
            </a:ln>
          </p:spPr>
          <p:txBody>
            <a:bodyPr rtlCol="0" anchor="ctr"/>
            <a:lstStyle/>
            <a:p>
              <a:endParaRPr lang="en-US"/>
            </a:p>
          </p:txBody>
        </p:sp>
        <p:sp>
          <p:nvSpPr>
            <p:cNvPr id="4621" name="Freeform: Shape 4620">
              <a:extLst>
                <a:ext uri="{FF2B5EF4-FFF2-40B4-BE49-F238E27FC236}">
                  <a16:creationId xmlns:a16="http://schemas.microsoft.com/office/drawing/2014/main" id="{C2953FFB-6B88-4981-8F2E-8E56B1EFC132}"/>
                </a:ext>
              </a:extLst>
            </p:cNvPr>
            <p:cNvSpPr/>
            <p:nvPr/>
          </p:nvSpPr>
          <p:spPr>
            <a:xfrm>
              <a:off x="1691684"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195"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622" name="Freeform: Shape 4621">
              <a:extLst>
                <a:ext uri="{FF2B5EF4-FFF2-40B4-BE49-F238E27FC236}">
                  <a16:creationId xmlns:a16="http://schemas.microsoft.com/office/drawing/2014/main" id="{E638FD47-6DCC-4B66-9F28-B0235EF8FD22}"/>
                </a:ext>
              </a:extLst>
            </p:cNvPr>
            <p:cNvSpPr/>
            <p:nvPr/>
          </p:nvSpPr>
          <p:spPr>
            <a:xfrm>
              <a:off x="1731984" y="4193562"/>
              <a:ext cx="17911" cy="17911"/>
            </a:xfrm>
            <a:custGeom>
              <a:avLst/>
              <a:gdLst>
                <a:gd name="connsiteX0" fmla="*/ 8956 w 17911"/>
                <a:gd name="connsiteY0" fmla="*/ 17911 h 17911"/>
                <a:gd name="connsiteX1" fmla="*/ 0 w 17911"/>
                <a:gd name="connsiteY1" fmla="*/ 8956 h 17911"/>
                <a:gd name="connsiteX2" fmla="*/ 8956 w 17911"/>
                <a:gd name="connsiteY2" fmla="*/ 0 h 17911"/>
                <a:gd name="connsiteX3" fmla="*/ 17911 w 17911"/>
                <a:gd name="connsiteY3" fmla="*/ 8956 h 17911"/>
                <a:gd name="connsiteX4" fmla="*/ 8956 w 17911"/>
                <a:gd name="connsiteY4" fmla="*/ 17911 h 17911"/>
                <a:gd name="connsiteX5" fmla="*/ 8956 w 17911"/>
                <a:gd name="connsiteY5" fmla="*/ 4478 h 17911"/>
                <a:gd name="connsiteX6" fmla="*/ 4478 w 17911"/>
                <a:gd name="connsiteY6" fmla="*/ 8956 h 17911"/>
                <a:gd name="connsiteX7" fmla="*/ 8956 w 17911"/>
                <a:gd name="connsiteY7" fmla="*/ 13433 h 17911"/>
                <a:gd name="connsiteX8" fmla="*/ 13433 w 17911"/>
                <a:gd name="connsiteY8" fmla="*/ 8956 h 17911"/>
                <a:gd name="connsiteX9" fmla="*/ 8956 w 17911"/>
                <a:gd name="connsiteY9" fmla="*/ 4478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8956" y="17911"/>
                  </a:moveTo>
                  <a:cubicBezTo>
                    <a:pt x="4030" y="17911"/>
                    <a:pt x="0" y="13881"/>
                    <a:pt x="0" y="8956"/>
                  </a:cubicBezTo>
                  <a:cubicBezTo>
                    <a:pt x="0" y="4030"/>
                    <a:pt x="4030" y="0"/>
                    <a:pt x="8956" y="0"/>
                  </a:cubicBezTo>
                  <a:cubicBezTo>
                    <a:pt x="13881" y="0"/>
                    <a:pt x="17911" y="4030"/>
                    <a:pt x="17911" y="8956"/>
                  </a:cubicBezTo>
                  <a:cubicBezTo>
                    <a:pt x="17911" y="13881"/>
                    <a:pt x="13881" y="17911"/>
                    <a:pt x="8956" y="17911"/>
                  </a:cubicBezTo>
                  <a:close/>
                  <a:moveTo>
                    <a:pt x="8956" y="4478"/>
                  </a:moveTo>
                  <a:cubicBezTo>
                    <a:pt x="6269" y="4478"/>
                    <a:pt x="4478" y="6717"/>
                    <a:pt x="4478" y="8956"/>
                  </a:cubicBezTo>
                  <a:cubicBezTo>
                    <a:pt x="4478" y="11642"/>
                    <a:pt x="6717" y="13433"/>
                    <a:pt x="8956" y="13433"/>
                  </a:cubicBezTo>
                  <a:cubicBezTo>
                    <a:pt x="11642" y="13433"/>
                    <a:pt x="13433" y="11195"/>
                    <a:pt x="13433" y="8956"/>
                  </a:cubicBezTo>
                  <a:cubicBezTo>
                    <a:pt x="13433" y="6717"/>
                    <a:pt x="11195" y="4478"/>
                    <a:pt x="8956" y="4478"/>
                  </a:cubicBezTo>
                  <a:close/>
                </a:path>
              </a:pathLst>
            </a:custGeom>
            <a:solidFill>
              <a:srgbClr val="231F20"/>
            </a:solidFill>
            <a:ln w="4474" cap="flat">
              <a:noFill/>
              <a:prstDash val="solid"/>
              <a:miter/>
            </a:ln>
          </p:spPr>
          <p:txBody>
            <a:bodyPr rtlCol="0" anchor="ctr"/>
            <a:lstStyle/>
            <a:p>
              <a:endParaRPr lang="en-US"/>
            </a:p>
          </p:txBody>
        </p:sp>
        <p:sp>
          <p:nvSpPr>
            <p:cNvPr id="4623" name="Freeform: Shape 4622">
              <a:extLst>
                <a:ext uri="{FF2B5EF4-FFF2-40B4-BE49-F238E27FC236}">
                  <a16:creationId xmlns:a16="http://schemas.microsoft.com/office/drawing/2014/main" id="{536C4A06-0522-43A1-B13B-855726B59C79}"/>
                </a:ext>
              </a:extLst>
            </p:cNvPr>
            <p:cNvSpPr/>
            <p:nvPr/>
          </p:nvSpPr>
          <p:spPr>
            <a:xfrm>
              <a:off x="1684782" y="4220429"/>
              <a:ext cx="71645" cy="31345"/>
            </a:xfrm>
            <a:custGeom>
              <a:avLst/>
              <a:gdLst>
                <a:gd name="connsiteX0" fmla="*/ 36456 w 71645"/>
                <a:gd name="connsiteY0" fmla="*/ 31345 h 31344"/>
                <a:gd name="connsiteX1" fmla="*/ 185 w 71645"/>
                <a:gd name="connsiteY1" fmla="*/ 3135 h 31344"/>
                <a:gd name="connsiteX2" fmla="*/ 633 w 71645"/>
                <a:gd name="connsiteY2" fmla="*/ 896 h 31344"/>
                <a:gd name="connsiteX3" fmla="*/ 2424 w 71645"/>
                <a:gd name="connsiteY3" fmla="*/ 0 h 31344"/>
                <a:gd name="connsiteX4" fmla="*/ 69592 w 71645"/>
                <a:gd name="connsiteY4" fmla="*/ 0 h 31344"/>
                <a:gd name="connsiteX5" fmla="*/ 71383 w 71645"/>
                <a:gd name="connsiteY5" fmla="*/ 896 h 31344"/>
                <a:gd name="connsiteX6" fmla="*/ 71831 w 71645"/>
                <a:gd name="connsiteY6" fmla="*/ 3135 h 31344"/>
                <a:gd name="connsiteX7" fmla="*/ 36456 w 71645"/>
                <a:gd name="connsiteY7" fmla="*/ 31345 h 31344"/>
                <a:gd name="connsiteX8" fmla="*/ 5559 w 71645"/>
                <a:gd name="connsiteY8" fmla="*/ 4478 h 31344"/>
                <a:gd name="connsiteX9" fmla="*/ 36456 w 71645"/>
                <a:gd name="connsiteY9" fmla="*/ 26867 h 31344"/>
                <a:gd name="connsiteX10" fmla="*/ 66457 w 71645"/>
                <a:gd name="connsiteY10" fmla="*/ 4478 h 31344"/>
                <a:gd name="connsiteX11" fmla="*/ 5559 w 71645"/>
                <a:gd name="connsiteY11" fmla="*/ 447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645" h="31344">
                  <a:moveTo>
                    <a:pt x="36456" y="31345"/>
                  </a:moveTo>
                  <a:cubicBezTo>
                    <a:pt x="18545" y="31345"/>
                    <a:pt x="6902" y="21941"/>
                    <a:pt x="185" y="3135"/>
                  </a:cubicBezTo>
                  <a:cubicBezTo>
                    <a:pt x="-262" y="2239"/>
                    <a:pt x="185" y="1791"/>
                    <a:pt x="633" y="896"/>
                  </a:cubicBezTo>
                  <a:cubicBezTo>
                    <a:pt x="1081" y="448"/>
                    <a:pt x="1529" y="0"/>
                    <a:pt x="2424" y="0"/>
                  </a:cubicBezTo>
                  <a:lnTo>
                    <a:pt x="69592" y="0"/>
                  </a:lnTo>
                  <a:cubicBezTo>
                    <a:pt x="70487" y="0"/>
                    <a:pt x="70935" y="448"/>
                    <a:pt x="71383" y="896"/>
                  </a:cubicBezTo>
                  <a:cubicBezTo>
                    <a:pt x="71831" y="1343"/>
                    <a:pt x="71831" y="2239"/>
                    <a:pt x="71831" y="3135"/>
                  </a:cubicBezTo>
                  <a:cubicBezTo>
                    <a:pt x="63771" y="26419"/>
                    <a:pt x="48098" y="31345"/>
                    <a:pt x="36456" y="31345"/>
                  </a:cubicBezTo>
                  <a:close/>
                  <a:moveTo>
                    <a:pt x="5559" y="4478"/>
                  </a:moveTo>
                  <a:cubicBezTo>
                    <a:pt x="11380" y="19703"/>
                    <a:pt x="21231" y="26867"/>
                    <a:pt x="36456" y="26867"/>
                  </a:cubicBezTo>
                  <a:cubicBezTo>
                    <a:pt x="50337" y="26867"/>
                    <a:pt x="60636" y="19255"/>
                    <a:pt x="66457" y="4478"/>
                  </a:cubicBezTo>
                  <a:lnTo>
                    <a:pt x="5559" y="4478"/>
                  </a:lnTo>
                  <a:close/>
                </a:path>
              </a:pathLst>
            </a:custGeom>
            <a:solidFill>
              <a:srgbClr val="231F20"/>
            </a:solidFill>
            <a:ln w="4474" cap="flat">
              <a:noFill/>
              <a:prstDash val="solid"/>
              <a:miter/>
            </a:ln>
          </p:spPr>
          <p:txBody>
            <a:bodyPr rtlCol="0" anchor="ctr"/>
            <a:lstStyle/>
            <a:p>
              <a:endParaRPr lang="en-US"/>
            </a:p>
          </p:txBody>
        </p:sp>
      </p:grpSp>
      <p:grpSp>
        <p:nvGrpSpPr>
          <p:cNvPr id="4624" name="Group 4623">
            <a:extLst>
              <a:ext uri="{FF2B5EF4-FFF2-40B4-BE49-F238E27FC236}">
                <a16:creationId xmlns:a16="http://schemas.microsoft.com/office/drawing/2014/main" id="{BF9C9E0F-148B-47BA-97C8-456C52647459}"/>
              </a:ext>
              <a:ext uri="{C183D7F6-B498-43B3-948B-1728B52AA6E4}">
                <adec:decorative xmlns:adec="http://schemas.microsoft.com/office/drawing/2017/decorative" val="1"/>
              </a:ext>
            </a:extLst>
          </p:cNvPr>
          <p:cNvGrpSpPr>
            <a:grpSpLocks noChangeAspect="1"/>
          </p:cNvGrpSpPr>
          <p:nvPr/>
        </p:nvGrpSpPr>
        <p:grpSpPr>
          <a:xfrm>
            <a:off x="5523079" y="4872283"/>
            <a:ext cx="152246" cy="152246"/>
            <a:chOff x="5574400" y="4141171"/>
            <a:chExt cx="152246" cy="152246"/>
          </a:xfrm>
        </p:grpSpPr>
        <p:sp>
          <p:nvSpPr>
            <p:cNvPr id="4625" name="Freeform: Shape 4624">
              <a:extLst>
                <a:ext uri="{FF2B5EF4-FFF2-40B4-BE49-F238E27FC236}">
                  <a16:creationId xmlns:a16="http://schemas.microsoft.com/office/drawing/2014/main" id="{16E24ECF-1ED2-47E9-9AEE-C55A0D8D7066}"/>
                </a:ext>
              </a:extLst>
            </p:cNvPr>
            <p:cNvSpPr/>
            <p:nvPr/>
          </p:nvSpPr>
          <p:spPr>
            <a:xfrm>
              <a:off x="5574400"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3 w 152245"/>
                <a:gd name="connsiteY11" fmla="*/ 25524 h 152245"/>
                <a:gd name="connsiteX12" fmla="*/ 4478 w 152245"/>
                <a:gd name="connsiteY12" fmla="*/ 76123 h 152245"/>
                <a:gd name="connsiteX13" fmla="*/ 25523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3" y="25524"/>
                  </a:cubicBezTo>
                  <a:cubicBezTo>
                    <a:pt x="12090" y="38957"/>
                    <a:pt x="4478" y="56868"/>
                    <a:pt x="4478" y="76123"/>
                  </a:cubicBezTo>
                  <a:cubicBezTo>
                    <a:pt x="4478" y="95377"/>
                    <a:pt x="12090" y="113289"/>
                    <a:pt x="25523" y="126722"/>
                  </a:cubicBezTo>
                  <a:cubicBezTo>
                    <a:pt x="38957" y="140156"/>
                    <a:pt x="56868"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cubicBezTo>
                    <a:pt x="112841"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26" name="Freeform: Shape 4625">
              <a:extLst>
                <a:ext uri="{FF2B5EF4-FFF2-40B4-BE49-F238E27FC236}">
                  <a16:creationId xmlns:a16="http://schemas.microsoft.com/office/drawing/2014/main" id="{C6E9652C-E0FB-41E4-9134-F13DCFCC8E1C}"/>
                </a:ext>
              </a:extLst>
            </p:cNvPr>
            <p:cNvSpPr/>
            <p:nvPr/>
          </p:nvSpPr>
          <p:spPr>
            <a:xfrm>
              <a:off x="5646493" y="4256251"/>
              <a:ext cx="4478" cy="4478"/>
            </a:xfrm>
            <a:custGeom>
              <a:avLst/>
              <a:gdLst>
                <a:gd name="connsiteX0" fmla="*/ 8060 w 4477"/>
                <a:gd name="connsiteY0" fmla="*/ 4030 h 4477"/>
                <a:gd name="connsiteX1" fmla="*/ 4030 w 4477"/>
                <a:gd name="connsiteY1" fmla="*/ 8060 h 4477"/>
                <a:gd name="connsiteX2" fmla="*/ 0 w 4477"/>
                <a:gd name="connsiteY2" fmla="*/ 4030 h 4477"/>
                <a:gd name="connsiteX3" fmla="*/ 4030 w 4477"/>
                <a:gd name="connsiteY3" fmla="*/ 0 h 4477"/>
                <a:gd name="connsiteX4" fmla="*/ 8060 w 4477"/>
                <a:gd name="connsiteY4" fmla="*/ 4030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8060" y="4030"/>
                  </a:moveTo>
                  <a:cubicBezTo>
                    <a:pt x="8060" y="6256"/>
                    <a:pt x="6256" y="8060"/>
                    <a:pt x="4030" y="8060"/>
                  </a:cubicBezTo>
                  <a:cubicBezTo>
                    <a:pt x="1804" y="8060"/>
                    <a:pt x="0" y="6256"/>
                    <a:pt x="0" y="4030"/>
                  </a:cubicBezTo>
                  <a:cubicBezTo>
                    <a:pt x="0" y="1804"/>
                    <a:pt x="1804" y="0"/>
                    <a:pt x="4030" y="0"/>
                  </a:cubicBezTo>
                  <a:cubicBezTo>
                    <a:pt x="6256" y="0"/>
                    <a:pt x="8060" y="1804"/>
                    <a:pt x="8060" y="4030"/>
                  </a:cubicBezTo>
                  <a:close/>
                </a:path>
              </a:pathLst>
            </a:custGeom>
            <a:solidFill>
              <a:srgbClr val="231F20"/>
            </a:solidFill>
            <a:ln w="4474" cap="flat">
              <a:noFill/>
              <a:prstDash val="solid"/>
              <a:miter/>
            </a:ln>
          </p:spPr>
          <p:txBody>
            <a:bodyPr rtlCol="0" anchor="ctr"/>
            <a:lstStyle/>
            <a:p>
              <a:endParaRPr lang="en-US"/>
            </a:p>
          </p:txBody>
        </p:sp>
        <p:sp>
          <p:nvSpPr>
            <p:cNvPr id="4627" name="Freeform: Shape 4626">
              <a:extLst>
                <a:ext uri="{FF2B5EF4-FFF2-40B4-BE49-F238E27FC236}">
                  <a16:creationId xmlns:a16="http://schemas.microsoft.com/office/drawing/2014/main" id="{BA2AFFAF-5E70-41A8-9A54-C2B2880E11DB}"/>
                </a:ext>
              </a:extLst>
            </p:cNvPr>
            <p:cNvSpPr/>
            <p:nvPr/>
          </p:nvSpPr>
          <p:spPr>
            <a:xfrm>
              <a:off x="5622761" y="4184187"/>
              <a:ext cx="44778" cy="58212"/>
            </a:xfrm>
            <a:custGeom>
              <a:avLst/>
              <a:gdLst>
                <a:gd name="connsiteX0" fmla="*/ 27315 w 44778"/>
                <a:gd name="connsiteY0" fmla="*/ 61318 h 58211"/>
                <a:gd name="connsiteX1" fmla="*/ 25076 w 44778"/>
                <a:gd name="connsiteY1" fmla="*/ 59079 h 58211"/>
                <a:gd name="connsiteX2" fmla="*/ 25076 w 44778"/>
                <a:gd name="connsiteY2" fmla="*/ 48780 h 58211"/>
                <a:gd name="connsiteX3" fmla="*/ 29106 w 44778"/>
                <a:gd name="connsiteY3" fmla="*/ 43406 h 58211"/>
                <a:gd name="connsiteX4" fmla="*/ 43882 w 44778"/>
                <a:gd name="connsiteY4" fmla="*/ 24152 h 58211"/>
                <a:gd name="connsiteX5" fmla="*/ 34927 w 44778"/>
                <a:gd name="connsiteY5" fmla="*/ 7584 h 58211"/>
                <a:gd name="connsiteX6" fmla="*/ 15672 w 44778"/>
                <a:gd name="connsiteY6" fmla="*/ 6240 h 58211"/>
                <a:gd name="connsiteX7" fmla="*/ 4478 w 44778"/>
                <a:gd name="connsiteY7" fmla="*/ 24152 h 58211"/>
                <a:gd name="connsiteX8" fmla="*/ 4478 w 44778"/>
                <a:gd name="connsiteY8" fmla="*/ 26391 h 58211"/>
                <a:gd name="connsiteX9" fmla="*/ 2239 w 44778"/>
                <a:gd name="connsiteY9" fmla="*/ 28630 h 58211"/>
                <a:gd name="connsiteX10" fmla="*/ 0 w 44778"/>
                <a:gd name="connsiteY10" fmla="*/ 26391 h 58211"/>
                <a:gd name="connsiteX11" fmla="*/ 0 w 44778"/>
                <a:gd name="connsiteY11" fmla="*/ 24152 h 58211"/>
                <a:gd name="connsiteX12" fmla="*/ 13881 w 44778"/>
                <a:gd name="connsiteY12" fmla="*/ 2211 h 58211"/>
                <a:gd name="connsiteX13" fmla="*/ 37613 w 44778"/>
                <a:gd name="connsiteY13" fmla="*/ 4002 h 58211"/>
                <a:gd name="connsiteX14" fmla="*/ 48360 w 44778"/>
                <a:gd name="connsiteY14" fmla="*/ 24152 h 58211"/>
                <a:gd name="connsiteX15" fmla="*/ 30001 w 44778"/>
                <a:gd name="connsiteY15" fmla="*/ 47884 h 58211"/>
                <a:gd name="connsiteX16" fmla="*/ 29553 w 44778"/>
                <a:gd name="connsiteY16" fmla="*/ 48780 h 58211"/>
                <a:gd name="connsiteX17" fmla="*/ 29553 w 44778"/>
                <a:gd name="connsiteY17" fmla="*/ 59079 h 58211"/>
                <a:gd name="connsiteX18" fmla="*/ 27315 w 44778"/>
                <a:gd name="connsiteY18" fmla="*/ 61318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78" h="58211">
                  <a:moveTo>
                    <a:pt x="27315" y="61318"/>
                  </a:moveTo>
                  <a:cubicBezTo>
                    <a:pt x="25971" y="61318"/>
                    <a:pt x="25076" y="60422"/>
                    <a:pt x="25076" y="59079"/>
                  </a:cubicBezTo>
                  <a:lnTo>
                    <a:pt x="25076" y="48780"/>
                  </a:lnTo>
                  <a:cubicBezTo>
                    <a:pt x="25076" y="46093"/>
                    <a:pt x="26867" y="44302"/>
                    <a:pt x="29106" y="43406"/>
                  </a:cubicBezTo>
                  <a:cubicBezTo>
                    <a:pt x="38061" y="41167"/>
                    <a:pt x="43882" y="33107"/>
                    <a:pt x="43882" y="24152"/>
                  </a:cubicBezTo>
                  <a:cubicBezTo>
                    <a:pt x="43882" y="17435"/>
                    <a:pt x="40748" y="11166"/>
                    <a:pt x="34927" y="7584"/>
                  </a:cubicBezTo>
                  <a:cubicBezTo>
                    <a:pt x="29106" y="4002"/>
                    <a:pt x="21941" y="3106"/>
                    <a:pt x="15672" y="6240"/>
                  </a:cubicBezTo>
                  <a:cubicBezTo>
                    <a:pt x="8956" y="8927"/>
                    <a:pt x="4478" y="16092"/>
                    <a:pt x="4478" y="24152"/>
                  </a:cubicBezTo>
                  <a:lnTo>
                    <a:pt x="4478" y="26391"/>
                  </a:lnTo>
                  <a:cubicBezTo>
                    <a:pt x="4478" y="27734"/>
                    <a:pt x="3582" y="28630"/>
                    <a:pt x="2239" y="28630"/>
                  </a:cubicBezTo>
                  <a:cubicBezTo>
                    <a:pt x="895" y="28630"/>
                    <a:pt x="0" y="27734"/>
                    <a:pt x="0" y="26391"/>
                  </a:cubicBezTo>
                  <a:lnTo>
                    <a:pt x="0" y="24152"/>
                  </a:lnTo>
                  <a:cubicBezTo>
                    <a:pt x="0" y="14300"/>
                    <a:pt x="5373" y="5793"/>
                    <a:pt x="13881" y="2211"/>
                  </a:cubicBezTo>
                  <a:cubicBezTo>
                    <a:pt x="21941" y="-1372"/>
                    <a:pt x="30449" y="-476"/>
                    <a:pt x="37613" y="4002"/>
                  </a:cubicBezTo>
                  <a:cubicBezTo>
                    <a:pt x="44330" y="8479"/>
                    <a:pt x="48360" y="16092"/>
                    <a:pt x="48360" y="24152"/>
                  </a:cubicBezTo>
                  <a:cubicBezTo>
                    <a:pt x="48360" y="35346"/>
                    <a:pt x="40748" y="45198"/>
                    <a:pt x="30001" y="47884"/>
                  </a:cubicBezTo>
                  <a:cubicBezTo>
                    <a:pt x="29553" y="47884"/>
                    <a:pt x="29553" y="48332"/>
                    <a:pt x="29553" y="48780"/>
                  </a:cubicBezTo>
                  <a:lnTo>
                    <a:pt x="29553" y="59079"/>
                  </a:lnTo>
                  <a:cubicBezTo>
                    <a:pt x="29553" y="60422"/>
                    <a:pt x="28658" y="61318"/>
                    <a:pt x="27315" y="61318"/>
                  </a:cubicBezTo>
                  <a:close/>
                </a:path>
              </a:pathLst>
            </a:custGeom>
            <a:solidFill>
              <a:srgbClr val="231F20"/>
            </a:solidFill>
            <a:ln w="4474" cap="flat">
              <a:noFill/>
              <a:prstDash val="solid"/>
              <a:miter/>
            </a:ln>
          </p:spPr>
          <p:txBody>
            <a:bodyPr rtlCol="0" anchor="ctr"/>
            <a:lstStyle/>
            <a:p>
              <a:endParaRPr lang="en-US"/>
            </a:p>
          </p:txBody>
        </p:sp>
      </p:grpSp>
      <p:grpSp>
        <p:nvGrpSpPr>
          <p:cNvPr id="4628" name="Group 4627">
            <a:extLst>
              <a:ext uri="{FF2B5EF4-FFF2-40B4-BE49-F238E27FC236}">
                <a16:creationId xmlns:a16="http://schemas.microsoft.com/office/drawing/2014/main" id="{6CA361C5-38BA-4399-B0E3-9F67A17F3F8B}"/>
              </a:ext>
              <a:ext uri="{C183D7F6-B498-43B3-948B-1728B52AA6E4}">
                <adec:decorative xmlns:adec="http://schemas.microsoft.com/office/drawing/2017/decorative" val="1"/>
              </a:ext>
            </a:extLst>
          </p:cNvPr>
          <p:cNvGrpSpPr>
            <a:grpSpLocks noChangeAspect="1"/>
          </p:cNvGrpSpPr>
          <p:nvPr/>
        </p:nvGrpSpPr>
        <p:grpSpPr>
          <a:xfrm>
            <a:off x="4488255" y="4872283"/>
            <a:ext cx="152246" cy="152246"/>
            <a:chOff x="4539576" y="4141171"/>
            <a:chExt cx="152246" cy="152246"/>
          </a:xfrm>
        </p:grpSpPr>
        <p:sp>
          <p:nvSpPr>
            <p:cNvPr id="4629" name="Freeform: Shape 4628">
              <a:extLst>
                <a:ext uri="{FF2B5EF4-FFF2-40B4-BE49-F238E27FC236}">
                  <a16:creationId xmlns:a16="http://schemas.microsoft.com/office/drawing/2014/main" id="{DE61B1D4-A86D-4197-8784-397D7209AD85}"/>
                </a:ext>
              </a:extLst>
            </p:cNvPr>
            <p:cNvSpPr/>
            <p:nvPr/>
          </p:nvSpPr>
          <p:spPr>
            <a:xfrm>
              <a:off x="4539576"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3 w 152245"/>
                <a:gd name="connsiteY11" fmla="*/ 25524 h 152245"/>
                <a:gd name="connsiteX12" fmla="*/ 4478 w 152245"/>
                <a:gd name="connsiteY12" fmla="*/ 76123 h 152245"/>
                <a:gd name="connsiteX13" fmla="*/ 25523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126722 w 152245"/>
                <a:gd name="connsiteY18" fmla="*/ 25524 h 152245"/>
                <a:gd name="connsiteX19" fmla="*/ 76123 w 152245"/>
                <a:gd name="connsiteY1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3" y="25524"/>
                  </a:cubicBezTo>
                  <a:cubicBezTo>
                    <a:pt x="12090" y="38957"/>
                    <a:pt x="4478" y="56868"/>
                    <a:pt x="4478" y="76123"/>
                  </a:cubicBezTo>
                  <a:cubicBezTo>
                    <a:pt x="4478" y="95377"/>
                    <a:pt x="12090" y="113289"/>
                    <a:pt x="25523" y="126722"/>
                  </a:cubicBezTo>
                  <a:cubicBezTo>
                    <a:pt x="38957" y="140156"/>
                    <a:pt x="56868" y="147768"/>
                    <a:pt x="76123" y="147768"/>
                  </a:cubicBezTo>
                  <a:cubicBezTo>
                    <a:pt x="95377" y="147768"/>
                    <a:pt x="113289" y="140156"/>
                    <a:pt x="126722" y="126722"/>
                  </a:cubicBezTo>
                  <a:cubicBezTo>
                    <a:pt x="140156" y="113289"/>
                    <a:pt x="147768" y="95377"/>
                    <a:pt x="147768" y="76123"/>
                  </a:cubicBezTo>
                  <a:cubicBezTo>
                    <a:pt x="147768" y="56868"/>
                    <a:pt x="140156" y="38957"/>
                    <a:pt x="126722" y="25524"/>
                  </a:cubicBezTo>
                  <a:lnTo>
                    <a:pt x="126722" y="25524"/>
                  </a:lnTo>
                  <a:cubicBezTo>
                    <a:pt x="113289"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30" name="Freeform: Shape 4629">
              <a:extLst>
                <a:ext uri="{FF2B5EF4-FFF2-40B4-BE49-F238E27FC236}">
                  <a16:creationId xmlns:a16="http://schemas.microsoft.com/office/drawing/2014/main" id="{35929AD4-1B64-43A4-B101-53D7FA8F923C}"/>
                </a:ext>
              </a:extLst>
            </p:cNvPr>
            <p:cNvSpPr/>
            <p:nvPr/>
          </p:nvSpPr>
          <p:spPr>
            <a:xfrm>
              <a:off x="4572712" y="4177889"/>
              <a:ext cx="62689" cy="76123"/>
            </a:xfrm>
            <a:custGeom>
              <a:avLst/>
              <a:gdLst>
                <a:gd name="connsiteX0" fmla="*/ 62689 w 62689"/>
                <a:gd name="connsiteY0" fmla="*/ 72093 h 76122"/>
                <a:gd name="connsiteX1" fmla="*/ 59555 w 62689"/>
                <a:gd name="connsiteY1" fmla="*/ 70749 h 76122"/>
                <a:gd name="connsiteX2" fmla="*/ 40748 w 62689"/>
                <a:gd name="connsiteY2" fmla="*/ 73436 h 76122"/>
                <a:gd name="connsiteX3" fmla="*/ 12538 w 62689"/>
                <a:gd name="connsiteY3" fmla="*/ 48360 h 76122"/>
                <a:gd name="connsiteX4" fmla="*/ 49256 w 62689"/>
                <a:gd name="connsiteY4" fmla="*/ 48360 h 76122"/>
                <a:gd name="connsiteX5" fmla="*/ 51495 w 62689"/>
                <a:gd name="connsiteY5" fmla="*/ 46121 h 76122"/>
                <a:gd name="connsiteX6" fmla="*/ 49256 w 62689"/>
                <a:gd name="connsiteY6" fmla="*/ 43883 h 76122"/>
                <a:gd name="connsiteX7" fmla="*/ 11642 w 62689"/>
                <a:gd name="connsiteY7" fmla="*/ 43883 h 76122"/>
                <a:gd name="connsiteX8" fmla="*/ 11642 w 62689"/>
                <a:gd name="connsiteY8" fmla="*/ 43435 h 76122"/>
                <a:gd name="connsiteX9" fmla="*/ 11642 w 62689"/>
                <a:gd name="connsiteY9" fmla="*/ 34927 h 76122"/>
                <a:gd name="connsiteX10" fmla="*/ 49256 w 62689"/>
                <a:gd name="connsiteY10" fmla="*/ 34927 h 76122"/>
                <a:gd name="connsiteX11" fmla="*/ 51495 w 62689"/>
                <a:gd name="connsiteY11" fmla="*/ 32688 h 76122"/>
                <a:gd name="connsiteX12" fmla="*/ 49256 w 62689"/>
                <a:gd name="connsiteY12" fmla="*/ 30449 h 76122"/>
                <a:gd name="connsiteX13" fmla="*/ 12538 w 62689"/>
                <a:gd name="connsiteY13" fmla="*/ 30449 h 76122"/>
                <a:gd name="connsiteX14" fmla="*/ 20150 w 62689"/>
                <a:gd name="connsiteY14" fmla="*/ 16568 h 76122"/>
                <a:gd name="connsiteX15" fmla="*/ 45674 w 62689"/>
                <a:gd name="connsiteY15" fmla="*/ 4925 h 76122"/>
                <a:gd name="connsiteX16" fmla="*/ 59555 w 62689"/>
                <a:gd name="connsiteY16" fmla="*/ 7612 h 76122"/>
                <a:gd name="connsiteX17" fmla="*/ 62689 w 62689"/>
                <a:gd name="connsiteY17" fmla="*/ 6269 h 76122"/>
                <a:gd name="connsiteX18" fmla="*/ 61346 w 62689"/>
                <a:gd name="connsiteY18" fmla="*/ 3135 h 76122"/>
                <a:gd name="connsiteX19" fmla="*/ 45674 w 62689"/>
                <a:gd name="connsiteY19" fmla="*/ 0 h 76122"/>
                <a:gd name="connsiteX20" fmla="*/ 16568 w 62689"/>
                <a:gd name="connsiteY20" fmla="*/ 12986 h 76122"/>
                <a:gd name="connsiteX21" fmla="*/ 7612 w 62689"/>
                <a:gd name="connsiteY21" fmla="*/ 30001 h 76122"/>
                <a:gd name="connsiteX22" fmla="*/ 2239 w 62689"/>
                <a:gd name="connsiteY22" fmla="*/ 30001 h 76122"/>
                <a:gd name="connsiteX23" fmla="*/ 0 w 62689"/>
                <a:gd name="connsiteY23" fmla="*/ 32240 h 76122"/>
                <a:gd name="connsiteX24" fmla="*/ 2239 w 62689"/>
                <a:gd name="connsiteY24" fmla="*/ 34479 h 76122"/>
                <a:gd name="connsiteX25" fmla="*/ 7165 w 62689"/>
                <a:gd name="connsiteY25" fmla="*/ 34479 h 76122"/>
                <a:gd name="connsiteX26" fmla="*/ 7165 w 62689"/>
                <a:gd name="connsiteY26" fmla="*/ 43435 h 76122"/>
                <a:gd name="connsiteX27" fmla="*/ 2239 w 62689"/>
                <a:gd name="connsiteY27" fmla="*/ 43435 h 76122"/>
                <a:gd name="connsiteX28" fmla="*/ 0 w 62689"/>
                <a:gd name="connsiteY28" fmla="*/ 45674 h 76122"/>
                <a:gd name="connsiteX29" fmla="*/ 2239 w 62689"/>
                <a:gd name="connsiteY29" fmla="*/ 47913 h 76122"/>
                <a:gd name="connsiteX30" fmla="*/ 7612 w 62689"/>
                <a:gd name="connsiteY30" fmla="*/ 47913 h 76122"/>
                <a:gd name="connsiteX31" fmla="*/ 39853 w 62689"/>
                <a:gd name="connsiteY31" fmla="*/ 77466 h 76122"/>
                <a:gd name="connsiteX32" fmla="*/ 45226 w 62689"/>
                <a:gd name="connsiteY32" fmla="*/ 77914 h 76122"/>
                <a:gd name="connsiteX33" fmla="*/ 60898 w 62689"/>
                <a:gd name="connsiteY33" fmla="*/ 74780 h 76122"/>
                <a:gd name="connsiteX34" fmla="*/ 62689 w 62689"/>
                <a:gd name="connsiteY34" fmla="*/ 72093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2689" h="76122">
                  <a:moveTo>
                    <a:pt x="62689" y="72093"/>
                  </a:moveTo>
                  <a:cubicBezTo>
                    <a:pt x="62242" y="70749"/>
                    <a:pt x="60898" y="70302"/>
                    <a:pt x="59555" y="70749"/>
                  </a:cubicBezTo>
                  <a:cubicBezTo>
                    <a:pt x="53734" y="73436"/>
                    <a:pt x="47465" y="74332"/>
                    <a:pt x="40748" y="73436"/>
                  </a:cubicBezTo>
                  <a:cubicBezTo>
                    <a:pt x="27315" y="71645"/>
                    <a:pt x="16120" y="61346"/>
                    <a:pt x="12538" y="48360"/>
                  </a:cubicBezTo>
                  <a:lnTo>
                    <a:pt x="49256" y="48360"/>
                  </a:lnTo>
                  <a:cubicBezTo>
                    <a:pt x="50599" y="48360"/>
                    <a:pt x="51495" y="47465"/>
                    <a:pt x="51495" y="46121"/>
                  </a:cubicBezTo>
                  <a:cubicBezTo>
                    <a:pt x="51495" y="44778"/>
                    <a:pt x="50599" y="43883"/>
                    <a:pt x="49256" y="43883"/>
                  </a:cubicBezTo>
                  <a:lnTo>
                    <a:pt x="11642" y="43883"/>
                  </a:lnTo>
                  <a:cubicBezTo>
                    <a:pt x="11642" y="43883"/>
                    <a:pt x="11642" y="43435"/>
                    <a:pt x="11642" y="43435"/>
                  </a:cubicBezTo>
                  <a:cubicBezTo>
                    <a:pt x="11195" y="40748"/>
                    <a:pt x="11195" y="37614"/>
                    <a:pt x="11642" y="34927"/>
                  </a:cubicBezTo>
                  <a:lnTo>
                    <a:pt x="49256" y="34927"/>
                  </a:lnTo>
                  <a:cubicBezTo>
                    <a:pt x="50599" y="34927"/>
                    <a:pt x="51495" y="34031"/>
                    <a:pt x="51495" y="32688"/>
                  </a:cubicBezTo>
                  <a:cubicBezTo>
                    <a:pt x="51495" y="31345"/>
                    <a:pt x="50599" y="30449"/>
                    <a:pt x="49256" y="30449"/>
                  </a:cubicBezTo>
                  <a:lnTo>
                    <a:pt x="12538" y="30449"/>
                  </a:lnTo>
                  <a:cubicBezTo>
                    <a:pt x="13881" y="25524"/>
                    <a:pt x="16568" y="20598"/>
                    <a:pt x="20150" y="16568"/>
                  </a:cubicBezTo>
                  <a:cubicBezTo>
                    <a:pt x="26867" y="9403"/>
                    <a:pt x="35823" y="4925"/>
                    <a:pt x="45674" y="4925"/>
                  </a:cubicBezTo>
                  <a:cubicBezTo>
                    <a:pt x="50152" y="4925"/>
                    <a:pt x="55077" y="5821"/>
                    <a:pt x="59555" y="7612"/>
                  </a:cubicBezTo>
                  <a:cubicBezTo>
                    <a:pt x="60898" y="8060"/>
                    <a:pt x="61794" y="7612"/>
                    <a:pt x="62689" y="6269"/>
                  </a:cubicBezTo>
                  <a:cubicBezTo>
                    <a:pt x="63585" y="4925"/>
                    <a:pt x="62689" y="4030"/>
                    <a:pt x="61346" y="3135"/>
                  </a:cubicBezTo>
                  <a:cubicBezTo>
                    <a:pt x="56421" y="896"/>
                    <a:pt x="51047" y="0"/>
                    <a:pt x="45674" y="0"/>
                  </a:cubicBezTo>
                  <a:cubicBezTo>
                    <a:pt x="34479" y="0"/>
                    <a:pt x="24180" y="4925"/>
                    <a:pt x="16568" y="12986"/>
                  </a:cubicBezTo>
                  <a:cubicBezTo>
                    <a:pt x="12090" y="17911"/>
                    <a:pt x="9404" y="23732"/>
                    <a:pt x="7612" y="30001"/>
                  </a:cubicBezTo>
                  <a:lnTo>
                    <a:pt x="2239" y="30001"/>
                  </a:lnTo>
                  <a:cubicBezTo>
                    <a:pt x="896" y="30001"/>
                    <a:pt x="0" y="30897"/>
                    <a:pt x="0" y="32240"/>
                  </a:cubicBezTo>
                  <a:cubicBezTo>
                    <a:pt x="0" y="33584"/>
                    <a:pt x="896" y="34479"/>
                    <a:pt x="2239" y="34479"/>
                  </a:cubicBezTo>
                  <a:lnTo>
                    <a:pt x="7165" y="34479"/>
                  </a:lnTo>
                  <a:cubicBezTo>
                    <a:pt x="6717" y="37614"/>
                    <a:pt x="6717" y="40300"/>
                    <a:pt x="7165" y="43435"/>
                  </a:cubicBezTo>
                  <a:lnTo>
                    <a:pt x="2239" y="43435"/>
                  </a:lnTo>
                  <a:cubicBezTo>
                    <a:pt x="896" y="43435"/>
                    <a:pt x="0" y="44331"/>
                    <a:pt x="0" y="45674"/>
                  </a:cubicBezTo>
                  <a:cubicBezTo>
                    <a:pt x="0" y="47017"/>
                    <a:pt x="896" y="47913"/>
                    <a:pt x="2239" y="47913"/>
                  </a:cubicBezTo>
                  <a:lnTo>
                    <a:pt x="7612" y="47913"/>
                  </a:lnTo>
                  <a:cubicBezTo>
                    <a:pt x="11195" y="63137"/>
                    <a:pt x="24180" y="75227"/>
                    <a:pt x="39853" y="77466"/>
                  </a:cubicBezTo>
                  <a:cubicBezTo>
                    <a:pt x="41644" y="77914"/>
                    <a:pt x="43435" y="77914"/>
                    <a:pt x="45226" y="77914"/>
                  </a:cubicBezTo>
                  <a:cubicBezTo>
                    <a:pt x="50599" y="77914"/>
                    <a:pt x="55973" y="77019"/>
                    <a:pt x="60898" y="74780"/>
                  </a:cubicBezTo>
                  <a:cubicBezTo>
                    <a:pt x="62689" y="74332"/>
                    <a:pt x="63137" y="73436"/>
                    <a:pt x="62689" y="72093"/>
                  </a:cubicBezTo>
                  <a:close/>
                </a:path>
              </a:pathLst>
            </a:custGeom>
            <a:solidFill>
              <a:srgbClr val="231F20"/>
            </a:solidFill>
            <a:ln w="4474" cap="flat">
              <a:noFill/>
              <a:prstDash val="solid"/>
              <a:miter/>
            </a:ln>
          </p:spPr>
          <p:txBody>
            <a:bodyPr rtlCol="0" anchor="ctr"/>
            <a:lstStyle/>
            <a:p>
              <a:endParaRPr lang="en-US"/>
            </a:p>
          </p:txBody>
        </p:sp>
      </p:grpSp>
      <p:grpSp>
        <p:nvGrpSpPr>
          <p:cNvPr id="4631" name="Group 4630">
            <a:extLst>
              <a:ext uri="{FF2B5EF4-FFF2-40B4-BE49-F238E27FC236}">
                <a16:creationId xmlns:a16="http://schemas.microsoft.com/office/drawing/2014/main" id="{40E52B44-054A-4DAD-A158-86A481126CC7}"/>
              </a:ext>
              <a:ext uri="{C183D7F6-B498-43B3-948B-1728B52AA6E4}">
                <adec:decorative xmlns:adec="http://schemas.microsoft.com/office/drawing/2017/decorative" val="1"/>
              </a:ext>
            </a:extLst>
          </p:cNvPr>
          <p:cNvGrpSpPr>
            <a:grpSpLocks noChangeAspect="1"/>
          </p:cNvGrpSpPr>
          <p:nvPr/>
        </p:nvGrpSpPr>
        <p:grpSpPr>
          <a:xfrm>
            <a:off x="4747969" y="4872283"/>
            <a:ext cx="152246" cy="152246"/>
            <a:chOff x="4799290" y="4141171"/>
            <a:chExt cx="152246" cy="152246"/>
          </a:xfrm>
        </p:grpSpPr>
        <p:sp>
          <p:nvSpPr>
            <p:cNvPr id="4632" name="Freeform: Shape 4631">
              <a:extLst>
                <a:ext uri="{FF2B5EF4-FFF2-40B4-BE49-F238E27FC236}">
                  <a16:creationId xmlns:a16="http://schemas.microsoft.com/office/drawing/2014/main" id="{58D367A6-FBAC-47FB-A680-FE4DB7D4FCF5}"/>
                </a:ext>
              </a:extLst>
            </p:cNvPr>
            <p:cNvSpPr/>
            <p:nvPr/>
          </p:nvSpPr>
          <p:spPr>
            <a:xfrm>
              <a:off x="4799290"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3 w 152245"/>
                <a:gd name="connsiteY11" fmla="*/ 25524 h 152245"/>
                <a:gd name="connsiteX12" fmla="*/ 4478 w 152245"/>
                <a:gd name="connsiteY12" fmla="*/ 76123 h 152245"/>
                <a:gd name="connsiteX13" fmla="*/ 25523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3" y="25524"/>
                  </a:cubicBezTo>
                  <a:cubicBezTo>
                    <a:pt x="12090" y="38957"/>
                    <a:pt x="4478" y="56868"/>
                    <a:pt x="4478" y="76123"/>
                  </a:cubicBezTo>
                  <a:cubicBezTo>
                    <a:pt x="4478" y="95377"/>
                    <a:pt x="12090" y="113289"/>
                    <a:pt x="25523" y="126722"/>
                  </a:cubicBezTo>
                  <a:cubicBezTo>
                    <a:pt x="38957" y="140156"/>
                    <a:pt x="56868" y="147768"/>
                    <a:pt x="76123" y="147768"/>
                  </a:cubicBezTo>
                  <a:cubicBezTo>
                    <a:pt x="95377" y="147768"/>
                    <a:pt x="113289" y="140156"/>
                    <a:pt x="126722" y="126722"/>
                  </a:cubicBezTo>
                  <a:cubicBezTo>
                    <a:pt x="140156" y="113289"/>
                    <a:pt x="147768" y="95377"/>
                    <a:pt x="147768" y="76123"/>
                  </a:cubicBezTo>
                  <a:cubicBezTo>
                    <a:pt x="147768" y="56868"/>
                    <a:pt x="140156" y="38957"/>
                    <a:pt x="126722" y="25524"/>
                  </a:cubicBezTo>
                  <a:cubicBezTo>
                    <a:pt x="113289"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33" name="Freeform: Shape 4632">
              <a:extLst>
                <a:ext uri="{FF2B5EF4-FFF2-40B4-BE49-F238E27FC236}">
                  <a16:creationId xmlns:a16="http://schemas.microsoft.com/office/drawing/2014/main" id="{CC457A46-2622-488F-931A-839A22E459E1}"/>
                </a:ext>
              </a:extLst>
            </p:cNvPr>
            <p:cNvSpPr/>
            <p:nvPr/>
          </p:nvSpPr>
          <p:spPr>
            <a:xfrm>
              <a:off x="4846307" y="4173859"/>
              <a:ext cx="53734" cy="76123"/>
            </a:xfrm>
            <a:custGeom>
              <a:avLst/>
              <a:gdLst>
                <a:gd name="connsiteX0" fmla="*/ 28210 w 53733"/>
                <a:gd name="connsiteY0" fmla="*/ 4478 h 76122"/>
                <a:gd name="connsiteX1" fmla="*/ 49256 w 53733"/>
                <a:gd name="connsiteY1" fmla="*/ 21046 h 76122"/>
                <a:gd name="connsiteX2" fmla="*/ 51495 w 53733"/>
                <a:gd name="connsiteY2" fmla="*/ 23285 h 76122"/>
                <a:gd name="connsiteX3" fmla="*/ 53734 w 53733"/>
                <a:gd name="connsiteY3" fmla="*/ 21046 h 76122"/>
                <a:gd name="connsiteX4" fmla="*/ 28210 w 53733"/>
                <a:gd name="connsiteY4" fmla="*/ 0 h 76122"/>
                <a:gd name="connsiteX5" fmla="*/ 2687 w 53733"/>
                <a:gd name="connsiteY5" fmla="*/ 22837 h 76122"/>
                <a:gd name="connsiteX6" fmla="*/ 6269 w 53733"/>
                <a:gd name="connsiteY6" fmla="*/ 37166 h 76122"/>
                <a:gd name="connsiteX7" fmla="*/ 7612 w 53733"/>
                <a:gd name="connsiteY7" fmla="*/ 40748 h 76122"/>
                <a:gd name="connsiteX8" fmla="*/ 2239 w 53733"/>
                <a:gd name="connsiteY8" fmla="*/ 40748 h 76122"/>
                <a:gd name="connsiteX9" fmla="*/ 0 w 53733"/>
                <a:gd name="connsiteY9" fmla="*/ 42987 h 76122"/>
                <a:gd name="connsiteX10" fmla="*/ 2239 w 53733"/>
                <a:gd name="connsiteY10" fmla="*/ 45226 h 76122"/>
                <a:gd name="connsiteX11" fmla="*/ 8956 w 53733"/>
                <a:gd name="connsiteY11" fmla="*/ 45226 h 76122"/>
                <a:gd name="connsiteX12" fmla="*/ 8956 w 53733"/>
                <a:gd name="connsiteY12" fmla="*/ 56868 h 76122"/>
                <a:gd name="connsiteX13" fmla="*/ 1791 w 53733"/>
                <a:gd name="connsiteY13" fmla="*/ 72541 h 76122"/>
                <a:gd name="connsiteX14" fmla="*/ 2687 w 53733"/>
                <a:gd name="connsiteY14" fmla="*/ 75675 h 76122"/>
                <a:gd name="connsiteX15" fmla="*/ 5373 w 53733"/>
                <a:gd name="connsiteY15" fmla="*/ 75228 h 76122"/>
                <a:gd name="connsiteX16" fmla="*/ 8956 w 53733"/>
                <a:gd name="connsiteY16" fmla="*/ 74780 h 76122"/>
                <a:gd name="connsiteX17" fmla="*/ 9851 w 53733"/>
                <a:gd name="connsiteY17" fmla="*/ 74780 h 76122"/>
                <a:gd name="connsiteX18" fmla="*/ 15672 w 53733"/>
                <a:gd name="connsiteY18" fmla="*/ 74780 h 76122"/>
                <a:gd name="connsiteX19" fmla="*/ 26419 w 53733"/>
                <a:gd name="connsiteY19" fmla="*/ 77019 h 76122"/>
                <a:gd name="connsiteX20" fmla="*/ 27762 w 53733"/>
                <a:gd name="connsiteY20" fmla="*/ 77466 h 76122"/>
                <a:gd name="connsiteX21" fmla="*/ 34927 w 53733"/>
                <a:gd name="connsiteY21" fmla="*/ 78362 h 76122"/>
                <a:gd name="connsiteX22" fmla="*/ 51943 w 53733"/>
                <a:gd name="connsiteY22" fmla="*/ 72989 h 76122"/>
                <a:gd name="connsiteX23" fmla="*/ 52390 w 53733"/>
                <a:gd name="connsiteY23" fmla="*/ 69854 h 76122"/>
                <a:gd name="connsiteX24" fmla="*/ 49256 w 53733"/>
                <a:gd name="connsiteY24" fmla="*/ 69406 h 76122"/>
                <a:gd name="connsiteX25" fmla="*/ 28658 w 53733"/>
                <a:gd name="connsiteY25" fmla="*/ 72989 h 76122"/>
                <a:gd name="connsiteX26" fmla="*/ 27315 w 53733"/>
                <a:gd name="connsiteY26" fmla="*/ 72541 h 76122"/>
                <a:gd name="connsiteX27" fmla="*/ 15672 w 53733"/>
                <a:gd name="connsiteY27" fmla="*/ 70302 h 76122"/>
                <a:gd name="connsiteX28" fmla="*/ 8956 w 53733"/>
                <a:gd name="connsiteY28" fmla="*/ 70302 h 76122"/>
                <a:gd name="connsiteX29" fmla="*/ 8508 w 53733"/>
                <a:gd name="connsiteY29" fmla="*/ 70302 h 76122"/>
                <a:gd name="connsiteX30" fmla="*/ 8060 w 53733"/>
                <a:gd name="connsiteY30" fmla="*/ 70302 h 76122"/>
                <a:gd name="connsiteX31" fmla="*/ 13433 w 53733"/>
                <a:gd name="connsiteY31" fmla="*/ 58660 h 76122"/>
                <a:gd name="connsiteX32" fmla="*/ 13881 w 53733"/>
                <a:gd name="connsiteY32" fmla="*/ 45674 h 76122"/>
                <a:gd name="connsiteX33" fmla="*/ 42539 w 53733"/>
                <a:gd name="connsiteY33" fmla="*/ 45674 h 76122"/>
                <a:gd name="connsiteX34" fmla="*/ 44778 w 53733"/>
                <a:gd name="connsiteY34" fmla="*/ 43435 h 76122"/>
                <a:gd name="connsiteX35" fmla="*/ 42539 w 53733"/>
                <a:gd name="connsiteY35" fmla="*/ 41196 h 76122"/>
                <a:gd name="connsiteX36" fmla="*/ 12986 w 53733"/>
                <a:gd name="connsiteY36" fmla="*/ 41196 h 76122"/>
                <a:gd name="connsiteX37" fmla="*/ 11195 w 53733"/>
                <a:gd name="connsiteY37" fmla="*/ 35823 h 76122"/>
                <a:gd name="connsiteX38" fmla="*/ 8060 w 53733"/>
                <a:gd name="connsiteY38" fmla="*/ 23285 h 76122"/>
                <a:gd name="connsiteX39" fmla="*/ 28210 w 53733"/>
                <a:gd name="connsiteY39" fmla="*/ 4478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733" h="76122">
                  <a:moveTo>
                    <a:pt x="28210" y="4478"/>
                  </a:moveTo>
                  <a:cubicBezTo>
                    <a:pt x="39852" y="4478"/>
                    <a:pt x="49256" y="11642"/>
                    <a:pt x="49256" y="21046"/>
                  </a:cubicBezTo>
                  <a:cubicBezTo>
                    <a:pt x="49256" y="22389"/>
                    <a:pt x="50151" y="23285"/>
                    <a:pt x="51495" y="23285"/>
                  </a:cubicBezTo>
                  <a:cubicBezTo>
                    <a:pt x="52838" y="23285"/>
                    <a:pt x="53734" y="22389"/>
                    <a:pt x="53734" y="21046"/>
                  </a:cubicBezTo>
                  <a:cubicBezTo>
                    <a:pt x="53734" y="9404"/>
                    <a:pt x="42091" y="0"/>
                    <a:pt x="28210" y="0"/>
                  </a:cubicBezTo>
                  <a:cubicBezTo>
                    <a:pt x="14777" y="0"/>
                    <a:pt x="2687" y="10747"/>
                    <a:pt x="2687" y="22837"/>
                  </a:cubicBezTo>
                  <a:cubicBezTo>
                    <a:pt x="2687" y="27315"/>
                    <a:pt x="4478" y="32240"/>
                    <a:pt x="6269" y="37166"/>
                  </a:cubicBezTo>
                  <a:cubicBezTo>
                    <a:pt x="6717" y="38509"/>
                    <a:pt x="7164" y="39853"/>
                    <a:pt x="7612" y="40748"/>
                  </a:cubicBezTo>
                  <a:lnTo>
                    <a:pt x="2239" y="40748"/>
                  </a:lnTo>
                  <a:cubicBezTo>
                    <a:pt x="895" y="40748"/>
                    <a:pt x="0" y="41644"/>
                    <a:pt x="0" y="42987"/>
                  </a:cubicBezTo>
                  <a:cubicBezTo>
                    <a:pt x="0" y="44331"/>
                    <a:pt x="895" y="45226"/>
                    <a:pt x="2239" y="45226"/>
                  </a:cubicBezTo>
                  <a:lnTo>
                    <a:pt x="8956" y="45226"/>
                  </a:lnTo>
                  <a:cubicBezTo>
                    <a:pt x="9851" y="49256"/>
                    <a:pt x="10299" y="53286"/>
                    <a:pt x="8956" y="56868"/>
                  </a:cubicBezTo>
                  <a:cubicBezTo>
                    <a:pt x="7164" y="61794"/>
                    <a:pt x="3582" y="68958"/>
                    <a:pt x="1791" y="72541"/>
                  </a:cubicBezTo>
                  <a:cubicBezTo>
                    <a:pt x="1343" y="73436"/>
                    <a:pt x="1791" y="74780"/>
                    <a:pt x="2687" y="75675"/>
                  </a:cubicBezTo>
                  <a:cubicBezTo>
                    <a:pt x="3582" y="76123"/>
                    <a:pt x="4478" y="76123"/>
                    <a:pt x="5373" y="75228"/>
                  </a:cubicBezTo>
                  <a:cubicBezTo>
                    <a:pt x="5821" y="75228"/>
                    <a:pt x="6717" y="74780"/>
                    <a:pt x="8956" y="74780"/>
                  </a:cubicBezTo>
                  <a:lnTo>
                    <a:pt x="9851" y="74780"/>
                  </a:lnTo>
                  <a:cubicBezTo>
                    <a:pt x="11642" y="74332"/>
                    <a:pt x="13433" y="74332"/>
                    <a:pt x="15672" y="74780"/>
                  </a:cubicBezTo>
                  <a:cubicBezTo>
                    <a:pt x="19255" y="75228"/>
                    <a:pt x="22837" y="76123"/>
                    <a:pt x="26419" y="77019"/>
                  </a:cubicBezTo>
                  <a:lnTo>
                    <a:pt x="27762" y="77466"/>
                  </a:lnTo>
                  <a:cubicBezTo>
                    <a:pt x="30001" y="77914"/>
                    <a:pt x="32688" y="78362"/>
                    <a:pt x="34927" y="78362"/>
                  </a:cubicBezTo>
                  <a:cubicBezTo>
                    <a:pt x="40748" y="78362"/>
                    <a:pt x="46569" y="76571"/>
                    <a:pt x="51943" y="72989"/>
                  </a:cubicBezTo>
                  <a:cubicBezTo>
                    <a:pt x="52838" y="72093"/>
                    <a:pt x="53286" y="70750"/>
                    <a:pt x="52390" y="69854"/>
                  </a:cubicBezTo>
                  <a:cubicBezTo>
                    <a:pt x="51495" y="68958"/>
                    <a:pt x="50151" y="68511"/>
                    <a:pt x="49256" y="69406"/>
                  </a:cubicBezTo>
                  <a:cubicBezTo>
                    <a:pt x="42987" y="73436"/>
                    <a:pt x="35375" y="74780"/>
                    <a:pt x="28658" y="72989"/>
                  </a:cubicBezTo>
                  <a:lnTo>
                    <a:pt x="27315" y="72541"/>
                  </a:lnTo>
                  <a:cubicBezTo>
                    <a:pt x="23732" y="71645"/>
                    <a:pt x="19702" y="70750"/>
                    <a:pt x="15672" y="70302"/>
                  </a:cubicBezTo>
                  <a:cubicBezTo>
                    <a:pt x="13433" y="70302"/>
                    <a:pt x="11195" y="70302"/>
                    <a:pt x="8956" y="70302"/>
                  </a:cubicBezTo>
                  <a:lnTo>
                    <a:pt x="8508" y="70302"/>
                  </a:lnTo>
                  <a:cubicBezTo>
                    <a:pt x="8508" y="70302"/>
                    <a:pt x="8060" y="70302"/>
                    <a:pt x="8060" y="70302"/>
                  </a:cubicBezTo>
                  <a:cubicBezTo>
                    <a:pt x="9851" y="66720"/>
                    <a:pt x="12090" y="62242"/>
                    <a:pt x="13433" y="58660"/>
                  </a:cubicBezTo>
                  <a:cubicBezTo>
                    <a:pt x="15224" y="54182"/>
                    <a:pt x="14777" y="49704"/>
                    <a:pt x="13881" y="45674"/>
                  </a:cubicBezTo>
                  <a:lnTo>
                    <a:pt x="42539" y="45674"/>
                  </a:lnTo>
                  <a:cubicBezTo>
                    <a:pt x="43883" y="45674"/>
                    <a:pt x="44778" y="44778"/>
                    <a:pt x="44778" y="43435"/>
                  </a:cubicBezTo>
                  <a:cubicBezTo>
                    <a:pt x="44778" y="42092"/>
                    <a:pt x="43883" y="41196"/>
                    <a:pt x="42539" y="41196"/>
                  </a:cubicBezTo>
                  <a:lnTo>
                    <a:pt x="12986" y="41196"/>
                  </a:lnTo>
                  <a:cubicBezTo>
                    <a:pt x="12538" y="39405"/>
                    <a:pt x="11642" y="37614"/>
                    <a:pt x="11195" y="35823"/>
                  </a:cubicBezTo>
                  <a:cubicBezTo>
                    <a:pt x="9403" y="31345"/>
                    <a:pt x="8060" y="26867"/>
                    <a:pt x="8060" y="23285"/>
                  </a:cubicBezTo>
                  <a:cubicBezTo>
                    <a:pt x="7164" y="14329"/>
                    <a:pt x="16568" y="4478"/>
                    <a:pt x="28210" y="4478"/>
                  </a:cubicBezTo>
                  <a:close/>
                </a:path>
              </a:pathLst>
            </a:custGeom>
            <a:solidFill>
              <a:srgbClr val="231F20"/>
            </a:solidFill>
            <a:ln w="4474" cap="flat">
              <a:noFill/>
              <a:prstDash val="solid"/>
              <a:miter/>
            </a:ln>
          </p:spPr>
          <p:txBody>
            <a:bodyPr rtlCol="0" anchor="ctr"/>
            <a:lstStyle/>
            <a:p>
              <a:endParaRPr lang="en-US"/>
            </a:p>
          </p:txBody>
        </p:sp>
      </p:grpSp>
      <p:grpSp>
        <p:nvGrpSpPr>
          <p:cNvPr id="4634" name="Group 4633">
            <a:extLst>
              <a:ext uri="{FF2B5EF4-FFF2-40B4-BE49-F238E27FC236}">
                <a16:creationId xmlns:a16="http://schemas.microsoft.com/office/drawing/2014/main" id="{6B14B35B-5E50-49F0-8EB5-385FF16DED1F}"/>
              </a:ext>
              <a:ext uri="{C183D7F6-B498-43B3-948B-1728B52AA6E4}">
                <adec:decorative xmlns:adec="http://schemas.microsoft.com/office/drawing/2017/decorative" val="1"/>
              </a:ext>
            </a:extLst>
          </p:cNvPr>
          <p:cNvGrpSpPr>
            <a:grpSpLocks noChangeAspect="1"/>
          </p:cNvGrpSpPr>
          <p:nvPr/>
        </p:nvGrpSpPr>
        <p:grpSpPr>
          <a:xfrm>
            <a:off x="5008578" y="4872283"/>
            <a:ext cx="152246" cy="152246"/>
            <a:chOff x="5059899" y="4141171"/>
            <a:chExt cx="152246" cy="152246"/>
          </a:xfrm>
        </p:grpSpPr>
        <p:sp>
          <p:nvSpPr>
            <p:cNvPr id="4635" name="Freeform: Shape 4634">
              <a:extLst>
                <a:ext uri="{FF2B5EF4-FFF2-40B4-BE49-F238E27FC236}">
                  <a16:creationId xmlns:a16="http://schemas.microsoft.com/office/drawing/2014/main" id="{C9A0FE12-0EEA-4C46-BC59-FE21E1EA0A86}"/>
                </a:ext>
              </a:extLst>
            </p:cNvPr>
            <p:cNvSpPr/>
            <p:nvPr/>
          </p:nvSpPr>
          <p:spPr>
            <a:xfrm>
              <a:off x="5059899"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7"/>
                    <a:pt x="12090" y="113289"/>
                    <a:pt x="25524" y="126722"/>
                  </a:cubicBezTo>
                  <a:cubicBezTo>
                    <a:pt x="38957" y="140156"/>
                    <a:pt x="56868"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cubicBezTo>
                    <a:pt x="113289"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36" name="Freeform: Shape 4635">
              <a:extLst>
                <a:ext uri="{FF2B5EF4-FFF2-40B4-BE49-F238E27FC236}">
                  <a16:creationId xmlns:a16="http://schemas.microsoft.com/office/drawing/2014/main" id="{B951E37C-445F-41ED-A85D-ADF47B5B1D4C}"/>
                </a:ext>
              </a:extLst>
            </p:cNvPr>
            <p:cNvSpPr/>
            <p:nvPr/>
          </p:nvSpPr>
          <p:spPr>
            <a:xfrm>
              <a:off x="5108259" y="4168486"/>
              <a:ext cx="53734" cy="94034"/>
            </a:xfrm>
            <a:custGeom>
              <a:avLst/>
              <a:gdLst>
                <a:gd name="connsiteX0" fmla="*/ 30001 w 53733"/>
                <a:gd name="connsiteY0" fmla="*/ 46569 h 94034"/>
                <a:gd name="connsiteX1" fmla="*/ 30001 w 53733"/>
                <a:gd name="connsiteY1" fmla="*/ 10747 h 94034"/>
                <a:gd name="connsiteX2" fmla="*/ 51047 w 53733"/>
                <a:gd name="connsiteY2" fmla="*/ 28658 h 94034"/>
                <a:gd name="connsiteX3" fmla="*/ 53286 w 53733"/>
                <a:gd name="connsiteY3" fmla="*/ 30897 h 94034"/>
                <a:gd name="connsiteX4" fmla="*/ 55525 w 53733"/>
                <a:gd name="connsiteY4" fmla="*/ 28658 h 94034"/>
                <a:gd name="connsiteX5" fmla="*/ 30001 w 53733"/>
                <a:gd name="connsiteY5" fmla="*/ 6269 h 94034"/>
                <a:gd name="connsiteX6" fmla="*/ 30001 w 53733"/>
                <a:gd name="connsiteY6" fmla="*/ 2239 h 94034"/>
                <a:gd name="connsiteX7" fmla="*/ 27762 w 53733"/>
                <a:gd name="connsiteY7" fmla="*/ 0 h 94034"/>
                <a:gd name="connsiteX8" fmla="*/ 25523 w 53733"/>
                <a:gd name="connsiteY8" fmla="*/ 2239 h 94034"/>
                <a:gd name="connsiteX9" fmla="*/ 25523 w 53733"/>
                <a:gd name="connsiteY9" fmla="*/ 6269 h 94034"/>
                <a:gd name="connsiteX10" fmla="*/ 0 w 53733"/>
                <a:gd name="connsiteY10" fmla="*/ 28658 h 94034"/>
                <a:gd name="connsiteX11" fmla="*/ 25523 w 53733"/>
                <a:gd name="connsiteY11" fmla="*/ 51047 h 94034"/>
                <a:gd name="connsiteX12" fmla="*/ 25523 w 53733"/>
                <a:gd name="connsiteY12" fmla="*/ 86869 h 94034"/>
                <a:gd name="connsiteX13" fmla="*/ 4478 w 53733"/>
                <a:gd name="connsiteY13" fmla="*/ 68958 h 94034"/>
                <a:gd name="connsiteX14" fmla="*/ 2239 w 53733"/>
                <a:gd name="connsiteY14" fmla="*/ 66719 h 94034"/>
                <a:gd name="connsiteX15" fmla="*/ 0 w 53733"/>
                <a:gd name="connsiteY15" fmla="*/ 68958 h 94034"/>
                <a:gd name="connsiteX16" fmla="*/ 25523 w 53733"/>
                <a:gd name="connsiteY16" fmla="*/ 91347 h 94034"/>
                <a:gd name="connsiteX17" fmla="*/ 25523 w 53733"/>
                <a:gd name="connsiteY17" fmla="*/ 95825 h 94034"/>
                <a:gd name="connsiteX18" fmla="*/ 27762 w 53733"/>
                <a:gd name="connsiteY18" fmla="*/ 98064 h 94034"/>
                <a:gd name="connsiteX19" fmla="*/ 30001 w 53733"/>
                <a:gd name="connsiteY19" fmla="*/ 95825 h 94034"/>
                <a:gd name="connsiteX20" fmla="*/ 30001 w 53733"/>
                <a:gd name="connsiteY20" fmla="*/ 91347 h 94034"/>
                <a:gd name="connsiteX21" fmla="*/ 55525 w 53733"/>
                <a:gd name="connsiteY21" fmla="*/ 68958 h 94034"/>
                <a:gd name="connsiteX22" fmla="*/ 30001 w 53733"/>
                <a:gd name="connsiteY22" fmla="*/ 46569 h 94034"/>
                <a:gd name="connsiteX23" fmla="*/ 4478 w 53733"/>
                <a:gd name="connsiteY23" fmla="*/ 28210 h 94034"/>
                <a:gd name="connsiteX24" fmla="*/ 25523 w 53733"/>
                <a:gd name="connsiteY24" fmla="*/ 10299 h 94034"/>
                <a:gd name="connsiteX25" fmla="*/ 25523 w 53733"/>
                <a:gd name="connsiteY25" fmla="*/ 46121 h 94034"/>
                <a:gd name="connsiteX26" fmla="*/ 4478 w 53733"/>
                <a:gd name="connsiteY26" fmla="*/ 28210 h 94034"/>
                <a:gd name="connsiteX27" fmla="*/ 30001 w 53733"/>
                <a:gd name="connsiteY27" fmla="*/ 86869 h 94034"/>
                <a:gd name="connsiteX28" fmla="*/ 30001 w 53733"/>
                <a:gd name="connsiteY28" fmla="*/ 51047 h 94034"/>
                <a:gd name="connsiteX29" fmla="*/ 51047 w 53733"/>
                <a:gd name="connsiteY29" fmla="*/ 68958 h 94034"/>
                <a:gd name="connsiteX30" fmla="*/ 30001 w 53733"/>
                <a:gd name="connsiteY30" fmla="*/ 86869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733" h="94034">
                  <a:moveTo>
                    <a:pt x="30001" y="46569"/>
                  </a:moveTo>
                  <a:lnTo>
                    <a:pt x="30001" y="10747"/>
                  </a:lnTo>
                  <a:cubicBezTo>
                    <a:pt x="41644" y="11642"/>
                    <a:pt x="51047" y="19255"/>
                    <a:pt x="51047" y="28658"/>
                  </a:cubicBezTo>
                  <a:cubicBezTo>
                    <a:pt x="51047" y="30001"/>
                    <a:pt x="51943" y="30897"/>
                    <a:pt x="53286" y="30897"/>
                  </a:cubicBezTo>
                  <a:cubicBezTo>
                    <a:pt x="54629" y="30897"/>
                    <a:pt x="55525" y="30001"/>
                    <a:pt x="55525" y="28658"/>
                  </a:cubicBezTo>
                  <a:cubicBezTo>
                    <a:pt x="55525" y="17016"/>
                    <a:pt x="44330" y="7164"/>
                    <a:pt x="30001" y="6269"/>
                  </a:cubicBezTo>
                  <a:lnTo>
                    <a:pt x="30001" y="2239"/>
                  </a:lnTo>
                  <a:cubicBezTo>
                    <a:pt x="30001" y="895"/>
                    <a:pt x="29106" y="0"/>
                    <a:pt x="27762" y="0"/>
                  </a:cubicBezTo>
                  <a:cubicBezTo>
                    <a:pt x="26419" y="0"/>
                    <a:pt x="25523" y="895"/>
                    <a:pt x="25523" y="2239"/>
                  </a:cubicBezTo>
                  <a:lnTo>
                    <a:pt x="25523" y="6269"/>
                  </a:lnTo>
                  <a:cubicBezTo>
                    <a:pt x="11195" y="7164"/>
                    <a:pt x="0" y="17016"/>
                    <a:pt x="0" y="28658"/>
                  </a:cubicBezTo>
                  <a:cubicBezTo>
                    <a:pt x="0" y="40300"/>
                    <a:pt x="11195" y="50151"/>
                    <a:pt x="25523" y="51047"/>
                  </a:cubicBezTo>
                  <a:lnTo>
                    <a:pt x="25523" y="86869"/>
                  </a:lnTo>
                  <a:cubicBezTo>
                    <a:pt x="13881" y="85974"/>
                    <a:pt x="4478" y="78362"/>
                    <a:pt x="4478" y="68958"/>
                  </a:cubicBezTo>
                  <a:cubicBezTo>
                    <a:pt x="4478" y="67615"/>
                    <a:pt x="3582" y="66719"/>
                    <a:pt x="2239" y="66719"/>
                  </a:cubicBezTo>
                  <a:cubicBezTo>
                    <a:pt x="895" y="66719"/>
                    <a:pt x="0" y="67615"/>
                    <a:pt x="0" y="68958"/>
                  </a:cubicBezTo>
                  <a:cubicBezTo>
                    <a:pt x="0" y="80601"/>
                    <a:pt x="11195" y="90452"/>
                    <a:pt x="25523" y="91347"/>
                  </a:cubicBezTo>
                  <a:lnTo>
                    <a:pt x="25523" y="95825"/>
                  </a:lnTo>
                  <a:cubicBezTo>
                    <a:pt x="25523" y="97168"/>
                    <a:pt x="26419" y="98064"/>
                    <a:pt x="27762" y="98064"/>
                  </a:cubicBezTo>
                  <a:cubicBezTo>
                    <a:pt x="29106" y="98064"/>
                    <a:pt x="30001" y="97168"/>
                    <a:pt x="30001" y="95825"/>
                  </a:cubicBezTo>
                  <a:lnTo>
                    <a:pt x="30001" y="91347"/>
                  </a:lnTo>
                  <a:cubicBezTo>
                    <a:pt x="44330" y="90452"/>
                    <a:pt x="55525" y="80601"/>
                    <a:pt x="55525" y="68958"/>
                  </a:cubicBezTo>
                  <a:cubicBezTo>
                    <a:pt x="55525" y="56868"/>
                    <a:pt x="43883" y="47465"/>
                    <a:pt x="30001" y="46569"/>
                  </a:cubicBezTo>
                  <a:close/>
                  <a:moveTo>
                    <a:pt x="4478" y="28210"/>
                  </a:moveTo>
                  <a:cubicBezTo>
                    <a:pt x="4478" y="18807"/>
                    <a:pt x="13881" y="11195"/>
                    <a:pt x="25523" y="10299"/>
                  </a:cubicBezTo>
                  <a:lnTo>
                    <a:pt x="25523" y="46121"/>
                  </a:lnTo>
                  <a:cubicBezTo>
                    <a:pt x="13881" y="45226"/>
                    <a:pt x="4478" y="37614"/>
                    <a:pt x="4478" y="28210"/>
                  </a:cubicBezTo>
                  <a:close/>
                  <a:moveTo>
                    <a:pt x="30001" y="86869"/>
                  </a:moveTo>
                  <a:lnTo>
                    <a:pt x="30001" y="51047"/>
                  </a:lnTo>
                  <a:cubicBezTo>
                    <a:pt x="41644" y="51943"/>
                    <a:pt x="51047" y="59555"/>
                    <a:pt x="51047" y="68958"/>
                  </a:cubicBezTo>
                  <a:cubicBezTo>
                    <a:pt x="51047" y="78362"/>
                    <a:pt x="41644" y="85974"/>
                    <a:pt x="30001" y="86869"/>
                  </a:cubicBezTo>
                  <a:close/>
                </a:path>
              </a:pathLst>
            </a:custGeom>
            <a:solidFill>
              <a:srgbClr val="231F20"/>
            </a:solidFill>
            <a:ln w="4474" cap="flat">
              <a:noFill/>
              <a:prstDash val="solid"/>
              <a:miter/>
            </a:ln>
          </p:spPr>
          <p:txBody>
            <a:bodyPr rtlCol="0" anchor="ctr"/>
            <a:lstStyle/>
            <a:p>
              <a:endParaRPr lang="en-US"/>
            </a:p>
          </p:txBody>
        </p:sp>
      </p:grpSp>
      <p:grpSp>
        <p:nvGrpSpPr>
          <p:cNvPr id="4637" name="Group 4636">
            <a:extLst>
              <a:ext uri="{FF2B5EF4-FFF2-40B4-BE49-F238E27FC236}">
                <a16:creationId xmlns:a16="http://schemas.microsoft.com/office/drawing/2014/main" id="{0B582709-4500-4A5F-ACB6-2500E7C81339}"/>
              </a:ext>
              <a:ext uri="{C183D7F6-B498-43B3-948B-1728B52AA6E4}">
                <adec:decorative xmlns:adec="http://schemas.microsoft.com/office/drawing/2017/decorative" val="1"/>
              </a:ext>
            </a:extLst>
          </p:cNvPr>
          <p:cNvGrpSpPr>
            <a:grpSpLocks noChangeAspect="1"/>
          </p:cNvGrpSpPr>
          <p:nvPr/>
        </p:nvGrpSpPr>
        <p:grpSpPr>
          <a:xfrm>
            <a:off x="5262022" y="4872283"/>
            <a:ext cx="152246" cy="152246"/>
            <a:chOff x="5313343" y="4141171"/>
            <a:chExt cx="152246" cy="152246"/>
          </a:xfrm>
        </p:grpSpPr>
        <p:sp>
          <p:nvSpPr>
            <p:cNvPr id="4638" name="Freeform: Shape 4637">
              <a:extLst>
                <a:ext uri="{FF2B5EF4-FFF2-40B4-BE49-F238E27FC236}">
                  <a16:creationId xmlns:a16="http://schemas.microsoft.com/office/drawing/2014/main" id="{81C28DA2-38BC-4C4D-B909-0104E1C5DF6B}"/>
                </a:ext>
              </a:extLst>
            </p:cNvPr>
            <p:cNvSpPr/>
            <p:nvPr/>
          </p:nvSpPr>
          <p:spPr>
            <a:xfrm>
              <a:off x="5313343"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126722 w 152245"/>
                <a:gd name="connsiteY18" fmla="*/ 25524 h 152245"/>
                <a:gd name="connsiteX19" fmla="*/ 76123 w 152245"/>
                <a:gd name="connsiteY1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976" y="144186"/>
                    <a:pt x="96721" y="152246"/>
                    <a:pt x="76123" y="152246"/>
                  </a:cubicBezTo>
                  <a:close/>
                  <a:moveTo>
                    <a:pt x="76123" y="4478"/>
                  </a:moveTo>
                  <a:cubicBezTo>
                    <a:pt x="56869" y="4478"/>
                    <a:pt x="38957" y="12090"/>
                    <a:pt x="25524" y="25524"/>
                  </a:cubicBezTo>
                  <a:cubicBezTo>
                    <a:pt x="12090" y="38957"/>
                    <a:pt x="4478" y="56868"/>
                    <a:pt x="4478" y="76123"/>
                  </a:cubicBezTo>
                  <a:cubicBezTo>
                    <a:pt x="4478" y="95377"/>
                    <a:pt x="12090" y="113289"/>
                    <a:pt x="25524" y="126722"/>
                  </a:cubicBezTo>
                  <a:cubicBezTo>
                    <a:pt x="38957" y="140156"/>
                    <a:pt x="56869"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lnTo>
                    <a:pt x="126722" y="25524"/>
                  </a:lnTo>
                  <a:cubicBezTo>
                    <a:pt x="113289" y="12090"/>
                    <a:pt x="95378" y="4478"/>
                    <a:pt x="76123" y="4478"/>
                  </a:cubicBezTo>
                  <a:close/>
                </a:path>
              </a:pathLst>
            </a:custGeom>
            <a:solidFill>
              <a:srgbClr val="231F20"/>
            </a:solidFill>
            <a:ln w="4474" cap="flat">
              <a:noFill/>
              <a:prstDash val="solid"/>
              <a:miter/>
            </a:ln>
          </p:spPr>
          <p:txBody>
            <a:bodyPr rtlCol="0" anchor="ctr"/>
            <a:lstStyle/>
            <a:p>
              <a:endParaRPr lang="en-US"/>
            </a:p>
          </p:txBody>
        </p:sp>
        <p:sp>
          <p:nvSpPr>
            <p:cNvPr id="4639" name="Freeform: Shape 4638">
              <a:extLst>
                <a:ext uri="{FF2B5EF4-FFF2-40B4-BE49-F238E27FC236}">
                  <a16:creationId xmlns:a16="http://schemas.microsoft.com/office/drawing/2014/main" id="{59015702-5675-49F3-9DA9-C4095BFF897D}"/>
                </a:ext>
              </a:extLst>
            </p:cNvPr>
            <p:cNvSpPr/>
            <p:nvPr/>
          </p:nvSpPr>
          <p:spPr>
            <a:xfrm>
              <a:off x="5366629" y="4181024"/>
              <a:ext cx="49256" cy="76123"/>
            </a:xfrm>
            <a:custGeom>
              <a:avLst/>
              <a:gdLst>
                <a:gd name="connsiteX0" fmla="*/ 49704 w 49255"/>
                <a:gd name="connsiteY0" fmla="*/ 22837 h 76122"/>
                <a:gd name="connsiteX1" fmla="*/ 11642 w 49255"/>
                <a:gd name="connsiteY1" fmla="*/ 22837 h 76122"/>
                <a:gd name="connsiteX2" fmla="*/ 11642 w 49255"/>
                <a:gd name="connsiteY2" fmla="*/ 7164 h 76122"/>
                <a:gd name="connsiteX3" fmla="*/ 13881 w 49255"/>
                <a:gd name="connsiteY3" fmla="*/ 4478 h 76122"/>
                <a:gd name="connsiteX4" fmla="*/ 49256 w 49255"/>
                <a:gd name="connsiteY4" fmla="*/ 4478 h 76122"/>
                <a:gd name="connsiteX5" fmla="*/ 51495 w 49255"/>
                <a:gd name="connsiteY5" fmla="*/ 2239 h 76122"/>
                <a:gd name="connsiteX6" fmla="*/ 49256 w 49255"/>
                <a:gd name="connsiteY6" fmla="*/ 0 h 76122"/>
                <a:gd name="connsiteX7" fmla="*/ 9852 w 49255"/>
                <a:gd name="connsiteY7" fmla="*/ 0 h 76122"/>
                <a:gd name="connsiteX8" fmla="*/ 6717 w 49255"/>
                <a:gd name="connsiteY8" fmla="*/ 3135 h 76122"/>
                <a:gd name="connsiteX9" fmla="*/ 6717 w 49255"/>
                <a:gd name="connsiteY9" fmla="*/ 43435 h 76122"/>
                <a:gd name="connsiteX10" fmla="*/ 2239 w 49255"/>
                <a:gd name="connsiteY10" fmla="*/ 43435 h 76122"/>
                <a:gd name="connsiteX11" fmla="*/ 0 w 49255"/>
                <a:gd name="connsiteY11" fmla="*/ 45674 h 76122"/>
                <a:gd name="connsiteX12" fmla="*/ 2239 w 49255"/>
                <a:gd name="connsiteY12" fmla="*/ 47913 h 76122"/>
                <a:gd name="connsiteX13" fmla="*/ 6717 w 49255"/>
                <a:gd name="connsiteY13" fmla="*/ 47913 h 76122"/>
                <a:gd name="connsiteX14" fmla="*/ 6717 w 49255"/>
                <a:gd name="connsiteY14" fmla="*/ 76123 h 76122"/>
                <a:gd name="connsiteX15" fmla="*/ 8956 w 49255"/>
                <a:gd name="connsiteY15" fmla="*/ 78362 h 76122"/>
                <a:gd name="connsiteX16" fmla="*/ 11195 w 49255"/>
                <a:gd name="connsiteY16" fmla="*/ 76123 h 76122"/>
                <a:gd name="connsiteX17" fmla="*/ 11195 w 49255"/>
                <a:gd name="connsiteY17" fmla="*/ 47913 h 76122"/>
                <a:gd name="connsiteX18" fmla="*/ 35823 w 49255"/>
                <a:gd name="connsiteY18" fmla="*/ 47913 h 76122"/>
                <a:gd name="connsiteX19" fmla="*/ 38061 w 49255"/>
                <a:gd name="connsiteY19" fmla="*/ 45674 h 76122"/>
                <a:gd name="connsiteX20" fmla="*/ 35823 w 49255"/>
                <a:gd name="connsiteY20" fmla="*/ 43435 h 76122"/>
                <a:gd name="connsiteX21" fmla="*/ 11195 w 49255"/>
                <a:gd name="connsiteY21" fmla="*/ 43435 h 76122"/>
                <a:gd name="connsiteX22" fmla="*/ 11195 w 49255"/>
                <a:gd name="connsiteY22" fmla="*/ 26867 h 76122"/>
                <a:gd name="connsiteX23" fmla="*/ 49256 w 49255"/>
                <a:gd name="connsiteY23" fmla="*/ 26867 h 76122"/>
                <a:gd name="connsiteX24" fmla="*/ 51495 w 49255"/>
                <a:gd name="connsiteY24" fmla="*/ 24628 h 76122"/>
                <a:gd name="connsiteX25" fmla="*/ 49704 w 49255"/>
                <a:gd name="connsiteY25" fmla="*/ 22837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255" h="76122">
                  <a:moveTo>
                    <a:pt x="49704" y="22837"/>
                  </a:moveTo>
                  <a:lnTo>
                    <a:pt x="11642" y="22837"/>
                  </a:lnTo>
                  <a:lnTo>
                    <a:pt x="11642" y="7164"/>
                  </a:lnTo>
                  <a:cubicBezTo>
                    <a:pt x="11642" y="5821"/>
                    <a:pt x="12538" y="4478"/>
                    <a:pt x="13881" y="4478"/>
                  </a:cubicBezTo>
                  <a:lnTo>
                    <a:pt x="49256" y="4478"/>
                  </a:lnTo>
                  <a:cubicBezTo>
                    <a:pt x="50600" y="4478"/>
                    <a:pt x="51495" y="3582"/>
                    <a:pt x="51495" y="2239"/>
                  </a:cubicBezTo>
                  <a:cubicBezTo>
                    <a:pt x="51495" y="896"/>
                    <a:pt x="50600" y="0"/>
                    <a:pt x="49256" y="0"/>
                  </a:cubicBezTo>
                  <a:lnTo>
                    <a:pt x="9852" y="0"/>
                  </a:lnTo>
                  <a:cubicBezTo>
                    <a:pt x="8060" y="0"/>
                    <a:pt x="6717" y="1343"/>
                    <a:pt x="6717" y="3135"/>
                  </a:cubicBezTo>
                  <a:lnTo>
                    <a:pt x="6717" y="43435"/>
                  </a:lnTo>
                  <a:lnTo>
                    <a:pt x="2239" y="43435"/>
                  </a:lnTo>
                  <a:cubicBezTo>
                    <a:pt x="896" y="43435"/>
                    <a:pt x="0" y="44330"/>
                    <a:pt x="0" y="45674"/>
                  </a:cubicBezTo>
                  <a:cubicBezTo>
                    <a:pt x="0" y="47017"/>
                    <a:pt x="896" y="47913"/>
                    <a:pt x="2239" y="47913"/>
                  </a:cubicBezTo>
                  <a:lnTo>
                    <a:pt x="6717" y="47913"/>
                  </a:lnTo>
                  <a:lnTo>
                    <a:pt x="6717" y="76123"/>
                  </a:lnTo>
                  <a:cubicBezTo>
                    <a:pt x="6717" y="77466"/>
                    <a:pt x="7613" y="78362"/>
                    <a:pt x="8956" y="78362"/>
                  </a:cubicBezTo>
                  <a:cubicBezTo>
                    <a:pt x="10299" y="78362"/>
                    <a:pt x="11195" y="77466"/>
                    <a:pt x="11195" y="76123"/>
                  </a:cubicBezTo>
                  <a:lnTo>
                    <a:pt x="11195" y="47913"/>
                  </a:lnTo>
                  <a:lnTo>
                    <a:pt x="35823" y="47913"/>
                  </a:lnTo>
                  <a:cubicBezTo>
                    <a:pt x="37166" y="47913"/>
                    <a:pt x="38061" y="47017"/>
                    <a:pt x="38061" y="45674"/>
                  </a:cubicBezTo>
                  <a:cubicBezTo>
                    <a:pt x="38061" y="44330"/>
                    <a:pt x="37166" y="43435"/>
                    <a:pt x="35823" y="43435"/>
                  </a:cubicBezTo>
                  <a:lnTo>
                    <a:pt x="11195" y="43435"/>
                  </a:lnTo>
                  <a:lnTo>
                    <a:pt x="11195" y="26867"/>
                  </a:lnTo>
                  <a:lnTo>
                    <a:pt x="49256" y="26867"/>
                  </a:lnTo>
                  <a:cubicBezTo>
                    <a:pt x="50600" y="26867"/>
                    <a:pt x="51495" y="25971"/>
                    <a:pt x="51495" y="24628"/>
                  </a:cubicBezTo>
                  <a:cubicBezTo>
                    <a:pt x="51943" y="23732"/>
                    <a:pt x="51047" y="22837"/>
                    <a:pt x="49704" y="22837"/>
                  </a:cubicBezTo>
                  <a:close/>
                </a:path>
              </a:pathLst>
            </a:custGeom>
            <a:solidFill>
              <a:srgbClr val="231F20"/>
            </a:solidFill>
            <a:ln w="4474" cap="flat">
              <a:noFill/>
              <a:prstDash val="solid"/>
              <a:miter/>
            </a:ln>
          </p:spPr>
          <p:txBody>
            <a:bodyPr rtlCol="0" anchor="ctr"/>
            <a:lstStyle/>
            <a:p>
              <a:endParaRPr lang="en-US"/>
            </a:p>
          </p:txBody>
        </p:sp>
      </p:grpSp>
      <p:grpSp>
        <p:nvGrpSpPr>
          <p:cNvPr id="4640" name="Group 4639">
            <a:extLst>
              <a:ext uri="{FF2B5EF4-FFF2-40B4-BE49-F238E27FC236}">
                <a16:creationId xmlns:a16="http://schemas.microsoft.com/office/drawing/2014/main" id="{2168CC57-D63D-455E-BF05-11E27EE0481D}"/>
              </a:ext>
              <a:ext uri="{C183D7F6-B498-43B3-948B-1728B52AA6E4}">
                <adec:decorative xmlns:adec="http://schemas.microsoft.com/office/drawing/2017/decorative" val="1"/>
              </a:ext>
            </a:extLst>
          </p:cNvPr>
          <p:cNvGrpSpPr>
            <a:grpSpLocks noChangeAspect="1"/>
          </p:cNvGrpSpPr>
          <p:nvPr/>
        </p:nvGrpSpPr>
        <p:grpSpPr>
          <a:xfrm>
            <a:off x="4218243" y="4872283"/>
            <a:ext cx="152246" cy="152246"/>
            <a:chOff x="4269564" y="4141171"/>
            <a:chExt cx="152246" cy="152246"/>
          </a:xfrm>
        </p:grpSpPr>
        <p:sp>
          <p:nvSpPr>
            <p:cNvPr id="4641" name="Freeform: Shape 4640">
              <a:extLst>
                <a:ext uri="{FF2B5EF4-FFF2-40B4-BE49-F238E27FC236}">
                  <a16:creationId xmlns:a16="http://schemas.microsoft.com/office/drawing/2014/main" id="{49CC456E-CABD-41FA-8E80-DE8002A77C4E}"/>
                </a:ext>
              </a:extLst>
            </p:cNvPr>
            <p:cNvSpPr/>
            <p:nvPr/>
          </p:nvSpPr>
          <p:spPr>
            <a:xfrm>
              <a:off x="4269564" y="4141171"/>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lnTo>
                    <a:pt x="129857" y="22389"/>
                  </a:ln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7"/>
                    <a:pt x="12090" y="113289"/>
                    <a:pt x="25524" y="126722"/>
                  </a:cubicBezTo>
                  <a:cubicBezTo>
                    <a:pt x="38957" y="140156"/>
                    <a:pt x="56868" y="147768"/>
                    <a:pt x="76123" y="147768"/>
                  </a:cubicBezTo>
                  <a:cubicBezTo>
                    <a:pt x="95378" y="147768"/>
                    <a:pt x="113289" y="140156"/>
                    <a:pt x="126722" y="126722"/>
                  </a:cubicBezTo>
                  <a:cubicBezTo>
                    <a:pt x="140156" y="113289"/>
                    <a:pt x="147768" y="95377"/>
                    <a:pt x="147768" y="76123"/>
                  </a:cubicBezTo>
                  <a:cubicBezTo>
                    <a:pt x="147768" y="56868"/>
                    <a:pt x="140156" y="38957"/>
                    <a:pt x="126722" y="25524"/>
                  </a:cubicBezTo>
                  <a:cubicBezTo>
                    <a:pt x="112841" y="12090"/>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642" name="Freeform: Shape 4641">
              <a:extLst>
                <a:ext uri="{FF2B5EF4-FFF2-40B4-BE49-F238E27FC236}">
                  <a16:creationId xmlns:a16="http://schemas.microsoft.com/office/drawing/2014/main" id="{45B10398-D82E-40DC-B9C7-72A6DDBAE560}"/>
                </a:ext>
              </a:extLst>
            </p:cNvPr>
            <p:cNvSpPr/>
            <p:nvPr/>
          </p:nvSpPr>
          <p:spPr>
            <a:xfrm>
              <a:off x="4315958" y="4178965"/>
              <a:ext cx="58212" cy="80601"/>
            </a:xfrm>
            <a:custGeom>
              <a:avLst/>
              <a:gdLst>
                <a:gd name="connsiteX0" fmla="*/ 35550 w 58211"/>
                <a:gd name="connsiteY0" fmla="*/ 40568 h 80600"/>
                <a:gd name="connsiteX1" fmla="*/ 58835 w 58211"/>
                <a:gd name="connsiteY1" fmla="*/ 3402 h 80600"/>
                <a:gd name="connsiteX2" fmla="*/ 57940 w 58211"/>
                <a:gd name="connsiteY2" fmla="*/ 268 h 80600"/>
                <a:gd name="connsiteX3" fmla="*/ 54805 w 58211"/>
                <a:gd name="connsiteY3" fmla="*/ 1163 h 80600"/>
                <a:gd name="connsiteX4" fmla="*/ 31520 w 58211"/>
                <a:gd name="connsiteY4" fmla="*/ 38329 h 80600"/>
                <a:gd name="connsiteX5" fmla="*/ 27490 w 58211"/>
                <a:gd name="connsiteY5" fmla="*/ 38329 h 80600"/>
                <a:gd name="connsiteX6" fmla="*/ 4206 w 58211"/>
                <a:gd name="connsiteY6" fmla="*/ 1163 h 80600"/>
                <a:gd name="connsiteX7" fmla="*/ 1071 w 58211"/>
                <a:gd name="connsiteY7" fmla="*/ 268 h 80600"/>
                <a:gd name="connsiteX8" fmla="*/ 176 w 58211"/>
                <a:gd name="connsiteY8" fmla="*/ 3402 h 80600"/>
                <a:gd name="connsiteX9" fmla="*/ 23460 w 58211"/>
                <a:gd name="connsiteY9" fmla="*/ 40568 h 80600"/>
                <a:gd name="connsiteX10" fmla="*/ 25699 w 58211"/>
                <a:gd name="connsiteY10" fmla="*/ 42807 h 80600"/>
                <a:gd name="connsiteX11" fmla="*/ 5997 w 58211"/>
                <a:gd name="connsiteY11" fmla="*/ 42807 h 80600"/>
                <a:gd name="connsiteX12" fmla="*/ 3758 w 58211"/>
                <a:gd name="connsiteY12" fmla="*/ 45046 h 80600"/>
                <a:gd name="connsiteX13" fmla="*/ 5997 w 58211"/>
                <a:gd name="connsiteY13" fmla="*/ 47285 h 80600"/>
                <a:gd name="connsiteX14" fmla="*/ 27490 w 58211"/>
                <a:gd name="connsiteY14" fmla="*/ 47285 h 80600"/>
                <a:gd name="connsiteX15" fmla="*/ 27490 w 58211"/>
                <a:gd name="connsiteY15" fmla="*/ 56240 h 80600"/>
                <a:gd name="connsiteX16" fmla="*/ 5997 w 58211"/>
                <a:gd name="connsiteY16" fmla="*/ 56240 h 80600"/>
                <a:gd name="connsiteX17" fmla="*/ 3758 w 58211"/>
                <a:gd name="connsiteY17" fmla="*/ 58479 h 80600"/>
                <a:gd name="connsiteX18" fmla="*/ 5997 w 58211"/>
                <a:gd name="connsiteY18" fmla="*/ 60718 h 80600"/>
                <a:gd name="connsiteX19" fmla="*/ 27490 w 58211"/>
                <a:gd name="connsiteY19" fmla="*/ 60718 h 80600"/>
                <a:gd name="connsiteX20" fmla="*/ 27490 w 58211"/>
                <a:gd name="connsiteY20" fmla="*/ 82660 h 80600"/>
                <a:gd name="connsiteX21" fmla="*/ 29729 w 58211"/>
                <a:gd name="connsiteY21" fmla="*/ 84899 h 80600"/>
                <a:gd name="connsiteX22" fmla="*/ 31968 w 58211"/>
                <a:gd name="connsiteY22" fmla="*/ 82660 h 80600"/>
                <a:gd name="connsiteX23" fmla="*/ 31968 w 58211"/>
                <a:gd name="connsiteY23" fmla="*/ 60718 h 80600"/>
                <a:gd name="connsiteX24" fmla="*/ 53014 w 58211"/>
                <a:gd name="connsiteY24" fmla="*/ 60718 h 80600"/>
                <a:gd name="connsiteX25" fmla="*/ 55253 w 58211"/>
                <a:gd name="connsiteY25" fmla="*/ 58479 h 80600"/>
                <a:gd name="connsiteX26" fmla="*/ 53014 w 58211"/>
                <a:gd name="connsiteY26" fmla="*/ 56240 h 80600"/>
                <a:gd name="connsiteX27" fmla="*/ 31968 w 58211"/>
                <a:gd name="connsiteY27" fmla="*/ 56240 h 80600"/>
                <a:gd name="connsiteX28" fmla="*/ 31968 w 58211"/>
                <a:gd name="connsiteY28" fmla="*/ 47285 h 80600"/>
                <a:gd name="connsiteX29" fmla="*/ 53014 w 58211"/>
                <a:gd name="connsiteY29" fmla="*/ 47285 h 80600"/>
                <a:gd name="connsiteX30" fmla="*/ 55253 w 58211"/>
                <a:gd name="connsiteY30" fmla="*/ 45046 h 80600"/>
                <a:gd name="connsiteX31" fmla="*/ 53014 w 58211"/>
                <a:gd name="connsiteY31" fmla="*/ 42807 h 80600"/>
                <a:gd name="connsiteX32" fmla="*/ 33312 w 58211"/>
                <a:gd name="connsiteY32" fmla="*/ 42807 h 80600"/>
                <a:gd name="connsiteX33" fmla="*/ 35550 w 58211"/>
                <a:gd name="connsiteY33" fmla="*/ 40568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8211" h="80600">
                  <a:moveTo>
                    <a:pt x="35550" y="40568"/>
                  </a:moveTo>
                  <a:lnTo>
                    <a:pt x="58835" y="3402"/>
                  </a:lnTo>
                  <a:cubicBezTo>
                    <a:pt x="59283" y="2507"/>
                    <a:pt x="59283" y="1163"/>
                    <a:pt x="57940" y="268"/>
                  </a:cubicBezTo>
                  <a:cubicBezTo>
                    <a:pt x="57044" y="-180"/>
                    <a:pt x="55701" y="-180"/>
                    <a:pt x="54805" y="1163"/>
                  </a:cubicBezTo>
                  <a:lnTo>
                    <a:pt x="31520" y="38329"/>
                  </a:lnTo>
                  <a:cubicBezTo>
                    <a:pt x="30625" y="39672"/>
                    <a:pt x="28386" y="39672"/>
                    <a:pt x="27490" y="38329"/>
                  </a:cubicBezTo>
                  <a:lnTo>
                    <a:pt x="4206" y="1163"/>
                  </a:lnTo>
                  <a:cubicBezTo>
                    <a:pt x="3758" y="268"/>
                    <a:pt x="1967" y="-180"/>
                    <a:pt x="1071" y="268"/>
                  </a:cubicBezTo>
                  <a:cubicBezTo>
                    <a:pt x="176" y="716"/>
                    <a:pt x="-272" y="2507"/>
                    <a:pt x="176" y="3402"/>
                  </a:cubicBezTo>
                  <a:lnTo>
                    <a:pt x="23460" y="40568"/>
                  </a:lnTo>
                  <a:cubicBezTo>
                    <a:pt x="23908" y="41464"/>
                    <a:pt x="24804" y="41911"/>
                    <a:pt x="25699" y="42807"/>
                  </a:cubicBezTo>
                  <a:lnTo>
                    <a:pt x="5997" y="42807"/>
                  </a:lnTo>
                  <a:cubicBezTo>
                    <a:pt x="4653" y="42807"/>
                    <a:pt x="3758" y="43703"/>
                    <a:pt x="3758" y="45046"/>
                  </a:cubicBezTo>
                  <a:cubicBezTo>
                    <a:pt x="3758" y="46389"/>
                    <a:pt x="4653" y="47285"/>
                    <a:pt x="5997" y="47285"/>
                  </a:cubicBezTo>
                  <a:lnTo>
                    <a:pt x="27490" y="47285"/>
                  </a:lnTo>
                  <a:lnTo>
                    <a:pt x="27490" y="56240"/>
                  </a:lnTo>
                  <a:lnTo>
                    <a:pt x="5997" y="56240"/>
                  </a:lnTo>
                  <a:cubicBezTo>
                    <a:pt x="4653" y="56240"/>
                    <a:pt x="3758" y="57136"/>
                    <a:pt x="3758" y="58479"/>
                  </a:cubicBezTo>
                  <a:cubicBezTo>
                    <a:pt x="3758" y="59823"/>
                    <a:pt x="4653" y="60718"/>
                    <a:pt x="5997" y="60718"/>
                  </a:cubicBezTo>
                  <a:lnTo>
                    <a:pt x="27490" y="60718"/>
                  </a:lnTo>
                  <a:lnTo>
                    <a:pt x="27490" y="82660"/>
                  </a:lnTo>
                  <a:cubicBezTo>
                    <a:pt x="27490" y="84003"/>
                    <a:pt x="28386" y="84899"/>
                    <a:pt x="29729" y="84899"/>
                  </a:cubicBezTo>
                  <a:cubicBezTo>
                    <a:pt x="31073" y="84899"/>
                    <a:pt x="31968" y="84003"/>
                    <a:pt x="31968" y="82660"/>
                  </a:cubicBezTo>
                  <a:lnTo>
                    <a:pt x="31968" y="60718"/>
                  </a:lnTo>
                  <a:lnTo>
                    <a:pt x="53014" y="60718"/>
                  </a:lnTo>
                  <a:cubicBezTo>
                    <a:pt x="54357" y="60718"/>
                    <a:pt x="55253" y="59823"/>
                    <a:pt x="55253" y="58479"/>
                  </a:cubicBezTo>
                  <a:cubicBezTo>
                    <a:pt x="55253" y="57136"/>
                    <a:pt x="54357" y="56240"/>
                    <a:pt x="53014" y="56240"/>
                  </a:cubicBezTo>
                  <a:lnTo>
                    <a:pt x="31968" y="56240"/>
                  </a:lnTo>
                  <a:lnTo>
                    <a:pt x="31968" y="47285"/>
                  </a:lnTo>
                  <a:lnTo>
                    <a:pt x="53014" y="47285"/>
                  </a:lnTo>
                  <a:cubicBezTo>
                    <a:pt x="54357" y="47285"/>
                    <a:pt x="55253" y="46389"/>
                    <a:pt x="55253" y="45046"/>
                  </a:cubicBezTo>
                  <a:cubicBezTo>
                    <a:pt x="55253" y="43703"/>
                    <a:pt x="54357" y="42807"/>
                    <a:pt x="53014" y="42807"/>
                  </a:cubicBezTo>
                  <a:lnTo>
                    <a:pt x="33312" y="42807"/>
                  </a:lnTo>
                  <a:cubicBezTo>
                    <a:pt x="34207" y="42359"/>
                    <a:pt x="34655" y="41464"/>
                    <a:pt x="35550" y="40568"/>
                  </a:cubicBezTo>
                  <a:close/>
                </a:path>
              </a:pathLst>
            </a:custGeom>
            <a:solidFill>
              <a:srgbClr val="231F20"/>
            </a:solidFill>
            <a:ln w="4474" cap="flat">
              <a:noFill/>
              <a:prstDash val="solid"/>
              <a:miter/>
            </a:ln>
          </p:spPr>
          <p:txBody>
            <a:bodyPr rtlCol="0" anchor="ctr"/>
            <a:lstStyle/>
            <a:p>
              <a:endParaRPr lang="en-US"/>
            </a:p>
          </p:txBody>
        </p:sp>
      </p:grpSp>
      <p:grpSp>
        <p:nvGrpSpPr>
          <p:cNvPr id="4643" name="Group 4642">
            <a:extLst>
              <a:ext uri="{FF2B5EF4-FFF2-40B4-BE49-F238E27FC236}">
                <a16:creationId xmlns:a16="http://schemas.microsoft.com/office/drawing/2014/main" id="{22E8C22F-B060-46E3-A3FC-A487123E39F1}"/>
              </a:ext>
              <a:ext uri="{C183D7F6-B498-43B3-948B-1728B52AA6E4}">
                <adec:decorative xmlns:adec="http://schemas.microsoft.com/office/drawing/2017/decorative" val="1"/>
              </a:ext>
            </a:extLst>
          </p:cNvPr>
          <p:cNvGrpSpPr>
            <a:grpSpLocks noChangeAspect="1"/>
          </p:cNvGrpSpPr>
          <p:nvPr/>
        </p:nvGrpSpPr>
        <p:grpSpPr>
          <a:xfrm>
            <a:off x="1063172" y="5222449"/>
            <a:ext cx="148664" cy="152693"/>
            <a:chOff x="1114493" y="4491337"/>
            <a:chExt cx="148664" cy="152693"/>
          </a:xfrm>
        </p:grpSpPr>
        <p:sp>
          <p:nvSpPr>
            <p:cNvPr id="4644" name="Freeform: Shape 4643">
              <a:extLst>
                <a:ext uri="{FF2B5EF4-FFF2-40B4-BE49-F238E27FC236}">
                  <a16:creationId xmlns:a16="http://schemas.microsoft.com/office/drawing/2014/main" id="{8F539225-196E-4C58-8F0C-23F177F0FE75}"/>
                </a:ext>
              </a:extLst>
            </p:cNvPr>
            <p:cNvSpPr/>
            <p:nvPr/>
          </p:nvSpPr>
          <p:spPr>
            <a:xfrm>
              <a:off x="1114493" y="4585818"/>
              <a:ext cx="58212" cy="58212"/>
            </a:xfrm>
            <a:custGeom>
              <a:avLst/>
              <a:gdLst>
                <a:gd name="connsiteX0" fmla="*/ 55973 w 58211"/>
                <a:gd name="connsiteY0" fmla="*/ 58212 h 58211"/>
                <a:gd name="connsiteX1" fmla="*/ 7165 w 58211"/>
                <a:gd name="connsiteY1" fmla="*/ 58212 h 58211"/>
                <a:gd name="connsiteX2" fmla="*/ 0 w 58211"/>
                <a:gd name="connsiteY2" fmla="*/ 51047 h 58211"/>
                <a:gd name="connsiteX3" fmla="*/ 0 w 58211"/>
                <a:gd name="connsiteY3" fmla="*/ 2239 h 58211"/>
                <a:gd name="connsiteX4" fmla="*/ 2239 w 58211"/>
                <a:gd name="connsiteY4" fmla="*/ 0 h 58211"/>
                <a:gd name="connsiteX5" fmla="*/ 4478 w 58211"/>
                <a:gd name="connsiteY5" fmla="*/ 2239 h 58211"/>
                <a:gd name="connsiteX6" fmla="*/ 4478 w 58211"/>
                <a:gd name="connsiteY6" fmla="*/ 51047 h 58211"/>
                <a:gd name="connsiteX7" fmla="*/ 7165 w 58211"/>
                <a:gd name="connsiteY7" fmla="*/ 53734 h 58211"/>
                <a:gd name="connsiteX8" fmla="*/ 55973 w 58211"/>
                <a:gd name="connsiteY8" fmla="*/ 53734 h 58211"/>
                <a:gd name="connsiteX9" fmla="*/ 58212 w 58211"/>
                <a:gd name="connsiteY9" fmla="*/ 55973 h 58211"/>
                <a:gd name="connsiteX10" fmla="*/ 55973 w 58211"/>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211" h="58211">
                  <a:moveTo>
                    <a:pt x="55973" y="58212"/>
                  </a:moveTo>
                  <a:lnTo>
                    <a:pt x="7165" y="58212"/>
                  </a:lnTo>
                  <a:cubicBezTo>
                    <a:pt x="3134" y="58212"/>
                    <a:pt x="0" y="55077"/>
                    <a:pt x="0" y="51047"/>
                  </a:cubicBezTo>
                  <a:lnTo>
                    <a:pt x="0" y="2239"/>
                  </a:lnTo>
                  <a:cubicBezTo>
                    <a:pt x="0" y="896"/>
                    <a:pt x="896" y="0"/>
                    <a:pt x="2239" y="0"/>
                  </a:cubicBezTo>
                  <a:cubicBezTo>
                    <a:pt x="3582" y="0"/>
                    <a:pt x="4478" y="896"/>
                    <a:pt x="4478" y="2239"/>
                  </a:cubicBezTo>
                  <a:lnTo>
                    <a:pt x="4478" y="51047"/>
                  </a:lnTo>
                  <a:cubicBezTo>
                    <a:pt x="4478" y="52391"/>
                    <a:pt x="5373" y="53734"/>
                    <a:pt x="7165" y="53734"/>
                  </a:cubicBezTo>
                  <a:lnTo>
                    <a:pt x="55973" y="53734"/>
                  </a:lnTo>
                  <a:cubicBezTo>
                    <a:pt x="57316" y="53734"/>
                    <a:pt x="58212" y="54629"/>
                    <a:pt x="58212" y="55973"/>
                  </a:cubicBezTo>
                  <a:cubicBezTo>
                    <a:pt x="58212" y="57316"/>
                    <a:pt x="57316" y="58212"/>
                    <a:pt x="55973" y="58212"/>
                  </a:cubicBezTo>
                  <a:close/>
                </a:path>
              </a:pathLst>
            </a:custGeom>
            <a:solidFill>
              <a:srgbClr val="231F20"/>
            </a:solidFill>
            <a:ln w="4474" cap="flat">
              <a:noFill/>
              <a:prstDash val="solid"/>
              <a:miter/>
            </a:ln>
          </p:spPr>
          <p:txBody>
            <a:bodyPr rtlCol="0" anchor="ctr"/>
            <a:lstStyle/>
            <a:p>
              <a:endParaRPr lang="en-US"/>
            </a:p>
          </p:txBody>
        </p:sp>
        <p:sp>
          <p:nvSpPr>
            <p:cNvPr id="4645" name="Freeform: Shape 4644">
              <a:extLst>
                <a:ext uri="{FF2B5EF4-FFF2-40B4-BE49-F238E27FC236}">
                  <a16:creationId xmlns:a16="http://schemas.microsoft.com/office/drawing/2014/main" id="{C99E6677-DBA4-4540-BA3B-4C41B12E4726}"/>
                </a:ext>
              </a:extLst>
            </p:cNvPr>
            <p:cNvSpPr/>
            <p:nvPr/>
          </p:nvSpPr>
          <p:spPr>
            <a:xfrm>
              <a:off x="1114941" y="4491337"/>
              <a:ext cx="53734" cy="58212"/>
            </a:xfrm>
            <a:custGeom>
              <a:avLst/>
              <a:gdLst>
                <a:gd name="connsiteX0" fmla="*/ 2239 w 53733"/>
                <a:gd name="connsiteY0" fmla="*/ 58212 h 58211"/>
                <a:gd name="connsiteX1" fmla="*/ 0 w 53733"/>
                <a:gd name="connsiteY1" fmla="*/ 55973 h 58211"/>
                <a:gd name="connsiteX2" fmla="*/ 0 w 53733"/>
                <a:gd name="connsiteY2" fmla="*/ 7164 h 58211"/>
                <a:gd name="connsiteX3" fmla="*/ 7165 w 53733"/>
                <a:gd name="connsiteY3" fmla="*/ 0 h 58211"/>
                <a:gd name="connsiteX4" fmla="*/ 55525 w 53733"/>
                <a:gd name="connsiteY4" fmla="*/ 0 h 58211"/>
                <a:gd name="connsiteX5" fmla="*/ 57764 w 53733"/>
                <a:gd name="connsiteY5" fmla="*/ 2239 h 58211"/>
                <a:gd name="connsiteX6" fmla="*/ 55525 w 53733"/>
                <a:gd name="connsiteY6" fmla="*/ 4478 h 58211"/>
                <a:gd name="connsiteX7" fmla="*/ 6717 w 53733"/>
                <a:gd name="connsiteY7" fmla="*/ 4478 h 58211"/>
                <a:gd name="connsiteX8" fmla="*/ 4030 w 53733"/>
                <a:gd name="connsiteY8" fmla="*/ 7164 h 58211"/>
                <a:gd name="connsiteX9" fmla="*/ 4030 w 53733"/>
                <a:gd name="connsiteY9" fmla="*/ 55973 h 58211"/>
                <a:gd name="connsiteX10" fmla="*/ 2239 w 53733"/>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33" h="58211">
                  <a:moveTo>
                    <a:pt x="2239" y="58212"/>
                  </a:moveTo>
                  <a:cubicBezTo>
                    <a:pt x="896" y="58212"/>
                    <a:pt x="0" y="57316"/>
                    <a:pt x="0" y="55973"/>
                  </a:cubicBezTo>
                  <a:lnTo>
                    <a:pt x="0" y="7164"/>
                  </a:lnTo>
                  <a:cubicBezTo>
                    <a:pt x="0" y="3135"/>
                    <a:pt x="3134" y="0"/>
                    <a:pt x="7165" y="0"/>
                  </a:cubicBezTo>
                  <a:lnTo>
                    <a:pt x="55525" y="0"/>
                  </a:lnTo>
                  <a:cubicBezTo>
                    <a:pt x="56868" y="0"/>
                    <a:pt x="57764" y="896"/>
                    <a:pt x="57764" y="2239"/>
                  </a:cubicBezTo>
                  <a:cubicBezTo>
                    <a:pt x="57764" y="3582"/>
                    <a:pt x="56868" y="4478"/>
                    <a:pt x="55525" y="4478"/>
                  </a:cubicBezTo>
                  <a:lnTo>
                    <a:pt x="6717" y="4478"/>
                  </a:lnTo>
                  <a:cubicBezTo>
                    <a:pt x="5373" y="4478"/>
                    <a:pt x="4030" y="5373"/>
                    <a:pt x="4030" y="7164"/>
                  </a:cubicBezTo>
                  <a:lnTo>
                    <a:pt x="4030" y="55973"/>
                  </a:lnTo>
                  <a:cubicBezTo>
                    <a:pt x="4478" y="57316"/>
                    <a:pt x="3582" y="58212"/>
                    <a:pt x="2239" y="58212"/>
                  </a:cubicBezTo>
                  <a:close/>
                </a:path>
              </a:pathLst>
            </a:custGeom>
            <a:solidFill>
              <a:srgbClr val="231F20"/>
            </a:solidFill>
            <a:ln w="4474" cap="flat">
              <a:noFill/>
              <a:prstDash val="solid"/>
              <a:miter/>
            </a:ln>
          </p:spPr>
          <p:txBody>
            <a:bodyPr rtlCol="0" anchor="ctr"/>
            <a:lstStyle/>
            <a:p>
              <a:endParaRPr lang="en-US"/>
            </a:p>
          </p:txBody>
        </p:sp>
        <p:sp>
          <p:nvSpPr>
            <p:cNvPr id="4646" name="Freeform: Shape 4645">
              <a:extLst>
                <a:ext uri="{FF2B5EF4-FFF2-40B4-BE49-F238E27FC236}">
                  <a16:creationId xmlns:a16="http://schemas.microsoft.com/office/drawing/2014/main" id="{E9629B59-66FE-45EF-AD3B-6519A96D3E2B}"/>
                </a:ext>
              </a:extLst>
            </p:cNvPr>
            <p:cNvSpPr/>
            <p:nvPr/>
          </p:nvSpPr>
          <p:spPr>
            <a:xfrm>
              <a:off x="1209423" y="4491337"/>
              <a:ext cx="53734" cy="58212"/>
            </a:xfrm>
            <a:custGeom>
              <a:avLst/>
              <a:gdLst>
                <a:gd name="connsiteX0" fmla="*/ 55525 w 53733"/>
                <a:gd name="connsiteY0" fmla="*/ 58212 h 58211"/>
                <a:gd name="connsiteX1" fmla="*/ 53286 w 53733"/>
                <a:gd name="connsiteY1" fmla="*/ 55973 h 58211"/>
                <a:gd name="connsiteX2" fmla="*/ 53286 w 53733"/>
                <a:gd name="connsiteY2" fmla="*/ 7164 h 58211"/>
                <a:gd name="connsiteX3" fmla="*/ 51047 w 53733"/>
                <a:gd name="connsiteY3" fmla="*/ 4478 h 58211"/>
                <a:gd name="connsiteX4" fmla="*/ 2239 w 53733"/>
                <a:gd name="connsiteY4" fmla="*/ 4478 h 58211"/>
                <a:gd name="connsiteX5" fmla="*/ 0 w 53733"/>
                <a:gd name="connsiteY5" fmla="*/ 2239 h 58211"/>
                <a:gd name="connsiteX6" fmla="*/ 2239 w 53733"/>
                <a:gd name="connsiteY6" fmla="*/ 0 h 58211"/>
                <a:gd name="connsiteX7" fmla="*/ 50599 w 53733"/>
                <a:gd name="connsiteY7" fmla="*/ 0 h 58211"/>
                <a:gd name="connsiteX8" fmla="*/ 57316 w 53733"/>
                <a:gd name="connsiteY8" fmla="*/ 7164 h 58211"/>
                <a:gd name="connsiteX9" fmla="*/ 57316 w 53733"/>
                <a:gd name="connsiteY9" fmla="*/ 55973 h 58211"/>
                <a:gd name="connsiteX10" fmla="*/ 55525 w 53733"/>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33" h="58211">
                  <a:moveTo>
                    <a:pt x="55525" y="58212"/>
                  </a:moveTo>
                  <a:cubicBezTo>
                    <a:pt x="54182" y="58212"/>
                    <a:pt x="53286" y="57316"/>
                    <a:pt x="53286" y="55973"/>
                  </a:cubicBezTo>
                  <a:lnTo>
                    <a:pt x="53286" y="7164"/>
                  </a:lnTo>
                  <a:cubicBezTo>
                    <a:pt x="53286" y="5821"/>
                    <a:pt x="52390" y="4478"/>
                    <a:pt x="51047" y="4478"/>
                  </a:cubicBezTo>
                  <a:lnTo>
                    <a:pt x="2239" y="4478"/>
                  </a:lnTo>
                  <a:cubicBezTo>
                    <a:pt x="896" y="4478"/>
                    <a:pt x="0" y="3582"/>
                    <a:pt x="0" y="2239"/>
                  </a:cubicBezTo>
                  <a:cubicBezTo>
                    <a:pt x="0" y="896"/>
                    <a:pt x="896" y="0"/>
                    <a:pt x="2239" y="0"/>
                  </a:cubicBezTo>
                  <a:lnTo>
                    <a:pt x="50599" y="0"/>
                  </a:lnTo>
                  <a:cubicBezTo>
                    <a:pt x="54629" y="0"/>
                    <a:pt x="57316" y="3135"/>
                    <a:pt x="57316" y="7164"/>
                  </a:cubicBezTo>
                  <a:lnTo>
                    <a:pt x="57316" y="55973"/>
                  </a:lnTo>
                  <a:cubicBezTo>
                    <a:pt x="57764" y="57316"/>
                    <a:pt x="56868" y="58212"/>
                    <a:pt x="55525" y="58212"/>
                  </a:cubicBezTo>
                  <a:close/>
                </a:path>
              </a:pathLst>
            </a:custGeom>
            <a:solidFill>
              <a:srgbClr val="231F20"/>
            </a:solidFill>
            <a:ln w="4474" cap="flat">
              <a:noFill/>
              <a:prstDash val="solid"/>
              <a:miter/>
            </a:ln>
          </p:spPr>
          <p:txBody>
            <a:bodyPr rtlCol="0" anchor="ctr"/>
            <a:lstStyle/>
            <a:p>
              <a:endParaRPr lang="en-US"/>
            </a:p>
          </p:txBody>
        </p:sp>
        <p:sp>
          <p:nvSpPr>
            <p:cNvPr id="4647" name="Freeform: Shape 4646">
              <a:extLst>
                <a:ext uri="{FF2B5EF4-FFF2-40B4-BE49-F238E27FC236}">
                  <a16:creationId xmlns:a16="http://schemas.microsoft.com/office/drawing/2014/main" id="{99C6CB65-CCD9-4C64-A9BA-AE28EBD63536}"/>
                </a:ext>
              </a:extLst>
            </p:cNvPr>
            <p:cNvSpPr/>
            <p:nvPr/>
          </p:nvSpPr>
          <p:spPr>
            <a:xfrm>
              <a:off x="1208975" y="4585818"/>
              <a:ext cx="53734" cy="58212"/>
            </a:xfrm>
            <a:custGeom>
              <a:avLst/>
              <a:gdLst>
                <a:gd name="connsiteX0" fmla="*/ 51047 w 53733"/>
                <a:gd name="connsiteY0" fmla="*/ 58212 h 58211"/>
                <a:gd name="connsiteX1" fmla="*/ 2239 w 53733"/>
                <a:gd name="connsiteY1" fmla="*/ 58212 h 58211"/>
                <a:gd name="connsiteX2" fmla="*/ 0 w 53733"/>
                <a:gd name="connsiteY2" fmla="*/ 55973 h 58211"/>
                <a:gd name="connsiteX3" fmla="*/ 2239 w 53733"/>
                <a:gd name="connsiteY3" fmla="*/ 53734 h 58211"/>
                <a:gd name="connsiteX4" fmla="*/ 51047 w 53733"/>
                <a:gd name="connsiteY4" fmla="*/ 53734 h 58211"/>
                <a:gd name="connsiteX5" fmla="*/ 53286 w 53733"/>
                <a:gd name="connsiteY5" fmla="*/ 51047 h 58211"/>
                <a:gd name="connsiteX6" fmla="*/ 53286 w 53733"/>
                <a:gd name="connsiteY6" fmla="*/ 2239 h 58211"/>
                <a:gd name="connsiteX7" fmla="*/ 55525 w 53733"/>
                <a:gd name="connsiteY7" fmla="*/ 0 h 58211"/>
                <a:gd name="connsiteX8" fmla="*/ 57764 w 53733"/>
                <a:gd name="connsiteY8" fmla="*/ 2239 h 58211"/>
                <a:gd name="connsiteX9" fmla="*/ 57764 w 53733"/>
                <a:gd name="connsiteY9" fmla="*/ 51047 h 58211"/>
                <a:gd name="connsiteX10" fmla="*/ 51047 w 53733"/>
                <a:gd name="connsiteY10" fmla="*/ 58212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33" h="58211">
                  <a:moveTo>
                    <a:pt x="51047" y="58212"/>
                  </a:moveTo>
                  <a:lnTo>
                    <a:pt x="2239" y="58212"/>
                  </a:lnTo>
                  <a:cubicBezTo>
                    <a:pt x="896" y="58212"/>
                    <a:pt x="0" y="57316"/>
                    <a:pt x="0" y="55973"/>
                  </a:cubicBezTo>
                  <a:cubicBezTo>
                    <a:pt x="0" y="54629"/>
                    <a:pt x="896" y="53734"/>
                    <a:pt x="2239" y="53734"/>
                  </a:cubicBezTo>
                  <a:lnTo>
                    <a:pt x="51047" y="53734"/>
                  </a:lnTo>
                  <a:cubicBezTo>
                    <a:pt x="52390" y="53734"/>
                    <a:pt x="53286" y="52838"/>
                    <a:pt x="53286" y="51047"/>
                  </a:cubicBezTo>
                  <a:lnTo>
                    <a:pt x="53286" y="2239"/>
                  </a:lnTo>
                  <a:cubicBezTo>
                    <a:pt x="53286" y="896"/>
                    <a:pt x="54182" y="0"/>
                    <a:pt x="55525" y="0"/>
                  </a:cubicBezTo>
                  <a:cubicBezTo>
                    <a:pt x="56868" y="0"/>
                    <a:pt x="57764" y="896"/>
                    <a:pt x="57764" y="2239"/>
                  </a:cubicBezTo>
                  <a:lnTo>
                    <a:pt x="57764" y="51047"/>
                  </a:lnTo>
                  <a:cubicBezTo>
                    <a:pt x="58212" y="55077"/>
                    <a:pt x="55077" y="58212"/>
                    <a:pt x="51047" y="58212"/>
                  </a:cubicBezTo>
                  <a:close/>
                </a:path>
              </a:pathLst>
            </a:custGeom>
            <a:solidFill>
              <a:srgbClr val="231F20"/>
            </a:solidFill>
            <a:ln w="4474" cap="flat">
              <a:noFill/>
              <a:prstDash val="solid"/>
              <a:miter/>
            </a:ln>
          </p:spPr>
          <p:txBody>
            <a:bodyPr rtlCol="0" anchor="ctr"/>
            <a:lstStyle/>
            <a:p>
              <a:endParaRPr lang="en-US"/>
            </a:p>
          </p:txBody>
        </p:sp>
      </p:grpSp>
      <p:sp>
        <p:nvSpPr>
          <p:cNvPr id="4648" name="Freeform: Shape 4647">
            <a:extLst>
              <a:ext uri="{FF2B5EF4-FFF2-40B4-BE49-F238E27FC236}">
                <a16:creationId xmlns:a16="http://schemas.microsoft.com/office/drawing/2014/main" id="{32EC2F10-2C65-4E3D-B346-BE2F43263A8B}"/>
              </a:ext>
              <a:ext uri="{C183D7F6-B498-43B3-948B-1728B52AA6E4}">
                <adec:decorative xmlns:adec="http://schemas.microsoft.com/office/drawing/2017/decorative" val="1"/>
              </a:ext>
            </a:extLst>
          </p:cNvPr>
          <p:cNvSpPr>
            <a:spLocks noChangeAspect="1"/>
          </p:cNvSpPr>
          <p:nvPr/>
        </p:nvSpPr>
        <p:spPr>
          <a:xfrm>
            <a:off x="2135809" y="5222728"/>
            <a:ext cx="138812" cy="147768"/>
          </a:xfrm>
          <a:custGeom>
            <a:avLst/>
            <a:gdLst>
              <a:gd name="connsiteX0" fmla="*/ 139061 w 138812"/>
              <a:gd name="connsiteY0" fmla="*/ 104949 h 147767"/>
              <a:gd name="connsiteX1" fmla="*/ 139061 w 138812"/>
              <a:gd name="connsiteY1" fmla="*/ 104501 h 147767"/>
              <a:gd name="connsiteX2" fmla="*/ 139061 w 138812"/>
              <a:gd name="connsiteY2" fmla="*/ 33751 h 147767"/>
              <a:gd name="connsiteX3" fmla="*/ 139061 w 138812"/>
              <a:gd name="connsiteY3" fmla="*/ 6885 h 147767"/>
              <a:gd name="connsiteX4" fmla="*/ 136374 w 138812"/>
              <a:gd name="connsiteY4" fmla="*/ 1511 h 147767"/>
              <a:gd name="connsiteX5" fmla="*/ 130553 w 138812"/>
              <a:gd name="connsiteY5" fmla="*/ 168 h 147767"/>
              <a:gd name="connsiteX6" fmla="*/ 45474 w 138812"/>
              <a:gd name="connsiteY6" fmla="*/ 19423 h 147767"/>
              <a:gd name="connsiteX7" fmla="*/ 40101 w 138812"/>
              <a:gd name="connsiteY7" fmla="*/ 26139 h 147767"/>
              <a:gd name="connsiteX8" fmla="*/ 40101 w 138812"/>
              <a:gd name="connsiteY8" fmla="*/ 56141 h 147767"/>
              <a:gd name="connsiteX9" fmla="*/ 40101 w 138812"/>
              <a:gd name="connsiteY9" fmla="*/ 124651 h 147767"/>
              <a:gd name="connsiteX10" fmla="*/ 39205 w 138812"/>
              <a:gd name="connsiteY10" fmla="*/ 123756 h 147767"/>
              <a:gd name="connsiteX11" fmla="*/ 19055 w 138812"/>
              <a:gd name="connsiteY11" fmla="*/ 121965 h 147767"/>
              <a:gd name="connsiteX12" fmla="*/ 248 w 138812"/>
              <a:gd name="connsiteY12" fmla="*/ 142115 h 147767"/>
              <a:gd name="connsiteX13" fmla="*/ 5622 w 138812"/>
              <a:gd name="connsiteY13" fmla="*/ 149279 h 147767"/>
              <a:gd name="connsiteX14" fmla="*/ 17264 w 138812"/>
              <a:gd name="connsiteY14" fmla="*/ 151966 h 147767"/>
              <a:gd name="connsiteX15" fmla="*/ 25772 w 138812"/>
              <a:gd name="connsiteY15" fmla="*/ 150623 h 147767"/>
              <a:gd name="connsiteX16" fmla="*/ 44579 w 138812"/>
              <a:gd name="connsiteY16" fmla="*/ 130920 h 147767"/>
              <a:gd name="connsiteX17" fmla="*/ 44579 w 138812"/>
              <a:gd name="connsiteY17" fmla="*/ 130920 h 147767"/>
              <a:gd name="connsiteX18" fmla="*/ 44579 w 138812"/>
              <a:gd name="connsiteY18" fmla="*/ 50319 h 147767"/>
              <a:gd name="connsiteX19" fmla="*/ 46370 w 138812"/>
              <a:gd name="connsiteY19" fmla="*/ 48081 h 147767"/>
              <a:gd name="connsiteX20" fmla="*/ 131448 w 138812"/>
              <a:gd name="connsiteY20" fmla="*/ 28826 h 147767"/>
              <a:gd name="connsiteX21" fmla="*/ 133240 w 138812"/>
              <a:gd name="connsiteY21" fmla="*/ 29274 h 147767"/>
              <a:gd name="connsiteX22" fmla="*/ 134135 w 138812"/>
              <a:gd name="connsiteY22" fmla="*/ 31065 h 147767"/>
              <a:gd name="connsiteX23" fmla="*/ 134135 w 138812"/>
              <a:gd name="connsiteY23" fmla="*/ 96889 h 147767"/>
              <a:gd name="connsiteX24" fmla="*/ 132792 w 138812"/>
              <a:gd name="connsiteY24" fmla="*/ 95993 h 147767"/>
              <a:gd name="connsiteX25" fmla="*/ 112642 w 138812"/>
              <a:gd name="connsiteY25" fmla="*/ 94202 h 147767"/>
              <a:gd name="connsiteX26" fmla="*/ 93835 w 138812"/>
              <a:gd name="connsiteY26" fmla="*/ 114352 h 147767"/>
              <a:gd name="connsiteX27" fmla="*/ 99208 w 138812"/>
              <a:gd name="connsiteY27" fmla="*/ 121517 h 147767"/>
              <a:gd name="connsiteX28" fmla="*/ 110850 w 138812"/>
              <a:gd name="connsiteY28" fmla="*/ 124203 h 147767"/>
              <a:gd name="connsiteX29" fmla="*/ 119358 w 138812"/>
              <a:gd name="connsiteY29" fmla="*/ 122860 h 147767"/>
              <a:gd name="connsiteX30" fmla="*/ 139061 w 138812"/>
              <a:gd name="connsiteY30" fmla="*/ 104949 h 147767"/>
              <a:gd name="connsiteX31" fmla="*/ 25324 w 138812"/>
              <a:gd name="connsiteY31" fmla="*/ 146593 h 147767"/>
              <a:gd name="connsiteX32" fmla="*/ 8756 w 138812"/>
              <a:gd name="connsiteY32" fmla="*/ 145249 h 147767"/>
              <a:gd name="connsiteX33" fmla="*/ 5174 w 138812"/>
              <a:gd name="connsiteY33" fmla="*/ 140771 h 147767"/>
              <a:gd name="connsiteX34" fmla="*/ 20846 w 138812"/>
              <a:gd name="connsiteY34" fmla="*/ 125995 h 147767"/>
              <a:gd name="connsiteX35" fmla="*/ 28011 w 138812"/>
              <a:gd name="connsiteY35" fmla="*/ 125099 h 147767"/>
              <a:gd name="connsiteX36" fmla="*/ 37414 w 138812"/>
              <a:gd name="connsiteY36" fmla="*/ 127338 h 147767"/>
              <a:gd name="connsiteX37" fmla="*/ 40997 w 138812"/>
              <a:gd name="connsiteY37" fmla="*/ 131816 h 147767"/>
              <a:gd name="connsiteX38" fmla="*/ 25324 w 138812"/>
              <a:gd name="connsiteY38" fmla="*/ 146593 h 147767"/>
              <a:gd name="connsiteX39" fmla="*/ 131001 w 138812"/>
              <a:gd name="connsiteY39" fmla="*/ 25244 h 147767"/>
              <a:gd name="connsiteX40" fmla="*/ 45922 w 138812"/>
              <a:gd name="connsiteY40" fmla="*/ 44498 h 147767"/>
              <a:gd name="connsiteX41" fmla="*/ 45027 w 138812"/>
              <a:gd name="connsiteY41" fmla="*/ 44946 h 147767"/>
              <a:gd name="connsiteX42" fmla="*/ 45027 w 138812"/>
              <a:gd name="connsiteY42" fmla="*/ 26139 h 147767"/>
              <a:gd name="connsiteX43" fmla="*/ 46818 w 138812"/>
              <a:gd name="connsiteY43" fmla="*/ 23901 h 147767"/>
              <a:gd name="connsiteX44" fmla="*/ 131896 w 138812"/>
              <a:gd name="connsiteY44" fmla="*/ 4646 h 147767"/>
              <a:gd name="connsiteX45" fmla="*/ 133687 w 138812"/>
              <a:gd name="connsiteY45" fmla="*/ 5094 h 147767"/>
              <a:gd name="connsiteX46" fmla="*/ 134583 w 138812"/>
              <a:gd name="connsiteY46" fmla="*/ 6885 h 147767"/>
              <a:gd name="connsiteX47" fmla="*/ 134583 w 138812"/>
              <a:gd name="connsiteY47" fmla="*/ 25691 h 147767"/>
              <a:gd name="connsiteX48" fmla="*/ 131001 w 138812"/>
              <a:gd name="connsiteY48" fmla="*/ 25244 h 147767"/>
              <a:gd name="connsiteX49" fmla="*/ 119358 w 138812"/>
              <a:gd name="connsiteY49" fmla="*/ 119726 h 147767"/>
              <a:gd name="connsiteX50" fmla="*/ 102790 w 138812"/>
              <a:gd name="connsiteY50" fmla="*/ 118382 h 147767"/>
              <a:gd name="connsiteX51" fmla="*/ 99208 w 138812"/>
              <a:gd name="connsiteY51" fmla="*/ 113905 h 147767"/>
              <a:gd name="connsiteX52" fmla="*/ 114881 w 138812"/>
              <a:gd name="connsiteY52" fmla="*/ 99128 h 147767"/>
              <a:gd name="connsiteX53" fmla="*/ 122045 w 138812"/>
              <a:gd name="connsiteY53" fmla="*/ 98232 h 147767"/>
              <a:gd name="connsiteX54" fmla="*/ 131448 w 138812"/>
              <a:gd name="connsiteY54" fmla="*/ 100471 h 147767"/>
              <a:gd name="connsiteX55" fmla="*/ 135031 w 138812"/>
              <a:gd name="connsiteY55" fmla="*/ 104949 h 147767"/>
              <a:gd name="connsiteX56" fmla="*/ 119358 w 138812"/>
              <a:gd name="connsiteY56" fmla="*/ 11972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8812" h="147767">
                <a:moveTo>
                  <a:pt x="139061" y="104949"/>
                </a:moveTo>
                <a:cubicBezTo>
                  <a:pt x="139061" y="104949"/>
                  <a:pt x="139061" y="104501"/>
                  <a:pt x="139061" y="104501"/>
                </a:cubicBezTo>
                <a:lnTo>
                  <a:pt x="139061" y="33751"/>
                </a:lnTo>
                <a:lnTo>
                  <a:pt x="139061" y="6885"/>
                </a:lnTo>
                <a:cubicBezTo>
                  <a:pt x="139061" y="4646"/>
                  <a:pt x="138165" y="2855"/>
                  <a:pt x="136374" y="1511"/>
                </a:cubicBezTo>
                <a:cubicBezTo>
                  <a:pt x="134583" y="168"/>
                  <a:pt x="132792" y="-280"/>
                  <a:pt x="130553" y="168"/>
                </a:cubicBezTo>
                <a:lnTo>
                  <a:pt x="45474" y="19423"/>
                </a:lnTo>
                <a:cubicBezTo>
                  <a:pt x="42340" y="20318"/>
                  <a:pt x="40101" y="23005"/>
                  <a:pt x="40101" y="26139"/>
                </a:cubicBezTo>
                <a:lnTo>
                  <a:pt x="40101" y="56141"/>
                </a:lnTo>
                <a:lnTo>
                  <a:pt x="40101" y="124651"/>
                </a:lnTo>
                <a:cubicBezTo>
                  <a:pt x="39653" y="124203"/>
                  <a:pt x="39205" y="124203"/>
                  <a:pt x="39205" y="123756"/>
                </a:cubicBezTo>
                <a:cubicBezTo>
                  <a:pt x="34280" y="120621"/>
                  <a:pt x="26668" y="120174"/>
                  <a:pt x="19055" y="121965"/>
                </a:cubicBezTo>
                <a:cubicBezTo>
                  <a:pt x="6517" y="125099"/>
                  <a:pt x="-1543" y="134055"/>
                  <a:pt x="248" y="142115"/>
                </a:cubicBezTo>
                <a:cubicBezTo>
                  <a:pt x="1144" y="144802"/>
                  <a:pt x="2935" y="147488"/>
                  <a:pt x="5622" y="149279"/>
                </a:cubicBezTo>
                <a:cubicBezTo>
                  <a:pt x="8756" y="151070"/>
                  <a:pt x="12786" y="151966"/>
                  <a:pt x="17264" y="151966"/>
                </a:cubicBezTo>
                <a:cubicBezTo>
                  <a:pt x="19951" y="151966"/>
                  <a:pt x="23085" y="151518"/>
                  <a:pt x="25772" y="150623"/>
                </a:cubicBezTo>
                <a:cubicBezTo>
                  <a:pt x="37862" y="147488"/>
                  <a:pt x="45922" y="138980"/>
                  <a:pt x="44579" y="130920"/>
                </a:cubicBezTo>
                <a:cubicBezTo>
                  <a:pt x="44579" y="130920"/>
                  <a:pt x="44579" y="130920"/>
                  <a:pt x="44579" y="130920"/>
                </a:cubicBezTo>
                <a:lnTo>
                  <a:pt x="44579" y="50319"/>
                </a:lnTo>
                <a:cubicBezTo>
                  <a:pt x="44579" y="49424"/>
                  <a:pt x="45474" y="48529"/>
                  <a:pt x="46370" y="48081"/>
                </a:cubicBezTo>
                <a:lnTo>
                  <a:pt x="131448" y="28826"/>
                </a:lnTo>
                <a:cubicBezTo>
                  <a:pt x="131896" y="28826"/>
                  <a:pt x="132792" y="28826"/>
                  <a:pt x="133240" y="29274"/>
                </a:cubicBezTo>
                <a:cubicBezTo>
                  <a:pt x="133687" y="29722"/>
                  <a:pt x="134135" y="30169"/>
                  <a:pt x="134135" y="31065"/>
                </a:cubicBezTo>
                <a:lnTo>
                  <a:pt x="134135" y="96889"/>
                </a:lnTo>
                <a:cubicBezTo>
                  <a:pt x="133687" y="96441"/>
                  <a:pt x="133240" y="96441"/>
                  <a:pt x="132792" y="95993"/>
                </a:cubicBezTo>
                <a:cubicBezTo>
                  <a:pt x="127866" y="92859"/>
                  <a:pt x="120254" y="92411"/>
                  <a:pt x="112642" y="94202"/>
                </a:cubicBezTo>
                <a:cubicBezTo>
                  <a:pt x="100104" y="97337"/>
                  <a:pt x="92044" y="106292"/>
                  <a:pt x="93835" y="114352"/>
                </a:cubicBezTo>
                <a:cubicBezTo>
                  <a:pt x="94730" y="117039"/>
                  <a:pt x="96522" y="119726"/>
                  <a:pt x="99208" y="121517"/>
                </a:cubicBezTo>
                <a:cubicBezTo>
                  <a:pt x="102343" y="123308"/>
                  <a:pt x="106373" y="124203"/>
                  <a:pt x="110850" y="124203"/>
                </a:cubicBezTo>
                <a:cubicBezTo>
                  <a:pt x="113537" y="124203"/>
                  <a:pt x="116672" y="123756"/>
                  <a:pt x="119358" y="122860"/>
                </a:cubicBezTo>
                <a:cubicBezTo>
                  <a:pt x="132344" y="121069"/>
                  <a:pt x="140404" y="113009"/>
                  <a:pt x="139061" y="104949"/>
                </a:cubicBezTo>
                <a:close/>
                <a:moveTo>
                  <a:pt x="25324" y="146593"/>
                </a:moveTo>
                <a:cubicBezTo>
                  <a:pt x="19055" y="148384"/>
                  <a:pt x="12786" y="147936"/>
                  <a:pt x="8756" y="145249"/>
                </a:cubicBezTo>
                <a:cubicBezTo>
                  <a:pt x="6965" y="143906"/>
                  <a:pt x="5622" y="142563"/>
                  <a:pt x="5174" y="140771"/>
                </a:cubicBezTo>
                <a:cubicBezTo>
                  <a:pt x="3831" y="135398"/>
                  <a:pt x="10995" y="128234"/>
                  <a:pt x="20846" y="125995"/>
                </a:cubicBezTo>
                <a:cubicBezTo>
                  <a:pt x="23533" y="125547"/>
                  <a:pt x="25772" y="125099"/>
                  <a:pt x="28011" y="125099"/>
                </a:cubicBezTo>
                <a:cubicBezTo>
                  <a:pt x="31593" y="125099"/>
                  <a:pt x="34728" y="125995"/>
                  <a:pt x="37414" y="127338"/>
                </a:cubicBezTo>
                <a:cubicBezTo>
                  <a:pt x="39205" y="128681"/>
                  <a:pt x="40549" y="130025"/>
                  <a:pt x="40997" y="131816"/>
                </a:cubicBezTo>
                <a:cubicBezTo>
                  <a:pt x="41892" y="137637"/>
                  <a:pt x="35175" y="144354"/>
                  <a:pt x="25324" y="146593"/>
                </a:cubicBezTo>
                <a:close/>
                <a:moveTo>
                  <a:pt x="131001" y="25244"/>
                </a:moveTo>
                <a:lnTo>
                  <a:pt x="45922" y="44498"/>
                </a:lnTo>
                <a:cubicBezTo>
                  <a:pt x="45474" y="44498"/>
                  <a:pt x="45474" y="44498"/>
                  <a:pt x="45027" y="44946"/>
                </a:cubicBezTo>
                <a:lnTo>
                  <a:pt x="45027" y="26139"/>
                </a:lnTo>
                <a:cubicBezTo>
                  <a:pt x="45027" y="25244"/>
                  <a:pt x="45922" y="24348"/>
                  <a:pt x="46818" y="23901"/>
                </a:cubicBezTo>
                <a:lnTo>
                  <a:pt x="131896" y="4646"/>
                </a:lnTo>
                <a:cubicBezTo>
                  <a:pt x="132344" y="4646"/>
                  <a:pt x="133240" y="4646"/>
                  <a:pt x="133687" y="5094"/>
                </a:cubicBezTo>
                <a:cubicBezTo>
                  <a:pt x="134135" y="5541"/>
                  <a:pt x="134583" y="5989"/>
                  <a:pt x="134583" y="6885"/>
                </a:cubicBezTo>
                <a:lnTo>
                  <a:pt x="134583" y="25691"/>
                </a:lnTo>
                <a:cubicBezTo>
                  <a:pt x="133687" y="24796"/>
                  <a:pt x="132344" y="24796"/>
                  <a:pt x="131001" y="25244"/>
                </a:cubicBezTo>
                <a:close/>
                <a:moveTo>
                  <a:pt x="119358" y="119726"/>
                </a:moveTo>
                <a:cubicBezTo>
                  <a:pt x="113089" y="121517"/>
                  <a:pt x="106820" y="121069"/>
                  <a:pt x="102790" y="118382"/>
                </a:cubicBezTo>
                <a:cubicBezTo>
                  <a:pt x="100999" y="117039"/>
                  <a:pt x="99656" y="115696"/>
                  <a:pt x="99208" y="113905"/>
                </a:cubicBezTo>
                <a:cubicBezTo>
                  <a:pt x="97865" y="108531"/>
                  <a:pt x="105029" y="101367"/>
                  <a:pt x="114881" y="99128"/>
                </a:cubicBezTo>
                <a:cubicBezTo>
                  <a:pt x="117567" y="98680"/>
                  <a:pt x="119806" y="98232"/>
                  <a:pt x="122045" y="98232"/>
                </a:cubicBezTo>
                <a:cubicBezTo>
                  <a:pt x="125627" y="98232"/>
                  <a:pt x="128762" y="99128"/>
                  <a:pt x="131448" y="100471"/>
                </a:cubicBezTo>
                <a:cubicBezTo>
                  <a:pt x="133240" y="101814"/>
                  <a:pt x="134583" y="103158"/>
                  <a:pt x="135031" y="104949"/>
                </a:cubicBezTo>
                <a:cubicBezTo>
                  <a:pt x="135926" y="110322"/>
                  <a:pt x="129210" y="117487"/>
                  <a:pt x="119358" y="119726"/>
                </a:cubicBezTo>
                <a:close/>
              </a:path>
            </a:pathLst>
          </a:custGeom>
          <a:solidFill>
            <a:srgbClr val="231F20"/>
          </a:solidFill>
          <a:ln w="4474" cap="flat">
            <a:noFill/>
            <a:prstDash val="solid"/>
            <a:miter/>
          </a:ln>
        </p:spPr>
        <p:txBody>
          <a:bodyPr rtlCol="0" anchor="ctr"/>
          <a:lstStyle/>
          <a:p>
            <a:endParaRPr lang="en-US"/>
          </a:p>
        </p:txBody>
      </p:sp>
      <p:sp>
        <p:nvSpPr>
          <p:cNvPr id="4649" name="Freeform: Shape 4648">
            <a:extLst>
              <a:ext uri="{FF2B5EF4-FFF2-40B4-BE49-F238E27FC236}">
                <a16:creationId xmlns:a16="http://schemas.microsoft.com/office/drawing/2014/main" id="{33A850BE-0107-44C8-A52D-6917E6983BDE}"/>
              </a:ext>
              <a:ext uri="{C183D7F6-B498-43B3-948B-1728B52AA6E4}">
                <adec:decorative xmlns:adec="http://schemas.microsoft.com/office/drawing/2017/decorative" val="1"/>
              </a:ext>
            </a:extLst>
          </p:cNvPr>
          <p:cNvSpPr>
            <a:spLocks noChangeAspect="1"/>
          </p:cNvSpPr>
          <p:nvPr/>
        </p:nvSpPr>
        <p:spPr>
          <a:xfrm>
            <a:off x="1860776" y="5233195"/>
            <a:ext cx="134335" cy="129857"/>
          </a:xfrm>
          <a:custGeom>
            <a:avLst/>
            <a:gdLst>
              <a:gd name="connsiteX0" fmla="*/ 107811 w 134334"/>
              <a:gd name="connsiteY0" fmla="*/ 131200 h 129856"/>
              <a:gd name="connsiteX1" fmla="*/ 103781 w 134334"/>
              <a:gd name="connsiteY1" fmla="*/ 129857 h 129856"/>
              <a:gd name="connsiteX2" fmla="*/ 69749 w 134334"/>
              <a:gd name="connsiteY2" fmla="*/ 105229 h 129856"/>
              <a:gd name="connsiteX3" fmla="*/ 67063 w 134334"/>
              <a:gd name="connsiteY3" fmla="*/ 105229 h 129856"/>
              <a:gd name="connsiteX4" fmla="*/ 33031 w 134334"/>
              <a:gd name="connsiteY4" fmla="*/ 129409 h 129856"/>
              <a:gd name="connsiteX5" fmla="*/ 24971 w 134334"/>
              <a:gd name="connsiteY5" fmla="*/ 129409 h 129856"/>
              <a:gd name="connsiteX6" fmla="*/ 22284 w 134334"/>
              <a:gd name="connsiteY6" fmla="*/ 121796 h 129856"/>
              <a:gd name="connsiteX7" fmla="*/ 31688 w 134334"/>
              <a:gd name="connsiteY7" fmla="*/ 83287 h 129856"/>
              <a:gd name="connsiteX8" fmla="*/ 30792 w 134334"/>
              <a:gd name="connsiteY8" fmla="*/ 80601 h 129856"/>
              <a:gd name="connsiteX9" fmla="*/ 2582 w 134334"/>
              <a:gd name="connsiteY9" fmla="*/ 57316 h 129856"/>
              <a:gd name="connsiteX10" fmla="*/ 343 w 134334"/>
              <a:gd name="connsiteY10" fmla="*/ 49704 h 129856"/>
              <a:gd name="connsiteX11" fmla="*/ 7060 w 134334"/>
              <a:gd name="connsiteY11" fmla="*/ 45226 h 129856"/>
              <a:gd name="connsiteX12" fmla="*/ 44674 w 134334"/>
              <a:gd name="connsiteY12" fmla="*/ 45226 h 129856"/>
              <a:gd name="connsiteX13" fmla="*/ 46912 w 134334"/>
              <a:gd name="connsiteY13" fmla="*/ 43435 h 129856"/>
              <a:gd name="connsiteX14" fmla="*/ 61241 w 134334"/>
              <a:gd name="connsiteY14" fmla="*/ 4478 h 129856"/>
              <a:gd name="connsiteX15" fmla="*/ 67958 w 134334"/>
              <a:gd name="connsiteY15" fmla="*/ 0 h 129856"/>
              <a:gd name="connsiteX16" fmla="*/ 67958 w 134334"/>
              <a:gd name="connsiteY16" fmla="*/ 0 h 129856"/>
              <a:gd name="connsiteX17" fmla="*/ 74675 w 134334"/>
              <a:gd name="connsiteY17" fmla="*/ 4478 h 129856"/>
              <a:gd name="connsiteX18" fmla="*/ 89452 w 134334"/>
              <a:gd name="connsiteY18" fmla="*/ 43435 h 129856"/>
              <a:gd name="connsiteX19" fmla="*/ 91691 w 134334"/>
              <a:gd name="connsiteY19" fmla="*/ 45226 h 129856"/>
              <a:gd name="connsiteX20" fmla="*/ 129304 w 134334"/>
              <a:gd name="connsiteY20" fmla="*/ 45226 h 129856"/>
              <a:gd name="connsiteX21" fmla="*/ 136021 w 134334"/>
              <a:gd name="connsiteY21" fmla="*/ 49704 h 129856"/>
              <a:gd name="connsiteX22" fmla="*/ 133782 w 134334"/>
              <a:gd name="connsiteY22" fmla="*/ 57316 h 129856"/>
              <a:gd name="connsiteX23" fmla="*/ 105572 w 134334"/>
              <a:gd name="connsiteY23" fmla="*/ 80601 h 129856"/>
              <a:gd name="connsiteX24" fmla="*/ 104676 w 134334"/>
              <a:gd name="connsiteY24" fmla="*/ 83287 h 129856"/>
              <a:gd name="connsiteX25" fmla="*/ 114528 w 134334"/>
              <a:gd name="connsiteY25" fmla="*/ 122244 h 129856"/>
              <a:gd name="connsiteX26" fmla="*/ 111841 w 134334"/>
              <a:gd name="connsiteY26" fmla="*/ 129857 h 129856"/>
              <a:gd name="connsiteX27" fmla="*/ 107811 w 134334"/>
              <a:gd name="connsiteY27" fmla="*/ 131200 h 129856"/>
              <a:gd name="connsiteX28" fmla="*/ 68406 w 134334"/>
              <a:gd name="connsiteY28" fmla="*/ 100303 h 129856"/>
              <a:gd name="connsiteX29" fmla="*/ 72436 w 134334"/>
              <a:gd name="connsiteY29" fmla="*/ 101646 h 129856"/>
              <a:gd name="connsiteX30" fmla="*/ 106467 w 134334"/>
              <a:gd name="connsiteY30" fmla="*/ 126274 h 129856"/>
              <a:gd name="connsiteX31" fmla="*/ 109154 w 134334"/>
              <a:gd name="connsiteY31" fmla="*/ 126274 h 129856"/>
              <a:gd name="connsiteX32" fmla="*/ 110050 w 134334"/>
              <a:gd name="connsiteY32" fmla="*/ 123588 h 129856"/>
              <a:gd name="connsiteX33" fmla="*/ 100198 w 134334"/>
              <a:gd name="connsiteY33" fmla="*/ 84631 h 129856"/>
              <a:gd name="connsiteX34" fmla="*/ 102437 w 134334"/>
              <a:gd name="connsiteY34" fmla="*/ 77466 h 129856"/>
              <a:gd name="connsiteX35" fmla="*/ 130648 w 134334"/>
              <a:gd name="connsiteY35" fmla="*/ 54181 h 129856"/>
              <a:gd name="connsiteX36" fmla="*/ 131543 w 134334"/>
              <a:gd name="connsiteY36" fmla="*/ 51495 h 129856"/>
              <a:gd name="connsiteX37" fmla="*/ 129304 w 134334"/>
              <a:gd name="connsiteY37" fmla="*/ 49704 h 129856"/>
              <a:gd name="connsiteX38" fmla="*/ 91691 w 134334"/>
              <a:gd name="connsiteY38" fmla="*/ 49704 h 129856"/>
              <a:gd name="connsiteX39" fmla="*/ 84974 w 134334"/>
              <a:gd name="connsiteY39" fmla="*/ 45226 h 129856"/>
              <a:gd name="connsiteX40" fmla="*/ 70197 w 134334"/>
              <a:gd name="connsiteY40" fmla="*/ 6269 h 129856"/>
              <a:gd name="connsiteX41" fmla="*/ 70197 w 134334"/>
              <a:gd name="connsiteY41" fmla="*/ 6269 h 129856"/>
              <a:gd name="connsiteX42" fmla="*/ 67958 w 134334"/>
              <a:gd name="connsiteY42" fmla="*/ 4478 h 129856"/>
              <a:gd name="connsiteX43" fmla="*/ 65719 w 134334"/>
              <a:gd name="connsiteY43" fmla="*/ 6269 h 129856"/>
              <a:gd name="connsiteX44" fmla="*/ 51390 w 134334"/>
              <a:gd name="connsiteY44" fmla="*/ 45226 h 129856"/>
              <a:gd name="connsiteX45" fmla="*/ 44674 w 134334"/>
              <a:gd name="connsiteY45" fmla="*/ 49704 h 129856"/>
              <a:gd name="connsiteX46" fmla="*/ 7060 w 134334"/>
              <a:gd name="connsiteY46" fmla="*/ 49704 h 129856"/>
              <a:gd name="connsiteX47" fmla="*/ 4821 w 134334"/>
              <a:gd name="connsiteY47" fmla="*/ 51495 h 129856"/>
              <a:gd name="connsiteX48" fmla="*/ 5717 w 134334"/>
              <a:gd name="connsiteY48" fmla="*/ 54181 h 129856"/>
              <a:gd name="connsiteX49" fmla="*/ 33927 w 134334"/>
              <a:gd name="connsiteY49" fmla="*/ 77466 h 129856"/>
              <a:gd name="connsiteX50" fmla="*/ 36166 w 134334"/>
              <a:gd name="connsiteY50" fmla="*/ 84631 h 129856"/>
              <a:gd name="connsiteX51" fmla="*/ 26762 w 134334"/>
              <a:gd name="connsiteY51" fmla="*/ 123140 h 129856"/>
              <a:gd name="connsiteX52" fmla="*/ 27658 w 134334"/>
              <a:gd name="connsiteY52" fmla="*/ 125827 h 129856"/>
              <a:gd name="connsiteX53" fmla="*/ 30345 w 134334"/>
              <a:gd name="connsiteY53" fmla="*/ 125827 h 129856"/>
              <a:gd name="connsiteX54" fmla="*/ 64376 w 134334"/>
              <a:gd name="connsiteY54" fmla="*/ 101646 h 129856"/>
              <a:gd name="connsiteX55" fmla="*/ 68406 w 134334"/>
              <a:gd name="connsiteY55" fmla="*/ 100303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4334" h="129856">
                <a:moveTo>
                  <a:pt x="107811" y="131200"/>
                </a:moveTo>
                <a:cubicBezTo>
                  <a:pt x="106467" y="131200"/>
                  <a:pt x="105124" y="130752"/>
                  <a:pt x="103781" y="129857"/>
                </a:cubicBezTo>
                <a:lnTo>
                  <a:pt x="69749" y="105229"/>
                </a:lnTo>
                <a:cubicBezTo>
                  <a:pt x="68854" y="104781"/>
                  <a:pt x="67510" y="104781"/>
                  <a:pt x="67063" y="105229"/>
                </a:cubicBezTo>
                <a:lnTo>
                  <a:pt x="33031" y="129409"/>
                </a:lnTo>
                <a:cubicBezTo>
                  <a:pt x="30792" y="131200"/>
                  <a:pt x="27658" y="131200"/>
                  <a:pt x="24971" y="129409"/>
                </a:cubicBezTo>
                <a:cubicBezTo>
                  <a:pt x="22732" y="127618"/>
                  <a:pt x="21389" y="124931"/>
                  <a:pt x="22284" y="121796"/>
                </a:cubicBezTo>
                <a:lnTo>
                  <a:pt x="31688" y="83287"/>
                </a:lnTo>
                <a:cubicBezTo>
                  <a:pt x="32136" y="82392"/>
                  <a:pt x="31688" y="81496"/>
                  <a:pt x="30792" y="80601"/>
                </a:cubicBezTo>
                <a:lnTo>
                  <a:pt x="2582" y="57316"/>
                </a:lnTo>
                <a:cubicBezTo>
                  <a:pt x="343" y="55525"/>
                  <a:pt x="-552" y="52390"/>
                  <a:pt x="343" y="49704"/>
                </a:cubicBezTo>
                <a:cubicBezTo>
                  <a:pt x="1239" y="47017"/>
                  <a:pt x="3925" y="45226"/>
                  <a:pt x="7060" y="45226"/>
                </a:cubicBezTo>
                <a:lnTo>
                  <a:pt x="44674" y="45226"/>
                </a:lnTo>
                <a:cubicBezTo>
                  <a:pt x="45569" y="45226"/>
                  <a:pt x="46465" y="44778"/>
                  <a:pt x="46912" y="43435"/>
                </a:cubicBezTo>
                <a:lnTo>
                  <a:pt x="61241" y="4478"/>
                </a:lnTo>
                <a:cubicBezTo>
                  <a:pt x="62137" y="1791"/>
                  <a:pt x="64824" y="0"/>
                  <a:pt x="67958" y="0"/>
                </a:cubicBezTo>
                <a:cubicBezTo>
                  <a:pt x="67958" y="0"/>
                  <a:pt x="67958" y="0"/>
                  <a:pt x="67958" y="0"/>
                </a:cubicBezTo>
                <a:cubicBezTo>
                  <a:pt x="71093" y="0"/>
                  <a:pt x="73332" y="1791"/>
                  <a:pt x="74675" y="4478"/>
                </a:cubicBezTo>
                <a:lnTo>
                  <a:pt x="89452" y="43435"/>
                </a:lnTo>
                <a:cubicBezTo>
                  <a:pt x="89900" y="44330"/>
                  <a:pt x="90795" y="45226"/>
                  <a:pt x="91691" y="45226"/>
                </a:cubicBezTo>
                <a:lnTo>
                  <a:pt x="129304" y="45226"/>
                </a:lnTo>
                <a:cubicBezTo>
                  <a:pt x="132439" y="45226"/>
                  <a:pt x="134678" y="47017"/>
                  <a:pt x="136021" y="49704"/>
                </a:cubicBezTo>
                <a:cubicBezTo>
                  <a:pt x="136917" y="52390"/>
                  <a:pt x="136021" y="55525"/>
                  <a:pt x="133782" y="57316"/>
                </a:cubicBezTo>
                <a:lnTo>
                  <a:pt x="105572" y="80601"/>
                </a:lnTo>
                <a:cubicBezTo>
                  <a:pt x="104676" y="81048"/>
                  <a:pt x="104676" y="82392"/>
                  <a:pt x="104676" y="83287"/>
                </a:cubicBezTo>
                <a:lnTo>
                  <a:pt x="114528" y="122244"/>
                </a:lnTo>
                <a:cubicBezTo>
                  <a:pt x="115423" y="124931"/>
                  <a:pt x="114080" y="128065"/>
                  <a:pt x="111841" y="129857"/>
                </a:cubicBezTo>
                <a:cubicBezTo>
                  <a:pt x="110497" y="130752"/>
                  <a:pt x="109154" y="131200"/>
                  <a:pt x="107811" y="131200"/>
                </a:cubicBezTo>
                <a:close/>
                <a:moveTo>
                  <a:pt x="68406" y="100303"/>
                </a:moveTo>
                <a:cubicBezTo>
                  <a:pt x="69749" y="100303"/>
                  <a:pt x="71093" y="100751"/>
                  <a:pt x="72436" y="101646"/>
                </a:cubicBezTo>
                <a:lnTo>
                  <a:pt x="106467" y="126274"/>
                </a:lnTo>
                <a:cubicBezTo>
                  <a:pt x="107811" y="127170"/>
                  <a:pt x="109154" y="126722"/>
                  <a:pt x="109154" y="126274"/>
                </a:cubicBezTo>
                <a:cubicBezTo>
                  <a:pt x="109602" y="125827"/>
                  <a:pt x="110497" y="125379"/>
                  <a:pt x="110050" y="123588"/>
                </a:cubicBezTo>
                <a:lnTo>
                  <a:pt x="100198" y="84631"/>
                </a:lnTo>
                <a:cubicBezTo>
                  <a:pt x="99751" y="81944"/>
                  <a:pt x="100646" y="79257"/>
                  <a:pt x="102437" y="77466"/>
                </a:cubicBezTo>
                <a:lnTo>
                  <a:pt x="130648" y="54181"/>
                </a:lnTo>
                <a:cubicBezTo>
                  <a:pt x="131991" y="53286"/>
                  <a:pt x="131543" y="51943"/>
                  <a:pt x="131543" y="51495"/>
                </a:cubicBezTo>
                <a:cubicBezTo>
                  <a:pt x="131543" y="51047"/>
                  <a:pt x="130648" y="49704"/>
                  <a:pt x="129304" y="49704"/>
                </a:cubicBezTo>
                <a:lnTo>
                  <a:pt x="91691" y="49704"/>
                </a:lnTo>
                <a:cubicBezTo>
                  <a:pt x="89004" y="49704"/>
                  <a:pt x="86317" y="47912"/>
                  <a:pt x="84974" y="45226"/>
                </a:cubicBezTo>
                <a:lnTo>
                  <a:pt x="70197" y="6269"/>
                </a:lnTo>
                <a:lnTo>
                  <a:pt x="70197" y="6269"/>
                </a:lnTo>
                <a:cubicBezTo>
                  <a:pt x="69749" y="4925"/>
                  <a:pt x="68406" y="4925"/>
                  <a:pt x="67958" y="4478"/>
                </a:cubicBezTo>
                <a:cubicBezTo>
                  <a:pt x="67510" y="4478"/>
                  <a:pt x="66167" y="4478"/>
                  <a:pt x="65719" y="6269"/>
                </a:cubicBezTo>
                <a:lnTo>
                  <a:pt x="51390" y="45226"/>
                </a:lnTo>
                <a:cubicBezTo>
                  <a:pt x="50495" y="47912"/>
                  <a:pt x="47808" y="49704"/>
                  <a:pt x="44674" y="49704"/>
                </a:cubicBezTo>
                <a:lnTo>
                  <a:pt x="7060" y="49704"/>
                </a:lnTo>
                <a:cubicBezTo>
                  <a:pt x="5269" y="49704"/>
                  <a:pt x="4821" y="51047"/>
                  <a:pt x="4821" y="51495"/>
                </a:cubicBezTo>
                <a:cubicBezTo>
                  <a:pt x="4821" y="51943"/>
                  <a:pt x="4373" y="53286"/>
                  <a:pt x="5717" y="54181"/>
                </a:cubicBezTo>
                <a:lnTo>
                  <a:pt x="33927" y="77466"/>
                </a:lnTo>
                <a:cubicBezTo>
                  <a:pt x="36166" y="79257"/>
                  <a:pt x="37061" y="81944"/>
                  <a:pt x="36166" y="84631"/>
                </a:cubicBezTo>
                <a:lnTo>
                  <a:pt x="26762" y="123140"/>
                </a:lnTo>
                <a:cubicBezTo>
                  <a:pt x="26314" y="124483"/>
                  <a:pt x="27210" y="125379"/>
                  <a:pt x="27658" y="125827"/>
                </a:cubicBezTo>
                <a:cubicBezTo>
                  <a:pt x="28106" y="126274"/>
                  <a:pt x="29001" y="126722"/>
                  <a:pt x="30345" y="125827"/>
                </a:cubicBezTo>
                <a:lnTo>
                  <a:pt x="64376" y="101646"/>
                </a:lnTo>
                <a:cubicBezTo>
                  <a:pt x="65272" y="100751"/>
                  <a:pt x="67063" y="100303"/>
                  <a:pt x="68406" y="100303"/>
                </a:cubicBezTo>
                <a:close/>
              </a:path>
            </a:pathLst>
          </a:custGeom>
          <a:solidFill>
            <a:srgbClr val="231F20"/>
          </a:solidFill>
          <a:ln w="4474" cap="flat">
            <a:noFill/>
            <a:prstDash val="solid"/>
            <a:miter/>
          </a:ln>
        </p:spPr>
        <p:txBody>
          <a:bodyPr rtlCol="0" anchor="ctr"/>
          <a:lstStyle/>
          <a:p>
            <a:endParaRPr lang="en-US"/>
          </a:p>
        </p:txBody>
      </p:sp>
      <p:sp>
        <p:nvSpPr>
          <p:cNvPr id="4650" name="Freeform: Shape 4649">
            <a:extLst>
              <a:ext uri="{FF2B5EF4-FFF2-40B4-BE49-F238E27FC236}">
                <a16:creationId xmlns:a16="http://schemas.microsoft.com/office/drawing/2014/main" id="{E81EC203-5576-4FFD-8CB4-26B176A34A54}"/>
              </a:ext>
              <a:ext uri="{C183D7F6-B498-43B3-948B-1728B52AA6E4}">
                <adec:decorative xmlns:adec="http://schemas.microsoft.com/office/drawing/2017/decorative" val="1"/>
              </a:ext>
            </a:extLst>
          </p:cNvPr>
          <p:cNvSpPr>
            <a:spLocks noChangeAspect="1"/>
          </p:cNvSpPr>
          <p:nvPr/>
        </p:nvSpPr>
        <p:spPr>
          <a:xfrm>
            <a:off x="2382226" y="5229280"/>
            <a:ext cx="152246" cy="138812"/>
          </a:xfrm>
          <a:custGeom>
            <a:avLst/>
            <a:gdLst>
              <a:gd name="connsiteX0" fmla="*/ 148328 w 152245"/>
              <a:gd name="connsiteY0" fmla="*/ 63023 h 138812"/>
              <a:gd name="connsiteX1" fmla="*/ 10411 w 152245"/>
              <a:gd name="connsiteY1" fmla="*/ 781 h 138812"/>
              <a:gd name="connsiteX2" fmla="*/ 2799 w 152245"/>
              <a:gd name="connsiteY2" fmla="*/ 1677 h 138812"/>
              <a:gd name="connsiteX3" fmla="*/ 112 w 152245"/>
              <a:gd name="connsiteY3" fmla="*/ 8841 h 138812"/>
              <a:gd name="connsiteX4" fmla="*/ 12202 w 152245"/>
              <a:gd name="connsiteY4" fmla="*/ 69292 h 138812"/>
              <a:gd name="connsiteX5" fmla="*/ 12202 w 152245"/>
              <a:gd name="connsiteY5" fmla="*/ 70187 h 138812"/>
              <a:gd name="connsiteX6" fmla="*/ 112 w 152245"/>
              <a:gd name="connsiteY6" fmla="*/ 130638 h 138812"/>
              <a:gd name="connsiteX7" fmla="*/ 2799 w 152245"/>
              <a:gd name="connsiteY7" fmla="*/ 137802 h 138812"/>
              <a:gd name="connsiteX8" fmla="*/ 7276 w 152245"/>
              <a:gd name="connsiteY8" fmla="*/ 139593 h 138812"/>
              <a:gd name="connsiteX9" fmla="*/ 10411 w 152245"/>
              <a:gd name="connsiteY9" fmla="*/ 139145 h 138812"/>
              <a:gd name="connsiteX10" fmla="*/ 148328 w 152245"/>
              <a:gd name="connsiteY10" fmla="*/ 76904 h 138812"/>
              <a:gd name="connsiteX11" fmla="*/ 152358 w 152245"/>
              <a:gd name="connsiteY11" fmla="*/ 70187 h 138812"/>
              <a:gd name="connsiteX12" fmla="*/ 148328 w 152245"/>
              <a:gd name="connsiteY12" fmla="*/ 63023 h 138812"/>
              <a:gd name="connsiteX13" fmla="*/ 5038 w 152245"/>
              <a:gd name="connsiteY13" fmla="*/ 7945 h 138812"/>
              <a:gd name="connsiteX14" fmla="*/ 5933 w 152245"/>
              <a:gd name="connsiteY14" fmla="*/ 5259 h 138812"/>
              <a:gd name="connsiteX15" fmla="*/ 7724 w 152245"/>
              <a:gd name="connsiteY15" fmla="*/ 4811 h 138812"/>
              <a:gd name="connsiteX16" fmla="*/ 9068 w 152245"/>
              <a:gd name="connsiteY16" fmla="*/ 5259 h 138812"/>
              <a:gd name="connsiteX17" fmla="*/ 146984 w 152245"/>
              <a:gd name="connsiteY17" fmla="*/ 67500 h 138812"/>
              <a:gd name="connsiteX18" fmla="*/ 147432 w 152245"/>
              <a:gd name="connsiteY18" fmla="*/ 67948 h 138812"/>
              <a:gd name="connsiteX19" fmla="*/ 17575 w 152245"/>
              <a:gd name="connsiteY19" fmla="*/ 67948 h 138812"/>
              <a:gd name="connsiteX20" fmla="*/ 5038 w 152245"/>
              <a:gd name="connsiteY20" fmla="*/ 7945 h 138812"/>
              <a:gd name="connsiteX21" fmla="*/ 9068 w 152245"/>
              <a:gd name="connsiteY21" fmla="*/ 134220 h 138812"/>
              <a:gd name="connsiteX22" fmla="*/ 6381 w 152245"/>
              <a:gd name="connsiteY22" fmla="*/ 133772 h 138812"/>
              <a:gd name="connsiteX23" fmla="*/ 5485 w 152245"/>
              <a:gd name="connsiteY23" fmla="*/ 131085 h 138812"/>
              <a:gd name="connsiteX24" fmla="*/ 17575 w 152245"/>
              <a:gd name="connsiteY24" fmla="*/ 71531 h 138812"/>
              <a:gd name="connsiteX25" fmla="*/ 147432 w 152245"/>
              <a:gd name="connsiteY25" fmla="*/ 71531 h 138812"/>
              <a:gd name="connsiteX26" fmla="*/ 146984 w 152245"/>
              <a:gd name="connsiteY26" fmla="*/ 71978 h 138812"/>
              <a:gd name="connsiteX27" fmla="*/ 9068 w 152245"/>
              <a:gd name="connsiteY27" fmla="*/ 13422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38812">
                <a:moveTo>
                  <a:pt x="148328" y="63023"/>
                </a:moveTo>
                <a:lnTo>
                  <a:pt x="10411" y="781"/>
                </a:lnTo>
                <a:cubicBezTo>
                  <a:pt x="7724" y="-562"/>
                  <a:pt x="5038" y="-115"/>
                  <a:pt x="2799" y="1677"/>
                </a:cubicBezTo>
                <a:cubicBezTo>
                  <a:pt x="560" y="3468"/>
                  <a:pt x="-336" y="6155"/>
                  <a:pt x="112" y="8841"/>
                </a:cubicBezTo>
                <a:lnTo>
                  <a:pt x="12202" y="69292"/>
                </a:lnTo>
                <a:cubicBezTo>
                  <a:pt x="12202" y="69739"/>
                  <a:pt x="12202" y="70187"/>
                  <a:pt x="12202" y="70187"/>
                </a:cubicBezTo>
                <a:lnTo>
                  <a:pt x="112" y="130638"/>
                </a:lnTo>
                <a:cubicBezTo>
                  <a:pt x="-336" y="133324"/>
                  <a:pt x="560" y="136011"/>
                  <a:pt x="2799" y="137802"/>
                </a:cubicBezTo>
                <a:cubicBezTo>
                  <a:pt x="4142" y="138698"/>
                  <a:pt x="5485" y="139593"/>
                  <a:pt x="7276" y="139593"/>
                </a:cubicBezTo>
                <a:cubicBezTo>
                  <a:pt x="8172" y="139593"/>
                  <a:pt x="9515" y="139593"/>
                  <a:pt x="10411" y="139145"/>
                </a:cubicBezTo>
                <a:lnTo>
                  <a:pt x="148328" y="76904"/>
                </a:lnTo>
                <a:cubicBezTo>
                  <a:pt x="151014" y="75561"/>
                  <a:pt x="152358" y="73322"/>
                  <a:pt x="152358" y="70187"/>
                </a:cubicBezTo>
                <a:cubicBezTo>
                  <a:pt x="152358" y="67053"/>
                  <a:pt x="151014" y="64366"/>
                  <a:pt x="148328" y="63023"/>
                </a:cubicBezTo>
                <a:close/>
                <a:moveTo>
                  <a:pt x="5038" y="7945"/>
                </a:moveTo>
                <a:cubicBezTo>
                  <a:pt x="5038" y="7050"/>
                  <a:pt x="5038" y="6155"/>
                  <a:pt x="5933" y="5259"/>
                </a:cubicBezTo>
                <a:cubicBezTo>
                  <a:pt x="6381" y="4811"/>
                  <a:pt x="6829" y="4811"/>
                  <a:pt x="7724" y="4811"/>
                </a:cubicBezTo>
                <a:cubicBezTo>
                  <a:pt x="8172" y="4811"/>
                  <a:pt x="8620" y="4811"/>
                  <a:pt x="9068" y="5259"/>
                </a:cubicBezTo>
                <a:lnTo>
                  <a:pt x="146984" y="67500"/>
                </a:lnTo>
                <a:cubicBezTo>
                  <a:pt x="146984" y="67500"/>
                  <a:pt x="146984" y="67500"/>
                  <a:pt x="147432" y="67948"/>
                </a:cubicBezTo>
                <a:lnTo>
                  <a:pt x="17575" y="67948"/>
                </a:lnTo>
                <a:lnTo>
                  <a:pt x="5038" y="7945"/>
                </a:lnTo>
                <a:close/>
                <a:moveTo>
                  <a:pt x="9068" y="134220"/>
                </a:moveTo>
                <a:cubicBezTo>
                  <a:pt x="8172" y="134668"/>
                  <a:pt x="6829" y="134668"/>
                  <a:pt x="6381" y="133772"/>
                </a:cubicBezTo>
                <a:cubicBezTo>
                  <a:pt x="5485" y="133324"/>
                  <a:pt x="5038" y="131981"/>
                  <a:pt x="5485" y="131085"/>
                </a:cubicBezTo>
                <a:lnTo>
                  <a:pt x="17575" y="71531"/>
                </a:lnTo>
                <a:lnTo>
                  <a:pt x="147432" y="71531"/>
                </a:lnTo>
                <a:cubicBezTo>
                  <a:pt x="147432" y="71531"/>
                  <a:pt x="147432" y="71531"/>
                  <a:pt x="146984" y="71978"/>
                </a:cubicBezTo>
                <a:lnTo>
                  <a:pt x="9068" y="134220"/>
                </a:lnTo>
                <a:close/>
              </a:path>
            </a:pathLst>
          </a:custGeom>
          <a:solidFill>
            <a:srgbClr val="231F20"/>
          </a:solidFill>
          <a:ln w="4474" cap="flat">
            <a:noFill/>
            <a:prstDash val="solid"/>
            <a:miter/>
          </a:ln>
        </p:spPr>
        <p:txBody>
          <a:bodyPr rtlCol="0" anchor="ctr"/>
          <a:lstStyle/>
          <a:p>
            <a:endParaRPr lang="en-US"/>
          </a:p>
        </p:txBody>
      </p:sp>
      <p:sp>
        <p:nvSpPr>
          <p:cNvPr id="4651" name="Freeform: Shape 4650">
            <a:extLst>
              <a:ext uri="{FF2B5EF4-FFF2-40B4-BE49-F238E27FC236}">
                <a16:creationId xmlns:a16="http://schemas.microsoft.com/office/drawing/2014/main" id="{4483D2C5-1231-454E-A462-37F927B46632}"/>
              </a:ext>
              <a:ext uri="{C183D7F6-B498-43B3-948B-1728B52AA6E4}">
                <adec:decorative xmlns:adec="http://schemas.microsoft.com/office/drawing/2017/decorative" val="1"/>
              </a:ext>
            </a:extLst>
          </p:cNvPr>
          <p:cNvSpPr>
            <a:spLocks noChangeAspect="1"/>
          </p:cNvSpPr>
          <p:nvPr/>
        </p:nvSpPr>
        <p:spPr>
          <a:xfrm>
            <a:off x="2642946" y="5222545"/>
            <a:ext cx="152246" cy="147768"/>
          </a:xfrm>
          <a:custGeom>
            <a:avLst/>
            <a:gdLst>
              <a:gd name="connsiteX0" fmla="*/ 150455 w 152245"/>
              <a:gd name="connsiteY0" fmla="*/ 2142 h 147767"/>
              <a:gd name="connsiteX1" fmla="*/ 142843 w 152245"/>
              <a:gd name="connsiteY1" fmla="*/ 351 h 147767"/>
              <a:gd name="connsiteX2" fmla="*/ 3135 w 152245"/>
              <a:gd name="connsiteY2" fmla="*/ 50951 h 147767"/>
              <a:gd name="connsiteX3" fmla="*/ 0 w 152245"/>
              <a:gd name="connsiteY3" fmla="*/ 54533 h 147767"/>
              <a:gd name="connsiteX4" fmla="*/ 2239 w 152245"/>
              <a:gd name="connsiteY4" fmla="*/ 59011 h 147767"/>
              <a:gd name="connsiteX5" fmla="*/ 40300 w 152245"/>
              <a:gd name="connsiteY5" fmla="*/ 83639 h 147767"/>
              <a:gd name="connsiteX6" fmla="*/ 40300 w 152245"/>
              <a:gd name="connsiteY6" fmla="*/ 143194 h 147767"/>
              <a:gd name="connsiteX7" fmla="*/ 42539 w 152245"/>
              <a:gd name="connsiteY7" fmla="*/ 145880 h 147767"/>
              <a:gd name="connsiteX8" fmla="*/ 43435 w 152245"/>
              <a:gd name="connsiteY8" fmla="*/ 145880 h 147767"/>
              <a:gd name="connsiteX9" fmla="*/ 45674 w 152245"/>
              <a:gd name="connsiteY9" fmla="*/ 144537 h 147767"/>
              <a:gd name="connsiteX10" fmla="*/ 69406 w 152245"/>
              <a:gd name="connsiteY10" fmla="*/ 113192 h 147767"/>
              <a:gd name="connsiteX11" fmla="*/ 93139 w 152245"/>
              <a:gd name="connsiteY11" fmla="*/ 149910 h 147767"/>
              <a:gd name="connsiteX12" fmla="*/ 96721 w 152245"/>
              <a:gd name="connsiteY12" fmla="*/ 152149 h 147767"/>
              <a:gd name="connsiteX13" fmla="*/ 97169 w 152245"/>
              <a:gd name="connsiteY13" fmla="*/ 152149 h 147767"/>
              <a:gd name="connsiteX14" fmla="*/ 100751 w 152245"/>
              <a:gd name="connsiteY14" fmla="*/ 149015 h 147767"/>
              <a:gd name="connsiteX15" fmla="*/ 151350 w 152245"/>
              <a:gd name="connsiteY15" fmla="*/ 9307 h 147767"/>
              <a:gd name="connsiteX16" fmla="*/ 150455 w 152245"/>
              <a:gd name="connsiteY16" fmla="*/ 2142 h 147767"/>
              <a:gd name="connsiteX17" fmla="*/ 141499 w 152245"/>
              <a:gd name="connsiteY17" fmla="*/ 5725 h 147767"/>
              <a:gd name="connsiteX18" fmla="*/ 42987 w 152245"/>
              <a:gd name="connsiteY18" fmla="*/ 80057 h 147767"/>
              <a:gd name="connsiteX19" fmla="*/ 4926 w 152245"/>
              <a:gd name="connsiteY19" fmla="*/ 55429 h 147767"/>
              <a:gd name="connsiteX20" fmla="*/ 141499 w 152245"/>
              <a:gd name="connsiteY20" fmla="*/ 5725 h 147767"/>
              <a:gd name="connsiteX21" fmla="*/ 45226 w 152245"/>
              <a:gd name="connsiteY21" fmla="*/ 138716 h 147767"/>
              <a:gd name="connsiteX22" fmla="*/ 45226 w 152245"/>
              <a:gd name="connsiteY22" fmla="*/ 84086 h 147767"/>
              <a:gd name="connsiteX23" fmla="*/ 140156 w 152245"/>
              <a:gd name="connsiteY23" fmla="*/ 12441 h 147767"/>
              <a:gd name="connsiteX24" fmla="*/ 45226 w 152245"/>
              <a:gd name="connsiteY24" fmla="*/ 138716 h 147767"/>
              <a:gd name="connsiteX25" fmla="*/ 97169 w 152245"/>
              <a:gd name="connsiteY25" fmla="*/ 147672 h 147767"/>
              <a:gd name="connsiteX26" fmla="*/ 72541 w 152245"/>
              <a:gd name="connsiteY26" fmla="*/ 109610 h 147767"/>
              <a:gd name="connsiteX27" fmla="*/ 74780 w 152245"/>
              <a:gd name="connsiteY27" fmla="*/ 106476 h 147767"/>
              <a:gd name="connsiteX28" fmla="*/ 74780 w 152245"/>
              <a:gd name="connsiteY28" fmla="*/ 106476 h 147767"/>
              <a:gd name="connsiteX29" fmla="*/ 146873 w 152245"/>
              <a:gd name="connsiteY29" fmla="*/ 10650 h 147767"/>
              <a:gd name="connsiteX30" fmla="*/ 97169 w 152245"/>
              <a:gd name="connsiteY30" fmla="*/ 14767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245" h="147767">
                <a:moveTo>
                  <a:pt x="150455" y="2142"/>
                </a:moveTo>
                <a:cubicBezTo>
                  <a:pt x="148664" y="351"/>
                  <a:pt x="145529" y="-544"/>
                  <a:pt x="142843" y="351"/>
                </a:cubicBezTo>
                <a:lnTo>
                  <a:pt x="3135" y="50951"/>
                </a:lnTo>
                <a:cubicBezTo>
                  <a:pt x="1343" y="51398"/>
                  <a:pt x="448" y="53190"/>
                  <a:pt x="0" y="54533"/>
                </a:cubicBezTo>
                <a:cubicBezTo>
                  <a:pt x="0" y="56324"/>
                  <a:pt x="448" y="58115"/>
                  <a:pt x="2239" y="59011"/>
                </a:cubicBezTo>
                <a:lnTo>
                  <a:pt x="40300" y="83639"/>
                </a:lnTo>
                <a:lnTo>
                  <a:pt x="40300" y="143194"/>
                </a:lnTo>
                <a:cubicBezTo>
                  <a:pt x="40300" y="144537"/>
                  <a:pt x="41196" y="145433"/>
                  <a:pt x="42539" y="145880"/>
                </a:cubicBezTo>
                <a:cubicBezTo>
                  <a:pt x="42987" y="145880"/>
                  <a:pt x="42987" y="145880"/>
                  <a:pt x="43435" y="145880"/>
                </a:cubicBezTo>
                <a:cubicBezTo>
                  <a:pt x="44331" y="145880"/>
                  <a:pt x="45226" y="145433"/>
                  <a:pt x="45674" y="144537"/>
                </a:cubicBezTo>
                <a:lnTo>
                  <a:pt x="69406" y="113192"/>
                </a:lnTo>
                <a:lnTo>
                  <a:pt x="93139" y="149910"/>
                </a:lnTo>
                <a:cubicBezTo>
                  <a:pt x="94034" y="151254"/>
                  <a:pt x="95378" y="152149"/>
                  <a:pt x="96721" y="152149"/>
                </a:cubicBezTo>
                <a:cubicBezTo>
                  <a:pt x="96721" y="152149"/>
                  <a:pt x="97169" y="152149"/>
                  <a:pt x="97169" y="152149"/>
                </a:cubicBezTo>
                <a:cubicBezTo>
                  <a:pt x="98960" y="152149"/>
                  <a:pt x="100303" y="150806"/>
                  <a:pt x="100751" y="149015"/>
                </a:cubicBezTo>
                <a:lnTo>
                  <a:pt x="151350" y="9307"/>
                </a:lnTo>
                <a:cubicBezTo>
                  <a:pt x="153141" y="7068"/>
                  <a:pt x="152694" y="4381"/>
                  <a:pt x="150455" y="2142"/>
                </a:cubicBezTo>
                <a:close/>
                <a:moveTo>
                  <a:pt x="141499" y="5725"/>
                </a:moveTo>
                <a:lnTo>
                  <a:pt x="42987" y="80057"/>
                </a:lnTo>
                <a:lnTo>
                  <a:pt x="4926" y="55429"/>
                </a:lnTo>
                <a:lnTo>
                  <a:pt x="141499" y="5725"/>
                </a:lnTo>
                <a:close/>
                <a:moveTo>
                  <a:pt x="45226" y="138716"/>
                </a:moveTo>
                <a:lnTo>
                  <a:pt x="45226" y="84086"/>
                </a:lnTo>
                <a:lnTo>
                  <a:pt x="140156" y="12441"/>
                </a:lnTo>
                <a:lnTo>
                  <a:pt x="45226" y="138716"/>
                </a:lnTo>
                <a:close/>
                <a:moveTo>
                  <a:pt x="97169" y="147672"/>
                </a:moveTo>
                <a:lnTo>
                  <a:pt x="72541" y="109610"/>
                </a:lnTo>
                <a:lnTo>
                  <a:pt x="74780" y="106476"/>
                </a:lnTo>
                <a:lnTo>
                  <a:pt x="74780" y="106476"/>
                </a:lnTo>
                <a:lnTo>
                  <a:pt x="146873" y="10650"/>
                </a:lnTo>
                <a:lnTo>
                  <a:pt x="97169" y="147672"/>
                </a:lnTo>
                <a:close/>
              </a:path>
            </a:pathLst>
          </a:custGeom>
          <a:solidFill>
            <a:srgbClr val="231F20"/>
          </a:solidFill>
          <a:ln w="4474" cap="flat">
            <a:noFill/>
            <a:prstDash val="solid"/>
            <a:miter/>
          </a:ln>
        </p:spPr>
        <p:txBody>
          <a:bodyPr rtlCol="0" anchor="ctr"/>
          <a:lstStyle/>
          <a:p>
            <a:endParaRPr lang="en-US"/>
          </a:p>
        </p:txBody>
      </p:sp>
      <p:grpSp>
        <p:nvGrpSpPr>
          <p:cNvPr id="4652" name="Group 4651">
            <a:extLst>
              <a:ext uri="{FF2B5EF4-FFF2-40B4-BE49-F238E27FC236}">
                <a16:creationId xmlns:a16="http://schemas.microsoft.com/office/drawing/2014/main" id="{84936801-1B0B-4C0D-AB38-E73B53425E68}"/>
              </a:ext>
              <a:ext uri="{C183D7F6-B498-43B3-948B-1728B52AA6E4}">
                <adec:decorative xmlns:adec="http://schemas.microsoft.com/office/drawing/2017/decorative" val="1"/>
              </a:ext>
            </a:extLst>
          </p:cNvPr>
          <p:cNvGrpSpPr>
            <a:grpSpLocks noChangeAspect="1"/>
          </p:cNvGrpSpPr>
          <p:nvPr/>
        </p:nvGrpSpPr>
        <p:grpSpPr>
          <a:xfrm>
            <a:off x="1323110" y="5239912"/>
            <a:ext cx="152246" cy="102990"/>
            <a:chOff x="1374431" y="4508800"/>
            <a:chExt cx="152246" cy="102990"/>
          </a:xfrm>
        </p:grpSpPr>
        <p:sp>
          <p:nvSpPr>
            <p:cNvPr id="4653" name="Freeform: Shape 4652">
              <a:extLst>
                <a:ext uri="{FF2B5EF4-FFF2-40B4-BE49-F238E27FC236}">
                  <a16:creationId xmlns:a16="http://schemas.microsoft.com/office/drawing/2014/main" id="{09D1B351-671B-4291-B8D6-8DBF68034020}"/>
                </a:ext>
              </a:extLst>
            </p:cNvPr>
            <p:cNvSpPr/>
            <p:nvPr/>
          </p:nvSpPr>
          <p:spPr>
            <a:xfrm>
              <a:off x="1421224" y="4532085"/>
              <a:ext cx="58212" cy="58212"/>
            </a:xfrm>
            <a:custGeom>
              <a:avLst/>
              <a:gdLst>
                <a:gd name="connsiteX0" fmla="*/ 29554 w 58211"/>
                <a:gd name="connsiteY0" fmla="*/ 58212 h 58211"/>
                <a:gd name="connsiteX1" fmla="*/ 0 w 58211"/>
                <a:gd name="connsiteY1" fmla="*/ 29106 h 58211"/>
                <a:gd name="connsiteX2" fmla="*/ 29554 w 58211"/>
                <a:gd name="connsiteY2" fmla="*/ 0 h 58211"/>
                <a:gd name="connsiteX3" fmla="*/ 59107 w 58211"/>
                <a:gd name="connsiteY3" fmla="*/ 29106 h 58211"/>
                <a:gd name="connsiteX4" fmla="*/ 29554 w 58211"/>
                <a:gd name="connsiteY4" fmla="*/ 58212 h 58211"/>
                <a:gd name="connsiteX5" fmla="*/ 29554 w 58211"/>
                <a:gd name="connsiteY5" fmla="*/ 4030 h 58211"/>
                <a:gd name="connsiteX6" fmla="*/ 4478 w 58211"/>
                <a:gd name="connsiteY6" fmla="*/ 28658 h 58211"/>
                <a:gd name="connsiteX7" fmla="*/ 29554 w 58211"/>
                <a:gd name="connsiteY7" fmla="*/ 53286 h 58211"/>
                <a:gd name="connsiteX8" fmla="*/ 54629 w 58211"/>
                <a:gd name="connsiteY8" fmla="*/ 28658 h 58211"/>
                <a:gd name="connsiteX9" fmla="*/ 29554 w 58211"/>
                <a:gd name="connsiteY9" fmla="*/ 4030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11" h="58211">
                  <a:moveTo>
                    <a:pt x="29554" y="58212"/>
                  </a:moveTo>
                  <a:cubicBezTo>
                    <a:pt x="13433" y="58212"/>
                    <a:pt x="0" y="45226"/>
                    <a:pt x="0" y="29106"/>
                  </a:cubicBezTo>
                  <a:cubicBezTo>
                    <a:pt x="0" y="12986"/>
                    <a:pt x="13433" y="0"/>
                    <a:pt x="29554" y="0"/>
                  </a:cubicBezTo>
                  <a:cubicBezTo>
                    <a:pt x="45674" y="0"/>
                    <a:pt x="59107" y="12986"/>
                    <a:pt x="59107" y="29106"/>
                  </a:cubicBezTo>
                  <a:cubicBezTo>
                    <a:pt x="58659" y="45226"/>
                    <a:pt x="45674" y="58212"/>
                    <a:pt x="29554" y="58212"/>
                  </a:cubicBezTo>
                  <a:close/>
                  <a:moveTo>
                    <a:pt x="29554" y="4030"/>
                  </a:moveTo>
                  <a:cubicBezTo>
                    <a:pt x="15672" y="4030"/>
                    <a:pt x="4478" y="15225"/>
                    <a:pt x="4478" y="28658"/>
                  </a:cubicBezTo>
                  <a:cubicBezTo>
                    <a:pt x="4478" y="42092"/>
                    <a:pt x="15672" y="53286"/>
                    <a:pt x="29554" y="53286"/>
                  </a:cubicBezTo>
                  <a:cubicBezTo>
                    <a:pt x="43435" y="53286"/>
                    <a:pt x="54629" y="42092"/>
                    <a:pt x="54629" y="28658"/>
                  </a:cubicBezTo>
                  <a:cubicBezTo>
                    <a:pt x="54182" y="15225"/>
                    <a:pt x="42987" y="4030"/>
                    <a:pt x="29554" y="4030"/>
                  </a:cubicBezTo>
                  <a:close/>
                </a:path>
              </a:pathLst>
            </a:custGeom>
            <a:solidFill>
              <a:srgbClr val="231F20"/>
            </a:solidFill>
            <a:ln w="4474" cap="flat">
              <a:noFill/>
              <a:prstDash val="solid"/>
              <a:miter/>
            </a:ln>
          </p:spPr>
          <p:txBody>
            <a:bodyPr rtlCol="0" anchor="ctr"/>
            <a:lstStyle/>
            <a:p>
              <a:endParaRPr lang="en-US"/>
            </a:p>
          </p:txBody>
        </p:sp>
        <p:sp>
          <p:nvSpPr>
            <p:cNvPr id="4654" name="Freeform: Shape 4653">
              <a:extLst>
                <a:ext uri="{FF2B5EF4-FFF2-40B4-BE49-F238E27FC236}">
                  <a16:creationId xmlns:a16="http://schemas.microsoft.com/office/drawing/2014/main" id="{C365E6C4-B646-4A29-B7C3-9086FD369717}"/>
                </a:ext>
              </a:extLst>
            </p:cNvPr>
            <p:cNvSpPr/>
            <p:nvPr/>
          </p:nvSpPr>
          <p:spPr>
            <a:xfrm>
              <a:off x="1374431" y="4508800"/>
              <a:ext cx="152246" cy="102990"/>
            </a:xfrm>
            <a:custGeom>
              <a:avLst/>
              <a:gdLst>
                <a:gd name="connsiteX0" fmla="*/ 76347 w 152245"/>
                <a:gd name="connsiteY0" fmla="*/ 104781 h 102989"/>
                <a:gd name="connsiteX1" fmla="*/ 672 w 152245"/>
                <a:gd name="connsiteY1" fmla="*/ 55077 h 102989"/>
                <a:gd name="connsiteX2" fmla="*/ 672 w 152245"/>
                <a:gd name="connsiteY2" fmla="*/ 49704 h 102989"/>
                <a:gd name="connsiteX3" fmla="*/ 76347 w 152245"/>
                <a:gd name="connsiteY3" fmla="*/ 0 h 102989"/>
                <a:gd name="connsiteX4" fmla="*/ 152022 w 152245"/>
                <a:gd name="connsiteY4" fmla="*/ 49704 h 102989"/>
                <a:gd name="connsiteX5" fmla="*/ 152022 w 152245"/>
                <a:gd name="connsiteY5" fmla="*/ 55077 h 102989"/>
                <a:gd name="connsiteX6" fmla="*/ 76347 w 152245"/>
                <a:gd name="connsiteY6" fmla="*/ 104781 h 102989"/>
                <a:gd name="connsiteX7" fmla="*/ 76347 w 152245"/>
                <a:gd name="connsiteY7" fmla="*/ 4030 h 102989"/>
                <a:gd name="connsiteX8" fmla="*/ 4702 w 152245"/>
                <a:gd name="connsiteY8" fmla="*/ 51047 h 102989"/>
                <a:gd name="connsiteX9" fmla="*/ 4702 w 152245"/>
                <a:gd name="connsiteY9" fmla="*/ 52838 h 102989"/>
                <a:gd name="connsiteX10" fmla="*/ 76347 w 152245"/>
                <a:gd name="connsiteY10" fmla="*/ 99855 h 102989"/>
                <a:gd name="connsiteX11" fmla="*/ 147992 w 152245"/>
                <a:gd name="connsiteY11" fmla="*/ 52838 h 102989"/>
                <a:gd name="connsiteX12" fmla="*/ 147992 w 152245"/>
                <a:gd name="connsiteY12" fmla="*/ 51047 h 102989"/>
                <a:gd name="connsiteX13" fmla="*/ 76347 w 152245"/>
                <a:gd name="connsiteY13" fmla="*/ 4030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245" h="102989">
                  <a:moveTo>
                    <a:pt x="76347" y="104781"/>
                  </a:moveTo>
                  <a:cubicBezTo>
                    <a:pt x="43211" y="104781"/>
                    <a:pt x="13210" y="85079"/>
                    <a:pt x="672" y="55077"/>
                  </a:cubicBezTo>
                  <a:cubicBezTo>
                    <a:pt x="-224" y="53286"/>
                    <a:pt x="-224" y="51495"/>
                    <a:pt x="672" y="49704"/>
                  </a:cubicBezTo>
                  <a:cubicBezTo>
                    <a:pt x="13210" y="19255"/>
                    <a:pt x="42763" y="0"/>
                    <a:pt x="76347" y="0"/>
                  </a:cubicBezTo>
                  <a:cubicBezTo>
                    <a:pt x="109930" y="0"/>
                    <a:pt x="139484" y="19702"/>
                    <a:pt x="152022" y="49704"/>
                  </a:cubicBezTo>
                  <a:cubicBezTo>
                    <a:pt x="152917" y="51495"/>
                    <a:pt x="152917" y="53286"/>
                    <a:pt x="152022" y="55077"/>
                  </a:cubicBezTo>
                  <a:cubicBezTo>
                    <a:pt x="139036" y="85079"/>
                    <a:pt x="109483" y="104781"/>
                    <a:pt x="76347" y="104781"/>
                  </a:cubicBezTo>
                  <a:close/>
                  <a:moveTo>
                    <a:pt x="76347" y="4030"/>
                  </a:moveTo>
                  <a:cubicBezTo>
                    <a:pt x="45002" y="4030"/>
                    <a:pt x="16792" y="22389"/>
                    <a:pt x="4702" y="51047"/>
                  </a:cubicBezTo>
                  <a:cubicBezTo>
                    <a:pt x="4254" y="51495"/>
                    <a:pt x="4254" y="52390"/>
                    <a:pt x="4702" y="52838"/>
                  </a:cubicBezTo>
                  <a:cubicBezTo>
                    <a:pt x="16792" y="81496"/>
                    <a:pt x="44554" y="99855"/>
                    <a:pt x="76347" y="99855"/>
                  </a:cubicBezTo>
                  <a:cubicBezTo>
                    <a:pt x="108139" y="99855"/>
                    <a:pt x="135902" y="81496"/>
                    <a:pt x="147992" y="52838"/>
                  </a:cubicBezTo>
                  <a:cubicBezTo>
                    <a:pt x="148440" y="52390"/>
                    <a:pt x="148440" y="51495"/>
                    <a:pt x="147992" y="51047"/>
                  </a:cubicBezTo>
                  <a:cubicBezTo>
                    <a:pt x="135902" y="22389"/>
                    <a:pt x="107692" y="4030"/>
                    <a:pt x="76347" y="4030"/>
                  </a:cubicBezTo>
                  <a:close/>
                </a:path>
              </a:pathLst>
            </a:custGeom>
            <a:solidFill>
              <a:srgbClr val="231F20"/>
            </a:solidFill>
            <a:ln w="4474" cap="flat">
              <a:noFill/>
              <a:prstDash val="solid"/>
              <a:miter/>
            </a:ln>
          </p:spPr>
          <p:txBody>
            <a:bodyPr rtlCol="0" anchor="ctr"/>
            <a:lstStyle/>
            <a:p>
              <a:endParaRPr lang="en-US"/>
            </a:p>
          </p:txBody>
        </p:sp>
      </p:grpSp>
      <p:sp>
        <p:nvSpPr>
          <p:cNvPr id="4655" name="Freeform: Shape 4654">
            <a:extLst>
              <a:ext uri="{FF2B5EF4-FFF2-40B4-BE49-F238E27FC236}">
                <a16:creationId xmlns:a16="http://schemas.microsoft.com/office/drawing/2014/main" id="{2C426B34-05A5-4243-B00D-9E2EDBDDA9C9}"/>
              </a:ext>
              <a:ext uri="{C183D7F6-B498-43B3-948B-1728B52AA6E4}">
                <adec:decorative xmlns:adec="http://schemas.microsoft.com/office/drawing/2017/decorative" val="1"/>
              </a:ext>
            </a:extLst>
          </p:cNvPr>
          <p:cNvSpPr>
            <a:spLocks noChangeAspect="1"/>
          </p:cNvSpPr>
          <p:nvPr/>
        </p:nvSpPr>
        <p:spPr>
          <a:xfrm>
            <a:off x="1593346" y="5236330"/>
            <a:ext cx="152246" cy="138812"/>
          </a:xfrm>
          <a:custGeom>
            <a:avLst/>
            <a:gdLst>
              <a:gd name="connsiteX0" fmla="*/ 76123 w 152245"/>
              <a:gd name="connsiteY0" fmla="*/ 138812 h 138812"/>
              <a:gd name="connsiteX1" fmla="*/ 71197 w 152245"/>
              <a:gd name="connsiteY1" fmla="*/ 136573 h 138812"/>
              <a:gd name="connsiteX2" fmla="*/ 12986 w 152245"/>
              <a:gd name="connsiteY2" fmla="*/ 77466 h 138812"/>
              <a:gd name="connsiteX3" fmla="*/ 0 w 152245"/>
              <a:gd name="connsiteY3" fmla="*/ 45674 h 138812"/>
              <a:gd name="connsiteX4" fmla="*/ 13433 w 152245"/>
              <a:gd name="connsiteY4" fmla="*/ 13433 h 138812"/>
              <a:gd name="connsiteX5" fmla="*/ 46122 w 152245"/>
              <a:gd name="connsiteY5" fmla="*/ 0 h 138812"/>
              <a:gd name="connsiteX6" fmla="*/ 74780 w 152245"/>
              <a:gd name="connsiteY6" fmla="*/ 11642 h 138812"/>
              <a:gd name="connsiteX7" fmla="*/ 77914 w 152245"/>
              <a:gd name="connsiteY7" fmla="*/ 11642 h 138812"/>
              <a:gd name="connsiteX8" fmla="*/ 106572 w 152245"/>
              <a:gd name="connsiteY8" fmla="*/ 0 h 138812"/>
              <a:gd name="connsiteX9" fmla="*/ 138812 w 152245"/>
              <a:gd name="connsiteY9" fmla="*/ 13433 h 138812"/>
              <a:gd name="connsiteX10" fmla="*/ 152246 w 152245"/>
              <a:gd name="connsiteY10" fmla="*/ 45674 h 138812"/>
              <a:gd name="connsiteX11" fmla="*/ 138812 w 152245"/>
              <a:gd name="connsiteY11" fmla="*/ 77466 h 138812"/>
              <a:gd name="connsiteX12" fmla="*/ 81049 w 152245"/>
              <a:gd name="connsiteY12" fmla="*/ 136573 h 138812"/>
              <a:gd name="connsiteX13" fmla="*/ 76123 w 152245"/>
              <a:gd name="connsiteY13" fmla="*/ 138812 h 138812"/>
              <a:gd name="connsiteX14" fmla="*/ 77914 w 152245"/>
              <a:gd name="connsiteY14" fmla="*/ 133439 h 138812"/>
              <a:gd name="connsiteX15" fmla="*/ 79705 w 152245"/>
              <a:gd name="connsiteY15" fmla="*/ 135230 h 138812"/>
              <a:gd name="connsiteX16" fmla="*/ 77914 w 152245"/>
              <a:gd name="connsiteY16" fmla="*/ 133439 h 138812"/>
              <a:gd name="connsiteX17" fmla="*/ 135678 w 152245"/>
              <a:gd name="connsiteY17" fmla="*/ 74780 h 138812"/>
              <a:gd name="connsiteX18" fmla="*/ 147768 w 152245"/>
              <a:gd name="connsiteY18" fmla="*/ 46122 h 138812"/>
              <a:gd name="connsiteX19" fmla="*/ 135678 w 152245"/>
              <a:gd name="connsiteY19" fmla="*/ 17016 h 138812"/>
              <a:gd name="connsiteX20" fmla="*/ 106572 w 152245"/>
              <a:gd name="connsiteY20" fmla="*/ 4926 h 138812"/>
              <a:gd name="connsiteX21" fmla="*/ 80601 w 152245"/>
              <a:gd name="connsiteY21" fmla="*/ 15225 h 138812"/>
              <a:gd name="connsiteX22" fmla="*/ 72093 w 152245"/>
              <a:gd name="connsiteY22" fmla="*/ 15225 h 138812"/>
              <a:gd name="connsiteX23" fmla="*/ 46569 w 152245"/>
              <a:gd name="connsiteY23" fmla="*/ 4926 h 138812"/>
              <a:gd name="connsiteX24" fmla="*/ 17016 w 152245"/>
              <a:gd name="connsiteY24" fmla="*/ 17016 h 138812"/>
              <a:gd name="connsiteX25" fmla="*/ 4926 w 152245"/>
              <a:gd name="connsiteY25" fmla="*/ 46122 h 138812"/>
              <a:gd name="connsiteX26" fmla="*/ 16568 w 152245"/>
              <a:gd name="connsiteY26" fmla="*/ 74780 h 138812"/>
              <a:gd name="connsiteX27" fmla="*/ 74780 w 152245"/>
              <a:gd name="connsiteY27" fmla="*/ 133887 h 138812"/>
              <a:gd name="connsiteX28" fmla="*/ 76571 w 152245"/>
              <a:gd name="connsiteY28" fmla="*/ 134782 h 138812"/>
              <a:gd name="connsiteX29" fmla="*/ 76571 w 152245"/>
              <a:gd name="connsiteY29" fmla="*/ 134782 h 138812"/>
              <a:gd name="connsiteX30" fmla="*/ 77914 w 152245"/>
              <a:gd name="connsiteY30" fmla="*/ 133439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245" h="138812">
                <a:moveTo>
                  <a:pt x="76123" y="138812"/>
                </a:moveTo>
                <a:cubicBezTo>
                  <a:pt x="73884" y="138812"/>
                  <a:pt x="72541" y="137917"/>
                  <a:pt x="71197" y="136573"/>
                </a:cubicBezTo>
                <a:lnTo>
                  <a:pt x="12986" y="77466"/>
                </a:lnTo>
                <a:cubicBezTo>
                  <a:pt x="4478" y="68958"/>
                  <a:pt x="0" y="57316"/>
                  <a:pt x="0" y="45674"/>
                </a:cubicBezTo>
                <a:cubicBezTo>
                  <a:pt x="0" y="33584"/>
                  <a:pt x="4926" y="21941"/>
                  <a:pt x="13433" y="13433"/>
                </a:cubicBezTo>
                <a:cubicBezTo>
                  <a:pt x="21941" y="4926"/>
                  <a:pt x="34031" y="448"/>
                  <a:pt x="46122" y="0"/>
                </a:cubicBezTo>
                <a:cubicBezTo>
                  <a:pt x="55973" y="0"/>
                  <a:pt x="65824" y="4030"/>
                  <a:pt x="74780" y="11642"/>
                </a:cubicBezTo>
                <a:cubicBezTo>
                  <a:pt x="75675" y="12538"/>
                  <a:pt x="77019" y="12538"/>
                  <a:pt x="77914" y="11642"/>
                </a:cubicBezTo>
                <a:cubicBezTo>
                  <a:pt x="86870" y="4030"/>
                  <a:pt x="97169" y="448"/>
                  <a:pt x="106572" y="0"/>
                </a:cubicBezTo>
                <a:cubicBezTo>
                  <a:pt x="118662" y="0"/>
                  <a:pt x="130305" y="4926"/>
                  <a:pt x="138812" y="13433"/>
                </a:cubicBezTo>
                <a:cubicBezTo>
                  <a:pt x="147320" y="21941"/>
                  <a:pt x="152246" y="33584"/>
                  <a:pt x="152246" y="45674"/>
                </a:cubicBezTo>
                <a:cubicBezTo>
                  <a:pt x="152246" y="57764"/>
                  <a:pt x="147320" y="68958"/>
                  <a:pt x="138812" y="77466"/>
                </a:cubicBezTo>
                <a:lnTo>
                  <a:pt x="81049" y="136573"/>
                </a:lnTo>
                <a:cubicBezTo>
                  <a:pt x="79705" y="137917"/>
                  <a:pt x="77914" y="138812"/>
                  <a:pt x="76123" y="138812"/>
                </a:cubicBezTo>
                <a:close/>
                <a:moveTo>
                  <a:pt x="77914" y="133439"/>
                </a:moveTo>
                <a:lnTo>
                  <a:pt x="79705" y="135230"/>
                </a:lnTo>
                <a:lnTo>
                  <a:pt x="77914" y="133439"/>
                </a:lnTo>
                <a:lnTo>
                  <a:pt x="135678" y="74780"/>
                </a:lnTo>
                <a:cubicBezTo>
                  <a:pt x="143290" y="67167"/>
                  <a:pt x="147768" y="56868"/>
                  <a:pt x="147768" y="46122"/>
                </a:cubicBezTo>
                <a:cubicBezTo>
                  <a:pt x="147768" y="34927"/>
                  <a:pt x="143290" y="24628"/>
                  <a:pt x="135678" y="17016"/>
                </a:cubicBezTo>
                <a:cubicBezTo>
                  <a:pt x="127618" y="8956"/>
                  <a:pt x="117319" y="4926"/>
                  <a:pt x="106572" y="4926"/>
                </a:cubicBezTo>
                <a:cubicBezTo>
                  <a:pt x="98064" y="4926"/>
                  <a:pt x="88661" y="8508"/>
                  <a:pt x="80601" y="15225"/>
                </a:cubicBezTo>
                <a:cubicBezTo>
                  <a:pt x="77914" y="17464"/>
                  <a:pt x="74332" y="17464"/>
                  <a:pt x="72093" y="15225"/>
                </a:cubicBezTo>
                <a:cubicBezTo>
                  <a:pt x="64033" y="8508"/>
                  <a:pt x="55077" y="4926"/>
                  <a:pt x="46569" y="4926"/>
                </a:cubicBezTo>
                <a:cubicBezTo>
                  <a:pt x="35375" y="4926"/>
                  <a:pt x="25076" y="8956"/>
                  <a:pt x="17016" y="17016"/>
                </a:cubicBezTo>
                <a:cubicBezTo>
                  <a:pt x="8956" y="24628"/>
                  <a:pt x="4926" y="34927"/>
                  <a:pt x="4926" y="46122"/>
                </a:cubicBezTo>
                <a:cubicBezTo>
                  <a:pt x="4926" y="56868"/>
                  <a:pt x="8956" y="67167"/>
                  <a:pt x="16568" y="74780"/>
                </a:cubicBezTo>
                <a:lnTo>
                  <a:pt x="74780" y="133887"/>
                </a:lnTo>
                <a:cubicBezTo>
                  <a:pt x="75227" y="134335"/>
                  <a:pt x="75675" y="134782"/>
                  <a:pt x="76571" y="134782"/>
                </a:cubicBezTo>
                <a:cubicBezTo>
                  <a:pt x="76571" y="134782"/>
                  <a:pt x="76571" y="134782"/>
                  <a:pt x="76571" y="134782"/>
                </a:cubicBezTo>
                <a:cubicBezTo>
                  <a:pt x="76571" y="134335"/>
                  <a:pt x="77466" y="133887"/>
                  <a:pt x="77914" y="133439"/>
                </a:cubicBezTo>
                <a:close/>
              </a:path>
            </a:pathLst>
          </a:custGeom>
          <a:solidFill>
            <a:srgbClr val="231F20"/>
          </a:solidFill>
          <a:ln w="4474" cap="flat">
            <a:noFill/>
            <a:prstDash val="solid"/>
            <a:miter/>
          </a:ln>
        </p:spPr>
        <p:txBody>
          <a:bodyPr rtlCol="0" anchor="ctr"/>
          <a:lstStyle/>
          <a:p>
            <a:endParaRPr lang="en-US"/>
          </a:p>
        </p:txBody>
      </p:sp>
      <p:sp>
        <p:nvSpPr>
          <p:cNvPr id="4656" name="Freeform: Shape 4655">
            <a:extLst>
              <a:ext uri="{FF2B5EF4-FFF2-40B4-BE49-F238E27FC236}">
                <a16:creationId xmlns:a16="http://schemas.microsoft.com/office/drawing/2014/main" id="{4C97D688-C4FF-4ABB-BCE1-F4E535C6B55E}"/>
              </a:ext>
              <a:ext uri="{C183D7F6-B498-43B3-948B-1728B52AA6E4}">
                <adec:decorative xmlns:adec="http://schemas.microsoft.com/office/drawing/2017/decorative" val="1"/>
              </a:ext>
            </a:extLst>
          </p:cNvPr>
          <p:cNvSpPr>
            <a:spLocks noChangeAspect="1"/>
          </p:cNvSpPr>
          <p:nvPr/>
        </p:nvSpPr>
        <p:spPr>
          <a:xfrm>
            <a:off x="2912511" y="5242599"/>
            <a:ext cx="120901" cy="116423"/>
          </a:xfrm>
          <a:custGeom>
            <a:avLst/>
            <a:gdLst>
              <a:gd name="connsiteX0" fmla="*/ 120453 w 120901"/>
              <a:gd name="connsiteY0" fmla="*/ 20598 h 116423"/>
              <a:gd name="connsiteX1" fmla="*/ 118215 w 120901"/>
              <a:gd name="connsiteY1" fmla="*/ 20598 h 116423"/>
              <a:gd name="connsiteX2" fmla="*/ 118215 w 120901"/>
              <a:gd name="connsiteY2" fmla="*/ 7612 h 116423"/>
              <a:gd name="connsiteX3" fmla="*/ 110602 w 120901"/>
              <a:gd name="connsiteY3" fmla="*/ 0 h 116423"/>
              <a:gd name="connsiteX4" fmla="*/ 80601 w 120901"/>
              <a:gd name="connsiteY4" fmla="*/ 0 h 116423"/>
              <a:gd name="connsiteX5" fmla="*/ 62689 w 120901"/>
              <a:gd name="connsiteY5" fmla="*/ 10747 h 116423"/>
              <a:gd name="connsiteX6" fmla="*/ 44778 w 120901"/>
              <a:gd name="connsiteY6" fmla="*/ 0 h 116423"/>
              <a:gd name="connsiteX7" fmla="*/ 14777 w 120901"/>
              <a:gd name="connsiteY7" fmla="*/ 0 h 116423"/>
              <a:gd name="connsiteX8" fmla="*/ 7164 w 120901"/>
              <a:gd name="connsiteY8" fmla="*/ 7612 h 116423"/>
              <a:gd name="connsiteX9" fmla="*/ 7164 w 120901"/>
              <a:gd name="connsiteY9" fmla="*/ 20598 h 116423"/>
              <a:gd name="connsiteX10" fmla="*/ 4925 w 120901"/>
              <a:gd name="connsiteY10" fmla="*/ 20598 h 116423"/>
              <a:gd name="connsiteX11" fmla="*/ 0 w 120901"/>
              <a:gd name="connsiteY11" fmla="*/ 25076 h 116423"/>
              <a:gd name="connsiteX12" fmla="*/ 0 w 120901"/>
              <a:gd name="connsiteY12" fmla="*/ 98960 h 116423"/>
              <a:gd name="connsiteX13" fmla="*/ 7164 w 120901"/>
              <a:gd name="connsiteY13" fmla="*/ 105676 h 116423"/>
              <a:gd name="connsiteX14" fmla="*/ 47465 w 120901"/>
              <a:gd name="connsiteY14" fmla="*/ 105676 h 116423"/>
              <a:gd name="connsiteX15" fmla="*/ 60451 w 120901"/>
              <a:gd name="connsiteY15" fmla="*/ 117319 h 116423"/>
              <a:gd name="connsiteX16" fmla="*/ 60451 w 120901"/>
              <a:gd name="connsiteY16" fmla="*/ 117767 h 116423"/>
              <a:gd name="connsiteX17" fmla="*/ 60451 w 120901"/>
              <a:gd name="connsiteY17" fmla="*/ 118214 h 116423"/>
              <a:gd name="connsiteX18" fmla="*/ 60898 w 120901"/>
              <a:gd name="connsiteY18" fmla="*/ 118662 h 116423"/>
              <a:gd name="connsiteX19" fmla="*/ 60898 w 120901"/>
              <a:gd name="connsiteY19" fmla="*/ 119110 h 116423"/>
              <a:gd name="connsiteX20" fmla="*/ 61346 w 120901"/>
              <a:gd name="connsiteY20" fmla="*/ 119558 h 116423"/>
              <a:gd name="connsiteX21" fmla="*/ 61346 w 120901"/>
              <a:gd name="connsiteY21" fmla="*/ 119558 h 116423"/>
              <a:gd name="connsiteX22" fmla="*/ 61346 w 120901"/>
              <a:gd name="connsiteY22" fmla="*/ 119558 h 116423"/>
              <a:gd name="connsiteX23" fmla="*/ 61794 w 120901"/>
              <a:gd name="connsiteY23" fmla="*/ 119558 h 116423"/>
              <a:gd name="connsiteX24" fmla="*/ 61794 w 120901"/>
              <a:gd name="connsiteY24" fmla="*/ 119558 h 116423"/>
              <a:gd name="connsiteX25" fmla="*/ 62242 w 120901"/>
              <a:gd name="connsiteY25" fmla="*/ 119558 h 116423"/>
              <a:gd name="connsiteX26" fmla="*/ 62242 w 120901"/>
              <a:gd name="connsiteY26" fmla="*/ 119558 h 116423"/>
              <a:gd name="connsiteX27" fmla="*/ 62242 w 120901"/>
              <a:gd name="connsiteY27" fmla="*/ 119558 h 116423"/>
              <a:gd name="connsiteX28" fmla="*/ 62242 w 120901"/>
              <a:gd name="connsiteY28" fmla="*/ 119558 h 116423"/>
              <a:gd name="connsiteX29" fmla="*/ 62242 w 120901"/>
              <a:gd name="connsiteY29" fmla="*/ 119558 h 116423"/>
              <a:gd name="connsiteX30" fmla="*/ 62242 w 120901"/>
              <a:gd name="connsiteY30" fmla="*/ 119558 h 116423"/>
              <a:gd name="connsiteX31" fmla="*/ 62242 w 120901"/>
              <a:gd name="connsiteY31" fmla="*/ 119558 h 116423"/>
              <a:gd name="connsiteX32" fmla="*/ 62242 w 120901"/>
              <a:gd name="connsiteY32" fmla="*/ 119558 h 116423"/>
              <a:gd name="connsiteX33" fmla="*/ 62242 w 120901"/>
              <a:gd name="connsiteY33" fmla="*/ 119558 h 116423"/>
              <a:gd name="connsiteX34" fmla="*/ 62689 w 120901"/>
              <a:gd name="connsiteY34" fmla="*/ 119558 h 116423"/>
              <a:gd name="connsiteX35" fmla="*/ 62689 w 120901"/>
              <a:gd name="connsiteY35" fmla="*/ 119558 h 116423"/>
              <a:gd name="connsiteX36" fmla="*/ 63137 w 120901"/>
              <a:gd name="connsiteY36" fmla="*/ 119558 h 116423"/>
              <a:gd name="connsiteX37" fmla="*/ 63137 w 120901"/>
              <a:gd name="connsiteY37" fmla="*/ 119558 h 116423"/>
              <a:gd name="connsiteX38" fmla="*/ 63585 w 120901"/>
              <a:gd name="connsiteY38" fmla="*/ 119110 h 116423"/>
              <a:gd name="connsiteX39" fmla="*/ 63585 w 120901"/>
              <a:gd name="connsiteY39" fmla="*/ 119110 h 116423"/>
              <a:gd name="connsiteX40" fmla="*/ 64033 w 120901"/>
              <a:gd name="connsiteY40" fmla="*/ 118214 h 116423"/>
              <a:gd name="connsiteX41" fmla="*/ 77019 w 120901"/>
              <a:gd name="connsiteY41" fmla="*/ 106572 h 116423"/>
              <a:gd name="connsiteX42" fmla="*/ 117319 w 120901"/>
              <a:gd name="connsiteY42" fmla="*/ 106572 h 116423"/>
              <a:gd name="connsiteX43" fmla="*/ 124483 w 120901"/>
              <a:gd name="connsiteY43" fmla="*/ 99855 h 116423"/>
              <a:gd name="connsiteX44" fmla="*/ 124483 w 120901"/>
              <a:gd name="connsiteY44" fmla="*/ 25971 h 116423"/>
              <a:gd name="connsiteX45" fmla="*/ 120453 w 120901"/>
              <a:gd name="connsiteY45" fmla="*/ 20598 h 116423"/>
              <a:gd name="connsiteX46" fmla="*/ 80153 w 120901"/>
              <a:gd name="connsiteY46" fmla="*/ 4478 h 116423"/>
              <a:gd name="connsiteX47" fmla="*/ 110154 w 120901"/>
              <a:gd name="connsiteY47" fmla="*/ 4478 h 116423"/>
              <a:gd name="connsiteX48" fmla="*/ 113289 w 120901"/>
              <a:gd name="connsiteY48" fmla="*/ 7612 h 116423"/>
              <a:gd name="connsiteX49" fmla="*/ 113289 w 120901"/>
              <a:gd name="connsiteY49" fmla="*/ 88213 h 116423"/>
              <a:gd name="connsiteX50" fmla="*/ 110154 w 120901"/>
              <a:gd name="connsiteY50" fmla="*/ 91348 h 116423"/>
              <a:gd name="connsiteX51" fmla="*/ 75675 w 120901"/>
              <a:gd name="connsiteY51" fmla="*/ 91348 h 116423"/>
              <a:gd name="connsiteX52" fmla="*/ 64928 w 120901"/>
              <a:gd name="connsiteY52" fmla="*/ 95377 h 116423"/>
              <a:gd name="connsiteX53" fmla="*/ 64481 w 120901"/>
              <a:gd name="connsiteY53" fmla="*/ 95825 h 116423"/>
              <a:gd name="connsiteX54" fmla="*/ 64481 w 120901"/>
              <a:gd name="connsiteY54" fmla="*/ 19703 h 116423"/>
              <a:gd name="connsiteX55" fmla="*/ 80153 w 120901"/>
              <a:gd name="connsiteY55" fmla="*/ 4478 h 116423"/>
              <a:gd name="connsiteX56" fmla="*/ 11642 w 120901"/>
              <a:gd name="connsiteY56" fmla="*/ 7612 h 116423"/>
              <a:gd name="connsiteX57" fmla="*/ 14777 w 120901"/>
              <a:gd name="connsiteY57" fmla="*/ 4478 h 116423"/>
              <a:gd name="connsiteX58" fmla="*/ 44778 w 120901"/>
              <a:gd name="connsiteY58" fmla="*/ 4478 h 116423"/>
              <a:gd name="connsiteX59" fmla="*/ 60451 w 120901"/>
              <a:gd name="connsiteY59" fmla="*/ 19703 h 116423"/>
              <a:gd name="connsiteX60" fmla="*/ 60451 w 120901"/>
              <a:gd name="connsiteY60" fmla="*/ 38061 h 116423"/>
              <a:gd name="connsiteX61" fmla="*/ 60451 w 120901"/>
              <a:gd name="connsiteY61" fmla="*/ 95825 h 116423"/>
              <a:gd name="connsiteX62" fmla="*/ 60003 w 120901"/>
              <a:gd name="connsiteY62" fmla="*/ 95377 h 116423"/>
              <a:gd name="connsiteX63" fmla="*/ 49704 w 120901"/>
              <a:gd name="connsiteY63" fmla="*/ 91348 h 116423"/>
              <a:gd name="connsiteX64" fmla="*/ 49256 w 120901"/>
              <a:gd name="connsiteY64" fmla="*/ 91348 h 116423"/>
              <a:gd name="connsiteX65" fmla="*/ 14777 w 120901"/>
              <a:gd name="connsiteY65" fmla="*/ 91348 h 116423"/>
              <a:gd name="connsiteX66" fmla="*/ 11642 w 120901"/>
              <a:gd name="connsiteY66" fmla="*/ 88213 h 116423"/>
              <a:gd name="connsiteX67" fmla="*/ 11642 w 120901"/>
              <a:gd name="connsiteY67" fmla="*/ 7612 h 116423"/>
              <a:gd name="connsiteX68" fmla="*/ 47465 w 120901"/>
              <a:gd name="connsiteY68" fmla="*/ 101199 h 116423"/>
              <a:gd name="connsiteX69" fmla="*/ 47465 w 120901"/>
              <a:gd name="connsiteY69" fmla="*/ 101199 h 116423"/>
              <a:gd name="connsiteX70" fmla="*/ 7164 w 120901"/>
              <a:gd name="connsiteY70" fmla="*/ 101199 h 116423"/>
              <a:gd name="connsiteX71" fmla="*/ 4478 w 120901"/>
              <a:gd name="connsiteY71" fmla="*/ 98960 h 116423"/>
              <a:gd name="connsiteX72" fmla="*/ 4925 w 120901"/>
              <a:gd name="connsiteY72" fmla="*/ 25076 h 116423"/>
              <a:gd name="connsiteX73" fmla="*/ 7164 w 120901"/>
              <a:gd name="connsiteY73" fmla="*/ 25076 h 116423"/>
              <a:gd name="connsiteX74" fmla="*/ 7164 w 120901"/>
              <a:gd name="connsiteY74" fmla="*/ 88213 h 116423"/>
              <a:gd name="connsiteX75" fmla="*/ 14777 w 120901"/>
              <a:gd name="connsiteY75" fmla="*/ 95825 h 116423"/>
              <a:gd name="connsiteX76" fmla="*/ 49704 w 120901"/>
              <a:gd name="connsiteY76" fmla="*/ 95825 h 116423"/>
              <a:gd name="connsiteX77" fmla="*/ 56868 w 120901"/>
              <a:gd name="connsiteY77" fmla="*/ 98512 h 116423"/>
              <a:gd name="connsiteX78" fmla="*/ 60451 w 120901"/>
              <a:gd name="connsiteY78" fmla="*/ 106572 h 116423"/>
              <a:gd name="connsiteX79" fmla="*/ 47465 w 120901"/>
              <a:gd name="connsiteY79" fmla="*/ 101199 h 116423"/>
              <a:gd name="connsiteX80" fmla="*/ 120453 w 120901"/>
              <a:gd name="connsiteY80" fmla="*/ 98960 h 116423"/>
              <a:gd name="connsiteX81" fmla="*/ 117767 w 120901"/>
              <a:gd name="connsiteY81" fmla="*/ 101199 h 116423"/>
              <a:gd name="connsiteX82" fmla="*/ 77466 w 120901"/>
              <a:gd name="connsiteY82" fmla="*/ 101199 h 116423"/>
              <a:gd name="connsiteX83" fmla="*/ 77466 w 120901"/>
              <a:gd name="connsiteY83" fmla="*/ 101199 h 116423"/>
              <a:gd name="connsiteX84" fmla="*/ 64928 w 120901"/>
              <a:gd name="connsiteY84" fmla="*/ 106572 h 116423"/>
              <a:gd name="connsiteX85" fmla="*/ 68063 w 120901"/>
              <a:gd name="connsiteY85" fmla="*/ 98512 h 116423"/>
              <a:gd name="connsiteX86" fmla="*/ 75675 w 120901"/>
              <a:gd name="connsiteY86" fmla="*/ 95825 h 116423"/>
              <a:gd name="connsiteX87" fmla="*/ 110154 w 120901"/>
              <a:gd name="connsiteY87" fmla="*/ 95825 h 116423"/>
              <a:gd name="connsiteX88" fmla="*/ 117767 w 120901"/>
              <a:gd name="connsiteY88" fmla="*/ 88213 h 116423"/>
              <a:gd name="connsiteX89" fmla="*/ 117767 w 120901"/>
              <a:gd name="connsiteY89" fmla="*/ 25076 h 116423"/>
              <a:gd name="connsiteX90" fmla="*/ 120453 w 120901"/>
              <a:gd name="connsiteY90" fmla="*/ 25076 h 116423"/>
              <a:gd name="connsiteX91" fmla="*/ 120453 w 120901"/>
              <a:gd name="connsiteY91" fmla="*/ 98960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0901" h="116423">
                <a:moveTo>
                  <a:pt x="120453" y="20598"/>
                </a:moveTo>
                <a:lnTo>
                  <a:pt x="118215" y="20598"/>
                </a:lnTo>
                <a:lnTo>
                  <a:pt x="118215" y="7612"/>
                </a:lnTo>
                <a:cubicBezTo>
                  <a:pt x="118215" y="3582"/>
                  <a:pt x="114632" y="0"/>
                  <a:pt x="110602" y="0"/>
                </a:cubicBezTo>
                <a:lnTo>
                  <a:pt x="80601" y="0"/>
                </a:lnTo>
                <a:cubicBezTo>
                  <a:pt x="72988" y="0"/>
                  <a:pt x="66272" y="4478"/>
                  <a:pt x="62689" y="10747"/>
                </a:cubicBezTo>
                <a:cubicBezTo>
                  <a:pt x="59555" y="4478"/>
                  <a:pt x="52838" y="0"/>
                  <a:pt x="44778" y="0"/>
                </a:cubicBezTo>
                <a:lnTo>
                  <a:pt x="14777" y="0"/>
                </a:lnTo>
                <a:cubicBezTo>
                  <a:pt x="10747" y="0"/>
                  <a:pt x="7164" y="3582"/>
                  <a:pt x="7164" y="7612"/>
                </a:cubicBezTo>
                <a:lnTo>
                  <a:pt x="7164" y="20598"/>
                </a:lnTo>
                <a:lnTo>
                  <a:pt x="4925" y="20598"/>
                </a:lnTo>
                <a:cubicBezTo>
                  <a:pt x="2239" y="20598"/>
                  <a:pt x="0" y="22837"/>
                  <a:pt x="0" y="25076"/>
                </a:cubicBezTo>
                <a:lnTo>
                  <a:pt x="0" y="98960"/>
                </a:lnTo>
                <a:cubicBezTo>
                  <a:pt x="0" y="102542"/>
                  <a:pt x="3582" y="105676"/>
                  <a:pt x="7164" y="105676"/>
                </a:cubicBezTo>
                <a:lnTo>
                  <a:pt x="47465" y="105676"/>
                </a:lnTo>
                <a:cubicBezTo>
                  <a:pt x="47913" y="105676"/>
                  <a:pt x="58659" y="105676"/>
                  <a:pt x="60451" y="117319"/>
                </a:cubicBezTo>
                <a:cubicBezTo>
                  <a:pt x="60451" y="117319"/>
                  <a:pt x="60451" y="117319"/>
                  <a:pt x="60451" y="117767"/>
                </a:cubicBezTo>
                <a:cubicBezTo>
                  <a:pt x="60451" y="117767"/>
                  <a:pt x="60451" y="118214"/>
                  <a:pt x="60451" y="118214"/>
                </a:cubicBezTo>
                <a:cubicBezTo>
                  <a:pt x="60451" y="118214"/>
                  <a:pt x="60451" y="118662"/>
                  <a:pt x="60898" y="118662"/>
                </a:cubicBezTo>
                <a:cubicBezTo>
                  <a:pt x="60898" y="118662"/>
                  <a:pt x="60898" y="118662"/>
                  <a:pt x="60898" y="119110"/>
                </a:cubicBezTo>
                <a:cubicBezTo>
                  <a:pt x="60898" y="119110"/>
                  <a:pt x="61346" y="119110"/>
                  <a:pt x="61346" y="119558"/>
                </a:cubicBezTo>
                <a:cubicBezTo>
                  <a:pt x="61346" y="119558"/>
                  <a:pt x="61346" y="119558"/>
                  <a:pt x="61346" y="119558"/>
                </a:cubicBezTo>
                <a:cubicBezTo>
                  <a:pt x="61346" y="119558"/>
                  <a:pt x="61346" y="119558"/>
                  <a:pt x="61346" y="119558"/>
                </a:cubicBezTo>
                <a:cubicBezTo>
                  <a:pt x="61346" y="119558"/>
                  <a:pt x="61794" y="119558"/>
                  <a:pt x="61794" y="119558"/>
                </a:cubicBezTo>
                <a:cubicBezTo>
                  <a:pt x="61794" y="119558"/>
                  <a:pt x="61794" y="119558"/>
                  <a:pt x="61794" y="119558"/>
                </a:cubicBezTo>
                <a:cubicBezTo>
                  <a:pt x="61794" y="119558"/>
                  <a:pt x="61794" y="119558"/>
                  <a:pt x="62242" y="119558"/>
                </a:cubicBezTo>
                <a:cubicBezTo>
                  <a:pt x="62242" y="119558"/>
                  <a:pt x="62242" y="119558"/>
                  <a:pt x="62242" y="119558"/>
                </a:cubicBezTo>
                <a:cubicBezTo>
                  <a:pt x="62242" y="119558"/>
                  <a:pt x="62242" y="119558"/>
                  <a:pt x="62242" y="119558"/>
                </a:cubicBezTo>
                <a:cubicBezTo>
                  <a:pt x="62242" y="119558"/>
                  <a:pt x="62242" y="119558"/>
                  <a:pt x="62242" y="119558"/>
                </a:cubicBezTo>
                <a:lnTo>
                  <a:pt x="62242" y="119558"/>
                </a:lnTo>
                <a:cubicBezTo>
                  <a:pt x="62242" y="119558"/>
                  <a:pt x="62242" y="119558"/>
                  <a:pt x="62242" y="119558"/>
                </a:cubicBezTo>
                <a:cubicBezTo>
                  <a:pt x="62242" y="119558"/>
                  <a:pt x="62242" y="119558"/>
                  <a:pt x="62242" y="119558"/>
                </a:cubicBezTo>
                <a:cubicBezTo>
                  <a:pt x="62242" y="119558"/>
                  <a:pt x="62242" y="119558"/>
                  <a:pt x="62242" y="119558"/>
                </a:cubicBezTo>
                <a:cubicBezTo>
                  <a:pt x="62242" y="119558"/>
                  <a:pt x="62242" y="119558"/>
                  <a:pt x="62242" y="119558"/>
                </a:cubicBezTo>
                <a:cubicBezTo>
                  <a:pt x="62242" y="119558"/>
                  <a:pt x="62242" y="119558"/>
                  <a:pt x="62689" y="119558"/>
                </a:cubicBezTo>
                <a:cubicBezTo>
                  <a:pt x="62689" y="119558"/>
                  <a:pt x="62689" y="119558"/>
                  <a:pt x="62689" y="119558"/>
                </a:cubicBezTo>
                <a:cubicBezTo>
                  <a:pt x="62689" y="119558"/>
                  <a:pt x="63137" y="119558"/>
                  <a:pt x="63137" y="119558"/>
                </a:cubicBezTo>
                <a:cubicBezTo>
                  <a:pt x="63137" y="119558"/>
                  <a:pt x="63137" y="119558"/>
                  <a:pt x="63137" y="119558"/>
                </a:cubicBezTo>
                <a:cubicBezTo>
                  <a:pt x="63585" y="119558"/>
                  <a:pt x="63585" y="119110"/>
                  <a:pt x="63585" y="119110"/>
                </a:cubicBezTo>
                <a:cubicBezTo>
                  <a:pt x="63585" y="119110"/>
                  <a:pt x="63585" y="119110"/>
                  <a:pt x="63585" y="119110"/>
                </a:cubicBezTo>
                <a:cubicBezTo>
                  <a:pt x="64033" y="118662"/>
                  <a:pt x="64033" y="118662"/>
                  <a:pt x="64033" y="118214"/>
                </a:cubicBezTo>
                <a:cubicBezTo>
                  <a:pt x="65824" y="107020"/>
                  <a:pt x="76571" y="106572"/>
                  <a:pt x="77019" y="106572"/>
                </a:cubicBezTo>
                <a:lnTo>
                  <a:pt x="117319" y="106572"/>
                </a:lnTo>
                <a:cubicBezTo>
                  <a:pt x="121349" y="106572"/>
                  <a:pt x="124483" y="103437"/>
                  <a:pt x="124483" y="99855"/>
                </a:cubicBezTo>
                <a:lnTo>
                  <a:pt x="124483" y="25971"/>
                </a:lnTo>
                <a:cubicBezTo>
                  <a:pt x="124931" y="22389"/>
                  <a:pt x="123140" y="20598"/>
                  <a:pt x="120453" y="20598"/>
                </a:cubicBezTo>
                <a:close/>
                <a:moveTo>
                  <a:pt x="80153" y="4478"/>
                </a:moveTo>
                <a:lnTo>
                  <a:pt x="110154" y="4478"/>
                </a:lnTo>
                <a:cubicBezTo>
                  <a:pt x="111945" y="4478"/>
                  <a:pt x="113289" y="5821"/>
                  <a:pt x="113289" y="7612"/>
                </a:cubicBezTo>
                <a:lnTo>
                  <a:pt x="113289" y="88213"/>
                </a:lnTo>
                <a:cubicBezTo>
                  <a:pt x="113289" y="90004"/>
                  <a:pt x="111945" y="91348"/>
                  <a:pt x="110154" y="91348"/>
                </a:cubicBezTo>
                <a:lnTo>
                  <a:pt x="75675" y="91348"/>
                </a:lnTo>
                <a:cubicBezTo>
                  <a:pt x="75227" y="91348"/>
                  <a:pt x="69406" y="90900"/>
                  <a:pt x="64928" y="95377"/>
                </a:cubicBezTo>
                <a:cubicBezTo>
                  <a:pt x="64928" y="95377"/>
                  <a:pt x="64481" y="95825"/>
                  <a:pt x="64481" y="95825"/>
                </a:cubicBezTo>
                <a:lnTo>
                  <a:pt x="64481" y="19703"/>
                </a:lnTo>
                <a:cubicBezTo>
                  <a:pt x="64481" y="11195"/>
                  <a:pt x="71645" y="4478"/>
                  <a:pt x="80153" y="4478"/>
                </a:cubicBezTo>
                <a:close/>
                <a:moveTo>
                  <a:pt x="11642" y="7612"/>
                </a:moveTo>
                <a:cubicBezTo>
                  <a:pt x="11642" y="5821"/>
                  <a:pt x="12986" y="4478"/>
                  <a:pt x="14777" y="4478"/>
                </a:cubicBezTo>
                <a:lnTo>
                  <a:pt x="44778" y="4478"/>
                </a:lnTo>
                <a:cubicBezTo>
                  <a:pt x="53286" y="4478"/>
                  <a:pt x="60451" y="11195"/>
                  <a:pt x="60451" y="19703"/>
                </a:cubicBezTo>
                <a:lnTo>
                  <a:pt x="60451" y="38061"/>
                </a:lnTo>
                <a:lnTo>
                  <a:pt x="60451" y="95825"/>
                </a:lnTo>
                <a:cubicBezTo>
                  <a:pt x="60451" y="95825"/>
                  <a:pt x="60003" y="95377"/>
                  <a:pt x="60003" y="95377"/>
                </a:cubicBezTo>
                <a:cubicBezTo>
                  <a:pt x="55973" y="91795"/>
                  <a:pt x="51495" y="91348"/>
                  <a:pt x="49704" y="91348"/>
                </a:cubicBezTo>
                <a:cubicBezTo>
                  <a:pt x="49256" y="91348"/>
                  <a:pt x="49256" y="91348"/>
                  <a:pt x="49256" y="91348"/>
                </a:cubicBezTo>
                <a:lnTo>
                  <a:pt x="14777" y="91348"/>
                </a:lnTo>
                <a:cubicBezTo>
                  <a:pt x="12986" y="91348"/>
                  <a:pt x="11642" y="90004"/>
                  <a:pt x="11642" y="88213"/>
                </a:cubicBezTo>
                <a:lnTo>
                  <a:pt x="11642" y="7612"/>
                </a:lnTo>
                <a:close/>
                <a:moveTo>
                  <a:pt x="47465" y="101199"/>
                </a:moveTo>
                <a:cubicBezTo>
                  <a:pt x="47465" y="101199"/>
                  <a:pt x="47465" y="101199"/>
                  <a:pt x="47465" y="101199"/>
                </a:cubicBezTo>
                <a:lnTo>
                  <a:pt x="7164" y="101199"/>
                </a:lnTo>
                <a:cubicBezTo>
                  <a:pt x="5373" y="101199"/>
                  <a:pt x="4478" y="99855"/>
                  <a:pt x="4478" y="98960"/>
                </a:cubicBezTo>
                <a:lnTo>
                  <a:pt x="4925" y="25076"/>
                </a:lnTo>
                <a:lnTo>
                  <a:pt x="7164" y="25076"/>
                </a:lnTo>
                <a:lnTo>
                  <a:pt x="7164" y="88213"/>
                </a:lnTo>
                <a:cubicBezTo>
                  <a:pt x="7164" y="92243"/>
                  <a:pt x="10747" y="95825"/>
                  <a:pt x="14777" y="95825"/>
                </a:cubicBezTo>
                <a:lnTo>
                  <a:pt x="49704" y="95825"/>
                </a:lnTo>
                <a:cubicBezTo>
                  <a:pt x="49704" y="95825"/>
                  <a:pt x="54181" y="95825"/>
                  <a:pt x="56868" y="98512"/>
                </a:cubicBezTo>
                <a:cubicBezTo>
                  <a:pt x="58659" y="100303"/>
                  <a:pt x="60003" y="102990"/>
                  <a:pt x="60451" y="106572"/>
                </a:cubicBezTo>
                <a:cubicBezTo>
                  <a:pt x="55973" y="102542"/>
                  <a:pt x="50599" y="101199"/>
                  <a:pt x="47465" y="101199"/>
                </a:cubicBezTo>
                <a:close/>
                <a:moveTo>
                  <a:pt x="120453" y="98960"/>
                </a:moveTo>
                <a:cubicBezTo>
                  <a:pt x="120453" y="99855"/>
                  <a:pt x="119110" y="101199"/>
                  <a:pt x="117767" y="101199"/>
                </a:cubicBezTo>
                <a:lnTo>
                  <a:pt x="77466" y="101199"/>
                </a:lnTo>
                <a:cubicBezTo>
                  <a:pt x="77466" y="101199"/>
                  <a:pt x="77466" y="101199"/>
                  <a:pt x="77466" y="101199"/>
                </a:cubicBezTo>
                <a:cubicBezTo>
                  <a:pt x="74332" y="101199"/>
                  <a:pt x="68511" y="102542"/>
                  <a:pt x="64928" y="106572"/>
                </a:cubicBezTo>
                <a:cubicBezTo>
                  <a:pt x="65376" y="102990"/>
                  <a:pt x="66272" y="100303"/>
                  <a:pt x="68063" y="98512"/>
                </a:cubicBezTo>
                <a:cubicBezTo>
                  <a:pt x="71197" y="95377"/>
                  <a:pt x="75675" y="95825"/>
                  <a:pt x="75675" y="95825"/>
                </a:cubicBezTo>
                <a:lnTo>
                  <a:pt x="110154" y="95825"/>
                </a:lnTo>
                <a:cubicBezTo>
                  <a:pt x="114184" y="95825"/>
                  <a:pt x="117767" y="92243"/>
                  <a:pt x="117767" y="88213"/>
                </a:cubicBezTo>
                <a:lnTo>
                  <a:pt x="117767" y="25076"/>
                </a:lnTo>
                <a:lnTo>
                  <a:pt x="120453" y="25076"/>
                </a:lnTo>
                <a:lnTo>
                  <a:pt x="120453" y="98960"/>
                </a:lnTo>
                <a:close/>
              </a:path>
            </a:pathLst>
          </a:custGeom>
          <a:solidFill>
            <a:srgbClr val="231F20"/>
          </a:solidFill>
          <a:ln w="4474" cap="flat">
            <a:noFill/>
            <a:prstDash val="solid"/>
            <a:miter/>
          </a:ln>
        </p:spPr>
        <p:txBody>
          <a:bodyPr rtlCol="0" anchor="ctr"/>
          <a:lstStyle/>
          <a:p>
            <a:endParaRPr lang="en-US"/>
          </a:p>
        </p:txBody>
      </p:sp>
      <p:grpSp>
        <p:nvGrpSpPr>
          <p:cNvPr id="4657" name="Group 4656">
            <a:extLst>
              <a:ext uri="{FF2B5EF4-FFF2-40B4-BE49-F238E27FC236}">
                <a16:creationId xmlns:a16="http://schemas.microsoft.com/office/drawing/2014/main" id="{F26B24F8-A585-4382-B305-1CB930D22ACF}"/>
              </a:ext>
              <a:ext uri="{C183D7F6-B498-43B3-948B-1728B52AA6E4}">
                <adec:decorative xmlns:adec="http://schemas.microsoft.com/office/drawing/2017/decorative" val="1"/>
              </a:ext>
            </a:extLst>
          </p:cNvPr>
          <p:cNvGrpSpPr>
            <a:grpSpLocks noChangeAspect="1"/>
          </p:cNvGrpSpPr>
          <p:nvPr/>
        </p:nvGrpSpPr>
        <p:grpSpPr>
          <a:xfrm>
            <a:off x="3191927" y="5236330"/>
            <a:ext cx="91796" cy="138812"/>
            <a:chOff x="3243248" y="4505218"/>
            <a:chExt cx="91796" cy="138812"/>
          </a:xfrm>
        </p:grpSpPr>
        <p:sp>
          <p:nvSpPr>
            <p:cNvPr id="4658" name="Freeform: Shape 4657">
              <a:extLst>
                <a:ext uri="{FF2B5EF4-FFF2-40B4-BE49-F238E27FC236}">
                  <a16:creationId xmlns:a16="http://schemas.microsoft.com/office/drawing/2014/main" id="{2C52C5EC-0455-4A38-BB1C-6BA233CF7FD9}"/>
                </a:ext>
              </a:extLst>
            </p:cNvPr>
            <p:cNvSpPr/>
            <p:nvPr/>
          </p:nvSpPr>
          <p:spPr>
            <a:xfrm>
              <a:off x="3243248" y="4505218"/>
              <a:ext cx="44778" cy="138812"/>
            </a:xfrm>
            <a:custGeom>
              <a:avLst/>
              <a:gdLst>
                <a:gd name="connsiteX0" fmla="*/ 42539 w 44778"/>
                <a:gd name="connsiteY0" fmla="*/ 0 h 138812"/>
                <a:gd name="connsiteX1" fmla="*/ 40300 w 44778"/>
                <a:gd name="connsiteY1" fmla="*/ 2239 h 138812"/>
                <a:gd name="connsiteX2" fmla="*/ 40300 w 44778"/>
                <a:gd name="connsiteY2" fmla="*/ 42539 h 138812"/>
                <a:gd name="connsiteX3" fmla="*/ 24628 w 44778"/>
                <a:gd name="connsiteY3" fmla="*/ 57316 h 138812"/>
                <a:gd name="connsiteX4" fmla="*/ 24628 w 44778"/>
                <a:gd name="connsiteY4" fmla="*/ 3135 h 138812"/>
                <a:gd name="connsiteX5" fmla="*/ 22389 w 44778"/>
                <a:gd name="connsiteY5" fmla="*/ 896 h 138812"/>
                <a:gd name="connsiteX6" fmla="*/ 20150 w 44778"/>
                <a:gd name="connsiteY6" fmla="*/ 3135 h 138812"/>
                <a:gd name="connsiteX7" fmla="*/ 20150 w 44778"/>
                <a:gd name="connsiteY7" fmla="*/ 57316 h 138812"/>
                <a:gd name="connsiteX8" fmla="*/ 4478 w 44778"/>
                <a:gd name="connsiteY8" fmla="*/ 42539 h 138812"/>
                <a:gd name="connsiteX9" fmla="*/ 4478 w 44778"/>
                <a:gd name="connsiteY9" fmla="*/ 2239 h 138812"/>
                <a:gd name="connsiteX10" fmla="*/ 2239 w 44778"/>
                <a:gd name="connsiteY10" fmla="*/ 0 h 138812"/>
                <a:gd name="connsiteX11" fmla="*/ 0 w 44778"/>
                <a:gd name="connsiteY11" fmla="*/ 2239 h 138812"/>
                <a:gd name="connsiteX12" fmla="*/ 0 w 44778"/>
                <a:gd name="connsiteY12" fmla="*/ 42539 h 138812"/>
                <a:gd name="connsiteX13" fmla="*/ 20150 w 44778"/>
                <a:gd name="connsiteY13" fmla="*/ 61794 h 138812"/>
                <a:gd name="connsiteX14" fmla="*/ 20150 w 44778"/>
                <a:gd name="connsiteY14" fmla="*/ 136573 h 138812"/>
                <a:gd name="connsiteX15" fmla="*/ 22389 w 44778"/>
                <a:gd name="connsiteY15" fmla="*/ 138812 h 138812"/>
                <a:gd name="connsiteX16" fmla="*/ 24628 w 44778"/>
                <a:gd name="connsiteY16" fmla="*/ 136573 h 138812"/>
                <a:gd name="connsiteX17" fmla="*/ 24628 w 44778"/>
                <a:gd name="connsiteY17" fmla="*/ 61794 h 138812"/>
                <a:gd name="connsiteX18" fmla="*/ 44778 w 44778"/>
                <a:gd name="connsiteY18" fmla="*/ 42539 h 138812"/>
                <a:gd name="connsiteX19" fmla="*/ 44778 w 44778"/>
                <a:gd name="connsiteY19" fmla="*/ 2239 h 138812"/>
                <a:gd name="connsiteX20" fmla="*/ 42539 w 44778"/>
                <a:gd name="connsiteY20" fmla="*/ 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778" h="138812">
                  <a:moveTo>
                    <a:pt x="42539" y="0"/>
                  </a:moveTo>
                  <a:cubicBezTo>
                    <a:pt x="41196" y="0"/>
                    <a:pt x="40300" y="896"/>
                    <a:pt x="40300" y="2239"/>
                  </a:cubicBezTo>
                  <a:lnTo>
                    <a:pt x="40300" y="42539"/>
                  </a:lnTo>
                  <a:cubicBezTo>
                    <a:pt x="40300" y="50152"/>
                    <a:pt x="33584" y="56421"/>
                    <a:pt x="24628" y="57316"/>
                  </a:cubicBezTo>
                  <a:lnTo>
                    <a:pt x="24628" y="3135"/>
                  </a:lnTo>
                  <a:cubicBezTo>
                    <a:pt x="24628" y="1791"/>
                    <a:pt x="23732" y="896"/>
                    <a:pt x="22389" y="896"/>
                  </a:cubicBezTo>
                  <a:cubicBezTo>
                    <a:pt x="21046" y="896"/>
                    <a:pt x="20150" y="1791"/>
                    <a:pt x="20150" y="3135"/>
                  </a:cubicBezTo>
                  <a:lnTo>
                    <a:pt x="20150" y="57316"/>
                  </a:lnTo>
                  <a:cubicBezTo>
                    <a:pt x="11195" y="56421"/>
                    <a:pt x="4478" y="50152"/>
                    <a:pt x="4478" y="42539"/>
                  </a:cubicBezTo>
                  <a:lnTo>
                    <a:pt x="4478" y="2239"/>
                  </a:lnTo>
                  <a:cubicBezTo>
                    <a:pt x="4478" y="896"/>
                    <a:pt x="3582" y="0"/>
                    <a:pt x="2239" y="0"/>
                  </a:cubicBezTo>
                  <a:cubicBezTo>
                    <a:pt x="895" y="0"/>
                    <a:pt x="0" y="896"/>
                    <a:pt x="0" y="2239"/>
                  </a:cubicBezTo>
                  <a:lnTo>
                    <a:pt x="0" y="42539"/>
                  </a:lnTo>
                  <a:cubicBezTo>
                    <a:pt x="0" y="52391"/>
                    <a:pt x="8956" y="60898"/>
                    <a:pt x="20150" y="61794"/>
                  </a:cubicBezTo>
                  <a:lnTo>
                    <a:pt x="20150" y="136573"/>
                  </a:lnTo>
                  <a:cubicBezTo>
                    <a:pt x="20150" y="137917"/>
                    <a:pt x="21046" y="138812"/>
                    <a:pt x="22389" y="138812"/>
                  </a:cubicBezTo>
                  <a:cubicBezTo>
                    <a:pt x="23732" y="138812"/>
                    <a:pt x="24628" y="137917"/>
                    <a:pt x="24628" y="136573"/>
                  </a:cubicBezTo>
                  <a:lnTo>
                    <a:pt x="24628" y="61794"/>
                  </a:lnTo>
                  <a:cubicBezTo>
                    <a:pt x="35823" y="60898"/>
                    <a:pt x="44778" y="52391"/>
                    <a:pt x="44778" y="42539"/>
                  </a:cubicBezTo>
                  <a:lnTo>
                    <a:pt x="44778" y="2239"/>
                  </a:lnTo>
                  <a:cubicBezTo>
                    <a:pt x="44778" y="896"/>
                    <a:pt x="43883" y="0"/>
                    <a:pt x="42539" y="0"/>
                  </a:cubicBezTo>
                  <a:close/>
                </a:path>
              </a:pathLst>
            </a:custGeom>
            <a:solidFill>
              <a:srgbClr val="231F20"/>
            </a:solidFill>
            <a:ln w="4474" cap="flat">
              <a:noFill/>
              <a:prstDash val="solid"/>
              <a:miter/>
            </a:ln>
          </p:spPr>
          <p:txBody>
            <a:bodyPr rtlCol="0" anchor="ctr"/>
            <a:lstStyle/>
            <a:p>
              <a:endParaRPr lang="en-US"/>
            </a:p>
          </p:txBody>
        </p:sp>
        <p:sp>
          <p:nvSpPr>
            <p:cNvPr id="4659" name="Freeform: Shape 4658">
              <a:extLst>
                <a:ext uri="{FF2B5EF4-FFF2-40B4-BE49-F238E27FC236}">
                  <a16:creationId xmlns:a16="http://schemas.microsoft.com/office/drawing/2014/main" id="{3BBECD9C-ED8B-4B9C-B8D2-CFC92AB16157}"/>
                </a:ext>
              </a:extLst>
            </p:cNvPr>
            <p:cNvSpPr/>
            <p:nvPr/>
          </p:nvSpPr>
          <p:spPr>
            <a:xfrm>
              <a:off x="3303699" y="4505218"/>
              <a:ext cx="31345" cy="134335"/>
            </a:xfrm>
            <a:custGeom>
              <a:avLst/>
              <a:gdLst>
                <a:gd name="connsiteX0" fmla="*/ 25523 w 31344"/>
                <a:gd name="connsiteY0" fmla="*/ 0 h 134334"/>
                <a:gd name="connsiteX1" fmla="*/ 0 w 31344"/>
                <a:gd name="connsiteY1" fmla="*/ 69406 h 134334"/>
                <a:gd name="connsiteX2" fmla="*/ 0 w 31344"/>
                <a:gd name="connsiteY2" fmla="*/ 91795 h 134334"/>
                <a:gd name="connsiteX3" fmla="*/ 7164 w 31344"/>
                <a:gd name="connsiteY3" fmla="*/ 98512 h 134334"/>
                <a:gd name="connsiteX4" fmla="*/ 24628 w 31344"/>
                <a:gd name="connsiteY4" fmla="*/ 98512 h 134334"/>
                <a:gd name="connsiteX5" fmla="*/ 26867 w 31344"/>
                <a:gd name="connsiteY5" fmla="*/ 98064 h 134334"/>
                <a:gd name="connsiteX6" fmla="*/ 26867 w 31344"/>
                <a:gd name="connsiteY6" fmla="*/ 136126 h 134334"/>
                <a:gd name="connsiteX7" fmla="*/ 29106 w 31344"/>
                <a:gd name="connsiteY7" fmla="*/ 138365 h 134334"/>
                <a:gd name="connsiteX8" fmla="*/ 31345 w 31344"/>
                <a:gd name="connsiteY8" fmla="*/ 136126 h 134334"/>
                <a:gd name="connsiteX9" fmla="*/ 31345 w 31344"/>
                <a:gd name="connsiteY9" fmla="*/ 91795 h 134334"/>
                <a:gd name="connsiteX10" fmla="*/ 31345 w 31344"/>
                <a:gd name="connsiteY10" fmla="*/ 75675 h 134334"/>
                <a:gd name="connsiteX11" fmla="*/ 31345 w 31344"/>
                <a:gd name="connsiteY11" fmla="*/ 5821 h 134334"/>
                <a:gd name="connsiteX12" fmla="*/ 25523 w 31344"/>
                <a:gd name="connsiteY12" fmla="*/ 0 h 134334"/>
                <a:gd name="connsiteX13" fmla="*/ 24628 w 31344"/>
                <a:gd name="connsiteY13" fmla="*/ 94034 h 134334"/>
                <a:gd name="connsiteX14" fmla="*/ 7164 w 31344"/>
                <a:gd name="connsiteY14" fmla="*/ 94034 h 134334"/>
                <a:gd name="connsiteX15" fmla="*/ 4478 w 31344"/>
                <a:gd name="connsiteY15" fmla="*/ 91795 h 134334"/>
                <a:gd name="connsiteX16" fmla="*/ 4478 w 31344"/>
                <a:gd name="connsiteY16" fmla="*/ 69406 h 134334"/>
                <a:gd name="connsiteX17" fmla="*/ 25523 w 31344"/>
                <a:gd name="connsiteY17" fmla="*/ 4478 h 134334"/>
                <a:gd name="connsiteX18" fmla="*/ 26867 w 31344"/>
                <a:gd name="connsiteY18" fmla="*/ 5821 h 134334"/>
                <a:gd name="connsiteX19" fmla="*/ 26867 w 31344"/>
                <a:gd name="connsiteY19" fmla="*/ 75675 h 134334"/>
                <a:gd name="connsiteX20" fmla="*/ 26867 w 31344"/>
                <a:gd name="connsiteY20" fmla="*/ 91795 h 134334"/>
                <a:gd name="connsiteX21" fmla="*/ 24628 w 31344"/>
                <a:gd name="connsiteY21" fmla="*/ 94034 h 13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344" h="134334">
                  <a:moveTo>
                    <a:pt x="25523" y="0"/>
                  </a:moveTo>
                  <a:cubicBezTo>
                    <a:pt x="9851" y="0"/>
                    <a:pt x="0" y="48361"/>
                    <a:pt x="0" y="69406"/>
                  </a:cubicBezTo>
                  <a:lnTo>
                    <a:pt x="0" y="91795"/>
                  </a:lnTo>
                  <a:cubicBezTo>
                    <a:pt x="0" y="95825"/>
                    <a:pt x="3134" y="98512"/>
                    <a:pt x="7164" y="98512"/>
                  </a:cubicBezTo>
                  <a:lnTo>
                    <a:pt x="24628" y="98512"/>
                  </a:lnTo>
                  <a:cubicBezTo>
                    <a:pt x="25523" y="98512"/>
                    <a:pt x="26419" y="98512"/>
                    <a:pt x="26867" y="98064"/>
                  </a:cubicBezTo>
                  <a:lnTo>
                    <a:pt x="26867" y="136126"/>
                  </a:lnTo>
                  <a:cubicBezTo>
                    <a:pt x="26867" y="137469"/>
                    <a:pt x="27762" y="138365"/>
                    <a:pt x="29106" y="138365"/>
                  </a:cubicBezTo>
                  <a:cubicBezTo>
                    <a:pt x="30449" y="138365"/>
                    <a:pt x="31345" y="137469"/>
                    <a:pt x="31345" y="136126"/>
                  </a:cubicBezTo>
                  <a:lnTo>
                    <a:pt x="31345" y="91795"/>
                  </a:lnTo>
                  <a:lnTo>
                    <a:pt x="31345" y="75675"/>
                  </a:lnTo>
                  <a:lnTo>
                    <a:pt x="31345" y="5821"/>
                  </a:lnTo>
                  <a:cubicBezTo>
                    <a:pt x="31345" y="2687"/>
                    <a:pt x="28658" y="0"/>
                    <a:pt x="25523" y="0"/>
                  </a:cubicBezTo>
                  <a:close/>
                  <a:moveTo>
                    <a:pt x="24628" y="94034"/>
                  </a:moveTo>
                  <a:lnTo>
                    <a:pt x="7164" y="94034"/>
                  </a:lnTo>
                  <a:cubicBezTo>
                    <a:pt x="5821" y="94034"/>
                    <a:pt x="4478" y="93139"/>
                    <a:pt x="4478" y="91795"/>
                  </a:cubicBezTo>
                  <a:lnTo>
                    <a:pt x="4478" y="69406"/>
                  </a:lnTo>
                  <a:cubicBezTo>
                    <a:pt x="4478" y="43883"/>
                    <a:pt x="15672" y="4478"/>
                    <a:pt x="25523" y="4478"/>
                  </a:cubicBezTo>
                  <a:cubicBezTo>
                    <a:pt x="26419" y="4478"/>
                    <a:pt x="26867" y="4926"/>
                    <a:pt x="26867" y="5821"/>
                  </a:cubicBezTo>
                  <a:lnTo>
                    <a:pt x="26867" y="75675"/>
                  </a:lnTo>
                  <a:lnTo>
                    <a:pt x="26867" y="91795"/>
                  </a:lnTo>
                  <a:cubicBezTo>
                    <a:pt x="26867" y="93139"/>
                    <a:pt x="25971" y="94034"/>
                    <a:pt x="24628" y="94034"/>
                  </a:cubicBezTo>
                  <a:close/>
                </a:path>
              </a:pathLst>
            </a:custGeom>
            <a:solidFill>
              <a:srgbClr val="231F20"/>
            </a:solidFill>
            <a:ln w="4474" cap="flat">
              <a:noFill/>
              <a:prstDash val="solid"/>
              <a:miter/>
            </a:ln>
          </p:spPr>
          <p:txBody>
            <a:bodyPr rtlCol="0" anchor="ctr"/>
            <a:lstStyle/>
            <a:p>
              <a:endParaRPr lang="en-US"/>
            </a:p>
          </p:txBody>
        </p:sp>
      </p:grpSp>
      <p:grpSp>
        <p:nvGrpSpPr>
          <p:cNvPr id="4660" name="Group 4659">
            <a:extLst>
              <a:ext uri="{FF2B5EF4-FFF2-40B4-BE49-F238E27FC236}">
                <a16:creationId xmlns:a16="http://schemas.microsoft.com/office/drawing/2014/main" id="{0F3C864D-6F8A-4585-8B29-9B14CDD15AA1}"/>
              </a:ext>
              <a:ext uri="{C183D7F6-B498-43B3-948B-1728B52AA6E4}">
                <adec:decorative xmlns:adec="http://schemas.microsoft.com/office/drawing/2017/decorative" val="1"/>
              </a:ext>
            </a:extLst>
          </p:cNvPr>
          <p:cNvGrpSpPr>
            <a:grpSpLocks noChangeAspect="1"/>
          </p:cNvGrpSpPr>
          <p:nvPr/>
        </p:nvGrpSpPr>
        <p:grpSpPr>
          <a:xfrm>
            <a:off x="3691204" y="5571047"/>
            <a:ext cx="143514" cy="144409"/>
            <a:chOff x="3742525" y="4839935"/>
            <a:chExt cx="143514" cy="144409"/>
          </a:xfrm>
        </p:grpSpPr>
        <p:sp>
          <p:nvSpPr>
            <p:cNvPr id="4661" name="Freeform: Shape 4660">
              <a:extLst>
                <a:ext uri="{FF2B5EF4-FFF2-40B4-BE49-F238E27FC236}">
                  <a16:creationId xmlns:a16="http://schemas.microsoft.com/office/drawing/2014/main" id="{52D0E9B6-CEAC-48BA-B61D-AE825115CF1D}"/>
                </a:ext>
              </a:extLst>
            </p:cNvPr>
            <p:cNvSpPr/>
            <p:nvPr/>
          </p:nvSpPr>
          <p:spPr>
            <a:xfrm>
              <a:off x="3841261" y="4901281"/>
              <a:ext cx="44778" cy="44778"/>
            </a:xfrm>
            <a:custGeom>
              <a:avLst/>
              <a:gdLst>
                <a:gd name="connsiteX0" fmla="*/ 28434 w 44778"/>
                <a:gd name="connsiteY0" fmla="*/ 47241 h 44778"/>
                <a:gd name="connsiteX1" fmla="*/ 26643 w 44778"/>
                <a:gd name="connsiteY1" fmla="*/ 46793 h 44778"/>
                <a:gd name="connsiteX2" fmla="*/ 672 w 44778"/>
                <a:gd name="connsiteY2" fmla="*/ 20822 h 44778"/>
                <a:gd name="connsiteX3" fmla="*/ 672 w 44778"/>
                <a:gd name="connsiteY3" fmla="*/ 17687 h 44778"/>
                <a:gd name="connsiteX4" fmla="*/ 17687 w 44778"/>
                <a:gd name="connsiteY4" fmla="*/ 672 h 44778"/>
                <a:gd name="connsiteX5" fmla="*/ 20822 w 44778"/>
                <a:gd name="connsiteY5" fmla="*/ 672 h 44778"/>
                <a:gd name="connsiteX6" fmla="*/ 46793 w 44778"/>
                <a:gd name="connsiteY6" fmla="*/ 26643 h 44778"/>
                <a:gd name="connsiteX7" fmla="*/ 47241 w 44778"/>
                <a:gd name="connsiteY7" fmla="*/ 28434 h 44778"/>
                <a:gd name="connsiteX8" fmla="*/ 46793 w 44778"/>
                <a:gd name="connsiteY8" fmla="*/ 30225 h 44778"/>
                <a:gd name="connsiteX9" fmla="*/ 29777 w 44778"/>
                <a:gd name="connsiteY9" fmla="*/ 47241 h 44778"/>
                <a:gd name="connsiteX10" fmla="*/ 28434 w 44778"/>
                <a:gd name="connsiteY10" fmla="*/ 47241 h 44778"/>
                <a:gd name="connsiteX11" fmla="*/ 5149 w 44778"/>
                <a:gd name="connsiteY11" fmla="*/ 19031 h 44778"/>
                <a:gd name="connsiteX12" fmla="*/ 27986 w 44778"/>
                <a:gd name="connsiteY12" fmla="*/ 41868 h 44778"/>
                <a:gd name="connsiteX13" fmla="*/ 41867 w 44778"/>
                <a:gd name="connsiteY13" fmla="*/ 27986 h 44778"/>
                <a:gd name="connsiteX14" fmla="*/ 19031 w 44778"/>
                <a:gd name="connsiteY14" fmla="*/ 5150 h 44778"/>
                <a:gd name="connsiteX15" fmla="*/ 5149 w 44778"/>
                <a:gd name="connsiteY15" fmla="*/ 1903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8" h="44778">
                  <a:moveTo>
                    <a:pt x="28434" y="47241"/>
                  </a:moveTo>
                  <a:cubicBezTo>
                    <a:pt x="27986" y="47241"/>
                    <a:pt x="27091" y="47241"/>
                    <a:pt x="26643" y="46793"/>
                  </a:cubicBezTo>
                  <a:lnTo>
                    <a:pt x="672" y="20822"/>
                  </a:lnTo>
                  <a:cubicBezTo>
                    <a:pt x="-224" y="19926"/>
                    <a:pt x="-224" y="18583"/>
                    <a:pt x="672" y="17687"/>
                  </a:cubicBezTo>
                  <a:lnTo>
                    <a:pt x="17687" y="672"/>
                  </a:lnTo>
                  <a:cubicBezTo>
                    <a:pt x="18583" y="-224"/>
                    <a:pt x="19926" y="-224"/>
                    <a:pt x="20822" y="672"/>
                  </a:cubicBezTo>
                  <a:lnTo>
                    <a:pt x="46793" y="26643"/>
                  </a:lnTo>
                  <a:cubicBezTo>
                    <a:pt x="47241" y="27091"/>
                    <a:pt x="47241" y="27539"/>
                    <a:pt x="47241" y="28434"/>
                  </a:cubicBezTo>
                  <a:cubicBezTo>
                    <a:pt x="47241" y="29330"/>
                    <a:pt x="46793" y="29778"/>
                    <a:pt x="46793" y="30225"/>
                  </a:cubicBezTo>
                  <a:lnTo>
                    <a:pt x="29777" y="47241"/>
                  </a:lnTo>
                  <a:cubicBezTo>
                    <a:pt x="29330" y="47241"/>
                    <a:pt x="28882" y="47241"/>
                    <a:pt x="28434" y="47241"/>
                  </a:cubicBezTo>
                  <a:close/>
                  <a:moveTo>
                    <a:pt x="5149" y="19031"/>
                  </a:moveTo>
                  <a:lnTo>
                    <a:pt x="27986" y="41868"/>
                  </a:lnTo>
                  <a:lnTo>
                    <a:pt x="41867" y="27986"/>
                  </a:lnTo>
                  <a:lnTo>
                    <a:pt x="19031" y="5150"/>
                  </a:lnTo>
                  <a:lnTo>
                    <a:pt x="5149" y="19031"/>
                  </a:lnTo>
                  <a:close/>
                </a:path>
              </a:pathLst>
            </a:custGeom>
            <a:solidFill>
              <a:srgbClr val="231F20"/>
            </a:solidFill>
            <a:ln w="4474" cap="flat">
              <a:noFill/>
              <a:prstDash val="solid"/>
              <a:miter/>
            </a:ln>
          </p:spPr>
          <p:txBody>
            <a:bodyPr rtlCol="0" anchor="ctr"/>
            <a:lstStyle/>
            <a:p>
              <a:endParaRPr lang="en-US"/>
            </a:p>
          </p:txBody>
        </p:sp>
        <p:sp>
          <p:nvSpPr>
            <p:cNvPr id="4662" name="Freeform: Shape 4661">
              <a:extLst>
                <a:ext uri="{FF2B5EF4-FFF2-40B4-BE49-F238E27FC236}">
                  <a16:creationId xmlns:a16="http://schemas.microsoft.com/office/drawing/2014/main" id="{DFAC4995-810E-4D43-8CD3-7BAA4A2D1CF1}"/>
                </a:ext>
              </a:extLst>
            </p:cNvPr>
            <p:cNvSpPr/>
            <p:nvPr/>
          </p:nvSpPr>
          <p:spPr>
            <a:xfrm>
              <a:off x="3780138" y="4839935"/>
              <a:ext cx="44778" cy="44778"/>
            </a:xfrm>
            <a:custGeom>
              <a:avLst/>
              <a:gdLst>
                <a:gd name="connsiteX0" fmla="*/ 28210 w 44778"/>
                <a:gd name="connsiteY0" fmla="*/ 47689 h 44778"/>
                <a:gd name="connsiteX1" fmla="*/ 26419 w 44778"/>
                <a:gd name="connsiteY1" fmla="*/ 47241 h 44778"/>
                <a:gd name="connsiteX2" fmla="*/ 448 w 44778"/>
                <a:gd name="connsiteY2" fmla="*/ 21270 h 44778"/>
                <a:gd name="connsiteX3" fmla="*/ 0 w 44778"/>
                <a:gd name="connsiteY3" fmla="*/ 19479 h 44778"/>
                <a:gd name="connsiteX4" fmla="*/ 448 w 44778"/>
                <a:gd name="connsiteY4" fmla="*/ 17687 h 44778"/>
                <a:gd name="connsiteX5" fmla="*/ 17464 w 44778"/>
                <a:gd name="connsiteY5" fmla="*/ 672 h 44778"/>
                <a:gd name="connsiteX6" fmla="*/ 20598 w 44778"/>
                <a:gd name="connsiteY6" fmla="*/ 672 h 44778"/>
                <a:gd name="connsiteX7" fmla="*/ 46569 w 44778"/>
                <a:gd name="connsiteY7" fmla="*/ 26643 h 44778"/>
                <a:gd name="connsiteX8" fmla="*/ 46569 w 44778"/>
                <a:gd name="connsiteY8" fmla="*/ 29778 h 44778"/>
                <a:gd name="connsiteX9" fmla="*/ 29554 w 44778"/>
                <a:gd name="connsiteY9" fmla="*/ 46793 h 44778"/>
                <a:gd name="connsiteX10" fmla="*/ 28210 w 44778"/>
                <a:gd name="connsiteY10" fmla="*/ 47689 h 44778"/>
                <a:gd name="connsiteX11" fmla="*/ 5373 w 44778"/>
                <a:gd name="connsiteY11" fmla="*/ 19031 h 44778"/>
                <a:gd name="connsiteX12" fmla="*/ 28210 w 44778"/>
                <a:gd name="connsiteY12" fmla="*/ 41868 h 44778"/>
                <a:gd name="connsiteX13" fmla="*/ 42092 w 44778"/>
                <a:gd name="connsiteY13" fmla="*/ 27986 h 44778"/>
                <a:gd name="connsiteX14" fmla="*/ 19255 w 44778"/>
                <a:gd name="connsiteY14" fmla="*/ 5150 h 44778"/>
                <a:gd name="connsiteX15" fmla="*/ 5373 w 44778"/>
                <a:gd name="connsiteY15" fmla="*/ 1903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8" h="44778">
                  <a:moveTo>
                    <a:pt x="28210" y="47689"/>
                  </a:moveTo>
                  <a:cubicBezTo>
                    <a:pt x="27763" y="47689"/>
                    <a:pt x="26867" y="47689"/>
                    <a:pt x="26419" y="47241"/>
                  </a:cubicBezTo>
                  <a:lnTo>
                    <a:pt x="448" y="21270"/>
                  </a:lnTo>
                  <a:cubicBezTo>
                    <a:pt x="0" y="20822"/>
                    <a:pt x="0" y="20374"/>
                    <a:pt x="0" y="19479"/>
                  </a:cubicBezTo>
                  <a:cubicBezTo>
                    <a:pt x="0" y="18583"/>
                    <a:pt x="448" y="18135"/>
                    <a:pt x="448" y="17687"/>
                  </a:cubicBezTo>
                  <a:lnTo>
                    <a:pt x="17464" y="672"/>
                  </a:lnTo>
                  <a:cubicBezTo>
                    <a:pt x="18359" y="-224"/>
                    <a:pt x="19703" y="-224"/>
                    <a:pt x="20598" y="672"/>
                  </a:cubicBezTo>
                  <a:lnTo>
                    <a:pt x="46569" y="26643"/>
                  </a:lnTo>
                  <a:cubicBezTo>
                    <a:pt x="47465" y="27539"/>
                    <a:pt x="47465" y="28882"/>
                    <a:pt x="46569" y="29778"/>
                  </a:cubicBezTo>
                  <a:lnTo>
                    <a:pt x="29554" y="46793"/>
                  </a:lnTo>
                  <a:cubicBezTo>
                    <a:pt x="29554" y="47241"/>
                    <a:pt x="29106" y="47689"/>
                    <a:pt x="28210" y="47689"/>
                  </a:cubicBezTo>
                  <a:close/>
                  <a:moveTo>
                    <a:pt x="5373" y="19031"/>
                  </a:moveTo>
                  <a:lnTo>
                    <a:pt x="28210" y="41868"/>
                  </a:lnTo>
                  <a:lnTo>
                    <a:pt x="42092" y="27986"/>
                  </a:lnTo>
                  <a:lnTo>
                    <a:pt x="19255" y="5150"/>
                  </a:lnTo>
                  <a:lnTo>
                    <a:pt x="5373" y="19031"/>
                  </a:lnTo>
                  <a:close/>
                </a:path>
              </a:pathLst>
            </a:custGeom>
            <a:solidFill>
              <a:srgbClr val="231F20"/>
            </a:solidFill>
            <a:ln w="4474" cap="flat">
              <a:noFill/>
              <a:prstDash val="solid"/>
              <a:miter/>
            </a:ln>
          </p:spPr>
          <p:txBody>
            <a:bodyPr rtlCol="0" anchor="ctr"/>
            <a:lstStyle/>
            <a:p>
              <a:endParaRPr lang="en-US"/>
            </a:p>
          </p:txBody>
        </p:sp>
        <p:sp>
          <p:nvSpPr>
            <p:cNvPr id="4663" name="Freeform: Shape 4662">
              <a:extLst>
                <a:ext uri="{FF2B5EF4-FFF2-40B4-BE49-F238E27FC236}">
                  <a16:creationId xmlns:a16="http://schemas.microsoft.com/office/drawing/2014/main" id="{F99EDAB3-D96A-44A2-AECC-59E0C55B0F18}"/>
                </a:ext>
              </a:extLst>
            </p:cNvPr>
            <p:cNvSpPr/>
            <p:nvPr/>
          </p:nvSpPr>
          <p:spPr>
            <a:xfrm>
              <a:off x="3808013" y="4847883"/>
              <a:ext cx="71645" cy="71645"/>
            </a:xfrm>
            <a:custGeom>
              <a:avLst/>
              <a:gdLst>
                <a:gd name="connsiteX0" fmla="*/ 21381 w 71645"/>
                <a:gd name="connsiteY0" fmla="*/ 73324 h 71645"/>
                <a:gd name="connsiteX1" fmla="*/ 21381 w 71645"/>
                <a:gd name="connsiteY1" fmla="*/ 73324 h 71645"/>
                <a:gd name="connsiteX2" fmla="*/ 16904 w 71645"/>
                <a:gd name="connsiteY2" fmla="*/ 71533 h 71645"/>
                <a:gd name="connsiteX3" fmla="*/ 1679 w 71645"/>
                <a:gd name="connsiteY3" fmla="*/ 56309 h 71645"/>
                <a:gd name="connsiteX4" fmla="*/ 1679 w 71645"/>
                <a:gd name="connsiteY4" fmla="*/ 47801 h 71645"/>
                <a:gd name="connsiteX5" fmla="*/ 45114 w 71645"/>
                <a:gd name="connsiteY5" fmla="*/ 4366 h 71645"/>
                <a:gd name="connsiteX6" fmla="*/ 67503 w 71645"/>
                <a:gd name="connsiteY6" fmla="*/ 4366 h 71645"/>
                <a:gd name="connsiteX7" fmla="*/ 69294 w 71645"/>
                <a:gd name="connsiteY7" fmla="*/ 6157 h 71645"/>
                <a:gd name="connsiteX8" fmla="*/ 69294 w 71645"/>
                <a:gd name="connsiteY8" fmla="*/ 28546 h 71645"/>
                <a:gd name="connsiteX9" fmla="*/ 25859 w 71645"/>
                <a:gd name="connsiteY9" fmla="*/ 71981 h 71645"/>
                <a:gd name="connsiteX10" fmla="*/ 21381 w 71645"/>
                <a:gd name="connsiteY10" fmla="*/ 73324 h 71645"/>
                <a:gd name="connsiteX11" fmla="*/ 56308 w 71645"/>
                <a:gd name="connsiteY11" fmla="*/ 4366 h 71645"/>
                <a:gd name="connsiteX12" fmla="*/ 48248 w 71645"/>
                <a:gd name="connsiteY12" fmla="*/ 7500 h 71645"/>
                <a:gd name="connsiteX13" fmla="*/ 4813 w 71645"/>
                <a:gd name="connsiteY13" fmla="*/ 50935 h 71645"/>
                <a:gd name="connsiteX14" fmla="*/ 4813 w 71645"/>
                <a:gd name="connsiteY14" fmla="*/ 53174 h 71645"/>
                <a:gd name="connsiteX15" fmla="*/ 20038 w 71645"/>
                <a:gd name="connsiteY15" fmla="*/ 68399 h 71645"/>
                <a:gd name="connsiteX16" fmla="*/ 20038 w 71645"/>
                <a:gd name="connsiteY16" fmla="*/ 68399 h 71645"/>
                <a:gd name="connsiteX17" fmla="*/ 20934 w 71645"/>
                <a:gd name="connsiteY17" fmla="*/ 68847 h 71645"/>
                <a:gd name="connsiteX18" fmla="*/ 20934 w 71645"/>
                <a:gd name="connsiteY18" fmla="*/ 68847 h 71645"/>
                <a:gd name="connsiteX19" fmla="*/ 21829 w 71645"/>
                <a:gd name="connsiteY19" fmla="*/ 68399 h 71645"/>
                <a:gd name="connsiteX20" fmla="*/ 65264 w 71645"/>
                <a:gd name="connsiteY20" fmla="*/ 24964 h 71645"/>
                <a:gd name="connsiteX21" fmla="*/ 65264 w 71645"/>
                <a:gd name="connsiteY21" fmla="*/ 8844 h 71645"/>
                <a:gd name="connsiteX22" fmla="*/ 63473 w 71645"/>
                <a:gd name="connsiteY22" fmla="*/ 7053 h 71645"/>
                <a:gd name="connsiteX23" fmla="*/ 56308 w 71645"/>
                <a:gd name="connsiteY23" fmla="*/ 4366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645" h="71645">
                  <a:moveTo>
                    <a:pt x="21381" y="73324"/>
                  </a:moveTo>
                  <a:cubicBezTo>
                    <a:pt x="21381" y="73324"/>
                    <a:pt x="21381" y="73324"/>
                    <a:pt x="21381" y="73324"/>
                  </a:cubicBezTo>
                  <a:cubicBezTo>
                    <a:pt x="19590" y="73324"/>
                    <a:pt x="18247" y="72877"/>
                    <a:pt x="16904" y="71533"/>
                  </a:cubicBezTo>
                  <a:lnTo>
                    <a:pt x="1679" y="56309"/>
                  </a:lnTo>
                  <a:cubicBezTo>
                    <a:pt x="-560" y="54070"/>
                    <a:pt x="-560" y="50040"/>
                    <a:pt x="1679" y="47801"/>
                  </a:cubicBezTo>
                  <a:lnTo>
                    <a:pt x="45114" y="4366"/>
                  </a:lnTo>
                  <a:cubicBezTo>
                    <a:pt x="50935" y="-1455"/>
                    <a:pt x="61234" y="-1455"/>
                    <a:pt x="67503" y="4366"/>
                  </a:cubicBezTo>
                  <a:lnTo>
                    <a:pt x="69294" y="6157"/>
                  </a:lnTo>
                  <a:cubicBezTo>
                    <a:pt x="75563" y="12426"/>
                    <a:pt x="75563" y="22277"/>
                    <a:pt x="69294" y="28546"/>
                  </a:cubicBezTo>
                  <a:lnTo>
                    <a:pt x="25859" y="71981"/>
                  </a:lnTo>
                  <a:cubicBezTo>
                    <a:pt x="24516" y="72877"/>
                    <a:pt x="22725" y="73324"/>
                    <a:pt x="21381" y="73324"/>
                  </a:cubicBezTo>
                  <a:close/>
                  <a:moveTo>
                    <a:pt x="56308" y="4366"/>
                  </a:moveTo>
                  <a:cubicBezTo>
                    <a:pt x="53174" y="4366"/>
                    <a:pt x="50487" y="5709"/>
                    <a:pt x="48248" y="7500"/>
                  </a:cubicBezTo>
                  <a:lnTo>
                    <a:pt x="4813" y="50935"/>
                  </a:lnTo>
                  <a:cubicBezTo>
                    <a:pt x="4366" y="51383"/>
                    <a:pt x="4366" y="52726"/>
                    <a:pt x="4813" y="53174"/>
                  </a:cubicBezTo>
                  <a:lnTo>
                    <a:pt x="20038" y="68399"/>
                  </a:lnTo>
                  <a:cubicBezTo>
                    <a:pt x="20038" y="68399"/>
                    <a:pt x="20038" y="68399"/>
                    <a:pt x="20038" y="68399"/>
                  </a:cubicBezTo>
                  <a:cubicBezTo>
                    <a:pt x="20486" y="68847"/>
                    <a:pt x="20934" y="68847"/>
                    <a:pt x="20934" y="68847"/>
                  </a:cubicBezTo>
                  <a:lnTo>
                    <a:pt x="20934" y="68847"/>
                  </a:lnTo>
                  <a:cubicBezTo>
                    <a:pt x="21381" y="68847"/>
                    <a:pt x="21829" y="68847"/>
                    <a:pt x="21829" y="68399"/>
                  </a:cubicBezTo>
                  <a:lnTo>
                    <a:pt x="65264" y="24964"/>
                  </a:lnTo>
                  <a:cubicBezTo>
                    <a:pt x="69742" y="20486"/>
                    <a:pt x="69742" y="13321"/>
                    <a:pt x="65264" y="8844"/>
                  </a:cubicBezTo>
                  <a:lnTo>
                    <a:pt x="63473" y="7053"/>
                  </a:lnTo>
                  <a:cubicBezTo>
                    <a:pt x="62130" y="5709"/>
                    <a:pt x="58995" y="4366"/>
                    <a:pt x="56308" y="4366"/>
                  </a:cubicBezTo>
                  <a:close/>
                </a:path>
              </a:pathLst>
            </a:custGeom>
            <a:solidFill>
              <a:srgbClr val="231F20"/>
            </a:solidFill>
            <a:ln w="4474" cap="flat">
              <a:noFill/>
              <a:prstDash val="solid"/>
              <a:miter/>
            </a:ln>
          </p:spPr>
          <p:txBody>
            <a:bodyPr rtlCol="0" anchor="ctr"/>
            <a:lstStyle/>
            <a:p>
              <a:endParaRPr lang="en-US"/>
            </a:p>
          </p:txBody>
        </p:sp>
        <p:sp>
          <p:nvSpPr>
            <p:cNvPr id="4664" name="Freeform: Shape 4663">
              <a:extLst>
                <a:ext uri="{FF2B5EF4-FFF2-40B4-BE49-F238E27FC236}">
                  <a16:creationId xmlns:a16="http://schemas.microsoft.com/office/drawing/2014/main" id="{73B963CD-D7A2-4A91-A793-995419D7252A}"/>
                </a:ext>
              </a:extLst>
            </p:cNvPr>
            <p:cNvSpPr/>
            <p:nvPr/>
          </p:nvSpPr>
          <p:spPr>
            <a:xfrm>
              <a:off x="3779467" y="4911356"/>
              <a:ext cx="35823" cy="35823"/>
            </a:xfrm>
            <a:custGeom>
              <a:avLst/>
              <a:gdLst>
                <a:gd name="connsiteX0" fmla="*/ 30673 w 35822"/>
                <a:gd name="connsiteY0" fmla="*/ 38509 h 35822"/>
                <a:gd name="connsiteX1" fmla="*/ 28882 w 35822"/>
                <a:gd name="connsiteY1" fmla="*/ 38061 h 35822"/>
                <a:gd name="connsiteX2" fmla="*/ 672 w 35822"/>
                <a:gd name="connsiteY2" fmla="*/ 9851 h 35822"/>
                <a:gd name="connsiteX3" fmla="*/ 672 w 35822"/>
                <a:gd name="connsiteY3" fmla="*/ 6717 h 35822"/>
                <a:gd name="connsiteX4" fmla="*/ 16344 w 35822"/>
                <a:gd name="connsiteY4" fmla="*/ 0 h 35822"/>
                <a:gd name="connsiteX5" fmla="*/ 32016 w 35822"/>
                <a:gd name="connsiteY5" fmla="*/ 6717 h 35822"/>
                <a:gd name="connsiteX6" fmla="*/ 32016 w 35822"/>
                <a:gd name="connsiteY6" fmla="*/ 6717 h 35822"/>
                <a:gd name="connsiteX7" fmla="*/ 32016 w 35822"/>
                <a:gd name="connsiteY7" fmla="*/ 6717 h 35822"/>
                <a:gd name="connsiteX8" fmla="*/ 38733 w 35822"/>
                <a:gd name="connsiteY8" fmla="*/ 22389 h 35822"/>
                <a:gd name="connsiteX9" fmla="*/ 32016 w 35822"/>
                <a:gd name="connsiteY9" fmla="*/ 38061 h 35822"/>
                <a:gd name="connsiteX10" fmla="*/ 30673 w 35822"/>
                <a:gd name="connsiteY10" fmla="*/ 38509 h 35822"/>
                <a:gd name="connsiteX11" fmla="*/ 5597 w 35822"/>
                <a:gd name="connsiteY11" fmla="*/ 8060 h 35822"/>
                <a:gd name="connsiteX12" fmla="*/ 30673 w 35822"/>
                <a:gd name="connsiteY12" fmla="*/ 33136 h 35822"/>
                <a:gd name="connsiteX13" fmla="*/ 34255 w 35822"/>
                <a:gd name="connsiteY13" fmla="*/ 22389 h 35822"/>
                <a:gd name="connsiteX14" fmla="*/ 28882 w 35822"/>
                <a:gd name="connsiteY14" fmla="*/ 9851 h 35822"/>
                <a:gd name="connsiteX15" fmla="*/ 28882 w 35822"/>
                <a:gd name="connsiteY15" fmla="*/ 9851 h 35822"/>
                <a:gd name="connsiteX16" fmla="*/ 5597 w 35822"/>
                <a:gd name="connsiteY16" fmla="*/ 8060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22" h="35822">
                  <a:moveTo>
                    <a:pt x="30673" y="38509"/>
                  </a:moveTo>
                  <a:cubicBezTo>
                    <a:pt x="30225" y="38509"/>
                    <a:pt x="29330" y="38061"/>
                    <a:pt x="28882" y="38061"/>
                  </a:cubicBezTo>
                  <a:lnTo>
                    <a:pt x="672" y="9851"/>
                  </a:lnTo>
                  <a:cubicBezTo>
                    <a:pt x="-224" y="8956"/>
                    <a:pt x="-224" y="7612"/>
                    <a:pt x="672" y="6717"/>
                  </a:cubicBezTo>
                  <a:cubicBezTo>
                    <a:pt x="4702" y="2687"/>
                    <a:pt x="10523" y="0"/>
                    <a:pt x="16344" y="0"/>
                  </a:cubicBezTo>
                  <a:cubicBezTo>
                    <a:pt x="22165" y="0"/>
                    <a:pt x="27987" y="2239"/>
                    <a:pt x="32016" y="6717"/>
                  </a:cubicBezTo>
                  <a:lnTo>
                    <a:pt x="32016" y="6717"/>
                  </a:lnTo>
                  <a:lnTo>
                    <a:pt x="32016" y="6717"/>
                  </a:lnTo>
                  <a:cubicBezTo>
                    <a:pt x="36047" y="10747"/>
                    <a:pt x="38733" y="16568"/>
                    <a:pt x="38733" y="22389"/>
                  </a:cubicBezTo>
                  <a:cubicBezTo>
                    <a:pt x="38733" y="28210"/>
                    <a:pt x="36494" y="34032"/>
                    <a:pt x="32016" y="38061"/>
                  </a:cubicBezTo>
                  <a:cubicBezTo>
                    <a:pt x="31569" y="38061"/>
                    <a:pt x="31121" y="38509"/>
                    <a:pt x="30673" y="38509"/>
                  </a:cubicBezTo>
                  <a:close/>
                  <a:moveTo>
                    <a:pt x="5597" y="8060"/>
                  </a:moveTo>
                  <a:lnTo>
                    <a:pt x="30673" y="33136"/>
                  </a:lnTo>
                  <a:cubicBezTo>
                    <a:pt x="32912" y="30001"/>
                    <a:pt x="34255" y="26419"/>
                    <a:pt x="34255" y="22389"/>
                  </a:cubicBezTo>
                  <a:cubicBezTo>
                    <a:pt x="34255" y="17464"/>
                    <a:pt x="32464" y="12986"/>
                    <a:pt x="28882" y="9851"/>
                  </a:cubicBezTo>
                  <a:lnTo>
                    <a:pt x="28882" y="9851"/>
                  </a:lnTo>
                  <a:cubicBezTo>
                    <a:pt x="22613" y="3135"/>
                    <a:pt x="12314" y="2687"/>
                    <a:pt x="5597" y="8060"/>
                  </a:cubicBezTo>
                  <a:close/>
                </a:path>
              </a:pathLst>
            </a:custGeom>
            <a:solidFill>
              <a:srgbClr val="231F20"/>
            </a:solidFill>
            <a:ln w="4474" cap="flat">
              <a:noFill/>
              <a:prstDash val="solid"/>
              <a:miter/>
            </a:ln>
          </p:spPr>
          <p:txBody>
            <a:bodyPr rtlCol="0" anchor="ctr"/>
            <a:lstStyle/>
            <a:p>
              <a:endParaRPr lang="en-US"/>
            </a:p>
          </p:txBody>
        </p:sp>
        <p:sp>
          <p:nvSpPr>
            <p:cNvPr id="4665" name="Freeform: Shape 4664">
              <a:extLst>
                <a:ext uri="{FF2B5EF4-FFF2-40B4-BE49-F238E27FC236}">
                  <a16:creationId xmlns:a16="http://schemas.microsoft.com/office/drawing/2014/main" id="{C660E4DF-34BF-4B0B-A748-AB593D032333}"/>
                </a:ext>
              </a:extLst>
            </p:cNvPr>
            <p:cNvSpPr/>
            <p:nvPr/>
          </p:nvSpPr>
          <p:spPr>
            <a:xfrm>
              <a:off x="3775213" y="4933745"/>
              <a:ext cx="17911" cy="17911"/>
            </a:xfrm>
            <a:custGeom>
              <a:avLst/>
              <a:gdLst>
                <a:gd name="connsiteX0" fmla="*/ 17463 w 17911"/>
                <a:gd name="connsiteY0" fmla="*/ 19703 h 17911"/>
                <a:gd name="connsiteX1" fmla="*/ 17463 w 17911"/>
                <a:gd name="connsiteY1" fmla="*/ 19703 h 17911"/>
                <a:gd name="connsiteX2" fmla="*/ 5373 w 17911"/>
                <a:gd name="connsiteY2" fmla="*/ 14329 h 17911"/>
                <a:gd name="connsiteX3" fmla="*/ 0 w 17911"/>
                <a:gd name="connsiteY3" fmla="*/ 2239 h 17911"/>
                <a:gd name="connsiteX4" fmla="*/ 2239 w 17911"/>
                <a:gd name="connsiteY4" fmla="*/ 0 h 17911"/>
                <a:gd name="connsiteX5" fmla="*/ 4478 w 17911"/>
                <a:gd name="connsiteY5" fmla="*/ 2239 h 17911"/>
                <a:gd name="connsiteX6" fmla="*/ 8508 w 17911"/>
                <a:gd name="connsiteY6" fmla="*/ 11195 h 17911"/>
                <a:gd name="connsiteX7" fmla="*/ 17463 w 17911"/>
                <a:gd name="connsiteY7" fmla="*/ 15225 h 17911"/>
                <a:gd name="connsiteX8" fmla="*/ 19702 w 17911"/>
                <a:gd name="connsiteY8" fmla="*/ 17464 h 17911"/>
                <a:gd name="connsiteX9" fmla="*/ 17463 w 17911"/>
                <a:gd name="connsiteY9" fmla="*/ 19703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17463" y="19703"/>
                  </a:moveTo>
                  <a:cubicBezTo>
                    <a:pt x="17463" y="19703"/>
                    <a:pt x="17463" y="19703"/>
                    <a:pt x="17463" y="19703"/>
                  </a:cubicBezTo>
                  <a:cubicBezTo>
                    <a:pt x="12986" y="19703"/>
                    <a:pt x="8508" y="17464"/>
                    <a:pt x="5373" y="14329"/>
                  </a:cubicBezTo>
                  <a:cubicBezTo>
                    <a:pt x="2239" y="11195"/>
                    <a:pt x="448" y="7165"/>
                    <a:pt x="0" y="2239"/>
                  </a:cubicBezTo>
                  <a:cubicBezTo>
                    <a:pt x="0" y="896"/>
                    <a:pt x="896" y="0"/>
                    <a:pt x="2239" y="0"/>
                  </a:cubicBezTo>
                  <a:cubicBezTo>
                    <a:pt x="3582" y="0"/>
                    <a:pt x="4478" y="896"/>
                    <a:pt x="4478" y="2239"/>
                  </a:cubicBezTo>
                  <a:cubicBezTo>
                    <a:pt x="4478" y="5821"/>
                    <a:pt x="5821" y="8956"/>
                    <a:pt x="8508" y="11195"/>
                  </a:cubicBezTo>
                  <a:cubicBezTo>
                    <a:pt x="10747" y="13433"/>
                    <a:pt x="13881" y="14777"/>
                    <a:pt x="17463" y="15225"/>
                  </a:cubicBezTo>
                  <a:cubicBezTo>
                    <a:pt x="18807" y="15225"/>
                    <a:pt x="19702" y="16120"/>
                    <a:pt x="19702" y="17464"/>
                  </a:cubicBezTo>
                  <a:cubicBezTo>
                    <a:pt x="19702" y="18807"/>
                    <a:pt x="18359" y="19703"/>
                    <a:pt x="17463" y="19703"/>
                  </a:cubicBezTo>
                  <a:close/>
                </a:path>
              </a:pathLst>
            </a:custGeom>
            <a:solidFill>
              <a:srgbClr val="231F20"/>
            </a:solidFill>
            <a:ln w="4474" cap="flat">
              <a:noFill/>
              <a:prstDash val="solid"/>
              <a:miter/>
            </a:ln>
          </p:spPr>
          <p:txBody>
            <a:bodyPr rtlCol="0" anchor="ctr"/>
            <a:lstStyle/>
            <a:p>
              <a:endParaRPr lang="en-US"/>
            </a:p>
          </p:txBody>
        </p:sp>
        <p:sp>
          <p:nvSpPr>
            <p:cNvPr id="4666" name="Freeform: Shape 4665">
              <a:extLst>
                <a:ext uri="{FF2B5EF4-FFF2-40B4-BE49-F238E27FC236}">
                  <a16:creationId xmlns:a16="http://schemas.microsoft.com/office/drawing/2014/main" id="{46825516-84AD-409D-8224-8E9D795854C7}"/>
                </a:ext>
              </a:extLst>
            </p:cNvPr>
            <p:cNvSpPr/>
            <p:nvPr/>
          </p:nvSpPr>
          <p:spPr>
            <a:xfrm>
              <a:off x="3758645" y="4934193"/>
              <a:ext cx="35823" cy="35823"/>
            </a:xfrm>
            <a:custGeom>
              <a:avLst/>
              <a:gdLst>
                <a:gd name="connsiteX0" fmla="*/ 33584 w 35822"/>
                <a:gd name="connsiteY0" fmla="*/ 35823 h 35822"/>
                <a:gd name="connsiteX1" fmla="*/ 33584 w 35822"/>
                <a:gd name="connsiteY1" fmla="*/ 35823 h 35822"/>
                <a:gd name="connsiteX2" fmla="*/ 9851 w 35822"/>
                <a:gd name="connsiteY2" fmla="*/ 25971 h 35822"/>
                <a:gd name="connsiteX3" fmla="*/ 0 w 35822"/>
                <a:gd name="connsiteY3" fmla="*/ 2239 h 35822"/>
                <a:gd name="connsiteX4" fmla="*/ 2239 w 35822"/>
                <a:gd name="connsiteY4" fmla="*/ 0 h 35822"/>
                <a:gd name="connsiteX5" fmla="*/ 4478 w 35822"/>
                <a:gd name="connsiteY5" fmla="*/ 2239 h 35822"/>
                <a:gd name="connsiteX6" fmla="*/ 12986 w 35822"/>
                <a:gd name="connsiteY6" fmla="*/ 22837 h 35822"/>
                <a:gd name="connsiteX7" fmla="*/ 33584 w 35822"/>
                <a:gd name="connsiteY7" fmla="*/ 31345 h 35822"/>
                <a:gd name="connsiteX8" fmla="*/ 35823 w 35822"/>
                <a:gd name="connsiteY8" fmla="*/ 33584 h 35822"/>
                <a:gd name="connsiteX9" fmla="*/ 33584 w 35822"/>
                <a:gd name="connsiteY9" fmla="*/ 35823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2" h="35822">
                  <a:moveTo>
                    <a:pt x="33584" y="35823"/>
                  </a:moveTo>
                  <a:cubicBezTo>
                    <a:pt x="33584" y="35823"/>
                    <a:pt x="33584" y="35823"/>
                    <a:pt x="33584" y="35823"/>
                  </a:cubicBezTo>
                  <a:cubicBezTo>
                    <a:pt x="24628" y="35823"/>
                    <a:pt x="16120" y="32240"/>
                    <a:pt x="9851" y="25971"/>
                  </a:cubicBezTo>
                  <a:cubicBezTo>
                    <a:pt x="3582" y="19702"/>
                    <a:pt x="0" y="11195"/>
                    <a:pt x="0" y="2239"/>
                  </a:cubicBezTo>
                  <a:cubicBezTo>
                    <a:pt x="0" y="895"/>
                    <a:pt x="896" y="0"/>
                    <a:pt x="2239" y="0"/>
                  </a:cubicBezTo>
                  <a:cubicBezTo>
                    <a:pt x="3582" y="0"/>
                    <a:pt x="4478" y="895"/>
                    <a:pt x="4478" y="2239"/>
                  </a:cubicBezTo>
                  <a:cubicBezTo>
                    <a:pt x="4478" y="9851"/>
                    <a:pt x="7612" y="17463"/>
                    <a:pt x="12986" y="22837"/>
                  </a:cubicBezTo>
                  <a:cubicBezTo>
                    <a:pt x="18359" y="28210"/>
                    <a:pt x="25524" y="31345"/>
                    <a:pt x="33584" y="31345"/>
                  </a:cubicBezTo>
                  <a:cubicBezTo>
                    <a:pt x="34927" y="31345"/>
                    <a:pt x="35823" y="32240"/>
                    <a:pt x="35823" y="33584"/>
                  </a:cubicBezTo>
                  <a:cubicBezTo>
                    <a:pt x="35823" y="34927"/>
                    <a:pt x="34927" y="35823"/>
                    <a:pt x="33584" y="35823"/>
                  </a:cubicBezTo>
                  <a:close/>
                </a:path>
              </a:pathLst>
            </a:custGeom>
            <a:solidFill>
              <a:srgbClr val="231F20"/>
            </a:solidFill>
            <a:ln w="4474" cap="flat">
              <a:noFill/>
              <a:prstDash val="solid"/>
              <a:miter/>
            </a:ln>
          </p:spPr>
          <p:txBody>
            <a:bodyPr rtlCol="0" anchor="ctr"/>
            <a:lstStyle/>
            <a:p>
              <a:endParaRPr lang="en-US"/>
            </a:p>
          </p:txBody>
        </p:sp>
        <p:sp>
          <p:nvSpPr>
            <p:cNvPr id="4667" name="Freeform: Shape 4666">
              <a:extLst>
                <a:ext uri="{FF2B5EF4-FFF2-40B4-BE49-F238E27FC236}">
                  <a16:creationId xmlns:a16="http://schemas.microsoft.com/office/drawing/2014/main" id="{31C7AC5B-FDA0-4198-AAFE-4A6353E0D1F5}"/>
                </a:ext>
              </a:extLst>
            </p:cNvPr>
            <p:cNvSpPr/>
            <p:nvPr/>
          </p:nvSpPr>
          <p:spPr>
            <a:xfrm>
              <a:off x="3742525" y="4935088"/>
              <a:ext cx="49256" cy="49256"/>
            </a:xfrm>
            <a:custGeom>
              <a:avLst/>
              <a:gdLst>
                <a:gd name="connsiteX0" fmla="*/ 49256 w 49255"/>
                <a:gd name="connsiteY0" fmla="*/ 51495 h 49255"/>
                <a:gd name="connsiteX1" fmla="*/ 49256 w 49255"/>
                <a:gd name="connsiteY1" fmla="*/ 51495 h 49255"/>
                <a:gd name="connsiteX2" fmla="*/ 14329 w 49255"/>
                <a:gd name="connsiteY2" fmla="*/ 37166 h 49255"/>
                <a:gd name="connsiteX3" fmla="*/ 0 w 49255"/>
                <a:gd name="connsiteY3" fmla="*/ 2239 h 49255"/>
                <a:gd name="connsiteX4" fmla="*/ 2239 w 49255"/>
                <a:gd name="connsiteY4" fmla="*/ 0 h 49255"/>
                <a:gd name="connsiteX5" fmla="*/ 2239 w 49255"/>
                <a:gd name="connsiteY5" fmla="*/ 0 h 49255"/>
                <a:gd name="connsiteX6" fmla="*/ 4478 w 49255"/>
                <a:gd name="connsiteY6" fmla="*/ 2239 h 49255"/>
                <a:gd name="connsiteX7" fmla="*/ 17463 w 49255"/>
                <a:gd name="connsiteY7" fmla="*/ 34032 h 49255"/>
                <a:gd name="connsiteX8" fmla="*/ 49256 w 49255"/>
                <a:gd name="connsiteY8" fmla="*/ 47017 h 49255"/>
                <a:gd name="connsiteX9" fmla="*/ 51495 w 49255"/>
                <a:gd name="connsiteY9" fmla="*/ 49256 h 49255"/>
                <a:gd name="connsiteX10" fmla="*/ 49256 w 49255"/>
                <a:gd name="connsiteY10" fmla="*/ 51495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55" h="49255">
                  <a:moveTo>
                    <a:pt x="49256" y="51495"/>
                  </a:moveTo>
                  <a:cubicBezTo>
                    <a:pt x="49256" y="51495"/>
                    <a:pt x="49256" y="51495"/>
                    <a:pt x="49256" y="51495"/>
                  </a:cubicBezTo>
                  <a:cubicBezTo>
                    <a:pt x="35823" y="51495"/>
                    <a:pt x="23284" y="46122"/>
                    <a:pt x="14329" y="37166"/>
                  </a:cubicBezTo>
                  <a:cubicBezTo>
                    <a:pt x="4925" y="27763"/>
                    <a:pt x="0" y="15225"/>
                    <a:pt x="0" y="2239"/>
                  </a:cubicBezTo>
                  <a:cubicBezTo>
                    <a:pt x="0" y="896"/>
                    <a:pt x="895" y="0"/>
                    <a:pt x="2239" y="0"/>
                  </a:cubicBezTo>
                  <a:cubicBezTo>
                    <a:pt x="2239" y="0"/>
                    <a:pt x="2239" y="0"/>
                    <a:pt x="2239" y="0"/>
                  </a:cubicBezTo>
                  <a:cubicBezTo>
                    <a:pt x="3582" y="0"/>
                    <a:pt x="4478" y="896"/>
                    <a:pt x="4478" y="2239"/>
                  </a:cubicBezTo>
                  <a:cubicBezTo>
                    <a:pt x="4478" y="14329"/>
                    <a:pt x="8956" y="25972"/>
                    <a:pt x="17463" y="34032"/>
                  </a:cubicBezTo>
                  <a:cubicBezTo>
                    <a:pt x="25971" y="42539"/>
                    <a:pt x="37166" y="47017"/>
                    <a:pt x="49256" y="47017"/>
                  </a:cubicBezTo>
                  <a:cubicBezTo>
                    <a:pt x="50599" y="47017"/>
                    <a:pt x="51495" y="47913"/>
                    <a:pt x="51495" y="49256"/>
                  </a:cubicBezTo>
                  <a:cubicBezTo>
                    <a:pt x="51495" y="50152"/>
                    <a:pt x="50599" y="51495"/>
                    <a:pt x="49256" y="51495"/>
                  </a:cubicBezTo>
                  <a:close/>
                </a:path>
              </a:pathLst>
            </a:custGeom>
            <a:solidFill>
              <a:srgbClr val="231F20"/>
            </a:solidFill>
            <a:ln w="4474" cap="flat">
              <a:noFill/>
              <a:prstDash val="solid"/>
              <a:miter/>
            </a:ln>
          </p:spPr>
          <p:txBody>
            <a:bodyPr rtlCol="0" anchor="ctr"/>
            <a:lstStyle/>
            <a:p>
              <a:endParaRPr lang="en-US"/>
            </a:p>
          </p:txBody>
        </p:sp>
      </p:grpSp>
      <p:sp>
        <p:nvSpPr>
          <p:cNvPr id="4668" name="Freeform: Shape 4667">
            <a:extLst>
              <a:ext uri="{FF2B5EF4-FFF2-40B4-BE49-F238E27FC236}">
                <a16:creationId xmlns:a16="http://schemas.microsoft.com/office/drawing/2014/main" id="{CBF8B529-DF7B-445A-8E54-74B9432B36DE}"/>
              </a:ext>
              <a:ext uri="{C183D7F6-B498-43B3-948B-1728B52AA6E4}">
                <adec:decorative xmlns:adec="http://schemas.microsoft.com/office/drawing/2017/decorative" val="1"/>
              </a:ext>
            </a:extLst>
          </p:cNvPr>
          <p:cNvSpPr>
            <a:spLocks noChangeAspect="1"/>
          </p:cNvSpPr>
          <p:nvPr/>
        </p:nvSpPr>
        <p:spPr>
          <a:xfrm>
            <a:off x="4209735" y="5628139"/>
            <a:ext cx="156724" cy="67167"/>
          </a:xfrm>
          <a:custGeom>
            <a:avLst/>
            <a:gdLst>
              <a:gd name="connsiteX0" fmla="*/ 64033 w 156723"/>
              <a:gd name="connsiteY0" fmla="*/ 68958 h 67167"/>
              <a:gd name="connsiteX1" fmla="*/ 56868 w 156723"/>
              <a:gd name="connsiteY1" fmla="*/ 68063 h 67167"/>
              <a:gd name="connsiteX2" fmla="*/ 47465 w 156723"/>
              <a:gd name="connsiteY2" fmla="*/ 64033 h 67167"/>
              <a:gd name="connsiteX3" fmla="*/ 896 w 156723"/>
              <a:gd name="connsiteY3" fmla="*/ 32240 h 67167"/>
              <a:gd name="connsiteX4" fmla="*/ 0 w 156723"/>
              <a:gd name="connsiteY4" fmla="*/ 30449 h 67167"/>
              <a:gd name="connsiteX5" fmla="*/ 448 w 156723"/>
              <a:gd name="connsiteY5" fmla="*/ 28658 h 67167"/>
              <a:gd name="connsiteX6" fmla="*/ 7612 w 156723"/>
              <a:gd name="connsiteY6" fmla="*/ 24180 h 67167"/>
              <a:gd name="connsiteX7" fmla="*/ 19702 w 156723"/>
              <a:gd name="connsiteY7" fmla="*/ 26867 h 67167"/>
              <a:gd name="connsiteX8" fmla="*/ 51943 w 156723"/>
              <a:gd name="connsiteY8" fmla="*/ 43435 h 67167"/>
              <a:gd name="connsiteX9" fmla="*/ 59555 w 156723"/>
              <a:gd name="connsiteY9" fmla="*/ 45674 h 67167"/>
              <a:gd name="connsiteX10" fmla="*/ 67167 w 156723"/>
              <a:gd name="connsiteY10" fmla="*/ 44778 h 67167"/>
              <a:gd name="connsiteX11" fmla="*/ 107468 w 156723"/>
              <a:gd name="connsiteY11" fmla="*/ 32240 h 67167"/>
              <a:gd name="connsiteX12" fmla="*/ 110154 w 156723"/>
              <a:gd name="connsiteY12" fmla="*/ 30897 h 67167"/>
              <a:gd name="connsiteX13" fmla="*/ 112393 w 156723"/>
              <a:gd name="connsiteY13" fmla="*/ 26867 h 67167"/>
              <a:gd name="connsiteX14" fmla="*/ 109707 w 156723"/>
              <a:gd name="connsiteY14" fmla="*/ 21046 h 67167"/>
              <a:gd name="connsiteX15" fmla="*/ 104781 w 156723"/>
              <a:gd name="connsiteY15" fmla="*/ 18807 h 67167"/>
              <a:gd name="connsiteX16" fmla="*/ 71645 w 156723"/>
              <a:gd name="connsiteY16" fmla="*/ 16568 h 67167"/>
              <a:gd name="connsiteX17" fmla="*/ 57764 w 156723"/>
              <a:gd name="connsiteY17" fmla="*/ 12538 h 67167"/>
              <a:gd name="connsiteX18" fmla="*/ 52391 w 156723"/>
              <a:gd name="connsiteY18" fmla="*/ 4478 h 67167"/>
              <a:gd name="connsiteX19" fmla="*/ 52838 w 156723"/>
              <a:gd name="connsiteY19" fmla="*/ 2687 h 67167"/>
              <a:gd name="connsiteX20" fmla="*/ 54629 w 156723"/>
              <a:gd name="connsiteY20" fmla="*/ 1791 h 67167"/>
              <a:gd name="connsiteX21" fmla="*/ 106572 w 156723"/>
              <a:gd name="connsiteY21" fmla="*/ 0 h 67167"/>
              <a:gd name="connsiteX22" fmla="*/ 120453 w 156723"/>
              <a:gd name="connsiteY22" fmla="*/ 1344 h 67167"/>
              <a:gd name="connsiteX23" fmla="*/ 132543 w 156723"/>
              <a:gd name="connsiteY23" fmla="*/ 7165 h 67167"/>
              <a:gd name="connsiteX24" fmla="*/ 158963 w 156723"/>
              <a:gd name="connsiteY24" fmla="*/ 23285 h 67167"/>
              <a:gd name="connsiteX25" fmla="*/ 159858 w 156723"/>
              <a:gd name="connsiteY25" fmla="*/ 25972 h 67167"/>
              <a:gd name="connsiteX26" fmla="*/ 146425 w 156723"/>
              <a:gd name="connsiteY26" fmla="*/ 66272 h 67167"/>
              <a:gd name="connsiteX27" fmla="*/ 144186 w 156723"/>
              <a:gd name="connsiteY27" fmla="*/ 67615 h 67167"/>
              <a:gd name="connsiteX28" fmla="*/ 66272 w 156723"/>
              <a:gd name="connsiteY28" fmla="*/ 67615 h 67167"/>
              <a:gd name="connsiteX29" fmla="*/ 64033 w 156723"/>
              <a:gd name="connsiteY29" fmla="*/ 68958 h 67167"/>
              <a:gd name="connsiteX30" fmla="*/ 145081 w 156723"/>
              <a:gd name="connsiteY30" fmla="*/ 66272 h 67167"/>
              <a:gd name="connsiteX31" fmla="*/ 145081 w 156723"/>
              <a:gd name="connsiteY31" fmla="*/ 66272 h 67167"/>
              <a:gd name="connsiteX32" fmla="*/ 145081 w 156723"/>
              <a:gd name="connsiteY32" fmla="*/ 66272 h 67167"/>
              <a:gd name="connsiteX33" fmla="*/ 6269 w 156723"/>
              <a:gd name="connsiteY33" fmla="*/ 30449 h 67167"/>
              <a:gd name="connsiteX34" fmla="*/ 50152 w 156723"/>
              <a:gd name="connsiteY34" fmla="*/ 60451 h 67167"/>
              <a:gd name="connsiteX35" fmla="*/ 57764 w 156723"/>
              <a:gd name="connsiteY35" fmla="*/ 64033 h 67167"/>
              <a:gd name="connsiteX36" fmla="*/ 66272 w 156723"/>
              <a:gd name="connsiteY36" fmla="*/ 64481 h 67167"/>
              <a:gd name="connsiteX37" fmla="*/ 142842 w 156723"/>
              <a:gd name="connsiteY37" fmla="*/ 64481 h 67167"/>
              <a:gd name="connsiteX38" fmla="*/ 155380 w 156723"/>
              <a:gd name="connsiteY38" fmla="*/ 27315 h 67167"/>
              <a:gd name="connsiteX39" fmla="*/ 130304 w 156723"/>
              <a:gd name="connsiteY39" fmla="*/ 12090 h 67167"/>
              <a:gd name="connsiteX40" fmla="*/ 119558 w 156723"/>
              <a:gd name="connsiteY40" fmla="*/ 6717 h 67167"/>
              <a:gd name="connsiteX41" fmla="*/ 107020 w 156723"/>
              <a:gd name="connsiteY41" fmla="*/ 5373 h 67167"/>
              <a:gd name="connsiteX42" fmla="*/ 58659 w 156723"/>
              <a:gd name="connsiteY42" fmla="*/ 6717 h 67167"/>
              <a:gd name="connsiteX43" fmla="*/ 61346 w 156723"/>
              <a:gd name="connsiteY43" fmla="*/ 9404 h 67167"/>
              <a:gd name="connsiteX44" fmla="*/ 72541 w 156723"/>
              <a:gd name="connsiteY44" fmla="*/ 12538 h 67167"/>
              <a:gd name="connsiteX45" fmla="*/ 105676 w 156723"/>
              <a:gd name="connsiteY45" fmla="*/ 14777 h 67167"/>
              <a:gd name="connsiteX46" fmla="*/ 113289 w 156723"/>
              <a:gd name="connsiteY46" fmla="*/ 17911 h 67167"/>
              <a:gd name="connsiteX47" fmla="*/ 117767 w 156723"/>
              <a:gd name="connsiteY47" fmla="*/ 27315 h 67167"/>
              <a:gd name="connsiteX48" fmla="*/ 113736 w 156723"/>
              <a:gd name="connsiteY48" fmla="*/ 34927 h 67167"/>
              <a:gd name="connsiteX49" fmla="*/ 109707 w 156723"/>
              <a:gd name="connsiteY49" fmla="*/ 37166 h 67167"/>
              <a:gd name="connsiteX50" fmla="*/ 69406 w 156723"/>
              <a:gd name="connsiteY50" fmla="*/ 49704 h 67167"/>
              <a:gd name="connsiteX51" fmla="*/ 60003 w 156723"/>
              <a:gd name="connsiteY51" fmla="*/ 51047 h 67167"/>
              <a:gd name="connsiteX52" fmla="*/ 50599 w 156723"/>
              <a:gd name="connsiteY52" fmla="*/ 48361 h 67167"/>
              <a:gd name="connsiteX53" fmla="*/ 18359 w 156723"/>
              <a:gd name="connsiteY53" fmla="*/ 31345 h 67167"/>
              <a:gd name="connsiteX54" fmla="*/ 9403 w 156723"/>
              <a:gd name="connsiteY54" fmla="*/ 29106 h 67167"/>
              <a:gd name="connsiteX55" fmla="*/ 6269 w 156723"/>
              <a:gd name="connsiteY55" fmla="*/ 30449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6723" h="67167">
                <a:moveTo>
                  <a:pt x="64033" y="68958"/>
                </a:moveTo>
                <a:cubicBezTo>
                  <a:pt x="61346" y="68958"/>
                  <a:pt x="59107" y="68511"/>
                  <a:pt x="56868" y="68063"/>
                </a:cubicBezTo>
                <a:cubicBezTo>
                  <a:pt x="53734" y="67167"/>
                  <a:pt x="50599" y="66272"/>
                  <a:pt x="47465" y="64033"/>
                </a:cubicBezTo>
                <a:lnTo>
                  <a:pt x="896" y="32240"/>
                </a:lnTo>
                <a:cubicBezTo>
                  <a:pt x="448" y="31793"/>
                  <a:pt x="0" y="31345"/>
                  <a:pt x="0" y="30449"/>
                </a:cubicBezTo>
                <a:cubicBezTo>
                  <a:pt x="0" y="30001"/>
                  <a:pt x="0" y="29106"/>
                  <a:pt x="448" y="28658"/>
                </a:cubicBezTo>
                <a:cubicBezTo>
                  <a:pt x="2687" y="26419"/>
                  <a:pt x="5373" y="24628"/>
                  <a:pt x="7612" y="24180"/>
                </a:cubicBezTo>
                <a:cubicBezTo>
                  <a:pt x="12090" y="23285"/>
                  <a:pt x="16568" y="25524"/>
                  <a:pt x="19702" y="26867"/>
                </a:cubicBezTo>
                <a:lnTo>
                  <a:pt x="51943" y="43435"/>
                </a:lnTo>
                <a:cubicBezTo>
                  <a:pt x="54629" y="44778"/>
                  <a:pt x="57316" y="45226"/>
                  <a:pt x="59555" y="45674"/>
                </a:cubicBezTo>
                <a:cubicBezTo>
                  <a:pt x="62242" y="45674"/>
                  <a:pt x="65376" y="45226"/>
                  <a:pt x="67167" y="44778"/>
                </a:cubicBezTo>
                <a:lnTo>
                  <a:pt x="107468" y="32240"/>
                </a:lnTo>
                <a:cubicBezTo>
                  <a:pt x="108363" y="31793"/>
                  <a:pt x="109707" y="31345"/>
                  <a:pt x="110154" y="30897"/>
                </a:cubicBezTo>
                <a:cubicBezTo>
                  <a:pt x="111498" y="30001"/>
                  <a:pt x="112393" y="28658"/>
                  <a:pt x="112393" y="26867"/>
                </a:cubicBezTo>
                <a:cubicBezTo>
                  <a:pt x="112393" y="24628"/>
                  <a:pt x="111498" y="22837"/>
                  <a:pt x="109707" y="21046"/>
                </a:cubicBezTo>
                <a:cubicBezTo>
                  <a:pt x="107915" y="19703"/>
                  <a:pt x="106124" y="18807"/>
                  <a:pt x="104781" y="18807"/>
                </a:cubicBezTo>
                <a:lnTo>
                  <a:pt x="71645" y="16568"/>
                </a:lnTo>
                <a:cubicBezTo>
                  <a:pt x="66272" y="16568"/>
                  <a:pt x="61346" y="15225"/>
                  <a:pt x="57764" y="12538"/>
                </a:cubicBezTo>
                <a:cubicBezTo>
                  <a:pt x="55077" y="10299"/>
                  <a:pt x="53286" y="7612"/>
                  <a:pt x="52391" y="4478"/>
                </a:cubicBezTo>
                <a:cubicBezTo>
                  <a:pt x="52391" y="4030"/>
                  <a:pt x="52391" y="3135"/>
                  <a:pt x="52838" y="2687"/>
                </a:cubicBezTo>
                <a:cubicBezTo>
                  <a:pt x="53286" y="2239"/>
                  <a:pt x="53734" y="1791"/>
                  <a:pt x="54629" y="1791"/>
                </a:cubicBezTo>
                <a:lnTo>
                  <a:pt x="106572" y="0"/>
                </a:lnTo>
                <a:cubicBezTo>
                  <a:pt x="111945" y="0"/>
                  <a:pt x="116423" y="448"/>
                  <a:pt x="120453" y="1344"/>
                </a:cubicBezTo>
                <a:cubicBezTo>
                  <a:pt x="124483" y="2687"/>
                  <a:pt x="128065" y="4478"/>
                  <a:pt x="132543" y="7165"/>
                </a:cubicBezTo>
                <a:lnTo>
                  <a:pt x="158963" y="23285"/>
                </a:lnTo>
                <a:cubicBezTo>
                  <a:pt x="159858" y="23733"/>
                  <a:pt x="160306" y="25076"/>
                  <a:pt x="159858" y="25972"/>
                </a:cubicBezTo>
                <a:lnTo>
                  <a:pt x="146425" y="66272"/>
                </a:lnTo>
                <a:cubicBezTo>
                  <a:pt x="145977" y="67167"/>
                  <a:pt x="145081" y="67615"/>
                  <a:pt x="144186" y="67615"/>
                </a:cubicBezTo>
                <a:lnTo>
                  <a:pt x="66272" y="67615"/>
                </a:lnTo>
                <a:cubicBezTo>
                  <a:pt x="65824" y="68958"/>
                  <a:pt x="64928" y="68958"/>
                  <a:pt x="64033" y="68958"/>
                </a:cubicBezTo>
                <a:close/>
                <a:moveTo>
                  <a:pt x="145081" y="66272"/>
                </a:moveTo>
                <a:lnTo>
                  <a:pt x="145081" y="66272"/>
                </a:lnTo>
                <a:lnTo>
                  <a:pt x="145081" y="66272"/>
                </a:lnTo>
                <a:close/>
                <a:moveTo>
                  <a:pt x="6269" y="30449"/>
                </a:moveTo>
                <a:lnTo>
                  <a:pt x="50152" y="60451"/>
                </a:lnTo>
                <a:cubicBezTo>
                  <a:pt x="52838" y="62242"/>
                  <a:pt x="55525" y="63137"/>
                  <a:pt x="57764" y="64033"/>
                </a:cubicBezTo>
                <a:cubicBezTo>
                  <a:pt x="60003" y="64481"/>
                  <a:pt x="62689" y="64928"/>
                  <a:pt x="66272" y="64481"/>
                </a:cubicBezTo>
                <a:lnTo>
                  <a:pt x="142842" y="64481"/>
                </a:lnTo>
                <a:lnTo>
                  <a:pt x="155380" y="27315"/>
                </a:lnTo>
                <a:lnTo>
                  <a:pt x="130304" y="12090"/>
                </a:lnTo>
                <a:cubicBezTo>
                  <a:pt x="126275" y="9404"/>
                  <a:pt x="123140" y="7612"/>
                  <a:pt x="119558" y="6717"/>
                </a:cubicBezTo>
                <a:cubicBezTo>
                  <a:pt x="115975" y="5821"/>
                  <a:pt x="111945" y="5373"/>
                  <a:pt x="107020" y="5373"/>
                </a:cubicBezTo>
                <a:lnTo>
                  <a:pt x="58659" y="6717"/>
                </a:lnTo>
                <a:cubicBezTo>
                  <a:pt x="59555" y="7612"/>
                  <a:pt x="60003" y="8956"/>
                  <a:pt x="61346" y="9404"/>
                </a:cubicBezTo>
                <a:cubicBezTo>
                  <a:pt x="64033" y="11642"/>
                  <a:pt x="68063" y="12538"/>
                  <a:pt x="72541" y="12538"/>
                </a:cubicBezTo>
                <a:lnTo>
                  <a:pt x="105676" y="14777"/>
                </a:lnTo>
                <a:cubicBezTo>
                  <a:pt x="107915" y="14777"/>
                  <a:pt x="110602" y="15672"/>
                  <a:pt x="113289" y="17911"/>
                </a:cubicBezTo>
                <a:cubicBezTo>
                  <a:pt x="115975" y="20150"/>
                  <a:pt x="117767" y="23733"/>
                  <a:pt x="117767" y="27315"/>
                </a:cubicBezTo>
                <a:cubicBezTo>
                  <a:pt x="117767" y="30449"/>
                  <a:pt x="115975" y="33136"/>
                  <a:pt x="113736" y="34927"/>
                </a:cubicBezTo>
                <a:cubicBezTo>
                  <a:pt x="112393" y="35823"/>
                  <a:pt x="111050" y="36270"/>
                  <a:pt x="109707" y="37166"/>
                </a:cubicBezTo>
                <a:lnTo>
                  <a:pt x="69406" y="49704"/>
                </a:lnTo>
                <a:cubicBezTo>
                  <a:pt x="66719" y="50600"/>
                  <a:pt x="63137" y="51047"/>
                  <a:pt x="60003" y="51047"/>
                </a:cubicBezTo>
                <a:cubicBezTo>
                  <a:pt x="56868" y="51047"/>
                  <a:pt x="53734" y="50152"/>
                  <a:pt x="50599" y="48361"/>
                </a:cubicBezTo>
                <a:lnTo>
                  <a:pt x="18359" y="31345"/>
                </a:lnTo>
                <a:cubicBezTo>
                  <a:pt x="16120" y="30001"/>
                  <a:pt x="12538" y="28658"/>
                  <a:pt x="9403" y="29106"/>
                </a:cubicBezTo>
                <a:cubicBezTo>
                  <a:pt x="8060" y="29106"/>
                  <a:pt x="7164" y="29554"/>
                  <a:pt x="6269" y="30449"/>
                </a:cubicBezTo>
                <a:close/>
              </a:path>
            </a:pathLst>
          </a:custGeom>
          <a:solidFill>
            <a:srgbClr val="231F20"/>
          </a:solidFill>
          <a:ln w="4474" cap="flat">
            <a:noFill/>
            <a:prstDash val="solid"/>
            <a:miter/>
          </a:ln>
        </p:spPr>
        <p:txBody>
          <a:bodyPr rtlCol="0" anchor="ctr"/>
          <a:lstStyle/>
          <a:p>
            <a:endParaRPr lang="en-US"/>
          </a:p>
        </p:txBody>
      </p:sp>
      <p:grpSp>
        <p:nvGrpSpPr>
          <p:cNvPr id="4669" name="Group 4668">
            <a:extLst>
              <a:ext uri="{FF2B5EF4-FFF2-40B4-BE49-F238E27FC236}">
                <a16:creationId xmlns:a16="http://schemas.microsoft.com/office/drawing/2014/main" id="{D2447E89-1559-4ADB-A5DA-3B0BE05F31DE}"/>
              </a:ext>
              <a:ext uri="{C183D7F6-B498-43B3-948B-1728B52AA6E4}">
                <adec:decorative xmlns:adec="http://schemas.microsoft.com/office/drawing/2017/decorative" val="1"/>
              </a:ext>
            </a:extLst>
          </p:cNvPr>
          <p:cNvGrpSpPr>
            <a:grpSpLocks noChangeAspect="1"/>
          </p:cNvGrpSpPr>
          <p:nvPr/>
        </p:nvGrpSpPr>
        <p:grpSpPr>
          <a:xfrm>
            <a:off x="3958529" y="5610675"/>
            <a:ext cx="149112" cy="98512"/>
            <a:chOff x="4009850" y="4879563"/>
            <a:chExt cx="149112" cy="98512"/>
          </a:xfrm>
        </p:grpSpPr>
        <p:sp>
          <p:nvSpPr>
            <p:cNvPr id="4670" name="Freeform: Shape 4669">
              <a:extLst>
                <a:ext uri="{FF2B5EF4-FFF2-40B4-BE49-F238E27FC236}">
                  <a16:creationId xmlns:a16="http://schemas.microsoft.com/office/drawing/2014/main" id="{6F974891-B19A-4C05-9F45-217BA1D8BD02}"/>
                </a:ext>
              </a:extLst>
            </p:cNvPr>
            <p:cNvSpPr/>
            <p:nvPr/>
          </p:nvSpPr>
          <p:spPr>
            <a:xfrm>
              <a:off x="4009850" y="4879563"/>
              <a:ext cx="71645" cy="98512"/>
            </a:xfrm>
            <a:custGeom>
              <a:avLst/>
              <a:gdLst>
                <a:gd name="connsiteX0" fmla="*/ 72093 w 71645"/>
                <a:gd name="connsiteY0" fmla="*/ 99408 h 98511"/>
                <a:gd name="connsiteX1" fmla="*/ 39405 w 71645"/>
                <a:gd name="connsiteY1" fmla="*/ 99408 h 98511"/>
                <a:gd name="connsiteX2" fmla="*/ 37614 w 71645"/>
                <a:gd name="connsiteY2" fmla="*/ 98512 h 98511"/>
                <a:gd name="connsiteX3" fmla="*/ 6269 w 71645"/>
                <a:gd name="connsiteY3" fmla="*/ 59555 h 98511"/>
                <a:gd name="connsiteX4" fmla="*/ 1344 w 71645"/>
                <a:gd name="connsiteY4" fmla="*/ 51943 h 98511"/>
                <a:gd name="connsiteX5" fmla="*/ 0 w 71645"/>
                <a:gd name="connsiteY5" fmla="*/ 44330 h 98511"/>
                <a:gd name="connsiteX6" fmla="*/ 0 w 71645"/>
                <a:gd name="connsiteY6" fmla="*/ 2239 h 98511"/>
                <a:gd name="connsiteX7" fmla="*/ 896 w 71645"/>
                <a:gd name="connsiteY7" fmla="*/ 448 h 98511"/>
                <a:gd name="connsiteX8" fmla="*/ 2687 w 71645"/>
                <a:gd name="connsiteY8" fmla="*/ 0 h 98511"/>
                <a:gd name="connsiteX9" fmla="*/ 13433 w 71645"/>
                <a:gd name="connsiteY9" fmla="*/ 4030 h 98511"/>
                <a:gd name="connsiteX10" fmla="*/ 17016 w 71645"/>
                <a:gd name="connsiteY10" fmla="*/ 11642 h 98511"/>
                <a:gd name="connsiteX11" fmla="*/ 20150 w 71645"/>
                <a:gd name="connsiteY11" fmla="*/ 38509 h 98511"/>
                <a:gd name="connsiteX12" fmla="*/ 21941 w 71645"/>
                <a:gd name="connsiteY12" fmla="*/ 43883 h 98511"/>
                <a:gd name="connsiteX13" fmla="*/ 25972 w 71645"/>
                <a:gd name="connsiteY13" fmla="*/ 47913 h 98511"/>
                <a:gd name="connsiteX14" fmla="*/ 47465 w 71645"/>
                <a:gd name="connsiteY14" fmla="*/ 67615 h 98511"/>
                <a:gd name="connsiteX15" fmla="*/ 49256 w 71645"/>
                <a:gd name="connsiteY15" fmla="*/ 68511 h 98511"/>
                <a:gd name="connsiteX16" fmla="*/ 51047 w 71645"/>
                <a:gd name="connsiteY16" fmla="*/ 65376 h 98511"/>
                <a:gd name="connsiteX17" fmla="*/ 49704 w 71645"/>
                <a:gd name="connsiteY17" fmla="*/ 60898 h 98511"/>
                <a:gd name="connsiteX18" fmla="*/ 36718 w 71645"/>
                <a:gd name="connsiteY18" fmla="*/ 39405 h 98511"/>
                <a:gd name="connsiteX19" fmla="*/ 34927 w 71645"/>
                <a:gd name="connsiteY19" fmla="*/ 29553 h 98511"/>
                <a:gd name="connsiteX20" fmla="*/ 40748 w 71645"/>
                <a:gd name="connsiteY20" fmla="*/ 21493 h 98511"/>
                <a:gd name="connsiteX21" fmla="*/ 43883 w 71645"/>
                <a:gd name="connsiteY21" fmla="*/ 21941 h 98511"/>
                <a:gd name="connsiteX22" fmla="*/ 67615 w 71645"/>
                <a:gd name="connsiteY22" fmla="*/ 53286 h 98511"/>
                <a:gd name="connsiteX23" fmla="*/ 72989 w 71645"/>
                <a:gd name="connsiteY23" fmla="*/ 62689 h 98511"/>
                <a:gd name="connsiteX24" fmla="*/ 74332 w 71645"/>
                <a:gd name="connsiteY24" fmla="*/ 72988 h 98511"/>
                <a:gd name="connsiteX25" fmla="*/ 74332 w 71645"/>
                <a:gd name="connsiteY25" fmla="*/ 97169 h 98511"/>
                <a:gd name="connsiteX26" fmla="*/ 72093 w 71645"/>
                <a:gd name="connsiteY26" fmla="*/ 99408 h 98511"/>
                <a:gd name="connsiteX27" fmla="*/ 40300 w 71645"/>
                <a:gd name="connsiteY27" fmla="*/ 94930 h 98511"/>
                <a:gd name="connsiteX28" fmla="*/ 69854 w 71645"/>
                <a:gd name="connsiteY28" fmla="*/ 94930 h 98511"/>
                <a:gd name="connsiteX29" fmla="*/ 69854 w 71645"/>
                <a:gd name="connsiteY29" fmla="*/ 72988 h 98511"/>
                <a:gd name="connsiteX30" fmla="*/ 68511 w 71645"/>
                <a:gd name="connsiteY30" fmla="*/ 64033 h 98511"/>
                <a:gd name="connsiteX31" fmla="*/ 64033 w 71645"/>
                <a:gd name="connsiteY31" fmla="*/ 55973 h 98511"/>
                <a:gd name="connsiteX32" fmla="*/ 41644 w 71645"/>
                <a:gd name="connsiteY32" fmla="*/ 26419 h 98511"/>
                <a:gd name="connsiteX33" fmla="*/ 38957 w 71645"/>
                <a:gd name="connsiteY33" fmla="*/ 30449 h 98511"/>
                <a:gd name="connsiteX34" fmla="*/ 40300 w 71645"/>
                <a:gd name="connsiteY34" fmla="*/ 37166 h 98511"/>
                <a:gd name="connsiteX35" fmla="*/ 53286 w 71645"/>
                <a:gd name="connsiteY35" fmla="*/ 58659 h 98511"/>
                <a:gd name="connsiteX36" fmla="*/ 55525 w 71645"/>
                <a:gd name="connsiteY36" fmla="*/ 64928 h 98511"/>
                <a:gd name="connsiteX37" fmla="*/ 49704 w 71645"/>
                <a:gd name="connsiteY37" fmla="*/ 72988 h 98511"/>
                <a:gd name="connsiteX38" fmla="*/ 44778 w 71645"/>
                <a:gd name="connsiteY38" fmla="*/ 71197 h 98511"/>
                <a:gd name="connsiteX39" fmla="*/ 23285 w 71645"/>
                <a:gd name="connsiteY39" fmla="*/ 51495 h 98511"/>
                <a:gd name="connsiteX40" fmla="*/ 18359 w 71645"/>
                <a:gd name="connsiteY40" fmla="*/ 46121 h 98511"/>
                <a:gd name="connsiteX41" fmla="*/ 15672 w 71645"/>
                <a:gd name="connsiteY41" fmla="*/ 38957 h 98511"/>
                <a:gd name="connsiteX42" fmla="*/ 12538 w 71645"/>
                <a:gd name="connsiteY42" fmla="*/ 12090 h 98511"/>
                <a:gd name="connsiteX43" fmla="*/ 10299 w 71645"/>
                <a:gd name="connsiteY43" fmla="*/ 7164 h 98511"/>
                <a:gd name="connsiteX44" fmla="*/ 4478 w 71645"/>
                <a:gd name="connsiteY44" fmla="*/ 4925 h 98511"/>
                <a:gd name="connsiteX45" fmla="*/ 4478 w 71645"/>
                <a:gd name="connsiteY45" fmla="*/ 44330 h 98511"/>
                <a:gd name="connsiteX46" fmla="*/ 5821 w 71645"/>
                <a:gd name="connsiteY46" fmla="*/ 50152 h 98511"/>
                <a:gd name="connsiteX47" fmla="*/ 8508 w 71645"/>
                <a:gd name="connsiteY47" fmla="*/ 55077 h 98511"/>
                <a:gd name="connsiteX48" fmla="*/ 8956 w 71645"/>
                <a:gd name="connsiteY48" fmla="*/ 55525 h 98511"/>
                <a:gd name="connsiteX49" fmla="*/ 40300 w 71645"/>
                <a:gd name="connsiteY49" fmla="*/ 9493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1645" h="98511">
                  <a:moveTo>
                    <a:pt x="72093" y="99408"/>
                  </a:moveTo>
                  <a:lnTo>
                    <a:pt x="39405" y="99408"/>
                  </a:lnTo>
                  <a:cubicBezTo>
                    <a:pt x="38509" y="99408"/>
                    <a:pt x="38061" y="98960"/>
                    <a:pt x="37614" y="98512"/>
                  </a:cubicBezTo>
                  <a:lnTo>
                    <a:pt x="6269" y="59555"/>
                  </a:lnTo>
                  <a:cubicBezTo>
                    <a:pt x="4030" y="57764"/>
                    <a:pt x="1344" y="51943"/>
                    <a:pt x="1344" y="51943"/>
                  </a:cubicBezTo>
                  <a:cubicBezTo>
                    <a:pt x="448" y="49704"/>
                    <a:pt x="0" y="47017"/>
                    <a:pt x="0" y="44330"/>
                  </a:cubicBezTo>
                  <a:lnTo>
                    <a:pt x="0" y="2239"/>
                  </a:lnTo>
                  <a:cubicBezTo>
                    <a:pt x="0" y="1791"/>
                    <a:pt x="448" y="896"/>
                    <a:pt x="896" y="448"/>
                  </a:cubicBezTo>
                  <a:cubicBezTo>
                    <a:pt x="1344" y="0"/>
                    <a:pt x="2239" y="0"/>
                    <a:pt x="2687" y="0"/>
                  </a:cubicBezTo>
                  <a:cubicBezTo>
                    <a:pt x="7612" y="896"/>
                    <a:pt x="11195" y="2239"/>
                    <a:pt x="13433" y="4030"/>
                  </a:cubicBezTo>
                  <a:cubicBezTo>
                    <a:pt x="16120" y="6717"/>
                    <a:pt x="16568" y="8956"/>
                    <a:pt x="17016" y="11642"/>
                  </a:cubicBezTo>
                  <a:lnTo>
                    <a:pt x="20150" y="38509"/>
                  </a:lnTo>
                  <a:cubicBezTo>
                    <a:pt x="20598" y="40748"/>
                    <a:pt x="21046" y="42539"/>
                    <a:pt x="21941" y="43883"/>
                  </a:cubicBezTo>
                  <a:cubicBezTo>
                    <a:pt x="22837" y="45226"/>
                    <a:pt x="24628" y="47017"/>
                    <a:pt x="25972" y="47913"/>
                  </a:cubicBezTo>
                  <a:lnTo>
                    <a:pt x="47465" y="67615"/>
                  </a:lnTo>
                  <a:cubicBezTo>
                    <a:pt x="47913" y="68063"/>
                    <a:pt x="48808" y="68511"/>
                    <a:pt x="49256" y="68511"/>
                  </a:cubicBezTo>
                  <a:cubicBezTo>
                    <a:pt x="50600" y="68511"/>
                    <a:pt x="51047" y="67167"/>
                    <a:pt x="51047" y="65376"/>
                  </a:cubicBezTo>
                  <a:cubicBezTo>
                    <a:pt x="51047" y="64033"/>
                    <a:pt x="50600" y="62241"/>
                    <a:pt x="49704" y="60898"/>
                  </a:cubicBezTo>
                  <a:lnTo>
                    <a:pt x="36718" y="39405"/>
                  </a:lnTo>
                  <a:cubicBezTo>
                    <a:pt x="34927" y="36270"/>
                    <a:pt x="34479" y="33136"/>
                    <a:pt x="34927" y="29553"/>
                  </a:cubicBezTo>
                  <a:cubicBezTo>
                    <a:pt x="35823" y="26419"/>
                    <a:pt x="38509" y="23285"/>
                    <a:pt x="40748" y="21493"/>
                  </a:cubicBezTo>
                  <a:cubicBezTo>
                    <a:pt x="41644" y="20598"/>
                    <a:pt x="42987" y="21046"/>
                    <a:pt x="43883" y="21941"/>
                  </a:cubicBezTo>
                  <a:lnTo>
                    <a:pt x="67615" y="53286"/>
                  </a:lnTo>
                  <a:cubicBezTo>
                    <a:pt x="70302" y="56420"/>
                    <a:pt x="71645" y="59555"/>
                    <a:pt x="72989" y="62689"/>
                  </a:cubicBezTo>
                  <a:cubicBezTo>
                    <a:pt x="73884" y="65824"/>
                    <a:pt x="74332" y="68958"/>
                    <a:pt x="74332" y="72988"/>
                  </a:cubicBezTo>
                  <a:lnTo>
                    <a:pt x="74332" y="97169"/>
                  </a:lnTo>
                  <a:cubicBezTo>
                    <a:pt x="74332" y="98512"/>
                    <a:pt x="73436" y="99408"/>
                    <a:pt x="72093" y="99408"/>
                  </a:cubicBezTo>
                  <a:close/>
                  <a:moveTo>
                    <a:pt x="40300" y="94930"/>
                  </a:moveTo>
                  <a:lnTo>
                    <a:pt x="69854" y="94930"/>
                  </a:lnTo>
                  <a:lnTo>
                    <a:pt x="69854" y="72988"/>
                  </a:lnTo>
                  <a:cubicBezTo>
                    <a:pt x="69854" y="69406"/>
                    <a:pt x="69406" y="66719"/>
                    <a:pt x="68511" y="64033"/>
                  </a:cubicBezTo>
                  <a:cubicBezTo>
                    <a:pt x="67615" y="61346"/>
                    <a:pt x="66272" y="58659"/>
                    <a:pt x="64033" y="55973"/>
                  </a:cubicBezTo>
                  <a:lnTo>
                    <a:pt x="41644" y="26419"/>
                  </a:lnTo>
                  <a:cubicBezTo>
                    <a:pt x="40748" y="27763"/>
                    <a:pt x="39405" y="29106"/>
                    <a:pt x="38957" y="30449"/>
                  </a:cubicBezTo>
                  <a:cubicBezTo>
                    <a:pt x="38509" y="32688"/>
                    <a:pt x="38957" y="34927"/>
                    <a:pt x="40300" y="37166"/>
                  </a:cubicBezTo>
                  <a:lnTo>
                    <a:pt x="53286" y="58659"/>
                  </a:lnTo>
                  <a:cubicBezTo>
                    <a:pt x="54629" y="60451"/>
                    <a:pt x="55077" y="62689"/>
                    <a:pt x="55525" y="64928"/>
                  </a:cubicBezTo>
                  <a:cubicBezTo>
                    <a:pt x="55973" y="69406"/>
                    <a:pt x="53734" y="72541"/>
                    <a:pt x="49704" y="72988"/>
                  </a:cubicBezTo>
                  <a:cubicBezTo>
                    <a:pt x="47465" y="72988"/>
                    <a:pt x="45674" y="71645"/>
                    <a:pt x="44778" y="71197"/>
                  </a:cubicBezTo>
                  <a:lnTo>
                    <a:pt x="23285" y="51495"/>
                  </a:lnTo>
                  <a:cubicBezTo>
                    <a:pt x="21494" y="50152"/>
                    <a:pt x="19703" y="48360"/>
                    <a:pt x="18359" y="46121"/>
                  </a:cubicBezTo>
                  <a:cubicBezTo>
                    <a:pt x="17016" y="43883"/>
                    <a:pt x="16120" y="41644"/>
                    <a:pt x="15672" y="38957"/>
                  </a:cubicBezTo>
                  <a:lnTo>
                    <a:pt x="12538" y="12090"/>
                  </a:lnTo>
                  <a:cubicBezTo>
                    <a:pt x="12090" y="9851"/>
                    <a:pt x="11642" y="8508"/>
                    <a:pt x="10299" y="7164"/>
                  </a:cubicBezTo>
                  <a:cubicBezTo>
                    <a:pt x="9851" y="6717"/>
                    <a:pt x="8060" y="5373"/>
                    <a:pt x="4478" y="4925"/>
                  </a:cubicBezTo>
                  <a:lnTo>
                    <a:pt x="4478" y="44330"/>
                  </a:lnTo>
                  <a:cubicBezTo>
                    <a:pt x="4478" y="46569"/>
                    <a:pt x="4926" y="48360"/>
                    <a:pt x="5821" y="50152"/>
                  </a:cubicBezTo>
                  <a:cubicBezTo>
                    <a:pt x="6717" y="52391"/>
                    <a:pt x="7612" y="53734"/>
                    <a:pt x="8508" y="55077"/>
                  </a:cubicBezTo>
                  <a:cubicBezTo>
                    <a:pt x="8956" y="55077"/>
                    <a:pt x="8956" y="55525"/>
                    <a:pt x="8956" y="55525"/>
                  </a:cubicBezTo>
                  <a:lnTo>
                    <a:pt x="40300" y="94930"/>
                  </a:lnTo>
                  <a:close/>
                </a:path>
              </a:pathLst>
            </a:custGeom>
            <a:solidFill>
              <a:srgbClr val="231F20"/>
            </a:solidFill>
            <a:ln w="4474" cap="flat">
              <a:noFill/>
              <a:prstDash val="solid"/>
              <a:miter/>
            </a:ln>
          </p:spPr>
          <p:txBody>
            <a:bodyPr rtlCol="0" anchor="ctr"/>
            <a:lstStyle/>
            <a:p>
              <a:endParaRPr lang="en-US"/>
            </a:p>
          </p:txBody>
        </p:sp>
        <p:sp>
          <p:nvSpPr>
            <p:cNvPr id="4671" name="Freeform: Shape 4670">
              <a:extLst>
                <a:ext uri="{FF2B5EF4-FFF2-40B4-BE49-F238E27FC236}">
                  <a16:creationId xmlns:a16="http://schemas.microsoft.com/office/drawing/2014/main" id="{14D7C33F-4883-4382-ADB8-405BA1547462}"/>
                </a:ext>
              </a:extLst>
            </p:cNvPr>
            <p:cNvSpPr/>
            <p:nvPr/>
          </p:nvSpPr>
          <p:spPr>
            <a:xfrm>
              <a:off x="4087317" y="4879563"/>
              <a:ext cx="71645" cy="98512"/>
            </a:xfrm>
            <a:custGeom>
              <a:avLst/>
              <a:gdLst>
                <a:gd name="connsiteX0" fmla="*/ 34927 w 71645"/>
                <a:gd name="connsiteY0" fmla="*/ 99408 h 98511"/>
                <a:gd name="connsiteX1" fmla="*/ 2239 w 71645"/>
                <a:gd name="connsiteY1" fmla="*/ 99408 h 98511"/>
                <a:gd name="connsiteX2" fmla="*/ 0 w 71645"/>
                <a:gd name="connsiteY2" fmla="*/ 97169 h 98511"/>
                <a:gd name="connsiteX3" fmla="*/ 0 w 71645"/>
                <a:gd name="connsiteY3" fmla="*/ 72988 h 98511"/>
                <a:gd name="connsiteX4" fmla="*/ 1343 w 71645"/>
                <a:gd name="connsiteY4" fmla="*/ 62689 h 98511"/>
                <a:gd name="connsiteX5" fmla="*/ 6717 w 71645"/>
                <a:gd name="connsiteY5" fmla="*/ 53286 h 98511"/>
                <a:gd name="connsiteX6" fmla="*/ 30449 w 71645"/>
                <a:gd name="connsiteY6" fmla="*/ 21941 h 98511"/>
                <a:gd name="connsiteX7" fmla="*/ 33584 w 71645"/>
                <a:gd name="connsiteY7" fmla="*/ 21493 h 98511"/>
                <a:gd name="connsiteX8" fmla="*/ 39405 w 71645"/>
                <a:gd name="connsiteY8" fmla="*/ 29106 h 98511"/>
                <a:gd name="connsiteX9" fmla="*/ 37614 w 71645"/>
                <a:gd name="connsiteY9" fmla="*/ 39405 h 98511"/>
                <a:gd name="connsiteX10" fmla="*/ 24628 w 71645"/>
                <a:gd name="connsiteY10" fmla="*/ 60898 h 98511"/>
                <a:gd name="connsiteX11" fmla="*/ 23284 w 71645"/>
                <a:gd name="connsiteY11" fmla="*/ 65376 h 98511"/>
                <a:gd name="connsiteX12" fmla="*/ 25076 w 71645"/>
                <a:gd name="connsiteY12" fmla="*/ 68511 h 98511"/>
                <a:gd name="connsiteX13" fmla="*/ 26867 w 71645"/>
                <a:gd name="connsiteY13" fmla="*/ 67615 h 98511"/>
                <a:gd name="connsiteX14" fmla="*/ 48360 w 71645"/>
                <a:gd name="connsiteY14" fmla="*/ 48360 h 98511"/>
                <a:gd name="connsiteX15" fmla="*/ 52390 w 71645"/>
                <a:gd name="connsiteY15" fmla="*/ 43883 h 98511"/>
                <a:gd name="connsiteX16" fmla="*/ 54181 w 71645"/>
                <a:gd name="connsiteY16" fmla="*/ 38509 h 98511"/>
                <a:gd name="connsiteX17" fmla="*/ 57316 w 71645"/>
                <a:gd name="connsiteY17" fmla="*/ 11642 h 98511"/>
                <a:gd name="connsiteX18" fmla="*/ 60898 w 71645"/>
                <a:gd name="connsiteY18" fmla="*/ 4030 h 98511"/>
                <a:gd name="connsiteX19" fmla="*/ 71645 w 71645"/>
                <a:gd name="connsiteY19" fmla="*/ 0 h 98511"/>
                <a:gd name="connsiteX20" fmla="*/ 73436 w 71645"/>
                <a:gd name="connsiteY20" fmla="*/ 448 h 98511"/>
                <a:gd name="connsiteX21" fmla="*/ 74332 w 71645"/>
                <a:gd name="connsiteY21" fmla="*/ 2239 h 98511"/>
                <a:gd name="connsiteX22" fmla="*/ 74332 w 71645"/>
                <a:gd name="connsiteY22" fmla="*/ 44330 h 98511"/>
                <a:gd name="connsiteX23" fmla="*/ 72988 w 71645"/>
                <a:gd name="connsiteY23" fmla="*/ 51943 h 98511"/>
                <a:gd name="connsiteX24" fmla="*/ 68063 w 71645"/>
                <a:gd name="connsiteY24" fmla="*/ 59555 h 98511"/>
                <a:gd name="connsiteX25" fmla="*/ 36718 w 71645"/>
                <a:gd name="connsiteY25" fmla="*/ 98512 h 98511"/>
                <a:gd name="connsiteX26" fmla="*/ 34927 w 71645"/>
                <a:gd name="connsiteY26" fmla="*/ 99408 h 98511"/>
                <a:gd name="connsiteX27" fmla="*/ 4478 w 71645"/>
                <a:gd name="connsiteY27" fmla="*/ 94930 h 98511"/>
                <a:gd name="connsiteX28" fmla="*/ 34031 w 71645"/>
                <a:gd name="connsiteY28" fmla="*/ 94930 h 98511"/>
                <a:gd name="connsiteX29" fmla="*/ 65376 w 71645"/>
                <a:gd name="connsiteY29" fmla="*/ 55525 h 98511"/>
                <a:gd name="connsiteX30" fmla="*/ 65824 w 71645"/>
                <a:gd name="connsiteY30" fmla="*/ 55077 h 98511"/>
                <a:gd name="connsiteX31" fmla="*/ 68511 w 71645"/>
                <a:gd name="connsiteY31" fmla="*/ 50152 h 98511"/>
                <a:gd name="connsiteX32" fmla="*/ 69854 w 71645"/>
                <a:gd name="connsiteY32" fmla="*/ 43883 h 98511"/>
                <a:gd name="connsiteX33" fmla="*/ 69854 w 71645"/>
                <a:gd name="connsiteY33" fmla="*/ 4478 h 98511"/>
                <a:gd name="connsiteX34" fmla="*/ 64033 w 71645"/>
                <a:gd name="connsiteY34" fmla="*/ 6717 h 98511"/>
                <a:gd name="connsiteX35" fmla="*/ 61794 w 71645"/>
                <a:gd name="connsiteY35" fmla="*/ 11642 h 98511"/>
                <a:gd name="connsiteX36" fmla="*/ 58659 w 71645"/>
                <a:gd name="connsiteY36" fmla="*/ 38509 h 98511"/>
                <a:gd name="connsiteX37" fmla="*/ 55973 w 71645"/>
                <a:gd name="connsiteY37" fmla="*/ 45674 h 98511"/>
                <a:gd name="connsiteX38" fmla="*/ 51047 w 71645"/>
                <a:gd name="connsiteY38" fmla="*/ 51047 h 98511"/>
                <a:gd name="connsiteX39" fmla="*/ 30001 w 71645"/>
                <a:gd name="connsiteY39" fmla="*/ 70302 h 98511"/>
                <a:gd name="connsiteX40" fmla="*/ 25076 w 71645"/>
                <a:gd name="connsiteY40" fmla="*/ 72093 h 98511"/>
                <a:gd name="connsiteX41" fmla="*/ 19255 w 71645"/>
                <a:gd name="connsiteY41" fmla="*/ 64033 h 98511"/>
                <a:gd name="connsiteX42" fmla="*/ 21493 w 71645"/>
                <a:gd name="connsiteY42" fmla="*/ 57764 h 98511"/>
                <a:gd name="connsiteX43" fmla="*/ 34479 w 71645"/>
                <a:gd name="connsiteY43" fmla="*/ 36270 h 98511"/>
                <a:gd name="connsiteX44" fmla="*/ 35823 w 71645"/>
                <a:gd name="connsiteY44" fmla="*/ 29553 h 98511"/>
                <a:gd name="connsiteX45" fmla="*/ 33136 w 71645"/>
                <a:gd name="connsiteY45" fmla="*/ 25524 h 98511"/>
                <a:gd name="connsiteX46" fmla="*/ 10747 w 71645"/>
                <a:gd name="connsiteY46" fmla="*/ 55077 h 98511"/>
                <a:gd name="connsiteX47" fmla="*/ 6269 w 71645"/>
                <a:gd name="connsiteY47" fmla="*/ 63137 h 98511"/>
                <a:gd name="connsiteX48" fmla="*/ 4925 w 71645"/>
                <a:gd name="connsiteY48" fmla="*/ 72093 h 98511"/>
                <a:gd name="connsiteX49" fmla="*/ 4925 w 71645"/>
                <a:gd name="connsiteY49" fmla="*/ 9493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1645" h="98511">
                  <a:moveTo>
                    <a:pt x="34927" y="99408"/>
                  </a:moveTo>
                  <a:lnTo>
                    <a:pt x="2239" y="99408"/>
                  </a:lnTo>
                  <a:cubicBezTo>
                    <a:pt x="895" y="99408"/>
                    <a:pt x="0" y="98512"/>
                    <a:pt x="0" y="97169"/>
                  </a:cubicBezTo>
                  <a:lnTo>
                    <a:pt x="0" y="72988"/>
                  </a:lnTo>
                  <a:cubicBezTo>
                    <a:pt x="0" y="68958"/>
                    <a:pt x="448" y="65824"/>
                    <a:pt x="1343" y="62689"/>
                  </a:cubicBezTo>
                  <a:cubicBezTo>
                    <a:pt x="2239" y="59555"/>
                    <a:pt x="4030" y="56420"/>
                    <a:pt x="6717" y="53286"/>
                  </a:cubicBezTo>
                  <a:lnTo>
                    <a:pt x="30449" y="21941"/>
                  </a:lnTo>
                  <a:cubicBezTo>
                    <a:pt x="31345" y="21046"/>
                    <a:pt x="32688" y="20598"/>
                    <a:pt x="33584" y="21493"/>
                  </a:cubicBezTo>
                  <a:cubicBezTo>
                    <a:pt x="35823" y="23285"/>
                    <a:pt x="38509" y="25971"/>
                    <a:pt x="39405" y="29106"/>
                  </a:cubicBezTo>
                  <a:cubicBezTo>
                    <a:pt x="40300" y="32688"/>
                    <a:pt x="39852" y="36270"/>
                    <a:pt x="37614" y="39405"/>
                  </a:cubicBezTo>
                  <a:lnTo>
                    <a:pt x="24628" y="60898"/>
                  </a:lnTo>
                  <a:cubicBezTo>
                    <a:pt x="23732" y="62241"/>
                    <a:pt x="23284" y="63585"/>
                    <a:pt x="23284" y="65376"/>
                  </a:cubicBezTo>
                  <a:cubicBezTo>
                    <a:pt x="23284" y="67615"/>
                    <a:pt x="23732" y="68511"/>
                    <a:pt x="25076" y="68511"/>
                  </a:cubicBezTo>
                  <a:cubicBezTo>
                    <a:pt x="25523" y="68511"/>
                    <a:pt x="26419" y="68063"/>
                    <a:pt x="26867" y="67615"/>
                  </a:cubicBezTo>
                  <a:lnTo>
                    <a:pt x="48360" y="48360"/>
                  </a:lnTo>
                  <a:cubicBezTo>
                    <a:pt x="50151" y="47017"/>
                    <a:pt x="51495" y="45674"/>
                    <a:pt x="52390" y="43883"/>
                  </a:cubicBezTo>
                  <a:cubicBezTo>
                    <a:pt x="53286" y="42091"/>
                    <a:pt x="54181" y="40300"/>
                    <a:pt x="54181" y="38509"/>
                  </a:cubicBezTo>
                  <a:lnTo>
                    <a:pt x="57316" y="11642"/>
                  </a:lnTo>
                  <a:cubicBezTo>
                    <a:pt x="57764" y="8956"/>
                    <a:pt x="58659" y="6269"/>
                    <a:pt x="60898" y="4030"/>
                  </a:cubicBezTo>
                  <a:cubicBezTo>
                    <a:pt x="63137" y="2239"/>
                    <a:pt x="66719" y="896"/>
                    <a:pt x="71645" y="0"/>
                  </a:cubicBezTo>
                  <a:cubicBezTo>
                    <a:pt x="72093" y="0"/>
                    <a:pt x="72988" y="0"/>
                    <a:pt x="73436" y="448"/>
                  </a:cubicBezTo>
                  <a:cubicBezTo>
                    <a:pt x="73884" y="896"/>
                    <a:pt x="74332" y="1343"/>
                    <a:pt x="74332" y="2239"/>
                  </a:cubicBezTo>
                  <a:lnTo>
                    <a:pt x="74332" y="44330"/>
                  </a:lnTo>
                  <a:cubicBezTo>
                    <a:pt x="74332" y="47465"/>
                    <a:pt x="73884" y="49704"/>
                    <a:pt x="72988" y="51943"/>
                  </a:cubicBezTo>
                  <a:cubicBezTo>
                    <a:pt x="72988" y="51943"/>
                    <a:pt x="70302" y="57764"/>
                    <a:pt x="68063" y="59555"/>
                  </a:cubicBezTo>
                  <a:lnTo>
                    <a:pt x="36718" y="98512"/>
                  </a:lnTo>
                  <a:cubicBezTo>
                    <a:pt x="36270" y="99408"/>
                    <a:pt x="35823" y="99408"/>
                    <a:pt x="34927" y="99408"/>
                  </a:cubicBezTo>
                  <a:close/>
                  <a:moveTo>
                    <a:pt x="4478" y="94930"/>
                  </a:moveTo>
                  <a:lnTo>
                    <a:pt x="34031" y="94930"/>
                  </a:lnTo>
                  <a:lnTo>
                    <a:pt x="65376" y="55525"/>
                  </a:lnTo>
                  <a:cubicBezTo>
                    <a:pt x="65376" y="55077"/>
                    <a:pt x="65824" y="55077"/>
                    <a:pt x="65824" y="55077"/>
                  </a:cubicBezTo>
                  <a:cubicBezTo>
                    <a:pt x="66719" y="54181"/>
                    <a:pt x="67615" y="52391"/>
                    <a:pt x="68511" y="50152"/>
                  </a:cubicBezTo>
                  <a:cubicBezTo>
                    <a:pt x="69406" y="48360"/>
                    <a:pt x="69854" y="46569"/>
                    <a:pt x="69854" y="43883"/>
                  </a:cubicBezTo>
                  <a:lnTo>
                    <a:pt x="69854" y="4478"/>
                  </a:lnTo>
                  <a:cubicBezTo>
                    <a:pt x="66272" y="5373"/>
                    <a:pt x="64928" y="6269"/>
                    <a:pt x="64033" y="6717"/>
                  </a:cubicBezTo>
                  <a:cubicBezTo>
                    <a:pt x="62689" y="8060"/>
                    <a:pt x="62242" y="9403"/>
                    <a:pt x="61794" y="11642"/>
                  </a:cubicBezTo>
                  <a:lnTo>
                    <a:pt x="58659" y="38509"/>
                  </a:lnTo>
                  <a:cubicBezTo>
                    <a:pt x="58212" y="41196"/>
                    <a:pt x="57316" y="43435"/>
                    <a:pt x="55973" y="45674"/>
                  </a:cubicBezTo>
                  <a:cubicBezTo>
                    <a:pt x="54629" y="47465"/>
                    <a:pt x="52838" y="49704"/>
                    <a:pt x="51047" y="51047"/>
                  </a:cubicBezTo>
                  <a:lnTo>
                    <a:pt x="30001" y="70302"/>
                  </a:lnTo>
                  <a:cubicBezTo>
                    <a:pt x="29106" y="70749"/>
                    <a:pt x="26867" y="72541"/>
                    <a:pt x="25076" y="72093"/>
                  </a:cubicBezTo>
                  <a:cubicBezTo>
                    <a:pt x="21046" y="71645"/>
                    <a:pt x="18807" y="68511"/>
                    <a:pt x="19255" y="64033"/>
                  </a:cubicBezTo>
                  <a:cubicBezTo>
                    <a:pt x="19255" y="61794"/>
                    <a:pt x="20150" y="59555"/>
                    <a:pt x="21493" y="57764"/>
                  </a:cubicBezTo>
                  <a:lnTo>
                    <a:pt x="34479" y="36270"/>
                  </a:lnTo>
                  <a:cubicBezTo>
                    <a:pt x="36270" y="33584"/>
                    <a:pt x="35823" y="31345"/>
                    <a:pt x="35823" y="29553"/>
                  </a:cubicBezTo>
                  <a:cubicBezTo>
                    <a:pt x="35375" y="28210"/>
                    <a:pt x="34479" y="26867"/>
                    <a:pt x="33136" y="25524"/>
                  </a:cubicBezTo>
                  <a:lnTo>
                    <a:pt x="10747" y="55077"/>
                  </a:lnTo>
                  <a:cubicBezTo>
                    <a:pt x="8508" y="57764"/>
                    <a:pt x="7164" y="60451"/>
                    <a:pt x="6269" y="63137"/>
                  </a:cubicBezTo>
                  <a:cubicBezTo>
                    <a:pt x="5373" y="65824"/>
                    <a:pt x="4925" y="68511"/>
                    <a:pt x="4925" y="72093"/>
                  </a:cubicBezTo>
                  <a:lnTo>
                    <a:pt x="4925" y="94930"/>
                  </a:lnTo>
                  <a:close/>
                </a:path>
              </a:pathLst>
            </a:custGeom>
            <a:solidFill>
              <a:srgbClr val="231F20"/>
            </a:solidFill>
            <a:ln w="4474" cap="flat">
              <a:noFill/>
              <a:prstDash val="solid"/>
              <a:miter/>
            </a:ln>
          </p:spPr>
          <p:txBody>
            <a:bodyPr rtlCol="0" anchor="ctr"/>
            <a:lstStyle/>
            <a:p>
              <a:endParaRPr lang="en-US"/>
            </a:p>
          </p:txBody>
        </p:sp>
      </p:grpSp>
      <p:sp>
        <p:nvSpPr>
          <p:cNvPr id="4672" name="Freeform: Shape 4671">
            <a:extLst>
              <a:ext uri="{FF2B5EF4-FFF2-40B4-BE49-F238E27FC236}">
                <a16:creationId xmlns:a16="http://schemas.microsoft.com/office/drawing/2014/main" id="{32BBF1AC-A607-440E-90EA-6EA3AB156F51}"/>
              </a:ext>
              <a:ext uri="{C183D7F6-B498-43B3-948B-1728B52AA6E4}">
                <adec:decorative xmlns:adec="http://schemas.microsoft.com/office/drawing/2017/decorative" val="1"/>
              </a:ext>
            </a:extLst>
          </p:cNvPr>
          <p:cNvSpPr>
            <a:spLocks noChangeAspect="1"/>
          </p:cNvSpPr>
          <p:nvPr/>
        </p:nvSpPr>
        <p:spPr>
          <a:xfrm>
            <a:off x="3431042" y="5581681"/>
            <a:ext cx="147768" cy="143290"/>
          </a:xfrm>
          <a:custGeom>
            <a:avLst/>
            <a:gdLst>
              <a:gd name="connsiteX0" fmla="*/ 146425 w 147767"/>
              <a:gd name="connsiteY0" fmla="*/ 62130 h 143290"/>
              <a:gd name="connsiteX1" fmla="*/ 130752 w 147767"/>
              <a:gd name="connsiteY1" fmla="*/ 56756 h 143290"/>
              <a:gd name="connsiteX2" fmla="*/ 131648 w 147767"/>
              <a:gd name="connsiteY2" fmla="*/ 54070 h 143290"/>
              <a:gd name="connsiteX3" fmla="*/ 131648 w 147767"/>
              <a:gd name="connsiteY3" fmla="*/ 52279 h 143290"/>
              <a:gd name="connsiteX4" fmla="*/ 130305 w 147767"/>
              <a:gd name="connsiteY4" fmla="*/ 50935 h 143290"/>
              <a:gd name="connsiteX5" fmla="*/ 90900 w 147767"/>
              <a:gd name="connsiteY5" fmla="*/ 37054 h 143290"/>
              <a:gd name="connsiteX6" fmla="*/ 93587 w 147767"/>
              <a:gd name="connsiteY6" fmla="*/ 29442 h 143290"/>
              <a:gd name="connsiteX7" fmla="*/ 103438 w 147767"/>
              <a:gd name="connsiteY7" fmla="*/ 33024 h 143290"/>
              <a:gd name="connsiteX8" fmla="*/ 104333 w 147767"/>
              <a:gd name="connsiteY8" fmla="*/ 33024 h 143290"/>
              <a:gd name="connsiteX9" fmla="*/ 106572 w 147767"/>
              <a:gd name="connsiteY9" fmla="*/ 31680 h 143290"/>
              <a:gd name="connsiteX10" fmla="*/ 105229 w 147767"/>
              <a:gd name="connsiteY10" fmla="*/ 28994 h 143290"/>
              <a:gd name="connsiteX11" fmla="*/ 81496 w 147767"/>
              <a:gd name="connsiteY11" fmla="*/ 20486 h 143290"/>
              <a:gd name="connsiteX12" fmla="*/ 78810 w 147767"/>
              <a:gd name="connsiteY12" fmla="*/ 21829 h 143290"/>
              <a:gd name="connsiteX13" fmla="*/ 80153 w 147767"/>
              <a:gd name="connsiteY13" fmla="*/ 24516 h 143290"/>
              <a:gd name="connsiteX14" fmla="*/ 90004 w 147767"/>
              <a:gd name="connsiteY14" fmla="*/ 28098 h 143290"/>
              <a:gd name="connsiteX15" fmla="*/ 87317 w 147767"/>
              <a:gd name="connsiteY15" fmla="*/ 35711 h 143290"/>
              <a:gd name="connsiteX16" fmla="*/ 55973 w 147767"/>
              <a:gd name="connsiteY16" fmla="*/ 24516 h 143290"/>
              <a:gd name="connsiteX17" fmla="*/ 56868 w 147767"/>
              <a:gd name="connsiteY17" fmla="*/ 22277 h 143290"/>
              <a:gd name="connsiteX18" fmla="*/ 55525 w 147767"/>
              <a:gd name="connsiteY18" fmla="*/ 19590 h 143290"/>
              <a:gd name="connsiteX19" fmla="*/ 15672 w 147767"/>
              <a:gd name="connsiteY19" fmla="*/ 336 h 143290"/>
              <a:gd name="connsiteX20" fmla="*/ 13881 w 147767"/>
              <a:gd name="connsiteY20" fmla="*/ 336 h 143290"/>
              <a:gd name="connsiteX21" fmla="*/ 12538 w 147767"/>
              <a:gd name="connsiteY21" fmla="*/ 1679 h 143290"/>
              <a:gd name="connsiteX22" fmla="*/ 0 w 147767"/>
              <a:gd name="connsiteY22" fmla="*/ 37054 h 143290"/>
              <a:gd name="connsiteX23" fmla="*/ 0 w 147767"/>
              <a:gd name="connsiteY23" fmla="*/ 38845 h 143290"/>
              <a:gd name="connsiteX24" fmla="*/ 1343 w 147767"/>
              <a:gd name="connsiteY24" fmla="*/ 39740 h 143290"/>
              <a:gd name="connsiteX25" fmla="*/ 44331 w 147767"/>
              <a:gd name="connsiteY25" fmla="*/ 50040 h 143290"/>
              <a:gd name="connsiteX26" fmla="*/ 44778 w 147767"/>
              <a:gd name="connsiteY26" fmla="*/ 50040 h 143290"/>
              <a:gd name="connsiteX27" fmla="*/ 47017 w 147767"/>
              <a:gd name="connsiteY27" fmla="*/ 48696 h 143290"/>
              <a:gd name="connsiteX28" fmla="*/ 47913 w 147767"/>
              <a:gd name="connsiteY28" fmla="*/ 46457 h 143290"/>
              <a:gd name="connsiteX29" fmla="*/ 77914 w 147767"/>
              <a:gd name="connsiteY29" fmla="*/ 57204 h 143290"/>
              <a:gd name="connsiteX30" fmla="*/ 77466 w 147767"/>
              <a:gd name="connsiteY30" fmla="*/ 58100 h 143290"/>
              <a:gd name="connsiteX31" fmla="*/ 58660 w 147767"/>
              <a:gd name="connsiteY31" fmla="*/ 142730 h 143290"/>
              <a:gd name="connsiteX32" fmla="*/ 60451 w 147767"/>
              <a:gd name="connsiteY32" fmla="*/ 145417 h 143290"/>
              <a:gd name="connsiteX33" fmla="*/ 63137 w 147767"/>
              <a:gd name="connsiteY33" fmla="*/ 143626 h 143290"/>
              <a:gd name="connsiteX34" fmla="*/ 68959 w 147767"/>
              <a:gd name="connsiteY34" fmla="*/ 117207 h 143290"/>
              <a:gd name="connsiteX35" fmla="*/ 92243 w 147767"/>
              <a:gd name="connsiteY35" fmla="*/ 117207 h 143290"/>
              <a:gd name="connsiteX36" fmla="*/ 92691 w 147767"/>
              <a:gd name="connsiteY36" fmla="*/ 117207 h 143290"/>
              <a:gd name="connsiteX37" fmla="*/ 99408 w 147767"/>
              <a:gd name="connsiteY37" fmla="*/ 143626 h 143290"/>
              <a:gd name="connsiteX38" fmla="*/ 101647 w 147767"/>
              <a:gd name="connsiteY38" fmla="*/ 145417 h 143290"/>
              <a:gd name="connsiteX39" fmla="*/ 102094 w 147767"/>
              <a:gd name="connsiteY39" fmla="*/ 145417 h 143290"/>
              <a:gd name="connsiteX40" fmla="*/ 103885 w 147767"/>
              <a:gd name="connsiteY40" fmla="*/ 142730 h 143290"/>
              <a:gd name="connsiteX41" fmla="*/ 81944 w 147767"/>
              <a:gd name="connsiteY41" fmla="*/ 58547 h 143290"/>
              <a:gd name="connsiteX42" fmla="*/ 122692 w 147767"/>
              <a:gd name="connsiteY42" fmla="*/ 72876 h 143290"/>
              <a:gd name="connsiteX43" fmla="*/ 123588 w 147767"/>
              <a:gd name="connsiteY43" fmla="*/ 72876 h 143290"/>
              <a:gd name="connsiteX44" fmla="*/ 125827 w 147767"/>
              <a:gd name="connsiteY44" fmla="*/ 71533 h 143290"/>
              <a:gd name="connsiteX45" fmla="*/ 126722 w 147767"/>
              <a:gd name="connsiteY45" fmla="*/ 68846 h 143290"/>
              <a:gd name="connsiteX46" fmla="*/ 142395 w 147767"/>
              <a:gd name="connsiteY46" fmla="*/ 74220 h 143290"/>
              <a:gd name="connsiteX47" fmla="*/ 143290 w 147767"/>
              <a:gd name="connsiteY47" fmla="*/ 74220 h 143290"/>
              <a:gd name="connsiteX48" fmla="*/ 144186 w 147767"/>
              <a:gd name="connsiteY48" fmla="*/ 74220 h 143290"/>
              <a:gd name="connsiteX49" fmla="*/ 145529 w 147767"/>
              <a:gd name="connsiteY49" fmla="*/ 72876 h 143290"/>
              <a:gd name="connsiteX50" fmla="*/ 148664 w 147767"/>
              <a:gd name="connsiteY50" fmla="*/ 64368 h 143290"/>
              <a:gd name="connsiteX51" fmla="*/ 146425 w 147767"/>
              <a:gd name="connsiteY51" fmla="*/ 62130 h 143290"/>
              <a:gd name="connsiteX52" fmla="*/ 4926 w 147767"/>
              <a:gd name="connsiteY52" fmla="*/ 36158 h 143290"/>
              <a:gd name="connsiteX53" fmla="*/ 15672 w 147767"/>
              <a:gd name="connsiteY53" fmla="*/ 5262 h 143290"/>
              <a:gd name="connsiteX54" fmla="*/ 51495 w 147767"/>
              <a:gd name="connsiteY54" fmla="*/ 22277 h 143290"/>
              <a:gd name="connsiteX55" fmla="*/ 43435 w 147767"/>
              <a:gd name="connsiteY55" fmla="*/ 45114 h 143290"/>
              <a:gd name="connsiteX56" fmla="*/ 4926 w 147767"/>
              <a:gd name="connsiteY56" fmla="*/ 36158 h 143290"/>
              <a:gd name="connsiteX57" fmla="*/ 69406 w 147767"/>
              <a:gd name="connsiteY57" fmla="*/ 112729 h 143290"/>
              <a:gd name="connsiteX58" fmla="*/ 79257 w 147767"/>
              <a:gd name="connsiteY58" fmla="*/ 67951 h 143290"/>
              <a:gd name="connsiteX59" fmla="*/ 90900 w 147767"/>
              <a:gd name="connsiteY59" fmla="*/ 112729 h 143290"/>
              <a:gd name="connsiteX60" fmla="*/ 69406 w 147767"/>
              <a:gd name="connsiteY60" fmla="*/ 112729 h 143290"/>
              <a:gd name="connsiteX61" fmla="*/ 121797 w 147767"/>
              <a:gd name="connsiteY61" fmla="*/ 67951 h 143290"/>
              <a:gd name="connsiteX62" fmla="*/ 49256 w 147767"/>
              <a:gd name="connsiteY62" fmla="*/ 41979 h 143290"/>
              <a:gd name="connsiteX63" fmla="*/ 54182 w 147767"/>
              <a:gd name="connsiteY63" fmla="*/ 28546 h 143290"/>
              <a:gd name="connsiteX64" fmla="*/ 87317 w 147767"/>
              <a:gd name="connsiteY64" fmla="*/ 40188 h 143290"/>
              <a:gd name="connsiteX65" fmla="*/ 87317 w 147767"/>
              <a:gd name="connsiteY65" fmla="*/ 40188 h 143290"/>
              <a:gd name="connsiteX66" fmla="*/ 87317 w 147767"/>
              <a:gd name="connsiteY66" fmla="*/ 40188 h 143290"/>
              <a:gd name="connsiteX67" fmla="*/ 126722 w 147767"/>
              <a:gd name="connsiteY67" fmla="*/ 54070 h 143290"/>
              <a:gd name="connsiteX68" fmla="*/ 125827 w 147767"/>
              <a:gd name="connsiteY68" fmla="*/ 56756 h 143290"/>
              <a:gd name="connsiteX69" fmla="*/ 125827 w 147767"/>
              <a:gd name="connsiteY69" fmla="*/ 56756 h 143290"/>
              <a:gd name="connsiteX70" fmla="*/ 123140 w 147767"/>
              <a:gd name="connsiteY70" fmla="*/ 64368 h 143290"/>
              <a:gd name="connsiteX71" fmla="*/ 121797 w 147767"/>
              <a:gd name="connsiteY71" fmla="*/ 67951 h 143290"/>
              <a:gd name="connsiteX72" fmla="*/ 141051 w 147767"/>
              <a:gd name="connsiteY72" fmla="*/ 69742 h 143290"/>
              <a:gd name="connsiteX73" fmla="*/ 127618 w 147767"/>
              <a:gd name="connsiteY73" fmla="*/ 64816 h 143290"/>
              <a:gd name="connsiteX74" fmla="*/ 127618 w 147767"/>
              <a:gd name="connsiteY74" fmla="*/ 64368 h 143290"/>
              <a:gd name="connsiteX75" fmla="*/ 128961 w 147767"/>
              <a:gd name="connsiteY75" fmla="*/ 60339 h 143290"/>
              <a:gd name="connsiteX76" fmla="*/ 142395 w 147767"/>
              <a:gd name="connsiteY76" fmla="*/ 65264 h 143290"/>
              <a:gd name="connsiteX77" fmla="*/ 141051 w 147767"/>
              <a:gd name="connsiteY77" fmla="*/ 69742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7767" h="143290">
                <a:moveTo>
                  <a:pt x="146425" y="62130"/>
                </a:moveTo>
                <a:lnTo>
                  <a:pt x="130752" y="56756"/>
                </a:lnTo>
                <a:lnTo>
                  <a:pt x="131648" y="54070"/>
                </a:lnTo>
                <a:cubicBezTo>
                  <a:pt x="131648" y="53622"/>
                  <a:pt x="131648" y="52726"/>
                  <a:pt x="131648" y="52279"/>
                </a:cubicBezTo>
                <a:cubicBezTo>
                  <a:pt x="131200" y="51831"/>
                  <a:pt x="130752" y="51383"/>
                  <a:pt x="130305" y="50935"/>
                </a:cubicBezTo>
                <a:lnTo>
                  <a:pt x="90900" y="37054"/>
                </a:lnTo>
                <a:lnTo>
                  <a:pt x="93587" y="29442"/>
                </a:lnTo>
                <a:lnTo>
                  <a:pt x="103438" y="33024"/>
                </a:lnTo>
                <a:cubicBezTo>
                  <a:pt x="103885" y="33024"/>
                  <a:pt x="103885" y="33024"/>
                  <a:pt x="104333" y="33024"/>
                </a:cubicBezTo>
                <a:cubicBezTo>
                  <a:pt x="105229" y="33024"/>
                  <a:pt x="106124" y="32576"/>
                  <a:pt x="106572" y="31680"/>
                </a:cubicBezTo>
                <a:cubicBezTo>
                  <a:pt x="107020" y="30337"/>
                  <a:pt x="106572" y="29442"/>
                  <a:pt x="105229" y="28994"/>
                </a:cubicBezTo>
                <a:lnTo>
                  <a:pt x="81496" y="20486"/>
                </a:lnTo>
                <a:cubicBezTo>
                  <a:pt x="80153" y="20038"/>
                  <a:pt x="79257" y="20486"/>
                  <a:pt x="78810" y="21829"/>
                </a:cubicBezTo>
                <a:cubicBezTo>
                  <a:pt x="78362" y="23173"/>
                  <a:pt x="78810" y="24068"/>
                  <a:pt x="80153" y="24516"/>
                </a:cubicBezTo>
                <a:lnTo>
                  <a:pt x="90004" y="28098"/>
                </a:lnTo>
                <a:lnTo>
                  <a:pt x="87317" y="35711"/>
                </a:lnTo>
                <a:lnTo>
                  <a:pt x="55973" y="24516"/>
                </a:lnTo>
                <a:lnTo>
                  <a:pt x="56868" y="22277"/>
                </a:lnTo>
                <a:cubicBezTo>
                  <a:pt x="57316" y="21382"/>
                  <a:pt x="56868" y="20038"/>
                  <a:pt x="55525" y="19590"/>
                </a:cubicBezTo>
                <a:lnTo>
                  <a:pt x="15672" y="336"/>
                </a:lnTo>
                <a:cubicBezTo>
                  <a:pt x="15225" y="-112"/>
                  <a:pt x="14329" y="-112"/>
                  <a:pt x="13881" y="336"/>
                </a:cubicBezTo>
                <a:cubicBezTo>
                  <a:pt x="13433" y="784"/>
                  <a:pt x="12986" y="1231"/>
                  <a:pt x="12538" y="1679"/>
                </a:cubicBezTo>
                <a:lnTo>
                  <a:pt x="0" y="37054"/>
                </a:lnTo>
                <a:cubicBezTo>
                  <a:pt x="0" y="37502"/>
                  <a:pt x="0" y="38397"/>
                  <a:pt x="0" y="38845"/>
                </a:cubicBezTo>
                <a:cubicBezTo>
                  <a:pt x="448" y="39293"/>
                  <a:pt x="896" y="39740"/>
                  <a:pt x="1343" y="39740"/>
                </a:cubicBezTo>
                <a:lnTo>
                  <a:pt x="44331" y="50040"/>
                </a:lnTo>
                <a:cubicBezTo>
                  <a:pt x="44331" y="50040"/>
                  <a:pt x="44778" y="50040"/>
                  <a:pt x="44778" y="50040"/>
                </a:cubicBezTo>
                <a:cubicBezTo>
                  <a:pt x="45674" y="50040"/>
                  <a:pt x="46569" y="49592"/>
                  <a:pt x="47017" y="48696"/>
                </a:cubicBezTo>
                <a:lnTo>
                  <a:pt x="47913" y="46457"/>
                </a:lnTo>
                <a:lnTo>
                  <a:pt x="77914" y="57204"/>
                </a:lnTo>
                <a:cubicBezTo>
                  <a:pt x="77466" y="57652"/>
                  <a:pt x="77466" y="57652"/>
                  <a:pt x="77466" y="58100"/>
                </a:cubicBezTo>
                <a:lnTo>
                  <a:pt x="58660" y="142730"/>
                </a:lnTo>
                <a:cubicBezTo>
                  <a:pt x="58212" y="144074"/>
                  <a:pt x="59107" y="144969"/>
                  <a:pt x="60451" y="145417"/>
                </a:cubicBezTo>
                <a:cubicBezTo>
                  <a:pt x="61794" y="145865"/>
                  <a:pt x="62689" y="144969"/>
                  <a:pt x="63137" y="143626"/>
                </a:cubicBezTo>
                <a:lnTo>
                  <a:pt x="68959" y="117207"/>
                </a:lnTo>
                <a:lnTo>
                  <a:pt x="92243" y="117207"/>
                </a:lnTo>
                <a:cubicBezTo>
                  <a:pt x="92243" y="117207"/>
                  <a:pt x="92243" y="117207"/>
                  <a:pt x="92691" y="117207"/>
                </a:cubicBezTo>
                <a:lnTo>
                  <a:pt x="99408" y="143626"/>
                </a:lnTo>
                <a:cubicBezTo>
                  <a:pt x="99855" y="144522"/>
                  <a:pt x="100751" y="145417"/>
                  <a:pt x="101647" y="145417"/>
                </a:cubicBezTo>
                <a:cubicBezTo>
                  <a:pt x="101647" y="145417"/>
                  <a:pt x="102094" y="145417"/>
                  <a:pt x="102094" y="145417"/>
                </a:cubicBezTo>
                <a:cubicBezTo>
                  <a:pt x="103438" y="144969"/>
                  <a:pt x="103885" y="144074"/>
                  <a:pt x="103885" y="142730"/>
                </a:cubicBezTo>
                <a:lnTo>
                  <a:pt x="81944" y="58547"/>
                </a:lnTo>
                <a:lnTo>
                  <a:pt x="122692" y="72876"/>
                </a:lnTo>
                <a:cubicBezTo>
                  <a:pt x="123140" y="72876"/>
                  <a:pt x="123140" y="72876"/>
                  <a:pt x="123588" y="72876"/>
                </a:cubicBezTo>
                <a:cubicBezTo>
                  <a:pt x="124483" y="72876"/>
                  <a:pt x="125379" y="72429"/>
                  <a:pt x="125827" y="71533"/>
                </a:cubicBezTo>
                <a:lnTo>
                  <a:pt x="126722" y="68846"/>
                </a:lnTo>
                <a:lnTo>
                  <a:pt x="142395" y="74220"/>
                </a:lnTo>
                <a:cubicBezTo>
                  <a:pt x="142843" y="74220"/>
                  <a:pt x="142843" y="74220"/>
                  <a:pt x="143290" y="74220"/>
                </a:cubicBezTo>
                <a:cubicBezTo>
                  <a:pt x="143738" y="74220"/>
                  <a:pt x="143738" y="74220"/>
                  <a:pt x="144186" y="74220"/>
                </a:cubicBezTo>
                <a:cubicBezTo>
                  <a:pt x="144633" y="73772"/>
                  <a:pt x="145081" y="73324"/>
                  <a:pt x="145529" y="72876"/>
                </a:cubicBezTo>
                <a:lnTo>
                  <a:pt x="148664" y="64368"/>
                </a:lnTo>
                <a:cubicBezTo>
                  <a:pt x="147768" y="63473"/>
                  <a:pt x="147320" y="62130"/>
                  <a:pt x="146425" y="62130"/>
                </a:cubicBezTo>
                <a:close/>
                <a:moveTo>
                  <a:pt x="4926" y="36158"/>
                </a:moveTo>
                <a:lnTo>
                  <a:pt x="15672" y="5262"/>
                </a:lnTo>
                <a:lnTo>
                  <a:pt x="51495" y="22277"/>
                </a:lnTo>
                <a:lnTo>
                  <a:pt x="43435" y="45114"/>
                </a:lnTo>
                <a:lnTo>
                  <a:pt x="4926" y="36158"/>
                </a:lnTo>
                <a:close/>
                <a:moveTo>
                  <a:pt x="69406" y="112729"/>
                </a:moveTo>
                <a:lnTo>
                  <a:pt x="79257" y="67951"/>
                </a:lnTo>
                <a:lnTo>
                  <a:pt x="90900" y="112729"/>
                </a:lnTo>
                <a:lnTo>
                  <a:pt x="69406" y="112729"/>
                </a:lnTo>
                <a:close/>
                <a:moveTo>
                  <a:pt x="121797" y="67951"/>
                </a:moveTo>
                <a:lnTo>
                  <a:pt x="49256" y="41979"/>
                </a:lnTo>
                <a:lnTo>
                  <a:pt x="54182" y="28546"/>
                </a:lnTo>
                <a:lnTo>
                  <a:pt x="87317" y="40188"/>
                </a:lnTo>
                <a:lnTo>
                  <a:pt x="87317" y="40188"/>
                </a:lnTo>
                <a:lnTo>
                  <a:pt x="87317" y="40188"/>
                </a:lnTo>
                <a:lnTo>
                  <a:pt x="126722" y="54070"/>
                </a:lnTo>
                <a:lnTo>
                  <a:pt x="125827" y="56756"/>
                </a:lnTo>
                <a:cubicBezTo>
                  <a:pt x="125827" y="56756"/>
                  <a:pt x="125827" y="56756"/>
                  <a:pt x="125827" y="56756"/>
                </a:cubicBezTo>
                <a:lnTo>
                  <a:pt x="123140" y="64368"/>
                </a:lnTo>
                <a:lnTo>
                  <a:pt x="121797" y="67951"/>
                </a:lnTo>
                <a:close/>
                <a:moveTo>
                  <a:pt x="141051" y="69742"/>
                </a:moveTo>
                <a:lnTo>
                  <a:pt x="127618" y="64816"/>
                </a:lnTo>
                <a:lnTo>
                  <a:pt x="127618" y="64368"/>
                </a:lnTo>
                <a:lnTo>
                  <a:pt x="128961" y="60339"/>
                </a:lnTo>
                <a:lnTo>
                  <a:pt x="142395" y="65264"/>
                </a:lnTo>
                <a:lnTo>
                  <a:pt x="141051" y="69742"/>
                </a:lnTo>
                <a:close/>
              </a:path>
            </a:pathLst>
          </a:custGeom>
          <a:solidFill>
            <a:srgbClr val="231F20"/>
          </a:solidFill>
          <a:ln w="4474" cap="flat">
            <a:noFill/>
            <a:prstDash val="solid"/>
            <a:miter/>
          </a:ln>
        </p:spPr>
        <p:txBody>
          <a:bodyPr rtlCol="0" anchor="ctr"/>
          <a:lstStyle/>
          <a:p>
            <a:endParaRPr lang="en-US"/>
          </a:p>
        </p:txBody>
      </p:sp>
      <p:sp>
        <p:nvSpPr>
          <p:cNvPr id="4673" name="Freeform: Shape 4672">
            <a:extLst>
              <a:ext uri="{FF2B5EF4-FFF2-40B4-BE49-F238E27FC236}">
                <a16:creationId xmlns:a16="http://schemas.microsoft.com/office/drawing/2014/main" id="{FD962761-AF30-4E97-B939-E753EA484365}"/>
              </a:ext>
              <a:ext uri="{C183D7F6-B498-43B3-948B-1728B52AA6E4}">
                <adec:decorative xmlns:adec="http://schemas.microsoft.com/office/drawing/2017/decorative" val="1"/>
              </a:ext>
            </a:extLst>
          </p:cNvPr>
          <p:cNvSpPr>
            <a:spLocks noChangeAspect="1"/>
          </p:cNvSpPr>
          <p:nvPr/>
        </p:nvSpPr>
        <p:spPr>
          <a:xfrm>
            <a:off x="4501241" y="5574812"/>
            <a:ext cx="125379" cy="147768"/>
          </a:xfrm>
          <a:custGeom>
            <a:avLst/>
            <a:gdLst>
              <a:gd name="connsiteX0" fmla="*/ 127170 w 125378"/>
              <a:gd name="connsiteY0" fmla="*/ 74820 h 147767"/>
              <a:gd name="connsiteX1" fmla="*/ 122692 w 125378"/>
              <a:gd name="connsiteY1" fmla="*/ 64073 h 147767"/>
              <a:gd name="connsiteX2" fmla="*/ 111945 w 125378"/>
              <a:gd name="connsiteY2" fmla="*/ 59595 h 147767"/>
              <a:gd name="connsiteX3" fmla="*/ 70302 w 125378"/>
              <a:gd name="connsiteY3" fmla="*/ 59595 h 147767"/>
              <a:gd name="connsiteX4" fmla="*/ 69406 w 125378"/>
              <a:gd name="connsiteY4" fmla="*/ 59595 h 147767"/>
              <a:gd name="connsiteX5" fmla="*/ 69406 w 125378"/>
              <a:gd name="connsiteY5" fmla="*/ 59148 h 147767"/>
              <a:gd name="connsiteX6" fmla="*/ 69854 w 125378"/>
              <a:gd name="connsiteY6" fmla="*/ 58252 h 147767"/>
              <a:gd name="connsiteX7" fmla="*/ 71645 w 125378"/>
              <a:gd name="connsiteY7" fmla="*/ 55565 h 147767"/>
              <a:gd name="connsiteX8" fmla="*/ 79705 w 125378"/>
              <a:gd name="connsiteY8" fmla="*/ 2279 h 147767"/>
              <a:gd name="connsiteX9" fmla="*/ 77466 w 125378"/>
              <a:gd name="connsiteY9" fmla="*/ 488 h 147767"/>
              <a:gd name="connsiteX10" fmla="*/ 74332 w 125378"/>
              <a:gd name="connsiteY10" fmla="*/ 936 h 147767"/>
              <a:gd name="connsiteX11" fmla="*/ 72541 w 125378"/>
              <a:gd name="connsiteY11" fmla="*/ 3175 h 147767"/>
              <a:gd name="connsiteX12" fmla="*/ 21493 w 125378"/>
              <a:gd name="connsiteY12" fmla="*/ 49744 h 147767"/>
              <a:gd name="connsiteX13" fmla="*/ 2239 w 125378"/>
              <a:gd name="connsiteY13" fmla="*/ 62282 h 147767"/>
              <a:gd name="connsiteX14" fmla="*/ 896 w 125378"/>
              <a:gd name="connsiteY14" fmla="*/ 63178 h 147767"/>
              <a:gd name="connsiteX15" fmla="*/ 0 w 125378"/>
              <a:gd name="connsiteY15" fmla="*/ 64969 h 147767"/>
              <a:gd name="connsiteX16" fmla="*/ 0 w 125378"/>
              <a:gd name="connsiteY16" fmla="*/ 131240 h 147767"/>
              <a:gd name="connsiteX17" fmla="*/ 896 w 125378"/>
              <a:gd name="connsiteY17" fmla="*/ 133032 h 147767"/>
              <a:gd name="connsiteX18" fmla="*/ 2239 w 125378"/>
              <a:gd name="connsiteY18" fmla="*/ 133927 h 147767"/>
              <a:gd name="connsiteX19" fmla="*/ 29554 w 125378"/>
              <a:gd name="connsiteY19" fmla="*/ 144674 h 147767"/>
              <a:gd name="connsiteX20" fmla="*/ 60003 w 125378"/>
              <a:gd name="connsiteY20" fmla="*/ 148704 h 147767"/>
              <a:gd name="connsiteX21" fmla="*/ 94034 w 125378"/>
              <a:gd name="connsiteY21" fmla="*/ 148704 h 147767"/>
              <a:gd name="connsiteX22" fmla="*/ 109259 w 125378"/>
              <a:gd name="connsiteY22" fmla="*/ 133479 h 147767"/>
              <a:gd name="connsiteX23" fmla="*/ 107916 w 125378"/>
              <a:gd name="connsiteY23" fmla="*/ 126763 h 147767"/>
              <a:gd name="connsiteX24" fmla="*/ 115528 w 125378"/>
              <a:gd name="connsiteY24" fmla="*/ 113777 h 147767"/>
              <a:gd name="connsiteX25" fmla="*/ 114184 w 125378"/>
              <a:gd name="connsiteY25" fmla="*/ 107956 h 147767"/>
              <a:gd name="connsiteX26" fmla="*/ 115528 w 125378"/>
              <a:gd name="connsiteY26" fmla="*/ 106165 h 147767"/>
              <a:gd name="connsiteX27" fmla="*/ 117319 w 125378"/>
              <a:gd name="connsiteY27" fmla="*/ 104821 h 147767"/>
              <a:gd name="connsiteX28" fmla="*/ 121797 w 125378"/>
              <a:gd name="connsiteY28" fmla="*/ 94075 h 147767"/>
              <a:gd name="connsiteX29" fmla="*/ 120005 w 125378"/>
              <a:gd name="connsiteY29" fmla="*/ 86910 h 147767"/>
              <a:gd name="connsiteX30" fmla="*/ 122692 w 125378"/>
              <a:gd name="connsiteY30" fmla="*/ 84671 h 147767"/>
              <a:gd name="connsiteX31" fmla="*/ 127170 w 125378"/>
              <a:gd name="connsiteY31" fmla="*/ 74820 h 147767"/>
              <a:gd name="connsiteX32" fmla="*/ 119558 w 125378"/>
              <a:gd name="connsiteY32" fmla="*/ 82432 h 147767"/>
              <a:gd name="connsiteX33" fmla="*/ 116423 w 125378"/>
              <a:gd name="connsiteY33" fmla="*/ 84671 h 147767"/>
              <a:gd name="connsiteX34" fmla="*/ 96721 w 125378"/>
              <a:gd name="connsiteY34" fmla="*/ 84671 h 147767"/>
              <a:gd name="connsiteX35" fmla="*/ 94482 w 125378"/>
              <a:gd name="connsiteY35" fmla="*/ 86910 h 147767"/>
              <a:gd name="connsiteX36" fmla="*/ 96721 w 125378"/>
              <a:gd name="connsiteY36" fmla="*/ 89149 h 147767"/>
              <a:gd name="connsiteX37" fmla="*/ 115976 w 125378"/>
              <a:gd name="connsiteY37" fmla="*/ 89149 h 147767"/>
              <a:gd name="connsiteX38" fmla="*/ 117767 w 125378"/>
              <a:gd name="connsiteY38" fmla="*/ 94522 h 147767"/>
              <a:gd name="connsiteX39" fmla="*/ 114632 w 125378"/>
              <a:gd name="connsiteY39" fmla="*/ 102135 h 147767"/>
              <a:gd name="connsiteX40" fmla="*/ 111050 w 125378"/>
              <a:gd name="connsiteY40" fmla="*/ 104374 h 147767"/>
              <a:gd name="connsiteX41" fmla="*/ 96721 w 125378"/>
              <a:gd name="connsiteY41" fmla="*/ 104374 h 147767"/>
              <a:gd name="connsiteX42" fmla="*/ 94482 w 125378"/>
              <a:gd name="connsiteY42" fmla="*/ 106612 h 147767"/>
              <a:gd name="connsiteX43" fmla="*/ 96721 w 125378"/>
              <a:gd name="connsiteY43" fmla="*/ 108851 h 147767"/>
              <a:gd name="connsiteX44" fmla="*/ 109707 w 125378"/>
              <a:gd name="connsiteY44" fmla="*/ 108851 h 147767"/>
              <a:gd name="connsiteX45" fmla="*/ 111050 w 125378"/>
              <a:gd name="connsiteY45" fmla="*/ 114225 h 147767"/>
              <a:gd name="connsiteX46" fmla="*/ 104333 w 125378"/>
              <a:gd name="connsiteY46" fmla="*/ 124076 h 147767"/>
              <a:gd name="connsiteX47" fmla="*/ 96721 w 125378"/>
              <a:gd name="connsiteY47" fmla="*/ 124076 h 147767"/>
              <a:gd name="connsiteX48" fmla="*/ 94482 w 125378"/>
              <a:gd name="connsiteY48" fmla="*/ 126315 h 147767"/>
              <a:gd name="connsiteX49" fmla="*/ 96721 w 125378"/>
              <a:gd name="connsiteY49" fmla="*/ 128554 h 147767"/>
              <a:gd name="connsiteX50" fmla="*/ 103438 w 125378"/>
              <a:gd name="connsiteY50" fmla="*/ 128554 h 147767"/>
              <a:gd name="connsiteX51" fmla="*/ 104781 w 125378"/>
              <a:gd name="connsiteY51" fmla="*/ 133927 h 147767"/>
              <a:gd name="connsiteX52" fmla="*/ 94034 w 125378"/>
              <a:gd name="connsiteY52" fmla="*/ 144674 h 147767"/>
              <a:gd name="connsiteX53" fmla="*/ 60451 w 125378"/>
              <a:gd name="connsiteY53" fmla="*/ 144674 h 147767"/>
              <a:gd name="connsiteX54" fmla="*/ 31345 w 125378"/>
              <a:gd name="connsiteY54" fmla="*/ 140644 h 147767"/>
              <a:gd name="connsiteX55" fmla="*/ 4926 w 125378"/>
              <a:gd name="connsiteY55" fmla="*/ 130793 h 147767"/>
              <a:gd name="connsiteX56" fmla="*/ 4478 w 125378"/>
              <a:gd name="connsiteY56" fmla="*/ 130793 h 147767"/>
              <a:gd name="connsiteX57" fmla="*/ 4478 w 125378"/>
              <a:gd name="connsiteY57" fmla="*/ 66760 h 147767"/>
              <a:gd name="connsiteX58" fmla="*/ 4926 w 125378"/>
              <a:gd name="connsiteY58" fmla="*/ 66760 h 147767"/>
              <a:gd name="connsiteX59" fmla="*/ 23732 w 125378"/>
              <a:gd name="connsiteY59" fmla="*/ 54670 h 147767"/>
              <a:gd name="connsiteX60" fmla="*/ 76123 w 125378"/>
              <a:gd name="connsiteY60" fmla="*/ 6757 h 147767"/>
              <a:gd name="connsiteX61" fmla="*/ 76571 w 125378"/>
              <a:gd name="connsiteY61" fmla="*/ 6309 h 147767"/>
              <a:gd name="connsiteX62" fmla="*/ 77019 w 125378"/>
              <a:gd name="connsiteY62" fmla="*/ 6757 h 147767"/>
              <a:gd name="connsiteX63" fmla="*/ 68063 w 125378"/>
              <a:gd name="connsiteY63" fmla="*/ 53774 h 147767"/>
              <a:gd name="connsiteX64" fmla="*/ 66272 w 125378"/>
              <a:gd name="connsiteY64" fmla="*/ 56461 h 147767"/>
              <a:gd name="connsiteX65" fmla="*/ 64928 w 125378"/>
              <a:gd name="connsiteY65" fmla="*/ 60043 h 147767"/>
              <a:gd name="connsiteX66" fmla="*/ 65376 w 125378"/>
              <a:gd name="connsiteY66" fmla="*/ 62282 h 147767"/>
              <a:gd name="connsiteX67" fmla="*/ 67167 w 125378"/>
              <a:gd name="connsiteY67" fmla="*/ 64073 h 147767"/>
              <a:gd name="connsiteX68" fmla="*/ 70302 w 125378"/>
              <a:gd name="connsiteY68" fmla="*/ 64969 h 147767"/>
              <a:gd name="connsiteX69" fmla="*/ 111945 w 125378"/>
              <a:gd name="connsiteY69" fmla="*/ 64969 h 147767"/>
              <a:gd name="connsiteX70" fmla="*/ 119558 w 125378"/>
              <a:gd name="connsiteY70" fmla="*/ 68103 h 147767"/>
              <a:gd name="connsiteX71" fmla="*/ 122692 w 125378"/>
              <a:gd name="connsiteY71" fmla="*/ 75715 h 147767"/>
              <a:gd name="connsiteX72" fmla="*/ 119558 w 125378"/>
              <a:gd name="connsiteY72" fmla="*/ 8243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25378" h="147767">
                <a:moveTo>
                  <a:pt x="127170" y="74820"/>
                </a:moveTo>
                <a:cubicBezTo>
                  <a:pt x="127170" y="70790"/>
                  <a:pt x="125379" y="67208"/>
                  <a:pt x="122692" y="64073"/>
                </a:cubicBezTo>
                <a:cubicBezTo>
                  <a:pt x="120005" y="61387"/>
                  <a:pt x="115976" y="59595"/>
                  <a:pt x="111945" y="59595"/>
                </a:cubicBezTo>
                <a:lnTo>
                  <a:pt x="70302" y="59595"/>
                </a:lnTo>
                <a:cubicBezTo>
                  <a:pt x="69854" y="59595"/>
                  <a:pt x="69854" y="59595"/>
                  <a:pt x="69406" y="59595"/>
                </a:cubicBezTo>
                <a:cubicBezTo>
                  <a:pt x="69406" y="59595"/>
                  <a:pt x="69406" y="59148"/>
                  <a:pt x="69406" y="59148"/>
                </a:cubicBezTo>
                <a:cubicBezTo>
                  <a:pt x="69406" y="58700"/>
                  <a:pt x="69406" y="58700"/>
                  <a:pt x="69854" y="58252"/>
                </a:cubicBezTo>
                <a:lnTo>
                  <a:pt x="71645" y="55565"/>
                </a:lnTo>
                <a:cubicBezTo>
                  <a:pt x="85079" y="36311"/>
                  <a:pt x="98960" y="16608"/>
                  <a:pt x="79705" y="2279"/>
                </a:cubicBezTo>
                <a:lnTo>
                  <a:pt x="77466" y="488"/>
                </a:lnTo>
                <a:cubicBezTo>
                  <a:pt x="76571" y="-407"/>
                  <a:pt x="75227" y="40"/>
                  <a:pt x="74332" y="936"/>
                </a:cubicBezTo>
                <a:lnTo>
                  <a:pt x="72541" y="3175"/>
                </a:lnTo>
                <a:cubicBezTo>
                  <a:pt x="48808" y="33176"/>
                  <a:pt x="36270" y="40788"/>
                  <a:pt x="21493" y="49744"/>
                </a:cubicBezTo>
                <a:cubicBezTo>
                  <a:pt x="15672" y="53326"/>
                  <a:pt x="9404" y="56909"/>
                  <a:pt x="2239" y="62282"/>
                </a:cubicBezTo>
                <a:lnTo>
                  <a:pt x="896" y="63178"/>
                </a:lnTo>
                <a:cubicBezTo>
                  <a:pt x="448" y="63626"/>
                  <a:pt x="0" y="64073"/>
                  <a:pt x="0" y="64969"/>
                </a:cubicBezTo>
                <a:lnTo>
                  <a:pt x="0" y="131240"/>
                </a:lnTo>
                <a:cubicBezTo>
                  <a:pt x="0" y="132136"/>
                  <a:pt x="448" y="132584"/>
                  <a:pt x="896" y="133032"/>
                </a:cubicBezTo>
                <a:lnTo>
                  <a:pt x="2239" y="133927"/>
                </a:lnTo>
                <a:cubicBezTo>
                  <a:pt x="8956" y="137957"/>
                  <a:pt x="18807" y="141539"/>
                  <a:pt x="29554" y="144674"/>
                </a:cubicBezTo>
                <a:cubicBezTo>
                  <a:pt x="40300" y="147360"/>
                  <a:pt x="49704" y="148704"/>
                  <a:pt x="60003" y="148704"/>
                </a:cubicBezTo>
                <a:lnTo>
                  <a:pt x="94034" y="148704"/>
                </a:lnTo>
                <a:cubicBezTo>
                  <a:pt x="102542" y="148704"/>
                  <a:pt x="109259" y="141987"/>
                  <a:pt x="109259" y="133479"/>
                </a:cubicBezTo>
                <a:cubicBezTo>
                  <a:pt x="109259" y="131240"/>
                  <a:pt x="108811" y="129002"/>
                  <a:pt x="107916" y="126763"/>
                </a:cubicBezTo>
                <a:cubicBezTo>
                  <a:pt x="112393" y="124076"/>
                  <a:pt x="115528" y="119150"/>
                  <a:pt x="115528" y="113777"/>
                </a:cubicBezTo>
                <a:cubicBezTo>
                  <a:pt x="115528" y="111986"/>
                  <a:pt x="115080" y="109747"/>
                  <a:pt x="114184" y="107956"/>
                </a:cubicBezTo>
                <a:cubicBezTo>
                  <a:pt x="115080" y="107508"/>
                  <a:pt x="115528" y="107060"/>
                  <a:pt x="115528" y="106165"/>
                </a:cubicBezTo>
                <a:cubicBezTo>
                  <a:pt x="115976" y="105717"/>
                  <a:pt x="116871" y="105269"/>
                  <a:pt x="117319" y="104821"/>
                </a:cubicBezTo>
                <a:cubicBezTo>
                  <a:pt x="120005" y="102135"/>
                  <a:pt x="121797" y="98105"/>
                  <a:pt x="121797" y="94075"/>
                </a:cubicBezTo>
                <a:cubicBezTo>
                  <a:pt x="121797" y="91836"/>
                  <a:pt x="121349" y="89149"/>
                  <a:pt x="120005" y="86910"/>
                </a:cubicBezTo>
                <a:cubicBezTo>
                  <a:pt x="120901" y="86462"/>
                  <a:pt x="121797" y="85567"/>
                  <a:pt x="122692" y="84671"/>
                </a:cubicBezTo>
                <a:cubicBezTo>
                  <a:pt x="125827" y="82432"/>
                  <a:pt x="127170" y="78850"/>
                  <a:pt x="127170" y="74820"/>
                </a:cubicBezTo>
                <a:close/>
                <a:moveTo>
                  <a:pt x="119558" y="82432"/>
                </a:moveTo>
                <a:cubicBezTo>
                  <a:pt x="118662" y="83328"/>
                  <a:pt x="117767" y="84223"/>
                  <a:pt x="116423" y="84671"/>
                </a:cubicBezTo>
                <a:lnTo>
                  <a:pt x="96721" y="84671"/>
                </a:lnTo>
                <a:cubicBezTo>
                  <a:pt x="95377" y="84671"/>
                  <a:pt x="94482" y="85567"/>
                  <a:pt x="94482" y="86910"/>
                </a:cubicBezTo>
                <a:cubicBezTo>
                  <a:pt x="94482" y="88254"/>
                  <a:pt x="95377" y="89149"/>
                  <a:pt x="96721" y="89149"/>
                </a:cubicBezTo>
                <a:lnTo>
                  <a:pt x="115976" y="89149"/>
                </a:lnTo>
                <a:cubicBezTo>
                  <a:pt x="116871" y="90940"/>
                  <a:pt x="117767" y="92731"/>
                  <a:pt x="117767" y="94522"/>
                </a:cubicBezTo>
                <a:cubicBezTo>
                  <a:pt x="117767" y="97209"/>
                  <a:pt x="116871" y="99896"/>
                  <a:pt x="114632" y="102135"/>
                </a:cubicBezTo>
                <a:cubicBezTo>
                  <a:pt x="113737" y="103030"/>
                  <a:pt x="112393" y="103926"/>
                  <a:pt x="111050" y="104374"/>
                </a:cubicBezTo>
                <a:lnTo>
                  <a:pt x="96721" y="104374"/>
                </a:lnTo>
                <a:cubicBezTo>
                  <a:pt x="95377" y="104374"/>
                  <a:pt x="94482" y="105269"/>
                  <a:pt x="94482" y="106612"/>
                </a:cubicBezTo>
                <a:cubicBezTo>
                  <a:pt x="94482" y="107956"/>
                  <a:pt x="95377" y="108851"/>
                  <a:pt x="96721" y="108851"/>
                </a:cubicBezTo>
                <a:lnTo>
                  <a:pt x="109707" y="108851"/>
                </a:lnTo>
                <a:cubicBezTo>
                  <a:pt x="110602" y="110643"/>
                  <a:pt x="111050" y="112434"/>
                  <a:pt x="111050" y="114225"/>
                </a:cubicBezTo>
                <a:cubicBezTo>
                  <a:pt x="111050" y="118703"/>
                  <a:pt x="108363" y="122732"/>
                  <a:pt x="104333" y="124076"/>
                </a:cubicBezTo>
                <a:lnTo>
                  <a:pt x="96721" y="124076"/>
                </a:lnTo>
                <a:cubicBezTo>
                  <a:pt x="95377" y="124076"/>
                  <a:pt x="94482" y="124971"/>
                  <a:pt x="94482" y="126315"/>
                </a:cubicBezTo>
                <a:cubicBezTo>
                  <a:pt x="94482" y="127658"/>
                  <a:pt x="95377" y="128554"/>
                  <a:pt x="96721" y="128554"/>
                </a:cubicBezTo>
                <a:lnTo>
                  <a:pt x="103438" y="128554"/>
                </a:lnTo>
                <a:cubicBezTo>
                  <a:pt x="104333" y="130345"/>
                  <a:pt x="104781" y="132136"/>
                  <a:pt x="104781" y="133927"/>
                </a:cubicBezTo>
                <a:cubicBezTo>
                  <a:pt x="104781" y="139748"/>
                  <a:pt x="99855" y="144674"/>
                  <a:pt x="94034" y="144674"/>
                </a:cubicBezTo>
                <a:lnTo>
                  <a:pt x="60451" y="144674"/>
                </a:lnTo>
                <a:cubicBezTo>
                  <a:pt x="50599" y="144674"/>
                  <a:pt x="41644" y="143331"/>
                  <a:pt x="31345" y="140644"/>
                </a:cubicBezTo>
                <a:cubicBezTo>
                  <a:pt x="21046" y="137957"/>
                  <a:pt x="11195" y="134375"/>
                  <a:pt x="4926" y="130793"/>
                </a:cubicBezTo>
                <a:lnTo>
                  <a:pt x="4478" y="130793"/>
                </a:lnTo>
                <a:lnTo>
                  <a:pt x="4478" y="66760"/>
                </a:lnTo>
                <a:lnTo>
                  <a:pt x="4926" y="66760"/>
                </a:lnTo>
                <a:cubicBezTo>
                  <a:pt x="12090" y="61834"/>
                  <a:pt x="17911" y="58252"/>
                  <a:pt x="23732" y="54670"/>
                </a:cubicBezTo>
                <a:cubicBezTo>
                  <a:pt x="38957" y="45714"/>
                  <a:pt x="51943" y="37654"/>
                  <a:pt x="76123" y="6757"/>
                </a:cubicBezTo>
                <a:lnTo>
                  <a:pt x="76571" y="6309"/>
                </a:lnTo>
                <a:lnTo>
                  <a:pt x="77019" y="6757"/>
                </a:lnTo>
                <a:cubicBezTo>
                  <a:pt x="92691" y="18847"/>
                  <a:pt x="81049" y="34967"/>
                  <a:pt x="68063" y="53774"/>
                </a:cubicBezTo>
                <a:lnTo>
                  <a:pt x="66272" y="56461"/>
                </a:lnTo>
                <a:cubicBezTo>
                  <a:pt x="65376" y="57356"/>
                  <a:pt x="64928" y="58700"/>
                  <a:pt x="64928" y="60043"/>
                </a:cubicBezTo>
                <a:cubicBezTo>
                  <a:pt x="64928" y="60939"/>
                  <a:pt x="64928" y="61834"/>
                  <a:pt x="65376" y="62282"/>
                </a:cubicBezTo>
                <a:cubicBezTo>
                  <a:pt x="65824" y="63178"/>
                  <a:pt x="66272" y="63626"/>
                  <a:pt x="67167" y="64073"/>
                </a:cubicBezTo>
                <a:cubicBezTo>
                  <a:pt x="68063" y="64521"/>
                  <a:pt x="68959" y="64969"/>
                  <a:pt x="70302" y="64969"/>
                </a:cubicBezTo>
                <a:lnTo>
                  <a:pt x="111945" y="64969"/>
                </a:lnTo>
                <a:cubicBezTo>
                  <a:pt x="114632" y="64969"/>
                  <a:pt x="117319" y="65864"/>
                  <a:pt x="119558" y="68103"/>
                </a:cubicBezTo>
                <a:cubicBezTo>
                  <a:pt x="121349" y="69894"/>
                  <a:pt x="122692" y="72581"/>
                  <a:pt x="122692" y="75715"/>
                </a:cubicBezTo>
                <a:cubicBezTo>
                  <a:pt x="122692" y="77507"/>
                  <a:pt x="121797" y="80193"/>
                  <a:pt x="119558" y="82432"/>
                </a:cubicBezTo>
                <a:close/>
              </a:path>
            </a:pathLst>
          </a:custGeom>
          <a:solidFill>
            <a:srgbClr val="231F20"/>
          </a:solidFill>
          <a:ln w="4474" cap="flat">
            <a:noFill/>
            <a:prstDash val="solid"/>
            <a:miter/>
          </a:ln>
        </p:spPr>
        <p:txBody>
          <a:bodyPr rtlCol="0" anchor="ctr"/>
          <a:lstStyle/>
          <a:p>
            <a:endParaRPr lang="en-US"/>
          </a:p>
        </p:txBody>
      </p:sp>
      <p:sp>
        <p:nvSpPr>
          <p:cNvPr id="4674" name="Freeform: Shape 4673">
            <a:extLst>
              <a:ext uri="{FF2B5EF4-FFF2-40B4-BE49-F238E27FC236}">
                <a16:creationId xmlns:a16="http://schemas.microsoft.com/office/drawing/2014/main" id="{C6A6DB68-D41A-4104-8206-9FB27E6DBE1C}"/>
              </a:ext>
              <a:ext uri="{C183D7F6-B498-43B3-948B-1728B52AA6E4}">
                <adec:decorative xmlns:adec="http://schemas.microsoft.com/office/drawing/2017/decorative" val="1"/>
              </a:ext>
            </a:extLst>
          </p:cNvPr>
          <p:cNvSpPr>
            <a:spLocks noChangeAspect="1"/>
          </p:cNvSpPr>
          <p:nvPr/>
        </p:nvSpPr>
        <p:spPr>
          <a:xfrm>
            <a:off x="4747521" y="5570823"/>
            <a:ext cx="125379" cy="147768"/>
          </a:xfrm>
          <a:custGeom>
            <a:avLst/>
            <a:gdLst>
              <a:gd name="connsiteX0" fmla="*/ 122692 w 125378"/>
              <a:gd name="connsiteY0" fmla="*/ 64033 h 147767"/>
              <a:gd name="connsiteX1" fmla="*/ 120005 w 125378"/>
              <a:gd name="connsiteY1" fmla="*/ 61794 h 147767"/>
              <a:gd name="connsiteX2" fmla="*/ 121797 w 125378"/>
              <a:gd name="connsiteY2" fmla="*/ 54629 h 147767"/>
              <a:gd name="connsiteX3" fmla="*/ 117319 w 125378"/>
              <a:gd name="connsiteY3" fmla="*/ 43883 h 147767"/>
              <a:gd name="connsiteX4" fmla="*/ 115528 w 125378"/>
              <a:gd name="connsiteY4" fmla="*/ 42539 h 147767"/>
              <a:gd name="connsiteX5" fmla="*/ 114184 w 125378"/>
              <a:gd name="connsiteY5" fmla="*/ 40748 h 147767"/>
              <a:gd name="connsiteX6" fmla="*/ 115528 w 125378"/>
              <a:gd name="connsiteY6" fmla="*/ 34927 h 147767"/>
              <a:gd name="connsiteX7" fmla="*/ 107916 w 125378"/>
              <a:gd name="connsiteY7" fmla="*/ 21941 h 147767"/>
              <a:gd name="connsiteX8" fmla="*/ 109259 w 125378"/>
              <a:gd name="connsiteY8" fmla="*/ 15225 h 147767"/>
              <a:gd name="connsiteX9" fmla="*/ 94034 w 125378"/>
              <a:gd name="connsiteY9" fmla="*/ 0 h 147767"/>
              <a:gd name="connsiteX10" fmla="*/ 60003 w 125378"/>
              <a:gd name="connsiteY10" fmla="*/ 0 h 147767"/>
              <a:gd name="connsiteX11" fmla="*/ 29554 w 125378"/>
              <a:gd name="connsiteY11" fmla="*/ 4030 h 147767"/>
              <a:gd name="connsiteX12" fmla="*/ 2239 w 125378"/>
              <a:gd name="connsiteY12" fmla="*/ 14777 h 147767"/>
              <a:gd name="connsiteX13" fmla="*/ 896 w 125378"/>
              <a:gd name="connsiteY13" fmla="*/ 15672 h 147767"/>
              <a:gd name="connsiteX14" fmla="*/ 0 w 125378"/>
              <a:gd name="connsiteY14" fmla="*/ 17464 h 147767"/>
              <a:gd name="connsiteX15" fmla="*/ 0 w 125378"/>
              <a:gd name="connsiteY15" fmla="*/ 83735 h 147767"/>
              <a:gd name="connsiteX16" fmla="*/ 896 w 125378"/>
              <a:gd name="connsiteY16" fmla="*/ 85526 h 147767"/>
              <a:gd name="connsiteX17" fmla="*/ 2239 w 125378"/>
              <a:gd name="connsiteY17" fmla="*/ 86422 h 147767"/>
              <a:gd name="connsiteX18" fmla="*/ 21493 w 125378"/>
              <a:gd name="connsiteY18" fmla="*/ 98960 h 147767"/>
              <a:gd name="connsiteX19" fmla="*/ 72541 w 125378"/>
              <a:gd name="connsiteY19" fmla="*/ 145529 h 147767"/>
              <a:gd name="connsiteX20" fmla="*/ 74332 w 125378"/>
              <a:gd name="connsiteY20" fmla="*/ 147768 h 147767"/>
              <a:gd name="connsiteX21" fmla="*/ 76123 w 125378"/>
              <a:gd name="connsiteY21" fmla="*/ 148664 h 147767"/>
              <a:gd name="connsiteX22" fmla="*/ 77466 w 125378"/>
              <a:gd name="connsiteY22" fmla="*/ 148216 h 147767"/>
              <a:gd name="connsiteX23" fmla="*/ 79705 w 125378"/>
              <a:gd name="connsiteY23" fmla="*/ 146425 h 147767"/>
              <a:gd name="connsiteX24" fmla="*/ 71645 w 125378"/>
              <a:gd name="connsiteY24" fmla="*/ 93139 h 147767"/>
              <a:gd name="connsiteX25" fmla="*/ 69854 w 125378"/>
              <a:gd name="connsiteY25" fmla="*/ 90452 h 147767"/>
              <a:gd name="connsiteX26" fmla="*/ 69406 w 125378"/>
              <a:gd name="connsiteY26" fmla="*/ 89556 h 147767"/>
              <a:gd name="connsiteX27" fmla="*/ 67167 w 125378"/>
              <a:gd name="connsiteY27" fmla="*/ 89556 h 147767"/>
              <a:gd name="connsiteX28" fmla="*/ 69406 w 125378"/>
              <a:gd name="connsiteY28" fmla="*/ 89109 h 147767"/>
              <a:gd name="connsiteX29" fmla="*/ 70302 w 125378"/>
              <a:gd name="connsiteY29" fmla="*/ 89109 h 147767"/>
              <a:gd name="connsiteX30" fmla="*/ 111945 w 125378"/>
              <a:gd name="connsiteY30" fmla="*/ 89109 h 147767"/>
              <a:gd name="connsiteX31" fmla="*/ 122692 w 125378"/>
              <a:gd name="connsiteY31" fmla="*/ 84631 h 147767"/>
              <a:gd name="connsiteX32" fmla="*/ 127170 w 125378"/>
              <a:gd name="connsiteY32" fmla="*/ 73884 h 147767"/>
              <a:gd name="connsiteX33" fmla="*/ 122692 w 125378"/>
              <a:gd name="connsiteY33" fmla="*/ 64033 h 147767"/>
              <a:gd name="connsiteX34" fmla="*/ 119558 w 125378"/>
              <a:gd name="connsiteY34" fmla="*/ 82392 h 147767"/>
              <a:gd name="connsiteX35" fmla="*/ 111945 w 125378"/>
              <a:gd name="connsiteY35" fmla="*/ 85526 h 147767"/>
              <a:gd name="connsiteX36" fmla="*/ 70302 w 125378"/>
              <a:gd name="connsiteY36" fmla="*/ 85526 h 147767"/>
              <a:gd name="connsiteX37" fmla="*/ 67167 w 125378"/>
              <a:gd name="connsiteY37" fmla="*/ 86422 h 147767"/>
              <a:gd name="connsiteX38" fmla="*/ 65376 w 125378"/>
              <a:gd name="connsiteY38" fmla="*/ 88213 h 147767"/>
              <a:gd name="connsiteX39" fmla="*/ 64928 w 125378"/>
              <a:gd name="connsiteY39" fmla="*/ 90452 h 147767"/>
              <a:gd name="connsiteX40" fmla="*/ 66272 w 125378"/>
              <a:gd name="connsiteY40" fmla="*/ 94034 h 147767"/>
              <a:gd name="connsiteX41" fmla="*/ 68063 w 125378"/>
              <a:gd name="connsiteY41" fmla="*/ 96721 h 147767"/>
              <a:gd name="connsiteX42" fmla="*/ 77019 w 125378"/>
              <a:gd name="connsiteY42" fmla="*/ 143738 h 147767"/>
              <a:gd name="connsiteX43" fmla="*/ 76571 w 125378"/>
              <a:gd name="connsiteY43" fmla="*/ 144186 h 147767"/>
              <a:gd name="connsiteX44" fmla="*/ 76123 w 125378"/>
              <a:gd name="connsiteY44" fmla="*/ 143738 h 147767"/>
              <a:gd name="connsiteX45" fmla="*/ 23732 w 125378"/>
              <a:gd name="connsiteY45" fmla="*/ 95825 h 147767"/>
              <a:gd name="connsiteX46" fmla="*/ 4926 w 125378"/>
              <a:gd name="connsiteY46" fmla="*/ 83735 h 147767"/>
              <a:gd name="connsiteX47" fmla="*/ 4478 w 125378"/>
              <a:gd name="connsiteY47" fmla="*/ 83735 h 147767"/>
              <a:gd name="connsiteX48" fmla="*/ 4478 w 125378"/>
              <a:gd name="connsiteY48" fmla="*/ 19703 h 147767"/>
              <a:gd name="connsiteX49" fmla="*/ 4926 w 125378"/>
              <a:gd name="connsiteY49" fmla="*/ 19703 h 147767"/>
              <a:gd name="connsiteX50" fmla="*/ 31345 w 125378"/>
              <a:gd name="connsiteY50" fmla="*/ 9851 h 147767"/>
              <a:gd name="connsiteX51" fmla="*/ 60451 w 125378"/>
              <a:gd name="connsiteY51" fmla="*/ 5821 h 147767"/>
              <a:gd name="connsiteX52" fmla="*/ 94482 w 125378"/>
              <a:gd name="connsiteY52" fmla="*/ 5821 h 147767"/>
              <a:gd name="connsiteX53" fmla="*/ 105229 w 125378"/>
              <a:gd name="connsiteY53" fmla="*/ 16568 h 147767"/>
              <a:gd name="connsiteX54" fmla="*/ 103885 w 125378"/>
              <a:gd name="connsiteY54" fmla="*/ 21941 h 147767"/>
              <a:gd name="connsiteX55" fmla="*/ 97169 w 125378"/>
              <a:gd name="connsiteY55" fmla="*/ 21941 h 147767"/>
              <a:gd name="connsiteX56" fmla="*/ 94930 w 125378"/>
              <a:gd name="connsiteY56" fmla="*/ 24180 h 147767"/>
              <a:gd name="connsiteX57" fmla="*/ 97169 w 125378"/>
              <a:gd name="connsiteY57" fmla="*/ 26419 h 147767"/>
              <a:gd name="connsiteX58" fmla="*/ 104781 w 125378"/>
              <a:gd name="connsiteY58" fmla="*/ 26419 h 147767"/>
              <a:gd name="connsiteX59" fmla="*/ 111498 w 125378"/>
              <a:gd name="connsiteY59" fmla="*/ 36270 h 147767"/>
              <a:gd name="connsiteX60" fmla="*/ 110154 w 125378"/>
              <a:gd name="connsiteY60" fmla="*/ 41644 h 147767"/>
              <a:gd name="connsiteX61" fmla="*/ 97169 w 125378"/>
              <a:gd name="connsiteY61" fmla="*/ 41644 h 147767"/>
              <a:gd name="connsiteX62" fmla="*/ 94930 w 125378"/>
              <a:gd name="connsiteY62" fmla="*/ 43883 h 147767"/>
              <a:gd name="connsiteX63" fmla="*/ 97169 w 125378"/>
              <a:gd name="connsiteY63" fmla="*/ 46121 h 147767"/>
              <a:gd name="connsiteX64" fmla="*/ 111498 w 125378"/>
              <a:gd name="connsiteY64" fmla="*/ 46121 h 147767"/>
              <a:gd name="connsiteX65" fmla="*/ 115080 w 125378"/>
              <a:gd name="connsiteY65" fmla="*/ 48360 h 147767"/>
              <a:gd name="connsiteX66" fmla="*/ 118215 w 125378"/>
              <a:gd name="connsiteY66" fmla="*/ 55973 h 147767"/>
              <a:gd name="connsiteX67" fmla="*/ 116423 w 125378"/>
              <a:gd name="connsiteY67" fmla="*/ 61346 h 147767"/>
              <a:gd name="connsiteX68" fmla="*/ 97169 w 125378"/>
              <a:gd name="connsiteY68" fmla="*/ 61346 h 147767"/>
              <a:gd name="connsiteX69" fmla="*/ 94930 w 125378"/>
              <a:gd name="connsiteY69" fmla="*/ 63585 h 147767"/>
              <a:gd name="connsiteX70" fmla="*/ 97169 w 125378"/>
              <a:gd name="connsiteY70" fmla="*/ 65824 h 147767"/>
              <a:gd name="connsiteX71" fmla="*/ 116871 w 125378"/>
              <a:gd name="connsiteY71" fmla="*/ 65824 h 147767"/>
              <a:gd name="connsiteX72" fmla="*/ 120005 w 125378"/>
              <a:gd name="connsiteY72" fmla="*/ 68063 h 147767"/>
              <a:gd name="connsiteX73" fmla="*/ 123140 w 125378"/>
              <a:gd name="connsiteY73" fmla="*/ 75675 h 147767"/>
              <a:gd name="connsiteX74" fmla="*/ 119558 w 125378"/>
              <a:gd name="connsiteY74" fmla="*/ 8239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5378" h="147767">
                <a:moveTo>
                  <a:pt x="122692" y="64033"/>
                </a:moveTo>
                <a:cubicBezTo>
                  <a:pt x="121797" y="63137"/>
                  <a:pt x="120901" y="62689"/>
                  <a:pt x="120005" y="61794"/>
                </a:cubicBezTo>
                <a:cubicBezTo>
                  <a:pt x="121349" y="59555"/>
                  <a:pt x="121797" y="57316"/>
                  <a:pt x="121797" y="54629"/>
                </a:cubicBezTo>
                <a:cubicBezTo>
                  <a:pt x="121797" y="50599"/>
                  <a:pt x="120005" y="47017"/>
                  <a:pt x="117319" y="43883"/>
                </a:cubicBezTo>
                <a:cubicBezTo>
                  <a:pt x="116871" y="43435"/>
                  <a:pt x="115976" y="42987"/>
                  <a:pt x="115528" y="42539"/>
                </a:cubicBezTo>
                <a:cubicBezTo>
                  <a:pt x="115528" y="41644"/>
                  <a:pt x="115080" y="40748"/>
                  <a:pt x="114184" y="40748"/>
                </a:cubicBezTo>
                <a:cubicBezTo>
                  <a:pt x="115080" y="38957"/>
                  <a:pt x="115528" y="37166"/>
                  <a:pt x="115528" y="34927"/>
                </a:cubicBezTo>
                <a:cubicBezTo>
                  <a:pt x="115528" y="29554"/>
                  <a:pt x="112393" y="24628"/>
                  <a:pt x="107916" y="21941"/>
                </a:cubicBezTo>
                <a:cubicBezTo>
                  <a:pt x="108811" y="19703"/>
                  <a:pt x="109259" y="17464"/>
                  <a:pt x="109259" y="15225"/>
                </a:cubicBezTo>
                <a:cubicBezTo>
                  <a:pt x="109259" y="6717"/>
                  <a:pt x="102542" y="0"/>
                  <a:pt x="94034" y="0"/>
                </a:cubicBezTo>
                <a:lnTo>
                  <a:pt x="60003" y="0"/>
                </a:lnTo>
                <a:cubicBezTo>
                  <a:pt x="49704" y="0"/>
                  <a:pt x="40300" y="1343"/>
                  <a:pt x="29554" y="4030"/>
                </a:cubicBezTo>
                <a:cubicBezTo>
                  <a:pt x="18359" y="6717"/>
                  <a:pt x="8956" y="10747"/>
                  <a:pt x="2239" y="14777"/>
                </a:cubicBezTo>
                <a:lnTo>
                  <a:pt x="896" y="15672"/>
                </a:lnTo>
                <a:cubicBezTo>
                  <a:pt x="0" y="16120"/>
                  <a:pt x="0" y="17016"/>
                  <a:pt x="0" y="17464"/>
                </a:cubicBezTo>
                <a:lnTo>
                  <a:pt x="0" y="83735"/>
                </a:lnTo>
                <a:cubicBezTo>
                  <a:pt x="0" y="84631"/>
                  <a:pt x="448" y="85079"/>
                  <a:pt x="896" y="85526"/>
                </a:cubicBezTo>
                <a:lnTo>
                  <a:pt x="2239" y="86422"/>
                </a:lnTo>
                <a:cubicBezTo>
                  <a:pt x="9404" y="91795"/>
                  <a:pt x="15672" y="95377"/>
                  <a:pt x="21493" y="98960"/>
                </a:cubicBezTo>
                <a:cubicBezTo>
                  <a:pt x="36270" y="107916"/>
                  <a:pt x="49256" y="115528"/>
                  <a:pt x="72541" y="145529"/>
                </a:cubicBezTo>
                <a:lnTo>
                  <a:pt x="74332" y="147768"/>
                </a:lnTo>
                <a:cubicBezTo>
                  <a:pt x="74780" y="148216"/>
                  <a:pt x="75227" y="148664"/>
                  <a:pt x="76123" y="148664"/>
                </a:cubicBezTo>
                <a:cubicBezTo>
                  <a:pt x="76571" y="148664"/>
                  <a:pt x="77019" y="148664"/>
                  <a:pt x="77466" y="148216"/>
                </a:cubicBezTo>
                <a:lnTo>
                  <a:pt x="79705" y="146425"/>
                </a:lnTo>
                <a:cubicBezTo>
                  <a:pt x="98512" y="132096"/>
                  <a:pt x="85079" y="112393"/>
                  <a:pt x="71645" y="93139"/>
                </a:cubicBezTo>
                <a:lnTo>
                  <a:pt x="69854" y="90452"/>
                </a:lnTo>
                <a:cubicBezTo>
                  <a:pt x="69854" y="90004"/>
                  <a:pt x="69406" y="90004"/>
                  <a:pt x="69406" y="89556"/>
                </a:cubicBezTo>
                <a:lnTo>
                  <a:pt x="67167" y="89556"/>
                </a:lnTo>
                <a:lnTo>
                  <a:pt x="69406" y="89109"/>
                </a:lnTo>
                <a:cubicBezTo>
                  <a:pt x="69406" y="89109"/>
                  <a:pt x="69854" y="89109"/>
                  <a:pt x="70302" y="89109"/>
                </a:cubicBezTo>
                <a:lnTo>
                  <a:pt x="111945" y="89109"/>
                </a:lnTo>
                <a:cubicBezTo>
                  <a:pt x="115976" y="89109"/>
                  <a:pt x="119558" y="87765"/>
                  <a:pt x="122692" y="84631"/>
                </a:cubicBezTo>
                <a:cubicBezTo>
                  <a:pt x="125379" y="81944"/>
                  <a:pt x="127170" y="77914"/>
                  <a:pt x="127170" y="73884"/>
                </a:cubicBezTo>
                <a:cubicBezTo>
                  <a:pt x="127170" y="70749"/>
                  <a:pt x="125827" y="67167"/>
                  <a:pt x="122692" y="64033"/>
                </a:cubicBezTo>
                <a:close/>
                <a:moveTo>
                  <a:pt x="119558" y="82392"/>
                </a:moveTo>
                <a:cubicBezTo>
                  <a:pt x="117767" y="84183"/>
                  <a:pt x="115080" y="85526"/>
                  <a:pt x="111945" y="85526"/>
                </a:cubicBezTo>
                <a:lnTo>
                  <a:pt x="70302" y="85526"/>
                </a:lnTo>
                <a:cubicBezTo>
                  <a:pt x="68959" y="85526"/>
                  <a:pt x="68063" y="85974"/>
                  <a:pt x="67167" y="86422"/>
                </a:cubicBezTo>
                <a:cubicBezTo>
                  <a:pt x="66272" y="86870"/>
                  <a:pt x="65824" y="87317"/>
                  <a:pt x="65376" y="88213"/>
                </a:cubicBezTo>
                <a:cubicBezTo>
                  <a:pt x="64928" y="89109"/>
                  <a:pt x="64928" y="90004"/>
                  <a:pt x="64928" y="90452"/>
                </a:cubicBezTo>
                <a:cubicBezTo>
                  <a:pt x="64928" y="91795"/>
                  <a:pt x="65376" y="92691"/>
                  <a:pt x="66272" y="94034"/>
                </a:cubicBezTo>
                <a:lnTo>
                  <a:pt x="68063" y="96721"/>
                </a:lnTo>
                <a:cubicBezTo>
                  <a:pt x="81496" y="115528"/>
                  <a:pt x="92691" y="132096"/>
                  <a:pt x="77019" y="143738"/>
                </a:cubicBezTo>
                <a:lnTo>
                  <a:pt x="76571" y="144186"/>
                </a:lnTo>
                <a:lnTo>
                  <a:pt x="76123" y="143738"/>
                </a:lnTo>
                <a:cubicBezTo>
                  <a:pt x="51943" y="112841"/>
                  <a:pt x="38957" y="105229"/>
                  <a:pt x="23732" y="95825"/>
                </a:cubicBezTo>
                <a:cubicBezTo>
                  <a:pt x="17911" y="92243"/>
                  <a:pt x="12090" y="88661"/>
                  <a:pt x="4926" y="83735"/>
                </a:cubicBezTo>
                <a:lnTo>
                  <a:pt x="4478" y="83735"/>
                </a:lnTo>
                <a:lnTo>
                  <a:pt x="4478" y="19703"/>
                </a:lnTo>
                <a:lnTo>
                  <a:pt x="4926" y="19703"/>
                </a:lnTo>
                <a:cubicBezTo>
                  <a:pt x="11195" y="16120"/>
                  <a:pt x="20598" y="12090"/>
                  <a:pt x="31345" y="9851"/>
                </a:cubicBezTo>
                <a:cubicBezTo>
                  <a:pt x="41644" y="7165"/>
                  <a:pt x="50599" y="5821"/>
                  <a:pt x="60451" y="5821"/>
                </a:cubicBezTo>
                <a:lnTo>
                  <a:pt x="94482" y="5821"/>
                </a:lnTo>
                <a:cubicBezTo>
                  <a:pt x="100303" y="5821"/>
                  <a:pt x="105229" y="10747"/>
                  <a:pt x="105229" y="16568"/>
                </a:cubicBezTo>
                <a:cubicBezTo>
                  <a:pt x="105229" y="18359"/>
                  <a:pt x="104781" y="20150"/>
                  <a:pt x="103885" y="21941"/>
                </a:cubicBezTo>
                <a:lnTo>
                  <a:pt x="97169" y="21941"/>
                </a:lnTo>
                <a:cubicBezTo>
                  <a:pt x="95825" y="21941"/>
                  <a:pt x="94930" y="22837"/>
                  <a:pt x="94930" y="24180"/>
                </a:cubicBezTo>
                <a:cubicBezTo>
                  <a:pt x="94930" y="25524"/>
                  <a:pt x="95825" y="26419"/>
                  <a:pt x="97169" y="26419"/>
                </a:cubicBezTo>
                <a:lnTo>
                  <a:pt x="104781" y="26419"/>
                </a:lnTo>
                <a:cubicBezTo>
                  <a:pt x="108811" y="27763"/>
                  <a:pt x="111498" y="31793"/>
                  <a:pt x="111498" y="36270"/>
                </a:cubicBezTo>
                <a:cubicBezTo>
                  <a:pt x="111498" y="38061"/>
                  <a:pt x="111050" y="40300"/>
                  <a:pt x="110154" y="41644"/>
                </a:cubicBezTo>
                <a:lnTo>
                  <a:pt x="97169" y="41644"/>
                </a:lnTo>
                <a:cubicBezTo>
                  <a:pt x="95825" y="41644"/>
                  <a:pt x="94930" y="42539"/>
                  <a:pt x="94930" y="43883"/>
                </a:cubicBezTo>
                <a:cubicBezTo>
                  <a:pt x="94930" y="45226"/>
                  <a:pt x="95825" y="46121"/>
                  <a:pt x="97169" y="46121"/>
                </a:cubicBezTo>
                <a:lnTo>
                  <a:pt x="111498" y="46121"/>
                </a:lnTo>
                <a:cubicBezTo>
                  <a:pt x="112841" y="46569"/>
                  <a:pt x="114184" y="47465"/>
                  <a:pt x="115080" y="48360"/>
                </a:cubicBezTo>
                <a:cubicBezTo>
                  <a:pt x="116871" y="50152"/>
                  <a:pt x="118215" y="52838"/>
                  <a:pt x="118215" y="55973"/>
                </a:cubicBezTo>
                <a:cubicBezTo>
                  <a:pt x="118215" y="57764"/>
                  <a:pt x="117767" y="60003"/>
                  <a:pt x="116423" y="61346"/>
                </a:cubicBezTo>
                <a:lnTo>
                  <a:pt x="97169" y="61346"/>
                </a:lnTo>
                <a:cubicBezTo>
                  <a:pt x="95825" y="61346"/>
                  <a:pt x="94930" y="62242"/>
                  <a:pt x="94930" y="63585"/>
                </a:cubicBezTo>
                <a:cubicBezTo>
                  <a:pt x="94930" y="64928"/>
                  <a:pt x="95825" y="65824"/>
                  <a:pt x="97169" y="65824"/>
                </a:cubicBezTo>
                <a:lnTo>
                  <a:pt x="116871" y="65824"/>
                </a:lnTo>
                <a:cubicBezTo>
                  <a:pt x="118215" y="66272"/>
                  <a:pt x="119110" y="67167"/>
                  <a:pt x="120005" y="68063"/>
                </a:cubicBezTo>
                <a:cubicBezTo>
                  <a:pt x="121797" y="69854"/>
                  <a:pt x="123140" y="72541"/>
                  <a:pt x="123140" y="75675"/>
                </a:cubicBezTo>
                <a:cubicBezTo>
                  <a:pt x="122692" y="77466"/>
                  <a:pt x="121797" y="80153"/>
                  <a:pt x="119558" y="82392"/>
                </a:cubicBezTo>
                <a:close/>
              </a:path>
            </a:pathLst>
          </a:custGeom>
          <a:solidFill>
            <a:srgbClr val="231F20"/>
          </a:solidFill>
          <a:ln w="4474" cap="flat">
            <a:noFill/>
            <a:prstDash val="solid"/>
            <a:miter/>
          </a:ln>
        </p:spPr>
        <p:txBody>
          <a:bodyPr rtlCol="0" anchor="ctr"/>
          <a:lstStyle/>
          <a:p>
            <a:endParaRPr lang="en-US"/>
          </a:p>
        </p:txBody>
      </p:sp>
      <p:sp>
        <p:nvSpPr>
          <p:cNvPr id="4675" name="Freeform: Shape 4674">
            <a:extLst>
              <a:ext uri="{FF2B5EF4-FFF2-40B4-BE49-F238E27FC236}">
                <a16:creationId xmlns:a16="http://schemas.microsoft.com/office/drawing/2014/main" id="{A8E66ACF-76F8-42CD-BEA4-42B2324D7096}"/>
              </a:ext>
              <a:ext uri="{C183D7F6-B498-43B3-948B-1728B52AA6E4}">
                <adec:decorative xmlns:adec="http://schemas.microsoft.com/office/drawing/2017/decorative" val="1"/>
              </a:ext>
            </a:extLst>
          </p:cNvPr>
          <p:cNvSpPr>
            <a:spLocks noChangeAspect="1"/>
          </p:cNvSpPr>
          <p:nvPr/>
        </p:nvSpPr>
        <p:spPr>
          <a:xfrm>
            <a:off x="5015567" y="5571271"/>
            <a:ext cx="116423" cy="152246"/>
          </a:xfrm>
          <a:custGeom>
            <a:avLst/>
            <a:gdLst>
              <a:gd name="connsiteX0" fmla="*/ 104509 w 116423"/>
              <a:gd name="connsiteY0" fmla="*/ 53286 h 152245"/>
              <a:gd name="connsiteX1" fmla="*/ 98687 w 116423"/>
              <a:gd name="connsiteY1" fmla="*/ 54629 h 152245"/>
              <a:gd name="connsiteX2" fmla="*/ 87045 w 116423"/>
              <a:gd name="connsiteY2" fmla="*/ 47912 h 152245"/>
              <a:gd name="connsiteX3" fmla="*/ 81224 w 116423"/>
              <a:gd name="connsiteY3" fmla="*/ 49256 h 152245"/>
              <a:gd name="connsiteX4" fmla="*/ 78985 w 116423"/>
              <a:gd name="connsiteY4" fmla="*/ 46121 h 152245"/>
              <a:gd name="connsiteX5" fmla="*/ 65104 w 116423"/>
              <a:gd name="connsiteY5" fmla="*/ 42539 h 152245"/>
              <a:gd name="connsiteX6" fmla="*/ 65104 w 116423"/>
              <a:gd name="connsiteY6" fmla="*/ 13881 h 152245"/>
              <a:gd name="connsiteX7" fmla="*/ 61522 w 116423"/>
              <a:gd name="connsiteY7" fmla="*/ 4030 h 152245"/>
              <a:gd name="connsiteX8" fmla="*/ 51671 w 116423"/>
              <a:gd name="connsiteY8" fmla="*/ 0 h 152245"/>
              <a:gd name="connsiteX9" fmla="*/ 38685 w 116423"/>
              <a:gd name="connsiteY9" fmla="*/ 13881 h 152245"/>
              <a:gd name="connsiteX10" fmla="*/ 38685 w 116423"/>
              <a:gd name="connsiteY10" fmla="*/ 83735 h 152245"/>
              <a:gd name="connsiteX11" fmla="*/ 30177 w 116423"/>
              <a:gd name="connsiteY11" fmla="*/ 61794 h 152245"/>
              <a:gd name="connsiteX12" fmla="*/ 19430 w 116423"/>
              <a:gd name="connsiteY12" fmla="*/ 49704 h 152245"/>
              <a:gd name="connsiteX13" fmla="*/ 5997 w 116423"/>
              <a:gd name="connsiteY13" fmla="*/ 49704 h 152245"/>
              <a:gd name="connsiteX14" fmla="*/ 2862 w 116423"/>
              <a:gd name="connsiteY14" fmla="*/ 51047 h 152245"/>
              <a:gd name="connsiteX15" fmla="*/ 1071 w 116423"/>
              <a:gd name="connsiteY15" fmla="*/ 51943 h 152245"/>
              <a:gd name="connsiteX16" fmla="*/ 176 w 116423"/>
              <a:gd name="connsiteY16" fmla="*/ 54629 h 152245"/>
              <a:gd name="connsiteX17" fmla="*/ 18535 w 116423"/>
              <a:gd name="connsiteY17" fmla="*/ 111050 h 152245"/>
              <a:gd name="connsiteX18" fmla="*/ 32416 w 116423"/>
              <a:gd name="connsiteY18" fmla="*/ 137469 h 152245"/>
              <a:gd name="connsiteX19" fmla="*/ 40028 w 116423"/>
              <a:gd name="connsiteY19" fmla="*/ 149559 h 152245"/>
              <a:gd name="connsiteX20" fmla="*/ 40924 w 116423"/>
              <a:gd name="connsiteY20" fmla="*/ 150902 h 152245"/>
              <a:gd name="connsiteX21" fmla="*/ 42715 w 116423"/>
              <a:gd name="connsiteY21" fmla="*/ 152246 h 152245"/>
              <a:gd name="connsiteX22" fmla="*/ 103165 w 116423"/>
              <a:gd name="connsiteY22" fmla="*/ 152246 h 152245"/>
              <a:gd name="connsiteX23" fmla="*/ 104957 w 116423"/>
              <a:gd name="connsiteY23" fmla="*/ 151350 h 152245"/>
              <a:gd name="connsiteX24" fmla="*/ 105852 w 116423"/>
              <a:gd name="connsiteY24" fmla="*/ 150007 h 152245"/>
              <a:gd name="connsiteX25" fmla="*/ 115256 w 116423"/>
              <a:gd name="connsiteY25" fmla="*/ 125379 h 152245"/>
              <a:gd name="connsiteX26" fmla="*/ 119286 w 116423"/>
              <a:gd name="connsiteY26" fmla="*/ 98064 h 152245"/>
              <a:gd name="connsiteX27" fmla="*/ 119286 w 116423"/>
              <a:gd name="connsiteY27" fmla="*/ 67615 h 152245"/>
              <a:gd name="connsiteX28" fmla="*/ 104509 w 116423"/>
              <a:gd name="connsiteY28" fmla="*/ 53286 h 152245"/>
              <a:gd name="connsiteX29" fmla="*/ 113912 w 116423"/>
              <a:gd name="connsiteY29" fmla="*/ 97616 h 152245"/>
              <a:gd name="connsiteX30" fmla="*/ 110330 w 116423"/>
              <a:gd name="connsiteY30" fmla="*/ 124035 h 152245"/>
              <a:gd name="connsiteX31" fmla="*/ 101375 w 116423"/>
              <a:gd name="connsiteY31" fmla="*/ 147768 h 152245"/>
              <a:gd name="connsiteX32" fmla="*/ 101375 w 116423"/>
              <a:gd name="connsiteY32" fmla="*/ 147768 h 152245"/>
              <a:gd name="connsiteX33" fmla="*/ 43611 w 116423"/>
              <a:gd name="connsiteY33" fmla="*/ 147768 h 152245"/>
              <a:gd name="connsiteX34" fmla="*/ 43611 w 116423"/>
              <a:gd name="connsiteY34" fmla="*/ 147320 h 152245"/>
              <a:gd name="connsiteX35" fmla="*/ 35998 w 116423"/>
              <a:gd name="connsiteY35" fmla="*/ 134782 h 152245"/>
              <a:gd name="connsiteX36" fmla="*/ 22565 w 116423"/>
              <a:gd name="connsiteY36" fmla="*/ 109259 h 152245"/>
              <a:gd name="connsiteX37" fmla="*/ 5101 w 116423"/>
              <a:gd name="connsiteY37" fmla="*/ 54629 h 152245"/>
              <a:gd name="connsiteX38" fmla="*/ 5549 w 116423"/>
              <a:gd name="connsiteY38" fmla="*/ 54629 h 152245"/>
              <a:gd name="connsiteX39" fmla="*/ 8236 w 116423"/>
              <a:gd name="connsiteY39" fmla="*/ 53734 h 152245"/>
              <a:gd name="connsiteX40" fmla="*/ 18087 w 116423"/>
              <a:gd name="connsiteY40" fmla="*/ 53734 h 152245"/>
              <a:gd name="connsiteX41" fmla="*/ 26147 w 116423"/>
              <a:gd name="connsiteY41" fmla="*/ 63137 h 152245"/>
              <a:gd name="connsiteX42" fmla="*/ 36894 w 116423"/>
              <a:gd name="connsiteY42" fmla="*/ 90452 h 152245"/>
              <a:gd name="connsiteX43" fmla="*/ 40924 w 116423"/>
              <a:gd name="connsiteY43" fmla="*/ 92691 h 152245"/>
              <a:gd name="connsiteX44" fmla="*/ 43611 w 116423"/>
              <a:gd name="connsiteY44" fmla="*/ 89108 h 152245"/>
              <a:gd name="connsiteX45" fmla="*/ 43611 w 116423"/>
              <a:gd name="connsiteY45" fmla="*/ 13881 h 152245"/>
              <a:gd name="connsiteX46" fmla="*/ 52118 w 116423"/>
              <a:gd name="connsiteY46" fmla="*/ 4478 h 152245"/>
              <a:gd name="connsiteX47" fmla="*/ 58835 w 116423"/>
              <a:gd name="connsiteY47" fmla="*/ 7164 h 152245"/>
              <a:gd name="connsiteX48" fmla="*/ 61522 w 116423"/>
              <a:gd name="connsiteY48" fmla="*/ 13881 h 152245"/>
              <a:gd name="connsiteX49" fmla="*/ 61522 w 116423"/>
              <a:gd name="connsiteY49" fmla="*/ 46121 h 152245"/>
              <a:gd name="connsiteX50" fmla="*/ 61522 w 116423"/>
              <a:gd name="connsiteY50" fmla="*/ 69406 h 152245"/>
              <a:gd name="connsiteX51" fmla="*/ 63761 w 116423"/>
              <a:gd name="connsiteY51" fmla="*/ 71645 h 152245"/>
              <a:gd name="connsiteX52" fmla="*/ 66000 w 116423"/>
              <a:gd name="connsiteY52" fmla="*/ 69406 h 152245"/>
              <a:gd name="connsiteX53" fmla="*/ 66000 w 116423"/>
              <a:gd name="connsiteY53" fmla="*/ 47465 h 152245"/>
              <a:gd name="connsiteX54" fmla="*/ 76746 w 116423"/>
              <a:gd name="connsiteY54" fmla="*/ 49256 h 152245"/>
              <a:gd name="connsiteX55" fmla="*/ 78985 w 116423"/>
              <a:gd name="connsiteY55" fmla="*/ 52838 h 152245"/>
              <a:gd name="connsiteX56" fmla="*/ 78985 w 116423"/>
              <a:gd name="connsiteY56" fmla="*/ 69854 h 152245"/>
              <a:gd name="connsiteX57" fmla="*/ 81224 w 116423"/>
              <a:gd name="connsiteY57" fmla="*/ 72093 h 152245"/>
              <a:gd name="connsiteX58" fmla="*/ 83463 w 116423"/>
              <a:gd name="connsiteY58" fmla="*/ 69854 h 152245"/>
              <a:gd name="connsiteX59" fmla="*/ 83463 w 116423"/>
              <a:gd name="connsiteY59" fmla="*/ 54181 h 152245"/>
              <a:gd name="connsiteX60" fmla="*/ 87941 w 116423"/>
              <a:gd name="connsiteY60" fmla="*/ 52838 h 152245"/>
              <a:gd name="connsiteX61" fmla="*/ 96449 w 116423"/>
              <a:gd name="connsiteY61" fmla="*/ 58659 h 152245"/>
              <a:gd name="connsiteX62" fmla="*/ 96449 w 116423"/>
              <a:gd name="connsiteY62" fmla="*/ 69854 h 152245"/>
              <a:gd name="connsiteX63" fmla="*/ 98687 w 116423"/>
              <a:gd name="connsiteY63" fmla="*/ 72093 h 152245"/>
              <a:gd name="connsiteX64" fmla="*/ 100926 w 116423"/>
              <a:gd name="connsiteY64" fmla="*/ 69854 h 152245"/>
              <a:gd name="connsiteX65" fmla="*/ 100926 w 116423"/>
              <a:gd name="connsiteY65" fmla="*/ 59555 h 152245"/>
              <a:gd name="connsiteX66" fmla="*/ 105404 w 116423"/>
              <a:gd name="connsiteY66" fmla="*/ 58212 h 152245"/>
              <a:gd name="connsiteX67" fmla="*/ 114808 w 116423"/>
              <a:gd name="connsiteY67" fmla="*/ 67615 h 152245"/>
              <a:gd name="connsiteX68" fmla="*/ 113912 w 116423"/>
              <a:gd name="connsiteY68" fmla="*/ 97616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423" h="152245">
                <a:moveTo>
                  <a:pt x="104509" y="53286"/>
                </a:moveTo>
                <a:cubicBezTo>
                  <a:pt x="102270" y="53286"/>
                  <a:pt x="100479" y="53734"/>
                  <a:pt x="98687" y="54629"/>
                </a:cubicBezTo>
                <a:cubicBezTo>
                  <a:pt x="96001" y="50599"/>
                  <a:pt x="91523" y="47912"/>
                  <a:pt x="87045" y="47912"/>
                </a:cubicBezTo>
                <a:cubicBezTo>
                  <a:pt x="85254" y="47912"/>
                  <a:pt x="83015" y="48360"/>
                  <a:pt x="81224" y="49256"/>
                </a:cubicBezTo>
                <a:cubicBezTo>
                  <a:pt x="80776" y="47912"/>
                  <a:pt x="79881" y="47017"/>
                  <a:pt x="78985" y="46121"/>
                </a:cubicBezTo>
                <a:cubicBezTo>
                  <a:pt x="75403" y="42539"/>
                  <a:pt x="70030" y="41196"/>
                  <a:pt x="65104" y="42539"/>
                </a:cubicBezTo>
                <a:lnTo>
                  <a:pt x="65104" y="13881"/>
                </a:lnTo>
                <a:cubicBezTo>
                  <a:pt x="65104" y="9851"/>
                  <a:pt x="63761" y="6717"/>
                  <a:pt x="61522" y="4030"/>
                </a:cubicBezTo>
                <a:cubicBezTo>
                  <a:pt x="58835" y="1343"/>
                  <a:pt x="55253" y="0"/>
                  <a:pt x="51671" y="0"/>
                </a:cubicBezTo>
                <a:cubicBezTo>
                  <a:pt x="44058" y="0"/>
                  <a:pt x="38685" y="5821"/>
                  <a:pt x="38685" y="13881"/>
                </a:cubicBezTo>
                <a:lnTo>
                  <a:pt x="38685" y="83735"/>
                </a:lnTo>
                <a:lnTo>
                  <a:pt x="30177" y="61794"/>
                </a:lnTo>
                <a:cubicBezTo>
                  <a:pt x="27938" y="55973"/>
                  <a:pt x="24356" y="51943"/>
                  <a:pt x="19430" y="49704"/>
                </a:cubicBezTo>
                <a:cubicBezTo>
                  <a:pt x="15400" y="47912"/>
                  <a:pt x="10922" y="47912"/>
                  <a:pt x="5997" y="49704"/>
                </a:cubicBezTo>
                <a:cubicBezTo>
                  <a:pt x="5101" y="50151"/>
                  <a:pt x="3758" y="50599"/>
                  <a:pt x="2862" y="51047"/>
                </a:cubicBezTo>
                <a:lnTo>
                  <a:pt x="1071" y="51943"/>
                </a:lnTo>
                <a:cubicBezTo>
                  <a:pt x="176" y="52390"/>
                  <a:pt x="-272" y="53734"/>
                  <a:pt x="176" y="54629"/>
                </a:cubicBezTo>
                <a:lnTo>
                  <a:pt x="18535" y="111050"/>
                </a:lnTo>
                <a:cubicBezTo>
                  <a:pt x="21222" y="120453"/>
                  <a:pt x="27938" y="130304"/>
                  <a:pt x="32416" y="137469"/>
                </a:cubicBezTo>
                <a:cubicBezTo>
                  <a:pt x="35103" y="141947"/>
                  <a:pt x="37789" y="145977"/>
                  <a:pt x="40028" y="149559"/>
                </a:cubicBezTo>
                <a:lnTo>
                  <a:pt x="40924" y="150902"/>
                </a:lnTo>
                <a:cubicBezTo>
                  <a:pt x="41372" y="151798"/>
                  <a:pt x="42267" y="152246"/>
                  <a:pt x="42715" y="152246"/>
                </a:cubicBezTo>
                <a:lnTo>
                  <a:pt x="103165" y="152246"/>
                </a:lnTo>
                <a:cubicBezTo>
                  <a:pt x="104061" y="152246"/>
                  <a:pt x="104509" y="151798"/>
                  <a:pt x="104957" y="151350"/>
                </a:cubicBezTo>
                <a:lnTo>
                  <a:pt x="105852" y="150007"/>
                </a:lnTo>
                <a:cubicBezTo>
                  <a:pt x="109434" y="143738"/>
                  <a:pt x="113017" y="135230"/>
                  <a:pt x="115256" y="125379"/>
                </a:cubicBezTo>
                <a:cubicBezTo>
                  <a:pt x="117495" y="115975"/>
                  <a:pt x="118838" y="106124"/>
                  <a:pt x="119286" y="98064"/>
                </a:cubicBezTo>
                <a:lnTo>
                  <a:pt x="119286" y="67615"/>
                </a:lnTo>
                <a:cubicBezTo>
                  <a:pt x="118390" y="59555"/>
                  <a:pt x="112121" y="53286"/>
                  <a:pt x="104509" y="53286"/>
                </a:cubicBezTo>
                <a:close/>
                <a:moveTo>
                  <a:pt x="113912" y="97616"/>
                </a:moveTo>
                <a:cubicBezTo>
                  <a:pt x="113912" y="105229"/>
                  <a:pt x="112569" y="115080"/>
                  <a:pt x="110330" y="124035"/>
                </a:cubicBezTo>
                <a:cubicBezTo>
                  <a:pt x="108091" y="133439"/>
                  <a:pt x="104509" y="141947"/>
                  <a:pt x="101375" y="147768"/>
                </a:cubicBezTo>
                <a:lnTo>
                  <a:pt x="101375" y="147768"/>
                </a:lnTo>
                <a:lnTo>
                  <a:pt x="43611" y="147768"/>
                </a:lnTo>
                <a:lnTo>
                  <a:pt x="43611" y="147320"/>
                </a:lnTo>
                <a:cubicBezTo>
                  <a:pt x="41372" y="143290"/>
                  <a:pt x="38685" y="139260"/>
                  <a:pt x="35998" y="134782"/>
                </a:cubicBezTo>
                <a:cubicBezTo>
                  <a:pt x="31520" y="127618"/>
                  <a:pt x="25251" y="118214"/>
                  <a:pt x="22565" y="109259"/>
                </a:cubicBezTo>
                <a:lnTo>
                  <a:pt x="5101" y="54629"/>
                </a:lnTo>
                <a:lnTo>
                  <a:pt x="5549" y="54629"/>
                </a:lnTo>
                <a:cubicBezTo>
                  <a:pt x="6445" y="54181"/>
                  <a:pt x="7340" y="53734"/>
                  <a:pt x="8236" y="53734"/>
                </a:cubicBezTo>
                <a:cubicBezTo>
                  <a:pt x="11818" y="52390"/>
                  <a:pt x="15400" y="52390"/>
                  <a:pt x="18087" y="53734"/>
                </a:cubicBezTo>
                <a:cubicBezTo>
                  <a:pt x="22565" y="55525"/>
                  <a:pt x="24804" y="60003"/>
                  <a:pt x="26147" y="63137"/>
                </a:cubicBezTo>
                <a:lnTo>
                  <a:pt x="36894" y="90452"/>
                </a:lnTo>
                <a:cubicBezTo>
                  <a:pt x="37342" y="92243"/>
                  <a:pt x="39133" y="93139"/>
                  <a:pt x="40924" y="92691"/>
                </a:cubicBezTo>
                <a:cubicBezTo>
                  <a:pt x="42715" y="92243"/>
                  <a:pt x="43611" y="90900"/>
                  <a:pt x="43611" y="89108"/>
                </a:cubicBezTo>
                <a:lnTo>
                  <a:pt x="43611" y="13881"/>
                </a:lnTo>
                <a:cubicBezTo>
                  <a:pt x="43611" y="8508"/>
                  <a:pt x="47193" y="4478"/>
                  <a:pt x="52118" y="4478"/>
                </a:cubicBezTo>
                <a:cubicBezTo>
                  <a:pt x="54805" y="4478"/>
                  <a:pt x="57044" y="5373"/>
                  <a:pt x="58835" y="7164"/>
                </a:cubicBezTo>
                <a:cubicBezTo>
                  <a:pt x="60626" y="8956"/>
                  <a:pt x="61522" y="11195"/>
                  <a:pt x="61522" y="13881"/>
                </a:cubicBezTo>
                <a:lnTo>
                  <a:pt x="61522" y="46121"/>
                </a:lnTo>
                <a:lnTo>
                  <a:pt x="61522" y="69406"/>
                </a:lnTo>
                <a:cubicBezTo>
                  <a:pt x="61522" y="70749"/>
                  <a:pt x="62417" y="71645"/>
                  <a:pt x="63761" y="71645"/>
                </a:cubicBezTo>
                <a:cubicBezTo>
                  <a:pt x="65104" y="71645"/>
                  <a:pt x="66000" y="70749"/>
                  <a:pt x="66000" y="69406"/>
                </a:cubicBezTo>
                <a:lnTo>
                  <a:pt x="66000" y="47465"/>
                </a:lnTo>
                <a:cubicBezTo>
                  <a:pt x="69582" y="45674"/>
                  <a:pt x="74060" y="46569"/>
                  <a:pt x="76746" y="49256"/>
                </a:cubicBezTo>
                <a:cubicBezTo>
                  <a:pt x="77642" y="50151"/>
                  <a:pt x="78538" y="51495"/>
                  <a:pt x="78985" y="52838"/>
                </a:cubicBezTo>
                <a:lnTo>
                  <a:pt x="78985" y="69854"/>
                </a:lnTo>
                <a:cubicBezTo>
                  <a:pt x="78985" y="71197"/>
                  <a:pt x="79881" y="72093"/>
                  <a:pt x="81224" y="72093"/>
                </a:cubicBezTo>
                <a:cubicBezTo>
                  <a:pt x="82567" y="72093"/>
                  <a:pt x="83463" y="71197"/>
                  <a:pt x="83463" y="69854"/>
                </a:cubicBezTo>
                <a:lnTo>
                  <a:pt x="83463" y="54181"/>
                </a:lnTo>
                <a:cubicBezTo>
                  <a:pt x="84806" y="53286"/>
                  <a:pt x="86598" y="52838"/>
                  <a:pt x="87941" y="52838"/>
                </a:cubicBezTo>
                <a:cubicBezTo>
                  <a:pt x="91971" y="52838"/>
                  <a:pt x="95106" y="55077"/>
                  <a:pt x="96449" y="58659"/>
                </a:cubicBezTo>
                <a:lnTo>
                  <a:pt x="96449" y="69854"/>
                </a:lnTo>
                <a:cubicBezTo>
                  <a:pt x="96449" y="71197"/>
                  <a:pt x="97344" y="72093"/>
                  <a:pt x="98687" y="72093"/>
                </a:cubicBezTo>
                <a:cubicBezTo>
                  <a:pt x="100031" y="72093"/>
                  <a:pt x="100926" y="71197"/>
                  <a:pt x="100926" y="69854"/>
                </a:cubicBezTo>
                <a:lnTo>
                  <a:pt x="100926" y="59555"/>
                </a:lnTo>
                <a:cubicBezTo>
                  <a:pt x="102270" y="58659"/>
                  <a:pt x="104061" y="58212"/>
                  <a:pt x="105404" y="58212"/>
                </a:cubicBezTo>
                <a:cubicBezTo>
                  <a:pt x="110778" y="58212"/>
                  <a:pt x="114808" y="62241"/>
                  <a:pt x="114808" y="67615"/>
                </a:cubicBezTo>
                <a:lnTo>
                  <a:pt x="113912" y="97616"/>
                </a:lnTo>
                <a:close/>
              </a:path>
            </a:pathLst>
          </a:custGeom>
          <a:solidFill>
            <a:srgbClr val="231F20"/>
          </a:solidFill>
          <a:ln w="4474" cap="flat">
            <a:noFill/>
            <a:prstDash val="solid"/>
            <a:miter/>
          </a:ln>
        </p:spPr>
        <p:txBody>
          <a:bodyPr rtlCol="0" anchor="ctr"/>
          <a:lstStyle/>
          <a:p>
            <a:endParaRPr lang="en-US"/>
          </a:p>
        </p:txBody>
      </p:sp>
      <p:grpSp>
        <p:nvGrpSpPr>
          <p:cNvPr id="4676" name="Group 4675">
            <a:extLst>
              <a:ext uri="{FF2B5EF4-FFF2-40B4-BE49-F238E27FC236}">
                <a16:creationId xmlns:a16="http://schemas.microsoft.com/office/drawing/2014/main" id="{09154A94-03D1-4CB1-ACD3-AA46C5F0BACC}"/>
              </a:ext>
              <a:ext uri="{C183D7F6-B498-43B3-948B-1728B52AA6E4}">
                <adec:decorative xmlns:adec="http://schemas.microsoft.com/office/drawing/2017/decorative" val="1"/>
              </a:ext>
            </a:extLst>
          </p:cNvPr>
          <p:cNvGrpSpPr>
            <a:grpSpLocks noChangeAspect="1"/>
          </p:cNvGrpSpPr>
          <p:nvPr/>
        </p:nvGrpSpPr>
        <p:grpSpPr>
          <a:xfrm>
            <a:off x="5292743" y="5585152"/>
            <a:ext cx="80601" cy="137469"/>
            <a:chOff x="5344064" y="4854040"/>
            <a:chExt cx="80601" cy="137469"/>
          </a:xfrm>
        </p:grpSpPr>
        <p:sp>
          <p:nvSpPr>
            <p:cNvPr id="4677" name="Freeform: Shape 4676">
              <a:extLst>
                <a:ext uri="{FF2B5EF4-FFF2-40B4-BE49-F238E27FC236}">
                  <a16:creationId xmlns:a16="http://schemas.microsoft.com/office/drawing/2014/main" id="{E0D22C20-34CE-48CA-A2C3-369DA8C2106C}"/>
                </a:ext>
              </a:extLst>
            </p:cNvPr>
            <p:cNvSpPr/>
            <p:nvPr/>
          </p:nvSpPr>
          <p:spPr>
            <a:xfrm>
              <a:off x="5356330" y="4866130"/>
              <a:ext cx="49256" cy="40300"/>
            </a:xfrm>
            <a:custGeom>
              <a:avLst/>
              <a:gdLst>
                <a:gd name="connsiteX0" fmla="*/ 8956 w 49255"/>
                <a:gd name="connsiteY0" fmla="*/ 43435 h 40300"/>
                <a:gd name="connsiteX1" fmla="*/ 7164 w 49255"/>
                <a:gd name="connsiteY1" fmla="*/ 42987 h 40300"/>
                <a:gd name="connsiteX2" fmla="*/ 0 w 49255"/>
                <a:gd name="connsiteY2" fmla="*/ 25076 h 40300"/>
                <a:gd name="connsiteX3" fmla="*/ 25076 w 49255"/>
                <a:gd name="connsiteY3" fmla="*/ 0 h 40300"/>
                <a:gd name="connsiteX4" fmla="*/ 50151 w 49255"/>
                <a:gd name="connsiteY4" fmla="*/ 25076 h 40300"/>
                <a:gd name="connsiteX5" fmla="*/ 42987 w 49255"/>
                <a:gd name="connsiteY5" fmla="*/ 42987 h 40300"/>
                <a:gd name="connsiteX6" fmla="*/ 39852 w 49255"/>
                <a:gd name="connsiteY6" fmla="*/ 42987 h 40300"/>
                <a:gd name="connsiteX7" fmla="*/ 39852 w 49255"/>
                <a:gd name="connsiteY7" fmla="*/ 39852 h 40300"/>
                <a:gd name="connsiteX8" fmla="*/ 45674 w 49255"/>
                <a:gd name="connsiteY8" fmla="*/ 25076 h 40300"/>
                <a:gd name="connsiteX9" fmla="*/ 25076 w 49255"/>
                <a:gd name="connsiteY9" fmla="*/ 4478 h 40300"/>
                <a:gd name="connsiteX10" fmla="*/ 4478 w 49255"/>
                <a:gd name="connsiteY10" fmla="*/ 25076 h 40300"/>
                <a:gd name="connsiteX11" fmla="*/ 10746 w 49255"/>
                <a:gd name="connsiteY11" fmla="*/ 39852 h 40300"/>
                <a:gd name="connsiteX12" fmla="*/ 10746 w 49255"/>
                <a:gd name="connsiteY12" fmla="*/ 42987 h 40300"/>
                <a:gd name="connsiteX13" fmla="*/ 8956 w 49255"/>
                <a:gd name="connsiteY13" fmla="*/ 4343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40300">
                  <a:moveTo>
                    <a:pt x="8956" y="43435"/>
                  </a:moveTo>
                  <a:cubicBezTo>
                    <a:pt x="8507" y="43435"/>
                    <a:pt x="7612" y="43435"/>
                    <a:pt x="7164" y="42987"/>
                  </a:cubicBezTo>
                  <a:cubicBezTo>
                    <a:pt x="2239" y="38061"/>
                    <a:pt x="0" y="31792"/>
                    <a:pt x="0" y="25076"/>
                  </a:cubicBezTo>
                  <a:cubicBezTo>
                    <a:pt x="0" y="11195"/>
                    <a:pt x="11195" y="0"/>
                    <a:pt x="25076" y="0"/>
                  </a:cubicBezTo>
                  <a:cubicBezTo>
                    <a:pt x="38957" y="0"/>
                    <a:pt x="50151" y="11195"/>
                    <a:pt x="50151" y="25076"/>
                  </a:cubicBezTo>
                  <a:cubicBezTo>
                    <a:pt x="50151" y="31792"/>
                    <a:pt x="47465" y="38061"/>
                    <a:pt x="42987" y="42987"/>
                  </a:cubicBezTo>
                  <a:cubicBezTo>
                    <a:pt x="42091" y="43883"/>
                    <a:pt x="40748" y="43883"/>
                    <a:pt x="39852" y="42987"/>
                  </a:cubicBezTo>
                  <a:cubicBezTo>
                    <a:pt x="38957" y="42091"/>
                    <a:pt x="38957" y="40748"/>
                    <a:pt x="39852" y="39852"/>
                  </a:cubicBezTo>
                  <a:cubicBezTo>
                    <a:pt x="43882" y="35823"/>
                    <a:pt x="45674" y="30897"/>
                    <a:pt x="45674" y="25076"/>
                  </a:cubicBezTo>
                  <a:cubicBezTo>
                    <a:pt x="45674" y="13881"/>
                    <a:pt x="36270" y="4478"/>
                    <a:pt x="25076" y="4478"/>
                  </a:cubicBezTo>
                  <a:cubicBezTo>
                    <a:pt x="13881" y="4478"/>
                    <a:pt x="4478" y="13881"/>
                    <a:pt x="4478" y="25076"/>
                  </a:cubicBezTo>
                  <a:cubicBezTo>
                    <a:pt x="4478" y="30449"/>
                    <a:pt x="6717" y="35823"/>
                    <a:pt x="10746" y="39852"/>
                  </a:cubicBezTo>
                  <a:cubicBezTo>
                    <a:pt x="11642" y="40748"/>
                    <a:pt x="11642" y="42091"/>
                    <a:pt x="10746" y="42987"/>
                  </a:cubicBezTo>
                  <a:cubicBezTo>
                    <a:pt x="10299" y="43435"/>
                    <a:pt x="9851" y="43435"/>
                    <a:pt x="8956" y="43435"/>
                  </a:cubicBezTo>
                  <a:close/>
                </a:path>
              </a:pathLst>
            </a:custGeom>
            <a:solidFill>
              <a:srgbClr val="231F20"/>
            </a:solidFill>
            <a:ln w="4474" cap="flat">
              <a:noFill/>
              <a:prstDash val="solid"/>
              <a:miter/>
            </a:ln>
          </p:spPr>
          <p:txBody>
            <a:bodyPr rtlCol="0" anchor="ctr"/>
            <a:lstStyle/>
            <a:p>
              <a:endParaRPr lang="en-US"/>
            </a:p>
          </p:txBody>
        </p:sp>
        <p:sp>
          <p:nvSpPr>
            <p:cNvPr id="4678" name="Freeform: Shape 4677">
              <a:extLst>
                <a:ext uri="{FF2B5EF4-FFF2-40B4-BE49-F238E27FC236}">
                  <a16:creationId xmlns:a16="http://schemas.microsoft.com/office/drawing/2014/main" id="{D8863364-853B-4CA1-AD0A-AAAD3C4F6BBE}"/>
                </a:ext>
              </a:extLst>
            </p:cNvPr>
            <p:cNvSpPr/>
            <p:nvPr/>
          </p:nvSpPr>
          <p:spPr>
            <a:xfrm>
              <a:off x="5344688" y="4854040"/>
              <a:ext cx="71645" cy="62689"/>
            </a:xfrm>
            <a:custGeom>
              <a:avLst/>
              <a:gdLst>
                <a:gd name="connsiteX0" fmla="*/ 12538 w 71645"/>
                <a:gd name="connsiteY0" fmla="*/ 64033 h 62689"/>
                <a:gd name="connsiteX1" fmla="*/ 11195 w 71645"/>
                <a:gd name="connsiteY1" fmla="*/ 63585 h 62689"/>
                <a:gd name="connsiteX2" fmla="*/ 0 w 71645"/>
                <a:gd name="connsiteY2" fmla="*/ 37166 h 62689"/>
                <a:gd name="connsiteX3" fmla="*/ 37166 w 71645"/>
                <a:gd name="connsiteY3" fmla="*/ 0 h 62689"/>
                <a:gd name="connsiteX4" fmla="*/ 74332 w 71645"/>
                <a:gd name="connsiteY4" fmla="*/ 37166 h 62689"/>
                <a:gd name="connsiteX5" fmla="*/ 63585 w 71645"/>
                <a:gd name="connsiteY5" fmla="*/ 63137 h 62689"/>
                <a:gd name="connsiteX6" fmla="*/ 60451 w 71645"/>
                <a:gd name="connsiteY6" fmla="*/ 63137 h 62689"/>
                <a:gd name="connsiteX7" fmla="*/ 60451 w 71645"/>
                <a:gd name="connsiteY7" fmla="*/ 60003 h 62689"/>
                <a:gd name="connsiteX8" fmla="*/ 69854 w 71645"/>
                <a:gd name="connsiteY8" fmla="*/ 37166 h 62689"/>
                <a:gd name="connsiteX9" fmla="*/ 37166 w 71645"/>
                <a:gd name="connsiteY9" fmla="*/ 4478 h 62689"/>
                <a:gd name="connsiteX10" fmla="*/ 4478 w 71645"/>
                <a:gd name="connsiteY10" fmla="*/ 37166 h 62689"/>
                <a:gd name="connsiteX11" fmla="*/ 14329 w 71645"/>
                <a:gd name="connsiteY11" fmla="*/ 60451 h 62689"/>
                <a:gd name="connsiteX12" fmla="*/ 14329 w 71645"/>
                <a:gd name="connsiteY12" fmla="*/ 63585 h 62689"/>
                <a:gd name="connsiteX13" fmla="*/ 12538 w 71645"/>
                <a:gd name="connsiteY13" fmla="*/ 64033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645" h="62689">
                  <a:moveTo>
                    <a:pt x="12538" y="64033"/>
                  </a:moveTo>
                  <a:cubicBezTo>
                    <a:pt x="12090" y="64033"/>
                    <a:pt x="11195" y="64033"/>
                    <a:pt x="11195" y="63585"/>
                  </a:cubicBezTo>
                  <a:cubicBezTo>
                    <a:pt x="4030" y="56420"/>
                    <a:pt x="0" y="47017"/>
                    <a:pt x="0" y="37166"/>
                  </a:cubicBezTo>
                  <a:cubicBezTo>
                    <a:pt x="0" y="16568"/>
                    <a:pt x="16568" y="0"/>
                    <a:pt x="37166" y="0"/>
                  </a:cubicBezTo>
                  <a:cubicBezTo>
                    <a:pt x="57764" y="0"/>
                    <a:pt x="74332" y="16568"/>
                    <a:pt x="74332" y="37166"/>
                  </a:cubicBezTo>
                  <a:cubicBezTo>
                    <a:pt x="74332" y="47017"/>
                    <a:pt x="70302" y="56420"/>
                    <a:pt x="63585" y="63137"/>
                  </a:cubicBezTo>
                  <a:cubicBezTo>
                    <a:pt x="62689" y="64033"/>
                    <a:pt x="61346" y="64033"/>
                    <a:pt x="60451" y="63137"/>
                  </a:cubicBezTo>
                  <a:cubicBezTo>
                    <a:pt x="59555" y="62242"/>
                    <a:pt x="59555" y="60898"/>
                    <a:pt x="60451" y="60003"/>
                  </a:cubicBezTo>
                  <a:cubicBezTo>
                    <a:pt x="66720" y="53734"/>
                    <a:pt x="69854" y="45674"/>
                    <a:pt x="69854" y="37166"/>
                  </a:cubicBezTo>
                  <a:cubicBezTo>
                    <a:pt x="69854" y="19255"/>
                    <a:pt x="55077" y="4478"/>
                    <a:pt x="37166" y="4478"/>
                  </a:cubicBezTo>
                  <a:cubicBezTo>
                    <a:pt x="19255" y="4478"/>
                    <a:pt x="4478" y="19255"/>
                    <a:pt x="4478" y="37166"/>
                  </a:cubicBezTo>
                  <a:cubicBezTo>
                    <a:pt x="4478" y="46121"/>
                    <a:pt x="8060" y="54181"/>
                    <a:pt x="14329" y="60451"/>
                  </a:cubicBezTo>
                  <a:cubicBezTo>
                    <a:pt x="15225" y="61346"/>
                    <a:pt x="15225" y="62689"/>
                    <a:pt x="14329" y="63585"/>
                  </a:cubicBezTo>
                  <a:cubicBezTo>
                    <a:pt x="13882" y="64033"/>
                    <a:pt x="13433" y="64033"/>
                    <a:pt x="12538" y="64033"/>
                  </a:cubicBezTo>
                  <a:close/>
                </a:path>
              </a:pathLst>
            </a:custGeom>
            <a:solidFill>
              <a:srgbClr val="231F20"/>
            </a:solidFill>
            <a:ln w="4474" cap="flat">
              <a:noFill/>
              <a:prstDash val="solid"/>
              <a:miter/>
            </a:ln>
          </p:spPr>
          <p:txBody>
            <a:bodyPr rtlCol="0" anchor="ctr"/>
            <a:lstStyle/>
            <a:p>
              <a:endParaRPr lang="en-US"/>
            </a:p>
          </p:txBody>
        </p:sp>
        <p:sp>
          <p:nvSpPr>
            <p:cNvPr id="4679" name="Freeform: Shape 4678">
              <a:extLst>
                <a:ext uri="{FF2B5EF4-FFF2-40B4-BE49-F238E27FC236}">
                  <a16:creationId xmlns:a16="http://schemas.microsoft.com/office/drawing/2014/main" id="{DA0E87B5-F567-4CE6-B669-53686D8FF051}"/>
                </a:ext>
              </a:extLst>
            </p:cNvPr>
            <p:cNvSpPr/>
            <p:nvPr/>
          </p:nvSpPr>
          <p:spPr>
            <a:xfrm>
              <a:off x="5344064" y="4888519"/>
              <a:ext cx="80601" cy="102990"/>
            </a:xfrm>
            <a:custGeom>
              <a:avLst/>
              <a:gdLst>
                <a:gd name="connsiteX0" fmla="*/ 71373 w 80600"/>
                <a:gd name="connsiteY0" fmla="*/ 35823 h 102989"/>
                <a:gd name="connsiteX1" fmla="*/ 67791 w 80600"/>
                <a:gd name="connsiteY1" fmla="*/ 36718 h 102989"/>
                <a:gd name="connsiteX2" fmla="*/ 56148 w 80600"/>
                <a:gd name="connsiteY2" fmla="*/ 33136 h 102989"/>
                <a:gd name="connsiteX3" fmla="*/ 54805 w 80600"/>
                <a:gd name="connsiteY3" fmla="*/ 31345 h 102989"/>
                <a:gd name="connsiteX4" fmla="*/ 45850 w 80600"/>
                <a:gd name="connsiteY4" fmla="*/ 28658 h 102989"/>
                <a:gd name="connsiteX5" fmla="*/ 45850 w 80600"/>
                <a:gd name="connsiteY5" fmla="*/ 10299 h 102989"/>
                <a:gd name="connsiteX6" fmla="*/ 42715 w 80600"/>
                <a:gd name="connsiteY6" fmla="*/ 3135 h 102989"/>
                <a:gd name="connsiteX7" fmla="*/ 35550 w 80600"/>
                <a:gd name="connsiteY7" fmla="*/ 0 h 102989"/>
                <a:gd name="connsiteX8" fmla="*/ 26147 w 80600"/>
                <a:gd name="connsiteY8" fmla="*/ 9851 h 102989"/>
                <a:gd name="connsiteX9" fmla="*/ 26147 w 80600"/>
                <a:gd name="connsiteY9" fmla="*/ 52838 h 102989"/>
                <a:gd name="connsiteX10" fmla="*/ 21669 w 80600"/>
                <a:gd name="connsiteY10" fmla="*/ 41644 h 102989"/>
                <a:gd name="connsiteX11" fmla="*/ 14057 w 80600"/>
                <a:gd name="connsiteY11" fmla="*/ 33136 h 102989"/>
                <a:gd name="connsiteX12" fmla="*/ 4653 w 80600"/>
                <a:gd name="connsiteY12" fmla="*/ 33136 h 102989"/>
                <a:gd name="connsiteX13" fmla="*/ 2415 w 80600"/>
                <a:gd name="connsiteY13" fmla="*/ 34031 h 102989"/>
                <a:gd name="connsiteX14" fmla="*/ 1072 w 80600"/>
                <a:gd name="connsiteY14" fmla="*/ 34927 h 102989"/>
                <a:gd name="connsiteX15" fmla="*/ 176 w 80600"/>
                <a:gd name="connsiteY15" fmla="*/ 37614 h 102989"/>
                <a:gd name="connsiteX16" fmla="*/ 12266 w 80600"/>
                <a:gd name="connsiteY16" fmla="*/ 75675 h 102989"/>
                <a:gd name="connsiteX17" fmla="*/ 21669 w 80600"/>
                <a:gd name="connsiteY17" fmla="*/ 93586 h 102989"/>
                <a:gd name="connsiteX18" fmla="*/ 26595 w 80600"/>
                <a:gd name="connsiteY18" fmla="*/ 101647 h 102989"/>
                <a:gd name="connsiteX19" fmla="*/ 27043 w 80600"/>
                <a:gd name="connsiteY19" fmla="*/ 102542 h 102989"/>
                <a:gd name="connsiteX20" fmla="*/ 28834 w 80600"/>
                <a:gd name="connsiteY20" fmla="*/ 103885 h 102989"/>
                <a:gd name="connsiteX21" fmla="*/ 69582 w 80600"/>
                <a:gd name="connsiteY21" fmla="*/ 103885 h 102989"/>
                <a:gd name="connsiteX22" fmla="*/ 71373 w 80600"/>
                <a:gd name="connsiteY22" fmla="*/ 102990 h 102989"/>
                <a:gd name="connsiteX23" fmla="*/ 71821 w 80600"/>
                <a:gd name="connsiteY23" fmla="*/ 102094 h 102989"/>
                <a:gd name="connsiteX24" fmla="*/ 78537 w 80600"/>
                <a:gd name="connsiteY24" fmla="*/ 85079 h 102989"/>
                <a:gd name="connsiteX25" fmla="*/ 81224 w 80600"/>
                <a:gd name="connsiteY25" fmla="*/ 66272 h 102989"/>
                <a:gd name="connsiteX26" fmla="*/ 81224 w 80600"/>
                <a:gd name="connsiteY26" fmla="*/ 45674 h 102989"/>
                <a:gd name="connsiteX27" fmla="*/ 71373 w 80600"/>
                <a:gd name="connsiteY27" fmla="*/ 35823 h 102989"/>
                <a:gd name="connsiteX28" fmla="*/ 76746 w 80600"/>
                <a:gd name="connsiteY28" fmla="*/ 66719 h 102989"/>
                <a:gd name="connsiteX29" fmla="*/ 74507 w 80600"/>
                <a:gd name="connsiteY29" fmla="*/ 84183 h 102989"/>
                <a:gd name="connsiteX30" fmla="*/ 68686 w 80600"/>
                <a:gd name="connsiteY30" fmla="*/ 99855 h 102989"/>
                <a:gd name="connsiteX31" fmla="*/ 30625 w 80600"/>
                <a:gd name="connsiteY31" fmla="*/ 99855 h 102989"/>
                <a:gd name="connsiteX32" fmla="*/ 25700 w 80600"/>
                <a:gd name="connsiteY32" fmla="*/ 91347 h 102989"/>
                <a:gd name="connsiteX33" fmla="*/ 16744 w 80600"/>
                <a:gd name="connsiteY33" fmla="*/ 74332 h 102989"/>
                <a:gd name="connsiteX34" fmla="*/ 5101 w 80600"/>
                <a:gd name="connsiteY34" fmla="*/ 38061 h 102989"/>
                <a:gd name="connsiteX35" fmla="*/ 6445 w 80600"/>
                <a:gd name="connsiteY35" fmla="*/ 37614 h 102989"/>
                <a:gd name="connsiteX36" fmla="*/ 12714 w 80600"/>
                <a:gd name="connsiteY36" fmla="*/ 37614 h 102989"/>
                <a:gd name="connsiteX37" fmla="*/ 17639 w 80600"/>
                <a:gd name="connsiteY37" fmla="*/ 43435 h 102989"/>
                <a:gd name="connsiteX38" fmla="*/ 24804 w 80600"/>
                <a:gd name="connsiteY38" fmla="*/ 61794 h 102989"/>
                <a:gd name="connsiteX39" fmla="*/ 28386 w 80600"/>
                <a:gd name="connsiteY39" fmla="*/ 64033 h 102989"/>
                <a:gd name="connsiteX40" fmla="*/ 30625 w 80600"/>
                <a:gd name="connsiteY40" fmla="*/ 60898 h 102989"/>
                <a:gd name="connsiteX41" fmla="*/ 30625 w 80600"/>
                <a:gd name="connsiteY41" fmla="*/ 10299 h 102989"/>
                <a:gd name="connsiteX42" fmla="*/ 35550 w 80600"/>
                <a:gd name="connsiteY42" fmla="*/ 4925 h 102989"/>
                <a:gd name="connsiteX43" fmla="*/ 39581 w 80600"/>
                <a:gd name="connsiteY43" fmla="*/ 6717 h 102989"/>
                <a:gd name="connsiteX44" fmla="*/ 41372 w 80600"/>
                <a:gd name="connsiteY44" fmla="*/ 10747 h 102989"/>
                <a:gd name="connsiteX45" fmla="*/ 41372 w 80600"/>
                <a:gd name="connsiteY45" fmla="*/ 32240 h 102989"/>
                <a:gd name="connsiteX46" fmla="*/ 41372 w 80600"/>
                <a:gd name="connsiteY46" fmla="*/ 47913 h 102989"/>
                <a:gd name="connsiteX47" fmla="*/ 43611 w 80600"/>
                <a:gd name="connsiteY47" fmla="*/ 50152 h 102989"/>
                <a:gd name="connsiteX48" fmla="*/ 45850 w 80600"/>
                <a:gd name="connsiteY48" fmla="*/ 47913 h 102989"/>
                <a:gd name="connsiteX49" fmla="*/ 45850 w 80600"/>
                <a:gd name="connsiteY49" fmla="*/ 33584 h 102989"/>
                <a:gd name="connsiteX50" fmla="*/ 51671 w 80600"/>
                <a:gd name="connsiteY50" fmla="*/ 34927 h 102989"/>
                <a:gd name="connsiteX51" fmla="*/ 53014 w 80600"/>
                <a:gd name="connsiteY51" fmla="*/ 36718 h 102989"/>
                <a:gd name="connsiteX52" fmla="*/ 53014 w 80600"/>
                <a:gd name="connsiteY52" fmla="*/ 47913 h 102989"/>
                <a:gd name="connsiteX53" fmla="*/ 55253 w 80600"/>
                <a:gd name="connsiteY53" fmla="*/ 50152 h 102989"/>
                <a:gd name="connsiteX54" fmla="*/ 57492 w 80600"/>
                <a:gd name="connsiteY54" fmla="*/ 47913 h 102989"/>
                <a:gd name="connsiteX55" fmla="*/ 57492 w 80600"/>
                <a:gd name="connsiteY55" fmla="*/ 37614 h 102989"/>
                <a:gd name="connsiteX56" fmla="*/ 65104 w 80600"/>
                <a:gd name="connsiteY56" fmla="*/ 40300 h 102989"/>
                <a:gd name="connsiteX57" fmla="*/ 65104 w 80600"/>
                <a:gd name="connsiteY57" fmla="*/ 47913 h 102989"/>
                <a:gd name="connsiteX58" fmla="*/ 67343 w 80600"/>
                <a:gd name="connsiteY58" fmla="*/ 50152 h 102989"/>
                <a:gd name="connsiteX59" fmla="*/ 69582 w 80600"/>
                <a:gd name="connsiteY59" fmla="*/ 47913 h 102989"/>
                <a:gd name="connsiteX60" fmla="*/ 69582 w 80600"/>
                <a:gd name="connsiteY60" fmla="*/ 41196 h 102989"/>
                <a:gd name="connsiteX61" fmla="*/ 71821 w 80600"/>
                <a:gd name="connsiteY61" fmla="*/ 40748 h 102989"/>
                <a:gd name="connsiteX62" fmla="*/ 77194 w 80600"/>
                <a:gd name="connsiteY62" fmla="*/ 46121 h 102989"/>
                <a:gd name="connsiteX63" fmla="*/ 76746 w 80600"/>
                <a:gd name="connsiteY63" fmla="*/ 66719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0600" h="102989">
                  <a:moveTo>
                    <a:pt x="71373" y="35823"/>
                  </a:moveTo>
                  <a:cubicBezTo>
                    <a:pt x="70029" y="35823"/>
                    <a:pt x="68686" y="36270"/>
                    <a:pt x="67791" y="36718"/>
                  </a:cubicBezTo>
                  <a:cubicBezTo>
                    <a:pt x="65104" y="33136"/>
                    <a:pt x="60178" y="31345"/>
                    <a:pt x="56148" y="33136"/>
                  </a:cubicBezTo>
                  <a:cubicBezTo>
                    <a:pt x="55701" y="32688"/>
                    <a:pt x="55253" y="31792"/>
                    <a:pt x="54805" y="31345"/>
                  </a:cubicBezTo>
                  <a:cubicBezTo>
                    <a:pt x="52566" y="29106"/>
                    <a:pt x="48984" y="27763"/>
                    <a:pt x="45850" y="28658"/>
                  </a:cubicBezTo>
                  <a:lnTo>
                    <a:pt x="45850" y="10299"/>
                  </a:lnTo>
                  <a:cubicBezTo>
                    <a:pt x="45850" y="7612"/>
                    <a:pt x="44954" y="4925"/>
                    <a:pt x="42715" y="3135"/>
                  </a:cubicBezTo>
                  <a:cubicBezTo>
                    <a:pt x="40924" y="1343"/>
                    <a:pt x="38237" y="0"/>
                    <a:pt x="35550" y="0"/>
                  </a:cubicBezTo>
                  <a:cubicBezTo>
                    <a:pt x="30177" y="0"/>
                    <a:pt x="26147" y="4478"/>
                    <a:pt x="26147" y="9851"/>
                  </a:cubicBezTo>
                  <a:lnTo>
                    <a:pt x="26147" y="52838"/>
                  </a:lnTo>
                  <a:lnTo>
                    <a:pt x="21669" y="41644"/>
                  </a:lnTo>
                  <a:cubicBezTo>
                    <a:pt x="19878" y="37614"/>
                    <a:pt x="17639" y="34479"/>
                    <a:pt x="14057" y="33136"/>
                  </a:cubicBezTo>
                  <a:cubicBezTo>
                    <a:pt x="10922" y="31792"/>
                    <a:pt x="7788" y="31792"/>
                    <a:pt x="4653" y="33136"/>
                  </a:cubicBezTo>
                  <a:cubicBezTo>
                    <a:pt x="3758" y="33584"/>
                    <a:pt x="3310" y="33584"/>
                    <a:pt x="2415" y="34031"/>
                  </a:cubicBezTo>
                  <a:lnTo>
                    <a:pt x="1072" y="34927"/>
                  </a:lnTo>
                  <a:cubicBezTo>
                    <a:pt x="176" y="35375"/>
                    <a:pt x="-272" y="36718"/>
                    <a:pt x="176" y="37614"/>
                  </a:cubicBezTo>
                  <a:lnTo>
                    <a:pt x="12266" y="75675"/>
                  </a:lnTo>
                  <a:cubicBezTo>
                    <a:pt x="14057" y="81944"/>
                    <a:pt x="18535" y="88661"/>
                    <a:pt x="21669" y="93586"/>
                  </a:cubicBezTo>
                  <a:cubicBezTo>
                    <a:pt x="23461" y="96273"/>
                    <a:pt x="25251" y="99408"/>
                    <a:pt x="26595" y="101647"/>
                  </a:cubicBezTo>
                  <a:lnTo>
                    <a:pt x="27043" y="102542"/>
                  </a:lnTo>
                  <a:cubicBezTo>
                    <a:pt x="27490" y="103437"/>
                    <a:pt x="28386" y="103885"/>
                    <a:pt x="28834" y="103885"/>
                  </a:cubicBezTo>
                  <a:lnTo>
                    <a:pt x="69582" y="103885"/>
                  </a:lnTo>
                  <a:cubicBezTo>
                    <a:pt x="70478" y="103885"/>
                    <a:pt x="70925" y="103437"/>
                    <a:pt x="71373" y="102990"/>
                  </a:cubicBezTo>
                  <a:lnTo>
                    <a:pt x="71821" y="102094"/>
                  </a:lnTo>
                  <a:cubicBezTo>
                    <a:pt x="74507" y="98064"/>
                    <a:pt x="76746" y="91795"/>
                    <a:pt x="78537" y="85079"/>
                  </a:cubicBezTo>
                  <a:cubicBezTo>
                    <a:pt x="80329" y="78809"/>
                    <a:pt x="81224" y="72093"/>
                    <a:pt x="81224" y="66272"/>
                  </a:cubicBezTo>
                  <a:lnTo>
                    <a:pt x="81224" y="45674"/>
                  </a:lnTo>
                  <a:cubicBezTo>
                    <a:pt x="81224" y="40300"/>
                    <a:pt x="76746" y="35823"/>
                    <a:pt x="71373" y="35823"/>
                  </a:cubicBezTo>
                  <a:close/>
                  <a:moveTo>
                    <a:pt x="76746" y="66719"/>
                  </a:moveTo>
                  <a:cubicBezTo>
                    <a:pt x="76746" y="72093"/>
                    <a:pt x="75851" y="78362"/>
                    <a:pt x="74507" y="84183"/>
                  </a:cubicBezTo>
                  <a:cubicBezTo>
                    <a:pt x="72717" y="90452"/>
                    <a:pt x="70925" y="95825"/>
                    <a:pt x="68686" y="99855"/>
                  </a:cubicBezTo>
                  <a:lnTo>
                    <a:pt x="30625" y="99855"/>
                  </a:lnTo>
                  <a:cubicBezTo>
                    <a:pt x="29281" y="97169"/>
                    <a:pt x="27490" y="94482"/>
                    <a:pt x="25700" y="91347"/>
                  </a:cubicBezTo>
                  <a:cubicBezTo>
                    <a:pt x="22565" y="86869"/>
                    <a:pt x="18535" y="80153"/>
                    <a:pt x="16744" y="74332"/>
                  </a:cubicBezTo>
                  <a:lnTo>
                    <a:pt x="5101" y="38061"/>
                  </a:lnTo>
                  <a:cubicBezTo>
                    <a:pt x="5549" y="38061"/>
                    <a:pt x="5997" y="37614"/>
                    <a:pt x="6445" y="37614"/>
                  </a:cubicBezTo>
                  <a:cubicBezTo>
                    <a:pt x="8684" y="36718"/>
                    <a:pt x="10922" y="36718"/>
                    <a:pt x="12714" y="37614"/>
                  </a:cubicBezTo>
                  <a:cubicBezTo>
                    <a:pt x="15400" y="38957"/>
                    <a:pt x="17192" y="41644"/>
                    <a:pt x="17639" y="43435"/>
                  </a:cubicBezTo>
                  <a:lnTo>
                    <a:pt x="24804" y="61794"/>
                  </a:lnTo>
                  <a:cubicBezTo>
                    <a:pt x="25251" y="63137"/>
                    <a:pt x="26595" y="64033"/>
                    <a:pt x="28386" y="64033"/>
                  </a:cubicBezTo>
                  <a:cubicBezTo>
                    <a:pt x="29729" y="63585"/>
                    <a:pt x="30625" y="62689"/>
                    <a:pt x="30625" y="60898"/>
                  </a:cubicBezTo>
                  <a:lnTo>
                    <a:pt x="30625" y="10299"/>
                  </a:lnTo>
                  <a:cubicBezTo>
                    <a:pt x="30625" y="7612"/>
                    <a:pt x="32416" y="4925"/>
                    <a:pt x="35550" y="4925"/>
                  </a:cubicBezTo>
                  <a:cubicBezTo>
                    <a:pt x="36894" y="4925"/>
                    <a:pt x="38237" y="5373"/>
                    <a:pt x="39581" y="6717"/>
                  </a:cubicBezTo>
                  <a:cubicBezTo>
                    <a:pt x="40924" y="8060"/>
                    <a:pt x="41372" y="8956"/>
                    <a:pt x="41372" y="10747"/>
                  </a:cubicBezTo>
                  <a:lnTo>
                    <a:pt x="41372" y="32240"/>
                  </a:lnTo>
                  <a:lnTo>
                    <a:pt x="41372" y="47913"/>
                  </a:lnTo>
                  <a:cubicBezTo>
                    <a:pt x="41372" y="49256"/>
                    <a:pt x="42267" y="50152"/>
                    <a:pt x="43611" y="50152"/>
                  </a:cubicBezTo>
                  <a:cubicBezTo>
                    <a:pt x="44954" y="50152"/>
                    <a:pt x="45850" y="49256"/>
                    <a:pt x="45850" y="47913"/>
                  </a:cubicBezTo>
                  <a:lnTo>
                    <a:pt x="45850" y="33584"/>
                  </a:lnTo>
                  <a:cubicBezTo>
                    <a:pt x="47640" y="32688"/>
                    <a:pt x="50328" y="33136"/>
                    <a:pt x="51671" y="34927"/>
                  </a:cubicBezTo>
                  <a:cubicBezTo>
                    <a:pt x="52118" y="35375"/>
                    <a:pt x="52566" y="36270"/>
                    <a:pt x="53014" y="36718"/>
                  </a:cubicBezTo>
                  <a:lnTo>
                    <a:pt x="53014" y="47913"/>
                  </a:lnTo>
                  <a:cubicBezTo>
                    <a:pt x="53014" y="49256"/>
                    <a:pt x="53909" y="50152"/>
                    <a:pt x="55253" y="50152"/>
                  </a:cubicBezTo>
                  <a:cubicBezTo>
                    <a:pt x="56596" y="50152"/>
                    <a:pt x="57492" y="49256"/>
                    <a:pt x="57492" y="47913"/>
                  </a:cubicBezTo>
                  <a:lnTo>
                    <a:pt x="57492" y="37614"/>
                  </a:lnTo>
                  <a:cubicBezTo>
                    <a:pt x="60178" y="36270"/>
                    <a:pt x="63761" y="37614"/>
                    <a:pt x="65104" y="40300"/>
                  </a:cubicBezTo>
                  <a:lnTo>
                    <a:pt x="65104" y="47913"/>
                  </a:lnTo>
                  <a:cubicBezTo>
                    <a:pt x="65104" y="49256"/>
                    <a:pt x="66000" y="50152"/>
                    <a:pt x="67343" y="50152"/>
                  </a:cubicBezTo>
                  <a:cubicBezTo>
                    <a:pt x="68686" y="50152"/>
                    <a:pt x="69582" y="49256"/>
                    <a:pt x="69582" y="47913"/>
                  </a:cubicBezTo>
                  <a:lnTo>
                    <a:pt x="69582" y="41196"/>
                  </a:lnTo>
                  <a:cubicBezTo>
                    <a:pt x="70478" y="40748"/>
                    <a:pt x="70925" y="40748"/>
                    <a:pt x="71821" y="40748"/>
                  </a:cubicBezTo>
                  <a:cubicBezTo>
                    <a:pt x="74956" y="40748"/>
                    <a:pt x="77194" y="43435"/>
                    <a:pt x="77194" y="46121"/>
                  </a:cubicBezTo>
                  <a:lnTo>
                    <a:pt x="76746" y="66719"/>
                  </a:lnTo>
                  <a:close/>
                </a:path>
              </a:pathLst>
            </a:custGeom>
            <a:solidFill>
              <a:srgbClr val="231F20"/>
            </a:solidFill>
            <a:ln w="4474" cap="flat">
              <a:noFill/>
              <a:prstDash val="solid"/>
              <a:miter/>
            </a:ln>
          </p:spPr>
          <p:txBody>
            <a:bodyPr rtlCol="0" anchor="ctr"/>
            <a:lstStyle/>
            <a:p>
              <a:endParaRPr lang="en-US"/>
            </a:p>
          </p:txBody>
        </p:sp>
      </p:grpSp>
      <p:sp>
        <p:nvSpPr>
          <p:cNvPr id="4680" name="Freeform: Shape 4679">
            <a:extLst>
              <a:ext uri="{FF2B5EF4-FFF2-40B4-BE49-F238E27FC236}">
                <a16:creationId xmlns:a16="http://schemas.microsoft.com/office/drawing/2014/main" id="{9E4E152F-1224-49A0-8EC2-120D245C5307}"/>
              </a:ext>
              <a:ext uri="{C183D7F6-B498-43B3-948B-1728B52AA6E4}">
                <adec:decorative xmlns:adec="http://schemas.microsoft.com/office/drawing/2017/decorative" val="1"/>
              </a:ext>
            </a:extLst>
          </p:cNvPr>
          <p:cNvSpPr>
            <a:spLocks noChangeAspect="1"/>
          </p:cNvSpPr>
          <p:nvPr/>
        </p:nvSpPr>
        <p:spPr>
          <a:xfrm>
            <a:off x="5555143" y="5581122"/>
            <a:ext cx="85079" cy="143290"/>
          </a:xfrm>
          <a:custGeom>
            <a:avLst/>
            <a:gdLst>
              <a:gd name="connsiteX0" fmla="*/ 75851 w 85078"/>
              <a:gd name="connsiteY0" fmla="*/ 69406 h 143290"/>
              <a:gd name="connsiteX1" fmla="*/ 71821 w 85078"/>
              <a:gd name="connsiteY1" fmla="*/ 70302 h 143290"/>
              <a:gd name="connsiteX2" fmla="*/ 59283 w 85078"/>
              <a:gd name="connsiteY2" fmla="*/ 66272 h 143290"/>
              <a:gd name="connsiteX3" fmla="*/ 57940 w 85078"/>
              <a:gd name="connsiteY3" fmla="*/ 64481 h 143290"/>
              <a:gd name="connsiteX4" fmla="*/ 48089 w 85078"/>
              <a:gd name="connsiteY4" fmla="*/ 61794 h 143290"/>
              <a:gd name="connsiteX5" fmla="*/ 48089 w 85078"/>
              <a:gd name="connsiteY5" fmla="*/ 57764 h 143290"/>
              <a:gd name="connsiteX6" fmla="*/ 67791 w 85078"/>
              <a:gd name="connsiteY6" fmla="*/ 29554 h 143290"/>
              <a:gd name="connsiteX7" fmla="*/ 38237 w 85078"/>
              <a:gd name="connsiteY7" fmla="*/ 0 h 143290"/>
              <a:gd name="connsiteX8" fmla="*/ 8684 w 85078"/>
              <a:gd name="connsiteY8" fmla="*/ 29554 h 143290"/>
              <a:gd name="connsiteX9" fmla="*/ 27491 w 85078"/>
              <a:gd name="connsiteY9" fmla="*/ 57316 h 143290"/>
              <a:gd name="connsiteX10" fmla="*/ 27491 w 85078"/>
              <a:gd name="connsiteY10" fmla="*/ 89109 h 143290"/>
              <a:gd name="connsiteX11" fmla="*/ 22565 w 85078"/>
              <a:gd name="connsiteY11" fmla="*/ 76123 h 143290"/>
              <a:gd name="connsiteX12" fmla="*/ 14505 w 85078"/>
              <a:gd name="connsiteY12" fmla="*/ 67167 h 143290"/>
              <a:gd name="connsiteX13" fmla="*/ 4653 w 85078"/>
              <a:gd name="connsiteY13" fmla="*/ 67167 h 143290"/>
              <a:gd name="connsiteX14" fmla="*/ 2415 w 85078"/>
              <a:gd name="connsiteY14" fmla="*/ 68063 h 143290"/>
              <a:gd name="connsiteX15" fmla="*/ 1072 w 85078"/>
              <a:gd name="connsiteY15" fmla="*/ 68958 h 143290"/>
              <a:gd name="connsiteX16" fmla="*/ 176 w 85078"/>
              <a:gd name="connsiteY16" fmla="*/ 71645 h 143290"/>
              <a:gd name="connsiteX17" fmla="*/ 13609 w 85078"/>
              <a:gd name="connsiteY17" fmla="*/ 112841 h 143290"/>
              <a:gd name="connsiteX18" fmla="*/ 23908 w 85078"/>
              <a:gd name="connsiteY18" fmla="*/ 132096 h 143290"/>
              <a:gd name="connsiteX19" fmla="*/ 29281 w 85078"/>
              <a:gd name="connsiteY19" fmla="*/ 141051 h 143290"/>
              <a:gd name="connsiteX20" fmla="*/ 29730 w 85078"/>
              <a:gd name="connsiteY20" fmla="*/ 141947 h 143290"/>
              <a:gd name="connsiteX21" fmla="*/ 31520 w 85078"/>
              <a:gd name="connsiteY21" fmla="*/ 143290 h 143290"/>
              <a:gd name="connsiteX22" fmla="*/ 75403 w 85078"/>
              <a:gd name="connsiteY22" fmla="*/ 143290 h 143290"/>
              <a:gd name="connsiteX23" fmla="*/ 77194 w 85078"/>
              <a:gd name="connsiteY23" fmla="*/ 142395 h 143290"/>
              <a:gd name="connsiteX24" fmla="*/ 77642 w 85078"/>
              <a:gd name="connsiteY24" fmla="*/ 141499 h 143290"/>
              <a:gd name="connsiteX25" fmla="*/ 84806 w 85078"/>
              <a:gd name="connsiteY25" fmla="*/ 123140 h 143290"/>
              <a:gd name="connsiteX26" fmla="*/ 87493 w 85078"/>
              <a:gd name="connsiteY26" fmla="*/ 102990 h 143290"/>
              <a:gd name="connsiteX27" fmla="*/ 87493 w 85078"/>
              <a:gd name="connsiteY27" fmla="*/ 80601 h 143290"/>
              <a:gd name="connsiteX28" fmla="*/ 75851 w 85078"/>
              <a:gd name="connsiteY28" fmla="*/ 69406 h 143290"/>
              <a:gd name="connsiteX29" fmla="*/ 12714 w 85078"/>
              <a:gd name="connsiteY29" fmla="*/ 29106 h 143290"/>
              <a:gd name="connsiteX30" fmla="*/ 37789 w 85078"/>
              <a:gd name="connsiteY30" fmla="*/ 4030 h 143290"/>
              <a:gd name="connsiteX31" fmla="*/ 62865 w 85078"/>
              <a:gd name="connsiteY31" fmla="*/ 29106 h 143290"/>
              <a:gd name="connsiteX32" fmla="*/ 47641 w 85078"/>
              <a:gd name="connsiteY32" fmla="*/ 52391 h 143290"/>
              <a:gd name="connsiteX33" fmla="*/ 47641 w 85078"/>
              <a:gd name="connsiteY33" fmla="*/ 41196 h 143290"/>
              <a:gd name="connsiteX34" fmla="*/ 44506 w 85078"/>
              <a:gd name="connsiteY34" fmla="*/ 33584 h 143290"/>
              <a:gd name="connsiteX35" fmla="*/ 36894 w 85078"/>
              <a:gd name="connsiteY35" fmla="*/ 30449 h 143290"/>
              <a:gd name="connsiteX36" fmla="*/ 26595 w 85078"/>
              <a:gd name="connsiteY36" fmla="*/ 41196 h 143290"/>
              <a:gd name="connsiteX37" fmla="*/ 26595 w 85078"/>
              <a:gd name="connsiteY37" fmla="*/ 51943 h 143290"/>
              <a:gd name="connsiteX38" fmla="*/ 12714 w 85078"/>
              <a:gd name="connsiteY38" fmla="*/ 29106 h 143290"/>
              <a:gd name="connsiteX39" fmla="*/ 82120 w 85078"/>
              <a:gd name="connsiteY39" fmla="*/ 102094 h 143290"/>
              <a:gd name="connsiteX40" fmla="*/ 79433 w 85078"/>
              <a:gd name="connsiteY40" fmla="*/ 120901 h 143290"/>
              <a:gd name="connsiteX41" fmla="*/ 73164 w 85078"/>
              <a:gd name="connsiteY41" fmla="*/ 137917 h 143290"/>
              <a:gd name="connsiteX42" fmla="*/ 31969 w 85078"/>
              <a:gd name="connsiteY42" fmla="*/ 137917 h 143290"/>
              <a:gd name="connsiteX43" fmla="*/ 26595 w 85078"/>
              <a:gd name="connsiteY43" fmla="*/ 128961 h 143290"/>
              <a:gd name="connsiteX44" fmla="*/ 16744 w 85078"/>
              <a:gd name="connsiteY44" fmla="*/ 110602 h 143290"/>
              <a:gd name="connsiteX45" fmla="*/ 4206 w 85078"/>
              <a:gd name="connsiteY45" fmla="*/ 71197 h 143290"/>
              <a:gd name="connsiteX46" fmla="*/ 5549 w 85078"/>
              <a:gd name="connsiteY46" fmla="*/ 70750 h 143290"/>
              <a:gd name="connsiteX47" fmla="*/ 12266 w 85078"/>
              <a:gd name="connsiteY47" fmla="*/ 70750 h 143290"/>
              <a:gd name="connsiteX48" fmla="*/ 18087 w 85078"/>
              <a:gd name="connsiteY48" fmla="*/ 77466 h 143290"/>
              <a:gd name="connsiteX49" fmla="*/ 25700 w 85078"/>
              <a:gd name="connsiteY49" fmla="*/ 97617 h 143290"/>
              <a:gd name="connsiteX50" fmla="*/ 29281 w 85078"/>
              <a:gd name="connsiteY50" fmla="*/ 99856 h 143290"/>
              <a:gd name="connsiteX51" fmla="*/ 31969 w 85078"/>
              <a:gd name="connsiteY51" fmla="*/ 96721 h 143290"/>
              <a:gd name="connsiteX52" fmla="*/ 31969 w 85078"/>
              <a:gd name="connsiteY52" fmla="*/ 41644 h 143290"/>
              <a:gd name="connsiteX53" fmla="*/ 37789 w 85078"/>
              <a:gd name="connsiteY53" fmla="*/ 35375 h 143290"/>
              <a:gd name="connsiteX54" fmla="*/ 42267 w 85078"/>
              <a:gd name="connsiteY54" fmla="*/ 37166 h 143290"/>
              <a:gd name="connsiteX55" fmla="*/ 44058 w 85078"/>
              <a:gd name="connsiteY55" fmla="*/ 41644 h 143290"/>
              <a:gd name="connsiteX56" fmla="*/ 44058 w 85078"/>
              <a:gd name="connsiteY56" fmla="*/ 64928 h 143290"/>
              <a:gd name="connsiteX57" fmla="*/ 44058 w 85078"/>
              <a:gd name="connsiteY57" fmla="*/ 81944 h 143290"/>
              <a:gd name="connsiteX58" fmla="*/ 46297 w 85078"/>
              <a:gd name="connsiteY58" fmla="*/ 84183 h 143290"/>
              <a:gd name="connsiteX59" fmla="*/ 48536 w 85078"/>
              <a:gd name="connsiteY59" fmla="*/ 81944 h 143290"/>
              <a:gd name="connsiteX60" fmla="*/ 48536 w 85078"/>
              <a:gd name="connsiteY60" fmla="*/ 66272 h 143290"/>
              <a:gd name="connsiteX61" fmla="*/ 55253 w 85078"/>
              <a:gd name="connsiteY61" fmla="*/ 67615 h 143290"/>
              <a:gd name="connsiteX62" fmla="*/ 56597 w 85078"/>
              <a:gd name="connsiteY62" fmla="*/ 69854 h 143290"/>
              <a:gd name="connsiteX63" fmla="*/ 56597 w 85078"/>
              <a:gd name="connsiteY63" fmla="*/ 81944 h 143290"/>
              <a:gd name="connsiteX64" fmla="*/ 58835 w 85078"/>
              <a:gd name="connsiteY64" fmla="*/ 84183 h 143290"/>
              <a:gd name="connsiteX65" fmla="*/ 61074 w 85078"/>
              <a:gd name="connsiteY65" fmla="*/ 81944 h 143290"/>
              <a:gd name="connsiteX66" fmla="*/ 61074 w 85078"/>
              <a:gd name="connsiteY66" fmla="*/ 70750 h 143290"/>
              <a:gd name="connsiteX67" fmla="*/ 69582 w 85078"/>
              <a:gd name="connsiteY67" fmla="*/ 73884 h 143290"/>
              <a:gd name="connsiteX68" fmla="*/ 69582 w 85078"/>
              <a:gd name="connsiteY68" fmla="*/ 81944 h 143290"/>
              <a:gd name="connsiteX69" fmla="*/ 71821 w 85078"/>
              <a:gd name="connsiteY69" fmla="*/ 84183 h 143290"/>
              <a:gd name="connsiteX70" fmla="*/ 74060 w 85078"/>
              <a:gd name="connsiteY70" fmla="*/ 81944 h 143290"/>
              <a:gd name="connsiteX71" fmla="*/ 74060 w 85078"/>
              <a:gd name="connsiteY71" fmla="*/ 74780 h 143290"/>
              <a:gd name="connsiteX72" fmla="*/ 76747 w 85078"/>
              <a:gd name="connsiteY72" fmla="*/ 73884 h 143290"/>
              <a:gd name="connsiteX73" fmla="*/ 83015 w 85078"/>
              <a:gd name="connsiteY73" fmla="*/ 80153 h 143290"/>
              <a:gd name="connsiteX74" fmla="*/ 83015 w 85078"/>
              <a:gd name="connsiteY74" fmla="*/ 102094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5078" h="143290">
                <a:moveTo>
                  <a:pt x="75851" y="69406"/>
                </a:moveTo>
                <a:cubicBezTo>
                  <a:pt x="74508" y="69406"/>
                  <a:pt x="73164" y="69854"/>
                  <a:pt x="71821" y="70302"/>
                </a:cubicBezTo>
                <a:cubicBezTo>
                  <a:pt x="69134" y="66272"/>
                  <a:pt x="63761" y="64481"/>
                  <a:pt x="59283" y="66272"/>
                </a:cubicBezTo>
                <a:cubicBezTo>
                  <a:pt x="58835" y="65376"/>
                  <a:pt x="58387" y="64928"/>
                  <a:pt x="57940" y="64481"/>
                </a:cubicBezTo>
                <a:cubicBezTo>
                  <a:pt x="55253" y="61794"/>
                  <a:pt x="51671" y="60898"/>
                  <a:pt x="48089" y="61794"/>
                </a:cubicBezTo>
                <a:lnTo>
                  <a:pt x="48089" y="57764"/>
                </a:lnTo>
                <a:cubicBezTo>
                  <a:pt x="60178" y="53734"/>
                  <a:pt x="67791" y="42539"/>
                  <a:pt x="67791" y="29554"/>
                </a:cubicBezTo>
                <a:cubicBezTo>
                  <a:pt x="67791" y="12986"/>
                  <a:pt x="54358" y="0"/>
                  <a:pt x="38237" y="0"/>
                </a:cubicBezTo>
                <a:cubicBezTo>
                  <a:pt x="21669" y="0"/>
                  <a:pt x="8684" y="13433"/>
                  <a:pt x="8684" y="29554"/>
                </a:cubicBezTo>
                <a:cubicBezTo>
                  <a:pt x="8684" y="41644"/>
                  <a:pt x="16296" y="52838"/>
                  <a:pt x="27491" y="57316"/>
                </a:cubicBezTo>
                <a:lnTo>
                  <a:pt x="27491" y="89109"/>
                </a:lnTo>
                <a:lnTo>
                  <a:pt x="22565" y="76123"/>
                </a:lnTo>
                <a:cubicBezTo>
                  <a:pt x="20774" y="71645"/>
                  <a:pt x="18087" y="68511"/>
                  <a:pt x="14505" y="67167"/>
                </a:cubicBezTo>
                <a:cubicBezTo>
                  <a:pt x="11370" y="65824"/>
                  <a:pt x="7788" y="65824"/>
                  <a:pt x="4653" y="67167"/>
                </a:cubicBezTo>
                <a:cubicBezTo>
                  <a:pt x="3758" y="67615"/>
                  <a:pt x="3310" y="67615"/>
                  <a:pt x="2415" y="68063"/>
                </a:cubicBezTo>
                <a:lnTo>
                  <a:pt x="1072" y="68958"/>
                </a:lnTo>
                <a:cubicBezTo>
                  <a:pt x="176" y="69406"/>
                  <a:pt x="-272" y="70750"/>
                  <a:pt x="176" y="71645"/>
                </a:cubicBezTo>
                <a:lnTo>
                  <a:pt x="13609" y="112841"/>
                </a:lnTo>
                <a:cubicBezTo>
                  <a:pt x="15848" y="119558"/>
                  <a:pt x="20326" y="127170"/>
                  <a:pt x="23908" y="132096"/>
                </a:cubicBezTo>
                <a:cubicBezTo>
                  <a:pt x="26147" y="135230"/>
                  <a:pt x="27938" y="138365"/>
                  <a:pt x="29281" y="141051"/>
                </a:cubicBezTo>
                <a:lnTo>
                  <a:pt x="29730" y="141947"/>
                </a:lnTo>
                <a:cubicBezTo>
                  <a:pt x="30177" y="142842"/>
                  <a:pt x="31073" y="143290"/>
                  <a:pt x="31520" y="143290"/>
                </a:cubicBezTo>
                <a:lnTo>
                  <a:pt x="75403" y="143290"/>
                </a:lnTo>
                <a:cubicBezTo>
                  <a:pt x="76299" y="143290"/>
                  <a:pt x="76747" y="142842"/>
                  <a:pt x="77194" y="142395"/>
                </a:cubicBezTo>
                <a:lnTo>
                  <a:pt x="77642" y="141499"/>
                </a:lnTo>
                <a:cubicBezTo>
                  <a:pt x="80329" y="137021"/>
                  <a:pt x="83015" y="130752"/>
                  <a:pt x="84806" y="123140"/>
                </a:cubicBezTo>
                <a:cubicBezTo>
                  <a:pt x="86598" y="116423"/>
                  <a:pt x="87493" y="109259"/>
                  <a:pt x="87493" y="102990"/>
                </a:cubicBezTo>
                <a:lnTo>
                  <a:pt x="87493" y="80601"/>
                </a:lnTo>
                <a:cubicBezTo>
                  <a:pt x="86598" y="73884"/>
                  <a:pt x="81672" y="69406"/>
                  <a:pt x="75851" y="69406"/>
                </a:cubicBezTo>
                <a:close/>
                <a:moveTo>
                  <a:pt x="12714" y="29106"/>
                </a:moveTo>
                <a:cubicBezTo>
                  <a:pt x="12714" y="15225"/>
                  <a:pt x="23908" y="4030"/>
                  <a:pt x="37789" y="4030"/>
                </a:cubicBezTo>
                <a:cubicBezTo>
                  <a:pt x="51671" y="4030"/>
                  <a:pt x="62865" y="15225"/>
                  <a:pt x="62865" y="29106"/>
                </a:cubicBezTo>
                <a:cubicBezTo>
                  <a:pt x="62865" y="39405"/>
                  <a:pt x="56597" y="48361"/>
                  <a:pt x="47641" y="52391"/>
                </a:cubicBezTo>
                <a:lnTo>
                  <a:pt x="47641" y="41196"/>
                </a:lnTo>
                <a:cubicBezTo>
                  <a:pt x="47641" y="38509"/>
                  <a:pt x="46745" y="35823"/>
                  <a:pt x="44506" y="33584"/>
                </a:cubicBezTo>
                <a:cubicBezTo>
                  <a:pt x="42267" y="31345"/>
                  <a:pt x="40028" y="30449"/>
                  <a:pt x="36894" y="30449"/>
                </a:cubicBezTo>
                <a:cubicBezTo>
                  <a:pt x="31073" y="30449"/>
                  <a:pt x="26595" y="34927"/>
                  <a:pt x="26595" y="41196"/>
                </a:cubicBezTo>
                <a:lnTo>
                  <a:pt x="26595" y="51943"/>
                </a:lnTo>
                <a:cubicBezTo>
                  <a:pt x="18087" y="47913"/>
                  <a:pt x="12714" y="38957"/>
                  <a:pt x="12714" y="29106"/>
                </a:cubicBezTo>
                <a:close/>
                <a:moveTo>
                  <a:pt x="82120" y="102094"/>
                </a:moveTo>
                <a:cubicBezTo>
                  <a:pt x="82120" y="107916"/>
                  <a:pt x="81225" y="114632"/>
                  <a:pt x="79433" y="120901"/>
                </a:cubicBezTo>
                <a:cubicBezTo>
                  <a:pt x="77642" y="127618"/>
                  <a:pt x="75403" y="133887"/>
                  <a:pt x="73164" y="137917"/>
                </a:cubicBezTo>
                <a:lnTo>
                  <a:pt x="31969" y="137917"/>
                </a:lnTo>
                <a:cubicBezTo>
                  <a:pt x="30625" y="135230"/>
                  <a:pt x="28386" y="132096"/>
                  <a:pt x="26595" y="128961"/>
                </a:cubicBezTo>
                <a:cubicBezTo>
                  <a:pt x="23461" y="124036"/>
                  <a:pt x="18983" y="116871"/>
                  <a:pt x="16744" y="110602"/>
                </a:cubicBezTo>
                <a:lnTo>
                  <a:pt x="4206" y="71197"/>
                </a:lnTo>
                <a:cubicBezTo>
                  <a:pt x="4653" y="70750"/>
                  <a:pt x="5102" y="70750"/>
                  <a:pt x="5549" y="70750"/>
                </a:cubicBezTo>
                <a:cubicBezTo>
                  <a:pt x="7788" y="69854"/>
                  <a:pt x="10475" y="69854"/>
                  <a:pt x="12266" y="70750"/>
                </a:cubicBezTo>
                <a:cubicBezTo>
                  <a:pt x="15400" y="72093"/>
                  <a:pt x="17192" y="75228"/>
                  <a:pt x="18087" y="77466"/>
                </a:cubicBezTo>
                <a:lnTo>
                  <a:pt x="25700" y="97617"/>
                </a:lnTo>
                <a:cubicBezTo>
                  <a:pt x="26147" y="98960"/>
                  <a:pt x="27491" y="99856"/>
                  <a:pt x="29281" y="99856"/>
                </a:cubicBezTo>
                <a:cubicBezTo>
                  <a:pt x="30625" y="99408"/>
                  <a:pt x="31969" y="98512"/>
                  <a:pt x="31969" y="96721"/>
                </a:cubicBezTo>
                <a:lnTo>
                  <a:pt x="31969" y="41644"/>
                </a:lnTo>
                <a:cubicBezTo>
                  <a:pt x="31969" y="38061"/>
                  <a:pt x="34207" y="35375"/>
                  <a:pt x="37789" y="35375"/>
                </a:cubicBezTo>
                <a:cubicBezTo>
                  <a:pt x="39581" y="35375"/>
                  <a:pt x="40924" y="35823"/>
                  <a:pt x="42267" y="37166"/>
                </a:cubicBezTo>
                <a:cubicBezTo>
                  <a:pt x="43611" y="38509"/>
                  <a:pt x="44058" y="39853"/>
                  <a:pt x="44058" y="41644"/>
                </a:cubicBezTo>
                <a:lnTo>
                  <a:pt x="44058" y="64928"/>
                </a:lnTo>
                <a:lnTo>
                  <a:pt x="44058" y="81944"/>
                </a:lnTo>
                <a:cubicBezTo>
                  <a:pt x="44058" y="83288"/>
                  <a:pt x="44954" y="84183"/>
                  <a:pt x="46297" y="84183"/>
                </a:cubicBezTo>
                <a:cubicBezTo>
                  <a:pt x="47641" y="84183"/>
                  <a:pt x="48536" y="83288"/>
                  <a:pt x="48536" y="81944"/>
                </a:cubicBezTo>
                <a:lnTo>
                  <a:pt x="48536" y="66272"/>
                </a:lnTo>
                <a:cubicBezTo>
                  <a:pt x="50775" y="65376"/>
                  <a:pt x="53462" y="65824"/>
                  <a:pt x="55253" y="67615"/>
                </a:cubicBezTo>
                <a:cubicBezTo>
                  <a:pt x="55701" y="68063"/>
                  <a:pt x="56148" y="68958"/>
                  <a:pt x="56597" y="69854"/>
                </a:cubicBezTo>
                <a:lnTo>
                  <a:pt x="56597" y="81944"/>
                </a:lnTo>
                <a:cubicBezTo>
                  <a:pt x="56597" y="83288"/>
                  <a:pt x="57492" y="84183"/>
                  <a:pt x="58835" y="84183"/>
                </a:cubicBezTo>
                <a:cubicBezTo>
                  <a:pt x="60178" y="84183"/>
                  <a:pt x="61074" y="83288"/>
                  <a:pt x="61074" y="81944"/>
                </a:cubicBezTo>
                <a:lnTo>
                  <a:pt x="61074" y="70750"/>
                </a:lnTo>
                <a:cubicBezTo>
                  <a:pt x="64209" y="69406"/>
                  <a:pt x="68239" y="70750"/>
                  <a:pt x="69582" y="73884"/>
                </a:cubicBezTo>
                <a:lnTo>
                  <a:pt x="69582" y="81944"/>
                </a:lnTo>
                <a:cubicBezTo>
                  <a:pt x="69582" y="83288"/>
                  <a:pt x="70478" y="84183"/>
                  <a:pt x="71821" y="84183"/>
                </a:cubicBezTo>
                <a:cubicBezTo>
                  <a:pt x="73164" y="84183"/>
                  <a:pt x="74060" y="83288"/>
                  <a:pt x="74060" y="81944"/>
                </a:cubicBezTo>
                <a:lnTo>
                  <a:pt x="74060" y="74780"/>
                </a:lnTo>
                <a:cubicBezTo>
                  <a:pt x="74956" y="74332"/>
                  <a:pt x="75851" y="73884"/>
                  <a:pt x="76747" y="73884"/>
                </a:cubicBezTo>
                <a:cubicBezTo>
                  <a:pt x="80329" y="73884"/>
                  <a:pt x="83015" y="76571"/>
                  <a:pt x="83015" y="80153"/>
                </a:cubicBezTo>
                <a:lnTo>
                  <a:pt x="83015" y="102094"/>
                </a:lnTo>
                <a:close/>
              </a:path>
            </a:pathLst>
          </a:custGeom>
          <a:solidFill>
            <a:srgbClr val="231F20"/>
          </a:solidFill>
          <a:ln w="4474" cap="flat">
            <a:noFill/>
            <a:prstDash val="solid"/>
            <a:miter/>
          </a:ln>
        </p:spPr>
        <p:txBody>
          <a:bodyPr rtlCol="0" anchor="ctr"/>
          <a:lstStyle/>
          <a:p>
            <a:endParaRPr lang="en-US"/>
          </a:p>
        </p:txBody>
      </p:sp>
      <p:grpSp>
        <p:nvGrpSpPr>
          <p:cNvPr id="4681" name="Group 4680">
            <a:extLst>
              <a:ext uri="{FF2B5EF4-FFF2-40B4-BE49-F238E27FC236}">
                <a16:creationId xmlns:a16="http://schemas.microsoft.com/office/drawing/2014/main" id="{0D7F44CE-6CC1-46DD-A391-17ACB52D6730}"/>
              </a:ext>
              <a:ext uri="{C183D7F6-B498-43B3-948B-1728B52AA6E4}">
                <adec:decorative xmlns:adec="http://schemas.microsoft.com/office/drawing/2017/decorative" val="1"/>
              </a:ext>
            </a:extLst>
          </p:cNvPr>
          <p:cNvGrpSpPr>
            <a:grpSpLocks noChangeAspect="1"/>
          </p:cNvGrpSpPr>
          <p:nvPr/>
        </p:nvGrpSpPr>
        <p:grpSpPr>
          <a:xfrm>
            <a:off x="6909027" y="1737854"/>
            <a:ext cx="125379" cy="142227"/>
            <a:chOff x="1128374" y="5197040"/>
            <a:chExt cx="125379" cy="142227"/>
          </a:xfrm>
        </p:grpSpPr>
        <p:sp>
          <p:nvSpPr>
            <p:cNvPr id="4682" name="Freeform: Shape 4681">
              <a:extLst>
                <a:ext uri="{FF2B5EF4-FFF2-40B4-BE49-F238E27FC236}">
                  <a16:creationId xmlns:a16="http://schemas.microsoft.com/office/drawing/2014/main" id="{CE7DA976-A3C7-45EF-9EA4-2F95DE842CF2}"/>
                </a:ext>
              </a:extLst>
            </p:cNvPr>
            <p:cNvSpPr/>
            <p:nvPr/>
          </p:nvSpPr>
          <p:spPr>
            <a:xfrm>
              <a:off x="1188825" y="5197040"/>
              <a:ext cx="4478" cy="76123"/>
            </a:xfrm>
            <a:custGeom>
              <a:avLst/>
              <a:gdLst>
                <a:gd name="connsiteX0" fmla="*/ 2239 w 4477"/>
                <a:gd name="connsiteY0" fmla="*/ 77466 h 76122"/>
                <a:gd name="connsiteX1" fmla="*/ 0 w 4477"/>
                <a:gd name="connsiteY1" fmla="*/ 75228 h 76122"/>
                <a:gd name="connsiteX2" fmla="*/ 0 w 4477"/>
                <a:gd name="connsiteY2" fmla="*/ 2239 h 76122"/>
                <a:gd name="connsiteX3" fmla="*/ 2239 w 4477"/>
                <a:gd name="connsiteY3" fmla="*/ 0 h 76122"/>
                <a:gd name="connsiteX4" fmla="*/ 4478 w 4477"/>
                <a:gd name="connsiteY4" fmla="*/ 2239 h 76122"/>
                <a:gd name="connsiteX5" fmla="*/ 4478 w 4477"/>
                <a:gd name="connsiteY5" fmla="*/ 75228 h 76122"/>
                <a:gd name="connsiteX6" fmla="*/ 2239 w 4477"/>
                <a:gd name="connsiteY6" fmla="*/ 77466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76122">
                  <a:moveTo>
                    <a:pt x="2239" y="77466"/>
                  </a:moveTo>
                  <a:cubicBezTo>
                    <a:pt x="896" y="77466"/>
                    <a:pt x="0" y="76571"/>
                    <a:pt x="0" y="75228"/>
                  </a:cubicBezTo>
                  <a:lnTo>
                    <a:pt x="0" y="2239"/>
                  </a:lnTo>
                  <a:cubicBezTo>
                    <a:pt x="0" y="896"/>
                    <a:pt x="896" y="0"/>
                    <a:pt x="2239" y="0"/>
                  </a:cubicBezTo>
                  <a:cubicBezTo>
                    <a:pt x="3582" y="0"/>
                    <a:pt x="4478" y="896"/>
                    <a:pt x="4478" y="2239"/>
                  </a:cubicBezTo>
                  <a:lnTo>
                    <a:pt x="4478" y="75228"/>
                  </a:lnTo>
                  <a:cubicBezTo>
                    <a:pt x="4478" y="76571"/>
                    <a:pt x="3582" y="77466"/>
                    <a:pt x="2239" y="77466"/>
                  </a:cubicBezTo>
                  <a:close/>
                </a:path>
              </a:pathLst>
            </a:custGeom>
            <a:solidFill>
              <a:srgbClr val="231F20"/>
            </a:solidFill>
            <a:ln w="4474" cap="flat">
              <a:noFill/>
              <a:prstDash val="solid"/>
              <a:miter/>
            </a:ln>
          </p:spPr>
          <p:txBody>
            <a:bodyPr rtlCol="0" anchor="ctr"/>
            <a:lstStyle/>
            <a:p>
              <a:endParaRPr lang="en-US"/>
            </a:p>
          </p:txBody>
        </p:sp>
        <p:sp>
          <p:nvSpPr>
            <p:cNvPr id="4683" name="Freeform: Shape 4682">
              <a:extLst>
                <a:ext uri="{FF2B5EF4-FFF2-40B4-BE49-F238E27FC236}">
                  <a16:creationId xmlns:a16="http://schemas.microsoft.com/office/drawing/2014/main" id="{36554364-CD27-47DB-969F-9D67023D687A}"/>
                </a:ext>
              </a:extLst>
            </p:cNvPr>
            <p:cNvSpPr/>
            <p:nvPr/>
          </p:nvSpPr>
          <p:spPr>
            <a:xfrm>
              <a:off x="1128374" y="5218366"/>
              <a:ext cx="125379" cy="120901"/>
            </a:xfrm>
            <a:custGeom>
              <a:avLst/>
              <a:gdLst>
                <a:gd name="connsiteX0" fmla="*/ 62689 w 125378"/>
                <a:gd name="connsiteY0" fmla="*/ 122860 h 120901"/>
                <a:gd name="connsiteX1" fmla="*/ 0 w 125378"/>
                <a:gd name="connsiteY1" fmla="*/ 60171 h 120901"/>
                <a:gd name="connsiteX2" fmla="*/ 45226 w 125378"/>
                <a:gd name="connsiteY2" fmla="*/ 168 h 120901"/>
                <a:gd name="connsiteX3" fmla="*/ 47913 w 125378"/>
                <a:gd name="connsiteY3" fmla="*/ 1511 h 120901"/>
                <a:gd name="connsiteX4" fmla="*/ 46569 w 125378"/>
                <a:gd name="connsiteY4" fmla="*/ 4198 h 120901"/>
                <a:gd name="connsiteX5" fmla="*/ 4478 w 125378"/>
                <a:gd name="connsiteY5" fmla="*/ 59723 h 120901"/>
                <a:gd name="connsiteX6" fmla="*/ 62689 w 125378"/>
                <a:gd name="connsiteY6" fmla="*/ 117935 h 120901"/>
                <a:gd name="connsiteX7" fmla="*/ 120901 w 125378"/>
                <a:gd name="connsiteY7" fmla="*/ 59723 h 120901"/>
                <a:gd name="connsiteX8" fmla="*/ 78810 w 125378"/>
                <a:gd name="connsiteY8" fmla="*/ 4198 h 120901"/>
                <a:gd name="connsiteX9" fmla="*/ 77466 w 125378"/>
                <a:gd name="connsiteY9" fmla="*/ 1511 h 120901"/>
                <a:gd name="connsiteX10" fmla="*/ 80153 w 125378"/>
                <a:gd name="connsiteY10" fmla="*/ 168 h 120901"/>
                <a:gd name="connsiteX11" fmla="*/ 125379 w 125378"/>
                <a:gd name="connsiteY11" fmla="*/ 60171 h 120901"/>
                <a:gd name="connsiteX12" fmla="*/ 62689 w 125378"/>
                <a:gd name="connsiteY12" fmla="*/ 12286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378" h="120901">
                  <a:moveTo>
                    <a:pt x="62689" y="122860"/>
                  </a:moveTo>
                  <a:cubicBezTo>
                    <a:pt x="28210" y="122860"/>
                    <a:pt x="0" y="94650"/>
                    <a:pt x="0" y="60171"/>
                  </a:cubicBezTo>
                  <a:cubicBezTo>
                    <a:pt x="0" y="31960"/>
                    <a:pt x="18359" y="7780"/>
                    <a:pt x="45226" y="168"/>
                  </a:cubicBezTo>
                  <a:cubicBezTo>
                    <a:pt x="46569" y="-280"/>
                    <a:pt x="47465" y="616"/>
                    <a:pt x="47913" y="1511"/>
                  </a:cubicBezTo>
                  <a:cubicBezTo>
                    <a:pt x="48360" y="2855"/>
                    <a:pt x="47465" y="3750"/>
                    <a:pt x="46569" y="4198"/>
                  </a:cubicBezTo>
                  <a:cubicBezTo>
                    <a:pt x="21494" y="11363"/>
                    <a:pt x="4478" y="33752"/>
                    <a:pt x="4478" y="59723"/>
                  </a:cubicBezTo>
                  <a:cubicBezTo>
                    <a:pt x="4478" y="91963"/>
                    <a:pt x="30449" y="117935"/>
                    <a:pt x="62689" y="117935"/>
                  </a:cubicBezTo>
                  <a:cubicBezTo>
                    <a:pt x="94930" y="117935"/>
                    <a:pt x="120901" y="91963"/>
                    <a:pt x="120901" y="59723"/>
                  </a:cubicBezTo>
                  <a:cubicBezTo>
                    <a:pt x="120901" y="33752"/>
                    <a:pt x="103885" y="11363"/>
                    <a:pt x="78810" y="4198"/>
                  </a:cubicBezTo>
                  <a:cubicBezTo>
                    <a:pt x="77466" y="3750"/>
                    <a:pt x="77018" y="2407"/>
                    <a:pt x="77466" y="1511"/>
                  </a:cubicBezTo>
                  <a:cubicBezTo>
                    <a:pt x="77914" y="168"/>
                    <a:pt x="79257" y="-280"/>
                    <a:pt x="80153" y="168"/>
                  </a:cubicBezTo>
                  <a:cubicBezTo>
                    <a:pt x="107468" y="7780"/>
                    <a:pt x="125379" y="31960"/>
                    <a:pt x="125379" y="60171"/>
                  </a:cubicBezTo>
                  <a:cubicBezTo>
                    <a:pt x="125379" y="95097"/>
                    <a:pt x="97169" y="122860"/>
                    <a:pt x="62689" y="122860"/>
                  </a:cubicBezTo>
                  <a:close/>
                </a:path>
              </a:pathLst>
            </a:custGeom>
            <a:solidFill>
              <a:srgbClr val="231F20"/>
            </a:solidFill>
            <a:ln w="4474" cap="flat">
              <a:noFill/>
              <a:prstDash val="solid"/>
              <a:miter/>
            </a:ln>
          </p:spPr>
          <p:txBody>
            <a:bodyPr rtlCol="0" anchor="ctr"/>
            <a:lstStyle/>
            <a:p>
              <a:endParaRPr lang="en-US"/>
            </a:p>
          </p:txBody>
        </p:sp>
      </p:grpSp>
      <p:sp>
        <p:nvSpPr>
          <p:cNvPr id="4684" name="Freeform: Shape 4683">
            <a:extLst>
              <a:ext uri="{FF2B5EF4-FFF2-40B4-BE49-F238E27FC236}">
                <a16:creationId xmlns:a16="http://schemas.microsoft.com/office/drawing/2014/main" id="{26215B0C-E2CB-45D5-AE1D-E61A0B9A7240}"/>
              </a:ext>
              <a:ext uri="{C183D7F6-B498-43B3-948B-1728B52AA6E4}">
                <adec:decorative xmlns:adec="http://schemas.microsoft.com/office/drawing/2017/decorative" val="1"/>
              </a:ext>
            </a:extLst>
          </p:cNvPr>
          <p:cNvSpPr>
            <a:spLocks noChangeAspect="1"/>
          </p:cNvSpPr>
          <p:nvPr/>
        </p:nvSpPr>
        <p:spPr>
          <a:xfrm>
            <a:off x="7168741" y="1745747"/>
            <a:ext cx="125379" cy="120901"/>
          </a:xfrm>
          <a:custGeom>
            <a:avLst/>
            <a:gdLst>
              <a:gd name="connsiteX0" fmla="*/ 62689 w 125378"/>
              <a:gd name="connsiteY0" fmla="*/ 122860 h 120901"/>
              <a:gd name="connsiteX1" fmla="*/ 0 w 125378"/>
              <a:gd name="connsiteY1" fmla="*/ 60171 h 120901"/>
              <a:gd name="connsiteX2" fmla="*/ 45226 w 125378"/>
              <a:gd name="connsiteY2" fmla="*/ 168 h 120901"/>
              <a:gd name="connsiteX3" fmla="*/ 47913 w 125378"/>
              <a:gd name="connsiteY3" fmla="*/ 1511 h 120901"/>
              <a:gd name="connsiteX4" fmla="*/ 46569 w 125378"/>
              <a:gd name="connsiteY4" fmla="*/ 4198 h 120901"/>
              <a:gd name="connsiteX5" fmla="*/ 4478 w 125378"/>
              <a:gd name="connsiteY5" fmla="*/ 59723 h 120901"/>
              <a:gd name="connsiteX6" fmla="*/ 62689 w 125378"/>
              <a:gd name="connsiteY6" fmla="*/ 117935 h 120901"/>
              <a:gd name="connsiteX7" fmla="*/ 120901 w 125378"/>
              <a:gd name="connsiteY7" fmla="*/ 59723 h 120901"/>
              <a:gd name="connsiteX8" fmla="*/ 78810 w 125378"/>
              <a:gd name="connsiteY8" fmla="*/ 4198 h 120901"/>
              <a:gd name="connsiteX9" fmla="*/ 77466 w 125378"/>
              <a:gd name="connsiteY9" fmla="*/ 1511 h 120901"/>
              <a:gd name="connsiteX10" fmla="*/ 80153 w 125378"/>
              <a:gd name="connsiteY10" fmla="*/ 168 h 120901"/>
              <a:gd name="connsiteX11" fmla="*/ 125379 w 125378"/>
              <a:gd name="connsiteY11" fmla="*/ 60171 h 120901"/>
              <a:gd name="connsiteX12" fmla="*/ 62689 w 125378"/>
              <a:gd name="connsiteY12" fmla="*/ 122860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378" h="120901">
                <a:moveTo>
                  <a:pt x="62689" y="122860"/>
                </a:moveTo>
                <a:cubicBezTo>
                  <a:pt x="28210" y="122860"/>
                  <a:pt x="0" y="94650"/>
                  <a:pt x="0" y="60171"/>
                </a:cubicBezTo>
                <a:cubicBezTo>
                  <a:pt x="0" y="31960"/>
                  <a:pt x="18359" y="7780"/>
                  <a:pt x="45226" y="168"/>
                </a:cubicBezTo>
                <a:cubicBezTo>
                  <a:pt x="46569" y="-280"/>
                  <a:pt x="47465" y="616"/>
                  <a:pt x="47913" y="1511"/>
                </a:cubicBezTo>
                <a:cubicBezTo>
                  <a:pt x="48360" y="2855"/>
                  <a:pt x="47465" y="3750"/>
                  <a:pt x="46569" y="4198"/>
                </a:cubicBezTo>
                <a:cubicBezTo>
                  <a:pt x="21493" y="11363"/>
                  <a:pt x="4478" y="33752"/>
                  <a:pt x="4478" y="59723"/>
                </a:cubicBezTo>
                <a:cubicBezTo>
                  <a:pt x="4478" y="91963"/>
                  <a:pt x="30449" y="117935"/>
                  <a:pt x="62689" y="117935"/>
                </a:cubicBezTo>
                <a:cubicBezTo>
                  <a:pt x="94930" y="117935"/>
                  <a:pt x="120901" y="91963"/>
                  <a:pt x="120901" y="59723"/>
                </a:cubicBezTo>
                <a:cubicBezTo>
                  <a:pt x="120901" y="33752"/>
                  <a:pt x="103885" y="11363"/>
                  <a:pt x="78810" y="4198"/>
                </a:cubicBezTo>
                <a:cubicBezTo>
                  <a:pt x="77466" y="3750"/>
                  <a:pt x="77018" y="2407"/>
                  <a:pt x="77466" y="1511"/>
                </a:cubicBezTo>
                <a:cubicBezTo>
                  <a:pt x="77914" y="168"/>
                  <a:pt x="79257" y="-280"/>
                  <a:pt x="80153" y="168"/>
                </a:cubicBezTo>
                <a:cubicBezTo>
                  <a:pt x="107468" y="7780"/>
                  <a:pt x="125379" y="31960"/>
                  <a:pt x="125379" y="60171"/>
                </a:cubicBezTo>
                <a:cubicBezTo>
                  <a:pt x="125379" y="95097"/>
                  <a:pt x="97169" y="122860"/>
                  <a:pt x="62689" y="122860"/>
                </a:cubicBezTo>
                <a:close/>
              </a:path>
            </a:pathLst>
          </a:custGeom>
          <a:solidFill>
            <a:srgbClr val="231F20"/>
          </a:solidFill>
          <a:ln w="4474" cap="flat">
            <a:noFill/>
            <a:prstDash val="solid"/>
            <a:miter/>
          </a:ln>
        </p:spPr>
        <p:txBody>
          <a:bodyPr rtlCol="0" anchor="ctr"/>
          <a:lstStyle/>
          <a:p>
            <a:endParaRPr lang="en-US"/>
          </a:p>
        </p:txBody>
      </p:sp>
      <p:sp>
        <p:nvSpPr>
          <p:cNvPr id="4685" name="Freeform: Shape 4684">
            <a:extLst>
              <a:ext uri="{FF2B5EF4-FFF2-40B4-BE49-F238E27FC236}">
                <a16:creationId xmlns:a16="http://schemas.microsoft.com/office/drawing/2014/main" id="{3CD9FF07-D3E3-4F13-A984-0C1EAFDF24FE}"/>
              </a:ext>
              <a:ext uri="{C183D7F6-B498-43B3-948B-1728B52AA6E4}">
                <adec:decorative xmlns:adec="http://schemas.microsoft.com/office/drawing/2017/decorative" val="1"/>
              </a:ext>
            </a:extLst>
          </p:cNvPr>
          <p:cNvSpPr>
            <a:spLocks noChangeAspect="1"/>
          </p:cNvSpPr>
          <p:nvPr/>
        </p:nvSpPr>
        <p:spPr>
          <a:xfrm>
            <a:off x="6625287" y="1763826"/>
            <a:ext cx="152246" cy="102990"/>
          </a:xfrm>
          <a:custGeom>
            <a:avLst/>
            <a:gdLst>
              <a:gd name="connsiteX0" fmla="*/ 152092 w 152245"/>
              <a:gd name="connsiteY0" fmla="*/ 46569 h 102989"/>
              <a:gd name="connsiteX1" fmla="*/ 126569 w 152245"/>
              <a:gd name="connsiteY1" fmla="*/ 1791 h 102989"/>
              <a:gd name="connsiteX2" fmla="*/ 124777 w 152245"/>
              <a:gd name="connsiteY2" fmla="*/ 448 h 102989"/>
              <a:gd name="connsiteX3" fmla="*/ 97015 w 152245"/>
              <a:gd name="connsiteY3" fmla="*/ 448 h 102989"/>
              <a:gd name="connsiteX4" fmla="*/ 88955 w 152245"/>
              <a:gd name="connsiteY4" fmla="*/ 1343 h 102989"/>
              <a:gd name="connsiteX5" fmla="*/ 74626 w 152245"/>
              <a:gd name="connsiteY5" fmla="*/ 6269 h 102989"/>
              <a:gd name="connsiteX6" fmla="*/ 72835 w 152245"/>
              <a:gd name="connsiteY6" fmla="*/ 4925 h 102989"/>
              <a:gd name="connsiteX7" fmla="*/ 72387 w 152245"/>
              <a:gd name="connsiteY7" fmla="*/ 4478 h 102989"/>
              <a:gd name="connsiteX8" fmla="*/ 67014 w 152245"/>
              <a:gd name="connsiteY8" fmla="*/ 1343 h 102989"/>
              <a:gd name="connsiteX9" fmla="*/ 58954 w 152245"/>
              <a:gd name="connsiteY9" fmla="*/ 0 h 102989"/>
              <a:gd name="connsiteX10" fmla="*/ 31191 w 152245"/>
              <a:gd name="connsiteY10" fmla="*/ 0 h 102989"/>
              <a:gd name="connsiteX11" fmla="*/ 29400 w 152245"/>
              <a:gd name="connsiteY11" fmla="*/ 895 h 102989"/>
              <a:gd name="connsiteX12" fmla="*/ 294 w 152245"/>
              <a:gd name="connsiteY12" fmla="*/ 46121 h 102989"/>
              <a:gd name="connsiteX13" fmla="*/ 742 w 152245"/>
              <a:gd name="connsiteY13" fmla="*/ 49256 h 102989"/>
              <a:gd name="connsiteX14" fmla="*/ 75521 w 152245"/>
              <a:gd name="connsiteY14" fmla="*/ 102542 h 102989"/>
              <a:gd name="connsiteX15" fmla="*/ 81343 w 152245"/>
              <a:gd name="connsiteY15" fmla="*/ 104333 h 102989"/>
              <a:gd name="connsiteX16" fmla="*/ 88507 w 152245"/>
              <a:gd name="connsiteY16" fmla="*/ 100751 h 102989"/>
              <a:gd name="connsiteX17" fmla="*/ 90298 w 152245"/>
              <a:gd name="connsiteY17" fmla="*/ 96273 h 102989"/>
              <a:gd name="connsiteX18" fmla="*/ 92537 w 152245"/>
              <a:gd name="connsiteY18" fmla="*/ 98064 h 102989"/>
              <a:gd name="connsiteX19" fmla="*/ 94776 w 152245"/>
              <a:gd name="connsiteY19" fmla="*/ 99855 h 102989"/>
              <a:gd name="connsiteX20" fmla="*/ 100597 w 152245"/>
              <a:gd name="connsiteY20" fmla="*/ 101646 h 102989"/>
              <a:gd name="connsiteX21" fmla="*/ 107762 w 152245"/>
              <a:gd name="connsiteY21" fmla="*/ 98064 h 102989"/>
              <a:gd name="connsiteX22" fmla="*/ 109553 w 152245"/>
              <a:gd name="connsiteY22" fmla="*/ 92243 h 102989"/>
              <a:gd name="connsiteX23" fmla="*/ 111792 w 152245"/>
              <a:gd name="connsiteY23" fmla="*/ 92691 h 102989"/>
              <a:gd name="connsiteX24" fmla="*/ 113135 w 152245"/>
              <a:gd name="connsiteY24" fmla="*/ 92691 h 102989"/>
              <a:gd name="connsiteX25" fmla="*/ 119404 w 152245"/>
              <a:gd name="connsiteY25" fmla="*/ 89108 h 102989"/>
              <a:gd name="connsiteX26" fmla="*/ 121195 w 152245"/>
              <a:gd name="connsiteY26" fmla="*/ 83287 h 102989"/>
              <a:gd name="connsiteX27" fmla="*/ 119404 w 152245"/>
              <a:gd name="connsiteY27" fmla="*/ 78362 h 102989"/>
              <a:gd name="connsiteX28" fmla="*/ 123882 w 152245"/>
              <a:gd name="connsiteY28" fmla="*/ 75227 h 102989"/>
              <a:gd name="connsiteX29" fmla="*/ 126121 w 152245"/>
              <a:gd name="connsiteY29" fmla="*/ 69406 h 102989"/>
              <a:gd name="connsiteX30" fmla="*/ 125225 w 152245"/>
              <a:gd name="connsiteY30" fmla="*/ 64480 h 102989"/>
              <a:gd name="connsiteX31" fmla="*/ 124777 w 152245"/>
              <a:gd name="connsiteY31" fmla="*/ 64033 h 102989"/>
              <a:gd name="connsiteX32" fmla="*/ 150749 w 152245"/>
              <a:gd name="connsiteY32" fmla="*/ 48808 h 102989"/>
              <a:gd name="connsiteX33" fmla="*/ 152092 w 152245"/>
              <a:gd name="connsiteY33" fmla="*/ 46569 h 102989"/>
              <a:gd name="connsiteX34" fmla="*/ 121195 w 152245"/>
              <a:gd name="connsiteY34" fmla="*/ 73436 h 102989"/>
              <a:gd name="connsiteX35" fmla="*/ 118061 w 152245"/>
              <a:gd name="connsiteY35" fmla="*/ 75227 h 102989"/>
              <a:gd name="connsiteX36" fmla="*/ 114479 w 152245"/>
              <a:gd name="connsiteY36" fmla="*/ 74332 h 102989"/>
              <a:gd name="connsiteX37" fmla="*/ 114479 w 152245"/>
              <a:gd name="connsiteY37" fmla="*/ 74332 h 102989"/>
              <a:gd name="connsiteX38" fmla="*/ 82686 w 152245"/>
              <a:gd name="connsiteY38" fmla="*/ 49256 h 102989"/>
              <a:gd name="connsiteX39" fmla="*/ 79552 w 152245"/>
              <a:gd name="connsiteY39" fmla="*/ 49704 h 102989"/>
              <a:gd name="connsiteX40" fmla="*/ 79999 w 152245"/>
              <a:gd name="connsiteY40" fmla="*/ 52838 h 102989"/>
              <a:gd name="connsiteX41" fmla="*/ 115822 w 152245"/>
              <a:gd name="connsiteY41" fmla="*/ 81048 h 102989"/>
              <a:gd name="connsiteX42" fmla="*/ 117613 w 152245"/>
              <a:gd name="connsiteY42" fmla="*/ 84631 h 102989"/>
              <a:gd name="connsiteX43" fmla="*/ 116717 w 152245"/>
              <a:gd name="connsiteY43" fmla="*/ 87765 h 102989"/>
              <a:gd name="connsiteX44" fmla="*/ 113583 w 152245"/>
              <a:gd name="connsiteY44" fmla="*/ 89556 h 102989"/>
              <a:gd name="connsiteX45" fmla="*/ 110001 w 152245"/>
              <a:gd name="connsiteY45" fmla="*/ 88661 h 102989"/>
              <a:gd name="connsiteX46" fmla="*/ 74178 w 152245"/>
              <a:gd name="connsiteY46" fmla="*/ 60451 h 102989"/>
              <a:gd name="connsiteX47" fmla="*/ 71044 w 152245"/>
              <a:gd name="connsiteY47" fmla="*/ 60898 h 102989"/>
              <a:gd name="connsiteX48" fmla="*/ 71491 w 152245"/>
              <a:gd name="connsiteY48" fmla="*/ 64033 h 102989"/>
              <a:gd name="connsiteX49" fmla="*/ 104180 w 152245"/>
              <a:gd name="connsiteY49" fmla="*/ 90004 h 102989"/>
              <a:gd name="connsiteX50" fmla="*/ 104180 w 152245"/>
              <a:gd name="connsiteY50" fmla="*/ 90004 h 102989"/>
              <a:gd name="connsiteX51" fmla="*/ 105971 w 152245"/>
              <a:gd name="connsiteY51" fmla="*/ 93586 h 102989"/>
              <a:gd name="connsiteX52" fmla="*/ 105075 w 152245"/>
              <a:gd name="connsiteY52" fmla="*/ 96721 h 102989"/>
              <a:gd name="connsiteX53" fmla="*/ 98358 w 152245"/>
              <a:gd name="connsiteY53" fmla="*/ 97616 h 102989"/>
              <a:gd name="connsiteX54" fmla="*/ 96119 w 152245"/>
              <a:gd name="connsiteY54" fmla="*/ 95825 h 102989"/>
              <a:gd name="connsiteX55" fmla="*/ 91194 w 152245"/>
              <a:gd name="connsiteY55" fmla="*/ 92243 h 102989"/>
              <a:gd name="connsiteX56" fmla="*/ 87612 w 152245"/>
              <a:gd name="connsiteY56" fmla="*/ 89556 h 102989"/>
              <a:gd name="connsiteX57" fmla="*/ 87612 w 152245"/>
              <a:gd name="connsiteY57" fmla="*/ 89556 h 102989"/>
              <a:gd name="connsiteX58" fmla="*/ 65670 w 152245"/>
              <a:gd name="connsiteY58" fmla="*/ 72093 h 102989"/>
              <a:gd name="connsiteX59" fmla="*/ 62536 w 152245"/>
              <a:gd name="connsiteY59" fmla="*/ 72540 h 102989"/>
              <a:gd name="connsiteX60" fmla="*/ 62984 w 152245"/>
              <a:gd name="connsiteY60" fmla="*/ 75675 h 102989"/>
              <a:gd name="connsiteX61" fmla="*/ 84925 w 152245"/>
              <a:gd name="connsiteY61" fmla="*/ 93139 h 102989"/>
              <a:gd name="connsiteX62" fmla="*/ 86716 w 152245"/>
              <a:gd name="connsiteY62" fmla="*/ 96721 h 102989"/>
              <a:gd name="connsiteX63" fmla="*/ 85820 w 152245"/>
              <a:gd name="connsiteY63" fmla="*/ 99855 h 102989"/>
              <a:gd name="connsiteX64" fmla="*/ 79104 w 152245"/>
              <a:gd name="connsiteY64" fmla="*/ 100751 h 102989"/>
              <a:gd name="connsiteX65" fmla="*/ 5220 w 152245"/>
              <a:gd name="connsiteY65" fmla="*/ 47465 h 102989"/>
              <a:gd name="connsiteX66" fmla="*/ 32534 w 152245"/>
              <a:gd name="connsiteY66" fmla="*/ 5373 h 102989"/>
              <a:gd name="connsiteX67" fmla="*/ 58954 w 152245"/>
              <a:gd name="connsiteY67" fmla="*/ 5373 h 102989"/>
              <a:gd name="connsiteX68" fmla="*/ 65223 w 152245"/>
              <a:gd name="connsiteY68" fmla="*/ 6269 h 102989"/>
              <a:gd name="connsiteX69" fmla="*/ 69700 w 152245"/>
              <a:gd name="connsiteY69" fmla="*/ 8956 h 102989"/>
              <a:gd name="connsiteX70" fmla="*/ 70596 w 152245"/>
              <a:gd name="connsiteY70" fmla="*/ 9851 h 102989"/>
              <a:gd name="connsiteX71" fmla="*/ 41042 w 152245"/>
              <a:gd name="connsiteY71" fmla="*/ 30449 h 102989"/>
              <a:gd name="connsiteX72" fmla="*/ 40595 w 152245"/>
              <a:gd name="connsiteY72" fmla="*/ 30449 h 102989"/>
              <a:gd name="connsiteX73" fmla="*/ 40595 w 152245"/>
              <a:gd name="connsiteY73" fmla="*/ 30449 h 102989"/>
              <a:gd name="connsiteX74" fmla="*/ 40595 w 152245"/>
              <a:gd name="connsiteY74" fmla="*/ 30449 h 102989"/>
              <a:gd name="connsiteX75" fmla="*/ 40595 w 152245"/>
              <a:gd name="connsiteY75" fmla="*/ 30449 h 102989"/>
              <a:gd name="connsiteX76" fmla="*/ 39699 w 152245"/>
              <a:gd name="connsiteY76" fmla="*/ 32240 h 102989"/>
              <a:gd name="connsiteX77" fmla="*/ 41042 w 152245"/>
              <a:gd name="connsiteY77" fmla="*/ 34031 h 102989"/>
              <a:gd name="connsiteX78" fmla="*/ 44625 w 152245"/>
              <a:gd name="connsiteY78" fmla="*/ 37166 h 102989"/>
              <a:gd name="connsiteX79" fmla="*/ 49550 w 152245"/>
              <a:gd name="connsiteY79" fmla="*/ 41196 h 102989"/>
              <a:gd name="connsiteX80" fmla="*/ 50446 w 152245"/>
              <a:gd name="connsiteY80" fmla="*/ 42091 h 102989"/>
              <a:gd name="connsiteX81" fmla="*/ 51789 w 152245"/>
              <a:gd name="connsiteY81" fmla="*/ 42539 h 102989"/>
              <a:gd name="connsiteX82" fmla="*/ 61640 w 152245"/>
              <a:gd name="connsiteY82" fmla="*/ 44330 h 102989"/>
              <a:gd name="connsiteX83" fmla="*/ 62984 w 152245"/>
              <a:gd name="connsiteY83" fmla="*/ 43883 h 102989"/>
              <a:gd name="connsiteX84" fmla="*/ 62984 w 152245"/>
              <a:gd name="connsiteY84" fmla="*/ 43883 h 102989"/>
              <a:gd name="connsiteX85" fmla="*/ 64775 w 152245"/>
              <a:gd name="connsiteY85" fmla="*/ 43435 h 102989"/>
              <a:gd name="connsiteX86" fmla="*/ 65223 w 152245"/>
              <a:gd name="connsiteY86" fmla="*/ 43435 h 102989"/>
              <a:gd name="connsiteX87" fmla="*/ 66118 w 152245"/>
              <a:gd name="connsiteY87" fmla="*/ 42987 h 102989"/>
              <a:gd name="connsiteX88" fmla="*/ 67014 w 152245"/>
              <a:gd name="connsiteY88" fmla="*/ 42539 h 102989"/>
              <a:gd name="connsiteX89" fmla="*/ 70148 w 152245"/>
              <a:gd name="connsiteY89" fmla="*/ 40748 h 102989"/>
              <a:gd name="connsiteX90" fmla="*/ 77313 w 152245"/>
              <a:gd name="connsiteY90" fmla="*/ 36270 h 102989"/>
              <a:gd name="connsiteX91" fmla="*/ 81790 w 152245"/>
              <a:gd name="connsiteY91" fmla="*/ 33584 h 102989"/>
              <a:gd name="connsiteX92" fmla="*/ 81790 w 152245"/>
              <a:gd name="connsiteY92" fmla="*/ 33584 h 102989"/>
              <a:gd name="connsiteX93" fmla="*/ 81790 w 152245"/>
              <a:gd name="connsiteY93" fmla="*/ 33584 h 102989"/>
              <a:gd name="connsiteX94" fmla="*/ 82686 w 152245"/>
              <a:gd name="connsiteY94" fmla="*/ 33136 h 102989"/>
              <a:gd name="connsiteX95" fmla="*/ 82686 w 152245"/>
              <a:gd name="connsiteY95" fmla="*/ 33136 h 102989"/>
              <a:gd name="connsiteX96" fmla="*/ 82686 w 152245"/>
              <a:gd name="connsiteY96" fmla="*/ 33136 h 102989"/>
              <a:gd name="connsiteX97" fmla="*/ 121195 w 152245"/>
              <a:gd name="connsiteY97" fmla="*/ 68063 h 102989"/>
              <a:gd name="connsiteX98" fmla="*/ 122091 w 152245"/>
              <a:gd name="connsiteY98" fmla="*/ 71197 h 102989"/>
              <a:gd name="connsiteX99" fmla="*/ 121195 w 152245"/>
              <a:gd name="connsiteY99" fmla="*/ 73436 h 102989"/>
              <a:gd name="connsiteX100" fmla="*/ 122091 w 152245"/>
              <a:gd name="connsiteY100" fmla="*/ 61794 h 102989"/>
              <a:gd name="connsiteX101" fmla="*/ 97015 w 152245"/>
              <a:gd name="connsiteY101" fmla="*/ 38957 h 102989"/>
              <a:gd name="connsiteX102" fmla="*/ 85820 w 152245"/>
              <a:gd name="connsiteY102" fmla="*/ 29106 h 102989"/>
              <a:gd name="connsiteX103" fmla="*/ 85820 w 152245"/>
              <a:gd name="connsiteY103" fmla="*/ 29106 h 102989"/>
              <a:gd name="connsiteX104" fmla="*/ 85820 w 152245"/>
              <a:gd name="connsiteY104" fmla="*/ 29106 h 102989"/>
              <a:gd name="connsiteX105" fmla="*/ 85820 w 152245"/>
              <a:gd name="connsiteY105" fmla="*/ 29106 h 102989"/>
              <a:gd name="connsiteX106" fmla="*/ 83134 w 152245"/>
              <a:gd name="connsiteY106" fmla="*/ 28210 h 102989"/>
              <a:gd name="connsiteX107" fmla="*/ 82686 w 152245"/>
              <a:gd name="connsiteY107" fmla="*/ 28210 h 102989"/>
              <a:gd name="connsiteX108" fmla="*/ 82238 w 152245"/>
              <a:gd name="connsiteY108" fmla="*/ 28210 h 102989"/>
              <a:gd name="connsiteX109" fmla="*/ 81343 w 152245"/>
              <a:gd name="connsiteY109" fmla="*/ 28210 h 102989"/>
              <a:gd name="connsiteX110" fmla="*/ 80895 w 152245"/>
              <a:gd name="connsiteY110" fmla="*/ 28658 h 102989"/>
              <a:gd name="connsiteX111" fmla="*/ 79552 w 152245"/>
              <a:gd name="connsiteY111" fmla="*/ 29106 h 102989"/>
              <a:gd name="connsiteX112" fmla="*/ 79552 w 152245"/>
              <a:gd name="connsiteY112" fmla="*/ 29106 h 102989"/>
              <a:gd name="connsiteX113" fmla="*/ 79552 w 152245"/>
              <a:gd name="connsiteY113" fmla="*/ 29106 h 102989"/>
              <a:gd name="connsiteX114" fmla="*/ 79552 w 152245"/>
              <a:gd name="connsiteY114" fmla="*/ 29106 h 102989"/>
              <a:gd name="connsiteX115" fmla="*/ 73283 w 152245"/>
              <a:gd name="connsiteY115" fmla="*/ 32688 h 102989"/>
              <a:gd name="connsiteX116" fmla="*/ 67461 w 152245"/>
              <a:gd name="connsiteY116" fmla="*/ 36270 h 102989"/>
              <a:gd name="connsiteX117" fmla="*/ 66118 w 152245"/>
              <a:gd name="connsiteY117" fmla="*/ 37166 h 102989"/>
              <a:gd name="connsiteX118" fmla="*/ 65223 w 152245"/>
              <a:gd name="connsiteY118" fmla="*/ 37614 h 102989"/>
              <a:gd name="connsiteX119" fmla="*/ 64327 w 152245"/>
              <a:gd name="connsiteY119" fmla="*/ 38061 h 102989"/>
              <a:gd name="connsiteX120" fmla="*/ 59849 w 152245"/>
              <a:gd name="connsiteY120" fmla="*/ 39405 h 102989"/>
              <a:gd name="connsiteX121" fmla="*/ 59849 w 152245"/>
              <a:gd name="connsiteY121" fmla="*/ 39405 h 102989"/>
              <a:gd name="connsiteX122" fmla="*/ 58954 w 152245"/>
              <a:gd name="connsiteY122" fmla="*/ 39405 h 102989"/>
              <a:gd name="connsiteX123" fmla="*/ 57610 w 152245"/>
              <a:gd name="connsiteY123" fmla="*/ 39405 h 102989"/>
              <a:gd name="connsiteX124" fmla="*/ 56715 w 152245"/>
              <a:gd name="connsiteY124" fmla="*/ 39405 h 102989"/>
              <a:gd name="connsiteX125" fmla="*/ 55819 w 152245"/>
              <a:gd name="connsiteY125" fmla="*/ 38957 h 102989"/>
              <a:gd name="connsiteX126" fmla="*/ 54476 w 152245"/>
              <a:gd name="connsiteY126" fmla="*/ 38509 h 102989"/>
              <a:gd name="connsiteX127" fmla="*/ 51341 w 152245"/>
              <a:gd name="connsiteY127" fmla="*/ 36718 h 102989"/>
              <a:gd name="connsiteX128" fmla="*/ 47759 w 152245"/>
              <a:gd name="connsiteY128" fmla="*/ 33584 h 102989"/>
              <a:gd name="connsiteX129" fmla="*/ 46416 w 152245"/>
              <a:gd name="connsiteY129" fmla="*/ 32240 h 102989"/>
              <a:gd name="connsiteX130" fmla="*/ 75969 w 152245"/>
              <a:gd name="connsiteY130" fmla="*/ 11642 h 102989"/>
              <a:gd name="connsiteX131" fmla="*/ 76417 w 152245"/>
              <a:gd name="connsiteY131" fmla="*/ 10747 h 102989"/>
              <a:gd name="connsiteX132" fmla="*/ 76417 w 152245"/>
              <a:gd name="connsiteY132" fmla="*/ 10747 h 102989"/>
              <a:gd name="connsiteX133" fmla="*/ 89403 w 152245"/>
              <a:gd name="connsiteY133" fmla="*/ 6269 h 102989"/>
              <a:gd name="connsiteX134" fmla="*/ 96567 w 152245"/>
              <a:gd name="connsiteY134" fmla="*/ 5373 h 102989"/>
              <a:gd name="connsiteX135" fmla="*/ 122986 w 152245"/>
              <a:gd name="connsiteY135" fmla="*/ 5373 h 102989"/>
              <a:gd name="connsiteX136" fmla="*/ 146719 w 152245"/>
              <a:gd name="connsiteY136" fmla="*/ 47017 h 102989"/>
              <a:gd name="connsiteX137" fmla="*/ 122091 w 152245"/>
              <a:gd name="connsiteY137" fmla="*/ 61794 h 10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52245" h="102989">
                <a:moveTo>
                  <a:pt x="152092" y="46569"/>
                </a:moveTo>
                <a:lnTo>
                  <a:pt x="126569" y="1791"/>
                </a:lnTo>
                <a:cubicBezTo>
                  <a:pt x="126121" y="895"/>
                  <a:pt x="125225" y="448"/>
                  <a:pt x="124777" y="448"/>
                </a:cubicBezTo>
                <a:lnTo>
                  <a:pt x="97015" y="448"/>
                </a:lnTo>
                <a:cubicBezTo>
                  <a:pt x="94328" y="448"/>
                  <a:pt x="91642" y="895"/>
                  <a:pt x="88955" y="1343"/>
                </a:cubicBezTo>
                <a:cubicBezTo>
                  <a:pt x="85373" y="2239"/>
                  <a:pt x="77760" y="4478"/>
                  <a:pt x="74626" y="6269"/>
                </a:cubicBezTo>
                <a:lnTo>
                  <a:pt x="72835" y="4925"/>
                </a:lnTo>
                <a:lnTo>
                  <a:pt x="72387" y="4478"/>
                </a:lnTo>
                <a:cubicBezTo>
                  <a:pt x="70596" y="3134"/>
                  <a:pt x="69253" y="2239"/>
                  <a:pt x="67014" y="1343"/>
                </a:cubicBezTo>
                <a:cubicBezTo>
                  <a:pt x="64327" y="448"/>
                  <a:pt x="61640" y="0"/>
                  <a:pt x="58954" y="0"/>
                </a:cubicBezTo>
                <a:lnTo>
                  <a:pt x="31191" y="0"/>
                </a:lnTo>
                <a:cubicBezTo>
                  <a:pt x="30296" y="0"/>
                  <a:pt x="29848" y="448"/>
                  <a:pt x="29400" y="895"/>
                </a:cubicBezTo>
                <a:lnTo>
                  <a:pt x="294" y="46121"/>
                </a:lnTo>
                <a:cubicBezTo>
                  <a:pt x="-154" y="47017"/>
                  <a:pt x="-154" y="48360"/>
                  <a:pt x="742" y="49256"/>
                </a:cubicBezTo>
                <a:lnTo>
                  <a:pt x="75521" y="102542"/>
                </a:lnTo>
                <a:cubicBezTo>
                  <a:pt x="77313" y="103885"/>
                  <a:pt x="79104" y="104333"/>
                  <a:pt x="81343" y="104333"/>
                </a:cubicBezTo>
                <a:cubicBezTo>
                  <a:pt x="84029" y="104333"/>
                  <a:pt x="86716" y="102990"/>
                  <a:pt x="88507" y="100751"/>
                </a:cubicBezTo>
                <a:cubicBezTo>
                  <a:pt x="89403" y="99407"/>
                  <a:pt x="90298" y="97616"/>
                  <a:pt x="90298" y="96273"/>
                </a:cubicBezTo>
                <a:cubicBezTo>
                  <a:pt x="91642" y="97168"/>
                  <a:pt x="92537" y="98064"/>
                  <a:pt x="92537" y="98064"/>
                </a:cubicBezTo>
                <a:lnTo>
                  <a:pt x="94776" y="99855"/>
                </a:lnTo>
                <a:cubicBezTo>
                  <a:pt x="96567" y="101199"/>
                  <a:pt x="98358" y="101646"/>
                  <a:pt x="100597" y="101646"/>
                </a:cubicBezTo>
                <a:cubicBezTo>
                  <a:pt x="103284" y="101646"/>
                  <a:pt x="105971" y="100303"/>
                  <a:pt x="107762" y="98064"/>
                </a:cubicBezTo>
                <a:cubicBezTo>
                  <a:pt x="109105" y="96273"/>
                  <a:pt x="109553" y="94482"/>
                  <a:pt x="109553" y="92243"/>
                </a:cubicBezTo>
                <a:cubicBezTo>
                  <a:pt x="110448" y="92243"/>
                  <a:pt x="110896" y="92691"/>
                  <a:pt x="111792" y="92691"/>
                </a:cubicBezTo>
                <a:cubicBezTo>
                  <a:pt x="112240" y="92691"/>
                  <a:pt x="112687" y="92691"/>
                  <a:pt x="113135" y="92691"/>
                </a:cubicBezTo>
                <a:cubicBezTo>
                  <a:pt x="115374" y="92243"/>
                  <a:pt x="117613" y="91347"/>
                  <a:pt x="119404" y="89108"/>
                </a:cubicBezTo>
                <a:cubicBezTo>
                  <a:pt x="120747" y="87317"/>
                  <a:pt x="121195" y="85526"/>
                  <a:pt x="121195" y="83287"/>
                </a:cubicBezTo>
                <a:cubicBezTo>
                  <a:pt x="121195" y="81496"/>
                  <a:pt x="120747" y="79705"/>
                  <a:pt x="119404" y="78362"/>
                </a:cubicBezTo>
                <a:cubicBezTo>
                  <a:pt x="121195" y="77914"/>
                  <a:pt x="122986" y="76571"/>
                  <a:pt x="123882" y="75227"/>
                </a:cubicBezTo>
                <a:cubicBezTo>
                  <a:pt x="125225" y="73436"/>
                  <a:pt x="126121" y="71645"/>
                  <a:pt x="126121" y="69406"/>
                </a:cubicBezTo>
                <a:cubicBezTo>
                  <a:pt x="126121" y="67167"/>
                  <a:pt x="125225" y="65376"/>
                  <a:pt x="125225" y="64480"/>
                </a:cubicBezTo>
                <a:cubicBezTo>
                  <a:pt x="125225" y="64480"/>
                  <a:pt x="125225" y="64033"/>
                  <a:pt x="124777" y="64033"/>
                </a:cubicBezTo>
                <a:lnTo>
                  <a:pt x="150749" y="48808"/>
                </a:lnTo>
                <a:cubicBezTo>
                  <a:pt x="152092" y="49256"/>
                  <a:pt x="152540" y="47912"/>
                  <a:pt x="152092" y="46569"/>
                </a:cubicBezTo>
                <a:close/>
                <a:moveTo>
                  <a:pt x="121195" y="73436"/>
                </a:moveTo>
                <a:cubicBezTo>
                  <a:pt x="120300" y="74332"/>
                  <a:pt x="119404" y="75227"/>
                  <a:pt x="118061" y="75227"/>
                </a:cubicBezTo>
                <a:cubicBezTo>
                  <a:pt x="116717" y="75227"/>
                  <a:pt x="115374" y="75227"/>
                  <a:pt x="114479" y="74332"/>
                </a:cubicBezTo>
                <a:cubicBezTo>
                  <a:pt x="114479" y="74332"/>
                  <a:pt x="114479" y="74332"/>
                  <a:pt x="114479" y="74332"/>
                </a:cubicBezTo>
                <a:lnTo>
                  <a:pt x="82686" y="49256"/>
                </a:lnTo>
                <a:cubicBezTo>
                  <a:pt x="81790" y="48360"/>
                  <a:pt x="80447" y="48808"/>
                  <a:pt x="79552" y="49704"/>
                </a:cubicBezTo>
                <a:cubicBezTo>
                  <a:pt x="78656" y="50599"/>
                  <a:pt x="79104" y="51943"/>
                  <a:pt x="79999" y="52838"/>
                </a:cubicBezTo>
                <a:lnTo>
                  <a:pt x="115822" y="81048"/>
                </a:lnTo>
                <a:cubicBezTo>
                  <a:pt x="117165" y="81944"/>
                  <a:pt x="117613" y="83287"/>
                  <a:pt x="117613" y="84631"/>
                </a:cubicBezTo>
                <a:cubicBezTo>
                  <a:pt x="117613" y="85526"/>
                  <a:pt x="117165" y="86869"/>
                  <a:pt x="116717" y="87765"/>
                </a:cubicBezTo>
                <a:cubicBezTo>
                  <a:pt x="115822" y="88661"/>
                  <a:pt x="114926" y="89556"/>
                  <a:pt x="113583" y="89556"/>
                </a:cubicBezTo>
                <a:cubicBezTo>
                  <a:pt x="112240" y="89556"/>
                  <a:pt x="110896" y="89556"/>
                  <a:pt x="110001" y="88661"/>
                </a:cubicBezTo>
                <a:lnTo>
                  <a:pt x="74178" y="60451"/>
                </a:lnTo>
                <a:cubicBezTo>
                  <a:pt x="73283" y="59555"/>
                  <a:pt x="71939" y="60003"/>
                  <a:pt x="71044" y="60898"/>
                </a:cubicBezTo>
                <a:cubicBezTo>
                  <a:pt x="70148" y="61794"/>
                  <a:pt x="70596" y="63137"/>
                  <a:pt x="71491" y="64033"/>
                </a:cubicBezTo>
                <a:lnTo>
                  <a:pt x="104180" y="90004"/>
                </a:lnTo>
                <a:cubicBezTo>
                  <a:pt x="104180" y="90004"/>
                  <a:pt x="104180" y="90004"/>
                  <a:pt x="104180" y="90004"/>
                </a:cubicBezTo>
                <a:cubicBezTo>
                  <a:pt x="105523" y="90900"/>
                  <a:pt x="105971" y="92243"/>
                  <a:pt x="105971" y="93586"/>
                </a:cubicBezTo>
                <a:cubicBezTo>
                  <a:pt x="105971" y="94482"/>
                  <a:pt x="105971" y="95377"/>
                  <a:pt x="105075" y="96721"/>
                </a:cubicBezTo>
                <a:cubicBezTo>
                  <a:pt x="103284" y="98960"/>
                  <a:pt x="100597" y="98960"/>
                  <a:pt x="98358" y="97616"/>
                </a:cubicBezTo>
                <a:lnTo>
                  <a:pt x="96119" y="95825"/>
                </a:lnTo>
                <a:cubicBezTo>
                  <a:pt x="96119" y="95825"/>
                  <a:pt x="96119" y="95825"/>
                  <a:pt x="91194" y="92243"/>
                </a:cubicBezTo>
                <a:cubicBezTo>
                  <a:pt x="89403" y="90900"/>
                  <a:pt x="87612" y="89556"/>
                  <a:pt x="87612" y="89556"/>
                </a:cubicBezTo>
                <a:cubicBezTo>
                  <a:pt x="87612" y="89556"/>
                  <a:pt x="87612" y="89556"/>
                  <a:pt x="87612" y="89556"/>
                </a:cubicBezTo>
                <a:lnTo>
                  <a:pt x="65670" y="72093"/>
                </a:lnTo>
                <a:cubicBezTo>
                  <a:pt x="64775" y="71197"/>
                  <a:pt x="63431" y="71645"/>
                  <a:pt x="62536" y="72540"/>
                </a:cubicBezTo>
                <a:cubicBezTo>
                  <a:pt x="61640" y="73436"/>
                  <a:pt x="62088" y="74779"/>
                  <a:pt x="62984" y="75675"/>
                </a:cubicBezTo>
                <a:lnTo>
                  <a:pt x="84925" y="93139"/>
                </a:lnTo>
                <a:cubicBezTo>
                  <a:pt x="85820" y="94034"/>
                  <a:pt x="86716" y="95377"/>
                  <a:pt x="86716" y="96721"/>
                </a:cubicBezTo>
                <a:cubicBezTo>
                  <a:pt x="86716" y="97616"/>
                  <a:pt x="86268" y="98960"/>
                  <a:pt x="85820" y="99855"/>
                </a:cubicBezTo>
                <a:cubicBezTo>
                  <a:pt x="84029" y="102094"/>
                  <a:pt x="81343" y="102094"/>
                  <a:pt x="79104" y="100751"/>
                </a:cubicBezTo>
                <a:lnTo>
                  <a:pt x="5220" y="47465"/>
                </a:lnTo>
                <a:lnTo>
                  <a:pt x="32534" y="5373"/>
                </a:lnTo>
                <a:lnTo>
                  <a:pt x="58954" y="5373"/>
                </a:lnTo>
                <a:cubicBezTo>
                  <a:pt x="61192" y="5373"/>
                  <a:pt x="63431" y="5373"/>
                  <a:pt x="65223" y="6269"/>
                </a:cubicBezTo>
                <a:cubicBezTo>
                  <a:pt x="67014" y="6717"/>
                  <a:pt x="67909" y="7612"/>
                  <a:pt x="69700" y="8956"/>
                </a:cubicBezTo>
                <a:lnTo>
                  <a:pt x="70596" y="9851"/>
                </a:lnTo>
                <a:cubicBezTo>
                  <a:pt x="47311" y="26419"/>
                  <a:pt x="42386" y="29553"/>
                  <a:pt x="41042" y="30449"/>
                </a:cubicBezTo>
                <a:lnTo>
                  <a:pt x="40595" y="30449"/>
                </a:lnTo>
                <a:cubicBezTo>
                  <a:pt x="40595" y="30449"/>
                  <a:pt x="40595" y="30449"/>
                  <a:pt x="40595" y="30449"/>
                </a:cubicBezTo>
                <a:cubicBezTo>
                  <a:pt x="40595" y="30449"/>
                  <a:pt x="40595" y="30449"/>
                  <a:pt x="40595" y="30449"/>
                </a:cubicBezTo>
                <a:cubicBezTo>
                  <a:pt x="40595" y="30449"/>
                  <a:pt x="40595" y="30449"/>
                  <a:pt x="40595" y="30449"/>
                </a:cubicBezTo>
                <a:cubicBezTo>
                  <a:pt x="40147" y="30897"/>
                  <a:pt x="39699" y="31792"/>
                  <a:pt x="39699" y="32240"/>
                </a:cubicBezTo>
                <a:cubicBezTo>
                  <a:pt x="39699" y="33136"/>
                  <a:pt x="40147" y="33584"/>
                  <a:pt x="41042" y="34031"/>
                </a:cubicBezTo>
                <a:cubicBezTo>
                  <a:pt x="41938" y="34927"/>
                  <a:pt x="43281" y="36270"/>
                  <a:pt x="44625" y="37166"/>
                </a:cubicBezTo>
                <a:cubicBezTo>
                  <a:pt x="45968" y="38509"/>
                  <a:pt x="47759" y="39852"/>
                  <a:pt x="49550" y="41196"/>
                </a:cubicBezTo>
                <a:cubicBezTo>
                  <a:pt x="49998" y="41644"/>
                  <a:pt x="50446" y="42091"/>
                  <a:pt x="50446" y="42091"/>
                </a:cubicBezTo>
                <a:cubicBezTo>
                  <a:pt x="50893" y="42091"/>
                  <a:pt x="51341" y="42539"/>
                  <a:pt x="51789" y="42539"/>
                </a:cubicBezTo>
                <a:cubicBezTo>
                  <a:pt x="54924" y="43883"/>
                  <a:pt x="58058" y="44778"/>
                  <a:pt x="61640" y="44330"/>
                </a:cubicBezTo>
                <a:cubicBezTo>
                  <a:pt x="62088" y="44330"/>
                  <a:pt x="62536" y="44330"/>
                  <a:pt x="62984" y="43883"/>
                </a:cubicBezTo>
                <a:cubicBezTo>
                  <a:pt x="62984" y="43883"/>
                  <a:pt x="62984" y="43883"/>
                  <a:pt x="62984" y="43883"/>
                </a:cubicBezTo>
                <a:cubicBezTo>
                  <a:pt x="63431" y="43883"/>
                  <a:pt x="64327" y="43435"/>
                  <a:pt x="64775" y="43435"/>
                </a:cubicBezTo>
                <a:cubicBezTo>
                  <a:pt x="64775" y="43435"/>
                  <a:pt x="65223" y="43435"/>
                  <a:pt x="65223" y="43435"/>
                </a:cubicBezTo>
                <a:cubicBezTo>
                  <a:pt x="65670" y="43435"/>
                  <a:pt x="65670" y="42987"/>
                  <a:pt x="66118" y="42987"/>
                </a:cubicBezTo>
                <a:cubicBezTo>
                  <a:pt x="66566" y="42987"/>
                  <a:pt x="66566" y="42539"/>
                  <a:pt x="67014" y="42539"/>
                </a:cubicBezTo>
                <a:cubicBezTo>
                  <a:pt x="67909" y="42091"/>
                  <a:pt x="69253" y="41196"/>
                  <a:pt x="70148" y="40748"/>
                </a:cubicBezTo>
                <a:cubicBezTo>
                  <a:pt x="72835" y="39405"/>
                  <a:pt x="75074" y="37614"/>
                  <a:pt x="77313" y="36270"/>
                </a:cubicBezTo>
                <a:lnTo>
                  <a:pt x="81790" y="33584"/>
                </a:lnTo>
                <a:lnTo>
                  <a:pt x="81790" y="33584"/>
                </a:lnTo>
                <a:cubicBezTo>
                  <a:pt x="81790" y="33584"/>
                  <a:pt x="81790" y="33584"/>
                  <a:pt x="81790" y="33584"/>
                </a:cubicBezTo>
                <a:cubicBezTo>
                  <a:pt x="81790" y="33584"/>
                  <a:pt x="82238" y="33136"/>
                  <a:pt x="82686" y="33136"/>
                </a:cubicBezTo>
                <a:cubicBezTo>
                  <a:pt x="82686" y="33136"/>
                  <a:pt x="82686" y="33136"/>
                  <a:pt x="82686" y="33136"/>
                </a:cubicBezTo>
                <a:cubicBezTo>
                  <a:pt x="82686" y="33136"/>
                  <a:pt x="82686" y="33136"/>
                  <a:pt x="82686" y="33136"/>
                </a:cubicBezTo>
                <a:lnTo>
                  <a:pt x="121195" y="68063"/>
                </a:lnTo>
                <a:cubicBezTo>
                  <a:pt x="121643" y="68958"/>
                  <a:pt x="122091" y="69854"/>
                  <a:pt x="122091" y="71197"/>
                </a:cubicBezTo>
                <a:cubicBezTo>
                  <a:pt x="122539" y="71645"/>
                  <a:pt x="122091" y="72540"/>
                  <a:pt x="121195" y="73436"/>
                </a:cubicBezTo>
                <a:close/>
                <a:moveTo>
                  <a:pt x="122091" y="61794"/>
                </a:moveTo>
                <a:cubicBezTo>
                  <a:pt x="118061" y="58212"/>
                  <a:pt x="106866" y="47912"/>
                  <a:pt x="97015" y="38957"/>
                </a:cubicBezTo>
                <a:lnTo>
                  <a:pt x="85820" y="29106"/>
                </a:lnTo>
                <a:cubicBezTo>
                  <a:pt x="85820" y="29106"/>
                  <a:pt x="85820" y="29106"/>
                  <a:pt x="85820" y="29106"/>
                </a:cubicBezTo>
                <a:cubicBezTo>
                  <a:pt x="85820" y="29106"/>
                  <a:pt x="85820" y="29106"/>
                  <a:pt x="85820" y="29106"/>
                </a:cubicBezTo>
                <a:cubicBezTo>
                  <a:pt x="85820" y="29106"/>
                  <a:pt x="85820" y="29106"/>
                  <a:pt x="85820" y="29106"/>
                </a:cubicBezTo>
                <a:cubicBezTo>
                  <a:pt x="84925" y="28658"/>
                  <a:pt x="84029" y="28210"/>
                  <a:pt x="83134" y="28210"/>
                </a:cubicBezTo>
                <a:cubicBezTo>
                  <a:pt x="83134" y="28210"/>
                  <a:pt x="83134" y="28210"/>
                  <a:pt x="82686" y="28210"/>
                </a:cubicBezTo>
                <a:cubicBezTo>
                  <a:pt x="82686" y="28210"/>
                  <a:pt x="82238" y="28210"/>
                  <a:pt x="82238" y="28210"/>
                </a:cubicBezTo>
                <a:cubicBezTo>
                  <a:pt x="81790" y="28210"/>
                  <a:pt x="81790" y="28210"/>
                  <a:pt x="81343" y="28210"/>
                </a:cubicBezTo>
                <a:cubicBezTo>
                  <a:pt x="81343" y="28210"/>
                  <a:pt x="80895" y="28210"/>
                  <a:pt x="80895" y="28658"/>
                </a:cubicBezTo>
                <a:cubicBezTo>
                  <a:pt x="80447" y="28658"/>
                  <a:pt x="79999" y="29106"/>
                  <a:pt x="79552" y="29106"/>
                </a:cubicBezTo>
                <a:cubicBezTo>
                  <a:pt x="79552" y="29106"/>
                  <a:pt x="79552" y="29106"/>
                  <a:pt x="79552" y="29106"/>
                </a:cubicBezTo>
                <a:cubicBezTo>
                  <a:pt x="79552" y="29106"/>
                  <a:pt x="79552" y="29106"/>
                  <a:pt x="79552" y="29106"/>
                </a:cubicBezTo>
                <a:lnTo>
                  <a:pt x="79552" y="29106"/>
                </a:lnTo>
                <a:cubicBezTo>
                  <a:pt x="77760" y="30449"/>
                  <a:pt x="75969" y="31345"/>
                  <a:pt x="73283" y="32688"/>
                </a:cubicBezTo>
                <a:cubicBezTo>
                  <a:pt x="71939" y="33584"/>
                  <a:pt x="69700" y="34927"/>
                  <a:pt x="67461" y="36270"/>
                </a:cubicBezTo>
                <a:cubicBezTo>
                  <a:pt x="67014" y="36718"/>
                  <a:pt x="66566" y="36718"/>
                  <a:pt x="66118" y="37166"/>
                </a:cubicBezTo>
                <a:lnTo>
                  <a:pt x="65223" y="37614"/>
                </a:lnTo>
                <a:cubicBezTo>
                  <a:pt x="64775" y="37614"/>
                  <a:pt x="64775" y="38061"/>
                  <a:pt x="64327" y="38061"/>
                </a:cubicBezTo>
                <a:cubicBezTo>
                  <a:pt x="62984" y="38957"/>
                  <a:pt x="61192" y="39405"/>
                  <a:pt x="59849" y="39405"/>
                </a:cubicBezTo>
                <a:cubicBezTo>
                  <a:pt x="59849" y="39405"/>
                  <a:pt x="59849" y="39405"/>
                  <a:pt x="59849" y="39405"/>
                </a:cubicBezTo>
                <a:cubicBezTo>
                  <a:pt x="59401" y="39405"/>
                  <a:pt x="59401" y="39405"/>
                  <a:pt x="58954" y="39405"/>
                </a:cubicBezTo>
                <a:cubicBezTo>
                  <a:pt x="58506" y="39405"/>
                  <a:pt x="58058" y="39405"/>
                  <a:pt x="57610" y="39405"/>
                </a:cubicBezTo>
                <a:cubicBezTo>
                  <a:pt x="57162" y="39405"/>
                  <a:pt x="57162" y="39405"/>
                  <a:pt x="56715" y="39405"/>
                </a:cubicBezTo>
                <a:cubicBezTo>
                  <a:pt x="56267" y="39405"/>
                  <a:pt x="55819" y="39405"/>
                  <a:pt x="55819" y="38957"/>
                </a:cubicBezTo>
                <a:cubicBezTo>
                  <a:pt x="55371" y="38957"/>
                  <a:pt x="54924" y="38509"/>
                  <a:pt x="54476" y="38509"/>
                </a:cubicBezTo>
                <a:cubicBezTo>
                  <a:pt x="53132" y="38061"/>
                  <a:pt x="52237" y="37166"/>
                  <a:pt x="51341" y="36718"/>
                </a:cubicBezTo>
                <a:cubicBezTo>
                  <a:pt x="50446" y="35823"/>
                  <a:pt x="49102" y="34927"/>
                  <a:pt x="47759" y="33584"/>
                </a:cubicBezTo>
                <a:cubicBezTo>
                  <a:pt x="47311" y="33136"/>
                  <a:pt x="46863" y="32688"/>
                  <a:pt x="46416" y="32240"/>
                </a:cubicBezTo>
                <a:lnTo>
                  <a:pt x="75969" y="11642"/>
                </a:lnTo>
                <a:cubicBezTo>
                  <a:pt x="76417" y="11642"/>
                  <a:pt x="76417" y="11195"/>
                  <a:pt x="76417" y="10747"/>
                </a:cubicBezTo>
                <a:cubicBezTo>
                  <a:pt x="76417" y="10747"/>
                  <a:pt x="76417" y="10747"/>
                  <a:pt x="76417" y="10747"/>
                </a:cubicBezTo>
                <a:cubicBezTo>
                  <a:pt x="77760" y="9851"/>
                  <a:pt x="85373" y="6717"/>
                  <a:pt x="89403" y="6269"/>
                </a:cubicBezTo>
                <a:cubicBezTo>
                  <a:pt x="91642" y="5821"/>
                  <a:pt x="94776" y="5373"/>
                  <a:pt x="96567" y="5373"/>
                </a:cubicBezTo>
                <a:lnTo>
                  <a:pt x="122986" y="5373"/>
                </a:lnTo>
                <a:lnTo>
                  <a:pt x="146719" y="47017"/>
                </a:lnTo>
                <a:lnTo>
                  <a:pt x="122091" y="61794"/>
                </a:lnTo>
                <a:close/>
              </a:path>
            </a:pathLst>
          </a:custGeom>
          <a:solidFill>
            <a:srgbClr val="231F20"/>
          </a:solidFill>
          <a:ln w="4474" cap="flat">
            <a:noFill/>
            <a:prstDash val="solid"/>
            <a:miter/>
          </a:ln>
        </p:spPr>
        <p:txBody>
          <a:bodyPr rtlCol="0" anchor="ctr"/>
          <a:lstStyle/>
          <a:p>
            <a:endParaRPr lang="en-US"/>
          </a:p>
        </p:txBody>
      </p:sp>
      <p:sp>
        <p:nvSpPr>
          <p:cNvPr id="4686" name="Freeform: Shape 4685">
            <a:extLst>
              <a:ext uri="{FF2B5EF4-FFF2-40B4-BE49-F238E27FC236}">
                <a16:creationId xmlns:a16="http://schemas.microsoft.com/office/drawing/2014/main" id="{9934FFD4-3B77-404E-B356-FB6E1DFF86BD}"/>
              </a:ext>
              <a:ext uri="{C183D7F6-B498-43B3-948B-1728B52AA6E4}">
                <adec:decorative xmlns:adec="http://schemas.microsoft.com/office/drawing/2017/decorative" val="1"/>
              </a:ext>
            </a:extLst>
          </p:cNvPr>
          <p:cNvSpPr>
            <a:spLocks noChangeAspect="1"/>
          </p:cNvSpPr>
          <p:nvPr/>
        </p:nvSpPr>
        <p:spPr>
          <a:xfrm>
            <a:off x="7432037" y="1736511"/>
            <a:ext cx="138812" cy="138812"/>
          </a:xfrm>
          <a:custGeom>
            <a:avLst/>
            <a:gdLst>
              <a:gd name="connsiteX0" fmla="*/ 136573 w 138812"/>
              <a:gd name="connsiteY0" fmla="*/ 85079 h 138812"/>
              <a:gd name="connsiteX1" fmla="*/ 138812 w 138812"/>
              <a:gd name="connsiteY1" fmla="*/ 82840 h 138812"/>
              <a:gd name="connsiteX2" fmla="*/ 138812 w 138812"/>
              <a:gd name="connsiteY2" fmla="*/ 15672 h 138812"/>
              <a:gd name="connsiteX3" fmla="*/ 136573 w 138812"/>
              <a:gd name="connsiteY3" fmla="*/ 13433 h 138812"/>
              <a:gd name="connsiteX4" fmla="*/ 132096 w 138812"/>
              <a:gd name="connsiteY4" fmla="*/ 13433 h 138812"/>
              <a:gd name="connsiteX5" fmla="*/ 132096 w 138812"/>
              <a:gd name="connsiteY5" fmla="*/ 2239 h 138812"/>
              <a:gd name="connsiteX6" fmla="*/ 129857 w 138812"/>
              <a:gd name="connsiteY6" fmla="*/ 0 h 138812"/>
              <a:gd name="connsiteX7" fmla="*/ 89556 w 138812"/>
              <a:gd name="connsiteY7" fmla="*/ 0 h 138812"/>
              <a:gd name="connsiteX8" fmla="*/ 87317 w 138812"/>
              <a:gd name="connsiteY8" fmla="*/ 2239 h 138812"/>
              <a:gd name="connsiteX9" fmla="*/ 87317 w 138812"/>
              <a:gd name="connsiteY9" fmla="*/ 13433 h 138812"/>
              <a:gd name="connsiteX10" fmla="*/ 82840 w 138812"/>
              <a:gd name="connsiteY10" fmla="*/ 13433 h 138812"/>
              <a:gd name="connsiteX11" fmla="*/ 80601 w 138812"/>
              <a:gd name="connsiteY11" fmla="*/ 15672 h 138812"/>
              <a:gd name="connsiteX12" fmla="*/ 80601 w 138812"/>
              <a:gd name="connsiteY12" fmla="*/ 26867 h 138812"/>
              <a:gd name="connsiteX13" fmla="*/ 58212 w 138812"/>
              <a:gd name="connsiteY13" fmla="*/ 26867 h 138812"/>
              <a:gd name="connsiteX14" fmla="*/ 58212 w 138812"/>
              <a:gd name="connsiteY14" fmla="*/ 15672 h 138812"/>
              <a:gd name="connsiteX15" fmla="*/ 55973 w 138812"/>
              <a:gd name="connsiteY15" fmla="*/ 13433 h 138812"/>
              <a:gd name="connsiteX16" fmla="*/ 51495 w 138812"/>
              <a:gd name="connsiteY16" fmla="*/ 13433 h 138812"/>
              <a:gd name="connsiteX17" fmla="*/ 51495 w 138812"/>
              <a:gd name="connsiteY17" fmla="*/ 2239 h 138812"/>
              <a:gd name="connsiteX18" fmla="*/ 49256 w 138812"/>
              <a:gd name="connsiteY18" fmla="*/ 0 h 138812"/>
              <a:gd name="connsiteX19" fmla="*/ 8956 w 138812"/>
              <a:gd name="connsiteY19" fmla="*/ 0 h 138812"/>
              <a:gd name="connsiteX20" fmla="*/ 6717 w 138812"/>
              <a:gd name="connsiteY20" fmla="*/ 2239 h 138812"/>
              <a:gd name="connsiteX21" fmla="*/ 6717 w 138812"/>
              <a:gd name="connsiteY21" fmla="*/ 13433 h 138812"/>
              <a:gd name="connsiteX22" fmla="*/ 2239 w 138812"/>
              <a:gd name="connsiteY22" fmla="*/ 13433 h 138812"/>
              <a:gd name="connsiteX23" fmla="*/ 0 w 138812"/>
              <a:gd name="connsiteY23" fmla="*/ 15672 h 138812"/>
              <a:gd name="connsiteX24" fmla="*/ 0 w 138812"/>
              <a:gd name="connsiteY24" fmla="*/ 82840 h 138812"/>
              <a:gd name="connsiteX25" fmla="*/ 2239 w 138812"/>
              <a:gd name="connsiteY25" fmla="*/ 85079 h 138812"/>
              <a:gd name="connsiteX26" fmla="*/ 6717 w 138812"/>
              <a:gd name="connsiteY26" fmla="*/ 85079 h 138812"/>
              <a:gd name="connsiteX27" fmla="*/ 6717 w 138812"/>
              <a:gd name="connsiteY27" fmla="*/ 120901 h 138812"/>
              <a:gd name="connsiteX28" fmla="*/ 2239 w 138812"/>
              <a:gd name="connsiteY28" fmla="*/ 120901 h 138812"/>
              <a:gd name="connsiteX29" fmla="*/ 0 w 138812"/>
              <a:gd name="connsiteY29" fmla="*/ 123140 h 138812"/>
              <a:gd name="connsiteX30" fmla="*/ 0 w 138812"/>
              <a:gd name="connsiteY30" fmla="*/ 136573 h 138812"/>
              <a:gd name="connsiteX31" fmla="*/ 2239 w 138812"/>
              <a:gd name="connsiteY31" fmla="*/ 138812 h 138812"/>
              <a:gd name="connsiteX32" fmla="*/ 55973 w 138812"/>
              <a:gd name="connsiteY32" fmla="*/ 138812 h 138812"/>
              <a:gd name="connsiteX33" fmla="*/ 58212 w 138812"/>
              <a:gd name="connsiteY33" fmla="*/ 136573 h 138812"/>
              <a:gd name="connsiteX34" fmla="*/ 58212 w 138812"/>
              <a:gd name="connsiteY34" fmla="*/ 123140 h 138812"/>
              <a:gd name="connsiteX35" fmla="*/ 55973 w 138812"/>
              <a:gd name="connsiteY35" fmla="*/ 120901 h 138812"/>
              <a:gd name="connsiteX36" fmla="*/ 51495 w 138812"/>
              <a:gd name="connsiteY36" fmla="*/ 120901 h 138812"/>
              <a:gd name="connsiteX37" fmla="*/ 51495 w 138812"/>
              <a:gd name="connsiteY37" fmla="*/ 85079 h 138812"/>
              <a:gd name="connsiteX38" fmla="*/ 55973 w 138812"/>
              <a:gd name="connsiteY38" fmla="*/ 85079 h 138812"/>
              <a:gd name="connsiteX39" fmla="*/ 58212 w 138812"/>
              <a:gd name="connsiteY39" fmla="*/ 82840 h 138812"/>
              <a:gd name="connsiteX40" fmla="*/ 58212 w 138812"/>
              <a:gd name="connsiteY40" fmla="*/ 71645 h 138812"/>
              <a:gd name="connsiteX41" fmla="*/ 80601 w 138812"/>
              <a:gd name="connsiteY41" fmla="*/ 71645 h 138812"/>
              <a:gd name="connsiteX42" fmla="*/ 80601 w 138812"/>
              <a:gd name="connsiteY42" fmla="*/ 82840 h 138812"/>
              <a:gd name="connsiteX43" fmla="*/ 82840 w 138812"/>
              <a:gd name="connsiteY43" fmla="*/ 85079 h 138812"/>
              <a:gd name="connsiteX44" fmla="*/ 87317 w 138812"/>
              <a:gd name="connsiteY44" fmla="*/ 85079 h 138812"/>
              <a:gd name="connsiteX45" fmla="*/ 87317 w 138812"/>
              <a:gd name="connsiteY45" fmla="*/ 120901 h 138812"/>
              <a:gd name="connsiteX46" fmla="*/ 82840 w 138812"/>
              <a:gd name="connsiteY46" fmla="*/ 120901 h 138812"/>
              <a:gd name="connsiteX47" fmla="*/ 80601 w 138812"/>
              <a:gd name="connsiteY47" fmla="*/ 123140 h 138812"/>
              <a:gd name="connsiteX48" fmla="*/ 80601 w 138812"/>
              <a:gd name="connsiteY48" fmla="*/ 136573 h 138812"/>
              <a:gd name="connsiteX49" fmla="*/ 82840 w 138812"/>
              <a:gd name="connsiteY49" fmla="*/ 138812 h 138812"/>
              <a:gd name="connsiteX50" fmla="*/ 136573 w 138812"/>
              <a:gd name="connsiteY50" fmla="*/ 138812 h 138812"/>
              <a:gd name="connsiteX51" fmla="*/ 138812 w 138812"/>
              <a:gd name="connsiteY51" fmla="*/ 136573 h 138812"/>
              <a:gd name="connsiteX52" fmla="*/ 138812 w 138812"/>
              <a:gd name="connsiteY52" fmla="*/ 123140 h 138812"/>
              <a:gd name="connsiteX53" fmla="*/ 136573 w 138812"/>
              <a:gd name="connsiteY53" fmla="*/ 120901 h 138812"/>
              <a:gd name="connsiteX54" fmla="*/ 132096 w 138812"/>
              <a:gd name="connsiteY54" fmla="*/ 120901 h 138812"/>
              <a:gd name="connsiteX55" fmla="*/ 132096 w 138812"/>
              <a:gd name="connsiteY55" fmla="*/ 85079 h 138812"/>
              <a:gd name="connsiteX56" fmla="*/ 136573 w 138812"/>
              <a:gd name="connsiteY56" fmla="*/ 85079 h 138812"/>
              <a:gd name="connsiteX57" fmla="*/ 53734 w 138812"/>
              <a:gd name="connsiteY57" fmla="*/ 134335 h 138812"/>
              <a:gd name="connsiteX58" fmla="*/ 4478 w 138812"/>
              <a:gd name="connsiteY58" fmla="*/ 134335 h 138812"/>
              <a:gd name="connsiteX59" fmla="*/ 4478 w 138812"/>
              <a:gd name="connsiteY59" fmla="*/ 125379 h 138812"/>
              <a:gd name="connsiteX60" fmla="*/ 8956 w 138812"/>
              <a:gd name="connsiteY60" fmla="*/ 125379 h 138812"/>
              <a:gd name="connsiteX61" fmla="*/ 49256 w 138812"/>
              <a:gd name="connsiteY61" fmla="*/ 125379 h 138812"/>
              <a:gd name="connsiteX62" fmla="*/ 53734 w 138812"/>
              <a:gd name="connsiteY62" fmla="*/ 125379 h 138812"/>
              <a:gd name="connsiteX63" fmla="*/ 53734 w 138812"/>
              <a:gd name="connsiteY63" fmla="*/ 134335 h 138812"/>
              <a:gd name="connsiteX64" fmla="*/ 11195 w 138812"/>
              <a:gd name="connsiteY64" fmla="*/ 120901 h 138812"/>
              <a:gd name="connsiteX65" fmla="*/ 11195 w 138812"/>
              <a:gd name="connsiteY65" fmla="*/ 85079 h 138812"/>
              <a:gd name="connsiteX66" fmla="*/ 47017 w 138812"/>
              <a:gd name="connsiteY66" fmla="*/ 85079 h 138812"/>
              <a:gd name="connsiteX67" fmla="*/ 47017 w 138812"/>
              <a:gd name="connsiteY67" fmla="*/ 120901 h 138812"/>
              <a:gd name="connsiteX68" fmla="*/ 11195 w 138812"/>
              <a:gd name="connsiteY68" fmla="*/ 120901 h 138812"/>
              <a:gd name="connsiteX69" fmla="*/ 134335 w 138812"/>
              <a:gd name="connsiteY69" fmla="*/ 134335 h 138812"/>
              <a:gd name="connsiteX70" fmla="*/ 85079 w 138812"/>
              <a:gd name="connsiteY70" fmla="*/ 134335 h 138812"/>
              <a:gd name="connsiteX71" fmla="*/ 85079 w 138812"/>
              <a:gd name="connsiteY71" fmla="*/ 125379 h 138812"/>
              <a:gd name="connsiteX72" fmla="*/ 89556 w 138812"/>
              <a:gd name="connsiteY72" fmla="*/ 125379 h 138812"/>
              <a:gd name="connsiteX73" fmla="*/ 129857 w 138812"/>
              <a:gd name="connsiteY73" fmla="*/ 125379 h 138812"/>
              <a:gd name="connsiteX74" fmla="*/ 134335 w 138812"/>
              <a:gd name="connsiteY74" fmla="*/ 125379 h 138812"/>
              <a:gd name="connsiteX75" fmla="*/ 134335 w 138812"/>
              <a:gd name="connsiteY75" fmla="*/ 134335 h 138812"/>
              <a:gd name="connsiteX76" fmla="*/ 91795 w 138812"/>
              <a:gd name="connsiteY76" fmla="*/ 120901 h 138812"/>
              <a:gd name="connsiteX77" fmla="*/ 91795 w 138812"/>
              <a:gd name="connsiteY77" fmla="*/ 85079 h 138812"/>
              <a:gd name="connsiteX78" fmla="*/ 127618 w 138812"/>
              <a:gd name="connsiteY78" fmla="*/ 85079 h 138812"/>
              <a:gd name="connsiteX79" fmla="*/ 127618 w 138812"/>
              <a:gd name="connsiteY79" fmla="*/ 120901 h 138812"/>
              <a:gd name="connsiteX80" fmla="*/ 91795 w 138812"/>
              <a:gd name="connsiteY80" fmla="*/ 120901 h 138812"/>
              <a:gd name="connsiteX81" fmla="*/ 91795 w 138812"/>
              <a:gd name="connsiteY81" fmla="*/ 4478 h 138812"/>
              <a:gd name="connsiteX82" fmla="*/ 127618 w 138812"/>
              <a:gd name="connsiteY82" fmla="*/ 4478 h 138812"/>
              <a:gd name="connsiteX83" fmla="*/ 127618 w 138812"/>
              <a:gd name="connsiteY83" fmla="*/ 13433 h 138812"/>
              <a:gd name="connsiteX84" fmla="*/ 91795 w 138812"/>
              <a:gd name="connsiteY84" fmla="*/ 13433 h 138812"/>
              <a:gd name="connsiteX85" fmla="*/ 91795 w 138812"/>
              <a:gd name="connsiteY85" fmla="*/ 4478 h 138812"/>
              <a:gd name="connsiteX86" fmla="*/ 94034 w 138812"/>
              <a:gd name="connsiteY86" fmla="*/ 31345 h 138812"/>
              <a:gd name="connsiteX87" fmla="*/ 94034 w 138812"/>
              <a:gd name="connsiteY87" fmla="*/ 67167 h 138812"/>
              <a:gd name="connsiteX88" fmla="*/ 89556 w 138812"/>
              <a:gd name="connsiteY88" fmla="*/ 67167 h 138812"/>
              <a:gd name="connsiteX89" fmla="*/ 82840 w 138812"/>
              <a:gd name="connsiteY89" fmla="*/ 67167 h 138812"/>
              <a:gd name="connsiteX90" fmla="*/ 55973 w 138812"/>
              <a:gd name="connsiteY90" fmla="*/ 67167 h 138812"/>
              <a:gd name="connsiteX91" fmla="*/ 49256 w 138812"/>
              <a:gd name="connsiteY91" fmla="*/ 67167 h 138812"/>
              <a:gd name="connsiteX92" fmla="*/ 44778 w 138812"/>
              <a:gd name="connsiteY92" fmla="*/ 67167 h 138812"/>
              <a:gd name="connsiteX93" fmla="*/ 44778 w 138812"/>
              <a:gd name="connsiteY93" fmla="*/ 31345 h 138812"/>
              <a:gd name="connsiteX94" fmla="*/ 49256 w 138812"/>
              <a:gd name="connsiteY94" fmla="*/ 31345 h 138812"/>
              <a:gd name="connsiteX95" fmla="*/ 55973 w 138812"/>
              <a:gd name="connsiteY95" fmla="*/ 31345 h 138812"/>
              <a:gd name="connsiteX96" fmla="*/ 82840 w 138812"/>
              <a:gd name="connsiteY96" fmla="*/ 31345 h 138812"/>
              <a:gd name="connsiteX97" fmla="*/ 89556 w 138812"/>
              <a:gd name="connsiteY97" fmla="*/ 31345 h 138812"/>
              <a:gd name="connsiteX98" fmla="*/ 94034 w 138812"/>
              <a:gd name="connsiteY98" fmla="*/ 31345 h 138812"/>
              <a:gd name="connsiteX99" fmla="*/ 11195 w 138812"/>
              <a:gd name="connsiteY99" fmla="*/ 4478 h 138812"/>
              <a:gd name="connsiteX100" fmla="*/ 47017 w 138812"/>
              <a:gd name="connsiteY100" fmla="*/ 4478 h 138812"/>
              <a:gd name="connsiteX101" fmla="*/ 47017 w 138812"/>
              <a:gd name="connsiteY101" fmla="*/ 13433 h 138812"/>
              <a:gd name="connsiteX102" fmla="*/ 11195 w 138812"/>
              <a:gd name="connsiteY102" fmla="*/ 13433 h 138812"/>
              <a:gd name="connsiteX103" fmla="*/ 11195 w 138812"/>
              <a:gd name="connsiteY103" fmla="*/ 4478 h 138812"/>
              <a:gd name="connsiteX104" fmla="*/ 53734 w 138812"/>
              <a:gd name="connsiteY104" fmla="*/ 80601 h 138812"/>
              <a:gd name="connsiteX105" fmla="*/ 4478 w 138812"/>
              <a:gd name="connsiteY105" fmla="*/ 80601 h 138812"/>
              <a:gd name="connsiteX106" fmla="*/ 4478 w 138812"/>
              <a:gd name="connsiteY106" fmla="*/ 17911 h 138812"/>
              <a:gd name="connsiteX107" fmla="*/ 8956 w 138812"/>
              <a:gd name="connsiteY107" fmla="*/ 17911 h 138812"/>
              <a:gd name="connsiteX108" fmla="*/ 49256 w 138812"/>
              <a:gd name="connsiteY108" fmla="*/ 17911 h 138812"/>
              <a:gd name="connsiteX109" fmla="*/ 53734 w 138812"/>
              <a:gd name="connsiteY109" fmla="*/ 17911 h 138812"/>
              <a:gd name="connsiteX110" fmla="*/ 53734 w 138812"/>
              <a:gd name="connsiteY110" fmla="*/ 26867 h 138812"/>
              <a:gd name="connsiteX111" fmla="*/ 49256 w 138812"/>
              <a:gd name="connsiteY111" fmla="*/ 26867 h 138812"/>
              <a:gd name="connsiteX112" fmla="*/ 42539 w 138812"/>
              <a:gd name="connsiteY112" fmla="*/ 26867 h 138812"/>
              <a:gd name="connsiteX113" fmla="*/ 40300 w 138812"/>
              <a:gd name="connsiteY113" fmla="*/ 29106 h 138812"/>
              <a:gd name="connsiteX114" fmla="*/ 40300 w 138812"/>
              <a:gd name="connsiteY114" fmla="*/ 69406 h 138812"/>
              <a:gd name="connsiteX115" fmla="*/ 42539 w 138812"/>
              <a:gd name="connsiteY115" fmla="*/ 71645 h 138812"/>
              <a:gd name="connsiteX116" fmla="*/ 49256 w 138812"/>
              <a:gd name="connsiteY116" fmla="*/ 71645 h 138812"/>
              <a:gd name="connsiteX117" fmla="*/ 53734 w 138812"/>
              <a:gd name="connsiteY117" fmla="*/ 71645 h 138812"/>
              <a:gd name="connsiteX118" fmla="*/ 53734 w 138812"/>
              <a:gd name="connsiteY118" fmla="*/ 80601 h 138812"/>
              <a:gd name="connsiteX119" fmla="*/ 85079 w 138812"/>
              <a:gd name="connsiteY119" fmla="*/ 71645 h 138812"/>
              <a:gd name="connsiteX120" fmla="*/ 89556 w 138812"/>
              <a:gd name="connsiteY120" fmla="*/ 71645 h 138812"/>
              <a:gd name="connsiteX121" fmla="*/ 96273 w 138812"/>
              <a:gd name="connsiteY121" fmla="*/ 71645 h 138812"/>
              <a:gd name="connsiteX122" fmla="*/ 98512 w 138812"/>
              <a:gd name="connsiteY122" fmla="*/ 69406 h 138812"/>
              <a:gd name="connsiteX123" fmla="*/ 98512 w 138812"/>
              <a:gd name="connsiteY123" fmla="*/ 29106 h 138812"/>
              <a:gd name="connsiteX124" fmla="*/ 96273 w 138812"/>
              <a:gd name="connsiteY124" fmla="*/ 26867 h 138812"/>
              <a:gd name="connsiteX125" fmla="*/ 89556 w 138812"/>
              <a:gd name="connsiteY125" fmla="*/ 26867 h 138812"/>
              <a:gd name="connsiteX126" fmla="*/ 85079 w 138812"/>
              <a:gd name="connsiteY126" fmla="*/ 26867 h 138812"/>
              <a:gd name="connsiteX127" fmla="*/ 85079 w 138812"/>
              <a:gd name="connsiteY127" fmla="*/ 17911 h 138812"/>
              <a:gd name="connsiteX128" fmla="*/ 89556 w 138812"/>
              <a:gd name="connsiteY128" fmla="*/ 17911 h 138812"/>
              <a:gd name="connsiteX129" fmla="*/ 129857 w 138812"/>
              <a:gd name="connsiteY129" fmla="*/ 17911 h 138812"/>
              <a:gd name="connsiteX130" fmla="*/ 134335 w 138812"/>
              <a:gd name="connsiteY130" fmla="*/ 17911 h 138812"/>
              <a:gd name="connsiteX131" fmla="*/ 134335 w 138812"/>
              <a:gd name="connsiteY131" fmla="*/ 80601 h 138812"/>
              <a:gd name="connsiteX132" fmla="*/ 85079 w 138812"/>
              <a:gd name="connsiteY132" fmla="*/ 80601 h 138812"/>
              <a:gd name="connsiteX133" fmla="*/ 85079 w 138812"/>
              <a:gd name="connsiteY133" fmla="*/ 7164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38812" h="138812">
                <a:moveTo>
                  <a:pt x="136573" y="85079"/>
                </a:moveTo>
                <a:cubicBezTo>
                  <a:pt x="137917" y="85079"/>
                  <a:pt x="138812" y="84183"/>
                  <a:pt x="138812" y="82840"/>
                </a:cubicBezTo>
                <a:lnTo>
                  <a:pt x="138812" y="15672"/>
                </a:lnTo>
                <a:cubicBezTo>
                  <a:pt x="138812" y="14329"/>
                  <a:pt x="137917" y="13433"/>
                  <a:pt x="136573" y="13433"/>
                </a:cubicBezTo>
                <a:lnTo>
                  <a:pt x="132096" y="13433"/>
                </a:lnTo>
                <a:lnTo>
                  <a:pt x="132096" y="2239"/>
                </a:lnTo>
                <a:cubicBezTo>
                  <a:pt x="132096" y="896"/>
                  <a:pt x="131200" y="0"/>
                  <a:pt x="129857" y="0"/>
                </a:cubicBezTo>
                <a:lnTo>
                  <a:pt x="89556" y="0"/>
                </a:lnTo>
                <a:cubicBezTo>
                  <a:pt x="88213" y="0"/>
                  <a:pt x="87317" y="896"/>
                  <a:pt x="87317" y="2239"/>
                </a:cubicBezTo>
                <a:lnTo>
                  <a:pt x="87317" y="13433"/>
                </a:lnTo>
                <a:lnTo>
                  <a:pt x="82840" y="13433"/>
                </a:lnTo>
                <a:cubicBezTo>
                  <a:pt x="81496" y="13433"/>
                  <a:pt x="80601" y="14329"/>
                  <a:pt x="80601" y="15672"/>
                </a:cubicBezTo>
                <a:lnTo>
                  <a:pt x="80601" y="26867"/>
                </a:lnTo>
                <a:lnTo>
                  <a:pt x="58212" y="26867"/>
                </a:lnTo>
                <a:lnTo>
                  <a:pt x="58212" y="15672"/>
                </a:lnTo>
                <a:cubicBezTo>
                  <a:pt x="58212" y="14329"/>
                  <a:pt x="57316" y="13433"/>
                  <a:pt x="55973" y="13433"/>
                </a:cubicBezTo>
                <a:lnTo>
                  <a:pt x="51495" y="13433"/>
                </a:lnTo>
                <a:lnTo>
                  <a:pt x="51495" y="2239"/>
                </a:lnTo>
                <a:cubicBezTo>
                  <a:pt x="51495" y="896"/>
                  <a:pt x="50599" y="0"/>
                  <a:pt x="49256" y="0"/>
                </a:cubicBezTo>
                <a:lnTo>
                  <a:pt x="8956" y="0"/>
                </a:lnTo>
                <a:cubicBezTo>
                  <a:pt x="7612" y="0"/>
                  <a:pt x="6717" y="896"/>
                  <a:pt x="6717" y="2239"/>
                </a:cubicBezTo>
                <a:lnTo>
                  <a:pt x="6717" y="13433"/>
                </a:lnTo>
                <a:lnTo>
                  <a:pt x="2239" y="13433"/>
                </a:lnTo>
                <a:cubicBezTo>
                  <a:pt x="896" y="13433"/>
                  <a:pt x="0" y="14329"/>
                  <a:pt x="0" y="15672"/>
                </a:cubicBezTo>
                <a:lnTo>
                  <a:pt x="0" y="82840"/>
                </a:lnTo>
                <a:cubicBezTo>
                  <a:pt x="0" y="84183"/>
                  <a:pt x="896" y="85079"/>
                  <a:pt x="2239" y="85079"/>
                </a:cubicBezTo>
                <a:lnTo>
                  <a:pt x="6717" y="85079"/>
                </a:lnTo>
                <a:lnTo>
                  <a:pt x="6717" y="120901"/>
                </a:lnTo>
                <a:lnTo>
                  <a:pt x="2239" y="120901"/>
                </a:lnTo>
                <a:cubicBezTo>
                  <a:pt x="896" y="120901"/>
                  <a:pt x="0" y="121797"/>
                  <a:pt x="0" y="123140"/>
                </a:cubicBezTo>
                <a:lnTo>
                  <a:pt x="0" y="136573"/>
                </a:lnTo>
                <a:cubicBezTo>
                  <a:pt x="0" y="137917"/>
                  <a:pt x="896" y="138812"/>
                  <a:pt x="2239" y="138812"/>
                </a:cubicBezTo>
                <a:lnTo>
                  <a:pt x="55973" y="138812"/>
                </a:lnTo>
                <a:cubicBezTo>
                  <a:pt x="57316" y="138812"/>
                  <a:pt x="58212" y="137917"/>
                  <a:pt x="58212" y="136573"/>
                </a:cubicBezTo>
                <a:lnTo>
                  <a:pt x="58212" y="123140"/>
                </a:lnTo>
                <a:cubicBezTo>
                  <a:pt x="58212" y="121797"/>
                  <a:pt x="57316" y="120901"/>
                  <a:pt x="55973" y="120901"/>
                </a:cubicBezTo>
                <a:lnTo>
                  <a:pt x="51495" y="120901"/>
                </a:lnTo>
                <a:lnTo>
                  <a:pt x="51495" y="85079"/>
                </a:lnTo>
                <a:lnTo>
                  <a:pt x="55973" y="85079"/>
                </a:lnTo>
                <a:cubicBezTo>
                  <a:pt x="57316" y="85079"/>
                  <a:pt x="58212" y="84183"/>
                  <a:pt x="58212" y="82840"/>
                </a:cubicBezTo>
                <a:lnTo>
                  <a:pt x="58212" y="71645"/>
                </a:lnTo>
                <a:lnTo>
                  <a:pt x="80601" y="71645"/>
                </a:lnTo>
                <a:lnTo>
                  <a:pt x="80601" y="82840"/>
                </a:lnTo>
                <a:cubicBezTo>
                  <a:pt x="80601" y="84183"/>
                  <a:pt x="81496" y="85079"/>
                  <a:pt x="82840" y="85079"/>
                </a:cubicBezTo>
                <a:lnTo>
                  <a:pt x="87317" y="85079"/>
                </a:lnTo>
                <a:lnTo>
                  <a:pt x="87317" y="120901"/>
                </a:lnTo>
                <a:lnTo>
                  <a:pt x="82840" y="120901"/>
                </a:lnTo>
                <a:cubicBezTo>
                  <a:pt x="81496" y="120901"/>
                  <a:pt x="80601" y="121797"/>
                  <a:pt x="80601" y="123140"/>
                </a:cubicBezTo>
                <a:lnTo>
                  <a:pt x="80601" y="136573"/>
                </a:lnTo>
                <a:cubicBezTo>
                  <a:pt x="80601" y="137917"/>
                  <a:pt x="81496" y="138812"/>
                  <a:pt x="82840" y="138812"/>
                </a:cubicBezTo>
                <a:lnTo>
                  <a:pt x="136573" y="138812"/>
                </a:lnTo>
                <a:cubicBezTo>
                  <a:pt x="137917" y="138812"/>
                  <a:pt x="138812" y="137917"/>
                  <a:pt x="138812" y="136573"/>
                </a:cubicBezTo>
                <a:lnTo>
                  <a:pt x="138812" y="123140"/>
                </a:lnTo>
                <a:cubicBezTo>
                  <a:pt x="138812" y="121797"/>
                  <a:pt x="137917" y="120901"/>
                  <a:pt x="136573" y="120901"/>
                </a:cubicBezTo>
                <a:lnTo>
                  <a:pt x="132096" y="120901"/>
                </a:lnTo>
                <a:lnTo>
                  <a:pt x="132096" y="85079"/>
                </a:lnTo>
                <a:lnTo>
                  <a:pt x="136573" y="85079"/>
                </a:lnTo>
                <a:close/>
                <a:moveTo>
                  <a:pt x="53734" y="134335"/>
                </a:moveTo>
                <a:lnTo>
                  <a:pt x="4478" y="134335"/>
                </a:lnTo>
                <a:lnTo>
                  <a:pt x="4478" y="125379"/>
                </a:lnTo>
                <a:lnTo>
                  <a:pt x="8956" y="125379"/>
                </a:lnTo>
                <a:lnTo>
                  <a:pt x="49256" y="125379"/>
                </a:lnTo>
                <a:lnTo>
                  <a:pt x="53734" y="125379"/>
                </a:lnTo>
                <a:lnTo>
                  <a:pt x="53734" y="134335"/>
                </a:lnTo>
                <a:close/>
                <a:moveTo>
                  <a:pt x="11195" y="120901"/>
                </a:moveTo>
                <a:lnTo>
                  <a:pt x="11195" y="85079"/>
                </a:lnTo>
                <a:lnTo>
                  <a:pt x="47017" y="85079"/>
                </a:lnTo>
                <a:lnTo>
                  <a:pt x="47017" y="120901"/>
                </a:lnTo>
                <a:lnTo>
                  <a:pt x="11195" y="120901"/>
                </a:lnTo>
                <a:close/>
                <a:moveTo>
                  <a:pt x="134335" y="134335"/>
                </a:moveTo>
                <a:lnTo>
                  <a:pt x="85079" y="134335"/>
                </a:lnTo>
                <a:lnTo>
                  <a:pt x="85079" y="125379"/>
                </a:lnTo>
                <a:lnTo>
                  <a:pt x="89556" y="125379"/>
                </a:lnTo>
                <a:lnTo>
                  <a:pt x="129857" y="125379"/>
                </a:lnTo>
                <a:lnTo>
                  <a:pt x="134335" y="125379"/>
                </a:lnTo>
                <a:lnTo>
                  <a:pt x="134335" y="134335"/>
                </a:lnTo>
                <a:close/>
                <a:moveTo>
                  <a:pt x="91795" y="120901"/>
                </a:moveTo>
                <a:lnTo>
                  <a:pt x="91795" y="85079"/>
                </a:lnTo>
                <a:lnTo>
                  <a:pt x="127618" y="85079"/>
                </a:lnTo>
                <a:lnTo>
                  <a:pt x="127618" y="120901"/>
                </a:lnTo>
                <a:lnTo>
                  <a:pt x="91795" y="120901"/>
                </a:lnTo>
                <a:close/>
                <a:moveTo>
                  <a:pt x="91795" y="4478"/>
                </a:moveTo>
                <a:lnTo>
                  <a:pt x="127618" y="4478"/>
                </a:lnTo>
                <a:lnTo>
                  <a:pt x="127618" y="13433"/>
                </a:lnTo>
                <a:lnTo>
                  <a:pt x="91795" y="13433"/>
                </a:lnTo>
                <a:lnTo>
                  <a:pt x="91795" y="4478"/>
                </a:lnTo>
                <a:close/>
                <a:moveTo>
                  <a:pt x="94034" y="31345"/>
                </a:moveTo>
                <a:lnTo>
                  <a:pt x="94034" y="67167"/>
                </a:lnTo>
                <a:lnTo>
                  <a:pt x="89556" y="67167"/>
                </a:lnTo>
                <a:lnTo>
                  <a:pt x="82840" y="67167"/>
                </a:lnTo>
                <a:lnTo>
                  <a:pt x="55973" y="67167"/>
                </a:lnTo>
                <a:lnTo>
                  <a:pt x="49256" y="67167"/>
                </a:lnTo>
                <a:lnTo>
                  <a:pt x="44778" y="67167"/>
                </a:lnTo>
                <a:lnTo>
                  <a:pt x="44778" y="31345"/>
                </a:lnTo>
                <a:lnTo>
                  <a:pt x="49256" y="31345"/>
                </a:lnTo>
                <a:lnTo>
                  <a:pt x="55973" y="31345"/>
                </a:lnTo>
                <a:lnTo>
                  <a:pt x="82840" y="31345"/>
                </a:lnTo>
                <a:lnTo>
                  <a:pt x="89556" y="31345"/>
                </a:lnTo>
                <a:lnTo>
                  <a:pt x="94034" y="31345"/>
                </a:lnTo>
                <a:close/>
                <a:moveTo>
                  <a:pt x="11195" y="4478"/>
                </a:moveTo>
                <a:lnTo>
                  <a:pt x="47017" y="4478"/>
                </a:lnTo>
                <a:lnTo>
                  <a:pt x="47017" y="13433"/>
                </a:lnTo>
                <a:lnTo>
                  <a:pt x="11195" y="13433"/>
                </a:lnTo>
                <a:lnTo>
                  <a:pt x="11195" y="4478"/>
                </a:lnTo>
                <a:close/>
                <a:moveTo>
                  <a:pt x="53734" y="80601"/>
                </a:moveTo>
                <a:lnTo>
                  <a:pt x="4478" y="80601"/>
                </a:lnTo>
                <a:lnTo>
                  <a:pt x="4478" y="17911"/>
                </a:lnTo>
                <a:lnTo>
                  <a:pt x="8956" y="17911"/>
                </a:lnTo>
                <a:lnTo>
                  <a:pt x="49256" y="17911"/>
                </a:lnTo>
                <a:lnTo>
                  <a:pt x="53734" y="17911"/>
                </a:lnTo>
                <a:lnTo>
                  <a:pt x="53734" y="26867"/>
                </a:lnTo>
                <a:lnTo>
                  <a:pt x="49256" y="26867"/>
                </a:lnTo>
                <a:lnTo>
                  <a:pt x="42539" y="26867"/>
                </a:lnTo>
                <a:cubicBezTo>
                  <a:pt x="41196" y="26867"/>
                  <a:pt x="40300" y="27763"/>
                  <a:pt x="40300" y="29106"/>
                </a:cubicBezTo>
                <a:lnTo>
                  <a:pt x="40300" y="69406"/>
                </a:lnTo>
                <a:cubicBezTo>
                  <a:pt x="40300" y="70749"/>
                  <a:pt x="41196" y="71645"/>
                  <a:pt x="42539" y="71645"/>
                </a:cubicBezTo>
                <a:lnTo>
                  <a:pt x="49256" y="71645"/>
                </a:lnTo>
                <a:lnTo>
                  <a:pt x="53734" y="71645"/>
                </a:lnTo>
                <a:lnTo>
                  <a:pt x="53734" y="80601"/>
                </a:lnTo>
                <a:close/>
                <a:moveTo>
                  <a:pt x="85079" y="71645"/>
                </a:moveTo>
                <a:lnTo>
                  <a:pt x="89556" y="71645"/>
                </a:lnTo>
                <a:lnTo>
                  <a:pt x="96273" y="71645"/>
                </a:lnTo>
                <a:cubicBezTo>
                  <a:pt x="97617" y="71645"/>
                  <a:pt x="98512" y="70749"/>
                  <a:pt x="98512" y="69406"/>
                </a:cubicBezTo>
                <a:lnTo>
                  <a:pt x="98512" y="29106"/>
                </a:lnTo>
                <a:cubicBezTo>
                  <a:pt x="98512" y="27763"/>
                  <a:pt x="97617" y="26867"/>
                  <a:pt x="96273" y="26867"/>
                </a:cubicBezTo>
                <a:lnTo>
                  <a:pt x="89556" y="26867"/>
                </a:lnTo>
                <a:lnTo>
                  <a:pt x="85079" y="26867"/>
                </a:lnTo>
                <a:lnTo>
                  <a:pt x="85079" y="17911"/>
                </a:lnTo>
                <a:lnTo>
                  <a:pt x="89556" y="17911"/>
                </a:lnTo>
                <a:lnTo>
                  <a:pt x="129857" y="17911"/>
                </a:lnTo>
                <a:lnTo>
                  <a:pt x="134335" y="17911"/>
                </a:lnTo>
                <a:lnTo>
                  <a:pt x="134335" y="80601"/>
                </a:lnTo>
                <a:lnTo>
                  <a:pt x="85079" y="80601"/>
                </a:lnTo>
                <a:lnTo>
                  <a:pt x="85079" y="71645"/>
                </a:lnTo>
                <a:close/>
              </a:path>
            </a:pathLst>
          </a:custGeom>
          <a:solidFill>
            <a:srgbClr val="231F20"/>
          </a:solidFill>
          <a:ln w="4474" cap="flat">
            <a:noFill/>
            <a:prstDash val="solid"/>
            <a:miter/>
          </a:ln>
        </p:spPr>
        <p:txBody>
          <a:bodyPr rtlCol="0" anchor="ctr"/>
          <a:lstStyle/>
          <a:p>
            <a:endParaRPr lang="en-US"/>
          </a:p>
        </p:txBody>
      </p:sp>
      <p:sp>
        <p:nvSpPr>
          <p:cNvPr id="4687" name="Freeform: Shape 4686">
            <a:extLst>
              <a:ext uri="{FF2B5EF4-FFF2-40B4-BE49-F238E27FC236}">
                <a16:creationId xmlns:a16="http://schemas.microsoft.com/office/drawing/2014/main" id="{70A290FE-A5EB-4065-9399-FD165111186D}"/>
              </a:ext>
              <a:ext uri="{C183D7F6-B498-43B3-948B-1728B52AA6E4}">
                <adec:decorative xmlns:adec="http://schemas.microsoft.com/office/drawing/2017/decorative" val="1"/>
              </a:ext>
            </a:extLst>
          </p:cNvPr>
          <p:cNvSpPr>
            <a:spLocks noChangeAspect="1"/>
          </p:cNvSpPr>
          <p:nvPr/>
        </p:nvSpPr>
        <p:spPr>
          <a:xfrm>
            <a:off x="6387634" y="1729794"/>
            <a:ext cx="102990" cy="152246"/>
          </a:xfrm>
          <a:custGeom>
            <a:avLst/>
            <a:gdLst>
              <a:gd name="connsiteX0" fmla="*/ 100031 w 102989"/>
              <a:gd name="connsiteY0" fmla="*/ 25971 h 152245"/>
              <a:gd name="connsiteX1" fmla="*/ 92419 w 102989"/>
              <a:gd name="connsiteY1" fmla="*/ 22837 h 152245"/>
              <a:gd name="connsiteX2" fmla="*/ 85702 w 102989"/>
              <a:gd name="connsiteY2" fmla="*/ 25076 h 152245"/>
              <a:gd name="connsiteX3" fmla="*/ 85702 w 102989"/>
              <a:gd name="connsiteY3" fmla="*/ 17464 h 152245"/>
              <a:gd name="connsiteX4" fmla="*/ 82568 w 102989"/>
              <a:gd name="connsiteY4" fmla="*/ 9851 h 152245"/>
              <a:gd name="connsiteX5" fmla="*/ 74955 w 102989"/>
              <a:gd name="connsiteY5" fmla="*/ 6717 h 152245"/>
              <a:gd name="connsiteX6" fmla="*/ 68239 w 102989"/>
              <a:gd name="connsiteY6" fmla="*/ 8956 h 152245"/>
              <a:gd name="connsiteX7" fmla="*/ 57940 w 102989"/>
              <a:gd name="connsiteY7" fmla="*/ 0 h 152245"/>
              <a:gd name="connsiteX8" fmla="*/ 47193 w 102989"/>
              <a:gd name="connsiteY8" fmla="*/ 10747 h 152245"/>
              <a:gd name="connsiteX9" fmla="*/ 47193 w 102989"/>
              <a:gd name="connsiteY9" fmla="*/ 15672 h 152245"/>
              <a:gd name="connsiteX10" fmla="*/ 40476 w 102989"/>
              <a:gd name="connsiteY10" fmla="*/ 13433 h 152245"/>
              <a:gd name="connsiteX11" fmla="*/ 29729 w 102989"/>
              <a:gd name="connsiteY11" fmla="*/ 24180 h 152245"/>
              <a:gd name="connsiteX12" fmla="*/ 29729 w 102989"/>
              <a:gd name="connsiteY12" fmla="*/ 80153 h 152245"/>
              <a:gd name="connsiteX13" fmla="*/ 29729 w 102989"/>
              <a:gd name="connsiteY13" fmla="*/ 81496 h 152245"/>
              <a:gd name="connsiteX14" fmla="*/ 27490 w 102989"/>
              <a:gd name="connsiteY14" fmla="*/ 69406 h 152245"/>
              <a:gd name="connsiteX15" fmla="*/ 17639 w 102989"/>
              <a:gd name="connsiteY15" fmla="*/ 58212 h 152245"/>
              <a:gd name="connsiteX16" fmla="*/ 5549 w 102989"/>
              <a:gd name="connsiteY16" fmla="*/ 58212 h 152245"/>
              <a:gd name="connsiteX17" fmla="*/ 2862 w 102989"/>
              <a:gd name="connsiteY17" fmla="*/ 59555 h 152245"/>
              <a:gd name="connsiteX18" fmla="*/ 1071 w 102989"/>
              <a:gd name="connsiteY18" fmla="*/ 60451 h 152245"/>
              <a:gd name="connsiteX19" fmla="*/ 176 w 102989"/>
              <a:gd name="connsiteY19" fmla="*/ 63137 h 152245"/>
              <a:gd name="connsiteX20" fmla="*/ 12266 w 102989"/>
              <a:gd name="connsiteY20" fmla="*/ 114632 h 152245"/>
              <a:gd name="connsiteX21" fmla="*/ 25251 w 102989"/>
              <a:gd name="connsiteY21" fmla="*/ 138812 h 152245"/>
              <a:gd name="connsiteX22" fmla="*/ 31968 w 102989"/>
              <a:gd name="connsiteY22" fmla="*/ 150007 h 152245"/>
              <a:gd name="connsiteX23" fmla="*/ 32864 w 102989"/>
              <a:gd name="connsiteY23" fmla="*/ 151350 h 152245"/>
              <a:gd name="connsiteX24" fmla="*/ 34655 w 102989"/>
              <a:gd name="connsiteY24" fmla="*/ 152694 h 152245"/>
              <a:gd name="connsiteX25" fmla="*/ 89284 w 102989"/>
              <a:gd name="connsiteY25" fmla="*/ 152694 h 152245"/>
              <a:gd name="connsiteX26" fmla="*/ 91075 w 102989"/>
              <a:gd name="connsiteY26" fmla="*/ 151798 h 152245"/>
              <a:gd name="connsiteX27" fmla="*/ 91971 w 102989"/>
              <a:gd name="connsiteY27" fmla="*/ 150455 h 152245"/>
              <a:gd name="connsiteX28" fmla="*/ 100927 w 102989"/>
              <a:gd name="connsiteY28" fmla="*/ 127618 h 152245"/>
              <a:gd name="connsiteX29" fmla="*/ 104509 w 102989"/>
              <a:gd name="connsiteY29" fmla="*/ 102542 h 152245"/>
              <a:gd name="connsiteX30" fmla="*/ 104509 w 102989"/>
              <a:gd name="connsiteY30" fmla="*/ 80153 h 152245"/>
              <a:gd name="connsiteX31" fmla="*/ 104509 w 102989"/>
              <a:gd name="connsiteY31" fmla="*/ 34032 h 152245"/>
              <a:gd name="connsiteX32" fmla="*/ 100031 w 102989"/>
              <a:gd name="connsiteY32" fmla="*/ 25971 h 152245"/>
              <a:gd name="connsiteX33" fmla="*/ 99135 w 102989"/>
              <a:gd name="connsiteY33" fmla="*/ 102094 h 152245"/>
              <a:gd name="connsiteX34" fmla="*/ 96001 w 102989"/>
              <a:gd name="connsiteY34" fmla="*/ 126274 h 152245"/>
              <a:gd name="connsiteX35" fmla="*/ 87941 w 102989"/>
              <a:gd name="connsiteY35" fmla="*/ 147768 h 152245"/>
              <a:gd name="connsiteX36" fmla="*/ 35550 w 102989"/>
              <a:gd name="connsiteY36" fmla="*/ 147768 h 152245"/>
              <a:gd name="connsiteX37" fmla="*/ 35550 w 102989"/>
              <a:gd name="connsiteY37" fmla="*/ 147768 h 152245"/>
              <a:gd name="connsiteX38" fmla="*/ 28386 w 102989"/>
              <a:gd name="connsiteY38" fmla="*/ 136126 h 152245"/>
              <a:gd name="connsiteX39" fmla="*/ 16296 w 102989"/>
              <a:gd name="connsiteY39" fmla="*/ 113289 h 152245"/>
              <a:gd name="connsiteX40" fmla="*/ 4206 w 102989"/>
              <a:gd name="connsiteY40" fmla="*/ 63585 h 152245"/>
              <a:gd name="connsiteX41" fmla="*/ 4206 w 102989"/>
              <a:gd name="connsiteY41" fmla="*/ 63585 h 152245"/>
              <a:gd name="connsiteX42" fmla="*/ 4206 w 102989"/>
              <a:gd name="connsiteY42" fmla="*/ 63585 h 152245"/>
              <a:gd name="connsiteX43" fmla="*/ 6445 w 102989"/>
              <a:gd name="connsiteY43" fmla="*/ 62689 h 152245"/>
              <a:gd name="connsiteX44" fmla="*/ 15400 w 102989"/>
              <a:gd name="connsiteY44" fmla="*/ 62689 h 152245"/>
              <a:gd name="connsiteX45" fmla="*/ 22565 w 102989"/>
              <a:gd name="connsiteY45" fmla="*/ 70749 h 152245"/>
              <a:gd name="connsiteX46" fmla="*/ 27490 w 102989"/>
              <a:gd name="connsiteY46" fmla="*/ 96273 h 152245"/>
              <a:gd name="connsiteX47" fmla="*/ 31073 w 102989"/>
              <a:gd name="connsiteY47" fmla="*/ 98512 h 152245"/>
              <a:gd name="connsiteX48" fmla="*/ 33759 w 102989"/>
              <a:gd name="connsiteY48" fmla="*/ 95825 h 152245"/>
              <a:gd name="connsiteX49" fmla="*/ 70925 w 102989"/>
              <a:gd name="connsiteY49" fmla="*/ 114632 h 152245"/>
              <a:gd name="connsiteX50" fmla="*/ 71821 w 102989"/>
              <a:gd name="connsiteY50" fmla="*/ 118662 h 152245"/>
              <a:gd name="connsiteX51" fmla="*/ 74060 w 102989"/>
              <a:gd name="connsiteY51" fmla="*/ 120453 h 152245"/>
              <a:gd name="connsiteX52" fmla="*/ 74507 w 102989"/>
              <a:gd name="connsiteY52" fmla="*/ 120453 h 152245"/>
              <a:gd name="connsiteX53" fmla="*/ 76299 w 102989"/>
              <a:gd name="connsiteY53" fmla="*/ 117767 h 152245"/>
              <a:gd name="connsiteX54" fmla="*/ 74955 w 102989"/>
              <a:gd name="connsiteY54" fmla="*/ 113289 h 152245"/>
              <a:gd name="connsiteX55" fmla="*/ 33759 w 102989"/>
              <a:gd name="connsiteY55" fmla="*/ 91348 h 152245"/>
              <a:gd name="connsiteX56" fmla="*/ 33759 w 102989"/>
              <a:gd name="connsiteY56" fmla="*/ 80601 h 152245"/>
              <a:gd name="connsiteX57" fmla="*/ 33759 w 102989"/>
              <a:gd name="connsiteY57" fmla="*/ 24628 h 152245"/>
              <a:gd name="connsiteX58" fmla="*/ 40028 w 102989"/>
              <a:gd name="connsiteY58" fmla="*/ 18359 h 152245"/>
              <a:gd name="connsiteX59" fmla="*/ 44506 w 102989"/>
              <a:gd name="connsiteY59" fmla="*/ 20150 h 152245"/>
              <a:gd name="connsiteX60" fmla="*/ 46297 w 102989"/>
              <a:gd name="connsiteY60" fmla="*/ 24628 h 152245"/>
              <a:gd name="connsiteX61" fmla="*/ 46297 w 102989"/>
              <a:gd name="connsiteY61" fmla="*/ 80601 h 152245"/>
              <a:gd name="connsiteX62" fmla="*/ 48536 w 102989"/>
              <a:gd name="connsiteY62" fmla="*/ 82840 h 152245"/>
              <a:gd name="connsiteX63" fmla="*/ 50775 w 102989"/>
              <a:gd name="connsiteY63" fmla="*/ 80601 h 152245"/>
              <a:gd name="connsiteX64" fmla="*/ 50775 w 102989"/>
              <a:gd name="connsiteY64" fmla="*/ 24628 h 152245"/>
              <a:gd name="connsiteX65" fmla="*/ 50775 w 102989"/>
              <a:gd name="connsiteY65" fmla="*/ 24180 h 152245"/>
              <a:gd name="connsiteX66" fmla="*/ 50775 w 102989"/>
              <a:gd name="connsiteY66" fmla="*/ 24180 h 152245"/>
              <a:gd name="connsiteX67" fmla="*/ 50775 w 102989"/>
              <a:gd name="connsiteY67" fmla="*/ 11195 h 152245"/>
              <a:gd name="connsiteX68" fmla="*/ 57044 w 102989"/>
              <a:gd name="connsiteY68" fmla="*/ 4926 h 152245"/>
              <a:gd name="connsiteX69" fmla="*/ 63313 w 102989"/>
              <a:gd name="connsiteY69" fmla="*/ 11642 h 152245"/>
              <a:gd name="connsiteX70" fmla="*/ 63313 w 102989"/>
              <a:gd name="connsiteY70" fmla="*/ 18359 h 152245"/>
              <a:gd name="connsiteX71" fmla="*/ 63313 w 102989"/>
              <a:gd name="connsiteY71" fmla="*/ 81496 h 152245"/>
              <a:gd name="connsiteX72" fmla="*/ 65552 w 102989"/>
              <a:gd name="connsiteY72" fmla="*/ 83735 h 152245"/>
              <a:gd name="connsiteX73" fmla="*/ 67791 w 102989"/>
              <a:gd name="connsiteY73" fmla="*/ 81496 h 152245"/>
              <a:gd name="connsiteX74" fmla="*/ 67791 w 102989"/>
              <a:gd name="connsiteY74" fmla="*/ 18359 h 152245"/>
              <a:gd name="connsiteX75" fmla="*/ 74507 w 102989"/>
              <a:gd name="connsiteY75" fmla="*/ 11642 h 152245"/>
              <a:gd name="connsiteX76" fmla="*/ 78985 w 102989"/>
              <a:gd name="connsiteY76" fmla="*/ 13433 h 152245"/>
              <a:gd name="connsiteX77" fmla="*/ 80776 w 102989"/>
              <a:gd name="connsiteY77" fmla="*/ 17911 h 152245"/>
              <a:gd name="connsiteX78" fmla="*/ 80776 w 102989"/>
              <a:gd name="connsiteY78" fmla="*/ 34479 h 152245"/>
              <a:gd name="connsiteX79" fmla="*/ 80776 w 102989"/>
              <a:gd name="connsiteY79" fmla="*/ 80601 h 152245"/>
              <a:gd name="connsiteX80" fmla="*/ 83015 w 102989"/>
              <a:gd name="connsiteY80" fmla="*/ 82840 h 152245"/>
              <a:gd name="connsiteX81" fmla="*/ 85254 w 102989"/>
              <a:gd name="connsiteY81" fmla="*/ 80601 h 152245"/>
              <a:gd name="connsiteX82" fmla="*/ 85254 w 102989"/>
              <a:gd name="connsiteY82" fmla="*/ 34479 h 152245"/>
              <a:gd name="connsiteX83" fmla="*/ 91971 w 102989"/>
              <a:gd name="connsiteY83" fmla="*/ 28210 h 152245"/>
              <a:gd name="connsiteX84" fmla="*/ 96449 w 102989"/>
              <a:gd name="connsiteY84" fmla="*/ 30001 h 152245"/>
              <a:gd name="connsiteX85" fmla="*/ 98240 w 102989"/>
              <a:gd name="connsiteY85" fmla="*/ 34479 h 152245"/>
              <a:gd name="connsiteX86" fmla="*/ 98240 w 102989"/>
              <a:gd name="connsiteY86" fmla="*/ 80601 h 152245"/>
              <a:gd name="connsiteX87" fmla="*/ 98240 w 102989"/>
              <a:gd name="connsiteY87" fmla="*/ 102094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02989" h="152245">
                <a:moveTo>
                  <a:pt x="100031" y="25971"/>
                </a:moveTo>
                <a:cubicBezTo>
                  <a:pt x="97792" y="23732"/>
                  <a:pt x="95105" y="22837"/>
                  <a:pt x="92419" y="22837"/>
                </a:cubicBezTo>
                <a:cubicBezTo>
                  <a:pt x="90180" y="22837"/>
                  <a:pt x="87493" y="23732"/>
                  <a:pt x="85702" y="25076"/>
                </a:cubicBezTo>
                <a:lnTo>
                  <a:pt x="85702" y="17464"/>
                </a:lnTo>
                <a:cubicBezTo>
                  <a:pt x="85702" y="14329"/>
                  <a:pt x="84359" y="11642"/>
                  <a:pt x="82568" y="9851"/>
                </a:cubicBezTo>
                <a:cubicBezTo>
                  <a:pt x="80329" y="7612"/>
                  <a:pt x="77642" y="6717"/>
                  <a:pt x="74955" y="6717"/>
                </a:cubicBezTo>
                <a:cubicBezTo>
                  <a:pt x="72269" y="6717"/>
                  <a:pt x="70030" y="7612"/>
                  <a:pt x="68239" y="8956"/>
                </a:cubicBezTo>
                <a:cubicBezTo>
                  <a:pt x="66895" y="2239"/>
                  <a:pt x="61970" y="0"/>
                  <a:pt x="57940" y="0"/>
                </a:cubicBezTo>
                <a:cubicBezTo>
                  <a:pt x="52118" y="0"/>
                  <a:pt x="47193" y="4926"/>
                  <a:pt x="47193" y="10747"/>
                </a:cubicBezTo>
                <a:lnTo>
                  <a:pt x="47193" y="15672"/>
                </a:lnTo>
                <a:cubicBezTo>
                  <a:pt x="45402" y="14329"/>
                  <a:pt x="43163" y="13433"/>
                  <a:pt x="40476" y="13433"/>
                </a:cubicBezTo>
                <a:cubicBezTo>
                  <a:pt x="34207" y="13433"/>
                  <a:pt x="29729" y="18359"/>
                  <a:pt x="29729" y="24180"/>
                </a:cubicBezTo>
                <a:lnTo>
                  <a:pt x="29729" y="80153"/>
                </a:lnTo>
                <a:cubicBezTo>
                  <a:pt x="29729" y="80153"/>
                  <a:pt x="29729" y="80601"/>
                  <a:pt x="29729" y="81496"/>
                </a:cubicBezTo>
                <a:lnTo>
                  <a:pt x="27490" y="69406"/>
                </a:lnTo>
                <a:cubicBezTo>
                  <a:pt x="25251" y="64033"/>
                  <a:pt x="22117" y="60003"/>
                  <a:pt x="17639" y="58212"/>
                </a:cubicBezTo>
                <a:cubicBezTo>
                  <a:pt x="14057" y="56421"/>
                  <a:pt x="9579" y="56421"/>
                  <a:pt x="5549" y="58212"/>
                </a:cubicBezTo>
                <a:cubicBezTo>
                  <a:pt x="4653" y="58660"/>
                  <a:pt x="3758" y="59107"/>
                  <a:pt x="2862" y="59555"/>
                </a:cubicBezTo>
                <a:lnTo>
                  <a:pt x="1071" y="60451"/>
                </a:lnTo>
                <a:cubicBezTo>
                  <a:pt x="176" y="60898"/>
                  <a:pt x="-272" y="62242"/>
                  <a:pt x="176" y="63137"/>
                </a:cubicBezTo>
                <a:lnTo>
                  <a:pt x="12266" y="114632"/>
                </a:lnTo>
                <a:cubicBezTo>
                  <a:pt x="14952" y="123588"/>
                  <a:pt x="19878" y="131200"/>
                  <a:pt x="25251" y="138812"/>
                </a:cubicBezTo>
                <a:cubicBezTo>
                  <a:pt x="27938" y="142842"/>
                  <a:pt x="30177" y="146425"/>
                  <a:pt x="31968" y="150007"/>
                </a:cubicBezTo>
                <a:lnTo>
                  <a:pt x="32864" y="151350"/>
                </a:lnTo>
                <a:cubicBezTo>
                  <a:pt x="33312" y="152246"/>
                  <a:pt x="34207" y="152694"/>
                  <a:pt x="34655" y="152694"/>
                </a:cubicBezTo>
                <a:lnTo>
                  <a:pt x="89284" y="152694"/>
                </a:lnTo>
                <a:cubicBezTo>
                  <a:pt x="90180" y="152694"/>
                  <a:pt x="90628" y="152246"/>
                  <a:pt x="91075" y="151798"/>
                </a:cubicBezTo>
                <a:lnTo>
                  <a:pt x="91971" y="150455"/>
                </a:lnTo>
                <a:cubicBezTo>
                  <a:pt x="95105" y="145081"/>
                  <a:pt x="98240" y="137021"/>
                  <a:pt x="100927" y="127618"/>
                </a:cubicBezTo>
                <a:cubicBezTo>
                  <a:pt x="103165" y="118662"/>
                  <a:pt x="104509" y="110154"/>
                  <a:pt x="104509" y="102542"/>
                </a:cubicBezTo>
                <a:lnTo>
                  <a:pt x="104509" y="80153"/>
                </a:lnTo>
                <a:lnTo>
                  <a:pt x="104509" y="34032"/>
                </a:lnTo>
                <a:cubicBezTo>
                  <a:pt x="103613" y="30897"/>
                  <a:pt x="102270" y="27763"/>
                  <a:pt x="100031" y="25971"/>
                </a:cubicBezTo>
                <a:close/>
                <a:moveTo>
                  <a:pt x="99135" y="102094"/>
                </a:moveTo>
                <a:cubicBezTo>
                  <a:pt x="99135" y="109259"/>
                  <a:pt x="97792" y="117319"/>
                  <a:pt x="96001" y="126274"/>
                </a:cubicBezTo>
                <a:cubicBezTo>
                  <a:pt x="93762" y="134782"/>
                  <a:pt x="90628" y="142842"/>
                  <a:pt x="87941" y="147768"/>
                </a:cubicBezTo>
                <a:lnTo>
                  <a:pt x="35550" y="147768"/>
                </a:lnTo>
                <a:lnTo>
                  <a:pt x="35550" y="147768"/>
                </a:lnTo>
                <a:cubicBezTo>
                  <a:pt x="33759" y="144186"/>
                  <a:pt x="31073" y="140156"/>
                  <a:pt x="28386" y="136126"/>
                </a:cubicBezTo>
                <a:cubicBezTo>
                  <a:pt x="23908" y="128961"/>
                  <a:pt x="18983" y="121349"/>
                  <a:pt x="16296" y="113289"/>
                </a:cubicBezTo>
                <a:lnTo>
                  <a:pt x="4206" y="63585"/>
                </a:lnTo>
                <a:lnTo>
                  <a:pt x="4206" y="63585"/>
                </a:lnTo>
                <a:lnTo>
                  <a:pt x="4206" y="63585"/>
                </a:lnTo>
                <a:cubicBezTo>
                  <a:pt x="5101" y="63137"/>
                  <a:pt x="5549" y="62689"/>
                  <a:pt x="6445" y="62689"/>
                </a:cubicBezTo>
                <a:cubicBezTo>
                  <a:pt x="9579" y="61794"/>
                  <a:pt x="12714" y="61794"/>
                  <a:pt x="15400" y="62689"/>
                </a:cubicBezTo>
                <a:cubicBezTo>
                  <a:pt x="18535" y="64033"/>
                  <a:pt x="21221" y="66720"/>
                  <a:pt x="22565" y="70749"/>
                </a:cubicBezTo>
                <a:lnTo>
                  <a:pt x="27490" y="96273"/>
                </a:lnTo>
                <a:cubicBezTo>
                  <a:pt x="27938" y="98064"/>
                  <a:pt x="29729" y="98960"/>
                  <a:pt x="31073" y="98512"/>
                </a:cubicBezTo>
                <a:cubicBezTo>
                  <a:pt x="32416" y="98064"/>
                  <a:pt x="33312" y="97169"/>
                  <a:pt x="33759" y="95825"/>
                </a:cubicBezTo>
                <a:cubicBezTo>
                  <a:pt x="49879" y="91348"/>
                  <a:pt x="66000" y="99408"/>
                  <a:pt x="70925" y="114632"/>
                </a:cubicBezTo>
                <a:cubicBezTo>
                  <a:pt x="71373" y="115976"/>
                  <a:pt x="71821" y="117319"/>
                  <a:pt x="71821" y="118662"/>
                </a:cubicBezTo>
                <a:cubicBezTo>
                  <a:pt x="71821" y="119558"/>
                  <a:pt x="73164" y="120453"/>
                  <a:pt x="74060" y="120453"/>
                </a:cubicBezTo>
                <a:cubicBezTo>
                  <a:pt x="74060" y="120453"/>
                  <a:pt x="74507" y="120453"/>
                  <a:pt x="74507" y="120453"/>
                </a:cubicBezTo>
                <a:cubicBezTo>
                  <a:pt x="75851" y="120005"/>
                  <a:pt x="76299" y="119110"/>
                  <a:pt x="76299" y="117767"/>
                </a:cubicBezTo>
                <a:cubicBezTo>
                  <a:pt x="75851" y="116423"/>
                  <a:pt x="75403" y="114632"/>
                  <a:pt x="74955" y="113289"/>
                </a:cubicBezTo>
                <a:cubicBezTo>
                  <a:pt x="69134" y="96273"/>
                  <a:pt x="51223" y="86870"/>
                  <a:pt x="33759" y="91348"/>
                </a:cubicBezTo>
                <a:cubicBezTo>
                  <a:pt x="33759" y="86870"/>
                  <a:pt x="33759" y="80601"/>
                  <a:pt x="33759" y="80601"/>
                </a:cubicBezTo>
                <a:lnTo>
                  <a:pt x="33759" y="24628"/>
                </a:lnTo>
                <a:cubicBezTo>
                  <a:pt x="33759" y="21046"/>
                  <a:pt x="36446" y="18359"/>
                  <a:pt x="40028" y="18359"/>
                </a:cubicBezTo>
                <a:cubicBezTo>
                  <a:pt x="41819" y="18359"/>
                  <a:pt x="43611" y="19255"/>
                  <a:pt x="44506" y="20150"/>
                </a:cubicBezTo>
                <a:cubicBezTo>
                  <a:pt x="45849" y="21493"/>
                  <a:pt x="46297" y="22837"/>
                  <a:pt x="46297" y="24628"/>
                </a:cubicBezTo>
                <a:lnTo>
                  <a:pt x="46297" y="80601"/>
                </a:lnTo>
                <a:cubicBezTo>
                  <a:pt x="46297" y="81944"/>
                  <a:pt x="47193" y="82840"/>
                  <a:pt x="48536" y="82840"/>
                </a:cubicBezTo>
                <a:cubicBezTo>
                  <a:pt x="49879" y="82840"/>
                  <a:pt x="50775" y="81944"/>
                  <a:pt x="50775" y="80601"/>
                </a:cubicBezTo>
                <a:lnTo>
                  <a:pt x="50775" y="24628"/>
                </a:lnTo>
                <a:cubicBezTo>
                  <a:pt x="50775" y="24628"/>
                  <a:pt x="50775" y="24180"/>
                  <a:pt x="50775" y="24180"/>
                </a:cubicBezTo>
                <a:cubicBezTo>
                  <a:pt x="50775" y="24180"/>
                  <a:pt x="50775" y="24180"/>
                  <a:pt x="50775" y="24180"/>
                </a:cubicBezTo>
                <a:lnTo>
                  <a:pt x="50775" y="11195"/>
                </a:lnTo>
                <a:cubicBezTo>
                  <a:pt x="50775" y="7612"/>
                  <a:pt x="53462" y="4926"/>
                  <a:pt x="57044" y="4926"/>
                </a:cubicBezTo>
                <a:cubicBezTo>
                  <a:pt x="59731" y="4926"/>
                  <a:pt x="62865" y="6269"/>
                  <a:pt x="63313" y="11642"/>
                </a:cubicBezTo>
                <a:lnTo>
                  <a:pt x="63313" y="18359"/>
                </a:lnTo>
                <a:lnTo>
                  <a:pt x="63313" y="81496"/>
                </a:lnTo>
                <a:cubicBezTo>
                  <a:pt x="63313" y="82840"/>
                  <a:pt x="64208" y="83735"/>
                  <a:pt x="65552" y="83735"/>
                </a:cubicBezTo>
                <a:cubicBezTo>
                  <a:pt x="66895" y="83735"/>
                  <a:pt x="67791" y="82840"/>
                  <a:pt x="67791" y="81496"/>
                </a:cubicBezTo>
                <a:lnTo>
                  <a:pt x="67791" y="18359"/>
                </a:lnTo>
                <a:cubicBezTo>
                  <a:pt x="67791" y="14777"/>
                  <a:pt x="70925" y="11642"/>
                  <a:pt x="74507" y="11642"/>
                </a:cubicBezTo>
                <a:cubicBezTo>
                  <a:pt x="76299" y="11642"/>
                  <a:pt x="78090" y="12538"/>
                  <a:pt x="78985" y="13433"/>
                </a:cubicBezTo>
                <a:cubicBezTo>
                  <a:pt x="80329" y="14777"/>
                  <a:pt x="80776" y="16120"/>
                  <a:pt x="80776" y="17911"/>
                </a:cubicBezTo>
                <a:lnTo>
                  <a:pt x="80776" y="34479"/>
                </a:lnTo>
                <a:lnTo>
                  <a:pt x="80776" y="80601"/>
                </a:lnTo>
                <a:cubicBezTo>
                  <a:pt x="80776" y="81944"/>
                  <a:pt x="81672" y="82840"/>
                  <a:pt x="83015" y="82840"/>
                </a:cubicBezTo>
                <a:cubicBezTo>
                  <a:pt x="84359" y="82840"/>
                  <a:pt x="85254" y="81944"/>
                  <a:pt x="85254" y="80601"/>
                </a:cubicBezTo>
                <a:lnTo>
                  <a:pt x="85254" y="34479"/>
                </a:lnTo>
                <a:cubicBezTo>
                  <a:pt x="85254" y="30897"/>
                  <a:pt x="88389" y="28210"/>
                  <a:pt x="91971" y="28210"/>
                </a:cubicBezTo>
                <a:cubicBezTo>
                  <a:pt x="93762" y="28210"/>
                  <a:pt x="95553" y="29106"/>
                  <a:pt x="96449" y="30001"/>
                </a:cubicBezTo>
                <a:cubicBezTo>
                  <a:pt x="97792" y="31345"/>
                  <a:pt x="98240" y="32688"/>
                  <a:pt x="98240" y="34479"/>
                </a:cubicBezTo>
                <a:lnTo>
                  <a:pt x="98240" y="80601"/>
                </a:lnTo>
                <a:lnTo>
                  <a:pt x="98240" y="102094"/>
                </a:lnTo>
                <a:close/>
              </a:path>
            </a:pathLst>
          </a:custGeom>
          <a:solidFill>
            <a:srgbClr val="231F20"/>
          </a:solidFill>
          <a:ln w="4474" cap="flat">
            <a:noFill/>
            <a:prstDash val="solid"/>
            <a:miter/>
          </a:ln>
        </p:spPr>
        <p:txBody>
          <a:bodyPr rtlCol="0" anchor="ctr"/>
          <a:lstStyle/>
          <a:p>
            <a:endParaRPr lang="en-US"/>
          </a:p>
        </p:txBody>
      </p:sp>
      <p:sp>
        <p:nvSpPr>
          <p:cNvPr id="4688" name="Freeform: Shape 4687">
            <a:extLst>
              <a:ext uri="{FF2B5EF4-FFF2-40B4-BE49-F238E27FC236}">
                <a16:creationId xmlns:a16="http://schemas.microsoft.com/office/drawing/2014/main" id="{397CA91A-02B0-475D-BE70-A66DB11DB495}"/>
              </a:ext>
              <a:ext uri="{C183D7F6-B498-43B3-948B-1728B52AA6E4}">
                <adec:decorative xmlns:adec="http://schemas.microsoft.com/office/drawing/2017/decorative" val="1"/>
              </a:ext>
            </a:extLst>
          </p:cNvPr>
          <p:cNvSpPr>
            <a:spLocks noChangeAspect="1"/>
          </p:cNvSpPr>
          <p:nvPr/>
        </p:nvSpPr>
        <p:spPr>
          <a:xfrm>
            <a:off x="9546462" y="1743228"/>
            <a:ext cx="94034" cy="125379"/>
          </a:xfrm>
          <a:custGeom>
            <a:avLst/>
            <a:gdLst>
              <a:gd name="connsiteX0" fmla="*/ 16120 w 94034"/>
              <a:gd name="connsiteY0" fmla="*/ 125379 h 125378"/>
              <a:gd name="connsiteX1" fmla="*/ 14777 w 94034"/>
              <a:gd name="connsiteY1" fmla="*/ 124931 h 125378"/>
              <a:gd name="connsiteX2" fmla="*/ 13881 w 94034"/>
              <a:gd name="connsiteY2" fmla="*/ 122244 h 125378"/>
              <a:gd name="connsiteX3" fmla="*/ 38957 w 94034"/>
              <a:gd name="connsiteY3" fmla="*/ 71645 h 125378"/>
              <a:gd name="connsiteX4" fmla="*/ 2239 w 94034"/>
              <a:gd name="connsiteY4" fmla="*/ 71645 h 125378"/>
              <a:gd name="connsiteX5" fmla="*/ 448 w 94034"/>
              <a:gd name="connsiteY5" fmla="*/ 70749 h 125378"/>
              <a:gd name="connsiteX6" fmla="*/ 0 w 94034"/>
              <a:gd name="connsiteY6" fmla="*/ 68511 h 125378"/>
              <a:gd name="connsiteX7" fmla="*/ 26867 w 94034"/>
              <a:gd name="connsiteY7" fmla="*/ 1343 h 125378"/>
              <a:gd name="connsiteX8" fmla="*/ 29106 w 94034"/>
              <a:gd name="connsiteY8" fmla="*/ 0 h 125378"/>
              <a:gd name="connsiteX9" fmla="*/ 29106 w 94034"/>
              <a:gd name="connsiteY9" fmla="*/ 0 h 125378"/>
              <a:gd name="connsiteX10" fmla="*/ 69406 w 94034"/>
              <a:gd name="connsiteY10" fmla="*/ 0 h 125378"/>
              <a:gd name="connsiteX11" fmla="*/ 71197 w 94034"/>
              <a:gd name="connsiteY11" fmla="*/ 896 h 125378"/>
              <a:gd name="connsiteX12" fmla="*/ 71197 w 94034"/>
              <a:gd name="connsiteY12" fmla="*/ 3135 h 125378"/>
              <a:gd name="connsiteX13" fmla="*/ 55973 w 94034"/>
              <a:gd name="connsiteY13" fmla="*/ 40300 h 125378"/>
              <a:gd name="connsiteX14" fmla="*/ 95825 w 94034"/>
              <a:gd name="connsiteY14" fmla="*/ 40300 h 125378"/>
              <a:gd name="connsiteX15" fmla="*/ 98064 w 94034"/>
              <a:gd name="connsiteY15" fmla="*/ 41644 h 125378"/>
              <a:gd name="connsiteX16" fmla="*/ 97617 w 94034"/>
              <a:gd name="connsiteY16" fmla="*/ 43883 h 125378"/>
              <a:gd name="connsiteX17" fmla="*/ 17016 w 94034"/>
              <a:gd name="connsiteY17" fmla="*/ 124483 h 125378"/>
              <a:gd name="connsiteX18" fmla="*/ 16120 w 94034"/>
              <a:gd name="connsiteY18" fmla="*/ 125379 h 125378"/>
              <a:gd name="connsiteX19" fmla="*/ 6269 w 94034"/>
              <a:gd name="connsiteY19" fmla="*/ 67167 h 125378"/>
              <a:gd name="connsiteX20" fmla="*/ 43435 w 94034"/>
              <a:gd name="connsiteY20" fmla="*/ 67167 h 125378"/>
              <a:gd name="connsiteX21" fmla="*/ 45226 w 94034"/>
              <a:gd name="connsiteY21" fmla="*/ 68063 h 125378"/>
              <a:gd name="connsiteX22" fmla="*/ 45226 w 94034"/>
              <a:gd name="connsiteY22" fmla="*/ 70302 h 125378"/>
              <a:gd name="connsiteX23" fmla="*/ 24628 w 94034"/>
              <a:gd name="connsiteY23" fmla="*/ 111498 h 125378"/>
              <a:gd name="connsiteX24" fmla="*/ 91795 w 94034"/>
              <a:gd name="connsiteY24" fmla="*/ 44331 h 125378"/>
              <a:gd name="connsiteX25" fmla="*/ 53734 w 94034"/>
              <a:gd name="connsiteY25" fmla="*/ 44331 h 125378"/>
              <a:gd name="connsiteX26" fmla="*/ 51943 w 94034"/>
              <a:gd name="connsiteY26" fmla="*/ 43435 h 125378"/>
              <a:gd name="connsiteX27" fmla="*/ 51943 w 94034"/>
              <a:gd name="connsiteY27" fmla="*/ 41196 h 125378"/>
              <a:gd name="connsiteX28" fmla="*/ 67167 w 94034"/>
              <a:gd name="connsiteY28" fmla="*/ 4030 h 125378"/>
              <a:gd name="connsiteX29" fmla="*/ 31793 w 94034"/>
              <a:gd name="connsiteY29" fmla="*/ 4030 h 125378"/>
              <a:gd name="connsiteX30" fmla="*/ 6269 w 94034"/>
              <a:gd name="connsiteY30" fmla="*/ 67167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4034" h="125378">
                <a:moveTo>
                  <a:pt x="16120" y="125379"/>
                </a:moveTo>
                <a:cubicBezTo>
                  <a:pt x="15672" y="125379"/>
                  <a:pt x="15225" y="125379"/>
                  <a:pt x="14777" y="124931"/>
                </a:cubicBezTo>
                <a:cubicBezTo>
                  <a:pt x="13881" y="124483"/>
                  <a:pt x="13433" y="123140"/>
                  <a:pt x="13881" y="122244"/>
                </a:cubicBezTo>
                <a:lnTo>
                  <a:pt x="38957" y="71645"/>
                </a:lnTo>
                <a:lnTo>
                  <a:pt x="2239" y="71645"/>
                </a:lnTo>
                <a:cubicBezTo>
                  <a:pt x="1344" y="71645"/>
                  <a:pt x="896" y="71197"/>
                  <a:pt x="448" y="70749"/>
                </a:cubicBezTo>
                <a:cubicBezTo>
                  <a:pt x="0" y="70302"/>
                  <a:pt x="0" y="69406"/>
                  <a:pt x="0" y="68511"/>
                </a:cubicBezTo>
                <a:lnTo>
                  <a:pt x="26867" y="1343"/>
                </a:lnTo>
                <a:cubicBezTo>
                  <a:pt x="27315" y="448"/>
                  <a:pt x="28210" y="0"/>
                  <a:pt x="29106" y="0"/>
                </a:cubicBezTo>
                <a:lnTo>
                  <a:pt x="29106" y="0"/>
                </a:lnTo>
                <a:lnTo>
                  <a:pt x="69406" y="0"/>
                </a:lnTo>
                <a:cubicBezTo>
                  <a:pt x="70302" y="0"/>
                  <a:pt x="70750" y="448"/>
                  <a:pt x="71197" y="896"/>
                </a:cubicBezTo>
                <a:cubicBezTo>
                  <a:pt x="71645" y="1343"/>
                  <a:pt x="71645" y="2239"/>
                  <a:pt x="71197" y="3135"/>
                </a:cubicBezTo>
                <a:lnTo>
                  <a:pt x="55973" y="40300"/>
                </a:lnTo>
                <a:lnTo>
                  <a:pt x="95825" y="40300"/>
                </a:lnTo>
                <a:cubicBezTo>
                  <a:pt x="96721" y="40300"/>
                  <a:pt x="97617" y="40748"/>
                  <a:pt x="98064" y="41644"/>
                </a:cubicBezTo>
                <a:cubicBezTo>
                  <a:pt x="98512" y="42539"/>
                  <a:pt x="98064" y="43435"/>
                  <a:pt x="97617" y="43883"/>
                </a:cubicBezTo>
                <a:lnTo>
                  <a:pt x="17016" y="124483"/>
                </a:lnTo>
                <a:cubicBezTo>
                  <a:pt x="17464" y="125379"/>
                  <a:pt x="17016" y="125379"/>
                  <a:pt x="16120" y="125379"/>
                </a:cubicBezTo>
                <a:close/>
                <a:moveTo>
                  <a:pt x="6269" y="67167"/>
                </a:moveTo>
                <a:lnTo>
                  <a:pt x="43435" y="67167"/>
                </a:lnTo>
                <a:cubicBezTo>
                  <a:pt x="44331" y="67167"/>
                  <a:pt x="44778" y="67615"/>
                  <a:pt x="45226" y="68063"/>
                </a:cubicBezTo>
                <a:cubicBezTo>
                  <a:pt x="45674" y="68511"/>
                  <a:pt x="45674" y="69406"/>
                  <a:pt x="45226" y="70302"/>
                </a:cubicBezTo>
                <a:lnTo>
                  <a:pt x="24628" y="111498"/>
                </a:lnTo>
                <a:lnTo>
                  <a:pt x="91795" y="44331"/>
                </a:lnTo>
                <a:lnTo>
                  <a:pt x="53734" y="44331"/>
                </a:lnTo>
                <a:cubicBezTo>
                  <a:pt x="52838" y="44331"/>
                  <a:pt x="52391" y="43883"/>
                  <a:pt x="51943" y="43435"/>
                </a:cubicBezTo>
                <a:cubicBezTo>
                  <a:pt x="51495" y="42987"/>
                  <a:pt x="51495" y="42092"/>
                  <a:pt x="51943" y="41196"/>
                </a:cubicBezTo>
                <a:lnTo>
                  <a:pt x="67167" y="4030"/>
                </a:lnTo>
                <a:lnTo>
                  <a:pt x="31793" y="4030"/>
                </a:lnTo>
                <a:lnTo>
                  <a:pt x="6269" y="67167"/>
                </a:lnTo>
                <a:close/>
              </a:path>
            </a:pathLst>
          </a:custGeom>
          <a:solidFill>
            <a:srgbClr val="231F20"/>
          </a:solidFill>
          <a:ln w="4474" cap="flat">
            <a:noFill/>
            <a:prstDash val="solid"/>
            <a:miter/>
          </a:ln>
        </p:spPr>
        <p:txBody>
          <a:bodyPr rtlCol="0" anchor="ctr"/>
          <a:lstStyle/>
          <a:p>
            <a:endParaRPr lang="en-US"/>
          </a:p>
        </p:txBody>
      </p:sp>
      <p:grpSp>
        <p:nvGrpSpPr>
          <p:cNvPr id="4689" name="Group 4688">
            <a:extLst>
              <a:ext uri="{FF2B5EF4-FFF2-40B4-BE49-F238E27FC236}">
                <a16:creationId xmlns:a16="http://schemas.microsoft.com/office/drawing/2014/main" id="{ED3BFB18-A66A-4DBC-A2AA-4B0ECF836786}"/>
              </a:ext>
              <a:ext uri="{C183D7F6-B498-43B3-948B-1728B52AA6E4}">
                <adec:decorative xmlns:adec="http://schemas.microsoft.com/office/drawing/2017/decorative" val="1"/>
              </a:ext>
            </a:extLst>
          </p:cNvPr>
          <p:cNvGrpSpPr>
            <a:grpSpLocks noChangeAspect="1"/>
          </p:cNvGrpSpPr>
          <p:nvPr/>
        </p:nvGrpSpPr>
        <p:grpSpPr>
          <a:xfrm>
            <a:off x="10320229" y="1754870"/>
            <a:ext cx="150007" cy="96722"/>
            <a:chOff x="4539576" y="5214056"/>
            <a:chExt cx="150007" cy="96722"/>
          </a:xfrm>
        </p:grpSpPr>
        <p:sp>
          <p:nvSpPr>
            <p:cNvPr id="4690" name="Freeform: Shape 4689">
              <a:extLst>
                <a:ext uri="{FF2B5EF4-FFF2-40B4-BE49-F238E27FC236}">
                  <a16:creationId xmlns:a16="http://schemas.microsoft.com/office/drawing/2014/main" id="{18633E93-5141-49B3-89C4-B2438415AB22}"/>
                </a:ext>
              </a:extLst>
            </p:cNvPr>
            <p:cNvSpPr/>
            <p:nvPr/>
          </p:nvSpPr>
          <p:spPr>
            <a:xfrm>
              <a:off x="4539576" y="5214056"/>
              <a:ext cx="67167" cy="71645"/>
            </a:xfrm>
            <a:custGeom>
              <a:avLst/>
              <a:gdLst>
                <a:gd name="connsiteX0" fmla="*/ 22389 w 67167"/>
                <a:gd name="connsiteY0" fmla="*/ 73436 h 71645"/>
                <a:gd name="connsiteX1" fmla="*/ 18807 w 67167"/>
                <a:gd name="connsiteY1" fmla="*/ 73436 h 71645"/>
                <a:gd name="connsiteX2" fmla="*/ 0 w 67167"/>
                <a:gd name="connsiteY2" fmla="*/ 54629 h 71645"/>
                <a:gd name="connsiteX3" fmla="*/ 18807 w 67167"/>
                <a:gd name="connsiteY3" fmla="*/ 35823 h 71645"/>
                <a:gd name="connsiteX4" fmla="*/ 21046 w 67167"/>
                <a:gd name="connsiteY4" fmla="*/ 35823 h 71645"/>
                <a:gd name="connsiteX5" fmla="*/ 20598 w 67167"/>
                <a:gd name="connsiteY5" fmla="*/ 34031 h 71645"/>
                <a:gd name="connsiteX6" fmla="*/ 20150 w 67167"/>
                <a:gd name="connsiteY6" fmla="*/ 28658 h 71645"/>
                <a:gd name="connsiteX7" fmla="*/ 48808 w 67167"/>
                <a:gd name="connsiteY7" fmla="*/ 0 h 71645"/>
                <a:gd name="connsiteX8" fmla="*/ 68063 w 67167"/>
                <a:gd name="connsiteY8" fmla="*/ 7612 h 71645"/>
                <a:gd name="connsiteX9" fmla="*/ 68063 w 67167"/>
                <a:gd name="connsiteY9" fmla="*/ 10747 h 71645"/>
                <a:gd name="connsiteX10" fmla="*/ 64928 w 67167"/>
                <a:gd name="connsiteY10" fmla="*/ 10747 h 71645"/>
                <a:gd name="connsiteX11" fmla="*/ 48808 w 67167"/>
                <a:gd name="connsiteY11" fmla="*/ 4478 h 71645"/>
                <a:gd name="connsiteX12" fmla="*/ 24628 w 67167"/>
                <a:gd name="connsiteY12" fmla="*/ 28658 h 71645"/>
                <a:gd name="connsiteX13" fmla="*/ 25076 w 67167"/>
                <a:gd name="connsiteY13" fmla="*/ 33136 h 71645"/>
                <a:gd name="connsiteX14" fmla="*/ 25971 w 67167"/>
                <a:gd name="connsiteY14" fmla="*/ 37614 h 71645"/>
                <a:gd name="connsiteX15" fmla="*/ 25523 w 67167"/>
                <a:gd name="connsiteY15" fmla="*/ 39405 h 71645"/>
                <a:gd name="connsiteX16" fmla="*/ 23732 w 67167"/>
                <a:gd name="connsiteY16" fmla="*/ 40300 h 71645"/>
                <a:gd name="connsiteX17" fmla="*/ 18807 w 67167"/>
                <a:gd name="connsiteY17" fmla="*/ 40300 h 71645"/>
                <a:gd name="connsiteX18" fmla="*/ 4478 w 67167"/>
                <a:gd name="connsiteY18" fmla="*/ 54629 h 71645"/>
                <a:gd name="connsiteX19" fmla="*/ 18807 w 67167"/>
                <a:gd name="connsiteY19" fmla="*/ 68958 h 71645"/>
                <a:gd name="connsiteX20" fmla="*/ 22389 w 67167"/>
                <a:gd name="connsiteY20" fmla="*/ 68958 h 71645"/>
                <a:gd name="connsiteX21" fmla="*/ 24628 w 67167"/>
                <a:gd name="connsiteY21" fmla="*/ 71197 h 71645"/>
                <a:gd name="connsiteX22" fmla="*/ 22389 w 67167"/>
                <a:gd name="connsiteY22" fmla="*/ 73436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167" h="71645">
                  <a:moveTo>
                    <a:pt x="22389" y="73436"/>
                  </a:moveTo>
                  <a:lnTo>
                    <a:pt x="18807" y="73436"/>
                  </a:lnTo>
                  <a:cubicBezTo>
                    <a:pt x="8508" y="73436"/>
                    <a:pt x="0" y="64928"/>
                    <a:pt x="0" y="54629"/>
                  </a:cubicBezTo>
                  <a:cubicBezTo>
                    <a:pt x="0" y="44330"/>
                    <a:pt x="8508" y="35823"/>
                    <a:pt x="18807" y="35823"/>
                  </a:cubicBezTo>
                  <a:lnTo>
                    <a:pt x="21046" y="35823"/>
                  </a:lnTo>
                  <a:lnTo>
                    <a:pt x="20598" y="34031"/>
                  </a:lnTo>
                  <a:cubicBezTo>
                    <a:pt x="20150" y="32240"/>
                    <a:pt x="20150" y="30449"/>
                    <a:pt x="20150" y="28658"/>
                  </a:cubicBezTo>
                  <a:cubicBezTo>
                    <a:pt x="20150" y="12986"/>
                    <a:pt x="33136" y="0"/>
                    <a:pt x="48808" y="0"/>
                  </a:cubicBezTo>
                  <a:cubicBezTo>
                    <a:pt x="55973" y="0"/>
                    <a:pt x="62689" y="2687"/>
                    <a:pt x="68063" y="7612"/>
                  </a:cubicBezTo>
                  <a:cubicBezTo>
                    <a:pt x="68958" y="8508"/>
                    <a:pt x="68958" y="9851"/>
                    <a:pt x="68063" y="10747"/>
                  </a:cubicBezTo>
                  <a:cubicBezTo>
                    <a:pt x="67167" y="11642"/>
                    <a:pt x="65824" y="11642"/>
                    <a:pt x="64928" y="10747"/>
                  </a:cubicBezTo>
                  <a:cubicBezTo>
                    <a:pt x="60451" y="6717"/>
                    <a:pt x="54629" y="4478"/>
                    <a:pt x="48808" y="4478"/>
                  </a:cubicBezTo>
                  <a:cubicBezTo>
                    <a:pt x="35375" y="4478"/>
                    <a:pt x="24628" y="15224"/>
                    <a:pt x="24628" y="28658"/>
                  </a:cubicBezTo>
                  <a:cubicBezTo>
                    <a:pt x="24628" y="30001"/>
                    <a:pt x="24628" y="31792"/>
                    <a:pt x="25076" y="33136"/>
                  </a:cubicBezTo>
                  <a:lnTo>
                    <a:pt x="25971" y="37614"/>
                  </a:lnTo>
                  <a:cubicBezTo>
                    <a:pt x="25971" y="38061"/>
                    <a:pt x="25971" y="38957"/>
                    <a:pt x="25523" y="39405"/>
                  </a:cubicBezTo>
                  <a:cubicBezTo>
                    <a:pt x="25076" y="39852"/>
                    <a:pt x="24628" y="40300"/>
                    <a:pt x="23732" y="40300"/>
                  </a:cubicBezTo>
                  <a:lnTo>
                    <a:pt x="18807" y="40300"/>
                  </a:lnTo>
                  <a:cubicBezTo>
                    <a:pt x="11195" y="40300"/>
                    <a:pt x="4478" y="46569"/>
                    <a:pt x="4478" y="54629"/>
                  </a:cubicBezTo>
                  <a:cubicBezTo>
                    <a:pt x="4478" y="62689"/>
                    <a:pt x="10747" y="68958"/>
                    <a:pt x="18807" y="68958"/>
                  </a:cubicBezTo>
                  <a:lnTo>
                    <a:pt x="22389" y="68958"/>
                  </a:lnTo>
                  <a:cubicBezTo>
                    <a:pt x="23732" y="68958"/>
                    <a:pt x="24628" y="69854"/>
                    <a:pt x="24628" y="71197"/>
                  </a:cubicBezTo>
                  <a:cubicBezTo>
                    <a:pt x="24628" y="72540"/>
                    <a:pt x="23732" y="73436"/>
                    <a:pt x="22389" y="73436"/>
                  </a:cubicBezTo>
                  <a:close/>
                </a:path>
              </a:pathLst>
            </a:custGeom>
            <a:solidFill>
              <a:srgbClr val="231F20"/>
            </a:solidFill>
            <a:ln w="4474" cap="flat">
              <a:noFill/>
              <a:prstDash val="solid"/>
              <a:miter/>
            </a:ln>
          </p:spPr>
          <p:txBody>
            <a:bodyPr rtlCol="0" anchor="ctr"/>
            <a:lstStyle/>
            <a:p>
              <a:endParaRPr lang="en-US"/>
            </a:p>
          </p:txBody>
        </p:sp>
        <p:sp>
          <p:nvSpPr>
            <p:cNvPr id="4691" name="Freeform: Shape 4690">
              <a:extLst>
                <a:ext uri="{FF2B5EF4-FFF2-40B4-BE49-F238E27FC236}">
                  <a16:creationId xmlns:a16="http://schemas.microsoft.com/office/drawing/2014/main" id="{9958B833-B491-4E0A-9FAF-AE2D3D108AD5}"/>
                </a:ext>
              </a:extLst>
            </p:cNvPr>
            <p:cNvSpPr/>
            <p:nvPr/>
          </p:nvSpPr>
          <p:spPr>
            <a:xfrm>
              <a:off x="4568682" y="5225699"/>
              <a:ext cx="120901" cy="85079"/>
            </a:xfrm>
            <a:custGeom>
              <a:avLst/>
              <a:gdLst>
                <a:gd name="connsiteX0" fmla="*/ 93139 w 120901"/>
                <a:gd name="connsiteY0" fmla="*/ 88661 h 85078"/>
                <a:gd name="connsiteX1" fmla="*/ 26419 w 120901"/>
                <a:gd name="connsiteY1" fmla="*/ 88661 h 85078"/>
                <a:gd name="connsiteX2" fmla="*/ 0 w 120901"/>
                <a:gd name="connsiteY2" fmla="*/ 62242 h 85078"/>
                <a:gd name="connsiteX3" fmla="*/ 20150 w 120901"/>
                <a:gd name="connsiteY3" fmla="*/ 36270 h 85078"/>
                <a:gd name="connsiteX4" fmla="*/ 20150 w 120901"/>
                <a:gd name="connsiteY4" fmla="*/ 36270 h 85078"/>
                <a:gd name="connsiteX5" fmla="*/ 56420 w 120901"/>
                <a:gd name="connsiteY5" fmla="*/ 0 h 85078"/>
                <a:gd name="connsiteX6" fmla="*/ 91795 w 120901"/>
                <a:gd name="connsiteY6" fmla="*/ 29106 h 85078"/>
                <a:gd name="connsiteX7" fmla="*/ 123140 w 120901"/>
                <a:gd name="connsiteY7" fmla="*/ 58659 h 85078"/>
                <a:gd name="connsiteX8" fmla="*/ 93139 w 120901"/>
                <a:gd name="connsiteY8" fmla="*/ 88661 h 85078"/>
                <a:gd name="connsiteX9" fmla="*/ 56420 w 120901"/>
                <a:gd name="connsiteY9" fmla="*/ 4478 h 85078"/>
                <a:gd name="connsiteX10" fmla="*/ 24628 w 120901"/>
                <a:gd name="connsiteY10" fmla="*/ 36270 h 85078"/>
                <a:gd name="connsiteX11" fmla="*/ 24628 w 120901"/>
                <a:gd name="connsiteY11" fmla="*/ 38061 h 85078"/>
                <a:gd name="connsiteX12" fmla="*/ 22837 w 120901"/>
                <a:gd name="connsiteY12" fmla="*/ 40300 h 85078"/>
                <a:gd name="connsiteX13" fmla="*/ 4478 w 120901"/>
                <a:gd name="connsiteY13" fmla="*/ 62242 h 85078"/>
                <a:gd name="connsiteX14" fmla="*/ 26419 w 120901"/>
                <a:gd name="connsiteY14" fmla="*/ 84183 h 85078"/>
                <a:gd name="connsiteX15" fmla="*/ 93139 w 120901"/>
                <a:gd name="connsiteY15" fmla="*/ 84183 h 85078"/>
                <a:gd name="connsiteX16" fmla="*/ 118662 w 120901"/>
                <a:gd name="connsiteY16" fmla="*/ 58659 h 85078"/>
                <a:gd name="connsiteX17" fmla="*/ 93139 w 120901"/>
                <a:gd name="connsiteY17" fmla="*/ 33136 h 85078"/>
                <a:gd name="connsiteX18" fmla="*/ 90004 w 120901"/>
                <a:gd name="connsiteY18" fmla="*/ 33136 h 85078"/>
                <a:gd name="connsiteX19" fmla="*/ 87317 w 120901"/>
                <a:gd name="connsiteY19" fmla="*/ 31345 h 85078"/>
                <a:gd name="connsiteX20" fmla="*/ 56420 w 120901"/>
                <a:gd name="connsiteY20" fmla="*/ 4478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901" h="85078">
                  <a:moveTo>
                    <a:pt x="93139" y="88661"/>
                  </a:moveTo>
                  <a:lnTo>
                    <a:pt x="26419" y="88661"/>
                  </a:lnTo>
                  <a:cubicBezTo>
                    <a:pt x="11642" y="88661"/>
                    <a:pt x="0" y="76571"/>
                    <a:pt x="0" y="62242"/>
                  </a:cubicBezTo>
                  <a:cubicBezTo>
                    <a:pt x="0" y="50152"/>
                    <a:pt x="8508" y="39405"/>
                    <a:pt x="20150" y="36270"/>
                  </a:cubicBezTo>
                  <a:cubicBezTo>
                    <a:pt x="20150" y="36270"/>
                    <a:pt x="20150" y="36270"/>
                    <a:pt x="20150" y="36270"/>
                  </a:cubicBezTo>
                  <a:cubicBezTo>
                    <a:pt x="20150" y="16120"/>
                    <a:pt x="36270" y="0"/>
                    <a:pt x="56420" y="0"/>
                  </a:cubicBezTo>
                  <a:cubicBezTo>
                    <a:pt x="73884" y="0"/>
                    <a:pt x="88661" y="12538"/>
                    <a:pt x="91795" y="29106"/>
                  </a:cubicBezTo>
                  <a:cubicBezTo>
                    <a:pt x="108811" y="28210"/>
                    <a:pt x="123140" y="42092"/>
                    <a:pt x="123140" y="58659"/>
                  </a:cubicBezTo>
                  <a:cubicBezTo>
                    <a:pt x="123140" y="75227"/>
                    <a:pt x="109707" y="88661"/>
                    <a:pt x="93139" y="88661"/>
                  </a:cubicBezTo>
                  <a:close/>
                  <a:moveTo>
                    <a:pt x="56420" y="4478"/>
                  </a:moveTo>
                  <a:cubicBezTo>
                    <a:pt x="38957" y="4478"/>
                    <a:pt x="24628" y="18807"/>
                    <a:pt x="24628" y="36270"/>
                  </a:cubicBezTo>
                  <a:cubicBezTo>
                    <a:pt x="24628" y="36718"/>
                    <a:pt x="24628" y="37614"/>
                    <a:pt x="24628" y="38061"/>
                  </a:cubicBezTo>
                  <a:cubicBezTo>
                    <a:pt x="24628" y="39405"/>
                    <a:pt x="23732" y="40300"/>
                    <a:pt x="22837" y="40300"/>
                  </a:cubicBezTo>
                  <a:cubicBezTo>
                    <a:pt x="12090" y="42092"/>
                    <a:pt x="4478" y="51495"/>
                    <a:pt x="4478" y="62242"/>
                  </a:cubicBezTo>
                  <a:cubicBezTo>
                    <a:pt x="4478" y="74332"/>
                    <a:pt x="14329" y="84183"/>
                    <a:pt x="26419" y="84183"/>
                  </a:cubicBezTo>
                  <a:lnTo>
                    <a:pt x="93139" y="84183"/>
                  </a:lnTo>
                  <a:cubicBezTo>
                    <a:pt x="107020" y="84183"/>
                    <a:pt x="118662" y="72988"/>
                    <a:pt x="118662" y="58659"/>
                  </a:cubicBezTo>
                  <a:cubicBezTo>
                    <a:pt x="118662" y="44778"/>
                    <a:pt x="107468" y="33136"/>
                    <a:pt x="93139" y="33136"/>
                  </a:cubicBezTo>
                  <a:cubicBezTo>
                    <a:pt x="92243" y="33136"/>
                    <a:pt x="91347" y="33136"/>
                    <a:pt x="90004" y="33136"/>
                  </a:cubicBezTo>
                  <a:cubicBezTo>
                    <a:pt x="88661" y="33136"/>
                    <a:pt x="87765" y="32240"/>
                    <a:pt x="87317" y="31345"/>
                  </a:cubicBezTo>
                  <a:cubicBezTo>
                    <a:pt x="85526" y="16120"/>
                    <a:pt x="72093" y="4478"/>
                    <a:pt x="56420" y="4478"/>
                  </a:cubicBezTo>
                  <a:close/>
                </a:path>
              </a:pathLst>
            </a:custGeom>
            <a:solidFill>
              <a:srgbClr val="231F20"/>
            </a:solidFill>
            <a:ln w="4474" cap="flat">
              <a:noFill/>
              <a:prstDash val="solid"/>
              <a:miter/>
            </a:ln>
          </p:spPr>
          <p:txBody>
            <a:bodyPr rtlCol="0" anchor="ctr"/>
            <a:lstStyle/>
            <a:p>
              <a:endParaRPr lang="en-US"/>
            </a:p>
          </p:txBody>
        </p:sp>
      </p:grpSp>
      <p:grpSp>
        <p:nvGrpSpPr>
          <p:cNvPr id="4692" name="Group 4691">
            <a:extLst>
              <a:ext uri="{FF2B5EF4-FFF2-40B4-BE49-F238E27FC236}">
                <a16:creationId xmlns:a16="http://schemas.microsoft.com/office/drawing/2014/main" id="{21BDC2AB-0CC9-4E5F-A2EE-260656B2C423}"/>
              </a:ext>
              <a:ext uri="{C183D7F6-B498-43B3-948B-1728B52AA6E4}">
                <adec:decorative xmlns:adec="http://schemas.microsoft.com/office/drawing/2017/decorative" val="1"/>
              </a:ext>
            </a:extLst>
          </p:cNvPr>
          <p:cNvGrpSpPr>
            <a:grpSpLocks noChangeAspect="1"/>
          </p:cNvGrpSpPr>
          <p:nvPr/>
        </p:nvGrpSpPr>
        <p:grpSpPr>
          <a:xfrm>
            <a:off x="7188443" y="2079960"/>
            <a:ext cx="71645" cy="147768"/>
            <a:chOff x="1407790" y="5539146"/>
            <a:chExt cx="71645" cy="147768"/>
          </a:xfrm>
        </p:grpSpPr>
        <p:sp>
          <p:nvSpPr>
            <p:cNvPr id="4693" name="Freeform: Shape 4692">
              <a:extLst>
                <a:ext uri="{FF2B5EF4-FFF2-40B4-BE49-F238E27FC236}">
                  <a16:creationId xmlns:a16="http://schemas.microsoft.com/office/drawing/2014/main" id="{C3073036-01EC-45DD-82F7-D33E71493062}"/>
                </a:ext>
              </a:extLst>
            </p:cNvPr>
            <p:cNvSpPr/>
            <p:nvPr/>
          </p:nvSpPr>
          <p:spPr>
            <a:xfrm>
              <a:off x="1407790"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694" name="Freeform: Shape 4693">
              <a:extLst>
                <a:ext uri="{FF2B5EF4-FFF2-40B4-BE49-F238E27FC236}">
                  <a16:creationId xmlns:a16="http://schemas.microsoft.com/office/drawing/2014/main" id="{CA826F78-3EE2-40D7-84B4-125215FEA822}"/>
                </a:ext>
              </a:extLst>
            </p:cNvPr>
            <p:cNvSpPr/>
            <p:nvPr/>
          </p:nvSpPr>
          <p:spPr>
            <a:xfrm>
              <a:off x="1418089"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695" name="Freeform: Shape 4694">
              <a:extLst>
                <a:ext uri="{FF2B5EF4-FFF2-40B4-BE49-F238E27FC236}">
                  <a16:creationId xmlns:a16="http://schemas.microsoft.com/office/drawing/2014/main" id="{6F760F68-29D7-4A1A-9130-276F1FCB1D7E}"/>
                </a:ext>
              </a:extLst>
            </p:cNvPr>
            <p:cNvSpPr/>
            <p:nvPr/>
          </p:nvSpPr>
          <p:spPr>
            <a:xfrm>
              <a:off x="1418089" y="56376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696" name="Freeform: Shape 4695">
              <a:extLst>
                <a:ext uri="{FF2B5EF4-FFF2-40B4-BE49-F238E27FC236}">
                  <a16:creationId xmlns:a16="http://schemas.microsoft.com/office/drawing/2014/main" id="{8FF61570-32FB-4964-B00A-0ADD11C44CED}"/>
                </a:ext>
              </a:extLst>
            </p:cNvPr>
            <p:cNvSpPr/>
            <p:nvPr/>
          </p:nvSpPr>
          <p:spPr>
            <a:xfrm>
              <a:off x="1418089" y="5611239"/>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6"/>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697" name="Freeform: Shape 4696">
              <a:extLst>
                <a:ext uri="{FF2B5EF4-FFF2-40B4-BE49-F238E27FC236}">
                  <a16:creationId xmlns:a16="http://schemas.microsoft.com/office/drawing/2014/main" id="{D9110944-7560-4248-BD3E-13D4D7A3E2F9}"/>
                </a:ext>
              </a:extLst>
            </p:cNvPr>
            <p:cNvSpPr/>
            <p:nvPr/>
          </p:nvSpPr>
          <p:spPr>
            <a:xfrm>
              <a:off x="1418089" y="558526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4 h 13433"/>
                <a:gd name="connsiteX4" fmla="*/ 2239 w 49255"/>
                <a:gd name="connsiteY4" fmla="*/ 17463 h 13433"/>
                <a:gd name="connsiteX5" fmla="*/ 48808 w 49255"/>
                <a:gd name="connsiteY5" fmla="*/ 17463 h 13433"/>
                <a:gd name="connsiteX6" fmla="*/ 51047 w 49255"/>
                <a:gd name="connsiteY6" fmla="*/ 15224 h 13433"/>
                <a:gd name="connsiteX7" fmla="*/ 51047 w 49255"/>
                <a:gd name="connsiteY7" fmla="*/ 2239 h 13433"/>
                <a:gd name="connsiteX8" fmla="*/ 48808 w 49255"/>
                <a:gd name="connsiteY8" fmla="*/ 0 h 13433"/>
                <a:gd name="connsiteX9" fmla="*/ 46569 w 49255"/>
                <a:gd name="connsiteY9" fmla="*/ 12985 h 13433"/>
                <a:gd name="connsiteX10" fmla="*/ 4478 w 49255"/>
                <a:gd name="connsiteY10" fmla="*/ 12985 h 13433"/>
                <a:gd name="connsiteX11" fmla="*/ 4478 w 49255"/>
                <a:gd name="connsiteY11" fmla="*/ 4478 h 13433"/>
                <a:gd name="connsiteX12" fmla="*/ 46569 w 49255"/>
                <a:gd name="connsiteY12" fmla="*/ 4478 h 13433"/>
                <a:gd name="connsiteX13" fmla="*/ 46569 w 49255"/>
                <a:gd name="connsiteY13" fmla="*/ 12985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4"/>
                  </a:lnTo>
                  <a:cubicBezTo>
                    <a:pt x="0" y="16568"/>
                    <a:pt x="896" y="17463"/>
                    <a:pt x="2239" y="17463"/>
                  </a:cubicBezTo>
                  <a:lnTo>
                    <a:pt x="48808" y="17463"/>
                  </a:lnTo>
                  <a:cubicBezTo>
                    <a:pt x="50152" y="17463"/>
                    <a:pt x="51047" y="16568"/>
                    <a:pt x="51047" y="15224"/>
                  </a:cubicBezTo>
                  <a:lnTo>
                    <a:pt x="51047" y="2239"/>
                  </a:lnTo>
                  <a:cubicBezTo>
                    <a:pt x="51047" y="895"/>
                    <a:pt x="50152" y="0"/>
                    <a:pt x="48808" y="0"/>
                  </a:cubicBezTo>
                  <a:close/>
                  <a:moveTo>
                    <a:pt x="46569" y="12985"/>
                  </a:moveTo>
                  <a:lnTo>
                    <a:pt x="4478" y="12985"/>
                  </a:lnTo>
                  <a:lnTo>
                    <a:pt x="4478" y="4478"/>
                  </a:lnTo>
                  <a:lnTo>
                    <a:pt x="46569" y="4478"/>
                  </a:lnTo>
                  <a:lnTo>
                    <a:pt x="46569" y="12985"/>
                  </a:lnTo>
                  <a:close/>
                </a:path>
              </a:pathLst>
            </a:custGeom>
            <a:solidFill>
              <a:srgbClr val="231F20"/>
            </a:solidFill>
            <a:ln w="4474" cap="flat">
              <a:noFill/>
              <a:prstDash val="solid"/>
              <a:miter/>
            </a:ln>
          </p:spPr>
          <p:txBody>
            <a:bodyPr rtlCol="0" anchor="ctr"/>
            <a:lstStyle/>
            <a:p>
              <a:endParaRPr lang="en-US"/>
            </a:p>
          </p:txBody>
        </p:sp>
      </p:grpSp>
      <p:grpSp>
        <p:nvGrpSpPr>
          <p:cNvPr id="4698" name="Group 4697">
            <a:extLst>
              <a:ext uri="{FF2B5EF4-FFF2-40B4-BE49-F238E27FC236}">
                <a16:creationId xmlns:a16="http://schemas.microsoft.com/office/drawing/2014/main" id="{32854399-0156-4C80-A6F4-EA6910D993D1}"/>
              </a:ext>
              <a:ext uri="{C183D7F6-B498-43B3-948B-1728B52AA6E4}">
                <adec:decorative xmlns:adec="http://schemas.microsoft.com/office/drawing/2017/decorative" val="1"/>
              </a:ext>
            </a:extLst>
          </p:cNvPr>
          <p:cNvGrpSpPr>
            <a:grpSpLocks noChangeAspect="1"/>
          </p:cNvGrpSpPr>
          <p:nvPr/>
        </p:nvGrpSpPr>
        <p:grpSpPr>
          <a:xfrm>
            <a:off x="6935447" y="2079960"/>
            <a:ext cx="71645" cy="147768"/>
            <a:chOff x="1154794" y="5539146"/>
            <a:chExt cx="71645" cy="147768"/>
          </a:xfrm>
        </p:grpSpPr>
        <p:sp>
          <p:nvSpPr>
            <p:cNvPr id="4699" name="Freeform: Shape 4698">
              <a:extLst>
                <a:ext uri="{FF2B5EF4-FFF2-40B4-BE49-F238E27FC236}">
                  <a16:creationId xmlns:a16="http://schemas.microsoft.com/office/drawing/2014/main" id="{B8D4BCC6-7B42-483B-8BBB-B9AA61F1FA8C}"/>
                </a:ext>
              </a:extLst>
            </p:cNvPr>
            <p:cNvSpPr/>
            <p:nvPr/>
          </p:nvSpPr>
          <p:spPr>
            <a:xfrm>
              <a:off x="1154794"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00" name="Freeform: Shape 4699">
              <a:extLst>
                <a:ext uri="{FF2B5EF4-FFF2-40B4-BE49-F238E27FC236}">
                  <a16:creationId xmlns:a16="http://schemas.microsoft.com/office/drawing/2014/main" id="{21F2B1A3-3A80-4820-83F9-5AD9E8C4BE49}"/>
                </a:ext>
              </a:extLst>
            </p:cNvPr>
            <p:cNvSpPr/>
            <p:nvPr/>
          </p:nvSpPr>
          <p:spPr>
            <a:xfrm>
              <a:off x="1165540"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1" name="Freeform: Shape 4700">
              <a:extLst>
                <a:ext uri="{FF2B5EF4-FFF2-40B4-BE49-F238E27FC236}">
                  <a16:creationId xmlns:a16="http://schemas.microsoft.com/office/drawing/2014/main" id="{DED78DEE-EA74-4C0D-B06A-7730D9AB7DF0}"/>
                </a:ext>
              </a:extLst>
            </p:cNvPr>
            <p:cNvSpPr/>
            <p:nvPr/>
          </p:nvSpPr>
          <p:spPr>
            <a:xfrm>
              <a:off x="1165540" y="5638105"/>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4"/>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2" name="Freeform: Shape 4701">
              <a:extLst>
                <a:ext uri="{FF2B5EF4-FFF2-40B4-BE49-F238E27FC236}">
                  <a16:creationId xmlns:a16="http://schemas.microsoft.com/office/drawing/2014/main" id="{31F0A479-43BE-4911-A8F3-069DB939C1EF}"/>
                </a:ext>
              </a:extLst>
            </p:cNvPr>
            <p:cNvSpPr/>
            <p:nvPr/>
          </p:nvSpPr>
          <p:spPr>
            <a:xfrm>
              <a:off x="1165540" y="5612582"/>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3"/>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3" name="Freeform: Shape 4702">
              <a:extLst>
                <a:ext uri="{FF2B5EF4-FFF2-40B4-BE49-F238E27FC236}">
                  <a16:creationId xmlns:a16="http://schemas.microsoft.com/office/drawing/2014/main" id="{1D116BAF-794F-4309-8824-67DACAE21238}"/>
                </a:ext>
              </a:extLst>
            </p:cNvPr>
            <p:cNvSpPr/>
            <p:nvPr/>
          </p:nvSpPr>
          <p:spPr>
            <a:xfrm>
              <a:off x="1165540" y="55870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4"/>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4" name="Freeform: Shape 4703">
              <a:extLst>
                <a:ext uri="{FF2B5EF4-FFF2-40B4-BE49-F238E27FC236}">
                  <a16:creationId xmlns:a16="http://schemas.microsoft.com/office/drawing/2014/main" id="{A715224A-DAB7-463D-B5CD-FC61A17CF8CC}"/>
                </a:ext>
              </a:extLst>
            </p:cNvPr>
            <p:cNvSpPr/>
            <p:nvPr/>
          </p:nvSpPr>
          <p:spPr>
            <a:xfrm>
              <a:off x="1165540" y="5561535"/>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1343"/>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grpSp>
        <p:nvGrpSpPr>
          <p:cNvPr id="4705" name="Group 4704">
            <a:extLst>
              <a:ext uri="{FF2B5EF4-FFF2-40B4-BE49-F238E27FC236}">
                <a16:creationId xmlns:a16="http://schemas.microsoft.com/office/drawing/2014/main" id="{BBACF407-9F4C-4E28-A073-DE8420D00725}"/>
              </a:ext>
              <a:ext uri="{C183D7F6-B498-43B3-948B-1728B52AA6E4}">
                <adec:decorative xmlns:adec="http://schemas.microsoft.com/office/drawing/2017/decorative" val="1"/>
              </a:ext>
            </a:extLst>
          </p:cNvPr>
          <p:cNvGrpSpPr>
            <a:grpSpLocks noChangeAspect="1"/>
          </p:cNvGrpSpPr>
          <p:nvPr/>
        </p:nvGrpSpPr>
        <p:grpSpPr>
          <a:xfrm>
            <a:off x="7465173" y="2079960"/>
            <a:ext cx="71645" cy="147768"/>
            <a:chOff x="1684520" y="5539146"/>
            <a:chExt cx="71645" cy="147768"/>
          </a:xfrm>
        </p:grpSpPr>
        <p:sp>
          <p:nvSpPr>
            <p:cNvPr id="4706" name="Freeform: Shape 4705">
              <a:extLst>
                <a:ext uri="{FF2B5EF4-FFF2-40B4-BE49-F238E27FC236}">
                  <a16:creationId xmlns:a16="http://schemas.microsoft.com/office/drawing/2014/main" id="{12129D2A-6025-46D7-9A11-14F038C6C290}"/>
                </a:ext>
              </a:extLst>
            </p:cNvPr>
            <p:cNvSpPr/>
            <p:nvPr/>
          </p:nvSpPr>
          <p:spPr>
            <a:xfrm>
              <a:off x="1684520"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07" name="Freeform: Shape 4706">
              <a:extLst>
                <a:ext uri="{FF2B5EF4-FFF2-40B4-BE49-F238E27FC236}">
                  <a16:creationId xmlns:a16="http://schemas.microsoft.com/office/drawing/2014/main" id="{074058F2-25B9-490F-8C68-BCF1431637FF}"/>
                </a:ext>
              </a:extLst>
            </p:cNvPr>
            <p:cNvSpPr/>
            <p:nvPr/>
          </p:nvSpPr>
          <p:spPr>
            <a:xfrm>
              <a:off x="1695266"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8" name="Freeform: Shape 4707">
              <a:extLst>
                <a:ext uri="{FF2B5EF4-FFF2-40B4-BE49-F238E27FC236}">
                  <a16:creationId xmlns:a16="http://schemas.microsoft.com/office/drawing/2014/main" id="{AC9F39C7-5371-4B28-9E0A-B47541DA8AA6}"/>
                </a:ext>
              </a:extLst>
            </p:cNvPr>
            <p:cNvSpPr/>
            <p:nvPr/>
          </p:nvSpPr>
          <p:spPr>
            <a:xfrm>
              <a:off x="1695266" y="56376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09" name="Freeform: Shape 4708">
              <a:extLst>
                <a:ext uri="{FF2B5EF4-FFF2-40B4-BE49-F238E27FC236}">
                  <a16:creationId xmlns:a16="http://schemas.microsoft.com/office/drawing/2014/main" id="{A24AA147-FF7C-4574-8379-DA7A4F4C934A}"/>
                </a:ext>
              </a:extLst>
            </p:cNvPr>
            <p:cNvSpPr/>
            <p:nvPr/>
          </p:nvSpPr>
          <p:spPr>
            <a:xfrm>
              <a:off x="1695266" y="5611239"/>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6"/>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6"/>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grpSp>
        <p:nvGrpSpPr>
          <p:cNvPr id="4710" name="Group 4709">
            <a:extLst>
              <a:ext uri="{FF2B5EF4-FFF2-40B4-BE49-F238E27FC236}">
                <a16:creationId xmlns:a16="http://schemas.microsoft.com/office/drawing/2014/main" id="{1936DD2A-74D9-4927-B874-D38E4A2D5C16}"/>
              </a:ext>
              <a:ext uri="{C183D7F6-B498-43B3-948B-1728B52AA6E4}">
                <adec:decorative xmlns:adec="http://schemas.microsoft.com/office/drawing/2017/decorative" val="1"/>
              </a:ext>
            </a:extLst>
          </p:cNvPr>
          <p:cNvGrpSpPr>
            <a:grpSpLocks noChangeAspect="1"/>
          </p:cNvGrpSpPr>
          <p:nvPr/>
        </p:nvGrpSpPr>
        <p:grpSpPr>
          <a:xfrm>
            <a:off x="7724886" y="2079960"/>
            <a:ext cx="71645" cy="147768"/>
            <a:chOff x="1944233" y="5539146"/>
            <a:chExt cx="71645" cy="147768"/>
          </a:xfrm>
        </p:grpSpPr>
        <p:sp>
          <p:nvSpPr>
            <p:cNvPr id="4711" name="Freeform: Shape 4710">
              <a:extLst>
                <a:ext uri="{FF2B5EF4-FFF2-40B4-BE49-F238E27FC236}">
                  <a16:creationId xmlns:a16="http://schemas.microsoft.com/office/drawing/2014/main" id="{35269622-BB7C-472D-8E7B-FCF3763B9696}"/>
                </a:ext>
              </a:extLst>
            </p:cNvPr>
            <p:cNvSpPr/>
            <p:nvPr/>
          </p:nvSpPr>
          <p:spPr>
            <a:xfrm>
              <a:off x="1944233"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1" y="0"/>
                    <a:pt x="51047" y="0"/>
                  </a:cubicBezTo>
                  <a:lnTo>
                    <a:pt x="21046" y="0"/>
                  </a:lnTo>
                  <a:cubicBezTo>
                    <a:pt x="19703"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12" name="Freeform: Shape 4711">
              <a:extLst>
                <a:ext uri="{FF2B5EF4-FFF2-40B4-BE49-F238E27FC236}">
                  <a16:creationId xmlns:a16="http://schemas.microsoft.com/office/drawing/2014/main" id="{4664D7B8-A063-4B35-8C6A-2F29D103B781}"/>
                </a:ext>
              </a:extLst>
            </p:cNvPr>
            <p:cNvSpPr/>
            <p:nvPr/>
          </p:nvSpPr>
          <p:spPr>
            <a:xfrm>
              <a:off x="1954980"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5" y="0"/>
                    <a:pt x="0" y="895"/>
                    <a:pt x="0" y="2239"/>
                  </a:cubicBezTo>
                  <a:lnTo>
                    <a:pt x="0" y="15225"/>
                  </a:lnTo>
                  <a:cubicBezTo>
                    <a:pt x="0" y="16568"/>
                    <a:pt x="895" y="17464"/>
                    <a:pt x="2239" y="17464"/>
                  </a:cubicBezTo>
                  <a:lnTo>
                    <a:pt x="48808" y="17464"/>
                  </a:lnTo>
                  <a:cubicBezTo>
                    <a:pt x="50151"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sp>
          <p:nvSpPr>
            <p:cNvPr id="4713" name="Freeform: Shape 4712">
              <a:extLst>
                <a:ext uri="{FF2B5EF4-FFF2-40B4-BE49-F238E27FC236}">
                  <a16:creationId xmlns:a16="http://schemas.microsoft.com/office/drawing/2014/main" id="{BCA53B28-6B0F-4134-B1DC-CA223BA78E62}"/>
                </a:ext>
              </a:extLst>
            </p:cNvPr>
            <p:cNvSpPr/>
            <p:nvPr/>
          </p:nvSpPr>
          <p:spPr>
            <a:xfrm>
              <a:off x="1954980" y="5637658"/>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5" y="0"/>
                    <a:pt x="0" y="895"/>
                    <a:pt x="0" y="2239"/>
                  </a:cubicBezTo>
                  <a:lnTo>
                    <a:pt x="0" y="15225"/>
                  </a:lnTo>
                  <a:cubicBezTo>
                    <a:pt x="0" y="16568"/>
                    <a:pt x="895" y="17464"/>
                    <a:pt x="2239" y="17464"/>
                  </a:cubicBezTo>
                  <a:lnTo>
                    <a:pt x="48808" y="17464"/>
                  </a:lnTo>
                  <a:cubicBezTo>
                    <a:pt x="50151" y="17464"/>
                    <a:pt x="51047" y="16568"/>
                    <a:pt x="51047" y="15225"/>
                  </a:cubicBezTo>
                  <a:lnTo>
                    <a:pt x="51047" y="2239"/>
                  </a:lnTo>
                  <a:cubicBezTo>
                    <a:pt x="51047" y="895"/>
                    <a:pt x="49704"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grpSp>
        <p:nvGrpSpPr>
          <p:cNvPr id="4714" name="Group 4713">
            <a:extLst>
              <a:ext uri="{FF2B5EF4-FFF2-40B4-BE49-F238E27FC236}">
                <a16:creationId xmlns:a16="http://schemas.microsoft.com/office/drawing/2014/main" id="{87A0EB1B-511D-44D3-83A5-DCC946C534D4}"/>
              </a:ext>
              <a:ext uri="{C183D7F6-B498-43B3-948B-1728B52AA6E4}">
                <adec:decorative xmlns:adec="http://schemas.microsoft.com/office/drawing/2017/decorative" val="1"/>
              </a:ext>
            </a:extLst>
          </p:cNvPr>
          <p:cNvGrpSpPr>
            <a:grpSpLocks noChangeAspect="1"/>
          </p:cNvGrpSpPr>
          <p:nvPr/>
        </p:nvGrpSpPr>
        <p:grpSpPr>
          <a:xfrm>
            <a:off x="7994898" y="2079960"/>
            <a:ext cx="71645" cy="147768"/>
            <a:chOff x="2214245" y="5539146"/>
            <a:chExt cx="71645" cy="147768"/>
          </a:xfrm>
        </p:grpSpPr>
        <p:sp>
          <p:nvSpPr>
            <p:cNvPr id="4715" name="Freeform: Shape 4714">
              <a:extLst>
                <a:ext uri="{FF2B5EF4-FFF2-40B4-BE49-F238E27FC236}">
                  <a16:creationId xmlns:a16="http://schemas.microsoft.com/office/drawing/2014/main" id="{4FFB0D5A-C967-4709-A237-4E29B5FDB49B}"/>
                </a:ext>
              </a:extLst>
            </p:cNvPr>
            <p:cNvSpPr/>
            <p:nvPr/>
          </p:nvSpPr>
          <p:spPr>
            <a:xfrm>
              <a:off x="2214245"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16" name="Freeform: Shape 4715">
              <a:extLst>
                <a:ext uri="{FF2B5EF4-FFF2-40B4-BE49-F238E27FC236}">
                  <a16:creationId xmlns:a16="http://schemas.microsoft.com/office/drawing/2014/main" id="{F31C0C0E-9CCE-45EE-A23C-7B6B92229082}"/>
                </a:ext>
              </a:extLst>
            </p:cNvPr>
            <p:cNvSpPr/>
            <p:nvPr/>
          </p:nvSpPr>
          <p:spPr>
            <a:xfrm>
              <a:off x="2224992" y="5664077"/>
              <a:ext cx="49256" cy="13433"/>
            </a:xfrm>
            <a:custGeom>
              <a:avLst/>
              <a:gdLst>
                <a:gd name="connsiteX0" fmla="*/ 48808 w 49255"/>
                <a:gd name="connsiteY0" fmla="*/ 0 h 13433"/>
                <a:gd name="connsiteX1" fmla="*/ 2239 w 49255"/>
                <a:gd name="connsiteY1" fmla="*/ 0 h 13433"/>
                <a:gd name="connsiteX2" fmla="*/ 0 w 49255"/>
                <a:gd name="connsiteY2" fmla="*/ 2239 h 13433"/>
                <a:gd name="connsiteX3" fmla="*/ 0 w 49255"/>
                <a:gd name="connsiteY3" fmla="*/ 15225 h 13433"/>
                <a:gd name="connsiteX4" fmla="*/ 2239 w 49255"/>
                <a:gd name="connsiteY4" fmla="*/ 17464 h 13433"/>
                <a:gd name="connsiteX5" fmla="*/ 48808 w 49255"/>
                <a:gd name="connsiteY5" fmla="*/ 17464 h 13433"/>
                <a:gd name="connsiteX6" fmla="*/ 51047 w 49255"/>
                <a:gd name="connsiteY6" fmla="*/ 15225 h 13433"/>
                <a:gd name="connsiteX7" fmla="*/ 51047 w 49255"/>
                <a:gd name="connsiteY7" fmla="*/ 2239 h 13433"/>
                <a:gd name="connsiteX8" fmla="*/ 48808 w 49255"/>
                <a:gd name="connsiteY8" fmla="*/ 0 h 13433"/>
                <a:gd name="connsiteX9" fmla="*/ 46569 w 49255"/>
                <a:gd name="connsiteY9" fmla="*/ 12986 h 13433"/>
                <a:gd name="connsiteX10" fmla="*/ 4478 w 49255"/>
                <a:gd name="connsiteY10" fmla="*/ 12986 h 13433"/>
                <a:gd name="connsiteX11" fmla="*/ 4478 w 49255"/>
                <a:gd name="connsiteY11" fmla="*/ 4478 h 13433"/>
                <a:gd name="connsiteX12" fmla="*/ 46569 w 49255"/>
                <a:gd name="connsiteY12" fmla="*/ 4478 h 13433"/>
                <a:gd name="connsiteX13" fmla="*/ 46569 w 49255"/>
                <a:gd name="connsiteY13" fmla="*/ 1298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55" h="13433">
                  <a:moveTo>
                    <a:pt x="48808" y="0"/>
                  </a:moveTo>
                  <a:lnTo>
                    <a:pt x="2239" y="0"/>
                  </a:lnTo>
                  <a:cubicBezTo>
                    <a:pt x="896" y="0"/>
                    <a:pt x="0" y="895"/>
                    <a:pt x="0" y="2239"/>
                  </a:cubicBezTo>
                  <a:lnTo>
                    <a:pt x="0" y="15225"/>
                  </a:lnTo>
                  <a:cubicBezTo>
                    <a:pt x="0" y="16568"/>
                    <a:pt x="896" y="17464"/>
                    <a:pt x="2239" y="17464"/>
                  </a:cubicBezTo>
                  <a:lnTo>
                    <a:pt x="48808" y="17464"/>
                  </a:lnTo>
                  <a:cubicBezTo>
                    <a:pt x="50152" y="17464"/>
                    <a:pt x="51047" y="16568"/>
                    <a:pt x="51047" y="15225"/>
                  </a:cubicBezTo>
                  <a:lnTo>
                    <a:pt x="51047" y="2239"/>
                  </a:lnTo>
                  <a:cubicBezTo>
                    <a:pt x="51047" y="895"/>
                    <a:pt x="50152" y="0"/>
                    <a:pt x="48808" y="0"/>
                  </a:cubicBezTo>
                  <a:close/>
                  <a:moveTo>
                    <a:pt x="46569" y="12986"/>
                  </a:moveTo>
                  <a:lnTo>
                    <a:pt x="4478" y="12986"/>
                  </a:lnTo>
                  <a:lnTo>
                    <a:pt x="4478" y="4478"/>
                  </a:lnTo>
                  <a:lnTo>
                    <a:pt x="46569" y="4478"/>
                  </a:lnTo>
                  <a:lnTo>
                    <a:pt x="46569" y="12986"/>
                  </a:lnTo>
                  <a:close/>
                </a:path>
              </a:pathLst>
            </a:custGeom>
            <a:solidFill>
              <a:srgbClr val="231F20"/>
            </a:solidFill>
            <a:ln w="4474" cap="flat">
              <a:noFill/>
              <a:prstDash val="solid"/>
              <a:miter/>
            </a:ln>
          </p:spPr>
          <p:txBody>
            <a:bodyPr rtlCol="0" anchor="ctr"/>
            <a:lstStyle/>
            <a:p>
              <a:endParaRPr lang="en-US"/>
            </a:p>
          </p:txBody>
        </p:sp>
      </p:grpSp>
      <p:sp>
        <p:nvSpPr>
          <p:cNvPr id="4717" name="Freeform: Shape 4716">
            <a:extLst>
              <a:ext uri="{FF2B5EF4-FFF2-40B4-BE49-F238E27FC236}">
                <a16:creationId xmlns:a16="http://schemas.microsoft.com/office/drawing/2014/main" id="{3164B730-B877-4BFE-A5D4-7AF6C9B2D82D}"/>
              </a:ext>
              <a:ext uri="{C183D7F6-B498-43B3-948B-1728B52AA6E4}">
                <adec:decorative xmlns:adec="http://schemas.microsoft.com/office/drawing/2017/decorative" val="1"/>
              </a:ext>
            </a:extLst>
          </p:cNvPr>
          <p:cNvSpPr>
            <a:spLocks noChangeAspect="1"/>
          </p:cNvSpPr>
          <p:nvPr/>
        </p:nvSpPr>
        <p:spPr>
          <a:xfrm>
            <a:off x="8254612" y="2079960"/>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0" y="0"/>
                  <a:pt x="51047" y="0"/>
                </a:cubicBezTo>
                <a:lnTo>
                  <a:pt x="21046" y="0"/>
                </a:lnTo>
                <a:cubicBezTo>
                  <a:pt x="19702"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grpSp>
        <p:nvGrpSpPr>
          <p:cNvPr id="4718" name="Group 4717">
            <a:extLst>
              <a:ext uri="{FF2B5EF4-FFF2-40B4-BE49-F238E27FC236}">
                <a16:creationId xmlns:a16="http://schemas.microsoft.com/office/drawing/2014/main" id="{83D73270-9604-44EA-8DF8-EB93429C1862}"/>
              </a:ext>
              <a:ext uri="{C183D7F6-B498-43B3-948B-1728B52AA6E4}">
                <adec:decorative xmlns:adec="http://schemas.microsoft.com/office/drawing/2017/decorative" val="1"/>
              </a:ext>
            </a:extLst>
          </p:cNvPr>
          <p:cNvGrpSpPr>
            <a:grpSpLocks noChangeAspect="1"/>
          </p:cNvGrpSpPr>
          <p:nvPr/>
        </p:nvGrpSpPr>
        <p:grpSpPr>
          <a:xfrm>
            <a:off x="7724438" y="1752183"/>
            <a:ext cx="71645" cy="129857"/>
            <a:chOff x="1943785" y="5211369"/>
            <a:chExt cx="71645" cy="129857"/>
          </a:xfrm>
        </p:grpSpPr>
        <p:sp>
          <p:nvSpPr>
            <p:cNvPr id="4719" name="Freeform: Shape 4718">
              <a:extLst>
                <a:ext uri="{FF2B5EF4-FFF2-40B4-BE49-F238E27FC236}">
                  <a16:creationId xmlns:a16="http://schemas.microsoft.com/office/drawing/2014/main" id="{F13D90DF-BF3E-416E-B9C7-17E08A009246}"/>
                </a:ext>
              </a:extLst>
            </p:cNvPr>
            <p:cNvSpPr/>
            <p:nvPr/>
          </p:nvSpPr>
          <p:spPr>
            <a:xfrm>
              <a:off x="1943785" y="5211369"/>
              <a:ext cx="71645" cy="129857"/>
            </a:xfrm>
            <a:custGeom>
              <a:avLst/>
              <a:gdLst>
                <a:gd name="connsiteX0" fmla="*/ 55973 w 71645"/>
                <a:gd name="connsiteY0" fmla="*/ 63585 h 129856"/>
                <a:gd name="connsiteX1" fmla="*/ 55973 w 71645"/>
                <a:gd name="connsiteY1" fmla="*/ 63585 h 129856"/>
                <a:gd name="connsiteX2" fmla="*/ 55525 w 71645"/>
                <a:gd name="connsiteY2" fmla="*/ 19255 h 129856"/>
                <a:gd name="connsiteX3" fmla="*/ 36270 w 71645"/>
                <a:gd name="connsiteY3" fmla="*/ 0 h 129856"/>
                <a:gd name="connsiteX4" fmla="*/ 17016 w 71645"/>
                <a:gd name="connsiteY4" fmla="*/ 19255 h 129856"/>
                <a:gd name="connsiteX5" fmla="*/ 17016 w 71645"/>
                <a:gd name="connsiteY5" fmla="*/ 63585 h 129856"/>
                <a:gd name="connsiteX6" fmla="*/ 16568 w 71645"/>
                <a:gd name="connsiteY6" fmla="*/ 63585 h 129856"/>
                <a:gd name="connsiteX7" fmla="*/ 0 w 71645"/>
                <a:gd name="connsiteY7" fmla="*/ 94034 h 129856"/>
                <a:gd name="connsiteX8" fmla="*/ 35823 w 71645"/>
                <a:gd name="connsiteY8" fmla="*/ 129857 h 129856"/>
                <a:gd name="connsiteX9" fmla="*/ 71645 w 71645"/>
                <a:gd name="connsiteY9" fmla="*/ 94034 h 129856"/>
                <a:gd name="connsiteX10" fmla="*/ 55973 w 71645"/>
                <a:gd name="connsiteY10" fmla="*/ 63585 h 129856"/>
                <a:gd name="connsiteX11" fmla="*/ 36718 w 71645"/>
                <a:gd name="connsiteY11" fmla="*/ 125379 h 129856"/>
                <a:gd name="connsiteX12" fmla="*/ 5373 w 71645"/>
                <a:gd name="connsiteY12" fmla="*/ 94034 h 129856"/>
                <a:gd name="connsiteX13" fmla="*/ 19702 w 71645"/>
                <a:gd name="connsiteY13" fmla="*/ 67615 h 129856"/>
                <a:gd name="connsiteX14" fmla="*/ 21941 w 71645"/>
                <a:gd name="connsiteY14" fmla="*/ 66272 h 129856"/>
                <a:gd name="connsiteX15" fmla="*/ 21941 w 71645"/>
                <a:gd name="connsiteY15" fmla="*/ 19255 h 129856"/>
                <a:gd name="connsiteX16" fmla="*/ 36718 w 71645"/>
                <a:gd name="connsiteY16" fmla="*/ 4478 h 129856"/>
                <a:gd name="connsiteX17" fmla="*/ 51495 w 71645"/>
                <a:gd name="connsiteY17" fmla="*/ 19255 h 129856"/>
                <a:gd name="connsiteX18" fmla="*/ 51495 w 71645"/>
                <a:gd name="connsiteY18" fmla="*/ 66272 h 129856"/>
                <a:gd name="connsiteX19" fmla="*/ 53734 w 71645"/>
                <a:gd name="connsiteY19" fmla="*/ 67615 h 129856"/>
                <a:gd name="connsiteX20" fmla="*/ 68063 w 71645"/>
                <a:gd name="connsiteY20" fmla="*/ 94034 h 129856"/>
                <a:gd name="connsiteX21" fmla="*/ 36718 w 71645"/>
                <a:gd name="connsiteY21" fmla="*/ 12537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129856">
                  <a:moveTo>
                    <a:pt x="55973" y="63585"/>
                  </a:moveTo>
                  <a:lnTo>
                    <a:pt x="55973" y="63585"/>
                  </a:lnTo>
                  <a:lnTo>
                    <a:pt x="55525" y="19255"/>
                  </a:lnTo>
                  <a:cubicBezTo>
                    <a:pt x="55525" y="8508"/>
                    <a:pt x="47017" y="0"/>
                    <a:pt x="36270" y="0"/>
                  </a:cubicBezTo>
                  <a:cubicBezTo>
                    <a:pt x="25971" y="0"/>
                    <a:pt x="17016" y="8508"/>
                    <a:pt x="17016" y="19255"/>
                  </a:cubicBezTo>
                  <a:lnTo>
                    <a:pt x="17016" y="63585"/>
                  </a:lnTo>
                  <a:lnTo>
                    <a:pt x="16568" y="63585"/>
                  </a:lnTo>
                  <a:cubicBezTo>
                    <a:pt x="6269" y="70302"/>
                    <a:pt x="0" y="81496"/>
                    <a:pt x="0" y="94034"/>
                  </a:cubicBezTo>
                  <a:cubicBezTo>
                    <a:pt x="0" y="113737"/>
                    <a:pt x="16120" y="129857"/>
                    <a:pt x="35823" y="129857"/>
                  </a:cubicBezTo>
                  <a:cubicBezTo>
                    <a:pt x="55525" y="129857"/>
                    <a:pt x="71645" y="113737"/>
                    <a:pt x="71645" y="94034"/>
                  </a:cubicBezTo>
                  <a:cubicBezTo>
                    <a:pt x="72541" y="81496"/>
                    <a:pt x="66272" y="70302"/>
                    <a:pt x="55973" y="63585"/>
                  </a:cubicBezTo>
                  <a:close/>
                  <a:moveTo>
                    <a:pt x="36718" y="125379"/>
                  </a:moveTo>
                  <a:cubicBezTo>
                    <a:pt x="19255" y="125379"/>
                    <a:pt x="5373" y="111050"/>
                    <a:pt x="5373" y="94034"/>
                  </a:cubicBezTo>
                  <a:cubicBezTo>
                    <a:pt x="5373" y="83288"/>
                    <a:pt x="10747" y="73436"/>
                    <a:pt x="19702" y="67615"/>
                  </a:cubicBezTo>
                  <a:lnTo>
                    <a:pt x="21941" y="66272"/>
                  </a:lnTo>
                  <a:lnTo>
                    <a:pt x="21941" y="19255"/>
                  </a:lnTo>
                  <a:cubicBezTo>
                    <a:pt x="21941" y="11195"/>
                    <a:pt x="28658" y="4478"/>
                    <a:pt x="36718" y="4478"/>
                  </a:cubicBezTo>
                  <a:cubicBezTo>
                    <a:pt x="44778" y="4478"/>
                    <a:pt x="51495" y="11195"/>
                    <a:pt x="51495" y="19255"/>
                  </a:cubicBezTo>
                  <a:lnTo>
                    <a:pt x="51495" y="66272"/>
                  </a:lnTo>
                  <a:lnTo>
                    <a:pt x="53734" y="67615"/>
                  </a:lnTo>
                  <a:cubicBezTo>
                    <a:pt x="62689" y="73436"/>
                    <a:pt x="68063" y="83288"/>
                    <a:pt x="68063" y="94034"/>
                  </a:cubicBezTo>
                  <a:cubicBezTo>
                    <a:pt x="68063" y="111498"/>
                    <a:pt x="53734" y="125379"/>
                    <a:pt x="36718" y="125379"/>
                  </a:cubicBezTo>
                  <a:close/>
                </a:path>
              </a:pathLst>
            </a:custGeom>
            <a:solidFill>
              <a:srgbClr val="231F20"/>
            </a:solidFill>
            <a:ln w="4474" cap="flat">
              <a:noFill/>
              <a:prstDash val="solid"/>
              <a:miter/>
            </a:ln>
          </p:spPr>
          <p:txBody>
            <a:bodyPr rtlCol="0" anchor="ctr"/>
            <a:lstStyle/>
            <a:p>
              <a:endParaRPr lang="en-US"/>
            </a:p>
          </p:txBody>
        </p:sp>
        <p:sp>
          <p:nvSpPr>
            <p:cNvPr id="4720" name="Freeform: Shape 4719">
              <a:extLst>
                <a:ext uri="{FF2B5EF4-FFF2-40B4-BE49-F238E27FC236}">
                  <a16:creationId xmlns:a16="http://schemas.microsoft.com/office/drawing/2014/main" id="{BFD3099B-FD0B-405D-B63D-E0E96EB3DFE2}"/>
                </a:ext>
              </a:extLst>
            </p:cNvPr>
            <p:cNvSpPr/>
            <p:nvPr/>
          </p:nvSpPr>
          <p:spPr>
            <a:xfrm>
              <a:off x="1960801" y="5230176"/>
              <a:ext cx="35823" cy="94034"/>
            </a:xfrm>
            <a:custGeom>
              <a:avLst/>
              <a:gdLst>
                <a:gd name="connsiteX0" fmla="*/ 21941 w 35822"/>
                <a:gd name="connsiteY0" fmla="*/ 55973 h 94034"/>
                <a:gd name="connsiteX1" fmla="*/ 21941 w 35822"/>
                <a:gd name="connsiteY1" fmla="*/ 2239 h 94034"/>
                <a:gd name="connsiteX2" fmla="*/ 19702 w 35822"/>
                <a:gd name="connsiteY2" fmla="*/ 0 h 94034"/>
                <a:gd name="connsiteX3" fmla="*/ 17463 w 35822"/>
                <a:gd name="connsiteY3" fmla="*/ 2239 h 94034"/>
                <a:gd name="connsiteX4" fmla="*/ 17463 w 35822"/>
                <a:gd name="connsiteY4" fmla="*/ 55973 h 94034"/>
                <a:gd name="connsiteX5" fmla="*/ 0 w 35822"/>
                <a:gd name="connsiteY5" fmla="*/ 75227 h 94034"/>
                <a:gd name="connsiteX6" fmla="*/ 19702 w 35822"/>
                <a:gd name="connsiteY6" fmla="*/ 94930 h 94034"/>
                <a:gd name="connsiteX7" fmla="*/ 39405 w 35822"/>
                <a:gd name="connsiteY7" fmla="*/ 75227 h 94034"/>
                <a:gd name="connsiteX8" fmla="*/ 21941 w 35822"/>
                <a:gd name="connsiteY8" fmla="*/ 55973 h 94034"/>
                <a:gd name="connsiteX9" fmla="*/ 19702 w 35822"/>
                <a:gd name="connsiteY9" fmla="*/ 90452 h 94034"/>
                <a:gd name="connsiteX10" fmla="*/ 4478 w 35822"/>
                <a:gd name="connsiteY10" fmla="*/ 75227 h 94034"/>
                <a:gd name="connsiteX11" fmla="*/ 19702 w 35822"/>
                <a:gd name="connsiteY11" fmla="*/ 60003 h 94034"/>
                <a:gd name="connsiteX12" fmla="*/ 34927 w 35822"/>
                <a:gd name="connsiteY12" fmla="*/ 75227 h 94034"/>
                <a:gd name="connsiteX13" fmla="*/ 19702 w 35822"/>
                <a:gd name="connsiteY13" fmla="*/ 9045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94034">
                  <a:moveTo>
                    <a:pt x="21941" y="55973"/>
                  </a:moveTo>
                  <a:lnTo>
                    <a:pt x="21941" y="2239"/>
                  </a:lnTo>
                  <a:cubicBezTo>
                    <a:pt x="21941" y="896"/>
                    <a:pt x="21046" y="0"/>
                    <a:pt x="19702" y="0"/>
                  </a:cubicBezTo>
                  <a:cubicBezTo>
                    <a:pt x="18359" y="0"/>
                    <a:pt x="17463" y="896"/>
                    <a:pt x="17463" y="2239"/>
                  </a:cubicBezTo>
                  <a:lnTo>
                    <a:pt x="17463" y="55973"/>
                  </a:lnTo>
                  <a:cubicBezTo>
                    <a:pt x="7612" y="57316"/>
                    <a:pt x="0" y="65376"/>
                    <a:pt x="0" y="75227"/>
                  </a:cubicBezTo>
                  <a:cubicBezTo>
                    <a:pt x="0" y="85974"/>
                    <a:pt x="8956" y="94930"/>
                    <a:pt x="19702" y="94930"/>
                  </a:cubicBezTo>
                  <a:cubicBezTo>
                    <a:pt x="30449" y="94930"/>
                    <a:pt x="39405" y="85974"/>
                    <a:pt x="39405" y="75227"/>
                  </a:cubicBezTo>
                  <a:cubicBezTo>
                    <a:pt x="38957" y="65376"/>
                    <a:pt x="31345" y="56868"/>
                    <a:pt x="21941" y="55973"/>
                  </a:cubicBezTo>
                  <a:close/>
                  <a:moveTo>
                    <a:pt x="19702" y="90452"/>
                  </a:moveTo>
                  <a:cubicBezTo>
                    <a:pt x="11195" y="90452"/>
                    <a:pt x="4478" y="83735"/>
                    <a:pt x="4478" y="75227"/>
                  </a:cubicBezTo>
                  <a:cubicBezTo>
                    <a:pt x="4478" y="66720"/>
                    <a:pt x="11195" y="60003"/>
                    <a:pt x="19702" y="60003"/>
                  </a:cubicBezTo>
                  <a:cubicBezTo>
                    <a:pt x="28210" y="60003"/>
                    <a:pt x="34927" y="66720"/>
                    <a:pt x="34927" y="75227"/>
                  </a:cubicBezTo>
                  <a:cubicBezTo>
                    <a:pt x="34479" y="83735"/>
                    <a:pt x="27763" y="90452"/>
                    <a:pt x="19702" y="90452"/>
                  </a:cubicBezTo>
                  <a:close/>
                </a:path>
              </a:pathLst>
            </a:custGeom>
            <a:solidFill>
              <a:srgbClr val="231F20"/>
            </a:solidFill>
            <a:ln w="4474" cap="flat">
              <a:noFill/>
              <a:prstDash val="solid"/>
              <a:miter/>
            </a:ln>
          </p:spPr>
          <p:txBody>
            <a:bodyPr rtlCol="0" anchor="ctr"/>
            <a:lstStyle/>
            <a:p>
              <a:endParaRPr lang="en-US"/>
            </a:p>
          </p:txBody>
        </p:sp>
      </p:grpSp>
      <p:grpSp>
        <p:nvGrpSpPr>
          <p:cNvPr id="4721" name="Group 4720">
            <a:extLst>
              <a:ext uri="{FF2B5EF4-FFF2-40B4-BE49-F238E27FC236}">
                <a16:creationId xmlns:a16="http://schemas.microsoft.com/office/drawing/2014/main" id="{315CB135-C3A3-4E39-8088-F0A78F2130EF}"/>
              </a:ext>
              <a:ext uri="{C183D7F6-B498-43B3-948B-1728B52AA6E4}">
                <adec:decorative xmlns:adec="http://schemas.microsoft.com/office/drawing/2017/decorative" val="1"/>
              </a:ext>
            </a:extLst>
          </p:cNvPr>
          <p:cNvGrpSpPr>
            <a:grpSpLocks noChangeAspect="1"/>
          </p:cNvGrpSpPr>
          <p:nvPr/>
        </p:nvGrpSpPr>
        <p:grpSpPr>
          <a:xfrm>
            <a:off x="7981017" y="1752183"/>
            <a:ext cx="92915" cy="129857"/>
            <a:chOff x="2200364" y="5211369"/>
            <a:chExt cx="92915" cy="129857"/>
          </a:xfrm>
        </p:grpSpPr>
        <p:sp>
          <p:nvSpPr>
            <p:cNvPr id="4722" name="Freeform: Shape 4721">
              <a:extLst>
                <a:ext uri="{FF2B5EF4-FFF2-40B4-BE49-F238E27FC236}">
                  <a16:creationId xmlns:a16="http://schemas.microsoft.com/office/drawing/2014/main" id="{4CEC0926-0878-4C49-BC80-659F8E3C7F24}"/>
                </a:ext>
              </a:extLst>
            </p:cNvPr>
            <p:cNvSpPr/>
            <p:nvPr/>
          </p:nvSpPr>
          <p:spPr>
            <a:xfrm>
              <a:off x="2200364" y="5211369"/>
              <a:ext cx="71645" cy="129857"/>
            </a:xfrm>
            <a:custGeom>
              <a:avLst/>
              <a:gdLst>
                <a:gd name="connsiteX0" fmla="*/ 55973 w 71645"/>
                <a:gd name="connsiteY0" fmla="*/ 63585 h 129856"/>
                <a:gd name="connsiteX1" fmla="*/ 55973 w 71645"/>
                <a:gd name="connsiteY1" fmla="*/ 63585 h 129856"/>
                <a:gd name="connsiteX2" fmla="*/ 55525 w 71645"/>
                <a:gd name="connsiteY2" fmla="*/ 19255 h 129856"/>
                <a:gd name="connsiteX3" fmla="*/ 36270 w 71645"/>
                <a:gd name="connsiteY3" fmla="*/ 0 h 129856"/>
                <a:gd name="connsiteX4" fmla="*/ 17016 w 71645"/>
                <a:gd name="connsiteY4" fmla="*/ 19255 h 129856"/>
                <a:gd name="connsiteX5" fmla="*/ 17016 w 71645"/>
                <a:gd name="connsiteY5" fmla="*/ 63585 h 129856"/>
                <a:gd name="connsiteX6" fmla="*/ 16568 w 71645"/>
                <a:gd name="connsiteY6" fmla="*/ 63585 h 129856"/>
                <a:gd name="connsiteX7" fmla="*/ 0 w 71645"/>
                <a:gd name="connsiteY7" fmla="*/ 94034 h 129856"/>
                <a:gd name="connsiteX8" fmla="*/ 35823 w 71645"/>
                <a:gd name="connsiteY8" fmla="*/ 129857 h 129856"/>
                <a:gd name="connsiteX9" fmla="*/ 71645 w 71645"/>
                <a:gd name="connsiteY9" fmla="*/ 94034 h 129856"/>
                <a:gd name="connsiteX10" fmla="*/ 55973 w 71645"/>
                <a:gd name="connsiteY10" fmla="*/ 63585 h 129856"/>
                <a:gd name="connsiteX11" fmla="*/ 36718 w 71645"/>
                <a:gd name="connsiteY11" fmla="*/ 125379 h 129856"/>
                <a:gd name="connsiteX12" fmla="*/ 5373 w 71645"/>
                <a:gd name="connsiteY12" fmla="*/ 94034 h 129856"/>
                <a:gd name="connsiteX13" fmla="*/ 19702 w 71645"/>
                <a:gd name="connsiteY13" fmla="*/ 67615 h 129856"/>
                <a:gd name="connsiteX14" fmla="*/ 21941 w 71645"/>
                <a:gd name="connsiteY14" fmla="*/ 66272 h 129856"/>
                <a:gd name="connsiteX15" fmla="*/ 21941 w 71645"/>
                <a:gd name="connsiteY15" fmla="*/ 19255 h 129856"/>
                <a:gd name="connsiteX16" fmla="*/ 36718 w 71645"/>
                <a:gd name="connsiteY16" fmla="*/ 4478 h 129856"/>
                <a:gd name="connsiteX17" fmla="*/ 51495 w 71645"/>
                <a:gd name="connsiteY17" fmla="*/ 19255 h 129856"/>
                <a:gd name="connsiteX18" fmla="*/ 51495 w 71645"/>
                <a:gd name="connsiteY18" fmla="*/ 66272 h 129856"/>
                <a:gd name="connsiteX19" fmla="*/ 53734 w 71645"/>
                <a:gd name="connsiteY19" fmla="*/ 67615 h 129856"/>
                <a:gd name="connsiteX20" fmla="*/ 68063 w 71645"/>
                <a:gd name="connsiteY20" fmla="*/ 94034 h 129856"/>
                <a:gd name="connsiteX21" fmla="*/ 36718 w 71645"/>
                <a:gd name="connsiteY21" fmla="*/ 12537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129856">
                  <a:moveTo>
                    <a:pt x="55973" y="63585"/>
                  </a:moveTo>
                  <a:lnTo>
                    <a:pt x="55973" y="63585"/>
                  </a:lnTo>
                  <a:lnTo>
                    <a:pt x="55525" y="19255"/>
                  </a:lnTo>
                  <a:cubicBezTo>
                    <a:pt x="55525" y="8508"/>
                    <a:pt x="47017" y="0"/>
                    <a:pt x="36270" y="0"/>
                  </a:cubicBezTo>
                  <a:cubicBezTo>
                    <a:pt x="25524" y="0"/>
                    <a:pt x="17016" y="8508"/>
                    <a:pt x="17016" y="19255"/>
                  </a:cubicBezTo>
                  <a:lnTo>
                    <a:pt x="17016" y="63585"/>
                  </a:lnTo>
                  <a:lnTo>
                    <a:pt x="16568" y="63585"/>
                  </a:lnTo>
                  <a:cubicBezTo>
                    <a:pt x="6269" y="70302"/>
                    <a:pt x="0" y="81496"/>
                    <a:pt x="0" y="94034"/>
                  </a:cubicBezTo>
                  <a:cubicBezTo>
                    <a:pt x="0" y="113737"/>
                    <a:pt x="16120" y="129857"/>
                    <a:pt x="35823" y="129857"/>
                  </a:cubicBezTo>
                  <a:cubicBezTo>
                    <a:pt x="55525" y="129857"/>
                    <a:pt x="71645" y="113737"/>
                    <a:pt x="71645" y="94034"/>
                  </a:cubicBezTo>
                  <a:cubicBezTo>
                    <a:pt x="72541" y="81496"/>
                    <a:pt x="66272" y="70302"/>
                    <a:pt x="55973" y="63585"/>
                  </a:cubicBezTo>
                  <a:close/>
                  <a:moveTo>
                    <a:pt x="36718" y="125379"/>
                  </a:moveTo>
                  <a:cubicBezTo>
                    <a:pt x="19255" y="125379"/>
                    <a:pt x="5373" y="111050"/>
                    <a:pt x="5373" y="94034"/>
                  </a:cubicBezTo>
                  <a:cubicBezTo>
                    <a:pt x="5373" y="83288"/>
                    <a:pt x="10747" y="73436"/>
                    <a:pt x="19702" y="67615"/>
                  </a:cubicBezTo>
                  <a:lnTo>
                    <a:pt x="21941" y="66272"/>
                  </a:lnTo>
                  <a:lnTo>
                    <a:pt x="21941" y="19255"/>
                  </a:lnTo>
                  <a:cubicBezTo>
                    <a:pt x="21941" y="11195"/>
                    <a:pt x="28658" y="4478"/>
                    <a:pt x="36718" y="4478"/>
                  </a:cubicBezTo>
                  <a:cubicBezTo>
                    <a:pt x="44778" y="4478"/>
                    <a:pt x="51495" y="11195"/>
                    <a:pt x="51495" y="19255"/>
                  </a:cubicBezTo>
                  <a:lnTo>
                    <a:pt x="51495" y="66272"/>
                  </a:lnTo>
                  <a:lnTo>
                    <a:pt x="53734" y="67615"/>
                  </a:lnTo>
                  <a:cubicBezTo>
                    <a:pt x="62689" y="73436"/>
                    <a:pt x="68063" y="83288"/>
                    <a:pt x="68063" y="94034"/>
                  </a:cubicBezTo>
                  <a:cubicBezTo>
                    <a:pt x="68063" y="111498"/>
                    <a:pt x="54182" y="125379"/>
                    <a:pt x="36718" y="125379"/>
                  </a:cubicBezTo>
                  <a:close/>
                </a:path>
              </a:pathLst>
            </a:custGeom>
            <a:solidFill>
              <a:srgbClr val="231F20"/>
            </a:solidFill>
            <a:ln w="4474" cap="flat">
              <a:noFill/>
              <a:prstDash val="solid"/>
              <a:miter/>
            </a:ln>
          </p:spPr>
          <p:txBody>
            <a:bodyPr rtlCol="0" anchor="ctr"/>
            <a:lstStyle/>
            <a:p>
              <a:endParaRPr lang="en-US"/>
            </a:p>
          </p:txBody>
        </p:sp>
        <p:sp>
          <p:nvSpPr>
            <p:cNvPr id="4723" name="Freeform: Shape 4722">
              <a:extLst>
                <a:ext uri="{FF2B5EF4-FFF2-40B4-BE49-F238E27FC236}">
                  <a16:creationId xmlns:a16="http://schemas.microsoft.com/office/drawing/2014/main" id="{A1E8A442-0B41-46C9-9EA6-8D7FB35C40D2}"/>
                </a:ext>
              </a:extLst>
            </p:cNvPr>
            <p:cNvSpPr/>
            <p:nvPr/>
          </p:nvSpPr>
          <p:spPr>
            <a:xfrm>
              <a:off x="2217380" y="5230176"/>
              <a:ext cx="35823" cy="94034"/>
            </a:xfrm>
            <a:custGeom>
              <a:avLst/>
              <a:gdLst>
                <a:gd name="connsiteX0" fmla="*/ 21941 w 35822"/>
                <a:gd name="connsiteY0" fmla="*/ 55973 h 94034"/>
                <a:gd name="connsiteX1" fmla="*/ 21941 w 35822"/>
                <a:gd name="connsiteY1" fmla="*/ 2239 h 94034"/>
                <a:gd name="connsiteX2" fmla="*/ 19703 w 35822"/>
                <a:gd name="connsiteY2" fmla="*/ 0 h 94034"/>
                <a:gd name="connsiteX3" fmla="*/ 17464 w 35822"/>
                <a:gd name="connsiteY3" fmla="*/ 2239 h 94034"/>
                <a:gd name="connsiteX4" fmla="*/ 17464 w 35822"/>
                <a:gd name="connsiteY4" fmla="*/ 55973 h 94034"/>
                <a:gd name="connsiteX5" fmla="*/ 0 w 35822"/>
                <a:gd name="connsiteY5" fmla="*/ 75227 h 94034"/>
                <a:gd name="connsiteX6" fmla="*/ 19703 w 35822"/>
                <a:gd name="connsiteY6" fmla="*/ 94930 h 94034"/>
                <a:gd name="connsiteX7" fmla="*/ 39405 w 35822"/>
                <a:gd name="connsiteY7" fmla="*/ 75227 h 94034"/>
                <a:gd name="connsiteX8" fmla="*/ 21941 w 35822"/>
                <a:gd name="connsiteY8" fmla="*/ 55973 h 94034"/>
                <a:gd name="connsiteX9" fmla="*/ 19703 w 35822"/>
                <a:gd name="connsiteY9" fmla="*/ 90452 h 94034"/>
                <a:gd name="connsiteX10" fmla="*/ 4478 w 35822"/>
                <a:gd name="connsiteY10" fmla="*/ 75227 h 94034"/>
                <a:gd name="connsiteX11" fmla="*/ 19703 w 35822"/>
                <a:gd name="connsiteY11" fmla="*/ 60003 h 94034"/>
                <a:gd name="connsiteX12" fmla="*/ 34927 w 35822"/>
                <a:gd name="connsiteY12" fmla="*/ 75227 h 94034"/>
                <a:gd name="connsiteX13" fmla="*/ 19703 w 35822"/>
                <a:gd name="connsiteY13" fmla="*/ 9045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94034">
                  <a:moveTo>
                    <a:pt x="21941" y="55973"/>
                  </a:moveTo>
                  <a:lnTo>
                    <a:pt x="21941" y="2239"/>
                  </a:lnTo>
                  <a:cubicBezTo>
                    <a:pt x="21941" y="896"/>
                    <a:pt x="21046" y="0"/>
                    <a:pt x="19703" y="0"/>
                  </a:cubicBezTo>
                  <a:cubicBezTo>
                    <a:pt x="18359" y="0"/>
                    <a:pt x="17464" y="896"/>
                    <a:pt x="17464" y="2239"/>
                  </a:cubicBezTo>
                  <a:lnTo>
                    <a:pt x="17464" y="55973"/>
                  </a:lnTo>
                  <a:cubicBezTo>
                    <a:pt x="7612" y="57316"/>
                    <a:pt x="0" y="65376"/>
                    <a:pt x="0" y="75227"/>
                  </a:cubicBezTo>
                  <a:cubicBezTo>
                    <a:pt x="0" y="85974"/>
                    <a:pt x="8956" y="94930"/>
                    <a:pt x="19703" y="94930"/>
                  </a:cubicBezTo>
                  <a:cubicBezTo>
                    <a:pt x="30449" y="94930"/>
                    <a:pt x="39405" y="85974"/>
                    <a:pt x="39405" y="75227"/>
                  </a:cubicBezTo>
                  <a:cubicBezTo>
                    <a:pt x="39405" y="65376"/>
                    <a:pt x="31793" y="56868"/>
                    <a:pt x="21941" y="55973"/>
                  </a:cubicBezTo>
                  <a:close/>
                  <a:moveTo>
                    <a:pt x="19703" y="90452"/>
                  </a:moveTo>
                  <a:cubicBezTo>
                    <a:pt x="11195" y="90452"/>
                    <a:pt x="4478" y="83735"/>
                    <a:pt x="4478" y="75227"/>
                  </a:cubicBezTo>
                  <a:cubicBezTo>
                    <a:pt x="4478" y="66720"/>
                    <a:pt x="11195" y="60003"/>
                    <a:pt x="19703" y="60003"/>
                  </a:cubicBezTo>
                  <a:cubicBezTo>
                    <a:pt x="28210" y="60003"/>
                    <a:pt x="34927" y="66720"/>
                    <a:pt x="34927" y="75227"/>
                  </a:cubicBezTo>
                  <a:cubicBezTo>
                    <a:pt x="34927" y="83735"/>
                    <a:pt x="27763" y="90452"/>
                    <a:pt x="19703" y="90452"/>
                  </a:cubicBezTo>
                  <a:close/>
                </a:path>
              </a:pathLst>
            </a:custGeom>
            <a:solidFill>
              <a:srgbClr val="231F20"/>
            </a:solidFill>
            <a:ln w="4474" cap="flat">
              <a:noFill/>
              <a:prstDash val="solid"/>
              <a:miter/>
            </a:ln>
          </p:spPr>
          <p:txBody>
            <a:bodyPr rtlCol="0" anchor="ctr"/>
            <a:lstStyle/>
            <a:p>
              <a:endParaRPr lang="en-US"/>
            </a:p>
          </p:txBody>
        </p:sp>
        <p:sp>
          <p:nvSpPr>
            <p:cNvPr id="4724" name="Freeform: Shape 4723">
              <a:extLst>
                <a:ext uri="{FF2B5EF4-FFF2-40B4-BE49-F238E27FC236}">
                  <a16:creationId xmlns:a16="http://schemas.microsoft.com/office/drawing/2014/main" id="{A485A94F-B765-4EA8-B6D3-BC9309F02F84}"/>
                </a:ext>
              </a:extLst>
            </p:cNvPr>
            <p:cNvSpPr/>
            <p:nvPr/>
          </p:nvSpPr>
          <p:spPr>
            <a:xfrm>
              <a:off x="2261934" y="5216295"/>
              <a:ext cx="31345" cy="44778"/>
            </a:xfrm>
            <a:custGeom>
              <a:avLst/>
              <a:gdLst>
                <a:gd name="connsiteX0" fmla="*/ 30673 w 31344"/>
                <a:gd name="connsiteY0" fmla="*/ 13881 h 44778"/>
                <a:gd name="connsiteX1" fmla="*/ 17687 w 31344"/>
                <a:gd name="connsiteY1" fmla="*/ 895 h 44778"/>
                <a:gd name="connsiteX2" fmla="*/ 17240 w 31344"/>
                <a:gd name="connsiteY2" fmla="*/ 448 h 44778"/>
                <a:gd name="connsiteX3" fmla="*/ 15448 w 31344"/>
                <a:gd name="connsiteY3" fmla="*/ 0 h 44778"/>
                <a:gd name="connsiteX4" fmla="*/ 15448 w 31344"/>
                <a:gd name="connsiteY4" fmla="*/ 0 h 44778"/>
                <a:gd name="connsiteX5" fmla="*/ 15448 w 31344"/>
                <a:gd name="connsiteY5" fmla="*/ 0 h 44778"/>
                <a:gd name="connsiteX6" fmla="*/ 14553 w 31344"/>
                <a:gd name="connsiteY6" fmla="*/ 0 h 44778"/>
                <a:gd name="connsiteX7" fmla="*/ 13657 w 31344"/>
                <a:gd name="connsiteY7" fmla="*/ 448 h 44778"/>
                <a:gd name="connsiteX8" fmla="*/ 13657 w 31344"/>
                <a:gd name="connsiteY8" fmla="*/ 448 h 44778"/>
                <a:gd name="connsiteX9" fmla="*/ 13657 w 31344"/>
                <a:gd name="connsiteY9" fmla="*/ 448 h 44778"/>
                <a:gd name="connsiteX10" fmla="*/ 13657 w 31344"/>
                <a:gd name="connsiteY10" fmla="*/ 895 h 44778"/>
                <a:gd name="connsiteX11" fmla="*/ 672 w 31344"/>
                <a:gd name="connsiteY11" fmla="*/ 13881 h 44778"/>
                <a:gd name="connsiteX12" fmla="*/ 672 w 31344"/>
                <a:gd name="connsiteY12" fmla="*/ 17016 h 44778"/>
                <a:gd name="connsiteX13" fmla="*/ 2463 w 31344"/>
                <a:gd name="connsiteY13" fmla="*/ 17463 h 44778"/>
                <a:gd name="connsiteX14" fmla="*/ 4254 w 31344"/>
                <a:gd name="connsiteY14" fmla="*/ 17016 h 44778"/>
                <a:gd name="connsiteX15" fmla="*/ 13657 w 31344"/>
                <a:gd name="connsiteY15" fmla="*/ 7612 h 44778"/>
                <a:gd name="connsiteX16" fmla="*/ 13657 w 31344"/>
                <a:gd name="connsiteY16" fmla="*/ 42539 h 44778"/>
                <a:gd name="connsiteX17" fmla="*/ 15896 w 31344"/>
                <a:gd name="connsiteY17" fmla="*/ 44778 h 44778"/>
                <a:gd name="connsiteX18" fmla="*/ 18135 w 31344"/>
                <a:gd name="connsiteY18" fmla="*/ 42539 h 44778"/>
                <a:gd name="connsiteX19" fmla="*/ 18135 w 31344"/>
                <a:gd name="connsiteY19" fmla="*/ 7612 h 44778"/>
                <a:gd name="connsiteX20" fmla="*/ 27986 w 31344"/>
                <a:gd name="connsiteY20" fmla="*/ 17463 h 44778"/>
                <a:gd name="connsiteX21" fmla="*/ 29777 w 31344"/>
                <a:gd name="connsiteY21" fmla="*/ 17911 h 44778"/>
                <a:gd name="connsiteX22" fmla="*/ 31569 w 31344"/>
                <a:gd name="connsiteY22" fmla="*/ 17463 h 44778"/>
                <a:gd name="connsiteX23" fmla="*/ 30673 w 31344"/>
                <a:gd name="connsiteY23" fmla="*/ 1388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344" h="44778">
                  <a:moveTo>
                    <a:pt x="30673" y="13881"/>
                  </a:moveTo>
                  <a:lnTo>
                    <a:pt x="17687" y="895"/>
                  </a:lnTo>
                  <a:cubicBezTo>
                    <a:pt x="17687" y="895"/>
                    <a:pt x="17687" y="448"/>
                    <a:pt x="17240" y="448"/>
                  </a:cubicBezTo>
                  <a:cubicBezTo>
                    <a:pt x="16792" y="0"/>
                    <a:pt x="16344" y="0"/>
                    <a:pt x="15448" y="0"/>
                  </a:cubicBezTo>
                  <a:cubicBezTo>
                    <a:pt x="15448" y="0"/>
                    <a:pt x="15448" y="0"/>
                    <a:pt x="15448" y="0"/>
                  </a:cubicBezTo>
                  <a:cubicBezTo>
                    <a:pt x="15448" y="0"/>
                    <a:pt x="15448" y="0"/>
                    <a:pt x="15448" y="0"/>
                  </a:cubicBezTo>
                  <a:cubicBezTo>
                    <a:pt x="15001" y="0"/>
                    <a:pt x="15001" y="0"/>
                    <a:pt x="14553" y="0"/>
                  </a:cubicBezTo>
                  <a:cubicBezTo>
                    <a:pt x="14105" y="0"/>
                    <a:pt x="14105" y="448"/>
                    <a:pt x="13657" y="448"/>
                  </a:cubicBezTo>
                  <a:cubicBezTo>
                    <a:pt x="13657" y="448"/>
                    <a:pt x="13657" y="448"/>
                    <a:pt x="13657" y="448"/>
                  </a:cubicBezTo>
                  <a:cubicBezTo>
                    <a:pt x="13657" y="448"/>
                    <a:pt x="13657" y="448"/>
                    <a:pt x="13657" y="448"/>
                  </a:cubicBezTo>
                  <a:cubicBezTo>
                    <a:pt x="13657" y="448"/>
                    <a:pt x="13657" y="448"/>
                    <a:pt x="13657" y="895"/>
                  </a:cubicBezTo>
                  <a:lnTo>
                    <a:pt x="672" y="13881"/>
                  </a:lnTo>
                  <a:cubicBezTo>
                    <a:pt x="-224" y="14777"/>
                    <a:pt x="-224" y="16120"/>
                    <a:pt x="672" y="17016"/>
                  </a:cubicBezTo>
                  <a:cubicBezTo>
                    <a:pt x="1119" y="17463"/>
                    <a:pt x="1567" y="17463"/>
                    <a:pt x="2463" y="17463"/>
                  </a:cubicBezTo>
                  <a:cubicBezTo>
                    <a:pt x="2911" y="17463"/>
                    <a:pt x="3806" y="17463"/>
                    <a:pt x="4254" y="17016"/>
                  </a:cubicBezTo>
                  <a:lnTo>
                    <a:pt x="13657" y="7612"/>
                  </a:lnTo>
                  <a:lnTo>
                    <a:pt x="13657" y="42539"/>
                  </a:lnTo>
                  <a:cubicBezTo>
                    <a:pt x="13657" y="43883"/>
                    <a:pt x="14553" y="44778"/>
                    <a:pt x="15896" y="44778"/>
                  </a:cubicBezTo>
                  <a:cubicBezTo>
                    <a:pt x="17240" y="44778"/>
                    <a:pt x="18135" y="43883"/>
                    <a:pt x="18135" y="42539"/>
                  </a:cubicBezTo>
                  <a:lnTo>
                    <a:pt x="18135" y="7612"/>
                  </a:lnTo>
                  <a:lnTo>
                    <a:pt x="27986" y="17463"/>
                  </a:lnTo>
                  <a:cubicBezTo>
                    <a:pt x="28434" y="17911"/>
                    <a:pt x="28882" y="17911"/>
                    <a:pt x="29777" y="17911"/>
                  </a:cubicBezTo>
                  <a:cubicBezTo>
                    <a:pt x="30225" y="17911"/>
                    <a:pt x="31121" y="17911"/>
                    <a:pt x="31569" y="17463"/>
                  </a:cubicBezTo>
                  <a:cubicBezTo>
                    <a:pt x="31569" y="16568"/>
                    <a:pt x="31569" y="14777"/>
                    <a:pt x="30673" y="13881"/>
                  </a:cubicBezTo>
                  <a:close/>
                </a:path>
              </a:pathLst>
            </a:custGeom>
            <a:solidFill>
              <a:srgbClr val="231F20"/>
            </a:solidFill>
            <a:ln w="4474" cap="flat">
              <a:noFill/>
              <a:prstDash val="solid"/>
              <a:miter/>
            </a:ln>
          </p:spPr>
          <p:txBody>
            <a:bodyPr rtlCol="0" anchor="ctr"/>
            <a:lstStyle/>
            <a:p>
              <a:endParaRPr lang="en-US"/>
            </a:p>
          </p:txBody>
        </p:sp>
      </p:grpSp>
      <p:grpSp>
        <p:nvGrpSpPr>
          <p:cNvPr id="4725" name="Group 4724">
            <a:extLst>
              <a:ext uri="{FF2B5EF4-FFF2-40B4-BE49-F238E27FC236}">
                <a16:creationId xmlns:a16="http://schemas.microsoft.com/office/drawing/2014/main" id="{722A4C85-73C2-4D31-9FF2-DA55EB5ED92F}"/>
              </a:ext>
              <a:ext uri="{C183D7F6-B498-43B3-948B-1728B52AA6E4}">
                <adec:decorative xmlns:adec="http://schemas.microsoft.com/office/drawing/2017/decorative" val="1"/>
              </a:ext>
            </a:extLst>
          </p:cNvPr>
          <p:cNvGrpSpPr>
            <a:grpSpLocks noChangeAspect="1"/>
          </p:cNvGrpSpPr>
          <p:nvPr/>
        </p:nvGrpSpPr>
        <p:grpSpPr>
          <a:xfrm>
            <a:off x="8247447" y="1752183"/>
            <a:ext cx="92468" cy="129857"/>
            <a:chOff x="2466794" y="5211369"/>
            <a:chExt cx="92468" cy="129857"/>
          </a:xfrm>
        </p:grpSpPr>
        <p:sp>
          <p:nvSpPr>
            <p:cNvPr id="4726" name="Freeform: Shape 4725">
              <a:extLst>
                <a:ext uri="{FF2B5EF4-FFF2-40B4-BE49-F238E27FC236}">
                  <a16:creationId xmlns:a16="http://schemas.microsoft.com/office/drawing/2014/main" id="{EB028372-752C-4D4D-86DD-3A24C16E032A}"/>
                </a:ext>
              </a:extLst>
            </p:cNvPr>
            <p:cNvSpPr/>
            <p:nvPr/>
          </p:nvSpPr>
          <p:spPr>
            <a:xfrm>
              <a:off x="2466794" y="5211369"/>
              <a:ext cx="71645" cy="129857"/>
            </a:xfrm>
            <a:custGeom>
              <a:avLst/>
              <a:gdLst>
                <a:gd name="connsiteX0" fmla="*/ 55973 w 71645"/>
                <a:gd name="connsiteY0" fmla="*/ 63585 h 129856"/>
                <a:gd name="connsiteX1" fmla="*/ 55973 w 71645"/>
                <a:gd name="connsiteY1" fmla="*/ 63585 h 129856"/>
                <a:gd name="connsiteX2" fmla="*/ 55525 w 71645"/>
                <a:gd name="connsiteY2" fmla="*/ 19255 h 129856"/>
                <a:gd name="connsiteX3" fmla="*/ 36270 w 71645"/>
                <a:gd name="connsiteY3" fmla="*/ 0 h 129856"/>
                <a:gd name="connsiteX4" fmla="*/ 17016 w 71645"/>
                <a:gd name="connsiteY4" fmla="*/ 19255 h 129856"/>
                <a:gd name="connsiteX5" fmla="*/ 17016 w 71645"/>
                <a:gd name="connsiteY5" fmla="*/ 63585 h 129856"/>
                <a:gd name="connsiteX6" fmla="*/ 16568 w 71645"/>
                <a:gd name="connsiteY6" fmla="*/ 63585 h 129856"/>
                <a:gd name="connsiteX7" fmla="*/ 0 w 71645"/>
                <a:gd name="connsiteY7" fmla="*/ 94034 h 129856"/>
                <a:gd name="connsiteX8" fmla="*/ 35823 w 71645"/>
                <a:gd name="connsiteY8" fmla="*/ 129857 h 129856"/>
                <a:gd name="connsiteX9" fmla="*/ 71645 w 71645"/>
                <a:gd name="connsiteY9" fmla="*/ 94034 h 129856"/>
                <a:gd name="connsiteX10" fmla="*/ 55973 w 71645"/>
                <a:gd name="connsiteY10" fmla="*/ 63585 h 129856"/>
                <a:gd name="connsiteX11" fmla="*/ 36718 w 71645"/>
                <a:gd name="connsiteY11" fmla="*/ 125379 h 129856"/>
                <a:gd name="connsiteX12" fmla="*/ 5373 w 71645"/>
                <a:gd name="connsiteY12" fmla="*/ 94034 h 129856"/>
                <a:gd name="connsiteX13" fmla="*/ 19702 w 71645"/>
                <a:gd name="connsiteY13" fmla="*/ 67615 h 129856"/>
                <a:gd name="connsiteX14" fmla="*/ 21941 w 71645"/>
                <a:gd name="connsiteY14" fmla="*/ 66272 h 129856"/>
                <a:gd name="connsiteX15" fmla="*/ 21941 w 71645"/>
                <a:gd name="connsiteY15" fmla="*/ 19255 h 129856"/>
                <a:gd name="connsiteX16" fmla="*/ 36718 w 71645"/>
                <a:gd name="connsiteY16" fmla="*/ 4478 h 129856"/>
                <a:gd name="connsiteX17" fmla="*/ 51495 w 71645"/>
                <a:gd name="connsiteY17" fmla="*/ 19255 h 129856"/>
                <a:gd name="connsiteX18" fmla="*/ 51495 w 71645"/>
                <a:gd name="connsiteY18" fmla="*/ 66272 h 129856"/>
                <a:gd name="connsiteX19" fmla="*/ 53734 w 71645"/>
                <a:gd name="connsiteY19" fmla="*/ 67615 h 129856"/>
                <a:gd name="connsiteX20" fmla="*/ 68063 w 71645"/>
                <a:gd name="connsiteY20" fmla="*/ 94034 h 129856"/>
                <a:gd name="connsiteX21" fmla="*/ 36718 w 71645"/>
                <a:gd name="connsiteY21" fmla="*/ 125379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129856">
                  <a:moveTo>
                    <a:pt x="55973" y="63585"/>
                  </a:moveTo>
                  <a:lnTo>
                    <a:pt x="55973" y="63585"/>
                  </a:lnTo>
                  <a:lnTo>
                    <a:pt x="55525" y="19255"/>
                  </a:lnTo>
                  <a:cubicBezTo>
                    <a:pt x="55525" y="8508"/>
                    <a:pt x="47017" y="0"/>
                    <a:pt x="36270" y="0"/>
                  </a:cubicBezTo>
                  <a:cubicBezTo>
                    <a:pt x="25524" y="0"/>
                    <a:pt x="17016" y="8508"/>
                    <a:pt x="17016" y="19255"/>
                  </a:cubicBezTo>
                  <a:lnTo>
                    <a:pt x="17016" y="63585"/>
                  </a:lnTo>
                  <a:lnTo>
                    <a:pt x="16568" y="63585"/>
                  </a:lnTo>
                  <a:cubicBezTo>
                    <a:pt x="6269" y="70302"/>
                    <a:pt x="0" y="81496"/>
                    <a:pt x="0" y="94034"/>
                  </a:cubicBezTo>
                  <a:cubicBezTo>
                    <a:pt x="0" y="113737"/>
                    <a:pt x="16120" y="129857"/>
                    <a:pt x="35823" y="129857"/>
                  </a:cubicBezTo>
                  <a:cubicBezTo>
                    <a:pt x="55525" y="129857"/>
                    <a:pt x="71645" y="113737"/>
                    <a:pt x="71645" y="94034"/>
                  </a:cubicBezTo>
                  <a:cubicBezTo>
                    <a:pt x="72541" y="81496"/>
                    <a:pt x="66272" y="70302"/>
                    <a:pt x="55973" y="63585"/>
                  </a:cubicBezTo>
                  <a:close/>
                  <a:moveTo>
                    <a:pt x="36718" y="125379"/>
                  </a:moveTo>
                  <a:cubicBezTo>
                    <a:pt x="19255" y="125379"/>
                    <a:pt x="5373" y="111050"/>
                    <a:pt x="5373" y="94034"/>
                  </a:cubicBezTo>
                  <a:cubicBezTo>
                    <a:pt x="5373" y="83288"/>
                    <a:pt x="10747" y="73436"/>
                    <a:pt x="19702" y="67615"/>
                  </a:cubicBezTo>
                  <a:lnTo>
                    <a:pt x="21941" y="66272"/>
                  </a:lnTo>
                  <a:lnTo>
                    <a:pt x="21941" y="19255"/>
                  </a:lnTo>
                  <a:cubicBezTo>
                    <a:pt x="21941" y="11195"/>
                    <a:pt x="28658" y="4478"/>
                    <a:pt x="36718" y="4478"/>
                  </a:cubicBezTo>
                  <a:cubicBezTo>
                    <a:pt x="44778" y="4478"/>
                    <a:pt x="51495" y="11195"/>
                    <a:pt x="51495" y="19255"/>
                  </a:cubicBezTo>
                  <a:lnTo>
                    <a:pt x="51495" y="66272"/>
                  </a:lnTo>
                  <a:lnTo>
                    <a:pt x="53734" y="67615"/>
                  </a:lnTo>
                  <a:cubicBezTo>
                    <a:pt x="62689" y="73436"/>
                    <a:pt x="68063" y="83288"/>
                    <a:pt x="68063" y="94034"/>
                  </a:cubicBezTo>
                  <a:cubicBezTo>
                    <a:pt x="68063" y="111498"/>
                    <a:pt x="53734" y="125379"/>
                    <a:pt x="36718" y="125379"/>
                  </a:cubicBezTo>
                  <a:close/>
                </a:path>
              </a:pathLst>
            </a:custGeom>
            <a:solidFill>
              <a:srgbClr val="231F20"/>
            </a:solidFill>
            <a:ln w="4474" cap="flat">
              <a:noFill/>
              <a:prstDash val="solid"/>
              <a:miter/>
            </a:ln>
          </p:spPr>
          <p:txBody>
            <a:bodyPr rtlCol="0" anchor="ctr"/>
            <a:lstStyle/>
            <a:p>
              <a:endParaRPr lang="en-US"/>
            </a:p>
          </p:txBody>
        </p:sp>
        <p:sp>
          <p:nvSpPr>
            <p:cNvPr id="4727" name="Freeform: Shape 4726">
              <a:extLst>
                <a:ext uri="{FF2B5EF4-FFF2-40B4-BE49-F238E27FC236}">
                  <a16:creationId xmlns:a16="http://schemas.microsoft.com/office/drawing/2014/main" id="{F2CB8024-6AD8-4FF2-8D33-BB0D649F4A9F}"/>
                </a:ext>
              </a:extLst>
            </p:cNvPr>
            <p:cNvSpPr/>
            <p:nvPr/>
          </p:nvSpPr>
          <p:spPr>
            <a:xfrm>
              <a:off x="2483810" y="5230176"/>
              <a:ext cx="35823" cy="94034"/>
            </a:xfrm>
            <a:custGeom>
              <a:avLst/>
              <a:gdLst>
                <a:gd name="connsiteX0" fmla="*/ 21941 w 35822"/>
                <a:gd name="connsiteY0" fmla="*/ 55973 h 94034"/>
                <a:gd name="connsiteX1" fmla="*/ 21941 w 35822"/>
                <a:gd name="connsiteY1" fmla="*/ 2239 h 94034"/>
                <a:gd name="connsiteX2" fmla="*/ 19703 w 35822"/>
                <a:gd name="connsiteY2" fmla="*/ 0 h 94034"/>
                <a:gd name="connsiteX3" fmla="*/ 17464 w 35822"/>
                <a:gd name="connsiteY3" fmla="*/ 2239 h 94034"/>
                <a:gd name="connsiteX4" fmla="*/ 17464 w 35822"/>
                <a:gd name="connsiteY4" fmla="*/ 55973 h 94034"/>
                <a:gd name="connsiteX5" fmla="*/ 0 w 35822"/>
                <a:gd name="connsiteY5" fmla="*/ 75227 h 94034"/>
                <a:gd name="connsiteX6" fmla="*/ 19703 w 35822"/>
                <a:gd name="connsiteY6" fmla="*/ 94930 h 94034"/>
                <a:gd name="connsiteX7" fmla="*/ 39405 w 35822"/>
                <a:gd name="connsiteY7" fmla="*/ 75227 h 94034"/>
                <a:gd name="connsiteX8" fmla="*/ 21941 w 35822"/>
                <a:gd name="connsiteY8" fmla="*/ 55973 h 94034"/>
                <a:gd name="connsiteX9" fmla="*/ 19703 w 35822"/>
                <a:gd name="connsiteY9" fmla="*/ 90452 h 94034"/>
                <a:gd name="connsiteX10" fmla="*/ 4478 w 35822"/>
                <a:gd name="connsiteY10" fmla="*/ 75227 h 94034"/>
                <a:gd name="connsiteX11" fmla="*/ 19703 w 35822"/>
                <a:gd name="connsiteY11" fmla="*/ 60003 h 94034"/>
                <a:gd name="connsiteX12" fmla="*/ 34927 w 35822"/>
                <a:gd name="connsiteY12" fmla="*/ 75227 h 94034"/>
                <a:gd name="connsiteX13" fmla="*/ 19703 w 35822"/>
                <a:gd name="connsiteY13" fmla="*/ 9045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94034">
                  <a:moveTo>
                    <a:pt x="21941" y="55973"/>
                  </a:moveTo>
                  <a:lnTo>
                    <a:pt x="21941" y="2239"/>
                  </a:lnTo>
                  <a:cubicBezTo>
                    <a:pt x="21941" y="896"/>
                    <a:pt x="21046" y="0"/>
                    <a:pt x="19703" y="0"/>
                  </a:cubicBezTo>
                  <a:cubicBezTo>
                    <a:pt x="18359" y="0"/>
                    <a:pt x="17464" y="896"/>
                    <a:pt x="17464" y="2239"/>
                  </a:cubicBezTo>
                  <a:lnTo>
                    <a:pt x="17464" y="55973"/>
                  </a:lnTo>
                  <a:cubicBezTo>
                    <a:pt x="7612" y="57316"/>
                    <a:pt x="0" y="65376"/>
                    <a:pt x="0" y="75227"/>
                  </a:cubicBezTo>
                  <a:cubicBezTo>
                    <a:pt x="0" y="85974"/>
                    <a:pt x="8956" y="94930"/>
                    <a:pt x="19703" y="94930"/>
                  </a:cubicBezTo>
                  <a:cubicBezTo>
                    <a:pt x="30449" y="94930"/>
                    <a:pt x="39405" y="85974"/>
                    <a:pt x="39405" y="75227"/>
                  </a:cubicBezTo>
                  <a:cubicBezTo>
                    <a:pt x="38957" y="65376"/>
                    <a:pt x="31345" y="56868"/>
                    <a:pt x="21941" y="55973"/>
                  </a:cubicBezTo>
                  <a:close/>
                  <a:moveTo>
                    <a:pt x="19703" y="90452"/>
                  </a:moveTo>
                  <a:cubicBezTo>
                    <a:pt x="11195" y="90452"/>
                    <a:pt x="4478" y="83735"/>
                    <a:pt x="4478" y="75227"/>
                  </a:cubicBezTo>
                  <a:cubicBezTo>
                    <a:pt x="4478" y="66720"/>
                    <a:pt x="11195" y="60003"/>
                    <a:pt x="19703" y="60003"/>
                  </a:cubicBezTo>
                  <a:cubicBezTo>
                    <a:pt x="28210" y="60003"/>
                    <a:pt x="34927" y="66720"/>
                    <a:pt x="34927" y="75227"/>
                  </a:cubicBezTo>
                  <a:cubicBezTo>
                    <a:pt x="34479" y="83735"/>
                    <a:pt x="27763" y="90452"/>
                    <a:pt x="19703" y="90452"/>
                  </a:cubicBezTo>
                  <a:close/>
                </a:path>
              </a:pathLst>
            </a:custGeom>
            <a:solidFill>
              <a:srgbClr val="231F20"/>
            </a:solidFill>
            <a:ln w="4474" cap="flat">
              <a:noFill/>
              <a:prstDash val="solid"/>
              <a:miter/>
            </a:ln>
          </p:spPr>
          <p:txBody>
            <a:bodyPr rtlCol="0" anchor="ctr"/>
            <a:lstStyle/>
            <a:p>
              <a:endParaRPr lang="en-US"/>
            </a:p>
          </p:txBody>
        </p:sp>
        <p:sp>
          <p:nvSpPr>
            <p:cNvPr id="4728" name="Freeform: Shape 4727">
              <a:extLst>
                <a:ext uri="{FF2B5EF4-FFF2-40B4-BE49-F238E27FC236}">
                  <a16:creationId xmlns:a16="http://schemas.microsoft.com/office/drawing/2014/main" id="{1FC493C4-EA28-423E-A6C9-C56AA63C413D}"/>
                </a:ext>
              </a:extLst>
            </p:cNvPr>
            <p:cNvSpPr/>
            <p:nvPr/>
          </p:nvSpPr>
          <p:spPr>
            <a:xfrm>
              <a:off x="2527917" y="5216295"/>
              <a:ext cx="31345" cy="40300"/>
            </a:xfrm>
            <a:custGeom>
              <a:avLst/>
              <a:gdLst>
                <a:gd name="connsiteX0" fmla="*/ 31121 w 31344"/>
                <a:gd name="connsiteY0" fmla="*/ 27315 h 40300"/>
                <a:gd name="connsiteX1" fmla="*/ 27986 w 31344"/>
                <a:gd name="connsiteY1" fmla="*/ 27315 h 40300"/>
                <a:gd name="connsiteX2" fmla="*/ 18135 w 31344"/>
                <a:gd name="connsiteY2" fmla="*/ 37166 h 40300"/>
                <a:gd name="connsiteX3" fmla="*/ 18135 w 31344"/>
                <a:gd name="connsiteY3" fmla="*/ 2239 h 40300"/>
                <a:gd name="connsiteX4" fmla="*/ 15896 w 31344"/>
                <a:gd name="connsiteY4" fmla="*/ 0 h 40300"/>
                <a:gd name="connsiteX5" fmla="*/ 13657 w 31344"/>
                <a:gd name="connsiteY5" fmla="*/ 2239 h 40300"/>
                <a:gd name="connsiteX6" fmla="*/ 13657 w 31344"/>
                <a:gd name="connsiteY6" fmla="*/ 37166 h 40300"/>
                <a:gd name="connsiteX7" fmla="*/ 3806 w 31344"/>
                <a:gd name="connsiteY7" fmla="*/ 27315 h 40300"/>
                <a:gd name="connsiteX8" fmla="*/ 672 w 31344"/>
                <a:gd name="connsiteY8" fmla="*/ 27315 h 40300"/>
                <a:gd name="connsiteX9" fmla="*/ 672 w 31344"/>
                <a:gd name="connsiteY9" fmla="*/ 30449 h 40300"/>
                <a:gd name="connsiteX10" fmla="*/ 13657 w 31344"/>
                <a:gd name="connsiteY10" fmla="*/ 43435 h 40300"/>
                <a:gd name="connsiteX11" fmla="*/ 13657 w 31344"/>
                <a:gd name="connsiteY11" fmla="*/ 43883 h 40300"/>
                <a:gd name="connsiteX12" fmla="*/ 13657 w 31344"/>
                <a:gd name="connsiteY12" fmla="*/ 43883 h 40300"/>
                <a:gd name="connsiteX13" fmla="*/ 13657 w 31344"/>
                <a:gd name="connsiteY13" fmla="*/ 43883 h 40300"/>
                <a:gd name="connsiteX14" fmla="*/ 14553 w 31344"/>
                <a:gd name="connsiteY14" fmla="*/ 44330 h 40300"/>
                <a:gd name="connsiteX15" fmla="*/ 15448 w 31344"/>
                <a:gd name="connsiteY15" fmla="*/ 44330 h 40300"/>
                <a:gd name="connsiteX16" fmla="*/ 15448 w 31344"/>
                <a:gd name="connsiteY16" fmla="*/ 44330 h 40300"/>
                <a:gd name="connsiteX17" fmla="*/ 15448 w 31344"/>
                <a:gd name="connsiteY17" fmla="*/ 44330 h 40300"/>
                <a:gd name="connsiteX18" fmla="*/ 17240 w 31344"/>
                <a:gd name="connsiteY18" fmla="*/ 43883 h 40300"/>
                <a:gd name="connsiteX19" fmla="*/ 17687 w 31344"/>
                <a:gd name="connsiteY19" fmla="*/ 43435 h 40300"/>
                <a:gd name="connsiteX20" fmla="*/ 30673 w 31344"/>
                <a:gd name="connsiteY20" fmla="*/ 30449 h 40300"/>
                <a:gd name="connsiteX21" fmla="*/ 31121 w 31344"/>
                <a:gd name="connsiteY21" fmla="*/ 2731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344" h="40300">
                  <a:moveTo>
                    <a:pt x="31121" y="27315"/>
                  </a:moveTo>
                  <a:cubicBezTo>
                    <a:pt x="30225" y="26419"/>
                    <a:pt x="28882" y="26419"/>
                    <a:pt x="27986" y="27315"/>
                  </a:cubicBezTo>
                  <a:lnTo>
                    <a:pt x="18135" y="37166"/>
                  </a:lnTo>
                  <a:lnTo>
                    <a:pt x="18135" y="2239"/>
                  </a:lnTo>
                  <a:cubicBezTo>
                    <a:pt x="18135" y="895"/>
                    <a:pt x="17240" y="0"/>
                    <a:pt x="15896" y="0"/>
                  </a:cubicBezTo>
                  <a:cubicBezTo>
                    <a:pt x="14553" y="0"/>
                    <a:pt x="13657" y="895"/>
                    <a:pt x="13657" y="2239"/>
                  </a:cubicBezTo>
                  <a:lnTo>
                    <a:pt x="13657" y="37166"/>
                  </a:lnTo>
                  <a:lnTo>
                    <a:pt x="3806" y="27315"/>
                  </a:lnTo>
                  <a:cubicBezTo>
                    <a:pt x="2911" y="26419"/>
                    <a:pt x="1567" y="26419"/>
                    <a:pt x="672" y="27315"/>
                  </a:cubicBezTo>
                  <a:cubicBezTo>
                    <a:pt x="-224" y="28210"/>
                    <a:pt x="-224" y="29553"/>
                    <a:pt x="672" y="30449"/>
                  </a:cubicBezTo>
                  <a:lnTo>
                    <a:pt x="13657" y="43435"/>
                  </a:lnTo>
                  <a:cubicBezTo>
                    <a:pt x="13657" y="43435"/>
                    <a:pt x="13657" y="43435"/>
                    <a:pt x="13657" y="43883"/>
                  </a:cubicBezTo>
                  <a:cubicBezTo>
                    <a:pt x="13657" y="43883"/>
                    <a:pt x="13657" y="43883"/>
                    <a:pt x="13657" y="43883"/>
                  </a:cubicBezTo>
                  <a:cubicBezTo>
                    <a:pt x="13657" y="43883"/>
                    <a:pt x="13657" y="43883"/>
                    <a:pt x="13657" y="43883"/>
                  </a:cubicBezTo>
                  <a:cubicBezTo>
                    <a:pt x="13657" y="43883"/>
                    <a:pt x="14105" y="44330"/>
                    <a:pt x="14553" y="44330"/>
                  </a:cubicBezTo>
                  <a:cubicBezTo>
                    <a:pt x="15001" y="44330"/>
                    <a:pt x="15001" y="44330"/>
                    <a:pt x="15448" y="44330"/>
                  </a:cubicBezTo>
                  <a:cubicBezTo>
                    <a:pt x="15448" y="44330"/>
                    <a:pt x="15448" y="44330"/>
                    <a:pt x="15448" y="44330"/>
                  </a:cubicBezTo>
                  <a:cubicBezTo>
                    <a:pt x="15448" y="44330"/>
                    <a:pt x="15448" y="44330"/>
                    <a:pt x="15448" y="44330"/>
                  </a:cubicBezTo>
                  <a:cubicBezTo>
                    <a:pt x="15896" y="44330"/>
                    <a:pt x="16792" y="44330"/>
                    <a:pt x="17240" y="43883"/>
                  </a:cubicBezTo>
                  <a:cubicBezTo>
                    <a:pt x="17240" y="43883"/>
                    <a:pt x="17240" y="43435"/>
                    <a:pt x="17687" y="43435"/>
                  </a:cubicBezTo>
                  <a:lnTo>
                    <a:pt x="30673" y="30449"/>
                  </a:lnTo>
                  <a:cubicBezTo>
                    <a:pt x="31569" y="30001"/>
                    <a:pt x="31569" y="28210"/>
                    <a:pt x="31121" y="27315"/>
                  </a:cubicBezTo>
                  <a:close/>
                </a:path>
              </a:pathLst>
            </a:custGeom>
            <a:solidFill>
              <a:srgbClr val="231F20"/>
            </a:solidFill>
            <a:ln w="4474" cap="flat">
              <a:noFill/>
              <a:prstDash val="solid"/>
              <a:miter/>
            </a:ln>
          </p:spPr>
          <p:txBody>
            <a:bodyPr rtlCol="0" anchor="ctr"/>
            <a:lstStyle/>
            <a:p>
              <a:endParaRPr lang="en-US"/>
            </a:p>
          </p:txBody>
        </p:sp>
      </p:grpSp>
      <p:sp>
        <p:nvSpPr>
          <p:cNvPr id="4729" name="Freeform: Shape 4728">
            <a:extLst>
              <a:ext uri="{FF2B5EF4-FFF2-40B4-BE49-F238E27FC236}">
                <a16:creationId xmlns:a16="http://schemas.microsoft.com/office/drawing/2014/main" id="{2BE58C5B-F578-4BBB-B3B6-E875C99BF179}"/>
              </a:ext>
              <a:ext uri="{C183D7F6-B498-43B3-948B-1728B52AA6E4}">
                <adec:decorative xmlns:adec="http://schemas.microsoft.com/office/drawing/2017/decorative" val="1"/>
              </a:ext>
            </a:extLst>
          </p:cNvPr>
          <p:cNvSpPr>
            <a:spLocks noChangeAspect="1"/>
          </p:cNvSpPr>
          <p:nvPr/>
        </p:nvSpPr>
        <p:spPr>
          <a:xfrm>
            <a:off x="8489249" y="1740989"/>
            <a:ext cx="125379" cy="125379"/>
          </a:xfrm>
          <a:custGeom>
            <a:avLst/>
            <a:gdLst>
              <a:gd name="connsiteX0" fmla="*/ 122244 w 125378"/>
              <a:gd name="connsiteY0" fmla="*/ 51047 h 125378"/>
              <a:gd name="connsiteX1" fmla="*/ 122692 w 125378"/>
              <a:gd name="connsiteY1" fmla="*/ 51047 h 125378"/>
              <a:gd name="connsiteX2" fmla="*/ 124931 w 125378"/>
              <a:gd name="connsiteY2" fmla="*/ 49256 h 125378"/>
              <a:gd name="connsiteX3" fmla="*/ 123140 w 125378"/>
              <a:gd name="connsiteY3" fmla="*/ 46569 h 125378"/>
              <a:gd name="connsiteX4" fmla="*/ 107468 w 125378"/>
              <a:gd name="connsiteY4" fmla="*/ 42539 h 125378"/>
              <a:gd name="connsiteX5" fmla="*/ 117767 w 125378"/>
              <a:gd name="connsiteY5" fmla="*/ 36718 h 125378"/>
              <a:gd name="connsiteX6" fmla="*/ 118662 w 125378"/>
              <a:gd name="connsiteY6" fmla="*/ 33584 h 125378"/>
              <a:gd name="connsiteX7" fmla="*/ 115528 w 125378"/>
              <a:gd name="connsiteY7" fmla="*/ 32688 h 125378"/>
              <a:gd name="connsiteX8" fmla="*/ 105229 w 125378"/>
              <a:gd name="connsiteY8" fmla="*/ 38957 h 125378"/>
              <a:gd name="connsiteX9" fmla="*/ 109707 w 125378"/>
              <a:gd name="connsiteY9" fmla="*/ 21941 h 125378"/>
              <a:gd name="connsiteX10" fmla="*/ 107915 w 125378"/>
              <a:gd name="connsiteY10" fmla="*/ 19255 h 125378"/>
              <a:gd name="connsiteX11" fmla="*/ 105229 w 125378"/>
              <a:gd name="connsiteY11" fmla="*/ 21046 h 125378"/>
              <a:gd name="connsiteX12" fmla="*/ 99855 w 125378"/>
              <a:gd name="connsiteY12" fmla="*/ 42092 h 125378"/>
              <a:gd name="connsiteX13" fmla="*/ 76123 w 125378"/>
              <a:gd name="connsiteY13" fmla="*/ 55525 h 125378"/>
              <a:gd name="connsiteX14" fmla="*/ 64481 w 125378"/>
              <a:gd name="connsiteY14" fmla="*/ 48808 h 125378"/>
              <a:gd name="connsiteX15" fmla="*/ 64481 w 125378"/>
              <a:gd name="connsiteY15" fmla="*/ 20150 h 125378"/>
              <a:gd name="connsiteX16" fmla="*/ 79257 w 125378"/>
              <a:gd name="connsiteY16" fmla="*/ 5821 h 125378"/>
              <a:gd name="connsiteX17" fmla="*/ 79257 w 125378"/>
              <a:gd name="connsiteY17" fmla="*/ 2687 h 125378"/>
              <a:gd name="connsiteX18" fmla="*/ 76123 w 125378"/>
              <a:gd name="connsiteY18" fmla="*/ 2687 h 125378"/>
              <a:gd name="connsiteX19" fmla="*/ 64481 w 125378"/>
              <a:gd name="connsiteY19" fmla="*/ 13881 h 125378"/>
              <a:gd name="connsiteX20" fmla="*/ 64481 w 125378"/>
              <a:gd name="connsiteY20" fmla="*/ 2239 h 125378"/>
              <a:gd name="connsiteX21" fmla="*/ 62242 w 125378"/>
              <a:gd name="connsiteY21" fmla="*/ 0 h 125378"/>
              <a:gd name="connsiteX22" fmla="*/ 60003 w 125378"/>
              <a:gd name="connsiteY22" fmla="*/ 2239 h 125378"/>
              <a:gd name="connsiteX23" fmla="*/ 60003 w 125378"/>
              <a:gd name="connsiteY23" fmla="*/ 13881 h 125378"/>
              <a:gd name="connsiteX24" fmla="*/ 48360 w 125378"/>
              <a:gd name="connsiteY24" fmla="*/ 2687 h 125378"/>
              <a:gd name="connsiteX25" fmla="*/ 45226 w 125378"/>
              <a:gd name="connsiteY25" fmla="*/ 2687 h 125378"/>
              <a:gd name="connsiteX26" fmla="*/ 45226 w 125378"/>
              <a:gd name="connsiteY26" fmla="*/ 5821 h 125378"/>
              <a:gd name="connsiteX27" fmla="*/ 60003 w 125378"/>
              <a:gd name="connsiteY27" fmla="*/ 20150 h 125378"/>
              <a:gd name="connsiteX28" fmla="*/ 60003 w 125378"/>
              <a:gd name="connsiteY28" fmla="*/ 49256 h 125378"/>
              <a:gd name="connsiteX29" fmla="*/ 48808 w 125378"/>
              <a:gd name="connsiteY29" fmla="*/ 55525 h 125378"/>
              <a:gd name="connsiteX30" fmla="*/ 25076 w 125378"/>
              <a:gd name="connsiteY30" fmla="*/ 41644 h 125378"/>
              <a:gd name="connsiteX31" fmla="*/ 19702 w 125378"/>
              <a:gd name="connsiteY31" fmla="*/ 20598 h 125378"/>
              <a:gd name="connsiteX32" fmla="*/ 17016 w 125378"/>
              <a:gd name="connsiteY32" fmla="*/ 18807 h 125378"/>
              <a:gd name="connsiteX33" fmla="*/ 15225 w 125378"/>
              <a:gd name="connsiteY33" fmla="*/ 21493 h 125378"/>
              <a:gd name="connsiteX34" fmla="*/ 19702 w 125378"/>
              <a:gd name="connsiteY34" fmla="*/ 38061 h 125378"/>
              <a:gd name="connsiteX35" fmla="*/ 8956 w 125378"/>
              <a:gd name="connsiteY35" fmla="*/ 31793 h 125378"/>
              <a:gd name="connsiteX36" fmla="*/ 5821 w 125378"/>
              <a:gd name="connsiteY36" fmla="*/ 32688 h 125378"/>
              <a:gd name="connsiteX37" fmla="*/ 6717 w 125378"/>
              <a:gd name="connsiteY37" fmla="*/ 35823 h 125378"/>
              <a:gd name="connsiteX38" fmla="*/ 17463 w 125378"/>
              <a:gd name="connsiteY38" fmla="*/ 42092 h 125378"/>
              <a:gd name="connsiteX39" fmla="*/ 1791 w 125378"/>
              <a:gd name="connsiteY39" fmla="*/ 46121 h 125378"/>
              <a:gd name="connsiteX40" fmla="*/ 0 w 125378"/>
              <a:gd name="connsiteY40" fmla="*/ 48808 h 125378"/>
              <a:gd name="connsiteX41" fmla="*/ 2239 w 125378"/>
              <a:gd name="connsiteY41" fmla="*/ 50599 h 125378"/>
              <a:gd name="connsiteX42" fmla="*/ 2687 w 125378"/>
              <a:gd name="connsiteY42" fmla="*/ 50599 h 125378"/>
              <a:gd name="connsiteX43" fmla="*/ 22837 w 125378"/>
              <a:gd name="connsiteY43" fmla="*/ 45226 h 125378"/>
              <a:gd name="connsiteX44" fmla="*/ 46569 w 125378"/>
              <a:gd name="connsiteY44" fmla="*/ 58660 h 125378"/>
              <a:gd name="connsiteX45" fmla="*/ 45226 w 125378"/>
              <a:gd name="connsiteY45" fmla="*/ 65376 h 125378"/>
              <a:gd name="connsiteX46" fmla="*/ 46569 w 125378"/>
              <a:gd name="connsiteY46" fmla="*/ 72093 h 125378"/>
              <a:gd name="connsiteX47" fmla="*/ 23285 w 125378"/>
              <a:gd name="connsiteY47" fmla="*/ 85526 h 125378"/>
              <a:gd name="connsiteX48" fmla="*/ 23285 w 125378"/>
              <a:gd name="connsiteY48" fmla="*/ 85526 h 125378"/>
              <a:gd name="connsiteX49" fmla="*/ 3582 w 125378"/>
              <a:gd name="connsiteY49" fmla="*/ 80601 h 125378"/>
              <a:gd name="connsiteX50" fmla="*/ 896 w 125378"/>
              <a:gd name="connsiteY50" fmla="*/ 82392 h 125378"/>
              <a:gd name="connsiteX51" fmla="*/ 2687 w 125378"/>
              <a:gd name="connsiteY51" fmla="*/ 85079 h 125378"/>
              <a:gd name="connsiteX52" fmla="*/ 17911 w 125378"/>
              <a:gd name="connsiteY52" fmla="*/ 89109 h 125378"/>
              <a:gd name="connsiteX53" fmla="*/ 8060 w 125378"/>
              <a:gd name="connsiteY53" fmla="*/ 94930 h 125378"/>
              <a:gd name="connsiteX54" fmla="*/ 7165 w 125378"/>
              <a:gd name="connsiteY54" fmla="*/ 98064 h 125378"/>
              <a:gd name="connsiteX55" fmla="*/ 8956 w 125378"/>
              <a:gd name="connsiteY55" fmla="*/ 98960 h 125378"/>
              <a:gd name="connsiteX56" fmla="*/ 10299 w 125378"/>
              <a:gd name="connsiteY56" fmla="*/ 98512 h 125378"/>
              <a:gd name="connsiteX57" fmla="*/ 19702 w 125378"/>
              <a:gd name="connsiteY57" fmla="*/ 93139 h 125378"/>
              <a:gd name="connsiteX58" fmla="*/ 16120 w 125378"/>
              <a:gd name="connsiteY58" fmla="*/ 107468 h 125378"/>
              <a:gd name="connsiteX59" fmla="*/ 17911 w 125378"/>
              <a:gd name="connsiteY59" fmla="*/ 110154 h 125378"/>
              <a:gd name="connsiteX60" fmla="*/ 18359 w 125378"/>
              <a:gd name="connsiteY60" fmla="*/ 110154 h 125378"/>
              <a:gd name="connsiteX61" fmla="*/ 20598 w 125378"/>
              <a:gd name="connsiteY61" fmla="*/ 108363 h 125378"/>
              <a:gd name="connsiteX62" fmla="*/ 25524 w 125378"/>
              <a:gd name="connsiteY62" fmla="*/ 89556 h 125378"/>
              <a:gd name="connsiteX63" fmla="*/ 49704 w 125378"/>
              <a:gd name="connsiteY63" fmla="*/ 75675 h 125378"/>
              <a:gd name="connsiteX64" fmla="*/ 60898 w 125378"/>
              <a:gd name="connsiteY64" fmla="*/ 81944 h 125378"/>
              <a:gd name="connsiteX65" fmla="*/ 60898 w 125378"/>
              <a:gd name="connsiteY65" fmla="*/ 108811 h 125378"/>
              <a:gd name="connsiteX66" fmla="*/ 46121 w 125378"/>
              <a:gd name="connsiteY66" fmla="*/ 122692 h 125378"/>
              <a:gd name="connsiteX67" fmla="*/ 46121 w 125378"/>
              <a:gd name="connsiteY67" fmla="*/ 125827 h 125378"/>
              <a:gd name="connsiteX68" fmla="*/ 47913 w 125378"/>
              <a:gd name="connsiteY68" fmla="*/ 126722 h 125378"/>
              <a:gd name="connsiteX69" fmla="*/ 49256 w 125378"/>
              <a:gd name="connsiteY69" fmla="*/ 126274 h 125378"/>
              <a:gd name="connsiteX70" fmla="*/ 60898 w 125378"/>
              <a:gd name="connsiteY70" fmla="*/ 115080 h 125378"/>
              <a:gd name="connsiteX71" fmla="*/ 60898 w 125378"/>
              <a:gd name="connsiteY71" fmla="*/ 126722 h 125378"/>
              <a:gd name="connsiteX72" fmla="*/ 63137 w 125378"/>
              <a:gd name="connsiteY72" fmla="*/ 128961 h 125378"/>
              <a:gd name="connsiteX73" fmla="*/ 63137 w 125378"/>
              <a:gd name="connsiteY73" fmla="*/ 128961 h 125378"/>
              <a:gd name="connsiteX74" fmla="*/ 65376 w 125378"/>
              <a:gd name="connsiteY74" fmla="*/ 126722 h 125378"/>
              <a:gd name="connsiteX75" fmla="*/ 65376 w 125378"/>
              <a:gd name="connsiteY75" fmla="*/ 115080 h 125378"/>
              <a:gd name="connsiteX76" fmla="*/ 77019 w 125378"/>
              <a:gd name="connsiteY76" fmla="*/ 126274 h 125378"/>
              <a:gd name="connsiteX77" fmla="*/ 78362 w 125378"/>
              <a:gd name="connsiteY77" fmla="*/ 126722 h 125378"/>
              <a:gd name="connsiteX78" fmla="*/ 80153 w 125378"/>
              <a:gd name="connsiteY78" fmla="*/ 125827 h 125378"/>
              <a:gd name="connsiteX79" fmla="*/ 80153 w 125378"/>
              <a:gd name="connsiteY79" fmla="*/ 122692 h 125378"/>
              <a:gd name="connsiteX80" fmla="*/ 65376 w 125378"/>
              <a:gd name="connsiteY80" fmla="*/ 108363 h 125378"/>
              <a:gd name="connsiteX81" fmla="*/ 65376 w 125378"/>
              <a:gd name="connsiteY81" fmla="*/ 81496 h 125378"/>
              <a:gd name="connsiteX82" fmla="*/ 77019 w 125378"/>
              <a:gd name="connsiteY82" fmla="*/ 75227 h 125378"/>
              <a:gd name="connsiteX83" fmla="*/ 100751 w 125378"/>
              <a:gd name="connsiteY83" fmla="*/ 89109 h 125378"/>
              <a:gd name="connsiteX84" fmla="*/ 105677 w 125378"/>
              <a:gd name="connsiteY84" fmla="*/ 108363 h 125378"/>
              <a:gd name="connsiteX85" fmla="*/ 107915 w 125378"/>
              <a:gd name="connsiteY85" fmla="*/ 110154 h 125378"/>
              <a:gd name="connsiteX86" fmla="*/ 108363 w 125378"/>
              <a:gd name="connsiteY86" fmla="*/ 110154 h 125378"/>
              <a:gd name="connsiteX87" fmla="*/ 110154 w 125378"/>
              <a:gd name="connsiteY87" fmla="*/ 107468 h 125378"/>
              <a:gd name="connsiteX88" fmla="*/ 106124 w 125378"/>
              <a:gd name="connsiteY88" fmla="*/ 92243 h 125378"/>
              <a:gd name="connsiteX89" fmla="*/ 115528 w 125378"/>
              <a:gd name="connsiteY89" fmla="*/ 97616 h 125378"/>
              <a:gd name="connsiteX90" fmla="*/ 116871 w 125378"/>
              <a:gd name="connsiteY90" fmla="*/ 98064 h 125378"/>
              <a:gd name="connsiteX91" fmla="*/ 118662 w 125378"/>
              <a:gd name="connsiteY91" fmla="*/ 97169 h 125378"/>
              <a:gd name="connsiteX92" fmla="*/ 117767 w 125378"/>
              <a:gd name="connsiteY92" fmla="*/ 94034 h 125378"/>
              <a:gd name="connsiteX93" fmla="*/ 108363 w 125378"/>
              <a:gd name="connsiteY93" fmla="*/ 88661 h 125378"/>
              <a:gd name="connsiteX94" fmla="*/ 123588 w 125378"/>
              <a:gd name="connsiteY94" fmla="*/ 84631 h 125378"/>
              <a:gd name="connsiteX95" fmla="*/ 125379 w 125378"/>
              <a:gd name="connsiteY95" fmla="*/ 81944 h 125378"/>
              <a:gd name="connsiteX96" fmla="*/ 122692 w 125378"/>
              <a:gd name="connsiteY96" fmla="*/ 80153 h 125378"/>
              <a:gd name="connsiteX97" fmla="*/ 102990 w 125378"/>
              <a:gd name="connsiteY97" fmla="*/ 85079 h 125378"/>
              <a:gd name="connsiteX98" fmla="*/ 79257 w 125378"/>
              <a:gd name="connsiteY98" fmla="*/ 71197 h 125378"/>
              <a:gd name="connsiteX99" fmla="*/ 80601 w 125378"/>
              <a:gd name="connsiteY99" fmla="*/ 64481 h 125378"/>
              <a:gd name="connsiteX100" fmla="*/ 79257 w 125378"/>
              <a:gd name="connsiteY100" fmla="*/ 57764 h 125378"/>
              <a:gd name="connsiteX101" fmla="*/ 102990 w 125378"/>
              <a:gd name="connsiteY101" fmla="*/ 44331 h 125378"/>
              <a:gd name="connsiteX102" fmla="*/ 122244 w 125378"/>
              <a:gd name="connsiteY102" fmla="*/ 51047 h 125378"/>
              <a:gd name="connsiteX103" fmla="*/ 62242 w 125378"/>
              <a:gd name="connsiteY103" fmla="*/ 78810 h 125378"/>
              <a:gd name="connsiteX104" fmla="*/ 49256 w 125378"/>
              <a:gd name="connsiteY104" fmla="*/ 66272 h 125378"/>
              <a:gd name="connsiteX105" fmla="*/ 62242 w 125378"/>
              <a:gd name="connsiteY105" fmla="*/ 53734 h 125378"/>
              <a:gd name="connsiteX106" fmla="*/ 75227 w 125378"/>
              <a:gd name="connsiteY106" fmla="*/ 66272 h 125378"/>
              <a:gd name="connsiteX107" fmla="*/ 62242 w 125378"/>
              <a:gd name="connsiteY107" fmla="*/ 78810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25378" h="125378">
                <a:moveTo>
                  <a:pt x="122244" y="51047"/>
                </a:moveTo>
                <a:cubicBezTo>
                  <a:pt x="122244" y="51047"/>
                  <a:pt x="122692" y="51047"/>
                  <a:pt x="122692" y="51047"/>
                </a:cubicBezTo>
                <a:cubicBezTo>
                  <a:pt x="123588" y="51047"/>
                  <a:pt x="124483" y="50599"/>
                  <a:pt x="124931" y="49256"/>
                </a:cubicBezTo>
                <a:cubicBezTo>
                  <a:pt x="125379" y="47913"/>
                  <a:pt x="124483" y="47017"/>
                  <a:pt x="123140" y="46569"/>
                </a:cubicBezTo>
                <a:lnTo>
                  <a:pt x="107468" y="42539"/>
                </a:lnTo>
                <a:lnTo>
                  <a:pt x="117767" y="36718"/>
                </a:lnTo>
                <a:cubicBezTo>
                  <a:pt x="118662" y="36270"/>
                  <a:pt x="119110" y="34927"/>
                  <a:pt x="118662" y="33584"/>
                </a:cubicBezTo>
                <a:cubicBezTo>
                  <a:pt x="118214" y="32688"/>
                  <a:pt x="116871" y="32240"/>
                  <a:pt x="115528" y="32688"/>
                </a:cubicBezTo>
                <a:lnTo>
                  <a:pt x="105229" y="38957"/>
                </a:lnTo>
                <a:lnTo>
                  <a:pt x="109707" y="21941"/>
                </a:lnTo>
                <a:cubicBezTo>
                  <a:pt x="110154" y="20598"/>
                  <a:pt x="109259" y="19703"/>
                  <a:pt x="107915" y="19255"/>
                </a:cubicBezTo>
                <a:cubicBezTo>
                  <a:pt x="106572" y="18807"/>
                  <a:pt x="105677" y="19703"/>
                  <a:pt x="105229" y="21046"/>
                </a:cubicBezTo>
                <a:lnTo>
                  <a:pt x="99855" y="42092"/>
                </a:lnTo>
                <a:lnTo>
                  <a:pt x="76123" y="55525"/>
                </a:lnTo>
                <a:cubicBezTo>
                  <a:pt x="73436" y="51943"/>
                  <a:pt x="68958" y="49704"/>
                  <a:pt x="64481" y="48808"/>
                </a:cubicBezTo>
                <a:lnTo>
                  <a:pt x="64481" y="20150"/>
                </a:lnTo>
                <a:lnTo>
                  <a:pt x="79257" y="5821"/>
                </a:lnTo>
                <a:cubicBezTo>
                  <a:pt x="80153" y="4926"/>
                  <a:pt x="80153" y="3582"/>
                  <a:pt x="79257" y="2687"/>
                </a:cubicBezTo>
                <a:cubicBezTo>
                  <a:pt x="78362" y="1791"/>
                  <a:pt x="77019" y="1791"/>
                  <a:pt x="76123" y="2687"/>
                </a:cubicBezTo>
                <a:lnTo>
                  <a:pt x="64481" y="13881"/>
                </a:lnTo>
                <a:lnTo>
                  <a:pt x="64481" y="2239"/>
                </a:lnTo>
                <a:cubicBezTo>
                  <a:pt x="64481" y="896"/>
                  <a:pt x="63585" y="0"/>
                  <a:pt x="62242" y="0"/>
                </a:cubicBezTo>
                <a:cubicBezTo>
                  <a:pt x="61346" y="0"/>
                  <a:pt x="60003" y="896"/>
                  <a:pt x="60003" y="2239"/>
                </a:cubicBezTo>
                <a:lnTo>
                  <a:pt x="60003" y="13881"/>
                </a:lnTo>
                <a:lnTo>
                  <a:pt x="48360" y="2687"/>
                </a:lnTo>
                <a:cubicBezTo>
                  <a:pt x="47465" y="1791"/>
                  <a:pt x="46121" y="1791"/>
                  <a:pt x="45226" y="2687"/>
                </a:cubicBezTo>
                <a:cubicBezTo>
                  <a:pt x="44330" y="3582"/>
                  <a:pt x="44330" y="4926"/>
                  <a:pt x="45226" y="5821"/>
                </a:cubicBezTo>
                <a:lnTo>
                  <a:pt x="60003" y="20150"/>
                </a:lnTo>
                <a:lnTo>
                  <a:pt x="60003" y="49256"/>
                </a:lnTo>
                <a:cubicBezTo>
                  <a:pt x="55525" y="49704"/>
                  <a:pt x="51495" y="52391"/>
                  <a:pt x="48808" y="55525"/>
                </a:cubicBezTo>
                <a:lnTo>
                  <a:pt x="25076" y="41644"/>
                </a:lnTo>
                <a:lnTo>
                  <a:pt x="19702" y="20598"/>
                </a:lnTo>
                <a:cubicBezTo>
                  <a:pt x="19255" y="19255"/>
                  <a:pt x="18359" y="18807"/>
                  <a:pt x="17016" y="18807"/>
                </a:cubicBezTo>
                <a:cubicBezTo>
                  <a:pt x="15672" y="19255"/>
                  <a:pt x="15225" y="20150"/>
                  <a:pt x="15225" y="21493"/>
                </a:cubicBezTo>
                <a:lnTo>
                  <a:pt x="19702" y="38061"/>
                </a:lnTo>
                <a:lnTo>
                  <a:pt x="8956" y="31793"/>
                </a:lnTo>
                <a:cubicBezTo>
                  <a:pt x="8060" y="31345"/>
                  <a:pt x="6717" y="31345"/>
                  <a:pt x="5821" y="32688"/>
                </a:cubicBezTo>
                <a:cubicBezTo>
                  <a:pt x="5373" y="33584"/>
                  <a:pt x="5373" y="34927"/>
                  <a:pt x="6717" y="35823"/>
                </a:cubicBezTo>
                <a:lnTo>
                  <a:pt x="17463" y="42092"/>
                </a:lnTo>
                <a:lnTo>
                  <a:pt x="1791" y="46121"/>
                </a:lnTo>
                <a:cubicBezTo>
                  <a:pt x="448" y="46569"/>
                  <a:pt x="0" y="47465"/>
                  <a:pt x="0" y="48808"/>
                </a:cubicBezTo>
                <a:cubicBezTo>
                  <a:pt x="448" y="49704"/>
                  <a:pt x="1343" y="50599"/>
                  <a:pt x="2239" y="50599"/>
                </a:cubicBezTo>
                <a:cubicBezTo>
                  <a:pt x="2239" y="50599"/>
                  <a:pt x="2687" y="50599"/>
                  <a:pt x="2687" y="50599"/>
                </a:cubicBezTo>
                <a:lnTo>
                  <a:pt x="22837" y="45226"/>
                </a:lnTo>
                <a:lnTo>
                  <a:pt x="46569" y="58660"/>
                </a:lnTo>
                <a:cubicBezTo>
                  <a:pt x="45674" y="60898"/>
                  <a:pt x="45226" y="63137"/>
                  <a:pt x="45226" y="65376"/>
                </a:cubicBezTo>
                <a:cubicBezTo>
                  <a:pt x="45226" y="67615"/>
                  <a:pt x="45674" y="70302"/>
                  <a:pt x="46569" y="72093"/>
                </a:cubicBezTo>
                <a:lnTo>
                  <a:pt x="23285" y="85526"/>
                </a:lnTo>
                <a:cubicBezTo>
                  <a:pt x="23285" y="85526"/>
                  <a:pt x="23285" y="85526"/>
                  <a:pt x="23285" y="85526"/>
                </a:cubicBezTo>
                <a:lnTo>
                  <a:pt x="3582" y="80601"/>
                </a:lnTo>
                <a:cubicBezTo>
                  <a:pt x="2239" y="80153"/>
                  <a:pt x="1343" y="81049"/>
                  <a:pt x="896" y="82392"/>
                </a:cubicBezTo>
                <a:cubicBezTo>
                  <a:pt x="448" y="83735"/>
                  <a:pt x="1343" y="84631"/>
                  <a:pt x="2687" y="85079"/>
                </a:cubicBezTo>
                <a:lnTo>
                  <a:pt x="17911" y="89109"/>
                </a:lnTo>
                <a:lnTo>
                  <a:pt x="8060" y="94930"/>
                </a:lnTo>
                <a:cubicBezTo>
                  <a:pt x="7165" y="95377"/>
                  <a:pt x="6717" y="96721"/>
                  <a:pt x="7165" y="98064"/>
                </a:cubicBezTo>
                <a:cubicBezTo>
                  <a:pt x="7612" y="98960"/>
                  <a:pt x="8508" y="98960"/>
                  <a:pt x="8956" y="98960"/>
                </a:cubicBezTo>
                <a:cubicBezTo>
                  <a:pt x="9403" y="98960"/>
                  <a:pt x="9851" y="98960"/>
                  <a:pt x="10299" y="98512"/>
                </a:cubicBezTo>
                <a:lnTo>
                  <a:pt x="19702" y="93139"/>
                </a:lnTo>
                <a:lnTo>
                  <a:pt x="16120" y="107468"/>
                </a:lnTo>
                <a:cubicBezTo>
                  <a:pt x="15672" y="108811"/>
                  <a:pt x="16568" y="109707"/>
                  <a:pt x="17911" y="110154"/>
                </a:cubicBezTo>
                <a:cubicBezTo>
                  <a:pt x="17911" y="110154"/>
                  <a:pt x="18359" y="110154"/>
                  <a:pt x="18359" y="110154"/>
                </a:cubicBezTo>
                <a:cubicBezTo>
                  <a:pt x="19255" y="110154"/>
                  <a:pt x="20150" y="109707"/>
                  <a:pt x="20598" y="108363"/>
                </a:cubicBezTo>
                <a:lnTo>
                  <a:pt x="25524" y="89556"/>
                </a:lnTo>
                <a:lnTo>
                  <a:pt x="49704" y="75675"/>
                </a:lnTo>
                <a:cubicBezTo>
                  <a:pt x="52391" y="79257"/>
                  <a:pt x="56421" y="81496"/>
                  <a:pt x="60898" y="81944"/>
                </a:cubicBezTo>
                <a:lnTo>
                  <a:pt x="60898" y="108811"/>
                </a:lnTo>
                <a:lnTo>
                  <a:pt x="46121" y="122692"/>
                </a:lnTo>
                <a:cubicBezTo>
                  <a:pt x="45226" y="123588"/>
                  <a:pt x="45226" y="124931"/>
                  <a:pt x="46121" y="125827"/>
                </a:cubicBezTo>
                <a:cubicBezTo>
                  <a:pt x="46569" y="126274"/>
                  <a:pt x="47017" y="126722"/>
                  <a:pt x="47913" y="126722"/>
                </a:cubicBezTo>
                <a:cubicBezTo>
                  <a:pt x="48360" y="126722"/>
                  <a:pt x="48808" y="126722"/>
                  <a:pt x="49256" y="126274"/>
                </a:cubicBezTo>
                <a:lnTo>
                  <a:pt x="60898" y="115080"/>
                </a:lnTo>
                <a:lnTo>
                  <a:pt x="60898" y="126722"/>
                </a:lnTo>
                <a:cubicBezTo>
                  <a:pt x="60898" y="128066"/>
                  <a:pt x="61794" y="128961"/>
                  <a:pt x="63137" y="128961"/>
                </a:cubicBezTo>
                <a:cubicBezTo>
                  <a:pt x="63137" y="128961"/>
                  <a:pt x="63137" y="128961"/>
                  <a:pt x="63137" y="128961"/>
                </a:cubicBezTo>
                <a:cubicBezTo>
                  <a:pt x="64481" y="128961"/>
                  <a:pt x="65376" y="128066"/>
                  <a:pt x="65376" y="126722"/>
                </a:cubicBezTo>
                <a:lnTo>
                  <a:pt x="65376" y="115080"/>
                </a:lnTo>
                <a:lnTo>
                  <a:pt x="77019" y="126274"/>
                </a:lnTo>
                <a:cubicBezTo>
                  <a:pt x="77466" y="126722"/>
                  <a:pt x="77914" y="126722"/>
                  <a:pt x="78362" y="126722"/>
                </a:cubicBezTo>
                <a:cubicBezTo>
                  <a:pt x="78810" y="126722"/>
                  <a:pt x="79705" y="126274"/>
                  <a:pt x="80153" y="125827"/>
                </a:cubicBezTo>
                <a:cubicBezTo>
                  <a:pt x="81049" y="124931"/>
                  <a:pt x="81049" y="123588"/>
                  <a:pt x="80153" y="122692"/>
                </a:cubicBezTo>
                <a:lnTo>
                  <a:pt x="65376" y="108363"/>
                </a:lnTo>
                <a:lnTo>
                  <a:pt x="65376" y="81496"/>
                </a:lnTo>
                <a:cubicBezTo>
                  <a:pt x="70302" y="81049"/>
                  <a:pt x="74332" y="78362"/>
                  <a:pt x="77019" y="75227"/>
                </a:cubicBezTo>
                <a:lnTo>
                  <a:pt x="100751" y="89109"/>
                </a:lnTo>
                <a:lnTo>
                  <a:pt x="105677" y="108363"/>
                </a:lnTo>
                <a:cubicBezTo>
                  <a:pt x="106124" y="109259"/>
                  <a:pt x="107020" y="110154"/>
                  <a:pt x="107915" y="110154"/>
                </a:cubicBezTo>
                <a:cubicBezTo>
                  <a:pt x="107915" y="110154"/>
                  <a:pt x="108363" y="110154"/>
                  <a:pt x="108363" y="110154"/>
                </a:cubicBezTo>
                <a:cubicBezTo>
                  <a:pt x="109707" y="109707"/>
                  <a:pt x="110154" y="108811"/>
                  <a:pt x="110154" y="107468"/>
                </a:cubicBezTo>
                <a:lnTo>
                  <a:pt x="106124" y="92243"/>
                </a:lnTo>
                <a:lnTo>
                  <a:pt x="115528" y="97616"/>
                </a:lnTo>
                <a:cubicBezTo>
                  <a:pt x="115975" y="97616"/>
                  <a:pt x="116423" y="98064"/>
                  <a:pt x="116871" y="98064"/>
                </a:cubicBezTo>
                <a:cubicBezTo>
                  <a:pt x="117767" y="98064"/>
                  <a:pt x="118214" y="97616"/>
                  <a:pt x="118662" y="97169"/>
                </a:cubicBezTo>
                <a:cubicBezTo>
                  <a:pt x="119110" y="96273"/>
                  <a:pt x="119110" y="94930"/>
                  <a:pt x="117767" y="94034"/>
                </a:cubicBezTo>
                <a:lnTo>
                  <a:pt x="108363" y="88661"/>
                </a:lnTo>
                <a:lnTo>
                  <a:pt x="123588" y="84631"/>
                </a:lnTo>
                <a:cubicBezTo>
                  <a:pt x="124931" y="84183"/>
                  <a:pt x="125379" y="83288"/>
                  <a:pt x="125379" y="81944"/>
                </a:cubicBezTo>
                <a:cubicBezTo>
                  <a:pt x="124931" y="80601"/>
                  <a:pt x="124036" y="80153"/>
                  <a:pt x="122692" y="80153"/>
                </a:cubicBezTo>
                <a:lnTo>
                  <a:pt x="102990" y="85079"/>
                </a:lnTo>
                <a:lnTo>
                  <a:pt x="79257" y="71197"/>
                </a:lnTo>
                <a:cubicBezTo>
                  <a:pt x="80153" y="68958"/>
                  <a:pt x="80601" y="66720"/>
                  <a:pt x="80601" y="64481"/>
                </a:cubicBezTo>
                <a:cubicBezTo>
                  <a:pt x="80601" y="62242"/>
                  <a:pt x="80153" y="60003"/>
                  <a:pt x="79257" y="57764"/>
                </a:cubicBezTo>
                <a:lnTo>
                  <a:pt x="102990" y="44331"/>
                </a:lnTo>
                <a:lnTo>
                  <a:pt x="122244" y="51047"/>
                </a:lnTo>
                <a:close/>
                <a:moveTo>
                  <a:pt x="62242" y="78810"/>
                </a:moveTo>
                <a:cubicBezTo>
                  <a:pt x="55077" y="78810"/>
                  <a:pt x="49256" y="72988"/>
                  <a:pt x="49256" y="66272"/>
                </a:cubicBezTo>
                <a:cubicBezTo>
                  <a:pt x="49256" y="59107"/>
                  <a:pt x="55077" y="53734"/>
                  <a:pt x="62242" y="53734"/>
                </a:cubicBezTo>
                <a:cubicBezTo>
                  <a:pt x="69406" y="53734"/>
                  <a:pt x="75227" y="59555"/>
                  <a:pt x="75227" y="66272"/>
                </a:cubicBezTo>
                <a:cubicBezTo>
                  <a:pt x="75227" y="72988"/>
                  <a:pt x="69406" y="78810"/>
                  <a:pt x="62242" y="78810"/>
                </a:cubicBezTo>
                <a:close/>
              </a:path>
            </a:pathLst>
          </a:custGeom>
          <a:solidFill>
            <a:srgbClr val="231F20"/>
          </a:solidFill>
          <a:ln w="4474" cap="flat">
            <a:noFill/>
            <a:prstDash val="solid"/>
            <a:miter/>
          </a:ln>
        </p:spPr>
        <p:txBody>
          <a:bodyPr rtlCol="0" anchor="ctr"/>
          <a:lstStyle/>
          <a:p>
            <a:endParaRPr lang="en-US"/>
          </a:p>
        </p:txBody>
      </p:sp>
      <p:sp>
        <p:nvSpPr>
          <p:cNvPr id="4730" name="Freeform: Shape 4729">
            <a:extLst>
              <a:ext uri="{FF2B5EF4-FFF2-40B4-BE49-F238E27FC236}">
                <a16:creationId xmlns:a16="http://schemas.microsoft.com/office/drawing/2014/main" id="{91BE03E0-7C96-45C9-95D1-396646EA6503}"/>
              </a:ext>
              <a:ext uri="{C183D7F6-B498-43B3-948B-1728B52AA6E4}">
                <adec:decorative xmlns:adec="http://schemas.microsoft.com/office/drawing/2017/decorative" val="1"/>
              </a:ext>
            </a:extLst>
          </p:cNvPr>
          <p:cNvSpPr>
            <a:spLocks noChangeAspect="1"/>
          </p:cNvSpPr>
          <p:nvPr/>
        </p:nvSpPr>
        <p:spPr>
          <a:xfrm>
            <a:off x="8764188" y="1750393"/>
            <a:ext cx="85079" cy="107468"/>
          </a:xfrm>
          <a:custGeom>
            <a:avLst/>
            <a:gdLst>
              <a:gd name="connsiteX0" fmla="*/ 42539 w 85078"/>
              <a:gd name="connsiteY0" fmla="*/ 111497 h 107467"/>
              <a:gd name="connsiteX1" fmla="*/ 0 w 85078"/>
              <a:gd name="connsiteY1" fmla="*/ 68958 h 107467"/>
              <a:gd name="connsiteX2" fmla="*/ 7164 w 85078"/>
              <a:gd name="connsiteY2" fmla="*/ 45226 h 107467"/>
              <a:gd name="connsiteX3" fmla="*/ 7612 w 85078"/>
              <a:gd name="connsiteY3" fmla="*/ 44778 h 107467"/>
              <a:gd name="connsiteX4" fmla="*/ 9851 w 85078"/>
              <a:gd name="connsiteY4" fmla="*/ 42091 h 107467"/>
              <a:gd name="connsiteX5" fmla="*/ 40748 w 85078"/>
              <a:gd name="connsiteY5" fmla="*/ 895 h 107467"/>
              <a:gd name="connsiteX6" fmla="*/ 42539 w 85078"/>
              <a:gd name="connsiteY6" fmla="*/ 0 h 107467"/>
              <a:gd name="connsiteX7" fmla="*/ 42539 w 85078"/>
              <a:gd name="connsiteY7" fmla="*/ 0 h 107467"/>
              <a:gd name="connsiteX8" fmla="*/ 44330 w 85078"/>
              <a:gd name="connsiteY8" fmla="*/ 895 h 107467"/>
              <a:gd name="connsiteX9" fmla="*/ 79257 w 85078"/>
              <a:gd name="connsiteY9" fmla="*/ 47465 h 107467"/>
              <a:gd name="connsiteX10" fmla="*/ 85079 w 85078"/>
              <a:gd name="connsiteY10" fmla="*/ 68958 h 107467"/>
              <a:gd name="connsiteX11" fmla="*/ 42539 w 85078"/>
              <a:gd name="connsiteY11" fmla="*/ 111497 h 107467"/>
              <a:gd name="connsiteX12" fmla="*/ 42539 w 85078"/>
              <a:gd name="connsiteY12" fmla="*/ 5821 h 107467"/>
              <a:gd name="connsiteX13" fmla="*/ 11195 w 85078"/>
              <a:gd name="connsiteY13" fmla="*/ 47912 h 107467"/>
              <a:gd name="connsiteX14" fmla="*/ 4478 w 85078"/>
              <a:gd name="connsiteY14" fmla="*/ 69406 h 107467"/>
              <a:gd name="connsiteX15" fmla="*/ 42539 w 85078"/>
              <a:gd name="connsiteY15" fmla="*/ 107468 h 107467"/>
              <a:gd name="connsiteX16" fmla="*/ 80601 w 85078"/>
              <a:gd name="connsiteY16" fmla="*/ 69406 h 107467"/>
              <a:gd name="connsiteX17" fmla="*/ 75227 w 85078"/>
              <a:gd name="connsiteY17" fmla="*/ 50151 h 107467"/>
              <a:gd name="connsiteX18" fmla="*/ 42539 w 85078"/>
              <a:gd name="connsiteY18" fmla="*/ 582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078" h="107467">
                <a:moveTo>
                  <a:pt x="42539" y="111497"/>
                </a:moveTo>
                <a:cubicBezTo>
                  <a:pt x="19255" y="111497"/>
                  <a:pt x="0" y="92243"/>
                  <a:pt x="0" y="68958"/>
                </a:cubicBezTo>
                <a:cubicBezTo>
                  <a:pt x="0" y="60451"/>
                  <a:pt x="2687" y="52390"/>
                  <a:pt x="7164" y="45226"/>
                </a:cubicBezTo>
                <a:cubicBezTo>
                  <a:pt x="7164" y="45226"/>
                  <a:pt x="7612" y="44778"/>
                  <a:pt x="7612" y="44778"/>
                </a:cubicBezTo>
                <a:lnTo>
                  <a:pt x="9851" y="42091"/>
                </a:lnTo>
                <a:lnTo>
                  <a:pt x="40748" y="895"/>
                </a:lnTo>
                <a:cubicBezTo>
                  <a:pt x="41196" y="448"/>
                  <a:pt x="41644" y="0"/>
                  <a:pt x="42539" y="0"/>
                </a:cubicBezTo>
                <a:cubicBezTo>
                  <a:pt x="42539" y="0"/>
                  <a:pt x="42539" y="0"/>
                  <a:pt x="42539" y="0"/>
                </a:cubicBezTo>
                <a:cubicBezTo>
                  <a:pt x="43435" y="0"/>
                  <a:pt x="43883" y="448"/>
                  <a:pt x="44330" y="895"/>
                </a:cubicBezTo>
                <a:lnTo>
                  <a:pt x="79257" y="47465"/>
                </a:lnTo>
                <a:cubicBezTo>
                  <a:pt x="83287" y="54181"/>
                  <a:pt x="85079" y="61346"/>
                  <a:pt x="85079" y="68958"/>
                </a:cubicBezTo>
                <a:cubicBezTo>
                  <a:pt x="85526" y="92691"/>
                  <a:pt x="66272" y="111497"/>
                  <a:pt x="42539" y="111497"/>
                </a:cubicBezTo>
                <a:close/>
                <a:moveTo>
                  <a:pt x="42539" y="5821"/>
                </a:moveTo>
                <a:lnTo>
                  <a:pt x="11195" y="47912"/>
                </a:lnTo>
                <a:cubicBezTo>
                  <a:pt x="6717" y="54629"/>
                  <a:pt x="4478" y="61794"/>
                  <a:pt x="4478" y="69406"/>
                </a:cubicBezTo>
                <a:cubicBezTo>
                  <a:pt x="4478" y="90452"/>
                  <a:pt x="21493" y="107468"/>
                  <a:pt x="42539" y="107468"/>
                </a:cubicBezTo>
                <a:cubicBezTo>
                  <a:pt x="63585" y="107468"/>
                  <a:pt x="80601" y="90452"/>
                  <a:pt x="80601" y="69406"/>
                </a:cubicBezTo>
                <a:cubicBezTo>
                  <a:pt x="80601" y="62689"/>
                  <a:pt x="78809" y="55973"/>
                  <a:pt x="75227" y="50151"/>
                </a:cubicBezTo>
                <a:lnTo>
                  <a:pt x="42539" y="5821"/>
                </a:lnTo>
                <a:close/>
              </a:path>
            </a:pathLst>
          </a:custGeom>
          <a:solidFill>
            <a:srgbClr val="231F20"/>
          </a:solidFill>
          <a:ln w="4474" cap="flat">
            <a:noFill/>
            <a:prstDash val="solid"/>
            <a:miter/>
          </a:ln>
        </p:spPr>
        <p:txBody>
          <a:bodyPr rtlCol="0" anchor="ctr"/>
          <a:lstStyle/>
          <a:p>
            <a:endParaRPr lang="en-US"/>
          </a:p>
        </p:txBody>
      </p:sp>
      <p:sp>
        <p:nvSpPr>
          <p:cNvPr id="4731" name="Freeform: Shape 4730">
            <a:extLst>
              <a:ext uri="{FF2B5EF4-FFF2-40B4-BE49-F238E27FC236}">
                <a16:creationId xmlns:a16="http://schemas.microsoft.com/office/drawing/2014/main" id="{84C8A990-F691-421B-9C75-F22563A25E08}"/>
              </a:ext>
              <a:ext uri="{C183D7F6-B498-43B3-948B-1728B52AA6E4}">
                <adec:decorative xmlns:adec="http://schemas.microsoft.com/office/drawing/2017/decorative" val="1"/>
              </a:ext>
            </a:extLst>
          </p:cNvPr>
          <p:cNvSpPr>
            <a:spLocks noChangeAspect="1"/>
          </p:cNvSpPr>
          <p:nvPr/>
        </p:nvSpPr>
        <p:spPr>
          <a:xfrm>
            <a:off x="9022781" y="1756885"/>
            <a:ext cx="98512" cy="107468"/>
          </a:xfrm>
          <a:custGeom>
            <a:avLst/>
            <a:gdLst>
              <a:gd name="connsiteX0" fmla="*/ 97840 w 98511"/>
              <a:gd name="connsiteY0" fmla="*/ 108139 h 107467"/>
              <a:gd name="connsiteX1" fmla="*/ 80377 w 98511"/>
              <a:gd name="connsiteY1" fmla="*/ 87989 h 107467"/>
              <a:gd name="connsiteX2" fmla="*/ 84855 w 98511"/>
              <a:gd name="connsiteY2" fmla="*/ 69182 h 107467"/>
              <a:gd name="connsiteX3" fmla="*/ 79034 w 98511"/>
              <a:gd name="connsiteY3" fmla="*/ 47689 h 107467"/>
              <a:gd name="connsiteX4" fmla="*/ 44107 w 98511"/>
              <a:gd name="connsiteY4" fmla="*/ 1119 h 107467"/>
              <a:gd name="connsiteX5" fmla="*/ 42315 w 98511"/>
              <a:gd name="connsiteY5" fmla="*/ 224 h 107467"/>
              <a:gd name="connsiteX6" fmla="*/ 42315 w 98511"/>
              <a:gd name="connsiteY6" fmla="*/ 224 h 107467"/>
              <a:gd name="connsiteX7" fmla="*/ 40524 w 98511"/>
              <a:gd name="connsiteY7" fmla="*/ 1119 h 107467"/>
              <a:gd name="connsiteX8" fmla="*/ 23509 w 98511"/>
              <a:gd name="connsiteY8" fmla="*/ 23508 h 107467"/>
              <a:gd name="connsiteX9" fmla="*/ 3806 w 98511"/>
              <a:gd name="connsiteY9" fmla="*/ 672 h 107467"/>
              <a:gd name="connsiteX10" fmla="*/ 672 w 98511"/>
              <a:gd name="connsiteY10" fmla="*/ 672 h 107467"/>
              <a:gd name="connsiteX11" fmla="*/ 672 w 98511"/>
              <a:gd name="connsiteY11" fmla="*/ 3806 h 107467"/>
              <a:gd name="connsiteX12" fmla="*/ 21270 w 98511"/>
              <a:gd name="connsiteY12" fmla="*/ 27091 h 107467"/>
              <a:gd name="connsiteX13" fmla="*/ 10075 w 98511"/>
              <a:gd name="connsiteY13" fmla="*/ 42315 h 107467"/>
              <a:gd name="connsiteX14" fmla="*/ 7836 w 98511"/>
              <a:gd name="connsiteY14" fmla="*/ 45002 h 107467"/>
              <a:gd name="connsiteX15" fmla="*/ 7388 w 98511"/>
              <a:gd name="connsiteY15" fmla="*/ 45450 h 107467"/>
              <a:gd name="connsiteX16" fmla="*/ 224 w 98511"/>
              <a:gd name="connsiteY16" fmla="*/ 69182 h 107467"/>
              <a:gd name="connsiteX17" fmla="*/ 42763 w 98511"/>
              <a:gd name="connsiteY17" fmla="*/ 111722 h 107467"/>
              <a:gd name="connsiteX18" fmla="*/ 78586 w 98511"/>
              <a:gd name="connsiteY18" fmla="*/ 92019 h 107467"/>
              <a:gd name="connsiteX19" fmla="*/ 95154 w 98511"/>
              <a:gd name="connsiteY19" fmla="*/ 110826 h 107467"/>
              <a:gd name="connsiteX20" fmla="*/ 96945 w 98511"/>
              <a:gd name="connsiteY20" fmla="*/ 111722 h 107467"/>
              <a:gd name="connsiteX21" fmla="*/ 98288 w 98511"/>
              <a:gd name="connsiteY21" fmla="*/ 111274 h 107467"/>
              <a:gd name="connsiteX22" fmla="*/ 97840 w 98511"/>
              <a:gd name="connsiteY22" fmla="*/ 108139 h 107467"/>
              <a:gd name="connsiteX23" fmla="*/ 42315 w 98511"/>
              <a:gd name="connsiteY23" fmla="*/ 6045 h 107467"/>
              <a:gd name="connsiteX24" fmla="*/ 75004 w 98511"/>
              <a:gd name="connsiteY24" fmla="*/ 50375 h 107467"/>
              <a:gd name="connsiteX25" fmla="*/ 80377 w 98511"/>
              <a:gd name="connsiteY25" fmla="*/ 69630 h 107467"/>
              <a:gd name="connsiteX26" fmla="*/ 77243 w 98511"/>
              <a:gd name="connsiteY26" fmla="*/ 84855 h 107467"/>
              <a:gd name="connsiteX27" fmla="*/ 26643 w 98511"/>
              <a:gd name="connsiteY27" fmla="*/ 27091 h 107467"/>
              <a:gd name="connsiteX28" fmla="*/ 42315 w 98511"/>
              <a:gd name="connsiteY28" fmla="*/ 6045 h 107467"/>
              <a:gd name="connsiteX29" fmla="*/ 42315 w 98511"/>
              <a:gd name="connsiteY29" fmla="*/ 107244 h 107467"/>
              <a:gd name="connsiteX30" fmla="*/ 4254 w 98511"/>
              <a:gd name="connsiteY30" fmla="*/ 69182 h 107467"/>
              <a:gd name="connsiteX31" fmla="*/ 10971 w 98511"/>
              <a:gd name="connsiteY31" fmla="*/ 47689 h 107467"/>
              <a:gd name="connsiteX32" fmla="*/ 23956 w 98511"/>
              <a:gd name="connsiteY32" fmla="*/ 30225 h 107467"/>
              <a:gd name="connsiteX33" fmla="*/ 75004 w 98511"/>
              <a:gd name="connsiteY33" fmla="*/ 88437 h 107467"/>
              <a:gd name="connsiteX34" fmla="*/ 42315 w 98511"/>
              <a:gd name="connsiteY34" fmla="*/ 107244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511" h="107467">
                <a:moveTo>
                  <a:pt x="97840" y="108139"/>
                </a:moveTo>
                <a:lnTo>
                  <a:pt x="80377" y="87989"/>
                </a:lnTo>
                <a:cubicBezTo>
                  <a:pt x="83064" y="82168"/>
                  <a:pt x="84855" y="75899"/>
                  <a:pt x="84855" y="69182"/>
                </a:cubicBezTo>
                <a:cubicBezTo>
                  <a:pt x="84855" y="61570"/>
                  <a:pt x="82616" y="53958"/>
                  <a:pt x="79034" y="47689"/>
                </a:cubicBezTo>
                <a:lnTo>
                  <a:pt x="44107" y="1119"/>
                </a:lnTo>
                <a:cubicBezTo>
                  <a:pt x="43659" y="672"/>
                  <a:pt x="43211" y="224"/>
                  <a:pt x="42315" y="224"/>
                </a:cubicBezTo>
                <a:cubicBezTo>
                  <a:pt x="42315" y="224"/>
                  <a:pt x="42315" y="224"/>
                  <a:pt x="42315" y="224"/>
                </a:cubicBezTo>
                <a:cubicBezTo>
                  <a:pt x="41420" y="224"/>
                  <a:pt x="40972" y="672"/>
                  <a:pt x="40524" y="1119"/>
                </a:cubicBezTo>
                <a:lnTo>
                  <a:pt x="23509" y="23508"/>
                </a:lnTo>
                <a:lnTo>
                  <a:pt x="3806" y="672"/>
                </a:lnTo>
                <a:cubicBezTo>
                  <a:pt x="2911" y="-224"/>
                  <a:pt x="1567" y="-224"/>
                  <a:pt x="672" y="672"/>
                </a:cubicBezTo>
                <a:cubicBezTo>
                  <a:pt x="-224" y="1567"/>
                  <a:pt x="-224" y="2911"/>
                  <a:pt x="672" y="3806"/>
                </a:cubicBezTo>
                <a:lnTo>
                  <a:pt x="21270" y="27091"/>
                </a:lnTo>
                <a:lnTo>
                  <a:pt x="10075" y="42315"/>
                </a:lnTo>
                <a:lnTo>
                  <a:pt x="7836" y="45002"/>
                </a:lnTo>
                <a:cubicBezTo>
                  <a:pt x="7836" y="45002"/>
                  <a:pt x="7388" y="45450"/>
                  <a:pt x="7388" y="45450"/>
                </a:cubicBezTo>
                <a:cubicBezTo>
                  <a:pt x="2463" y="52614"/>
                  <a:pt x="224" y="60675"/>
                  <a:pt x="224" y="69182"/>
                </a:cubicBezTo>
                <a:cubicBezTo>
                  <a:pt x="224" y="92467"/>
                  <a:pt x="19479" y="111722"/>
                  <a:pt x="42763" y="111722"/>
                </a:cubicBezTo>
                <a:cubicBezTo>
                  <a:pt x="57988" y="111722"/>
                  <a:pt x="70974" y="103662"/>
                  <a:pt x="78586" y="92019"/>
                </a:cubicBezTo>
                <a:lnTo>
                  <a:pt x="95154" y="110826"/>
                </a:lnTo>
                <a:cubicBezTo>
                  <a:pt x="95602" y="111274"/>
                  <a:pt x="96049" y="111722"/>
                  <a:pt x="96945" y="111722"/>
                </a:cubicBezTo>
                <a:cubicBezTo>
                  <a:pt x="97393" y="111722"/>
                  <a:pt x="97840" y="111722"/>
                  <a:pt x="98288" y="111274"/>
                </a:cubicBezTo>
                <a:cubicBezTo>
                  <a:pt x="98736" y="110378"/>
                  <a:pt x="98736" y="109035"/>
                  <a:pt x="97840" y="108139"/>
                </a:cubicBezTo>
                <a:close/>
                <a:moveTo>
                  <a:pt x="42315" y="6045"/>
                </a:moveTo>
                <a:lnTo>
                  <a:pt x="75004" y="50375"/>
                </a:lnTo>
                <a:cubicBezTo>
                  <a:pt x="78586" y="56197"/>
                  <a:pt x="80377" y="62913"/>
                  <a:pt x="80377" y="69630"/>
                </a:cubicBezTo>
                <a:cubicBezTo>
                  <a:pt x="80377" y="75003"/>
                  <a:pt x="79034" y="79929"/>
                  <a:pt x="77243" y="84855"/>
                </a:cubicBezTo>
                <a:lnTo>
                  <a:pt x="26643" y="27091"/>
                </a:lnTo>
                <a:lnTo>
                  <a:pt x="42315" y="6045"/>
                </a:lnTo>
                <a:close/>
                <a:moveTo>
                  <a:pt x="42315" y="107244"/>
                </a:moveTo>
                <a:cubicBezTo>
                  <a:pt x="21270" y="107244"/>
                  <a:pt x="4254" y="90228"/>
                  <a:pt x="4254" y="69182"/>
                </a:cubicBezTo>
                <a:cubicBezTo>
                  <a:pt x="4254" y="61570"/>
                  <a:pt x="6493" y="54406"/>
                  <a:pt x="10971" y="47689"/>
                </a:cubicBezTo>
                <a:lnTo>
                  <a:pt x="23956" y="30225"/>
                </a:lnTo>
                <a:lnTo>
                  <a:pt x="75004" y="88437"/>
                </a:lnTo>
                <a:cubicBezTo>
                  <a:pt x="68287" y="100079"/>
                  <a:pt x="56197" y="107244"/>
                  <a:pt x="42315" y="107244"/>
                </a:cubicBezTo>
                <a:close/>
              </a:path>
            </a:pathLst>
          </a:custGeom>
          <a:solidFill>
            <a:srgbClr val="231F20"/>
          </a:solidFill>
          <a:ln w="4474" cap="flat">
            <a:noFill/>
            <a:prstDash val="solid"/>
            <a:miter/>
          </a:ln>
        </p:spPr>
        <p:txBody>
          <a:bodyPr rtlCol="0" anchor="ctr"/>
          <a:lstStyle/>
          <a:p>
            <a:endParaRPr lang="en-US"/>
          </a:p>
        </p:txBody>
      </p:sp>
      <p:sp>
        <p:nvSpPr>
          <p:cNvPr id="4732" name="Freeform: Shape 4731">
            <a:extLst>
              <a:ext uri="{FF2B5EF4-FFF2-40B4-BE49-F238E27FC236}">
                <a16:creationId xmlns:a16="http://schemas.microsoft.com/office/drawing/2014/main" id="{AB9978C0-6695-4BFE-AD17-B8F0C3608E1B}"/>
              </a:ext>
              <a:ext uri="{C183D7F6-B498-43B3-948B-1728B52AA6E4}">
                <adec:decorative xmlns:adec="http://schemas.microsoft.com/office/drawing/2017/decorative" val="1"/>
              </a:ext>
            </a:extLst>
          </p:cNvPr>
          <p:cNvSpPr>
            <a:spLocks noChangeAspect="1"/>
          </p:cNvSpPr>
          <p:nvPr/>
        </p:nvSpPr>
        <p:spPr>
          <a:xfrm>
            <a:off x="9264360" y="1740093"/>
            <a:ext cx="129857" cy="143290"/>
          </a:xfrm>
          <a:custGeom>
            <a:avLst/>
            <a:gdLst>
              <a:gd name="connsiteX0" fmla="*/ 65824 w 129856"/>
              <a:gd name="connsiteY0" fmla="*/ 0 h 143290"/>
              <a:gd name="connsiteX1" fmla="*/ 0 w 129856"/>
              <a:gd name="connsiteY1" fmla="*/ 65824 h 143290"/>
              <a:gd name="connsiteX2" fmla="*/ 2239 w 129856"/>
              <a:gd name="connsiteY2" fmla="*/ 68063 h 143290"/>
              <a:gd name="connsiteX3" fmla="*/ 63585 w 129856"/>
              <a:gd name="connsiteY3" fmla="*/ 68063 h 143290"/>
              <a:gd name="connsiteX4" fmla="*/ 63585 w 129856"/>
              <a:gd name="connsiteY4" fmla="*/ 132991 h 143290"/>
              <a:gd name="connsiteX5" fmla="*/ 55077 w 129856"/>
              <a:gd name="connsiteY5" fmla="*/ 141499 h 143290"/>
              <a:gd name="connsiteX6" fmla="*/ 46569 w 129856"/>
              <a:gd name="connsiteY6" fmla="*/ 132991 h 143290"/>
              <a:gd name="connsiteX7" fmla="*/ 44331 w 129856"/>
              <a:gd name="connsiteY7" fmla="*/ 130752 h 143290"/>
              <a:gd name="connsiteX8" fmla="*/ 42092 w 129856"/>
              <a:gd name="connsiteY8" fmla="*/ 132991 h 143290"/>
              <a:gd name="connsiteX9" fmla="*/ 55077 w 129856"/>
              <a:gd name="connsiteY9" fmla="*/ 145977 h 143290"/>
              <a:gd name="connsiteX10" fmla="*/ 68063 w 129856"/>
              <a:gd name="connsiteY10" fmla="*/ 132991 h 143290"/>
              <a:gd name="connsiteX11" fmla="*/ 68063 w 129856"/>
              <a:gd name="connsiteY11" fmla="*/ 68063 h 143290"/>
              <a:gd name="connsiteX12" fmla="*/ 129409 w 129856"/>
              <a:gd name="connsiteY12" fmla="*/ 68063 h 143290"/>
              <a:gd name="connsiteX13" fmla="*/ 131648 w 129856"/>
              <a:gd name="connsiteY13" fmla="*/ 65824 h 143290"/>
              <a:gd name="connsiteX14" fmla="*/ 65824 w 129856"/>
              <a:gd name="connsiteY14" fmla="*/ 0 h 143290"/>
              <a:gd name="connsiteX15" fmla="*/ 4478 w 129856"/>
              <a:gd name="connsiteY15" fmla="*/ 63585 h 143290"/>
              <a:gd name="connsiteX16" fmla="*/ 65824 w 129856"/>
              <a:gd name="connsiteY16" fmla="*/ 4478 h 143290"/>
              <a:gd name="connsiteX17" fmla="*/ 127170 w 129856"/>
              <a:gd name="connsiteY17" fmla="*/ 63585 h 143290"/>
              <a:gd name="connsiteX18" fmla="*/ 4478 w 129856"/>
              <a:gd name="connsiteY18" fmla="*/ 63585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856" h="143290">
                <a:moveTo>
                  <a:pt x="65824" y="0"/>
                </a:moveTo>
                <a:cubicBezTo>
                  <a:pt x="29554" y="0"/>
                  <a:pt x="0" y="29554"/>
                  <a:pt x="0" y="65824"/>
                </a:cubicBezTo>
                <a:cubicBezTo>
                  <a:pt x="0" y="67167"/>
                  <a:pt x="896" y="68063"/>
                  <a:pt x="2239" y="68063"/>
                </a:cubicBezTo>
                <a:lnTo>
                  <a:pt x="63585" y="68063"/>
                </a:lnTo>
                <a:lnTo>
                  <a:pt x="63585" y="132991"/>
                </a:lnTo>
                <a:cubicBezTo>
                  <a:pt x="63585" y="137469"/>
                  <a:pt x="60003" y="141499"/>
                  <a:pt x="55077" y="141499"/>
                </a:cubicBezTo>
                <a:cubicBezTo>
                  <a:pt x="50600" y="141499"/>
                  <a:pt x="46569" y="137917"/>
                  <a:pt x="46569" y="132991"/>
                </a:cubicBezTo>
                <a:cubicBezTo>
                  <a:pt x="46569" y="131648"/>
                  <a:pt x="45674" y="130752"/>
                  <a:pt x="44331" y="130752"/>
                </a:cubicBezTo>
                <a:cubicBezTo>
                  <a:pt x="42987" y="130752"/>
                  <a:pt x="42092" y="131648"/>
                  <a:pt x="42092" y="132991"/>
                </a:cubicBezTo>
                <a:cubicBezTo>
                  <a:pt x="42092" y="140156"/>
                  <a:pt x="47913" y="145977"/>
                  <a:pt x="55077" y="145977"/>
                </a:cubicBezTo>
                <a:cubicBezTo>
                  <a:pt x="62242" y="145977"/>
                  <a:pt x="68063" y="140156"/>
                  <a:pt x="68063" y="132991"/>
                </a:cubicBezTo>
                <a:lnTo>
                  <a:pt x="68063" y="68063"/>
                </a:lnTo>
                <a:lnTo>
                  <a:pt x="129409" y="68063"/>
                </a:lnTo>
                <a:cubicBezTo>
                  <a:pt x="130752" y="68063"/>
                  <a:pt x="131648" y="67167"/>
                  <a:pt x="131648" y="65824"/>
                </a:cubicBezTo>
                <a:cubicBezTo>
                  <a:pt x="131200" y="29554"/>
                  <a:pt x="102094" y="0"/>
                  <a:pt x="65824" y="0"/>
                </a:cubicBezTo>
                <a:close/>
                <a:moveTo>
                  <a:pt x="4478" y="63585"/>
                </a:moveTo>
                <a:cubicBezTo>
                  <a:pt x="5821" y="30897"/>
                  <a:pt x="32688" y="4478"/>
                  <a:pt x="65824" y="4478"/>
                </a:cubicBezTo>
                <a:cubicBezTo>
                  <a:pt x="98960" y="4478"/>
                  <a:pt x="125827" y="30897"/>
                  <a:pt x="127170" y="63585"/>
                </a:cubicBezTo>
                <a:lnTo>
                  <a:pt x="4478" y="63585"/>
                </a:lnTo>
                <a:close/>
              </a:path>
            </a:pathLst>
          </a:custGeom>
          <a:solidFill>
            <a:srgbClr val="231F20"/>
          </a:solidFill>
          <a:ln w="4474" cap="flat">
            <a:noFill/>
            <a:prstDash val="solid"/>
            <a:miter/>
          </a:ln>
        </p:spPr>
        <p:txBody>
          <a:bodyPr rtlCol="0" anchor="ctr"/>
          <a:lstStyle/>
          <a:p>
            <a:endParaRPr lang="en-US"/>
          </a:p>
        </p:txBody>
      </p:sp>
      <p:grpSp>
        <p:nvGrpSpPr>
          <p:cNvPr id="4733" name="Group 4732">
            <a:extLst>
              <a:ext uri="{FF2B5EF4-FFF2-40B4-BE49-F238E27FC236}">
                <a16:creationId xmlns:a16="http://schemas.microsoft.com/office/drawing/2014/main" id="{5BED711F-5083-4061-9B02-DC01B2CA916D}"/>
              </a:ext>
              <a:ext uri="{C183D7F6-B498-43B3-948B-1728B52AA6E4}">
                <adec:decorative xmlns:adec="http://schemas.microsoft.com/office/drawing/2017/decorative" val="1"/>
              </a:ext>
            </a:extLst>
          </p:cNvPr>
          <p:cNvGrpSpPr>
            <a:grpSpLocks noChangeAspect="1"/>
          </p:cNvGrpSpPr>
          <p:nvPr/>
        </p:nvGrpSpPr>
        <p:grpSpPr>
          <a:xfrm>
            <a:off x="9792742" y="1732033"/>
            <a:ext cx="147768" cy="147768"/>
            <a:chOff x="4012089" y="5191219"/>
            <a:chExt cx="147768" cy="147768"/>
          </a:xfrm>
        </p:grpSpPr>
        <p:sp>
          <p:nvSpPr>
            <p:cNvPr id="4734" name="Freeform: Shape 4733">
              <a:extLst>
                <a:ext uri="{FF2B5EF4-FFF2-40B4-BE49-F238E27FC236}">
                  <a16:creationId xmlns:a16="http://schemas.microsoft.com/office/drawing/2014/main" id="{AB1BCE45-D95E-4445-9CD3-CE456A634377}"/>
                </a:ext>
              </a:extLst>
            </p:cNvPr>
            <p:cNvSpPr/>
            <p:nvPr/>
          </p:nvSpPr>
          <p:spPr>
            <a:xfrm>
              <a:off x="4036270" y="5215847"/>
              <a:ext cx="98512" cy="98512"/>
            </a:xfrm>
            <a:custGeom>
              <a:avLst/>
              <a:gdLst>
                <a:gd name="connsiteX0" fmla="*/ 49256 w 98511"/>
                <a:gd name="connsiteY0" fmla="*/ 98512 h 98511"/>
                <a:gd name="connsiteX1" fmla="*/ 0 w 98511"/>
                <a:gd name="connsiteY1" fmla="*/ 49256 h 98511"/>
                <a:gd name="connsiteX2" fmla="*/ 49256 w 98511"/>
                <a:gd name="connsiteY2" fmla="*/ 0 h 98511"/>
                <a:gd name="connsiteX3" fmla="*/ 98512 w 98511"/>
                <a:gd name="connsiteY3" fmla="*/ 49256 h 98511"/>
                <a:gd name="connsiteX4" fmla="*/ 49256 w 98511"/>
                <a:gd name="connsiteY4" fmla="*/ 98512 h 98511"/>
                <a:gd name="connsiteX5" fmla="*/ 49256 w 98511"/>
                <a:gd name="connsiteY5" fmla="*/ 4478 h 98511"/>
                <a:gd name="connsiteX6" fmla="*/ 4478 w 98511"/>
                <a:gd name="connsiteY6" fmla="*/ 49256 h 98511"/>
                <a:gd name="connsiteX7" fmla="*/ 49256 w 98511"/>
                <a:gd name="connsiteY7" fmla="*/ 94034 h 98511"/>
                <a:gd name="connsiteX8" fmla="*/ 94034 w 98511"/>
                <a:gd name="connsiteY8" fmla="*/ 49256 h 98511"/>
                <a:gd name="connsiteX9" fmla="*/ 49256 w 98511"/>
                <a:gd name="connsiteY9" fmla="*/ 447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11" h="98511">
                  <a:moveTo>
                    <a:pt x="49256" y="98512"/>
                  </a:moveTo>
                  <a:cubicBezTo>
                    <a:pt x="21941" y="98512"/>
                    <a:pt x="0" y="76571"/>
                    <a:pt x="0" y="49256"/>
                  </a:cubicBezTo>
                  <a:cubicBezTo>
                    <a:pt x="0" y="21941"/>
                    <a:pt x="21941" y="0"/>
                    <a:pt x="49256" y="0"/>
                  </a:cubicBezTo>
                  <a:cubicBezTo>
                    <a:pt x="76571" y="0"/>
                    <a:pt x="98512" y="21941"/>
                    <a:pt x="98512" y="49256"/>
                  </a:cubicBezTo>
                  <a:cubicBezTo>
                    <a:pt x="98512" y="76571"/>
                    <a:pt x="76571" y="98512"/>
                    <a:pt x="49256" y="98512"/>
                  </a:cubicBezTo>
                  <a:close/>
                  <a:moveTo>
                    <a:pt x="49256" y="4478"/>
                  </a:moveTo>
                  <a:cubicBezTo>
                    <a:pt x="24628" y="4478"/>
                    <a:pt x="4478" y="24628"/>
                    <a:pt x="4478" y="49256"/>
                  </a:cubicBezTo>
                  <a:cubicBezTo>
                    <a:pt x="4478" y="73884"/>
                    <a:pt x="24628" y="94034"/>
                    <a:pt x="49256" y="94034"/>
                  </a:cubicBezTo>
                  <a:cubicBezTo>
                    <a:pt x="73884" y="94034"/>
                    <a:pt x="94034" y="73884"/>
                    <a:pt x="94034" y="49256"/>
                  </a:cubicBezTo>
                  <a:cubicBezTo>
                    <a:pt x="94034" y="24628"/>
                    <a:pt x="73884" y="4478"/>
                    <a:pt x="49256" y="4478"/>
                  </a:cubicBezTo>
                  <a:close/>
                </a:path>
              </a:pathLst>
            </a:custGeom>
            <a:solidFill>
              <a:srgbClr val="231F20"/>
            </a:solidFill>
            <a:ln w="4474" cap="flat">
              <a:noFill/>
              <a:prstDash val="solid"/>
              <a:miter/>
            </a:ln>
          </p:spPr>
          <p:txBody>
            <a:bodyPr rtlCol="0" anchor="ctr"/>
            <a:lstStyle/>
            <a:p>
              <a:endParaRPr lang="en-US"/>
            </a:p>
          </p:txBody>
        </p:sp>
        <p:sp>
          <p:nvSpPr>
            <p:cNvPr id="4735" name="Freeform: Shape 4734">
              <a:extLst>
                <a:ext uri="{FF2B5EF4-FFF2-40B4-BE49-F238E27FC236}">
                  <a16:creationId xmlns:a16="http://schemas.microsoft.com/office/drawing/2014/main" id="{03C75ED4-5F6D-4CD5-82E7-2BF51D61C52F}"/>
                </a:ext>
              </a:extLst>
            </p:cNvPr>
            <p:cNvSpPr/>
            <p:nvPr/>
          </p:nvSpPr>
          <p:spPr>
            <a:xfrm>
              <a:off x="4083734" y="5316598"/>
              <a:ext cx="4478" cy="22389"/>
            </a:xfrm>
            <a:custGeom>
              <a:avLst/>
              <a:gdLst>
                <a:gd name="connsiteX0" fmla="*/ 2239 w 4477"/>
                <a:gd name="connsiteY0" fmla="*/ 22389 h 22389"/>
                <a:gd name="connsiteX1" fmla="*/ 0 w 4477"/>
                <a:gd name="connsiteY1" fmla="*/ 20150 h 22389"/>
                <a:gd name="connsiteX2" fmla="*/ 0 w 4477"/>
                <a:gd name="connsiteY2" fmla="*/ 2239 h 22389"/>
                <a:gd name="connsiteX3" fmla="*/ 2239 w 4477"/>
                <a:gd name="connsiteY3" fmla="*/ 0 h 22389"/>
                <a:gd name="connsiteX4" fmla="*/ 4478 w 4477"/>
                <a:gd name="connsiteY4" fmla="*/ 2239 h 22389"/>
                <a:gd name="connsiteX5" fmla="*/ 4478 w 4477"/>
                <a:gd name="connsiteY5" fmla="*/ 20150 h 22389"/>
                <a:gd name="connsiteX6" fmla="*/ 2239 w 4477"/>
                <a:gd name="connsiteY6" fmla="*/ 22389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2389">
                  <a:moveTo>
                    <a:pt x="2239" y="22389"/>
                  </a:moveTo>
                  <a:cubicBezTo>
                    <a:pt x="896" y="22389"/>
                    <a:pt x="0" y="21493"/>
                    <a:pt x="0" y="20150"/>
                  </a:cubicBezTo>
                  <a:lnTo>
                    <a:pt x="0" y="2239"/>
                  </a:lnTo>
                  <a:cubicBezTo>
                    <a:pt x="0" y="896"/>
                    <a:pt x="896" y="0"/>
                    <a:pt x="2239" y="0"/>
                  </a:cubicBezTo>
                  <a:cubicBezTo>
                    <a:pt x="3582" y="0"/>
                    <a:pt x="4478" y="896"/>
                    <a:pt x="4478" y="2239"/>
                  </a:cubicBezTo>
                  <a:lnTo>
                    <a:pt x="4478" y="20150"/>
                  </a:lnTo>
                  <a:cubicBezTo>
                    <a:pt x="4478" y="21493"/>
                    <a:pt x="3135" y="22389"/>
                    <a:pt x="2239" y="22389"/>
                  </a:cubicBezTo>
                  <a:close/>
                </a:path>
              </a:pathLst>
            </a:custGeom>
            <a:solidFill>
              <a:srgbClr val="231F20"/>
            </a:solidFill>
            <a:ln w="4474" cap="flat">
              <a:noFill/>
              <a:prstDash val="solid"/>
              <a:miter/>
            </a:ln>
          </p:spPr>
          <p:txBody>
            <a:bodyPr rtlCol="0" anchor="ctr"/>
            <a:lstStyle/>
            <a:p>
              <a:endParaRPr lang="en-US"/>
            </a:p>
          </p:txBody>
        </p:sp>
        <p:sp>
          <p:nvSpPr>
            <p:cNvPr id="4736" name="Freeform: Shape 4735">
              <a:extLst>
                <a:ext uri="{FF2B5EF4-FFF2-40B4-BE49-F238E27FC236}">
                  <a16:creationId xmlns:a16="http://schemas.microsoft.com/office/drawing/2014/main" id="{34A9B7B2-91BE-40BC-A0A8-89A9B784EE86}"/>
                </a:ext>
              </a:extLst>
            </p:cNvPr>
            <p:cNvSpPr/>
            <p:nvPr/>
          </p:nvSpPr>
          <p:spPr>
            <a:xfrm>
              <a:off x="4083734" y="5191219"/>
              <a:ext cx="4478" cy="22389"/>
            </a:xfrm>
            <a:custGeom>
              <a:avLst/>
              <a:gdLst>
                <a:gd name="connsiteX0" fmla="*/ 2239 w 4477"/>
                <a:gd name="connsiteY0" fmla="*/ 22389 h 22389"/>
                <a:gd name="connsiteX1" fmla="*/ 0 w 4477"/>
                <a:gd name="connsiteY1" fmla="*/ 20150 h 22389"/>
                <a:gd name="connsiteX2" fmla="*/ 0 w 4477"/>
                <a:gd name="connsiteY2" fmla="*/ 2239 h 22389"/>
                <a:gd name="connsiteX3" fmla="*/ 2239 w 4477"/>
                <a:gd name="connsiteY3" fmla="*/ 0 h 22389"/>
                <a:gd name="connsiteX4" fmla="*/ 4478 w 4477"/>
                <a:gd name="connsiteY4" fmla="*/ 2239 h 22389"/>
                <a:gd name="connsiteX5" fmla="*/ 4478 w 4477"/>
                <a:gd name="connsiteY5" fmla="*/ 20150 h 22389"/>
                <a:gd name="connsiteX6" fmla="*/ 2239 w 4477"/>
                <a:gd name="connsiteY6" fmla="*/ 22389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22389">
                  <a:moveTo>
                    <a:pt x="2239" y="22389"/>
                  </a:moveTo>
                  <a:cubicBezTo>
                    <a:pt x="896" y="22389"/>
                    <a:pt x="0" y="21493"/>
                    <a:pt x="0" y="20150"/>
                  </a:cubicBezTo>
                  <a:lnTo>
                    <a:pt x="0" y="2239"/>
                  </a:lnTo>
                  <a:cubicBezTo>
                    <a:pt x="0" y="896"/>
                    <a:pt x="896" y="0"/>
                    <a:pt x="2239" y="0"/>
                  </a:cubicBezTo>
                  <a:cubicBezTo>
                    <a:pt x="3582" y="0"/>
                    <a:pt x="4478" y="896"/>
                    <a:pt x="4478" y="2239"/>
                  </a:cubicBezTo>
                  <a:lnTo>
                    <a:pt x="4478" y="20150"/>
                  </a:lnTo>
                  <a:cubicBezTo>
                    <a:pt x="4478" y="21493"/>
                    <a:pt x="3135" y="22389"/>
                    <a:pt x="2239" y="22389"/>
                  </a:cubicBezTo>
                  <a:close/>
                </a:path>
              </a:pathLst>
            </a:custGeom>
            <a:solidFill>
              <a:srgbClr val="231F20"/>
            </a:solidFill>
            <a:ln w="4474" cap="flat">
              <a:noFill/>
              <a:prstDash val="solid"/>
              <a:miter/>
            </a:ln>
          </p:spPr>
          <p:txBody>
            <a:bodyPr rtlCol="0" anchor="ctr"/>
            <a:lstStyle/>
            <a:p>
              <a:endParaRPr lang="en-US"/>
            </a:p>
          </p:txBody>
        </p:sp>
        <p:sp>
          <p:nvSpPr>
            <p:cNvPr id="4737" name="Freeform: Shape 4736">
              <a:extLst>
                <a:ext uri="{FF2B5EF4-FFF2-40B4-BE49-F238E27FC236}">
                  <a16:creationId xmlns:a16="http://schemas.microsoft.com/office/drawing/2014/main" id="{CBF60019-3B81-49EE-85AC-F09AF65ACE3E}"/>
                </a:ext>
              </a:extLst>
            </p:cNvPr>
            <p:cNvSpPr/>
            <p:nvPr/>
          </p:nvSpPr>
          <p:spPr>
            <a:xfrm>
              <a:off x="4034255" y="5301598"/>
              <a:ext cx="13433" cy="13433"/>
            </a:xfrm>
            <a:custGeom>
              <a:avLst/>
              <a:gdLst>
                <a:gd name="connsiteX0" fmla="*/ 2015 w 13433"/>
                <a:gd name="connsiteY0" fmla="*/ 17239 h 13433"/>
                <a:gd name="connsiteX1" fmla="*/ 672 w 13433"/>
                <a:gd name="connsiteY1" fmla="*/ 16792 h 13433"/>
                <a:gd name="connsiteX2" fmla="*/ 672 w 13433"/>
                <a:gd name="connsiteY2" fmla="*/ 13657 h 13433"/>
                <a:gd name="connsiteX3" fmla="*/ 13210 w 13433"/>
                <a:gd name="connsiteY3" fmla="*/ 672 h 13433"/>
                <a:gd name="connsiteX4" fmla="*/ 16344 w 13433"/>
                <a:gd name="connsiteY4" fmla="*/ 672 h 13433"/>
                <a:gd name="connsiteX5" fmla="*/ 16344 w 13433"/>
                <a:gd name="connsiteY5" fmla="*/ 3806 h 13433"/>
                <a:gd name="connsiteX6" fmla="*/ 3806 w 13433"/>
                <a:gd name="connsiteY6" fmla="*/ 16792 h 13433"/>
                <a:gd name="connsiteX7" fmla="*/ 2015 w 13433"/>
                <a:gd name="connsiteY7" fmla="*/ 17239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015" y="17239"/>
                  </a:moveTo>
                  <a:cubicBezTo>
                    <a:pt x="1567" y="17239"/>
                    <a:pt x="672" y="17239"/>
                    <a:pt x="672" y="16792"/>
                  </a:cubicBezTo>
                  <a:cubicBezTo>
                    <a:pt x="-224" y="15896"/>
                    <a:pt x="-224" y="14553"/>
                    <a:pt x="672" y="13657"/>
                  </a:cubicBezTo>
                  <a:lnTo>
                    <a:pt x="13210" y="672"/>
                  </a:lnTo>
                  <a:cubicBezTo>
                    <a:pt x="14105" y="-224"/>
                    <a:pt x="15448" y="-224"/>
                    <a:pt x="16344" y="672"/>
                  </a:cubicBezTo>
                  <a:cubicBezTo>
                    <a:pt x="17240" y="1567"/>
                    <a:pt x="17240" y="2910"/>
                    <a:pt x="16344" y="3806"/>
                  </a:cubicBezTo>
                  <a:lnTo>
                    <a:pt x="3806" y="16792"/>
                  </a:lnTo>
                  <a:cubicBezTo>
                    <a:pt x="2911" y="17239"/>
                    <a:pt x="2463" y="17239"/>
                    <a:pt x="2015" y="17239"/>
                  </a:cubicBezTo>
                  <a:close/>
                </a:path>
              </a:pathLst>
            </a:custGeom>
            <a:solidFill>
              <a:srgbClr val="231F20"/>
            </a:solidFill>
            <a:ln w="4474" cap="flat">
              <a:noFill/>
              <a:prstDash val="solid"/>
              <a:miter/>
            </a:ln>
          </p:spPr>
          <p:txBody>
            <a:bodyPr rtlCol="0" anchor="ctr"/>
            <a:lstStyle/>
            <a:p>
              <a:endParaRPr lang="en-US"/>
            </a:p>
          </p:txBody>
        </p:sp>
        <p:sp>
          <p:nvSpPr>
            <p:cNvPr id="4738" name="Freeform: Shape 4737">
              <a:extLst>
                <a:ext uri="{FF2B5EF4-FFF2-40B4-BE49-F238E27FC236}">
                  <a16:creationId xmlns:a16="http://schemas.microsoft.com/office/drawing/2014/main" id="{88ED4C10-89EC-47BC-9B7F-80B4E912D056}"/>
                </a:ext>
              </a:extLst>
            </p:cNvPr>
            <p:cNvSpPr/>
            <p:nvPr/>
          </p:nvSpPr>
          <p:spPr>
            <a:xfrm>
              <a:off x="4121124" y="5211593"/>
              <a:ext cx="13433" cy="13433"/>
            </a:xfrm>
            <a:custGeom>
              <a:avLst/>
              <a:gdLst>
                <a:gd name="connsiteX0" fmla="*/ 2015 w 13433"/>
                <a:gd name="connsiteY0" fmla="*/ 17240 h 13433"/>
                <a:gd name="connsiteX1" fmla="*/ 672 w 13433"/>
                <a:gd name="connsiteY1" fmla="*/ 16792 h 13433"/>
                <a:gd name="connsiteX2" fmla="*/ 672 w 13433"/>
                <a:gd name="connsiteY2" fmla="*/ 13657 h 13433"/>
                <a:gd name="connsiteX3" fmla="*/ 13210 w 13433"/>
                <a:gd name="connsiteY3" fmla="*/ 672 h 13433"/>
                <a:gd name="connsiteX4" fmla="*/ 16344 w 13433"/>
                <a:gd name="connsiteY4" fmla="*/ 672 h 13433"/>
                <a:gd name="connsiteX5" fmla="*/ 16344 w 13433"/>
                <a:gd name="connsiteY5" fmla="*/ 3806 h 13433"/>
                <a:gd name="connsiteX6" fmla="*/ 3806 w 13433"/>
                <a:gd name="connsiteY6" fmla="*/ 16792 h 13433"/>
                <a:gd name="connsiteX7" fmla="*/ 2015 w 13433"/>
                <a:gd name="connsiteY7" fmla="*/ 17240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015" y="17240"/>
                  </a:moveTo>
                  <a:cubicBezTo>
                    <a:pt x="1567" y="17240"/>
                    <a:pt x="672" y="17240"/>
                    <a:pt x="672" y="16792"/>
                  </a:cubicBezTo>
                  <a:cubicBezTo>
                    <a:pt x="-224" y="15896"/>
                    <a:pt x="-224" y="14553"/>
                    <a:pt x="672" y="13657"/>
                  </a:cubicBezTo>
                  <a:lnTo>
                    <a:pt x="13210" y="672"/>
                  </a:lnTo>
                  <a:cubicBezTo>
                    <a:pt x="14105" y="-224"/>
                    <a:pt x="15449" y="-224"/>
                    <a:pt x="16344" y="672"/>
                  </a:cubicBezTo>
                  <a:cubicBezTo>
                    <a:pt x="17239" y="1567"/>
                    <a:pt x="17239" y="2911"/>
                    <a:pt x="16344" y="3806"/>
                  </a:cubicBezTo>
                  <a:lnTo>
                    <a:pt x="3806" y="16792"/>
                  </a:lnTo>
                  <a:cubicBezTo>
                    <a:pt x="3358" y="17240"/>
                    <a:pt x="2463" y="17240"/>
                    <a:pt x="2015" y="17240"/>
                  </a:cubicBezTo>
                  <a:close/>
                </a:path>
              </a:pathLst>
            </a:custGeom>
            <a:solidFill>
              <a:srgbClr val="231F20"/>
            </a:solidFill>
            <a:ln w="4474" cap="flat">
              <a:noFill/>
              <a:prstDash val="solid"/>
              <a:miter/>
            </a:ln>
          </p:spPr>
          <p:txBody>
            <a:bodyPr rtlCol="0" anchor="ctr"/>
            <a:lstStyle/>
            <a:p>
              <a:endParaRPr lang="en-US"/>
            </a:p>
          </p:txBody>
        </p:sp>
        <p:sp>
          <p:nvSpPr>
            <p:cNvPr id="4739" name="Freeform: Shape 4738">
              <a:extLst>
                <a:ext uri="{FF2B5EF4-FFF2-40B4-BE49-F238E27FC236}">
                  <a16:creationId xmlns:a16="http://schemas.microsoft.com/office/drawing/2014/main" id="{07FF923F-FC3D-4FCE-A20B-6538FF876DE5}"/>
                </a:ext>
              </a:extLst>
            </p:cNvPr>
            <p:cNvSpPr/>
            <p:nvPr/>
          </p:nvSpPr>
          <p:spPr>
            <a:xfrm>
              <a:off x="4012089" y="5262864"/>
              <a:ext cx="22389" cy="4478"/>
            </a:xfrm>
            <a:custGeom>
              <a:avLst/>
              <a:gdLst>
                <a:gd name="connsiteX0" fmla="*/ 2239 w 22389"/>
                <a:gd name="connsiteY0" fmla="*/ 4478 h 4477"/>
                <a:gd name="connsiteX1" fmla="*/ 0 w 22389"/>
                <a:gd name="connsiteY1" fmla="*/ 2239 h 4477"/>
                <a:gd name="connsiteX2" fmla="*/ 2239 w 22389"/>
                <a:gd name="connsiteY2" fmla="*/ 0 h 4477"/>
                <a:gd name="connsiteX3" fmla="*/ 20150 w 22389"/>
                <a:gd name="connsiteY3" fmla="*/ 0 h 4477"/>
                <a:gd name="connsiteX4" fmla="*/ 20150 w 22389"/>
                <a:gd name="connsiteY4" fmla="*/ 0 h 4477"/>
                <a:gd name="connsiteX5" fmla="*/ 22389 w 22389"/>
                <a:gd name="connsiteY5" fmla="*/ 2239 h 4477"/>
                <a:gd name="connsiteX6" fmla="*/ 20150 w 22389"/>
                <a:gd name="connsiteY6" fmla="*/ 4478 h 4477"/>
                <a:gd name="connsiteX7" fmla="*/ 2239 w 22389"/>
                <a:gd name="connsiteY7" fmla="*/ 4478 h 4477"/>
                <a:gd name="connsiteX8" fmla="*/ 2239 w 22389"/>
                <a:gd name="connsiteY8"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9" h="4477">
                  <a:moveTo>
                    <a:pt x="2239" y="4478"/>
                  </a:moveTo>
                  <a:cubicBezTo>
                    <a:pt x="896" y="4478"/>
                    <a:pt x="0" y="3582"/>
                    <a:pt x="0" y="2239"/>
                  </a:cubicBezTo>
                  <a:cubicBezTo>
                    <a:pt x="0" y="896"/>
                    <a:pt x="896" y="0"/>
                    <a:pt x="2239" y="0"/>
                  </a:cubicBezTo>
                  <a:lnTo>
                    <a:pt x="20150" y="0"/>
                  </a:lnTo>
                  <a:lnTo>
                    <a:pt x="20150" y="0"/>
                  </a:lnTo>
                  <a:cubicBezTo>
                    <a:pt x="21494" y="0"/>
                    <a:pt x="22389" y="896"/>
                    <a:pt x="22389" y="2239"/>
                  </a:cubicBezTo>
                  <a:cubicBezTo>
                    <a:pt x="22389" y="3582"/>
                    <a:pt x="21494" y="4478"/>
                    <a:pt x="20150" y="4478"/>
                  </a:cubicBezTo>
                  <a:lnTo>
                    <a:pt x="2239" y="4478"/>
                  </a:lnTo>
                  <a:lnTo>
                    <a:pt x="2239" y="4478"/>
                  </a:lnTo>
                  <a:close/>
                </a:path>
              </a:pathLst>
            </a:custGeom>
            <a:solidFill>
              <a:srgbClr val="231F20"/>
            </a:solidFill>
            <a:ln w="4474" cap="flat">
              <a:noFill/>
              <a:prstDash val="solid"/>
              <a:miter/>
            </a:ln>
          </p:spPr>
          <p:txBody>
            <a:bodyPr rtlCol="0" anchor="ctr"/>
            <a:lstStyle/>
            <a:p>
              <a:endParaRPr lang="en-US"/>
            </a:p>
          </p:txBody>
        </p:sp>
        <p:sp>
          <p:nvSpPr>
            <p:cNvPr id="4740" name="Freeform: Shape 4739">
              <a:extLst>
                <a:ext uri="{FF2B5EF4-FFF2-40B4-BE49-F238E27FC236}">
                  <a16:creationId xmlns:a16="http://schemas.microsoft.com/office/drawing/2014/main" id="{F7BEAC7B-07BB-455F-A594-21BDA2A70240}"/>
                </a:ext>
              </a:extLst>
            </p:cNvPr>
            <p:cNvSpPr/>
            <p:nvPr/>
          </p:nvSpPr>
          <p:spPr>
            <a:xfrm>
              <a:off x="4137468" y="5262864"/>
              <a:ext cx="22389" cy="4478"/>
            </a:xfrm>
            <a:custGeom>
              <a:avLst/>
              <a:gdLst>
                <a:gd name="connsiteX0" fmla="*/ 2239 w 22389"/>
                <a:gd name="connsiteY0" fmla="*/ 4478 h 4477"/>
                <a:gd name="connsiteX1" fmla="*/ 0 w 22389"/>
                <a:gd name="connsiteY1" fmla="*/ 2239 h 4477"/>
                <a:gd name="connsiteX2" fmla="*/ 2239 w 22389"/>
                <a:gd name="connsiteY2" fmla="*/ 0 h 4477"/>
                <a:gd name="connsiteX3" fmla="*/ 20150 w 22389"/>
                <a:gd name="connsiteY3" fmla="*/ 0 h 4477"/>
                <a:gd name="connsiteX4" fmla="*/ 20150 w 22389"/>
                <a:gd name="connsiteY4" fmla="*/ 0 h 4477"/>
                <a:gd name="connsiteX5" fmla="*/ 22389 w 22389"/>
                <a:gd name="connsiteY5" fmla="*/ 2239 h 4477"/>
                <a:gd name="connsiteX6" fmla="*/ 20150 w 22389"/>
                <a:gd name="connsiteY6" fmla="*/ 4478 h 4477"/>
                <a:gd name="connsiteX7" fmla="*/ 2239 w 22389"/>
                <a:gd name="connsiteY7" fmla="*/ 4478 h 4477"/>
                <a:gd name="connsiteX8" fmla="*/ 2239 w 22389"/>
                <a:gd name="connsiteY8"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9" h="4477">
                  <a:moveTo>
                    <a:pt x="2239" y="4478"/>
                  </a:moveTo>
                  <a:cubicBezTo>
                    <a:pt x="896" y="4478"/>
                    <a:pt x="0" y="3582"/>
                    <a:pt x="0" y="2239"/>
                  </a:cubicBezTo>
                  <a:cubicBezTo>
                    <a:pt x="0" y="896"/>
                    <a:pt x="896" y="0"/>
                    <a:pt x="2239" y="0"/>
                  </a:cubicBezTo>
                  <a:lnTo>
                    <a:pt x="20150" y="0"/>
                  </a:lnTo>
                  <a:lnTo>
                    <a:pt x="20150" y="0"/>
                  </a:lnTo>
                  <a:cubicBezTo>
                    <a:pt x="21494" y="0"/>
                    <a:pt x="22389" y="896"/>
                    <a:pt x="22389" y="2239"/>
                  </a:cubicBezTo>
                  <a:cubicBezTo>
                    <a:pt x="22389" y="3582"/>
                    <a:pt x="21494" y="4478"/>
                    <a:pt x="20150" y="4478"/>
                  </a:cubicBezTo>
                  <a:lnTo>
                    <a:pt x="2239" y="4478"/>
                  </a:lnTo>
                  <a:lnTo>
                    <a:pt x="2239" y="4478"/>
                  </a:lnTo>
                  <a:close/>
                </a:path>
              </a:pathLst>
            </a:custGeom>
            <a:solidFill>
              <a:srgbClr val="231F20"/>
            </a:solidFill>
            <a:ln w="4474" cap="flat">
              <a:noFill/>
              <a:prstDash val="solid"/>
              <a:miter/>
            </a:ln>
          </p:spPr>
          <p:txBody>
            <a:bodyPr rtlCol="0" anchor="ctr"/>
            <a:lstStyle/>
            <a:p>
              <a:endParaRPr lang="en-US"/>
            </a:p>
          </p:txBody>
        </p:sp>
        <p:sp>
          <p:nvSpPr>
            <p:cNvPr id="4741" name="Freeform: Shape 4740">
              <a:extLst>
                <a:ext uri="{FF2B5EF4-FFF2-40B4-BE49-F238E27FC236}">
                  <a16:creationId xmlns:a16="http://schemas.microsoft.com/office/drawing/2014/main" id="{90DC1115-30EC-4511-B796-51D5756FB3E8}"/>
                </a:ext>
              </a:extLst>
            </p:cNvPr>
            <p:cNvSpPr/>
            <p:nvPr/>
          </p:nvSpPr>
          <p:spPr>
            <a:xfrm>
              <a:off x="4033807" y="5211146"/>
              <a:ext cx="13433" cy="13433"/>
            </a:xfrm>
            <a:custGeom>
              <a:avLst/>
              <a:gdLst>
                <a:gd name="connsiteX0" fmla="*/ 15001 w 13433"/>
                <a:gd name="connsiteY0" fmla="*/ 17687 h 13433"/>
                <a:gd name="connsiteX1" fmla="*/ 13210 w 13433"/>
                <a:gd name="connsiteY1" fmla="*/ 16792 h 13433"/>
                <a:gd name="connsiteX2" fmla="*/ 672 w 13433"/>
                <a:gd name="connsiteY2" fmla="*/ 3806 h 13433"/>
                <a:gd name="connsiteX3" fmla="*/ 672 w 13433"/>
                <a:gd name="connsiteY3" fmla="*/ 672 h 13433"/>
                <a:gd name="connsiteX4" fmla="*/ 3806 w 13433"/>
                <a:gd name="connsiteY4" fmla="*/ 672 h 13433"/>
                <a:gd name="connsiteX5" fmla="*/ 16344 w 13433"/>
                <a:gd name="connsiteY5" fmla="*/ 13657 h 13433"/>
                <a:gd name="connsiteX6" fmla="*/ 16344 w 13433"/>
                <a:gd name="connsiteY6" fmla="*/ 16792 h 13433"/>
                <a:gd name="connsiteX7" fmla="*/ 15001 w 13433"/>
                <a:gd name="connsiteY7" fmla="*/ 17687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15001" y="17687"/>
                  </a:moveTo>
                  <a:cubicBezTo>
                    <a:pt x="14553" y="17687"/>
                    <a:pt x="13657" y="17239"/>
                    <a:pt x="13210" y="16792"/>
                  </a:cubicBezTo>
                  <a:lnTo>
                    <a:pt x="672" y="3806"/>
                  </a:lnTo>
                  <a:cubicBezTo>
                    <a:pt x="-224" y="2911"/>
                    <a:pt x="-224" y="1567"/>
                    <a:pt x="672" y="672"/>
                  </a:cubicBezTo>
                  <a:cubicBezTo>
                    <a:pt x="1567" y="-224"/>
                    <a:pt x="2910" y="-224"/>
                    <a:pt x="3806" y="672"/>
                  </a:cubicBezTo>
                  <a:lnTo>
                    <a:pt x="16344" y="13657"/>
                  </a:lnTo>
                  <a:cubicBezTo>
                    <a:pt x="17239" y="14553"/>
                    <a:pt x="17239" y="15896"/>
                    <a:pt x="16344" y="16792"/>
                  </a:cubicBezTo>
                  <a:cubicBezTo>
                    <a:pt x="15896" y="17239"/>
                    <a:pt x="15449" y="17687"/>
                    <a:pt x="15001" y="17687"/>
                  </a:cubicBezTo>
                  <a:close/>
                </a:path>
              </a:pathLst>
            </a:custGeom>
            <a:solidFill>
              <a:srgbClr val="231F20"/>
            </a:solidFill>
            <a:ln w="4474" cap="flat">
              <a:noFill/>
              <a:prstDash val="solid"/>
              <a:miter/>
            </a:ln>
          </p:spPr>
          <p:txBody>
            <a:bodyPr rtlCol="0" anchor="ctr"/>
            <a:lstStyle/>
            <a:p>
              <a:endParaRPr lang="en-US"/>
            </a:p>
          </p:txBody>
        </p:sp>
        <p:sp>
          <p:nvSpPr>
            <p:cNvPr id="4742" name="Freeform: Shape 4741">
              <a:extLst>
                <a:ext uri="{FF2B5EF4-FFF2-40B4-BE49-F238E27FC236}">
                  <a16:creationId xmlns:a16="http://schemas.microsoft.com/office/drawing/2014/main" id="{9A551851-B820-42C9-B086-777837FFD55A}"/>
                </a:ext>
              </a:extLst>
            </p:cNvPr>
            <p:cNvSpPr/>
            <p:nvPr/>
          </p:nvSpPr>
          <p:spPr>
            <a:xfrm>
              <a:off x="4120229" y="5301598"/>
              <a:ext cx="13433" cy="13433"/>
            </a:xfrm>
            <a:custGeom>
              <a:avLst/>
              <a:gdLst>
                <a:gd name="connsiteX0" fmla="*/ 15001 w 13433"/>
                <a:gd name="connsiteY0" fmla="*/ 17687 h 13433"/>
                <a:gd name="connsiteX1" fmla="*/ 13210 w 13433"/>
                <a:gd name="connsiteY1" fmla="*/ 16792 h 13433"/>
                <a:gd name="connsiteX2" fmla="*/ 672 w 13433"/>
                <a:gd name="connsiteY2" fmla="*/ 3806 h 13433"/>
                <a:gd name="connsiteX3" fmla="*/ 672 w 13433"/>
                <a:gd name="connsiteY3" fmla="*/ 672 h 13433"/>
                <a:gd name="connsiteX4" fmla="*/ 3806 w 13433"/>
                <a:gd name="connsiteY4" fmla="*/ 672 h 13433"/>
                <a:gd name="connsiteX5" fmla="*/ 16344 w 13433"/>
                <a:gd name="connsiteY5" fmla="*/ 13657 h 13433"/>
                <a:gd name="connsiteX6" fmla="*/ 16344 w 13433"/>
                <a:gd name="connsiteY6" fmla="*/ 16792 h 13433"/>
                <a:gd name="connsiteX7" fmla="*/ 15001 w 13433"/>
                <a:gd name="connsiteY7" fmla="*/ 17687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15001" y="17687"/>
                  </a:moveTo>
                  <a:cubicBezTo>
                    <a:pt x="14553" y="17687"/>
                    <a:pt x="13657" y="17239"/>
                    <a:pt x="13210" y="16792"/>
                  </a:cubicBezTo>
                  <a:lnTo>
                    <a:pt x="672" y="3806"/>
                  </a:lnTo>
                  <a:cubicBezTo>
                    <a:pt x="-224" y="2910"/>
                    <a:pt x="-224" y="1567"/>
                    <a:pt x="672" y="672"/>
                  </a:cubicBezTo>
                  <a:cubicBezTo>
                    <a:pt x="1567" y="-224"/>
                    <a:pt x="2911" y="-224"/>
                    <a:pt x="3806" y="672"/>
                  </a:cubicBezTo>
                  <a:lnTo>
                    <a:pt x="16344" y="13657"/>
                  </a:lnTo>
                  <a:cubicBezTo>
                    <a:pt x="17239" y="14553"/>
                    <a:pt x="17239" y="15896"/>
                    <a:pt x="16344" y="16792"/>
                  </a:cubicBezTo>
                  <a:cubicBezTo>
                    <a:pt x="16344" y="17687"/>
                    <a:pt x="15448" y="17687"/>
                    <a:pt x="15001" y="17687"/>
                  </a:cubicBezTo>
                  <a:close/>
                </a:path>
              </a:pathLst>
            </a:custGeom>
            <a:solidFill>
              <a:srgbClr val="231F20"/>
            </a:solidFill>
            <a:ln w="4474" cap="flat">
              <a:noFill/>
              <a:prstDash val="solid"/>
              <a:miter/>
            </a:ln>
          </p:spPr>
          <p:txBody>
            <a:bodyPr rtlCol="0" anchor="ctr"/>
            <a:lstStyle/>
            <a:p>
              <a:endParaRPr lang="en-US"/>
            </a:p>
          </p:txBody>
        </p:sp>
      </p:grpSp>
      <p:sp>
        <p:nvSpPr>
          <p:cNvPr id="4743" name="Freeform: Shape 4742">
            <a:extLst>
              <a:ext uri="{FF2B5EF4-FFF2-40B4-BE49-F238E27FC236}">
                <a16:creationId xmlns:a16="http://schemas.microsoft.com/office/drawing/2014/main" id="{BF5E6314-A8FB-4C42-B314-7D43122174A8}"/>
              </a:ext>
              <a:ext uri="{C183D7F6-B498-43B3-948B-1728B52AA6E4}">
                <adec:decorative xmlns:adec="http://schemas.microsoft.com/office/drawing/2017/decorative" val="1"/>
              </a:ext>
            </a:extLst>
          </p:cNvPr>
          <p:cNvSpPr>
            <a:spLocks noChangeAspect="1"/>
          </p:cNvSpPr>
          <p:nvPr/>
        </p:nvSpPr>
        <p:spPr>
          <a:xfrm>
            <a:off x="10076636" y="1743228"/>
            <a:ext cx="98512" cy="125379"/>
          </a:xfrm>
          <a:custGeom>
            <a:avLst/>
            <a:gdLst>
              <a:gd name="connsiteX0" fmla="*/ 64033 w 98511"/>
              <a:gd name="connsiteY0" fmla="*/ 125379 h 125378"/>
              <a:gd name="connsiteX1" fmla="*/ 0 w 98511"/>
              <a:gd name="connsiteY1" fmla="*/ 62689 h 125378"/>
              <a:gd name="connsiteX2" fmla="*/ 64033 w 98511"/>
              <a:gd name="connsiteY2" fmla="*/ 0 h 125378"/>
              <a:gd name="connsiteX3" fmla="*/ 97616 w 98511"/>
              <a:gd name="connsiteY3" fmla="*/ 9404 h 125378"/>
              <a:gd name="connsiteX4" fmla="*/ 98512 w 98511"/>
              <a:gd name="connsiteY4" fmla="*/ 12090 h 125378"/>
              <a:gd name="connsiteX5" fmla="*/ 96273 w 98511"/>
              <a:gd name="connsiteY5" fmla="*/ 13433 h 125378"/>
              <a:gd name="connsiteX6" fmla="*/ 91348 w 98511"/>
              <a:gd name="connsiteY6" fmla="*/ 12986 h 125378"/>
              <a:gd name="connsiteX7" fmla="*/ 40748 w 98511"/>
              <a:gd name="connsiteY7" fmla="*/ 62242 h 125378"/>
              <a:gd name="connsiteX8" fmla="*/ 91348 w 98511"/>
              <a:gd name="connsiteY8" fmla="*/ 111498 h 125378"/>
              <a:gd name="connsiteX9" fmla="*/ 96273 w 98511"/>
              <a:gd name="connsiteY9" fmla="*/ 111050 h 125378"/>
              <a:gd name="connsiteX10" fmla="*/ 98512 w 98511"/>
              <a:gd name="connsiteY10" fmla="*/ 112393 h 125378"/>
              <a:gd name="connsiteX11" fmla="*/ 97616 w 98511"/>
              <a:gd name="connsiteY11" fmla="*/ 115080 h 125378"/>
              <a:gd name="connsiteX12" fmla="*/ 64033 w 98511"/>
              <a:gd name="connsiteY12" fmla="*/ 125379 h 125378"/>
              <a:gd name="connsiteX13" fmla="*/ 64033 w 98511"/>
              <a:gd name="connsiteY13" fmla="*/ 4478 h 125378"/>
              <a:gd name="connsiteX14" fmla="*/ 4478 w 98511"/>
              <a:gd name="connsiteY14" fmla="*/ 62689 h 125378"/>
              <a:gd name="connsiteX15" fmla="*/ 64033 w 98511"/>
              <a:gd name="connsiteY15" fmla="*/ 120901 h 125378"/>
              <a:gd name="connsiteX16" fmla="*/ 86870 w 98511"/>
              <a:gd name="connsiteY16" fmla="*/ 116423 h 125378"/>
              <a:gd name="connsiteX17" fmla="*/ 36270 w 98511"/>
              <a:gd name="connsiteY17" fmla="*/ 62689 h 125378"/>
              <a:gd name="connsiteX18" fmla="*/ 86870 w 98511"/>
              <a:gd name="connsiteY18" fmla="*/ 8956 h 125378"/>
              <a:gd name="connsiteX19" fmla="*/ 64033 w 98511"/>
              <a:gd name="connsiteY1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511" h="125378">
                <a:moveTo>
                  <a:pt x="64033" y="125379"/>
                </a:moveTo>
                <a:cubicBezTo>
                  <a:pt x="28658" y="125379"/>
                  <a:pt x="0" y="97169"/>
                  <a:pt x="0" y="62689"/>
                </a:cubicBezTo>
                <a:cubicBezTo>
                  <a:pt x="0" y="28210"/>
                  <a:pt x="28658" y="0"/>
                  <a:pt x="64033" y="0"/>
                </a:cubicBezTo>
                <a:cubicBezTo>
                  <a:pt x="75675" y="0"/>
                  <a:pt x="87317" y="3135"/>
                  <a:pt x="97616" y="9404"/>
                </a:cubicBezTo>
                <a:cubicBezTo>
                  <a:pt x="98512" y="9851"/>
                  <a:pt x="98960" y="11195"/>
                  <a:pt x="98512" y="12090"/>
                </a:cubicBezTo>
                <a:cubicBezTo>
                  <a:pt x="98064" y="12986"/>
                  <a:pt x="97169" y="13881"/>
                  <a:pt x="96273" y="13433"/>
                </a:cubicBezTo>
                <a:cubicBezTo>
                  <a:pt x="94482" y="13433"/>
                  <a:pt x="93139" y="12986"/>
                  <a:pt x="91348" y="12986"/>
                </a:cubicBezTo>
                <a:cubicBezTo>
                  <a:pt x="63585" y="12986"/>
                  <a:pt x="40748" y="35375"/>
                  <a:pt x="40748" y="62242"/>
                </a:cubicBezTo>
                <a:cubicBezTo>
                  <a:pt x="40748" y="89556"/>
                  <a:pt x="63585" y="111498"/>
                  <a:pt x="91348" y="111498"/>
                </a:cubicBezTo>
                <a:cubicBezTo>
                  <a:pt x="93139" y="111498"/>
                  <a:pt x="94482" y="111498"/>
                  <a:pt x="96273" y="111050"/>
                </a:cubicBezTo>
                <a:cubicBezTo>
                  <a:pt x="97169" y="111050"/>
                  <a:pt x="98064" y="111498"/>
                  <a:pt x="98512" y="112393"/>
                </a:cubicBezTo>
                <a:cubicBezTo>
                  <a:pt x="98960" y="113289"/>
                  <a:pt x="98512" y="114632"/>
                  <a:pt x="97616" y="115080"/>
                </a:cubicBezTo>
                <a:cubicBezTo>
                  <a:pt x="87765" y="122244"/>
                  <a:pt x="76123" y="125379"/>
                  <a:pt x="64033" y="125379"/>
                </a:cubicBezTo>
                <a:close/>
                <a:moveTo>
                  <a:pt x="64033" y="4478"/>
                </a:moveTo>
                <a:cubicBezTo>
                  <a:pt x="31345" y="4478"/>
                  <a:pt x="4478" y="30449"/>
                  <a:pt x="4478" y="62689"/>
                </a:cubicBezTo>
                <a:cubicBezTo>
                  <a:pt x="4478" y="94930"/>
                  <a:pt x="31345" y="120901"/>
                  <a:pt x="64033" y="120901"/>
                </a:cubicBezTo>
                <a:cubicBezTo>
                  <a:pt x="72093" y="120901"/>
                  <a:pt x="79705" y="119558"/>
                  <a:pt x="86870" y="116423"/>
                </a:cubicBezTo>
                <a:cubicBezTo>
                  <a:pt x="58659" y="114184"/>
                  <a:pt x="36270" y="90900"/>
                  <a:pt x="36270" y="62689"/>
                </a:cubicBezTo>
                <a:cubicBezTo>
                  <a:pt x="36270" y="34479"/>
                  <a:pt x="58659" y="11195"/>
                  <a:pt x="86870" y="8956"/>
                </a:cubicBezTo>
                <a:cubicBezTo>
                  <a:pt x="79705" y="5821"/>
                  <a:pt x="72093" y="4478"/>
                  <a:pt x="64033" y="4478"/>
                </a:cubicBezTo>
                <a:close/>
              </a:path>
            </a:pathLst>
          </a:custGeom>
          <a:solidFill>
            <a:srgbClr val="231F20"/>
          </a:solidFill>
          <a:ln w="4474" cap="flat">
            <a:noFill/>
            <a:prstDash val="solid"/>
            <a:miter/>
          </a:ln>
        </p:spPr>
        <p:txBody>
          <a:bodyPr rtlCol="0" anchor="ctr"/>
          <a:lstStyle/>
          <a:p>
            <a:endParaRPr lang="en-US"/>
          </a:p>
        </p:txBody>
      </p:sp>
      <p:grpSp>
        <p:nvGrpSpPr>
          <p:cNvPr id="4744" name="Group 4743">
            <a:extLst>
              <a:ext uri="{FF2B5EF4-FFF2-40B4-BE49-F238E27FC236}">
                <a16:creationId xmlns:a16="http://schemas.microsoft.com/office/drawing/2014/main" id="{3D14ED70-44A4-4D77-ACE7-273C51711FB2}"/>
              </a:ext>
              <a:ext uri="{C183D7F6-B498-43B3-948B-1728B52AA6E4}">
                <adec:decorative xmlns:adec="http://schemas.microsoft.com/office/drawing/2017/decorative" val="1"/>
              </a:ext>
            </a:extLst>
          </p:cNvPr>
          <p:cNvGrpSpPr>
            <a:grpSpLocks noChangeAspect="1"/>
          </p:cNvGrpSpPr>
          <p:nvPr/>
        </p:nvGrpSpPr>
        <p:grpSpPr>
          <a:xfrm>
            <a:off x="10567853" y="1742780"/>
            <a:ext cx="164336" cy="111945"/>
            <a:chOff x="4787200" y="5201966"/>
            <a:chExt cx="164336" cy="111945"/>
          </a:xfrm>
        </p:grpSpPr>
        <p:sp>
          <p:nvSpPr>
            <p:cNvPr id="4745" name="Freeform: Shape 4744">
              <a:extLst>
                <a:ext uri="{FF2B5EF4-FFF2-40B4-BE49-F238E27FC236}">
                  <a16:creationId xmlns:a16="http://schemas.microsoft.com/office/drawing/2014/main" id="{8BDCA380-1EB9-48CA-A01E-8B92949EA01C}"/>
                </a:ext>
              </a:extLst>
            </p:cNvPr>
            <p:cNvSpPr/>
            <p:nvPr/>
          </p:nvSpPr>
          <p:spPr>
            <a:xfrm>
              <a:off x="4826157" y="5224355"/>
              <a:ext cx="125379" cy="89556"/>
            </a:xfrm>
            <a:custGeom>
              <a:avLst/>
              <a:gdLst>
                <a:gd name="connsiteX0" fmla="*/ 94930 w 125378"/>
                <a:gd name="connsiteY0" fmla="*/ 90004 h 89556"/>
                <a:gd name="connsiteX1" fmla="*/ 26867 w 125378"/>
                <a:gd name="connsiteY1" fmla="*/ 90004 h 89556"/>
                <a:gd name="connsiteX2" fmla="*/ 0 w 125378"/>
                <a:gd name="connsiteY2" fmla="*/ 63137 h 89556"/>
                <a:gd name="connsiteX3" fmla="*/ 20598 w 125378"/>
                <a:gd name="connsiteY3" fmla="*/ 36718 h 89556"/>
                <a:gd name="connsiteX4" fmla="*/ 20598 w 125378"/>
                <a:gd name="connsiteY4" fmla="*/ 36718 h 89556"/>
                <a:gd name="connsiteX5" fmla="*/ 57316 w 125378"/>
                <a:gd name="connsiteY5" fmla="*/ 0 h 89556"/>
                <a:gd name="connsiteX6" fmla="*/ 93586 w 125378"/>
                <a:gd name="connsiteY6" fmla="*/ 29553 h 89556"/>
                <a:gd name="connsiteX7" fmla="*/ 125379 w 125378"/>
                <a:gd name="connsiteY7" fmla="*/ 60003 h 89556"/>
                <a:gd name="connsiteX8" fmla="*/ 94930 w 125378"/>
                <a:gd name="connsiteY8" fmla="*/ 90004 h 89556"/>
                <a:gd name="connsiteX9" fmla="*/ 57316 w 125378"/>
                <a:gd name="connsiteY9" fmla="*/ 4478 h 89556"/>
                <a:gd name="connsiteX10" fmla="*/ 25076 w 125378"/>
                <a:gd name="connsiteY10" fmla="*/ 36718 h 89556"/>
                <a:gd name="connsiteX11" fmla="*/ 25076 w 125378"/>
                <a:gd name="connsiteY11" fmla="*/ 38509 h 89556"/>
                <a:gd name="connsiteX12" fmla="*/ 23284 w 125378"/>
                <a:gd name="connsiteY12" fmla="*/ 40748 h 89556"/>
                <a:gd name="connsiteX13" fmla="*/ 4478 w 125378"/>
                <a:gd name="connsiteY13" fmla="*/ 63137 h 89556"/>
                <a:gd name="connsiteX14" fmla="*/ 26867 w 125378"/>
                <a:gd name="connsiteY14" fmla="*/ 85526 h 89556"/>
                <a:gd name="connsiteX15" fmla="*/ 94930 w 125378"/>
                <a:gd name="connsiteY15" fmla="*/ 85526 h 89556"/>
                <a:gd name="connsiteX16" fmla="*/ 120901 w 125378"/>
                <a:gd name="connsiteY16" fmla="*/ 59555 h 89556"/>
                <a:gd name="connsiteX17" fmla="*/ 94930 w 125378"/>
                <a:gd name="connsiteY17" fmla="*/ 33584 h 89556"/>
                <a:gd name="connsiteX18" fmla="*/ 91795 w 125378"/>
                <a:gd name="connsiteY18" fmla="*/ 33584 h 89556"/>
                <a:gd name="connsiteX19" fmla="*/ 89108 w 125378"/>
                <a:gd name="connsiteY19" fmla="*/ 31792 h 89556"/>
                <a:gd name="connsiteX20" fmla="*/ 57316 w 125378"/>
                <a:gd name="connsiteY20" fmla="*/ 4478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378" h="89556">
                  <a:moveTo>
                    <a:pt x="94930" y="90004"/>
                  </a:moveTo>
                  <a:lnTo>
                    <a:pt x="26867" y="90004"/>
                  </a:lnTo>
                  <a:cubicBezTo>
                    <a:pt x="12090" y="90004"/>
                    <a:pt x="0" y="77914"/>
                    <a:pt x="0" y="63137"/>
                  </a:cubicBezTo>
                  <a:cubicBezTo>
                    <a:pt x="0" y="50599"/>
                    <a:pt x="8508" y="39852"/>
                    <a:pt x="20598" y="36718"/>
                  </a:cubicBezTo>
                  <a:cubicBezTo>
                    <a:pt x="20598" y="36718"/>
                    <a:pt x="20598" y="36718"/>
                    <a:pt x="20598" y="36718"/>
                  </a:cubicBezTo>
                  <a:cubicBezTo>
                    <a:pt x="20598" y="16568"/>
                    <a:pt x="37166" y="0"/>
                    <a:pt x="57316" y="0"/>
                  </a:cubicBezTo>
                  <a:cubicBezTo>
                    <a:pt x="74779" y="0"/>
                    <a:pt x="90004" y="12538"/>
                    <a:pt x="93586" y="29553"/>
                  </a:cubicBezTo>
                  <a:cubicBezTo>
                    <a:pt x="110602" y="28658"/>
                    <a:pt x="125379" y="42539"/>
                    <a:pt x="125379" y="60003"/>
                  </a:cubicBezTo>
                  <a:cubicBezTo>
                    <a:pt x="125379" y="76571"/>
                    <a:pt x="111498" y="90004"/>
                    <a:pt x="94930" y="90004"/>
                  </a:cubicBezTo>
                  <a:close/>
                  <a:moveTo>
                    <a:pt x="57316" y="4478"/>
                  </a:moveTo>
                  <a:cubicBezTo>
                    <a:pt x="39405" y="4478"/>
                    <a:pt x="25076" y="19255"/>
                    <a:pt x="25076" y="36718"/>
                  </a:cubicBezTo>
                  <a:cubicBezTo>
                    <a:pt x="25076" y="37166"/>
                    <a:pt x="25076" y="38061"/>
                    <a:pt x="25076" y="38509"/>
                  </a:cubicBezTo>
                  <a:cubicBezTo>
                    <a:pt x="25076" y="39852"/>
                    <a:pt x="24180" y="40748"/>
                    <a:pt x="23284" y="40748"/>
                  </a:cubicBezTo>
                  <a:cubicBezTo>
                    <a:pt x="12538" y="42539"/>
                    <a:pt x="4478" y="51943"/>
                    <a:pt x="4478" y="63137"/>
                  </a:cubicBezTo>
                  <a:cubicBezTo>
                    <a:pt x="4478" y="75675"/>
                    <a:pt x="14777" y="85526"/>
                    <a:pt x="26867" y="85526"/>
                  </a:cubicBezTo>
                  <a:lnTo>
                    <a:pt x="94930" y="85526"/>
                  </a:lnTo>
                  <a:cubicBezTo>
                    <a:pt x="109259" y="85526"/>
                    <a:pt x="120901" y="73884"/>
                    <a:pt x="120901" y="59555"/>
                  </a:cubicBezTo>
                  <a:cubicBezTo>
                    <a:pt x="120901" y="45226"/>
                    <a:pt x="109259" y="33584"/>
                    <a:pt x="94930" y="33584"/>
                  </a:cubicBezTo>
                  <a:cubicBezTo>
                    <a:pt x="94034" y="33584"/>
                    <a:pt x="92691" y="33584"/>
                    <a:pt x="91795" y="33584"/>
                  </a:cubicBezTo>
                  <a:cubicBezTo>
                    <a:pt x="90452" y="33584"/>
                    <a:pt x="89556" y="32688"/>
                    <a:pt x="89108" y="31792"/>
                  </a:cubicBezTo>
                  <a:cubicBezTo>
                    <a:pt x="87317" y="16120"/>
                    <a:pt x="73436" y="4478"/>
                    <a:pt x="57316" y="4478"/>
                  </a:cubicBezTo>
                  <a:close/>
                </a:path>
              </a:pathLst>
            </a:custGeom>
            <a:solidFill>
              <a:srgbClr val="231F20"/>
            </a:solidFill>
            <a:ln w="4474" cap="flat">
              <a:noFill/>
              <a:prstDash val="solid"/>
              <a:miter/>
            </a:ln>
          </p:spPr>
          <p:txBody>
            <a:bodyPr rtlCol="0" anchor="ctr"/>
            <a:lstStyle/>
            <a:p>
              <a:endParaRPr lang="en-US"/>
            </a:p>
          </p:txBody>
        </p:sp>
        <p:sp>
          <p:nvSpPr>
            <p:cNvPr id="4746" name="Freeform: Shape 4745">
              <a:extLst>
                <a:ext uri="{FF2B5EF4-FFF2-40B4-BE49-F238E27FC236}">
                  <a16:creationId xmlns:a16="http://schemas.microsoft.com/office/drawing/2014/main" id="{14FADC3D-6159-4975-AE4D-087219538A63}"/>
                </a:ext>
              </a:extLst>
            </p:cNvPr>
            <p:cNvSpPr/>
            <p:nvPr/>
          </p:nvSpPr>
          <p:spPr>
            <a:xfrm>
              <a:off x="4807350" y="5223460"/>
              <a:ext cx="44778" cy="49256"/>
            </a:xfrm>
            <a:custGeom>
              <a:avLst/>
              <a:gdLst>
                <a:gd name="connsiteX0" fmla="*/ 16568 w 44778"/>
                <a:gd name="connsiteY0" fmla="*/ 51943 h 49255"/>
                <a:gd name="connsiteX1" fmla="*/ 15672 w 44778"/>
                <a:gd name="connsiteY1" fmla="*/ 51943 h 49255"/>
                <a:gd name="connsiteX2" fmla="*/ 0 w 44778"/>
                <a:gd name="connsiteY2" fmla="*/ 27315 h 49255"/>
                <a:gd name="connsiteX3" fmla="*/ 27315 w 44778"/>
                <a:gd name="connsiteY3" fmla="*/ 0 h 49255"/>
                <a:gd name="connsiteX4" fmla="*/ 45674 w 44778"/>
                <a:gd name="connsiteY4" fmla="*/ 7164 h 49255"/>
                <a:gd name="connsiteX5" fmla="*/ 45674 w 44778"/>
                <a:gd name="connsiteY5" fmla="*/ 10299 h 49255"/>
                <a:gd name="connsiteX6" fmla="*/ 42539 w 44778"/>
                <a:gd name="connsiteY6" fmla="*/ 10299 h 49255"/>
                <a:gd name="connsiteX7" fmla="*/ 27315 w 44778"/>
                <a:gd name="connsiteY7" fmla="*/ 4478 h 49255"/>
                <a:gd name="connsiteX8" fmla="*/ 4478 w 44778"/>
                <a:gd name="connsiteY8" fmla="*/ 27315 h 49255"/>
                <a:gd name="connsiteX9" fmla="*/ 17463 w 44778"/>
                <a:gd name="connsiteY9" fmla="*/ 47913 h 49255"/>
                <a:gd name="connsiteX10" fmla="*/ 18359 w 44778"/>
                <a:gd name="connsiteY10" fmla="*/ 51047 h 49255"/>
                <a:gd name="connsiteX11" fmla="*/ 16568 w 44778"/>
                <a:gd name="connsiteY11" fmla="*/ 51943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778" h="49255">
                  <a:moveTo>
                    <a:pt x="16568" y="51943"/>
                  </a:moveTo>
                  <a:cubicBezTo>
                    <a:pt x="16120" y="51943"/>
                    <a:pt x="16120" y="51943"/>
                    <a:pt x="15672" y="51943"/>
                  </a:cubicBezTo>
                  <a:cubicBezTo>
                    <a:pt x="6269" y="47465"/>
                    <a:pt x="0" y="37614"/>
                    <a:pt x="0" y="27315"/>
                  </a:cubicBezTo>
                  <a:cubicBezTo>
                    <a:pt x="0" y="12090"/>
                    <a:pt x="12090" y="0"/>
                    <a:pt x="27315" y="0"/>
                  </a:cubicBezTo>
                  <a:cubicBezTo>
                    <a:pt x="34031" y="0"/>
                    <a:pt x="40748" y="2687"/>
                    <a:pt x="45674" y="7164"/>
                  </a:cubicBezTo>
                  <a:cubicBezTo>
                    <a:pt x="46569" y="8060"/>
                    <a:pt x="46569" y="9403"/>
                    <a:pt x="45674" y="10299"/>
                  </a:cubicBezTo>
                  <a:cubicBezTo>
                    <a:pt x="44778" y="11195"/>
                    <a:pt x="43435" y="11195"/>
                    <a:pt x="42539" y="10299"/>
                  </a:cubicBezTo>
                  <a:cubicBezTo>
                    <a:pt x="38509" y="6269"/>
                    <a:pt x="32688" y="4478"/>
                    <a:pt x="27315" y="4478"/>
                  </a:cubicBezTo>
                  <a:cubicBezTo>
                    <a:pt x="14777" y="4478"/>
                    <a:pt x="4478" y="14777"/>
                    <a:pt x="4478" y="27315"/>
                  </a:cubicBezTo>
                  <a:cubicBezTo>
                    <a:pt x="4478" y="36270"/>
                    <a:pt x="9403" y="44331"/>
                    <a:pt x="17463" y="47913"/>
                  </a:cubicBezTo>
                  <a:cubicBezTo>
                    <a:pt x="18359" y="48360"/>
                    <a:pt x="19255" y="49704"/>
                    <a:pt x="18359" y="51047"/>
                  </a:cubicBezTo>
                  <a:cubicBezTo>
                    <a:pt x="17911" y="51495"/>
                    <a:pt x="17463" y="51943"/>
                    <a:pt x="16568" y="51943"/>
                  </a:cubicBezTo>
                  <a:close/>
                </a:path>
              </a:pathLst>
            </a:custGeom>
            <a:solidFill>
              <a:srgbClr val="231F20"/>
            </a:solidFill>
            <a:ln w="4474" cap="flat">
              <a:noFill/>
              <a:prstDash val="solid"/>
              <a:miter/>
            </a:ln>
          </p:spPr>
          <p:txBody>
            <a:bodyPr rtlCol="0" anchor="ctr"/>
            <a:lstStyle/>
            <a:p>
              <a:endParaRPr lang="en-US"/>
            </a:p>
          </p:txBody>
        </p:sp>
        <p:sp>
          <p:nvSpPr>
            <p:cNvPr id="4747" name="Freeform: Shape 4746">
              <a:extLst>
                <a:ext uri="{FF2B5EF4-FFF2-40B4-BE49-F238E27FC236}">
                  <a16:creationId xmlns:a16="http://schemas.microsoft.com/office/drawing/2014/main" id="{A27B914E-66D8-4606-A33F-B2F3EAC18047}"/>
                </a:ext>
              </a:extLst>
            </p:cNvPr>
            <p:cNvSpPr/>
            <p:nvPr/>
          </p:nvSpPr>
          <p:spPr>
            <a:xfrm>
              <a:off x="4797906" y="5217150"/>
              <a:ext cx="13433" cy="8956"/>
            </a:xfrm>
            <a:custGeom>
              <a:avLst/>
              <a:gdLst>
                <a:gd name="connsiteX0" fmla="*/ 12130 w 13433"/>
                <a:gd name="connsiteY0" fmla="*/ 12578 h 8955"/>
                <a:gd name="connsiteX1" fmla="*/ 10787 w 13433"/>
                <a:gd name="connsiteY1" fmla="*/ 12130 h 8955"/>
                <a:gd name="connsiteX2" fmla="*/ 936 w 13433"/>
                <a:gd name="connsiteY2" fmla="*/ 4070 h 8955"/>
                <a:gd name="connsiteX3" fmla="*/ 488 w 13433"/>
                <a:gd name="connsiteY3" fmla="*/ 936 h 8955"/>
                <a:gd name="connsiteX4" fmla="*/ 3623 w 13433"/>
                <a:gd name="connsiteY4" fmla="*/ 488 h 8955"/>
                <a:gd name="connsiteX5" fmla="*/ 13474 w 13433"/>
                <a:gd name="connsiteY5" fmla="*/ 8548 h 8955"/>
                <a:gd name="connsiteX6" fmla="*/ 13922 w 13433"/>
                <a:gd name="connsiteY6" fmla="*/ 11683 h 8955"/>
                <a:gd name="connsiteX7" fmla="*/ 12130 w 13433"/>
                <a:gd name="connsiteY7" fmla="*/ 12578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8955">
                  <a:moveTo>
                    <a:pt x="12130" y="12578"/>
                  </a:moveTo>
                  <a:cubicBezTo>
                    <a:pt x="11683" y="12578"/>
                    <a:pt x="11235" y="12578"/>
                    <a:pt x="10787" y="12130"/>
                  </a:cubicBezTo>
                  <a:lnTo>
                    <a:pt x="936" y="4070"/>
                  </a:lnTo>
                  <a:cubicBezTo>
                    <a:pt x="40" y="3175"/>
                    <a:pt x="-407" y="1832"/>
                    <a:pt x="488" y="936"/>
                  </a:cubicBezTo>
                  <a:cubicBezTo>
                    <a:pt x="1384" y="40"/>
                    <a:pt x="2727" y="-407"/>
                    <a:pt x="3623" y="488"/>
                  </a:cubicBezTo>
                  <a:lnTo>
                    <a:pt x="13474" y="8548"/>
                  </a:lnTo>
                  <a:cubicBezTo>
                    <a:pt x="14369" y="9444"/>
                    <a:pt x="14817" y="10787"/>
                    <a:pt x="13922" y="11683"/>
                  </a:cubicBezTo>
                  <a:cubicBezTo>
                    <a:pt x="13474" y="12130"/>
                    <a:pt x="13026" y="12578"/>
                    <a:pt x="12130" y="12578"/>
                  </a:cubicBezTo>
                  <a:close/>
                </a:path>
              </a:pathLst>
            </a:custGeom>
            <a:solidFill>
              <a:srgbClr val="231F20"/>
            </a:solidFill>
            <a:ln w="4474" cap="flat">
              <a:noFill/>
              <a:prstDash val="solid"/>
              <a:miter/>
            </a:ln>
          </p:spPr>
          <p:txBody>
            <a:bodyPr rtlCol="0" anchor="ctr"/>
            <a:lstStyle/>
            <a:p>
              <a:endParaRPr lang="en-US"/>
            </a:p>
          </p:txBody>
        </p:sp>
        <p:sp>
          <p:nvSpPr>
            <p:cNvPr id="4748" name="Freeform: Shape 4747">
              <a:extLst>
                <a:ext uri="{FF2B5EF4-FFF2-40B4-BE49-F238E27FC236}">
                  <a16:creationId xmlns:a16="http://schemas.microsoft.com/office/drawing/2014/main" id="{B5C46839-3C6D-44B2-8D2F-CAD3E5A29A4F}"/>
                </a:ext>
              </a:extLst>
            </p:cNvPr>
            <p:cNvSpPr/>
            <p:nvPr/>
          </p:nvSpPr>
          <p:spPr>
            <a:xfrm>
              <a:off x="4828843" y="5201966"/>
              <a:ext cx="4478" cy="17911"/>
            </a:xfrm>
            <a:custGeom>
              <a:avLst/>
              <a:gdLst>
                <a:gd name="connsiteX0" fmla="*/ 2239 w 4477"/>
                <a:gd name="connsiteY0" fmla="*/ 17911 h 17911"/>
                <a:gd name="connsiteX1" fmla="*/ 2239 w 4477"/>
                <a:gd name="connsiteY1" fmla="*/ 17911 h 17911"/>
                <a:gd name="connsiteX2" fmla="*/ 0 w 4477"/>
                <a:gd name="connsiteY2" fmla="*/ 15672 h 17911"/>
                <a:gd name="connsiteX3" fmla="*/ 0 w 4477"/>
                <a:gd name="connsiteY3" fmla="*/ 2239 h 17911"/>
                <a:gd name="connsiteX4" fmla="*/ 2239 w 4477"/>
                <a:gd name="connsiteY4" fmla="*/ 0 h 17911"/>
                <a:gd name="connsiteX5" fmla="*/ 4478 w 4477"/>
                <a:gd name="connsiteY5" fmla="*/ 2239 h 17911"/>
                <a:gd name="connsiteX6" fmla="*/ 4478 w 4477"/>
                <a:gd name="connsiteY6" fmla="*/ 15672 h 17911"/>
                <a:gd name="connsiteX7" fmla="*/ 2239 w 4477"/>
                <a:gd name="connsiteY7" fmla="*/ 17911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 h="17911">
                  <a:moveTo>
                    <a:pt x="2239" y="17911"/>
                  </a:moveTo>
                  <a:cubicBezTo>
                    <a:pt x="2239" y="17911"/>
                    <a:pt x="2239" y="17911"/>
                    <a:pt x="2239" y="17911"/>
                  </a:cubicBezTo>
                  <a:cubicBezTo>
                    <a:pt x="896" y="17911"/>
                    <a:pt x="0" y="17016"/>
                    <a:pt x="0" y="15672"/>
                  </a:cubicBezTo>
                  <a:lnTo>
                    <a:pt x="0" y="2239"/>
                  </a:lnTo>
                  <a:cubicBezTo>
                    <a:pt x="0" y="896"/>
                    <a:pt x="1343" y="0"/>
                    <a:pt x="2239" y="0"/>
                  </a:cubicBezTo>
                  <a:cubicBezTo>
                    <a:pt x="3582" y="0"/>
                    <a:pt x="4478" y="896"/>
                    <a:pt x="4478" y="2239"/>
                  </a:cubicBezTo>
                  <a:lnTo>
                    <a:pt x="4478" y="15672"/>
                  </a:lnTo>
                  <a:cubicBezTo>
                    <a:pt x="4478" y="17016"/>
                    <a:pt x="3582" y="17911"/>
                    <a:pt x="2239" y="17911"/>
                  </a:cubicBezTo>
                  <a:close/>
                </a:path>
              </a:pathLst>
            </a:custGeom>
            <a:solidFill>
              <a:srgbClr val="231F20"/>
            </a:solidFill>
            <a:ln w="4474" cap="flat">
              <a:noFill/>
              <a:prstDash val="solid"/>
              <a:miter/>
            </a:ln>
          </p:spPr>
          <p:txBody>
            <a:bodyPr rtlCol="0" anchor="ctr"/>
            <a:lstStyle/>
            <a:p>
              <a:endParaRPr lang="en-US"/>
            </a:p>
          </p:txBody>
        </p:sp>
        <p:sp>
          <p:nvSpPr>
            <p:cNvPr id="4749" name="Freeform: Shape 4748">
              <a:extLst>
                <a:ext uri="{FF2B5EF4-FFF2-40B4-BE49-F238E27FC236}">
                  <a16:creationId xmlns:a16="http://schemas.microsoft.com/office/drawing/2014/main" id="{AC4FB004-ED1F-4956-986A-8C884C90168D}"/>
                </a:ext>
              </a:extLst>
            </p:cNvPr>
            <p:cNvSpPr/>
            <p:nvPr/>
          </p:nvSpPr>
          <p:spPr>
            <a:xfrm>
              <a:off x="4851504" y="5210298"/>
              <a:ext cx="8956" cy="13433"/>
            </a:xfrm>
            <a:custGeom>
              <a:avLst/>
              <a:gdLst>
                <a:gd name="connsiteX0" fmla="*/ 2415 w 8955"/>
                <a:gd name="connsiteY0" fmla="*/ 14953 h 13433"/>
                <a:gd name="connsiteX1" fmla="*/ 1071 w 8955"/>
                <a:gd name="connsiteY1" fmla="*/ 14505 h 13433"/>
                <a:gd name="connsiteX2" fmla="*/ 176 w 8955"/>
                <a:gd name="connsiteY2" fmla="*/ 11370 h 13433"/>
                <a:gd name="connsiteX3" fmla="*/ 6445 w 8955"/>
                <a:gd name="connsiteY3" fmla="*/ 1071 h 13433"/>
                <a:gd name="connsiteX4" fmla="*/ 9579 w 8955"/>
                <a:gd name="connsiteY4" fmla="*/ 176 h 13433"/>
                <a:gd name="connsiteX5" fmla="*/ 10475 w 8955"/>
                <a:gd name="connsiteY5" fmla="*/ 3310 h 13433"/>
                <a:gd name="connsiteX6" fmla="*/ 4206 w 8955"/>
                <a:gd name="connsiteY6" fmla="*/ 13609 h 13433"/>
                <a:gd name="connsiteX7" fmla="*/ 2415 w 8955"/>
                <a:gd name="connsiteY7" fmla="*/ 1495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2415" y="14953"/>
                  </a:moveTo>
                  <a:cubicBezTo>
                    <a:pt x="1967" y="14953"/>
                    <a:pt x="1519" y="14953"/>
                    <a:pt x="1071" y="14505"/>
                  </a:cubicBezTo>
                  <a:cubicBezTo>
                    <a:pt x="176" y="14057"/>
                    <a:pt x="-272" y="12266"/>
                    <a:pt x="176" y="11370"/>
                  </a:cubicBezTo>
                  <a:lnTo>
                    <a:pt x="6445" y="1071"/>
                  </a:lnTo>
                  <a:cubicBezTo>
                    <a:pt x="6892" y="176"/>
                    <a:pt x="8684" y="-272"/>
                    <a:pt x="9579" y="176"/>
                  </a:cubicBezTo>
                  <a:cubicBezTo>
                    <a:pt x="10475" y="624"/>
                    <a:pt x="10922" y="2415"/>
                    <a:pt x="10475" y="3310"/>
                  </a:cubicBezTo>
                  <a:lnTo>
                    <a:pt x="4206" y="13609"/>
                  </a:lnTo>
                  <a:cubicBezTo>
                    <a:pt x="3758" y="14505"/>
                    <a:pt x="3310" y="14953"/>
                    <a:pt x="2415" y="14953"/>
                  </a:cubicBezTo>
                  <a:close/>
                </a:path>
              </a:pathLst>
            </a:custGeom>
            <a:solidFill>
              <a:srgbClr val="231F20"/>
            </a:solidFill>
            <a:ln w="4474" cap="flat">
              <a:noFill/>
              <a:prstDash val="solid"/>
              <a:miter/>
            </a:ln>
          </p:spPr>
          <p:txBody>
            <a:bodyPr rtlCol="0" anchor="ctr"/>
            <a:lstStyle/>
            <a:p>
              <a:endParaRPr lang="en-US"/>
            </a:p>
          </p:txBody>
        </p:sp>
        <p:sp>
          <p:nvSpPr>
            <p:cNvPr id="4750" name="Freeform: Shape 4749">
              <a:extLst>
                <a:ext uri="{FF2B5EF4-FFF2-40B4-BE49-F238E27FC236}">
                  <a16:creationId xmlns:a16="http://schemas.microsoft.com/office/drawing/2014/main" id="{EBDDD72C-E15C-40C2-9B50-89FD7B8A4F83}"/>
                </a:ext>
              </a:extLst>
            </p:cNvPr>
            <p:cNvSpPr/>
            <p:nvPr/>
          </p:nvSpPr>
          <p:spPr>
            <a:xfrm>
              <a:off x="4787200" y="5247640"/>
              <a:ext cx="13433" cy="4478"/>
            </a:xfrm>
            <a:custGeom>
              <a:avLst/>
              <a:gdLst>
                <a:gd name="connsiteX0" fmla="*/ 2239 w 13433"/>
                <a:gd name="connsiteY0" fmla="*/ 4478 h 4477"/>
                <a:gd name="connsiteX1" fmla="*/ 0 w 13433"/>
                <a:gd name="connsiteY1" fmla="*/ 2239 h 4477"/>
                <a:gd name="connsiteX2" fmla="*/ 2239 w 13433"/>
                <a:gd name="connsiteY2" fmla="*/ 0 h 4477"/>
                <a:gd name="connsiteX3" fmla="*/ 15224 w 13433"/>
                <a:gd name="connsiteY3" fmla="*/ 0 h 4477"/>
                <a:gd name="connsiteX4" fmla="*/ 17463 w 13433"/>
                <a:gd name="connsiteY4" fmla="*/ 2239 h 4477"/>
                <a:gd name="connsiteX5" fmla="*/ 15224 w 13433"/>
                <a:gd name="connsiteY5" fmla="*/ 4478 h 4477"/>
                <a:gd name="connsiteX6" fmla="*/ 2239 w 13433"/>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 h="4477">
                  <a:moveTo>
                    <a:pt x="2239" y="4478"/>
                  </a:moveTo>
                  <a:cubicBezTo>
                    <a:pt x="896" y="4478"/>
                    <a:pt x="0" y="3582"/>
                    <a:pt x="0" y="2239"/>
                  </a:cubicBezTo>
                  <a:cubicBezTo>
                    <a:pt x="0" y="895"/>
                    <a:pt x="896" y="0"/>
                    <a:pt x="2239" y="0"/>
                  </a:cubicBezTo>
                  <a:lnTo>
                    <a:pt x="15224" y="0"/>
                  </a:lnTo>
                  <a:cubicBezTo>
                    <a:pt x="16568" y="0"/>
                    <a:pt x="17463" y="895"/>
                    <a:pt x="17463" y="2239"/>
                  </a:cubicBezTo>
                  <a:cubicBezTo>
                    <a:pt x="17463" y="3582"/>
                    <a:pt x="16568" y="4478"/>
                    <a:pt x="15224" y="4478"/>
                  </a:cubicBezTo>
                  <a:lnTo>
                    <a:pt x="2239" y="4478"/>
                  </a:lnTo>
                  <a:close/>
                </a:path>
              </a:pathLst>
            </a:custGeom>
            <a:solidFill>
              <a:srgbClr val="231F20"/>
            </a:solidFill>
            <a:ln w="4474" cap="flat">
              <a:noFill/>
              <a:prstDash val="solid"/>
              <a:miter/>
            </a:ln>
          </p:spPr>
          <p:txBody>
            <a:bodyPr rtlCol="0" anchor="ctr"/>
            <a:lstStyle/>
            <a:p>
              <a:endParaRPr lang="en-US"/>
            </a:p>
          </p:txBody>
        </p:sp>
        <p:sp>
          <p:nvSpPr>
            <p:cNvPr id="4751" name="Freeform: Shape 4750">
              <a:extLst>
                <a:ext uri="{FF2B5EF4-FFF2-40B4-BE49-F238E27FC236}">
                  <a16:creationId xmlns:a16="http://schemas.microsoft.com/office/drawing/2014/main" id="{F2CE5B91-3910-4B83-B1E0-3A0AA71D456A}"/>
                </a:ext>
              </a:extLst>
            </p:cNvPr>
            <p:cNvSpPr/>
            <p:nvPr/>
          </p:nvSpPr>
          <p:spPr>
            <a:xfrm>
              <a:off x="4798618" y="5271596"/>
              <a:ext cx="13433" cy="13433"/>
            </a:xfrm>
            <a:custGeom>
              <a:avLst/>
              <a:gdLst>
                <a:gd name="connsiteX0" fmla="*/ 2463 w 13433"/>
                <a:gd name="connsiteY0" fmla="*/ 13657 h 13433"/>
                <a:gd name="connsiteX1" fmla="*/ 672 w 13433"/>
                <a:gd name="connsiteY1" fmla="*/ 13210 h 13433"/>
                <a:gd name="connsiteX2" fmla="*/ 672 w 13433"/>
                <a:gd name="connsiteY2" fmla="*/ 10075 h 13433"/>
                <a:gd name="connsiteX3" fmla="*/ 10075 w 13433"/>
                <a:gd name="connsiteY3" fmla="*/ 672 h 13433"/>
                <a:gd name="connsiteX4" fmla="*/ 13210 w 13433"/>
                <a:gd name="connsiteY4" fmla="*/ 672 h 13433"/>
                <a:gd name="connsiteX5" fmla="*/ 13210 w 13433"/>
                <a:gd name="connsiteY5" fmla="*/ 3806 h 13433"/>
                <a:gd name="connsiteX6" fmla="*/ 3806 w 13433"/>
                <a:gd name="connsiteY6" fmla="*/ 13210 h 13433"/>
                <a:gd name="connsiteX7" fmla="*/ 2463 w 13433"/>
                <a:gd name="connsiteY7" fmla="*/ 13657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3" h="13433">
                  <a:moveTo>
                    <a:pt x="2463" y="13657"/>
                  </a:moveTo>
                  <a:cubicBezTo>
                    <a:pt x="2015" y="13657"/>
                    <a:pt x="1119" y="13657"/>
                    <a:pt x="672" y="13210"/>
                  </a:cubicBezTo>
                  <a:cubicBezTo>
                    <a:pt x="-224" y="12314"/>
                    <a:pt x="-224" y="10971"/>
                    <a:pt x="672" y="10075"/>
                  </a:cubicBezTo>
                  <a:lnTo>
                    <a:pt x="10075" y="672"/>
                  </a:lnTo>
                  <a:cubicBezTo>
                    <a:pt x="10971" y="-224"/>
                    <a:pt x="12314" y="-224"/>
                    <a:pt x="13210" y="672"/>
                  </a:cubicBezTo>
                  <a:cubicBezTo>
                    <a:pt x="14105" y="1567"/>
                    <a:pt x="14105" y="2911"/>
                    <a:pt x="13210" y="3806"/>
                  </a:cubicBezTo>
                  <a:lnTo>
                    <a:pt x="3806" y="13210"/>
                  </a:lnTo>
                  <a:cubicBezTo>
                    <a:pt x="3358" y="13657"/>
                    <a:pt x="2911" y="13657"/>
                    <a:pt x="2463" y="13657"/>
                  </a:cubicBezTo>
                  <a:close/>
                </a:path>
              </a:pathLst>
            </a:custGeom>
            <a:solidFill>
              <a:srgbClr val="231F20"/>
            </a:solidFill>
            <a:ln w="4474" cap="flat">
              <a:noFill/>
              <a:prstDash val="solid"/>
              <a:miter/>
            </a:ln>
          </p:spPr>
          <p:txBody>
            <a:bodyPr rtlCol="0" anchor="ctr"/>
            <a:lstStyle/>
            <a:p>
              <a:endParaRPr lang="en-US"/>
            </a:p>
          </p:txBody>
        </p:sp>
      </p:grpSp>
      <p:grpSp>
        <p:nvGrpSpPr>
          <p:cNvPr id="4752" name="Group 4751">
            <a:extLst>
              <a:ext uri="{FF2B5EF4-FFF2-40B4-BE49-F238E27FC236}">
                <a16:creationId xmlns:a16="http://schemas.microsoft.com/office/drawing/2014/main" id="{503AC422-C4BC-4E1C-9C08-F1BA669DE035}"/>
              </a:ext>
              <a:ext uri="{C183D7F6-B498-43B3-948B-1728B52AA6E4}">
                <adec:decorative xmlns:adec="http://schemas.microsoft.com/office/drawing/2017/decorative" val="1"/>
              </a:ext>
            </a:extLst>
          </p:cNvPr>
          <p:cNvGrpSpPr>
            <a:grpSpLocks noChangeAspect="1"/>
          </p:cNvGrpSpPr>
          <p:nvPr/>
        </p:nvGrpSpPr>
        <p:grpSpPr>
          <a:xfrm>
            <a:off x="10853985" y="1769171"/>
            <a:ext cx="125379" cy="72569"/>
            <a:chOff x="5073332" y="5228357"/>
            <a:chExt cx="125379" cy="72569"/>
          </a:xfrm>
        </p:grpSpPr>
        <p:sp>
          <p:nvSpPr>
            <p:cNvPr id="4753" name="Freeform: Shape 4752">
              <a:extLst>
                <a:ext uri="{FF2B5EF4-FFF2-40B4-BE49-F238E27FC236}">
                  <a16:creationId xmlns:a16="http://schemas.microsoft.com/office/drawing/2014/main" id="{8A218ACA-8914-4D9F-8DD8-524B44F67951}"/>
                </a:ext>
              </a:extLst>
            </p:cNvPr>
            <p:cNvSpPr/>
            <p:nvPr/>
          </p:nvSpPr>
          <p:spPr>
            <a:xfrm>
              <a:off x="5100199" y="5228357"/>
              <a:ext cx="98512" cy="31345"/>
            </a:xfrm>
            <a:custGeom>
              <a:avLst/>
              <a:gdLst>
                <a:gd name="connsiteX0" fmla="*/ 79705 w 98511"/>
                <a:gd name="connsiteY0" fmla="*/ 32269 h 31344"/>
                <a:gd name="connsiteX1" fmla="*/ 2239 w 98511"/>
                <a:gd name="connsiteY1" fmla="*/ 32269 h 31344"/>
                <a:gd name="connsiteX2" fmla="*/ 0 w 98511"/>
                <a:gd name="connsiteY2" fmla="*/ 30030 h 31344"/>
                <a:gd name="connsiteX3" fmla="*/ 2239 w 98511"/>
                <a:gd name="connsiteY3" fmla="*/ 27791 h 31344"/>
                <a:gd name="connsiteX4" fmla="*/ 79258 w 98511"/>
                <a:gd name="connsiteY4" fmla="*/ 27791 h 31344"/>
                <a:gd name="connsiteX5" fmla="*/ 79705 w 98511"/>
                <a:gd name="connsiteY5" fmla="*/ 27791 h 31344"/>
                <a:gd name="connsiteX6" fmla="*/ 89556 w 98511"/>
                <a:gd name="connsiteY6" fmla="*/ 24209 h 31344"/>
                <a:gd name="connsiteX7" fmla="*/ 94034 w 98511"/>
                <a:gd name="connsiteY7" fmla="*/ 14357 h 31344"/>
                <a:gd name="connsiteX8" fmla="*/ 84631 w 98511"/>
                <a:gd name="connsiteY8" fmla="*/ 4058 h 31344"/>
                <a:gd name="connsiteX9" fmla="*/ 77466 w 98511"/>
                <a:gd name="connsiteY9" fmla="*/ 10775 h 31344"/>
                <a:gd name="connsiteX10" fmla="*/ 81944 w 98511"/>
                <a:gd name="connsiteY10" fmla="*/ 15701 h 31344"/>
                <a:gd name="connsiteX11" fmla="*/ 85079 w 98511"/>
                <a:gd name="connsiteY11" fmla="*/ 13014 h 31344"/>
                <a:gd name="connsiteX12" fmla="*/ 87317 w 98511"/>
                <a:gd name="connsiteY12" fmla="*/ 10775 h 31344"/>
                <a:gd name="connsiteX13" fmla="*/ 89556 w 98511"/>
                <a:gd name="connsiteY13" fmla="*/ 13014 h 31344"/>
                <a:gd name="connsiteX14" fmla="*/ 81944 w 98511"/>
                <a:gd name="connsiteY14" fmla="*/ 20178 h 31344"/>
                <a:gd name="connsiteX15" fmla="*/ 73436 w 98511"/>
                <a:gd name="connsiteY15" fmla="*/ 10775 h 31344"/>
                <a:gd name="connsiteX16" fmla="*/ 85079 w 98511"/>
                <a:gd name="connsiteY16" fmla="*/ 28 h 31344"/>
                <a:gd name="connsiteX17" fmla="*/ 98960 w 98511"/>
                <a:gd name="connsiteY17" fmla="*/ 14805 h 31344"/>
                <a:gd name="connsiteX18" fmla="*/ 93139 w 98511"/>
                <a:gd name="connsiteY18" fmla="*/ 27343 h 31344"/>
                <a:gd name="connsiteX19" fmla="*/ 79705 w 98511"/>
                <a:gd name="connsiteY19" fmla="*/ 32269 h 31344"/>
                <a:gd name="connsiteX20" fmla="*/ 79705 w 98511"/>
                <a:gd name="connsiteY20" fmla="*/ 32269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511" h="31344">
                  <a:moveTo>
                    <a:pt x="79705" y="32269"/>
                  </a:moveTo>
                  <a:lnTo>
                    <a:pt x="2239" y="32269"/>
                  </a:lnTo>
                  <a:cubicBezTo>
                    <a:pt x="896" y="32269"/>
                    <a:pt x="0" y="31373"/>
                    <a:pt x="0" y="30030"/>
                  </a:cubicBezTo>
                  <a:cubicBezTo>
                    <a:pt x="0" y="28686"/>
                    <a:pt x="896" y="27791"/>
                    <a:pt x="2239" y="27791"/>
                  </a:cubicBezTo>
                  <a:lnTo>
                    <a:pt x="79258" y="27791"/>
                  </a:lnTo>
                  <a:cubicBezTo>
                    <a:pt x="79258" y="27791"/>
                    <a:pt x="79705" y="27791"/>
                    <a:pt x="79705" y="27791"/>
                  </a:cubicBezTo>
                  <a:cubicBezTo>
                    <a:pt x="83287" y="27791"/>
                    <a:pt x="86870" y="26448"/>
                    <a:pt x="89556" y="24209"/>
                  </a:cubicBezTo>
                  <a:cubicBezTo>
                    <a:pt x="92243" y="21522"/>
                    <a:pt x="94034" y="18387"/>
                    <a:pt x="94034" y="14357"/>
                  </a:cubicBezTo>
                  <a:cubicBezTo>
                    <a:pt x="94482" y="8984"/>
                    <a:pt x="90004" y="4506"/>
                    <a:pt x="84631" y="4058"/>
                  </a:cubicBezTo>
                  <a:cubicBezTo>
                    <a:pt x="81048" y="4058"/>
                    <a:pt x="77914" y="6745"/>
                    <a:pt x="77466" y="10775"/>
                  </a:cubicBezTo>
                  <a:cubicBezTo>
                    <a:pt x="77466" y="13462"/>
                    <a:pt x="79258" y="15253"/>
                    <a:pt x="81944" y="15701"/>
                  </a:cubicBezTo>
                  <a:cubicBezTo>
                    <a:pt x="83287" y="15701"/>
                    <a:pt x="84631" y="14357"/>
                    <a:pt x="85079" y="13014"/>
                  </a:cubicBezTo>
                  <a:cubicBezTo>
                    <a:pt x="85079" y="11671"/>
                    <a:pt x="85974" y="10775"/>
                    <a:pt x="87317" y="10775"/>
                  </a:cubicBezTo>
                  <a:cubicBezTo>
                    <a:pt x="88661" y="10775"/>
                    <a:pt x="89556" y="11671"/>
                    <a:pt x="89556" y="13014"/>
                  </a:cubicBezTo>
                  <a:cubicBezTo>
                    <a:pt x="89556" y="17044"/>
                    <a:pt x="85974" y="20178"/>
                    <a:pt x="81944" y="20178"/>
                  </a:cubicBezTo>
                  <a:cubicBezTo>
                    <a:pt x="77019" y="20178"/>
                    <a:pt x="72989" y="15701"/>
                    <a:pt x="73436" y="10775"/>
                  </a:cubicBezTo>
                  <a:cubicBezTo>
                    <a:pt x="73884" y="4506"/>
                    <a:pt x="78809" y="-419"/>
                    <a:pt x="85079" y="28"/>
                  </a:cubicBezTo>
                  <a:cubicBezTo>
                    <a:pt x="93139" y="476"/>
                    <a:pt x="98960" y="7193"/>
                    <a:pt x="98960" y="14805"/>
                  </a:cubicBezTo>
                  <a:cubicBezTo>
                    <a:pt x="98960" y="19731"/>
                    <a:pt x="96721" y="24209"/>
                    <a:pt x="93139" y="27343"/>
                  </a:cubicBezTo>
                  <a:cubicBezTo>
                    <a:pt x="89109" y="30925"/>
                    <a:pt x="84631" y="32717"/>
                    <a:pt x="79705" y="32269"/>
                  </a:cubicBezTo>
                  <a:cubicBezTo>
                    <a:pt x="79705" y="32269"/>
                    <a:pt x="79705" y="32269"/>
                    <a:pt x="79705" y="32269"/>
                  </a:cubicBezTo>
                  <a:close/>
                </a:path>
              </a:pathLst>
            </a:custGeom>
            <a:solidFill>
              <a:srgbClr val="231F20"/>
            </a:solidFill>
            <a:ln w="4474" cap="flat">
              <a:noFill/>
              <a:prstDash val="solid"/>
              <a:miter/>
            </a:ln>
          </p:spPr>
          <p:txBody>
            <a:bodyPr rtlCol="0" anchor="ctr"/>
            <a:lstStyle/>
            <a:p>
              <a:endParaRPr lang="en-US"/>
            </a:p>
          </p:txBody>
        </p:sp>
        <p:sp>
          <p:nvSpPr>
            <p:cNvPr id="4754" name="Freeform: Shape 4753">
              <a:extLst>
                <a:ext uri="{FF2B5EF4-FFF2-40B4-BE49-F238E27FC236}">
                  <a16:creationId xmlns:a16="http://schemas.microsoft.com/office/drawing/2014/main" id="{C5A15E76-737C-4B04-B9E6-50599E6C7E18}"/>
                </a:ext>
              </a:extLst>
            </p:cNvPr>
            <p:cNvSpPr/>
            <p:nvPr/>
          </p:nvSpPr>
          <p:spPr>
            <a:xfrm>
              <a:off x="5073332" y="5269581"/>
              <a:ext cx="125379" cy="31345"/>
            </a:xfrm>
            <a:custGeom>
              <a:avLst/>
              <a:gdLst>
                <a:gd name="connsiteX0" fmla="*/ 111498 w 125378"/>
                <a:gd name="connsiteY0" fmla="*/ 32688 h 31344"/>
                <a:gd name="connsiteX1" fmla="*/ 109259 w 125378"/>
                <a:gd name="connsiteY1" fmla="*/ 30449 h 31344"/>
                <a:gd name="connsiteX2" fmla="*/ 111498 w 125378"/>
                <a:gd name="connsiteY2" fmla="*/ 28210 h 31344"/>
                <a:gd name="connsiteX3" fmla="*/ 120901 w 125378"/>
                <a:gd name="connsiteY3" fmla="*/ 17911 h 31344"/>
                <a:gd name="connsiteX4" fmla="*/ 106572 w 125378"/>
                <a:gd name="connsiteY4" fmla="*/ 4478 h 31344"/>
                <a:gd name="connsiteX5" fmla="*/ 106125 w 125378"/>
                <a:gd name="connsiteY5" fmla="*/ 4478 h 31344"/>
                <a:gd name="connsiteX6" fmla="*/ 2239 w 125378"/>
                <a:gd name="connsiteY6" fmla="*/ 4478 h 31344"/>
                <a:gd name="connsiteX7" fmla="*/ 0 w 125378"/>
                <a:gd name="connsiteY7" fmla="*/ 2239 h 31344"/>
                <a:gd name="connsiteX8" fmla="*/ 2239 w 125378"/>
                <a:gd name="connsiteY8" fmla="*/ 0 h 31344"/>
                <a:gd name="connsiteX9" fmla="*/ 106572 w 125378"/>
                <a:gd name="connsiteY9" fmla="*/ 0 h 31344"/>
                <a:gd name="connsiteX10" fmla="*/ 107468 w 125378"/>
                <a:gd name="connsiteY10" fmla="*/ 0 h 31344"/>
                <a:gd name="connsiteX11" fmla="*/ 125827 w 125378"/>
                <a:gd name="connsiteY11" fmla="*/ 17464 h 31344"/>
                <a:gd name="connsiteX12" fmla="*/ 111498 w 125378"/>
                <a:gd name="connsiteY12" fmla="*/ 32688 h 31344"/>
                <a:gd name="connsiteX13" fmla="*/ 111498 w 125378"/>
                <a:gd name="connsiteY13" fmla="*/ 3268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31344">
                  <a:moveTo>
                    <a:pt x="111498" y="32688"/>
                  </a:moveTo>
                  <a:cubicBezTo>
                    <a:pt x="110154" y="32688"/>
                    <a:pt x="109259" y="31793"/>
                    <a:pt x="109259" y="30449"/>
                  </a:cubicBezTo>
                  <a:cubicBezTo>
                    <a:pt x="109259" y="29106"/>
                    <a:pt x="110154" y="28210"/>
                    <a:pt x="111498" y="28210"/>
                  </a:cubicBezTo>
                  <a:cubicBezTo>
                    <a:pt x="116871" y="27763"/>
                    <a:pt x="121349" y="23285"/>
                    <a:pt x="120901" y="17911"/>
                  </a:cubicBezTo>
                  <a:cubicBezTo>
                    <a:pt x="120453" y="10299"/>
                    <a:pt x="114184" y="4478"/>
                    <a:pt x="106572" y="4478"/>
                  </a:cubicBezTo>
                  <a:cubicBezTo>
                    <a:pt x="106572" y="4478"/>
                    <a:pt x="106125" y="4478"/>
                    <a:pt x="106125" y="4478"/>
                  </a:cubicBezTo>
                  <a:lnTo>
                    <a:pt x="2239" y="4478"/>
                  </a:lnTo>
                  <a:cubicBezTo>
                    <a:pt x="896" y="4478"/>
                    <a:pt x="0" y="3582"/>
                    <a:pt x="0" y="2239"/>
                  </a:cubicBezTo>
                  <a:cubicBezTo>
                    <a:pt x="0" y="896"/>
                    <a:pt x="896" y="0"/>
                    <a:pt x="2239" y="0"/>
                  </a:cubicBezTo>
                  <a:lnTo>
                    <a:pt x="106572" y="0"/>
                  </a:lnTo>
                  <a:cubicBezTo>
                    <a:pt x="107020" y="0"/>
                    <a:pt x="107020" y="0"/>
                    <a:pt x="107468" y="0"/>
                  </a:cubicBezTo>
                  <a:cubicBezTo>
                    <a:pt x="117319" y="0"/>
                    <a:pt x="125379" y="7612"/>
                    <a:pt x="125827" y="17464"/>
                  </a:cubicBezTo>
                  <a:cubicBezTo>
                    <a:pt x="125827" y="25524"/>
                    <a:pt x="119558" y="32240"/>
                    <a:pt x="111498" y="32688"/>
                  </a:cubicBezTo>
                  <a:cubicBezTo>
                    <a:pt x="111498" y="32688"/>
                    <a:pt x="111498" y="32688"/>
                    <a:pt x="111498" y="32688"/>
                  </a:cubicBezTo>
                  <a:close/>
                </a:path>
              </a:pathLst>
            </a:custGeom>
            <a:solidFill>
              <a:srgbClr val="231F20"/>
            </a:solidFill>
            <a:ln w="4474" cap="flat">
              <a:noFill/>
              <a:prstDash val="solid"/>
              <a:miter/>
            </a:ln>
          </p:spPr>
          <p:txBody>
            <a:bodyPr rtlCol="0" anchor="ctr"/>
            <a:lstStyle/>
            <a:p>
              <a:endParaRPr lang="en-US"/>
            </a:p>
          </p:txBody>
        </p:sp>
        <p:sp>
          <p:nvSpPr>
            <p:cNvPr id="4755" name="Freeform: Shape 4754">
              <a:extLst>
                <a:ext uri="{FF2B5EF4-FFF2-40B4-BE49-F238E27FC236}">
                  <a16:creationId xmlns:a16="http://schemas.microsoft.com/office/drawing/2014/main" id="{B7BBF958-9CB6-438F-8888-81F577D02CED}"/>
                </a:ext>
              </a:extLst>
            </p:cNvPr>
            <p:cNvSpPr/>
            <p:nvPr/>
          </p:nvSpPr>
          <p:spPr>
            <a:xfrm>
              <a:off x="5073332" y="5242714"/>
              <a:ext cx="58212" cy="4478"/>
            </a:xfrm>
            <a:custGeom>
              <a:avLst/>
              <a:gdLst>
                <a:gd name="connsiteX0" fmla="*/ 55973 w 58211"/>
                <a:gd name="connsiteY0" fmla="*/ 4478 h 4477"/>
                <a:gd name="connsiteX1" fmla="*/ 2239 w 58211"/>
                <a:gd name="connsiteY1" fmla="*/ 4478 h 4477"/>
                <a:gd name="connsiteX2" fmla="*/ 0 w 58211"/>
                <a:gd name="connsiteY2" fmla="*/ 2239 h 4477"/>
                <a:gd name="connsiteX3" fmla="*/ 2239 w 58211"/>
                <a:gd name="connsiteY3" fmla="*/ 0 h 4477"/>
                <a:gd name="connsiteX4" fmla="*/ 55973 w 58211"/>
                <a:gd name="connsiteY4" fmla="*/ 0 h 4477"/>
                <a:gd name="connsiteX5" fmla="*/ 58212 w 58211"/>
                <a:gd name="connsiteY5" fmla="*/ 2239 h 4477"/>
                <a:gd name="connsiteX6" fmla="*/ 55973 w 582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11" h="4477">
                  <a:moveTo>
                    <a:pt x="55973" y="4478"/>
                  </a:moveTo>
                  <a:lnTo>
                    <a:pt x="2239" y="4478"/>
                  </a:lnTo>
                  <a:cubicBezTo>
                    <a:pt x="896" y="4478"/>
                    <a:pt x="0" y="3582"/>
                    <a:pt x="0" y="2239"/>
                  </a:cubicBezTo>
                  <a:cubicBezTo>
                    <a:pt x="0" y="896"/>
                    <a:pt x="896" y="0"/>
                    <a:pt x="2239" y="0"/>
                  </a:cubicBezTo>
                  <a:lnTo>
                    <a:pt x="55973" y="0"/>
                  </a:lnTo>
                  <a:cubicBezTo>
                    <a:pt x="57316" y="0"/>
                    <a:pt x="58212" y="896"/>
                    <a:pt x="58212" y="2239"/>
                  </a:cubicBezTo>
                  <a:cubicBezTo>
                    <a:pt x="58212" y="3582"/>
                    <a:pt x="56868" y="4478"/>
                    <a:pt x="55973" y="4478"/>
                  </a:cubicBezTo>
                  <a:close/>
                </a:path>
              </a:pathLst>
            </a:custGeom>
            <a:solidFill>
              <a:srgbClr val="231F20"/>
            </a:solidFill>
            <a:ln w="4474" cap="flat">
              <a:noFill/>
              <a:prstDash val="solid"/>
              <a:miter/>
            </a:ln>
          </p:spPr>
          <p:txBody>
            <a:bodyPr rtlCol="0" anchor="ctr"/>
            <a:lstStyle/>
            <a:p>
              <a:endParaRPr lang="en-US"/>
            </a:p>
          </p:txBody>
        </p:sp>
      </p:grpSp>
      <p:grpSp>
        <p:nvGrpSpPr>
          <p:cNvPr id="4756" name="Group 4755">
            <a:extLst>
              <a:ext uri="{FF2B5EF4-FFF2-40B4-BE49-F238E27FC236}">
                <a16:creationId xmlns:a16="http://schemas.microsoft.com/office/drawing/2014/main" id="{49851028-253A-447F-9719-41D9E6A8ECA8}"/>
              </a:ext>
              <a:ext uri="{C183D7F6-B498-43B3-948B-1728B52AA6E4}">
                <adec:decorative xmlns:adec="http://schemas.microsoft.com/office/drawing/2017/decorative" val="1"/>
              </a:ext>
            </a:extLst>
          </p:cNvPr>
          <p:cNvGrpSpPr>
            <a:grpSpLocks noChangeAspect="1"/>
          </p:cNvGrpSpPr>
          <p:nvPr/>
        </p:nvGrpSpPr>
        <p:grpSpPr>
          <a:xfrm>
            <a:off x="6632298" y="2118917"/>
            <a:ext cx="129409" cy="85527"/>
            <a:chOff x="851645" y="5578103"/>
            <a:chExt cx="129409" cy="85527"/>
          </a:xfrm>
        </p:grpSpPr>
        <p:sp>
          <p:nvSpPr>
            <p:cNvPr id="4757" name="Freeform: Shape 4756">
              <a:extLst>
                <a:ext uri="{FF2B5EF4-FFF2-40B4-BE49-F238E27FC236}">
                  <a16:creationId xmlns:a16="http://schemas.microsoft.com/office/drawing/2014/main" id="{37ECB341-301C-4B04-814C-73BC69D0BE0A}"/>
                </a:ext>
              </a:extLst>
            </p:cNvPr>
            <p:cNvSpPr/>
            <p:nvPr/>
          </p:nvSpPr>
          <p:spPr>
            <a:xfrm>
              <a:off x="904931" y="5632285"/>
              <a:ext cx="71645" cy="31345"/>
            </a:xfrm>
            <a:custGeom>
              <a:avLst/>
              <a:gdLst>
                <a:gd name="connsiteX0" fmla="*/ 57764 w 71645"/>
                <a:gd name="connsiteY0" fmla="*/ 32240 h 31344"/>
                <a:gd name="connsiteX1" fmla="*/ 46569 w 71645"/>
                <a:gd name="connsiteY1" fmla="*/ 21493 h 31344"/>
                <a:gd name="connsiteX2" fmla="*/ 48808 w 71645"/>
                <a:gd name="connsiteY2" fmla="*/ 15224 h 31344"/>
                <a:gd name="connsiteX3" fmla="*/ 55077 w 71645"/>
                <a:gd name="connsiteY3" fmla="*/ 12538 h 31344"/>
                <a:gd name="connsiteX4" fmla="*/ 62689 w 71645"/>
                <a:gd name="connsiteY4" fmla="*/ 19702 h 31344"/>
                <a:gd name="connsiteX5" fmla="*/ 60451 w 71645"/>
                <a:gd name="connsiteY5" fmla="*/ 21941 h 31344"/>
                <a:gd name="connsiteX6" fmla="*/ 58212 w 71645"/>
                <a:gd name="connsiteY6" fmla="*/ 19702 h 31344"/>
                <a:gd name="connsiteX7" fmla="*/ 55077 w 71645"/>
                <a:gd name="connsiteY7" fmla="*/ 17015 h 31344"/>
                <a:gd name="connsiteX8" fmla="*/ 51943 w 71645"/>
                <a:gd name="connsiteY8" fmla="*/ 18359 h 31344"/>
                <a:gd name="connsiteX9" fmla="*/ 50599 w 71645"/>
                <a:gd name="connsiteY9" fmla="*/ 21493 h 31344"/>
                <a:gd name="connsiteX10" fmla="*/ 57764 w 71645"/>
                <a:gd name="connsiteY10" fmla="*/ 28210 h 31344"/>
                <a:gd name="connsiteX11" fmla="*/ 64481 w 71645"/>
                <a:gd name="connsiteY11" fmla="*/ 25076 h 31344"/>
                <a:gd name="connsiteX12" fmla="*/ 67167 w 71645"/>
                <a:gd name="connsiteY12" fmla="*/ 17911 h 31344"/>
                <a:gd name="connsiteX13" fmla="*/ 52838 w 71645"/>
                <a:gd name="connsiteY13" fmla="*/ 4478 h 31344"/>
                <a:gd name="connsiteX14" fmla="*/ 52390 w 71645"/>
                <a:gd name="connsiteY14" fmla="*/ 4478 h 31344"/>
                <a:gd name="connsiteX15" fmla="*/ 2239 w 71645"/>
                <a:gd name="connsiteY15" fmla="*/ 4478 h 31344"/>
                <a:gd name="connsiteX16" fmla="*/ 0 w 71645"/>
                <a:gd name="connsiteY16" fmla="*/ 2239 h 31344"/>
                <a:gd name="connsiteX17" fmla="*/ 2239 w 71645"/>
                <a:gd name="connsiteY17" fmla="*/ 0 h 31344"/>
                <a:gd name="connsiteX18" fmla="*/ 52838 w 71645"/>
                <a:gd name="connsiteY18" fmla="*/ 0 h 31344"/>
                <a:gd name="connsiteX19" fmla="*/ 53734 w 71645"/>
                <a:gd name="connsiteY19" fmla="*/ 0 h 31344"/>
                <a:gd name="connsiteX20" fmla="*/ 72093 w 71645"/>
                <a:gd name="connsiteY20" fmla="*/ 17463 h 31344"/>
                <a:gd name="connsiteX21" fmla="*/ 68511 w 71645"/>
                <a:gd name="connsiteY21" fmla="*/ 27762 h 31344"/>
                <a:gd name="connsiteX22" fmla="*/ 58659 w 71645"/>
                <a:gd name="connsiteY22" fmla="*/ 32240 h 31344"/>
                <a:gd name="connsiteX23" fmla="*/ 57764 w 71645"/>
                <a:gd name="connsiteY23" fmla="*/ 32240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645" h="31344">
                  <a:moveTo>
                    <a:pt x="57764" y="32240"/>
                  </a:moveTo>
                  <a:cubicBezTo>
                    <a:pt x="51943" y="32240"/>
                    <a:pt x="46569" y="27315"/>
                    <a:pt x="46569" y="21493"/>
                  </a:cubicBezTo>
                  <a:cubicBezTo>
                    <a:pt x="46569" y="19254"/>
                    <a:pt x="47465" y="16568"/>
                    <a:pt x="48808" y="15224"/>
                  </a:cubicBezTo>
                  <a:cubicBezTo>
                    <a:pt x="50599" y="13433"/>
                    <a:pt x="52838" y="12538"/>
                    <a:pt x="55077" y="12538"/>
                  </a:cubicBezTo>
                  <a:cubicBezTo>
                    <a:pt x="59107" y="12538"/>
                    <a:pt x="62689" y="15672"/>
                    <a:pt x="62689" y="19702"/>
                  </a:cubicBezTo>
                  <a:cubicBezTo>
                    <a:pt x="62689" y="21046"/>
                    <a:pt x="61794" y="21941"/>
                    <a:pt x="60451" y="21941"/>
                  </a:cubicBezTo>
                  <a:cubicBezTo>
                    <a:pt x="59107" y="21941"/>
                    <a:pt x="58212" y="21046"/>
                    <a:pt x="58212" y="19702"/>
                  </a:cubicBezTo>
                  <a:cubicBezTo>
                    <a:pt x="58212" y="17911"/>
                    <a:pt x="56868" y="17015"/>
                    <a:pt x="55077" y="17015"/>
                  </a:cubicBezTo>
                  <a:cubicBezTo>
                    <a:pt x="53734" y="17015"/>
                    <a:pt x="52838" y="17463"/>
                    <a:pt x="51943" y="18359"/>
                  </a:cubicBezTo>
                  <a:cubicBezTo>
                    <a:pt x="51047" y="19254"/>
                    <a:pt x="50599" y="20598"/>
                    <a:pt x="50599" y="21493"/>
                  </a:cubicBezTo>
                  <a:cubicBezTo>
                    <a:pt x="50599" y="25076"/>
                    <a:pt x="53734" y="28210"/>
                    <a:pt x="57764" y="28210"/>
                  </a:cubicBezTo>
                  <a:cubicBezTo>
                    <a:pt x="60451" y="28210"/>
                    <a:pt x="62689" y="26867"/>
                    <a:pt x="64481" y="25076"/>
                  </a:cubicBezTo>
                  <a:cubicBezTo>
                    <a:pt x="66272" y="23284"/>
                    <a:pt x="67167" y="20598"/>
                    <a:pt x="67167" y="17911"/>
                  </a:cubicBezTo>
                  <a:cubicBezTo>
                    <a:pt x="66719" y="10299"/>
                    <a:pt x="60451" y="4478"/>
                    <a:pt x="52838" y="4478"/>
                  </a:cubicBezTo>
                  <a:cubicBezTo>
                    <a:pt x="52838" y="4478"/>
                    <a:pt x="52390" y="4478"/>
                    <a:pt x="52390" y="4478"/>
                  </a:cubicBezTo>
                  <a:lnTo>
                    <a:pt x="2239" y="4478"/>
                  </a:lnTo>
                  <a:cubicBezTo>
                    <a:pt x="896" y="4478"/>
                    <a:pt x="0" y="3582"/>
                    <a:pt x="0" y="2239"/>
                  </a:cubicBezTo>
                  <a:cubicBezTo>
                    <a:pt x="0" y="895"/>
                    <a:pt x="896" y="0"/>
                    <a:pt x="2239" y="0"/>
                  </a:cubicBezTo>
                  <a:lnTo>
                    <a:pt x="52838" y="0"/>
                  </a:lnTo>
                  <a:cubicBezTo>
                    <a:pt x="53286" y="0"/>
                    <a:pt x="53286" y="0"/>
                    <a:pt x="53734" y="0"/>
                  </a:cubicBezTo>
                  <a:cubicBezTo>
                    <a:pt x="63585" y="0"/>
                    <a:pt x="71645" y="7612"/>
                    <a:pt x="72093" y="17463"/>
                  </a:cubicBezTo>
                  <a:cubicBezTo>
                    <a:pt x="72093" y="21493"/>
                    <a:pt x="70750" y="25076"/>
                    <a:pt x="68511" y="27762"/>
                  </a:cubicBezTo>
                  <a:cubicBezTo>
                    <a:pt x="65824" y="30449"/>
                    <a:pt x="62242" y="32240"/>
                    <a:pt x="58659" y="32240"/>
                  </a:cubicBezTo>
                  <a:cubicBezTo>
                    <a:pt x="58212" y="32240"/>
                    <a:pt x="57764" y="32240"/>
                    <a:pt x="57764" y="32240"/>
                  </a:cubicBezTo>
                  <a:close/>
                </a:path>
              </a:pathLst>
            </a:custGeom>
            <a:solidFill>
              <a:srgbClr val="231F20"/>
            </a:solidFill>
            <a:ln w="4474" cap="flat">
              <a:noFill/>
              <a:prstDash val="solid"/>
              <a:miter/>
            </a:ln>
          </p:spPr>
          <p:txBody>
            <a:bodyPr rtlCol="0" anchor="ctr"/>
            <a:lstStyle/>
            <a:p>
              <a:endParaRPr lang="en-US"/>
            </a:p>
          </p:txBody>
        </p:sp>
        <p:sp>
          <p:nvSpPr>
            <p:cNvPr id="4758" name="Freeform: Shape 4757">
              <a:extLst>
                <a:ext uri="{FF2B5EF4-FFF2-40B4-BE49-F238E27FC236}">
                  <a16:creationId xmlns:a16="http://schemas.microsoft.com/office/drawing/2014/main" id="{834B9962-E57E-4339-93B0-D6853C25E451}"/>
                </a:ext>
              </a:extLst>
            </p:cNvPr>
            <p:cNvSpPr/>
            <p:nvPr/>
          </p:nvSpPr>
          <p:spPr>
            <a:xfrm>
              <a:off x="918365" y="5590193"/>
              <a:ext cx="62689" cy="31345"/>
            </a:xfrm>
            <a:custGeom>
              <a:avLst/>
              <a:gdLst>
                <a:gd name="connsiteX0" fmla="*/ 47017 w 62689"/>
                <a:gd name="connsiteY0" fmla="*/ 32688 h 31344"/>
                <a:gd name="connsiteX1" fmla="*/ 46122 w 62689"/>
                <a:gd name="connsiteY1" fmla="*/ 32688 h 31344"/>
                <a:gd name="connsiteX2" fmla="*/ 2239 w 62689"/>
                <a:gd name="connsiteY2" fmla="*/ 32688 h 31344"/>
                <a:gd name="connsiteX3" fmla="*/ 0 w 62689"/>
                <a:gd name="connsiteY3" fmla="*/ 30449 h 31344"/>
                <a:gd name="connsiteX4" fmla="*/ 2239 w 62689"/>
                <a:gd name="connsiteY4" fmla="*/ 28210 h 31344"/>
                <a:gd name="connsiteX5" fmla="*/ 46122 w 62689"/>
                <a:gd name="connsiteY5" fmla="*/ 28210 h 31344"/>
                <a:gd name="connsiteX6" fmla="*/ 46569 w 62689"/>
                <a:gd name="connsiteY6" fmla="*/ 28210 h 31344"/>
                <a:gd name="connsiteX7" fmla="*/ 56421 w 62689"/>
                <a:gd name="connsiteY7" fmla="*/ 24628 h 31344"/>
                <a:gd name="connsiteX8" fmla="*/ 60898 w 62689"/>
                <a:gd name="connsiteY8" fmla="*/ 14776 h 31344"/>
                <a:gd name="connsiteX9" fmla="*/ 51495 w 62689"/>
                <a:gd name="connsiteY9" fmla="*/ 4478 h 31344"/>
                <a:gd name="connsiteX10" fmla="*/ 49256 w 62689"/>
                <a:gd name="connsiteY10" fmla="*/ 2239 h 31344"/>
                <a:gd name="connsiteX11" fmla="*/ 51495 w 62689"/>
                <a:gd name="connsiteY11" fmla="*/ 0 h 31344"/>
                <a:gd name="connsiteX12" fmla="*/ 65376 w 62689"/>
                <a:gd name="connsiteY12" fmla="*/ 14776 h 31344"/>
                <a:gd name="connsiteX13" fmla="*/ 59555 w 62689"/>
                <a:gd name="connsiteY13" fmla="*/ 27315 h 31344"/>
                <a:gd name="connsiteX14" fmla="*/ 47017 w 62689"/>
                <a:gd name="connsiteY14" fmla="*/ 32688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89" h="31344">
                  <a:moveTo>
                    <a:pt x="47017" y="32688"/>
                  </a:moveTo>
                  <a:cubicBezTo>
                    <a:pt x="46569" y="32688"/>
                    <a:pt x="46569" y="32688"/>
                    <a:pt x="46122" y="32688"/>
                  </a:cubicBezTo>
                  <a:lnTo>
                    <a:pt x="2239" y="32688"/>
                  </a:lnTo>
                  <a:cubicBezTo>
                    <a:pt x="896" y="32688"/>
                    <a:pt x="0" y="31792"/>
                    <a:pt x="0" y="30449"/>
                  </a:cubicBezTo>
                  <a:cubicBezTo>
                    <a:pt x="0" y="29106"/>
                    <a:pt x="896" y="28210"/>
                    <a:pt x="2239" y="28210"/>
                  </a:cubicBezTo>
                  <a:lnTo>
                    <a:pt x="46122" y="28210"/>
                  </a:lnTo>
                  <a:cubicBezTo>
                    <a:pt x="46122" y="28210"/>
                    <a:pt x="46569" y="28210"/>
                    <a:pt x="46569" y="28210"/>
                  </a:cubicBezTo>
                  <a:cubicBezTo>
                    <a:pt x="50152" y="28210"/>
                    <a:pt x="53734" y="26867"/>
                    <a:pt x="56421" y="24628"/>
                  </a:cubicBezTo>
                  <a:cubicBezTo>
                    <a:pt x="59107" y="21941"/>
                    <a:pt x="60898" y="18807"/>
                    <a:pt x="60898" y="14776"/>
                  </a:cubicBezTo>
                  <a:cubicBezTo>
                    <a:pt x="60898" y="9403"/>
                    <a:pt x="56868" y="4925"/>
                    <a:pt x="51495" y="4478"/>
                  </a:cubicBezTo>
                  <a:cubicBezTo>
                    <a:pt x="50152" y="4478"/>
                    <a:pt x="49256" y="3582"/>
                    <a:pt x="49256" y="2239"/>
                  </a:cubicBezTo>
                  <a:cubicBezTo>
                    <a:pt x="49256" y="895"/>
                    <a:pt x="50152" y="0"/>
                    <a:pt x="51495" y="0"/>
                  </a:cubicBezTo>
                  <a:cubicBezTo>
                    <a:pt x="59555" y="448"/>
                    <a:pt x="65376" y="7164"/>
                    <a:pt x="65376" y="14776"/>
                  </a:cubicBezTo>
                  <a:cubicBezTo>
                    <a:pt x="65376" y="19703"/>
                    <a:pt x="63137" y="24180"/>
                    <a:pt x="59555" y="27315"/>
                  </a:cubicBezTo>
                  <a:cubicBezTo>
                    <a:pt x="55973" y="30897"/>
                    <a:pt x="51495" y="32688"/>
                    <a:pt x="47017" y="32688"/>
                  </a:cubicBezTo>
                  <a:close/>
                </a:path>
              </a:pathLst>
            </a:custGeom>
            <a:solidFill>
              <a:srgbClr val="231F20"/>
            </a:solidFill>
            <a:ln w="4474" cap="flat">
              <a:noFill/>
              <a:prstDash val="solid"/>
              <a:miter/>
            </a:ln>
          </p:spPr>
          <p:txBody>
            <a:bodyPr rtlCol="0" anchor="ctr"/>
            <a:lstStyle/>
            <a:p>
              <a:endParaRPr lang="en-US"/>
            </a:p>
          </p:txBody>
        </p:sp>
        <p:sp>
          <p:nvSpPr>
            <p:cNvPr id="4759" name="Freeform: Shape 4758">
              <a:extLst>
                <a:ext uri="{FF2B5EF4-FFF2-40B4-BE49-F238E27FC236}">
                  <a16:creationId xmlns:a16="http://schemas.microsoft.com/office/drawing/2014/main" id="{3DDE9362-EAD1-44AC-ABD7-1DE19C41FB5F}"/>
                </a:ext>
              </a:extLst>
            </p:cNvPr>
            <p:cNvSpPr/>
            <p:nvPr/>
          </p:nvSpPr>
          <p:spPr>
            <a:xfrm>
              <a:off x="851645" y="5578103"/>
              <a:ext cx="98512" cy="71645"/>
            </a:xfrm>
            <a:custGeom>
              <a:avLst/>
              <a:gdLst>
                <a:gd name="connsiteX0" fmla="*/ 89109 w 98511"/>
                <a:gd name="connsiteY0" fmla="*/ 71645 h 71645"/>
                <a:gd name="connsiteX1" fmla="*/ 21494 w 98511"/>
                <a:gd name="connsiteY1" fmla="*/ 71645 h 71645"/>
                <a:gd name="connsiteX2" fmla="*/ 0 w 98511"/>
                <a:gd name="connsiteY2" fmla="*/ 50152 h 71645"/>
                <a:gd name="connsiteX3" fmla="*/ 14777 w 98511"/>
                <a:gd name="connsiteY3" fmla="*/ 30002 h 71645"/>
                <a:gd name="connsiteX4" fmla="*/ 46122 w 98511"/>
                <a:gd name="connsiteY4" fmla="*/ 0 h 71645"/>
                <a:gd name="connsiteX5" fmla="*/ 75227 w 98511"/>
                <a:gd name="connsiteY5" fmla="*/ 19255 h 71645"/>
                <a:gd name="connsiteX6" fmla="*/ 98512 w 98511"/>
                <a:gd name="connsiteY6" fmla="*/ 32688 h 71645"/>
                <a:gd name="connsiteX7" fmla="*/ 97616 w 98511"/>
                <a:gd name="connsiteY7" fmla="*/ 35823 h 71645"/>
                <a:gd name="connsiteX8" fmla="*/ 94482 w 98511"/>
                <a:gd name="connsiteY8" fmla="*/ 34927 h 71645"/>
                <a:gd name="connsiteX9" fmla="*/ 75227 w 98511"/>
                <a:gd name="connsiteY9" fmla="*/ 23733 h 71645"/>
                <a:gd name="connsiteX10" fmla="*/ 73884 w 98511"/>
                <a:gd name="connsiteY10" fmla="*/ 23733 h 71645"/>
                <a:gd name="connsiteX11" fmla="*/ 71645 w 98511"/>
                <a:gd name="connsiteY11" fmla="*/ 22389 h 71645"/>
                <a:gd name="connsiteX12" fmla="*/ 46122 w 98511"/>
                <a:gd name="connsiteY12" fmla="*/ 4478 h 71645"/>
                <a:gd name="connsiteX13" fmla="*/ 19255 w 98511"/>
                <a:gd name="connsiteY13" fmla="*/ 30897 h 71645"/>
                <a:gd name="connsiteX14" fmla="*/ 19255 w 98511"/>
                <a:gd name="connsiteY14" fmla="*/ 31345 h 71645"/>
                <a:gd name="connsiteX15" fmla="*/ 17463 w 98511"/>
                <a:gd name="connsiteY15" fmla="*/ 33584 h 71645"/>
                <a:gd name="connsiteX16" fmla="*/ 4478 w 98511"/>
                <a:gd name="connsiteY16" fmla="*/ 50152 h 71645"/>
                <a:gd name="connsiteX17" fmla="*/ 21494 w 98511"/>
                <a:gd name="connsiteY17" fmla="*/ 67167 h 71645"/>
                <a:gd name="connsiteX18" fmla="*/ 89556 w 98511"/>
                <a:gd name="connsiteY18" fmla="*/ 67167 h 71645"/>
                <a:gd name="connsiteX19" fmla="*/ 91795 w 98511"/>
                <a:gd name="connsiteY19" fmla="*/ 69406 h 71645"/>
                <a:gd name="connsiteX20" fmla="*/ 89109 w 98511"/>
                <a:gd name="connsiteY20" fmla="*/ 71645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511" h="71645">
                  <a:moveTo>
                    <a:pt x="89109" y="71645"/>
                  </a:moveTo>
                  <a:lnTo>
                    <a:pt x="21494" y="71645"/>
                  </a:lnTo>
                  <a:cubicBezTo>
                    <a:pt x="9403" y="71645"/>
                    <a:pt x="0" y="62242"/>
                    <a:pt x="0" y="50152"/>
                  </a:cubicBezTo>
                  <a:cubicBezTo>
                    <a:pt x="0" y="40749"/>
                    <a:pt x="5821" y="32688"/>
                    <a:pt x="14777" y="30002"/>
                  </a:cubicBezTo>
                  <a:cubicBezTo>
                    <a:pt x="15225" y="13433"/>
                    <a:pt x="29106" y="0"/>
                    <a:pt x="46122" y="0"/>
                  </a:cubicBezTo>
                  <a:cubicBezTo>
                    <a:pt x="59107" y="0"/>
                    <a:pt x="70302" y="7613"/>
                    <a:pt x="75227" y="19255"/>
                  </a:cubicBezTo>
                  <a:cubicBezTo>
                    <a:pt x="85079" y="19255"/>
                    <a:pt x="93586" y="24180"/>
                    <a:pt x="98512" y="32688"/>
                  </a:cubicBezTo>
                  <a:cubicBezTo>
                    <a:pt x="98960" y="33584"/>
                    <a:pt x="98960" y="34927"/>
                    <a:pt x="97616" y="35823"/>
                  </a:cubicBezTo>
                  <a:cubicBezTo>
                    <a:pt x="96721" y="36271"/>
                    <a:pt x="95378" y="36271"/>
                    <a:pt x="94482" y="34927"/>
                  </a:cubicBezTo>
                  <a:cubicBezTo>
                    <a:pt x="90452" y="28210"/>
                    <a:pt x="83287" y="23733"/>
                    <a:pt x="75227" y="23733"/>
                  </a:cubicBezTo>
                  <a:cubicBezTo>
                    <a:pt x="74780" y="23733"/>
                    <a:pt x="74332" y="23733"/>
                    <a:pt x="73884" y="23733"/>
                  </a:cubicBezTo>
                  <a:cubicBezTo>
                    <a:pt x="72988" y="23733"/>
                    <a:pt x="71645" y="23285"/>
                    <a:pt x="71645" y="22389"/>
                  </a:cubicBezTo>
                  <a:cubicBezTo>
                    <a:pt x="68063" y="11643"/>
                    <a:pt x="57764" y="4478"/>
                    <a:pt x="46122" y="4478"/>
                  </a:cubicBezTo>
                  <a:cubicBezTo>
                    <a:pt x="31345" y="4478"/>
                    <a:pt x="19255" y="16568"/>
                    <a:pt x="19255" y="30897"/>
                  </a:cubicBezTo>
                  <a:lnTo>
                    <a:pt x="19255" y="31345"/>
                  </a:lnTo>
                  <a:cubicBezTo>
                    <a:pt x="19255" y="32241"/>
                    <a:pt x="18359" y="33136"/>
                    <a:pt x="17463" y="33584"/>
                  </a:cubicBezTo>
                  <a:cubicBezTo>
                    <a:pt x="9851" y="35375"/>
                    <a:pt x="4478" y="42092"/>
                    <a:pt x="4478" y="50152"/>
                  </a:cubicBezTo>
                  <a:cubicBezTo>
                    <a:pt x="4478" y="59555"/>
                    <a:pt x="12090" y="67167"/>
                    <a:pt x="21494" y="67167"/>
                  </a:cubicBezTo>
                  <a:lnTo>
                    <a:pt x="89556" y="67167"/>
                  </a:lnTo>
                  <a:cubicBezTo>
                    <a:pt x="90900" y="67167"/>
                    <a:pt x="91795" y="68063"/>
                    <a:pt x="91795" y="69406"/>
                  </a:cubicBezTo>
                  <a:cubicBezTo>
                    <a:pt x="91795" y="70750"/>
                    <a:pt x="90452" y="71645"/>
                    <a:pt x="89109" y="71645"/>
                  </a:cubicBezTo>
                  <a:close/>
                </a:path>
              </a:pathLst>
            </a:custGeom>
            <a:solidFill>
              <a:srgbClr val="231F20"/>
            </a:solidFill>
            <a:ln w="4474" cap="flat">
              <a:noFill/>
              <a:prstDash val="solid"/>
              <a:miter/>
            </a:ln>
          </p:spPr>
          <p:txBody>
            <a:bodyPr rtlCol="0" anchor="ctr"/>
            <a:lstStyle/>
            <a:p>
              <a:endParaRPr lang="en-US"/>
            </a:p>
          </p:txBody>
        </p:sp>
      </p:grpSp>
      <p:grpSp>
        <p:nvGrpSpPr>
          <p:cNvPr id="4760" name="Group 4759">
            <a:extLst>
              <a:ext uri="{FF2B5EF4-FFF2-40B4-BE49-F238E27FC236}">
                <a16:creationId xmlns:a16="http://schemas.microsoft.com/office/drawing/2014/main" id="{749BE9F1-0327-4236-BA55-D4136488C5E1}"/>
              </a:ext>
              <a:ext uri="{C183D7F6-B498-43B3-948B-1728B52AA6E4}">
                <adec:decorative xmlns:adec="http://schemas.microsoft.com/office/drawing/2017/decorative" val="1"/>
              </a:ext>
            </a:extLst>
          </p:cNvPr>
          <p:cNvGrpSpPr>
            <a:grpSpLocks noChangeAspect="1"/>
          </p:cNvGrpSpPr>
          <p:nvPr/>
        </p:nvGrpSpPr>
        <p:grpSpPr>
          <a:xfrm>
            <a:off x="11093996" y="1743676"/>
            <a:ext cx="138812" cy="131648"/>
            <a:chOff x="5313343" y="5202862"/>
            <a:chExt cx="138812" cy="131648"/>
          </a:xfrm>
        </p:grpSpPr>
        <p:sp>
          <p:nvSpPr>
            <p:cNvPr id="4761" name="Freeform: Shape 4760">
              <a:extLst>
                <a:ext uri="{FF2B5EF4-FFF2-40B4-BE49-F238E27FC236}">
                  <a16:creationId xmlns:a16="http://schemas.microsoft.com/office/drawing/2014/main" id="{5D4D2B9F-C1CF-4B9B-B011-79BDDF4A08BA}"/>
                </a:ext>
              </a:extLst>
            </p:cNvPr>
            <p:cNvSpPr/>
            <p:nvPr/>
          </p:nvSpPr>
          <p:spPr>
            <a:xfrm>
              <a:off x="5313343" y="5202862"/>
              <a:ext cx="138812" cy="98512"/>
            </a:xfrm>
            <a:custGeom>
              <a:avLst/>
              <a:gdLst>
                <a:gd name="connsiteX0" fmla="*/ 107020 w 138812"/>
                <a:gd name="connsiteY0" fmla="*/ 98064 h 98511"/>
                <a:gd name="connsiteX1" fmla="*/ 104781 w 138812"/>
                <a:gd name="connsiteY1" fmla="*/ 95825 h 98511"/>
                <a:gd name="connsiteX2" fmla="*/ 107020 w 138812"/>
                <a:gd name="connsiteY2" fmla="*/ 93586 h 98511"/>
                <a:gd name="connsiteX3" fmla="*/ 113737 w 138812"/>
                <a:gd name="connsiteY3" fmla="*/ 93586 h 98511"/>
                <a:gd name="connsiteX4" fmla="*/ 127170 w 138812"/>
                <a:gd name="connsiteY4" fmla="*/ 87317 h 98511"/>
                <a:gd name="connsiteX5" fmla="*/ 134335 w 138812"/>
                <a:gd name="connsiteY5" fmla="*/ 62689 h 98511"/>
                <a:gd name="connsiteX6" fmla="*/ 102990 w 138812"/>
                <a:gd name="connsiteY6" fmla="*/ 31345 h 98511"/>
                <a:gd name="connsiteX7" fmla="*/ 100751 w 138812"/>
                <a:gd name="connsiteY7" fmla="*/ 31345 h 98511"/>
                <a:gd name="connsiteX8" fmla="*/ 98512 w 138812"/>
                <a:gd name="connsiteY8" fmla="*/ 30001 h 98511"/>
                <a:gd name="connsiteX9" fmla="*/ 62689 w 138812"/>
                <a:gd name="connsiteY9" fmla="*/ 4478 h 98511"/>
                <a:gd name="connsiteX10" fmla="*/ 24628 w 138812"/>
                <a:gd name="connsiteY10" fmla="*/ 42539 h 98511"/>
                <a:gd name="connsiteX11" fmla="*/ 24628 w 138812"/>
                <a:gd name="connsiteY11" fmla="*/ 43435 h 98511"/>
                <a:gd name="connsiteX12" fmla="*/ 22837 w 138812"/>
                <a:gd name="connsiteY12" fmla="*/ 45674 h 98511"/>
                <a:gd name="connsiteX13" fmla="*/ 4478 w 138812"/>
                <a:gd name="connsiteY13" fmla="*/ 69406 h 98511"/>
                <a:gd name="connsiteX14" fmla="*/ 12538 w 138812"/>
                <a:gd name="connsiteY14" fmla="*/ 86869 h 98511"/>
                <a:gd name="connsiteX15" fmla="*/ 31345 w 138812"/>
                <a:gd name="connsiteY15" fmla="*/ 94034 h 98511"/>
                <a:gd name="connsiteX16" fmla="*/ 33584 w 138812"/>
                <a:gd name="connsiteY16" fmla="*/ 96273 h 98511"/>
                <a:gd name="connsiteX17" fmla="*/ 31345 w 138812"/>
                <a:gd name="connsiteY17" fmla="*/ 98512 h 98511"/>
                <a:gd name="connsiteX18" fmla="*/ 9404 w 138812"/>
                <a:gd name="connsiteY18" fmla="*/ 90004 h 98511"/>
                <a:gd name="connsiteX19" fmla="*/ 0 w 138812"/>
                <a:gd name="connsiteY19" fmla="*/ 69406 h 98511"/>
                <a:gd name="connsiteX20" fmla="*/ 20150 w 138812"/>
                <a:gd name="connsiteY20" fmla="*/ 41644 h 98511"/>
                <a:gd name="connsiteX21" fmla="*/ 62689 w 138812"/>
                <a:gd name="connsiteY21" fmla="*/ 0 h 98511"/>
                <a:gd name="connsiteX22" fmla="*/ 102094 w 138812"/>
                <a:gd name="connsiteY22" fmla="*/ 26867 h 98511"/>
                <a:gd name="connsiteX23" fmla="*/ 138812 w 138812"/>
                <a:gd name="connsiteY23" fmla="*/ 62689 h 98511"/>
                <a:gd name="connsiteX24" fmla="*/ 130305 w 138812"/>
                <a:gd name="connsiteY24" fmla="*/ 90452 h 98511"/>
                <a:gd name="connsiteX25" fmla="*/ 113737 w 138812"/>
                <a:gd name="connsiteY25" fmla="*/ 98512 h 98511"/>
                <a:gd name="connsiteX26" fmla="*/ 107020 w 138812"/>
                <a:gd name="connsiteY26" fmla="*/ 9806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8812" h="98511">
                  <a:moveTo>
                    <a:pt x="107020" y="98064"/>
                  </a:moveTo>
                  <a:cubicBezTo>
                    <a:pt x="105677" y="98064"/>
                    <a:pt x="104781" y="97168"/>
                    <a:pt x="104781" y="95825"/>
                  </a:cubicBezTo>
                  <a:cubicBezTo>
                    <a:pt x="104781" y="94482"/>
                    <a:pt x="105677" y="93586"/>
                    <a:pt x="107020" y="93586"/>
                  </a:cubicBezTo>
                  <a:cubicBezTo>
                    <a:pt x="107468" y="93586"/>
                    <a:pt x="112841" y="93586"/>
                    <a:pt x="113737" y="93586"/>
                  </a:cubicBezTo>
                  <a:cubicBezTo>
                    <a:pt x="119110" y="93139"/>
                    <a:pt x="123588" y="90900"/>
                    <a:pt x="127170" y="87317"/>
                  </a:cubicBezTo>
                  <a:cubicBezTo>
                    <a:pt x="133439" y="80153"/>
                    <a:pt x="134783" y="69854"/>
                    <a:pt x="134335" y="62689"/>
                  </a:cubicBezTo>
                  <a:cubicBezTo>
                    <a:pt x="132992" y="44778"/>
                    <a:pt x="119558" y="31345"/>
                    <a:pt x="102990" y="31345"/>
                  </a:cubicBezTo>
                  <a:cubicBezTo>
                    <a:pt x="102094" y="31345"/>
                    <a:pt x="101647" y="31345"/>
                    <a:pt x="100751" y="31345"/>
                  </a:cubicBezTo>
                  <a:cubicBezTo>
                    <a:pt x="99856" y="31345"/>
                    <a:pt x="98512" y="30897"/>
                    <a:pt x="98512" y="30001"/>
                  </a:cubicBezTo>
                  <a:cubicBezTo>
                    <a:pt x="93139" y="14777"/>
                    <a:pt x="78810" y="4478"/>
                    <a:pt x="62689" y="4478"/>
                  </a:cubicBezTo>
                  <a:cubicBezTo>
                    <a:pt x="41644" y="4478"/>
                    <a:pt x="24628" y="21493"/>
                    <a:pt x="24628" y="42539"/>
                  </a:cubicBezTo>
                  <a:lnTo>
                    <a:pt x="24628" y="43435"/>
                  </a:lnTo>
                  <a:cubicBezTo>
                    <a:pt x="24628" y="44330"/>
                    <a:pt x="23733" y="45226"/>
                    <a:pt x="22837" y="45674"/>
                  </a:cubicBezTo>
                  <a:cubicBezTo>
                    <a:pt x="12090" y="48360"/>
                    <a:pt x="4478" y="58212"/>
                    <a:pt x="4478" y="69406"/>
                  </a:cubicBezTo>
                  <a:cubicBezTo>
                    <a:pt x="4478" y="76123"/>
                    <a:pt x="7165" y="81944"/>
                    <a:pt x="12538" y="86869"/>
                  </a:cubicBezTo>
                  <a:cubicBezTo>
                    <a:pt x="17464" y="91347"/>
                    <a:pt x="24180" y="94034"/>
                    <a:pt x="31345" y="94034"/>
                  </a:cubicBezTo>
                  <a:cubicBezTo>
                    <a:pt x="32688" y="94034"/>
                    <a:pt x="33584" y="94930"/>
                    <a:pt x="33584" y="96273"/>
                  </a:cubicBezTo>
                  <a:cubicBezTo>
                    <a:pt x="33584" y="97616"/>
                    <a:pt x="32688" y="98512"/>
                    <a:pt x="31345" y="98512"/>
                  </a:cubicBezTo>
                  <a:cubicBezTo>
                    <a:pt x="23285" y="98512"/>
                    <a:pt x="15225" y="95377"/>
                    <a:pt x="9404" y="90004"/>
                  </a:cubicBezTo>
                  <a:cubicBezTo>
                    <a:pt x="3135" y="84631"/>
                    <a:pt x="0" y="77018"/>
                    <a:pt x="0" y="69406"/>
                  </a:cubicBezTo>
                  <a:cubicBezTo>
                    <a:pt x="0" y="56868"/>
                    <a:pt x="8060" y="45674"/>
                    <a:pt x="20150" y="41644"/>
                  </a:cubicBezTo>
                  <a:cubicBezTo>
                    <a:pt x="20598" y="18359"/>
                    <a:pt x="39405" y="0"/>
                    <a:pt x="62689" y="0"/>
                  </a:cubicBezTo>
                  <a:cubicBezTo>
                    <a:pt x="80153" y="0"/>
                    <a:pt x="95825" y="10747"/>
                    <a:pt x="102094" y="26867"/>
                  </a:cubicBezTo>
                  <a:cubicBezTo>
                    <a:pt x="121349" y="26419"/>
                    <a:pt x="137022" y="42091"/>
                    <a:pt x="138812" y="62689"/>
                  </a:cubicBezTo>
                  <a:cubicBezTo>
                    <a:pt x="139261" y="70749"/>
                    <a:pt x="137469" y="82840"/>
                    <a:pt x="130305" y="90452"/>
                  </a:cubicBezTo>
                  <a:cubicBezTo>
                    <a:pt x="125827" y="95377"/>
                    <a:pt x="120453" y="98064"/>
                    <a:pt x="113737" y="98512"/>
                  </a:cubicBezTo>
                  <a:cubicBezTo>
                    <a:pt x="113289" y="98064"/>
                    <a:pt x="107916" y="98064"/>
                    <a:pt x="107020" y="98064"/>
                  </a:cubicBezTo>
                  <a:close/>
                </a:path>
              </a:pathLst>
            </a:custGeom>
            <a:solidFill>
              <a:srgbClr val="231F20"/>
            </a:solidFill>
            <a:ln w="4474" cap="flat">
              <a:noFill/>
              <a:prstDash val="solid"/>
              <a:miter/>
            </a:ln>
          </p:spPr>
          <p:txBody>
            <a:bodyPr rtlCol="0" anchor="ctr"/>
            <a:lstStyle/>
            <a:p>
              <a:endParaRPr lang="en-US"/>
            </a:p>
          </p:txBody>
        </p:sp>
        <p:sp>
          <p:nvSpPr>
            <p:cNvPr id="4762" name="Freeform: Shape 4761">
              <a:extLst>
                <a:ext uri="{FF2B5EF4-FFF2-40B4-BE49-F238E27FC236}">
                  <a16:creationId xmlns:a16="http://schemas.microsoft.com/office/drawing/2014/main" id="{C6469C45-0286-48FD-91E7-3731883FF99D}"/>
                </a:ext>
              </a:extLst>
            </p:cNvPr>
            <p:cNvSpPr/>
            <p:nvPr/>
          </p:nvSpPr>
          <p:spPr>
            <a:xfrm>
              <a:off x="5360360" y="5276298"/>
              <a:ext cx="4478" cy="58212"/>
            </a:xfrm>
            <a:custGeom>
              <a:avLst/>
              <a:gdLst>
                <a:gd name="connsiteX0" fmla="*/ 0 w 4477"/>
                <a:gd name="connsiteY0" fmla="*/ 55973 h 58211"/>
                <a:gd name="connsiteX1" fmla="*/ 2687 w 4477"/>
                <a:gd name="connsiteY1" fmla="*/ 53286 h 58211"/>
                <a:gd name="connsiteX2" fmla="*/ 2687 w 4477"/>
                <a:gd name="connsiteY2" fmla="*/ 53286 h 58211"/>
                <a:gd name="connsiteX3" fmla="*/ 5374 w 4477"/>
                <a:gd name="connsiteY3" fmla="*/ 55973 h 58211"/>
                <a:gd name="connsiteX4" fmla="*/ 5374 w 4477"/>
                <a:gd name="connsiteY4" fmla="*/ 55973 h 58211"/>
                <a:gd name="connsiteX5" fmla="*/ 2687 w 4477"/>
                <a:gd name="connsiteY5" fmla="*/ 58660 h 58211"/>
                <a:gd name="connsiteX6" fmla="*/ 2687 w 4477"/>
                <a:gd name="connsiteY6" fmla="*/ 58660 h 58211"/>
                <a:gd name="connsiteX7" fmla="*/ 0 w 4477"/>
                <a:gd name="connsiteY7" fmla="*/ 55973 h 58211"/>
                <a:gd name="connsiteX8" fmla="*/ 0 w 4477"/>
                <a:gd name="connsiteY8" fmla="*/ 42539 h 58211"/>
                <a:gd name="connsiteX9" fmla="*/ 2687 w 4477"/>
                <a:gd name="connsiteY9" fmla="*/ 39853 h 58211"/>
                <a:gd name="connsiteX10" fmla="*/ 2687 w 4477"/>
                <a:gd name="connsiteY10" fmla="*/ 39853 h 58211"/>
                <a:gd name="connsiteX11" fmla="*/ 5374 w 4477"/>
                <a:gd name="connsiteY11" fmla="*/ 42539 h 58211"/>
                <a:gd name="connsiteX12" fmla="*/ 5374 w 4477"/>
                <a:gd name="connsiteY12" fmla="*/ 42539 h 58211"/>
                <a:gd name="connsiteX13" fmla="*/ 2687 w 4477"/>
                <a:gd name="connsiteY13" fmla="*/ 45226 h 58211"/>
                <a:gd name="connsiteX14" fmla="*/ 2687 w 4477"/>
                <a:gd name="connsiteY14" fmla="*/ 45226 h 58211"/>
                <a:gd name="connsiteX15" fmla="*/ 0 w 4477"/>
                <a:gd name="connsiteY15" fmla="*/ 42539 h 58211"/>
                <a:gd name="connsiteX16" fmla="*/ 0 w 4477"/>
                <a:gd name="connsiteY16" fmla="*/ 29106 h 58211"/>
                <a:gd name="connsiteX17" fmla="*/ 2687 w 4477"/>
                <a:gd name="connsiteY17" fmla="*/ 26419 h 58211"/>
                <a:gd name="connsiteX18" fmla="*/ 2687 w 4477"/>
                <a:gd name="connsiteY18" fmla="*/ 26419 h 58211"/>
                <a:gd name="connsiteX19" fmla="*/ 5374 w 4477"/>
                <a:gd name="connsiteY19" fmla="*/ 29106 h 58211"/>
                <a:gd name="connsiteX20" fmla="*/ 5374 w 4477"/>
                <a:gd name="connsiteY20" fmla="*/ 29106 h 58211"/>
                <a:gd name="connsiteX21" fmla="*/ 2687 w 4477"/>
                <a:gd name="connsiteY21" fmla="*/ 31793 h 58211"/>
                <a:gd name="connsiteX22" fmla="*/ 2687 w 4477"/>
                <a:gd name="connsiteY22" fmla="*/ 31793 h 58211"/>
                <a:gd name="connsiteX23" fmla="*/ 0 w 4477"/>
                <a:gd name="connsiteY23" fmla="*/ 29106 h 58211"/>
                <a:gd name="connsiteX24" fmla="*/ 0 w 4477"/>
                <a:gd name="connsiteY24" fmla="*/ 15672 h 58211"/>
                <a:gd name="connsiteX25" fmla="*/ 2687 w 4477"/>
                <a:gd name="connsiteY25" fmla="*/ 12986 h 58211"/>
                <a:gd name="connsiteX26" fmla="*/ 2687 w 4477"/>
                <a:gd name="connsiteY26" fmla="*/ 12986 h 58211"/>
                <a:gd name="connsiteX27" fmla="*/ 5374 w 4477"/>
                <a:gd name="connsiteY27" fmla="*/ 15672 h 58211"/>
                <a:gd name="connsiteX28" fmla="*/ 5374 w 4477"/>
                <a:gd name="connsiteY28" fmla="*/ 15672 h 58211"/>
                <a:gd name="connsiteX29" fmla="*/ 2687 w 4477"/>
                <a:gd name="connsiteY29" fmla="*/ 18359 h 58211"/>
                <a:gd name="connsiteX30" fmla="*/ 2687 w 4477"/>
                <a:gd name="connsiteY30" fmla="*/ 18359 h 58211"/>
                <a:gd name="connsiteX31" fmla="*/ 0 w 4477"/>
                <a:gd name="connsiteY31" fmla="*/ 15672 h 58211"/>
                <a:gd name="connsiteX32" fmla="*/ 0 w 4477"/>
                <a:gd name="connsiteY32" fmla="*/ 2687 h 58211"/>
                <a:gd name="connsiteX33" fmla="*/ 2687 w 4477"/>
                <a:gd name="connsiteY33" fmla="*/ 0 h 58211"/>
                <a:gd name="connsiteX34" fmla="*/ 2687 w 4477"/>
                <a:gd name="connsiteY34" fmla="*/ 0 h 58211"/>
                <a:gd name="connsiteX35" fmla="*/ 5374 w 4477"/>
                <a:gd name="connsiteY35" fmla="*/ 2687 h 58211"/>
                <a:gd name="connsiteX36" fmla="*/ 5374 w 4477"/>
                <a:gd name="connsiteY36" fmla="*/ 2687 h 58211"/>
                <a:gd name="connsiteX37" fmla="*/ 2687 w 4477"/>
                <a:gd name="connsiteY37" fmla="*/ 5373 h 58211"/>
                <a:gd name="connsiteX38" fmla="*/ 2687 w 4477"/>
                <a:gd name="connsiteY38" fmla="*/ 5373 h 58211"/>
                <a:gd name="connsiteX39" fmla="*/ 0 w 4477"/>
                <a:gd name="connsiteY39" fmla="*/ 268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477" h="58211">
                  <a:moveTo>
                    <a:pt x="0" y="55973"/>
                  </a:moveTo>
                  <a:cubicBezTo>
                    <a:pt x="0" y="54629"/>
                    <a:pt x="1344" y="53286"/>
                    <a:pt x="2687" y="53286"/>
                  </a:cubicBezTo>
                  <a:lnTo>
                    <a:pt x="2687" y="53286"/>
                  </a:lnTo>
                  <a:cubicBezTo>
                    <a:pt x="4030" y="53286"/>
                    <a:pt x="5374" y="54629"/>
                    <a:pt x="5374" y="55973"/>
                  </a:cubicBezTo>
                  <a:lnTo>
                    <a:pt x="5374" y="55973"/>
                  </a:lnTo>
                  <a:cubicBezTo>
                    <a:pt x="5374" y="57316"/>
                    <a:pt x="4030" y="58660"/>
                    <a:pt x="2687" y="58660"/>
                  </a:cubicBezTo>
                  <a:lnTo>
                    <a:pt x="2687" y="58660"/>
                  </a:lnTo>
                  <a:cubicBezTo>
                    <a:pt x="896" y="58660"/>
                    <a:pt x="0" y="57764"/>
                    <a:pt x="0" y="55973"/>
                  </a:cubicBezTo>
                  <a:close/>
                  <a:moveTo>
                    <a:pt x="0" y="42539"/>
                  </a:moveTo>
                  <a:cubicBezTo>
                    <a:pt x="0" y="41196"/>
                    <a:pt x="1344" y="39853"/>
                    <a:pt x="2687" y="39853"/>
                  </a:cubicBezTo>
                  <a:lnTo>
                    <a:pt x="2687" y="39853"/>
                  </a:lnTo>
                  <a:cubicBezTo>
                    <a:pt x="4030" y="39853"/>
                    <a:pt x="5374" y="41196"/>
                    <a:pt x="5374" y="42539"/>
                  </a:cubicBezTo>
                  <a:lnTo>
                    <a:pt x="5374" y="42539"/>
                  </a:lnTo>
                  <a:cubicBezTo>
                    <a:pt x="5374" y="43883"/>
                    <a:pt x="4030" y="45226"/>
                    <a:pt x="2687" y="45226"/>
                  </a:cubicBezTo>
                  <a:lnTo>
                    <a:pt x="2687" y="45226"/>
                  </a:lnTo>
                  <a:cubicBezTo>
                    <a:pt x="896" y="45226"/>
                    <a:pt x="0" y="44331"/>
                    <a:pt x="0" y="42539"/>
                  </a:cubicBezTo>
                  <a:close/>
                  <a:moveTo>
                    <a:pt x="0" y="29106"/>
                  </a:moveTo>
                  <a:cubicBezTo>
                    <a:pt x="0" y="27763"/>
                    <a:pt x="1344" y="26419"/>
                    <a:pt x="2687" y="26419"/>
                  </a:cubicBezTo>
                  <a:lnTo>
                    <a:pt x="2687" y="26419"/>
                  </a:lnTo>
                  <a:cubicBezTo>
                    <a:pt x="4030" y="26419"/>
                    <a:pt x="5374" y="27763"/>
                    <a:pt x="5374" y="29106"/>
                  </a:cubicBezTo>
                  <a:lnTo>
                    <a:pt x="5374" y="29106"/>
                  </a:lnTo>
                  <a:cubicBezTo>
                    <a:pt x="5374" y="30449"/>
                    <a:pt x="4030" y="31793"/>
                    <a:pt x="2687" y="31793"/>
                  </a:cubicBezTo>
                  <a:lnTo>
                    <a:pt x="2687" y="31793"/>
                  </a:lnTo>
                  <a:cubicBezTo>
                    <a:pt x="896" y="31793"/>
                    <a:pt x="0" y="30897"/>
                    <a:pt x="0" y="29106"/>
                  </a:cubicBezTo>
                  <a:close/>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464"/>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sp>
          <p:nvSpPr>
            <p:cNvPr id="4763" name="Freeform: Shape 4762">
              <a:extLst>
                <a:ext uri="{FF2B5EF4-FFF2-40B4-BE49-F238E27FC236}">
                  <a16:creationId xmlns:a16="http://schemas.microsoft.com/office/drawing/2014/main" id="{B3F6FF05-2631-41B9-A0C1-480B6026D1F4}"/>
                </a:ext>
              </a:extLst>
            </p:cNvPr>
            <p:cNvSpPr/>
            <p:nvPr/>
          </p:nvSpPr>
          <p:spPr>
            <a:xfrm>
              <a:off x="5373794" y="5276298"/>
              <a:ext cx="4478" cy="44778"/>
            </a:xfrm>
            <a:custGeom>
              <a:avLst/>
              <a:gdLst>
                <a:gd name="connsiteX0" fmla="*/ 0 w 4477"/>
                <a:gd name="connsiteY0" fmla="*/ 42539 h 44778"/>
                <a:gd name="connsiteX1" fmla="*/ 2687 w 4477"/>
                <a:gd name="connsiteY1" fmla="*/ 39853 h 44778"/>
                <a:gd name="connsiteX2" fmla="*/ 2687 w 4477"/>
                <a:gd name="connsiteY2" fmla="*/ 39853 h 44778"/>
                <a:gd name="connsiteX3" fmla="*/ 5374 w 4477"/>
                <a:gd name="connsiteY3" fmla="*/ 42539 h 44778"/>
                <a:gd name="connsiteX4" fmla="*/ 5374 w 4477"/>
                <a:gd name="connsiteY4" fmla="*/ 42539 h 44778"/>
                <a:gd name="connsiteX5" fmla="*/ 2687 w 4477"/>
                <a:gd name="connsiteY5" fmla="*/ 45226 h 44778"/>
                <a:gd name="connsiteX6" fmla="*/ 2687 w 4477"/>
                <a:gd name="connsiteY6" fmla="*/ 45226 h 44778"/>
                <a:gd name="connsiteX7" fmla="*/ 0 w 4477"/>
                <a:gd name="connsiteY7" fmla="*/ 42539 h 44778"/>
                <a:gd name="connsiteX8" fmla="*/ 0 w 4477"/>
                <a:gd name="connsiteY8" fmla="*/ 29106 h 44778"/>
                <a:gd name="connsiteX9" fmla="*/ 2687 w 4477"/>
                <a:gd name="connsiteY9" fmla="*/ 26419 h 44778"/>
                <a:gd name="connsiteX10" fmla="*/ 2687 w 4477"/>
                <a:gd name="connsiteY10" fmla="*/ 26419 h 44778"/>
                <a:gd name="connsiteX11" fmla="*/ 5374 w 4477"/>
                <a:gd name="connsiteY11" fmla="*/ 29106 h 44778"/>
                <a:gd name="connsiteX12" fmla="*/ 5374 w 4477"/>
                <a:gd name="connsiteY12" fmla="*/ 29106 h 44778"/>
                <a:gd name="connsiteX13" fmla="*/ 2687 w 4477"/>
                <a:gd name="connsiteY13" fmla="*/ 31793 h 44778"/>
                <a:gd name="connsiteX14" fmla="*/ 2687 w 4477"/>
                <a:gd name="connsiteY14" fmla="*/ 31793 h 44778"/>
                <a:gd name="connsiteX15" fmla="*/ 0 w 4477"/>
                <a:gd name="connsiteY15" fmla="*/ 29106 h 44778"/>
                <a:gd name="connsiteX16" fmla="*/ 0 w 4477"/>
                <a:gd name="connsiteY16" fmla="*/ 15672 h 44778"/>
                <a:gd name="connsiteX17" fmla="*/ 2687 w 4477"/>
                <a:gd name="connsiteY17" fmla="*/ 12986 h 44778"/>
                <a:gd name="connsiteX18" fmla="*/ 2687 w 4477"/>
                <a:gd name="connsiteY18" fmla="*/ 12986 h 44778"/>
                <a:gd name="connsiteX19" fmla="*/ 5374 w 4477"/>
                <a:gd name="connsiteY19" fmla="*/ 15672 h 44778"/>
                <a:gd name="connsiteX20" fmla="*/ 5374 w 4477"/>
                <a:gd name="connsiteY20" fmla="*/ 15672 h 44778"/>
                <a:gd name="connsiteX21" fmla="*/ 2687 w 4477"/>
                <a:gd name="connsiteY21" fmla="*/ 18359 h 44778"/>
                <a:gd name="connsiteX22" fmla="*/ 2687 w 4477"/>
                <a:gd name="connsiteY22" fmla="*/ 18359 h 44778"/>
                <a:gd name="connsiteX23" fmla="*/ 0 w 4477"/>
                <a:gd name="connsiteY23" fmla="*/ 15672 h 44778"/>
                <a:gd name="connsiteX24" fmla="*/ 0 w 4477"/>
                <a:gd name="connsiteY24" fmla="*/ 2687 h 44778"/>
                <a:gd name="connsiteX25" fmla="*/ 2687 w 4477"/>
                <a:gd name="connsiteY25" fmla="*/ 0 h 44778"/>
                <a:gd name="connsiteX26" fmla="*/ 2687 w 4477"/>
                <a:gd name="connsiteY26" fmla="*/ 0 h 44778"/>
                <a:gd name="connsiteX27" fmla="*/ 5374 w 4477"/>
                <a:gd name="connsiteY27" fmla="*/ 2687 h 44778"/>
                <a:gd name="connsiteX28" fmla="*/ 5374 w 4477"/>
                <a:gd name="connsiteY28" fmla="*/ 2687 h 44778"/>
                <a:gd name="connsiteX29" fmla="*/ 2687 w 4477"/>
                <a:gd name="connsiteY29" fmla="*/ 5373 h 44778"/>
                <a:gd name="connsiteX30" fmla="*/ 2687 w 4477"/>
                <a:gd name="connsiteY30" fmla="*/ 5373 h 44778"/>
                <a:gd name="connsiteX31" fmla="*/ 0 w 4477"/>
                <a:gd name="connsiteY31" fmla="*/ 2687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77" h="44778">
                  <a:moveTo>
                    <a:pt x="0" y="42539"/>
                  </a:moveTo>
                  <a:cubicBezTo>
                    <a:pt x="0" y="41196"/>
                    <a:pt x="1344" y="39853"/>
                    <a:pt x="2687" y="39853"/>
                  </a:cubicBezTo>
                  <a:lnTo>
                    <a:pt x="2687" y="39853"/>
                  </a:lnTo>
                  <a:cubicBezTo>
                    <a:pt x="4030" y="39853"/>
                    <a:pt x="5374" y="41196"/>
                    <a:pt x="5374" y="42539"/>
                  </a:cubicBezTo>
                  <a:lnTo>
                    <a:pt x="5374" y="42539"/>
                  </a:lnTo>
                  <a:cubicBezTo>
                    <a:pt x="5374" y="43883"/>
                    <a:pt x="4030" y="45226"/>
                    <a:pt x="2687" y="45226"/>
                  </a:cubicBezTo>
                  <a:lnTo>
                    <a:pt x="2687" y="45226"/>
                  </a:lnTo>
                  <a:cubicBezTo>
                    <a:pt x="896" y="45226"/>
                    <a:pt x="0" y="43883"/>
                    <a:pt x="0" y="42539"/>
                  </a:cubicBezTo>
                  <a:close/>
                  <a:moveTo>
                    <a:pt x="0" y="29106"/>
                  </a:moveTo>
                  <a:cubicBezTo>
                    <a:pt x="0" y="27763"/>
                    <a:pt x="1344" y="26419"/>
                    <a:pt x="2687" y="26419"/>
                  </a:cubicBezTo>
                  <a:lnTo>
                    <a:pt x="2687" y="26419"/>
                  </a:lnTo>
                  <a:cubicBezTo>
                    <a:pt x="4030" y="26419"/>
                    <a:pt x="5374" y="27763"/>
                    <a:pt x="5374" y="29106"/>
                  </a:cubicBezTo>
                  <a:lnTo>
                    <a:pt x="5374" y="29106"/>
                  </a:lnTo>
                  <a:cubicBezTo>
                    <a:pt x="5374" y="30449"/>
                    <a:pt x="4030" y="31793"/>
                    <a:pt x="2687" y="31793"/>
                  </a:cubicBezTo>
                  <a:lnTo>
                    <a:pt x="2687" y="31793"/>
                  </a:lnTo>
                  <a:cubicBezTo>
                    <a:pt x="896" y="31793"/>
                    <a:pt x="0" y="30449"/>
                    <a:pt x="0" y="29106"/>
                  </a:cubicBezTo>
                  <a:close/>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016"/>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sp>
          <p:nvSpPr>
            <p:cNvPr id="4764" name="Freeform: Shape 4763">
              <a:extLst>
                <a:ext uri="{FF2B5EF4-FFF2-40B4-BE49-F238E27FC236}">
                  <a16:creationId xmlns:a16="http://schemas.microsoft.com/office/drawing/2014/main" id="{BE4257DD-4F18-4F47-A837-BEACF0C2B645}"/>
                </a:ext>
              </a:extLst>
            </p:cNvPr>
            <p:cNvSpPr/>
            <p:nvPr/>
          </p:nvSpPr>
          <p:spPr>
            <a:xfrm>
              <a:off x="5387227" y="5276298"/>
              <a:ext cx="4478" cy="31345"/>
            </a:xfrm>
            <a:custGeom>
              <a:avLst/>
              <a:gdLst>
                <a:gd name="connsiteX0" fmla="*/ 0 w 4477"/>
                <a:gd name="connsiteY0" fmla="*/ 29106 h 31344"/>
                <a:gd name="connsiteX1" fmla="*/ 2687 w 4477"/>
                <a:gd name="connsiteY1" fmla="*/ 26419 h 31344"/>
                <a:gd name="connsiteX2" fmla="*/ 2687 w 4477"/>
                <a:gd name="connsiteY2" fmla="*/ 26419 h 31344"/>
                <a:gd name="connsiteX3" fmla="*/ 5374 w 4477"/>
                <a:gd name="connsiteY3" fmla="*/ 29106 h 31344"/>
                <a:gd name="connsiteX4" fmla="*/ 5374 w 4477"/>
                <a:gd name="connsiteY4" fmla="*/ 29106 h 31344"/>
                <a:gd name="connsiteX5" fmla="*/ 2687 w 4477"/>
                <a:gd name="connsiteY5" fmla="*/ 31793 h 31344"/>
                <a:gd name="connsiteX6" fmla="*/ 2687 w 4477"/>
                <a:gd name="connsiteY6" fmla="*/ 31793 h 31344"/>
                <a:gd name="connsiteX7" fmla="*/ 0 w 4477"/>
                <a:gd name="connsiteY7" fmla="*/ 29106 h 31344"/>
                <a:gd name="connsiteX8" fmla="*/ 0 w 4477"/>
                <a:gd name="connsiteY8" fmla="*/ 15672 h 31344"/>
                <a:gd name="connsiteX9" fmla="*/ 2687 w 4477"/>
                <a:gd name="connsiteY9" fmla="*/ 12986 h 31344"/>
                <a:gd name="connsiteX10" fmla="*/ 2687 w 4477"/>
                <a:gd name="connsiteY10" fmla="*/ 12986 h 31344"/>
                <a:gd name="connsiteX11" fmla="*/ 5374 w 4477"/>
                <a:gd name="connsiteY11" fmla="*/ 15672 h 31344"/>
                <a:gd name="connsiteX12" fmla="*/ 5374 w 4477"/>
                <a:gd name="connsiteY12" fmla="*/ 15672 h 31344"/>
                <a:gd name="connsiteX13" fmla="*/ 2687 w 4477"/>
                <a:gd name="connsiteY13" fmla="*/ 18359 h 31344"/>
                <a:gd name="connsiteX14" fmla="*/ 2687 w 4477"/>
                <a:gd name="connsiteY14" fmla="*/ 18359 h 31344"/>
                <a:gd name="connsiteX15" fmla="*/ 0 w 4477"/>
                <a:gd name="connsiteY15" fmla="*/ 15672 h 31344"/>
                <a:gd name="connsiteX16" fmla="*/ 0 w 4477"/>
                <a:gd name="connsiteY16" fmla="*/ 2687 h 31344"/>
                <a:gd name="connsiteX17" fmla="*/ 2687 w 4477"/>
                <a:gd name="connsiteY17" fmla="*/ 0 h 31344"/>
                <a:gd name="connsiteX18" fmla="*/ 2687 w 4477"/>
                <a:gd name="connsiteY18" fmla="*/ 0 h 31344"/>
                <a:gd name="connsiteX19" fmla="*/ 5374 w 4477"/>
                <a:gd name="connsiteY19" fmla="*/ 2687 h 31344"/>
                <a:gd name="connsiteX20" fmla="*/ 5374 w 4477"/>
                <a:gd name="connsiteY20" fmla="*/ 2687 h 31344"/>
                <a:gd name="connsiteX21" fmla="*/ 2687 w 4477"/>
                <a:gd name="connsiteY21" fmla="*/ 5373 h 31344"/>
                <a:gd name="connsiteX22" fmla="*/ 2687 w 4477"/>
                <a:gd name="connsiteY22" fmla="*/ 5373 h 31344"/>
                <a:gd name="connsiteX23" fmla="*/ 0 w 4477"/>
                <a:gd name="connsiteY23" fmla="*/ 268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7" h="31344">
                  <a:moveTo>
                    <a:pt x="0" y="29106"/>
                  </a:moveTo>
                  <a:cubicBezTo>
                    <a:pt x="0" y="27763"/>
                    <a:pt x="1344" y="26419"/>
                    <a:pt x="2687" y="26419"/>
                  </a:cubicBezTo>
                  <a:lnTo>
                    <a:pt x="2687" y="26419"/>
                  </a:lnTo>
                  <a:cubicBezTo>
                    <a:pt x="4030" y="26419"/>
                    <a:pt x="5374" y="27763"/>
                    <a:pt x="5374" y="29106"/>
                  </a:cubicBezTo>
                  <a:lnTo>
                    <a:pt x="5374" y="29106"/>
                  </a:lnTo>
                  <a:cubicBezTo>
                    <a:pt x="5374" y="30449"/>
                    <a:pt x="4030" y="31793"/>
                    <a:pt x="2687" y="31793"/>
                  </a:cubicBezTo>
                  <a:lnTo>
                    <a:pt x="2687" y="31793"/>
                  </a:lnTo>
                  <a:cubicBezTo>
                    <a:pt x="896" y="31793"/>
                    <a:pt x="0" y="30449"/>
                    <a:pt x="0" y="29106"/>
                  </a:cubicBezTo>
                  <a:close/>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016"/>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sp>
          <p:nvSpPr>
            <p:cNvPr id="4765" name="Freeform: Shape 4764">
              <a:extLst>
                <a:ext uri="{FF2B5EF4-FFF2-40B4-BE49-F238E27FC236}">
                  <a16:creationId xmlns:a16="http://schemas.microsoft.com/office/drawing/2014/main" id="{400E4C80-F94F-4FEB-946B-9C50CA7645A3}"/>
                </a:ext>
              </a:extLst>
            </p:cNvPr>
            <p:cNvSpPr/>
            <p:nvPr/>
          </p:nvSpPr>
          <p:spPr>
            <a:xfrm>
              <a:off x="5400660" y="5276298"/>
              <a:ext cx="4478" cy="17911"/>
            </a:xfrm>
            <a:custGeom>
              <a:avLst/>
              <a:gdLst>
                <a:gd name="connsiteX0" fmla="*/ 0 w 4477"/>
                <a:gd name="connsiteY0" fmla="*/ 15672 h 17911"/>
                <a:gd name="connsiteX1" fmla="*/ 2687 w 4477"/>
                <a:gd name="connsiteY1" fmla="*/ 12986 h 17911"/>
                <a:gd name="connsiteX2" fmla="*/ 2687 w 4477"/>
                <a:gd name="connsiteY2" fmla="*/ 12986 h 17911"/>
                <a:gd name="connsiteX3" fmla="*/ 5374 w 4477"/>
                <a:gd name="connsiteY3" fmla="*/ 15672 h 17911"/>
                <a:gd name="connsiteX4" fmla="*/ 5374 w 4477"/>
                <a:gd name="connsiteY4" fmla="*/ 15672 h 17911"/>
                <a:gd name="connsiteX5" fmla="*/ 2687 w 4477"/>
                <a:gd name="connsiteY5" fmla="*/ 18359 h 17911"/>
                <a:gd name="connsiteX6" fmla="*/ 2687 w 4477"/>
                <a:gd name="connsiteY6" fmla="*/ 18359 h 17911"/>
                <a:gd name="connsiteX7" fmla="*/ 0 w 4477"/>
                <a:gd name="connsiteY7" fmla="*/ 15672 h 17911"/>
                <a:gd name="connsiteX8" fmla="*/ 0 w 4477"/>
                <a:gd name="connsiteY8" fmla="*/ 2687 h 17911"/>
                <a:gd name="connsiteX9" fmla="*/ 2687 w 4477"/>
                <a:gd name="connsiteY9" fmla="*/ 0 h 17911"/>
                <a:gd name="connsiteX10" fmla="*/ 2687 w 4477"/>
                <a:gd name="connsiteY10" fmla="*/ 0 h 17911"/>
                <a:gd name="connsiteX11" fmla="*/ 5374 w 4477"/>
                <a:gd name="connsiteY11" fmla="*/ 2687 h 17911"/>
                <a:gd name="connsiteX12" fmla="*/ 5374 w 4477"/>
                <a:gd name="connsiteY12" fmla="*/ 2687 h 17911"/>
                <a:gd name="connsiteX13" fmla="*/ 2687 w 4477"/>
                <a:gd name="connsiteY13" fmla="*/ 5373 h 17911"/>
                <a:gd name="connsiteX14" fmla="*/ 2687 w 4477"/>
                <a:gd name="connsiteY14" fmla="*/ 5373 h 17911"/>
                <a:gd name="connsiteX15" fmla="*/ 0 w 4477"/>
                <a:gd name="connsiteY15" fmla="*/ 2687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 h="17911">
                  <a:moveTo>
                    <a:pt x="0" y="15672"/>
                  </a:moveTo>
                  <a:cubicBezTo>
                    <a:pt x="0" y="14329"/>
                    <a:pt x="1344" y="12986"/>
                    <a:pt x="2687" y="12986"/>
                  </a:cubicBezTo>
                  <a:lnTo>
                    <a:pt x="2687" y="12986"/>
                  </a:lnTo>
                  <a:cubicBezTo>
                    <a:pt x="4030" y="12986"/>
                    <a:pt x="5374" y="14329"/>
                    <a:pt x="5374" y="15672"/>
                  </a:cubicBezTo>
                  <a:lnTo>
                    <a:pt x="5374" y="15672"/>
                  </a:lnTo>
                  <a:cubicBezTo>
                    <a:pt x="5374" y="17016"/>
                    <a:pt x="4030" y="18359"/>
                    <a:pt x="2687" y="18359"/>
                  </a:cubicBezTo>
                  <a:lnTo>
                    <a:pt x="2687" y="18359"/>
                  </a:lnTo>
                  <a:cubicBezTo>
                    <a:pt x="896" y="18359"/>
                    <a:pt x="0" y="17016"/>
                    <a:pt x="0" y="15672"/>
                  </a:cubicBezTo>
                  <a:close/>
                  <a:moveTo>
                    <a:pt x="0" y="2687"/>
                  </a:moveTo>
                  <a:cubicBezTo>
                    <a:pt x="0" y="1343"/>
                    <a:pt x="1344" y="0"/>
                    <a:pt x="2687" y="0"/>
                  </a:cubicBezTo>
                  <a:lnTo>
                    <a:pt x="2687" y="0"/>
                  </a:lnTo>
                  <a:cubicBezTo>
                    <a:pt x="4030" y="0"/>
                    <a:pt x="5374" y="1343"/>
                    <a:pt x="5374" y="2687"/>
                  </a:cubicBezTo>
                  <a:lnTo>
                    <a:pt x="5374" y="2687"/>
                  </a:lnTo>
                  <a:cubicBezTo>
                    <a:pt x="5374" y="4030"/>
                    <a:pt x="4030" y="5373"/>
                    <a:pt x="2687" y="5373"/>
                  </a:cubicBezTo>
                  <a:lnTo>
                    <a:pt x="2687" y="5373"/>
                  </a:lnTo>
                  <a:cubicBezTo>
                    <a:pt x="896" y="4926"/>
                    <a:pt x="0" y="4030"/>
                    <a:pt x="0" y="2687"/>
                  </a:cubicBezTo>
                  <a:close/>
                </a:path>
              </a:pathLst>
            </a:custGeom>
            <a:solidFill>
              <a:srgbClr val="231F20"/>
            </a:solidFill>
            <a:ln w="4474" cap="flat">
              <a:noFill/>
              <a:prstDash val="solid"/>
              <a:miter/>
            </a:ln>
          </p:spPr>
          <p:txBody>
            <a:bodyPr rtlCol="0" anchor="ctr"/>
            <a:lstStyle/>
            <a:p>
              <a:endParaRPr lang="en-US"/>
            </a:p>
          </p:txBody>
        </p:sp>
      </p:grpSp>
      <p:grpSp>
        <p:nvGrpSpPr>
          <p:cNvPr id="4766" name="Group 4765">
            <a:extLst>
              <a:ext uri="{FF2B5EF4-FFF2-40B4-BE49-F238E27FC236}">
                <a16:creationId xmlns:a16="http://schemas.microsoft.com/office/drawing/2014/main" id="{4B0A8B38-55AB-4695-9268-9E7AAB2D71E2}"/>
              </a:ext>
              <a:ext uri="{C183D7F6-B498-43B3-948B-1728B52AA6E4}">
                <adec:decorative xmlns:adec="http://schemas.microsoft.com/office/drawing/2017/decorative" val="1"/>
              </a:ext>
            </a:extLst>
          </p:cNvPr>
          <p:cNvGrpSpPr>
            <a:grpSpLocks noChangeAspect="1"/>
          </p:cNvGrpSpPr>
          <p:nvPr/>
        </p:nvGrpSpPr>
        <p:grpSpPr>
          <a:xfrm>
            <a:off x="11355053" y="1743228"/>
            <a:ext cx="138812" cy="141051"/>
            <a:chOff x="5574400" y="5202414"/>
            <a:chExt cx="138812" cy="141051"/>
          </a:xfrm>
        </p:grpSpPr>
        <p:sp>
          <p:nvSpPr>
            <p:cNvPr id="4767" name="Freeform: Shape 4766">
              <a:extLst>
                <a:ext uri="{FF2B5EF4-FFF2-40B4-BE49-F238E27FC236}">
                  <a16:creationId xmlns:a16="http://schemas.microsoft.com/office/drawing/2014/main" id="{A91D7C88-62B0-4F6F-B7BC-2C8AF182D480}"/>
                </a:ext>
              </a:extLst>
            </p:cNvPr>
            <p:cNvSpPr/>
            <p:nvPr/>
          </p:nvSpPr>
          <p:spPr>
            <a:xfrm>
              <a:off x="5655448" y="5276298"/>
              <a:ext cx="40300" cy="40300"/>
            </a:xfrm>
            <a:custGeom>
              <a:avLst/>
              <a:gdLst>
                <a:gd name="connsiteX0" fmla="*/ 42092 w 40300"/>
                <a:gd name="connsiteY0" fmla="*/ 20150 h 40300"/>
                <a:gd name="connsiteX1" fmla="*/ 27315 w 40300"/>
                <a:gd name="connsiteY1" fmla="*/ 20150 h 40300"/>
                <a:gd name="connsiteX2" fmla="*/ 37614 w 40300"/>
                <a:gd name="connsiteY2" fmla="*/ 9404 h 40300"/>
                <a:gd name="connsiteX3" fmla="*/ 37614 w 40300"/>
                <a:gd name="connsiteY3" fmla="*/ 6269 h 40300"/>
                <a:gd name="connsiteX4" fmla="*/ 34480 w 40300"/>
                <a:gd name="connsiteY4" fmla="*/ 6269 h 40300"/>
                <a:gd name="connsiteX5" fmla="*/ 24628 w 40300"/>
                <a:gd name="connsiteY5" fmla="*/ 17016 h 40300"/>
                <a:gd name="connsiteX6" fmla="*/ 24628 w 40300"/>
                <a:gd name="connsiteY6" fmla="*/ 2239 h 40300"/>
                <a:gd name="connsiteX7" fmla="*/ 22389 w 40300"/>
                <a:gd name="connsiteY7" fmla="*/ 0 h 40300"/>
                <a:gd name="connsiteX8" fmla="*/ 20150 w 40300"/>
                <a:gd name="connsiteY8" fmla="*/ 2239 h 40300"/>
                <a:gd name="connsiteX9" fmla="*/ 20150 w 40300"/>
                <a:gd name="connsiteY9" fmla="*/ 17016 h 40300"/>
                <a:gd name="connsiteX10" fmla="*/ 9403 w 40300"/>
                <a:gd name="connsiteY10" fmla="*/ 6717 h 40300"/>
                <a:gd name="connsiteX11" fmla="*/ 6269 w 40300"/>
                <a:gd name="connsiteY11" fmla="*/ 6717 h 40300"/>
                <a:gd name="connsiteX12" fmla="*/ 6269 w 40300"/>
                <a:gd name="connsiteY12" fmla="*/ 9851 h 40300"/>
                <a:gd name="connsiteX13" fmla="*/ 17016 w 40300"/>
                <a:gd name="connsiteY13" fmla="*/ 19703 h 40300"/>
                <a:gd name="connsiteX14" fmla="*/ 2239 w 40300"/>
                <a:gd name="connsiteY14" fmla="*/ 19703 h 40300"/>
                <a:gd name="connsiteX15" fmla="*/ 0 w 40300"/>
                <a:gd name="connsiteY15" fmla="*/ 21941 h 40300"/>
                <a:gd name="connsiteX16" fmla="*/ 2239 w 40300"/>
                <a:gd name="connsiteY16" fmla="*/ 24180 h 40300"/>
                <a:gd name="connsiteX17" fmla="*/ 17016 w 40300"/>
                <a:gd name="connsiteY17" fmla="*/ 24180 h 40300"/>
                <a:gd name="connsiteX18" fmla="*/ 6717 w 40300"/>
                <a:gd name="connsiteY18" fmla="*/ 34927 h 40300"/>
                <a:gd name="connsiteX19" fmla="*/ 6717 w 40300"/>
                <a:gd name="connsiteY19" fmla="*/ 38061 h 40300"/>
                <a:gd name="connsiteX20" fmla="*/ 8060 w 40300"/>
                <a:gd name="connsiteY20" fmla="*/ 38509 h 40300"/>
                <a:gd name="connsiteX21" fmla="*/ 9852 w 40300"/>
                <a:gd name="connsiteY21" fmla="*/ 37614 h 40300"/>
                <a:gd name="connsiteX22" fmla="*/ 19703 w 40300"/>
                <a:gd name="connsiteY22" fmla="*/ 26867 h 40300"/>
                <a:gd name="connsiteX23" fmla="*/ 19703 w 40300"/>
                <a:gd name="connsiteY23" fmla="*/ 41644 h 40300"/>
                <a:gd name="connsiteX24" fmla="*/ 21941 w 40300"/>
                <a:gd name="connsiteY24" fmla="*/ 43883 h 40300"/>
                <a:gd name="connsiteX25" fmla="*/ 24180 w 40300"/>
                <a:gd name="connsiteY25" fmla="*/ 41644 h 40300"/>
                <a:gd name="connsiteX26" fmla="*/ 24180 w 40300"/>
                <a:gd name="connsiteY26" fmla="*/ 26867 h 40300"/>
                <a:gd name="connsiteX27" fmla="*/ 34927 w 40300"/>
                <a:gd name="connsiteY27" fmla="*/ 37166 h 40300"/>
                <a:gd name="connsiteX28" fmla="*/ 36270 w 40300"/>
                <a:gd name="connsiteY28" fmla="*/ 37614 h 40300"/>
                <a:gd name="connsiteX29" fmla="*/ 38061 w 40300"/>
                <a:gd name="connsiteY29" fmla="*/ 36718 h 40300"/>
                <a:gd name="connsiteX30" fmla="*/ 38061 w 40300"/>
                <a:gd name="connsiteY30" fmla="*/ 33584 h 40300"/>
                <a:gd name="connsiteX31" fmla="*/ 27315 w 40300"/>
                <a:gd name="connsiteY31" fmla="*/ 23732 h 40300"/>
                <a:gd name="connsiteX32" fmla="*/ 42092 w 40300"/>
                <a:gd name="connsiteY32" fmla="*/ 23732 h 40300"/>
                <a:gd name="connsiteX33" fmla="*/ 44331 w 40300"/>
                <a:gd name="connsiteY33" fmla="*/ 21493 h 40300"/>
                <a:gd name="connsiteX34" fmla="*/ 42092 w 40300"/>
                <a:gd name="connsiteY34" fmla="*/ 2015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300" h="40300">
                  <a:moveTo>
                    <a:pt x="42092" y="20150"/>
                  </a:moveTo>
                  <a:lnTo>
                    <a:pt x="27315" y="20150"/>
                  </a:lnTo>
                  <a:lnTo>
                    <a:pt x="37614" y="9404"/>
                  </a:lnTo>
                  <a:cubicBezTo>
                    <a:pt x="38509" y="8508"/>
                    <a:pt x="38509" y="7165"/>
                    <a:pt x="37614" y="6269"/>
                  </a:cubicBezTo>
                  <a:cubicBezTo>
                    <a:pt x="36718" y="5373"/>
                    <a:pt x="35375" y="5373"/>
                    <a:pt x="34480" y="6269"/>
                  </a:cubicBezTo>
                  <a:lnTo>
                    <a:pt x="24628" y="17016"/>
                  </a:lnTo>
                  <a:lnTo>
                    <a:pt x="24628" y="2239"/>
                  </a:lnTo>
                  <a:cubicBezTo>
                    <a:pt x="24628" y="896"/>
                    <a:pt x="23733" y="0"/>
                    <a:pt x="22389" y="0"/>
                  </a:cubicBezTo>
                  <a:cubicBezTo>
                    <a:pt x="21046" y="0"/>
                    <a:pt x="20150" y="896"/>
                    <a:pt x="20150" y="2239"/>
                  </a:cubicBezTo>
                  <a:lnTo>
                    <a:pt x="20150" y="17016"/>
                  </a:lnTo>
                  <a:lnTo>
                    <a:pt x="9403" y="6717"/>
                  </a:lnTo>
                  <a:cubicBezTo>
                    <a:pt x="8508" y="5821"/>
                    <a:pt x="7164" y="5821"/>
                    <a:pt x="6269" y="6717"/>
                  </a:cubicBezTo>
                  <a:cubicBezTo>
                    <a:pt x="5374" y="7612"/>
                    <a:pt x="5374" y="8956"/>
                    <a:pt x="6269" y="9851"/>
                  </a:cubicBezTo>
                  <a:lnTo>
                    <a:pt x="17016" y="19703"/>
                  </a:lnTo>
                  <a:lnTo>
                    <a:pt x="2239" y="19703"/>
                  </a:lnTo>
                  <a:cubicBezTo>
                    <a:pt x="896" y="19703"/>
                    <a:pt x="0" y="20598"/>
                    <a:pt x="0" y="21941"/>
                  </a:cubicBezTo>
                  <a:cubicBezTo>
                    <a:pt x="0" y="23285"/>
                    <a:pt x="896" y="24180"/>
                    <a:pt x="2239" y="24180"/>
                  </a:cubicBezTo>
                  <a:lnTo>
                    <a:pt x="17016" y="24180"/>
                  </a:lnTo>
                  <a:lnTo>
                    <a:pt x="6717" y="34927"/>
                  </a:lnTo>
                  <a:cubicBezTo>
                    <a:pt x="5821" y="35823"/>
                    <a:pt x="5821" y="37166"/>
                    <a:pt x="6717" y="38061"/>
                  </a:cubicBezTo>
                  <a:cubicBezTo>
                    <a:pt x="7164" y="38509"/>
                    <a:pt x="7613" y="38509"/>
                    <a:pt x="8060" y="38509"/>
                  </a:cubicBezTo>
                  <a:cubicBezTo>
                    <a:pt x="8508" y="38509"/>
                    <a:pt x="9403" y="38061"/>
                    <a:pt x="9852" y="37614"/>
                  </a:cubicBezTo>
                  <a:lnTo>
                    <a:pt x="19703" y="26867"/>
                  </a:lnTo>
                  <a:lnTo>
                    <a:pt x="19703" y="41644"/>
                  </a:lnTo>
                  <a:cubicBezTo>
                    <a:pt x="19703" y="42987"/>
                    <a:pt x="20598" y="43883"/>
                    <a:pt x="21941" y="43883"/>
                  </a:cubicBezTo>
                  <a:cubicBezTo>
                    <a:pt x="23285" y="43883"/>
                    <a:pt x="24180" y="42987"/>
                    <a:pt x="24180" y="41644"/>
                  </a:cubicBezTo>
                  <a:lnTo>
                    <a:pt x="24180" y="26867"/>
                  </a:lnTo>
                  <a:lnTo>
                    <a:pt x="34927" y="37166"/>
                  </a:lnTo>
                  <a:cubicBezTo>
                    <a:pt x="35375" y="37614"/>
                    <a:pt x="35823" y="37614"/>
                    <a:pt x="36270" y="37614"/>
                  </a:cubicBezTo>
                  <a:cubicBezTo>
                    <a:pt x="36718" y="37614"/>
                    <a:pt x="37614" y="37166"/>
                    <a:pt x="38061" y="36718"/>
                  </a:cubicBezTo>
                  <a:cubicBezTo>
                    <a:pt x="38957" y="35823"/>
                    <a:pt x="38957" y="34479"/>
                    <a:pt x="38061" y="33584"/>
                  </a:cubicBezTo>
                  <a:lnTo>
                    <a:pt x="27315" y="23732"/>
                  </a:lnTo>
                  <a:lnTo>
                    <a:pt x="42092" y="23732"/>
                  </a:lnTo>
                  <a:cubicBezTo>
                    <a:pt x="43435" y="23732"/>
                    <a:pt x="44331" y="22837"/>
                    <a:pt x="44331" y="21493"/>
                  </a:cubicBezTo>
                  <a:cubicBezTo>
                    <a:pt x="44331" y="20150"/>
                    <a:pt x="42987" y="20150"/>
                    <a:pt x="42092" y="20150"/>
                  </a:cubicBezTo>
                  <a:close/>
                </a:path>
              </a:pathLst>
            </a:custGeom>
            <a:solidFill>
              <a:srgbClr val="231F20"/>
            </a:solidFill>
            <a:ln w="4474" cap="flat">
              <a:noFill/>
              <a:prstDash val="solid"/>
              <a:miter/>
            </a:ln>
          </p:spPr>
          <p:txBody>
            <a:bodyPr rtlCol="0" anchor="ctr"/>
            <a:lstStyle/>
            <a:p>
              <a:endParaRPr lang="en-US"/>
            </a:p>
          </p:txBody>
        </p:sp>
        <p:sp>
          <p:nvSpPr>
            <p:cNvPr id="4768" name="Freeform: Shape 4767">
              <a:extLst>
                <a:ext uri="{FF2B5EF4-FFF2-40B4-BE49-F238E27FC236}">
                  <a16:creationId xmlns:a16="http://schemas.microsoft.com/office/drawing/2014/main" id="{8B89F658-F873-44CB-8041-9F2443791F11}"/>
                </a:ext>
              </a:extLst>
            </p:cNvPr>
            <p:cNvSpPr/>
            <p:nvPr/>
          </p:nvSpPr>
          <p:spPr>
            <a:xfrm>
              <a:off x="5615148" y="5303165"/>
              <a:ext cx="40300" cy="40300"/>
            </a:xfrm>
            <a:custGeom>
              <a:avLst/>
              <a:gdLst>
                <a:gd name="connsiteX0" fmla="*/ 42092 w 40300"/>
                <a:gd name="connsiteY0" fmla="*/ 20150 h 40300"/>
                <a:gd name="connsiteX1" fmla="*/ 27315 w 40300"/>
                <a:gd name="connsiteY1" fmla="*/ 20150 h 40300"/>
                <a:gd name="connsiteX2" fmla="*/ 37614 w 40300"/>
                <a:gd name="connsiteY2" fmla="*/ 9404 h 40300"/>
                <a:gd name="connsiteX3" fmla="*/ 37614 w 40300"/>
                <a:gd name="connsiteY3" fmla="*/ 6269 h 40300"/>
                <a:gd name="connsiteX4" fmla="*/ 34480 w 40300"/>
                <a:gd name="connsiteY4" fmla="*/ 6269 h 40300"/>
                <a:gd name="connsiteX5" fmla="*/ 24628 w 40300"/>
                <a:gd name="connsiteY5" fmla="*/ 17016 h 40300"/>
                <a:gd name="connsiteX6" fmla="*/ 24628 w 40300"/>
                <a:gd name="connsiteY6" fmla="*/ 2239 h 40300"/>
                <a:gd name="connsiteX7" fmla="*/ 22389 w 40300"/>
                <a:gd name="connsiteY7" fmla="*/ 0 h 40300"/>
                <a:gd name="connsiteX8" fmla="*/ 20150 w 40300"/>
                <a:gd name="connsiteY8" fmla="*/ 2239 h 40300"/>
                <a:gd name="connsiteX9" fmla="*/ 20150 w 40300"/>
                <a:gd name="connsiteY9" fmla="*/ 17016 h 40300"/>
                <a:gd name="connsiteX10" fmla="*/ 9403 w 40300"/>
                <a:gd name="connsiteY10" fmla="*/ 6717 h 40300"/>
                <a:gd name="connsiteX11" fmla="*/ 6269 w 40300"/>
                <a:gd name="connsiteY11" fmla="*/ 6717 h 40300"/>
                <a:gd name="connsiteX12" fmla="*/ 6269 w 40300"/>
                <a:gd name="connsiteY12" fmla="*/ 9851 h 40300"/>
                <a:gd name="connsiteX13" fmla="*/ 17016 w 40300"/>
                <a:gd name="connsiteY13" fmla="*/ 19703 h 40300"/>
                <a:gd name="connsiteX14" fmla="*/ 2239 w 40300"/>
                <a:gd name="connsiteY14" fmla="*/ 19703 h 40300"/>
                <a:gd name="connsiteX15" fmla="*/ 0 w 40300"/>
                <a:gd name="connsiteY15" fmla="*/ 21941 h 40300"/>
                <a:gd name="connsiteX16" fmla="*/ 2239 w 40300"/>
                <a:gd name="connsiteY16" fmla="*/ 24180 h 40300"/>
                <a:gd name="connsiteX17" fmla="*/ 17016 w 40300"/>
                <a:gd name="connsiteY17" fmla="*/ 24180 h 40300"/>
                <a:gd name="connsiteX18" fmla="*/ 6717 w 40300"/>
                <a:gd name="connsiteY18" fmla="*/ 34927 h 40300"/>
                <a:gd name="connsiteX19" fmla="*/ 6717 w 40300"/>
                <a:gd name="connsiteY19" fmla="*/ 38061 h 40300"/>
                <a:gd name="connsiteX20" fmla="*/ 8060 w 40300"/>
                <a:gd name="connsiteY20" fmla="*/ 38509 h 40300"/>
                <a:gd name="connsiteX21" fmla="*/ 9852 w 40300"/>
                <a:gd name="connsiteY21" fmla="*/ 37614 h 40300"/>
                <a:gd name="connsiteX22" fmla="*/ 19703 w 40300"/>
                <a:gd name="connsiteY22" fmla="*/ 26867 h 40300"/>
                <a:gd name="connsiteX23" fmla="*/ 19703 w 40300"/>
                <a:gd name="connsiteY23" fmla="*/ 41644 h 40300"/>
                <a:gd name="connsiteX24" fmla="*/ 21941 w 40300"/>
                <a:gd name="connsiteY24" fmla="*/ 43883 h 40300"/>
                <a:gd name="connsiteX25" fmla="*/ 24180 w 40300"/>
                <a:gd name="connsiteY25" fmla="*/ 41644 h 40300"/>
                <a:gd name="connsiteX26" fmla="*/ 24180 w 40300"/>
                <a:gd name="connsiteY26" fmla="*/ 26867 h 40300"/>
                <a:gd name="connsiteX27" fmla="*/ 34927 w 40300"/>
                <a:gd name="connsiteY27" fmla="*/ 37166 h 40300"/>
                <a:gd name="connsiteX28" fmla="*/ 36270 w 40300"/>
                <a:gd name="connsiteY28" fmla="*/ 37614 h 40300"/>
                <a:gd name="connsiteX29" fmla="*/ 38061 w 40300"/>
                <a:gd name="connsiteY29" fmla="*/ 36718 h 40300"/>
                <a:gd name="connsiteX30" fmla="*/ 38061 w 40300"/>
                <a:gd name="connsiteY30" fmla="*/ 33584 h 40300"/>
                <a:gd name="connsiteX31" fmla="*/ 27315 w 40300"/>
                <a:gd name="connsiteY31" fmla="*/ 23732 h 40300"/>
                <a:gd name="connsiteX32" fmla="*/ 42092 w 40300"/>
                <a:gd name="connsiteY32" fmla="*/ 23732 h 40300"/>
                <a:gd name="connsiteX33" fmla="*/ 44331 w 40300"/>
                <a:gd name="connsiteY33" fmla="*/ 21493 h 40300"/>
                <a:gd name="connsiteX34" fmla="*/ 42092 w 40300"/>
                <a:gd name="connsiteY34" fmla="*/ 2015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300" h="40300">
                  <a:moveTo>
                    <a:pt x="42092" y="20150"/>
                  </a:moveTo>
                  <a:lnTo>
                    <a:pt x="27315" y="20150"/>
                  </a:lnTo>
                  <a:lnTo>
                    <a:pt x="37614" y="9404"/>
                  </a:lnTo>
                  <a:cubicBezTo>
                    <a:pt x="38509" y="8508"/>
                    <a:pt x="38509" y="7165"/>
                    <a:pt x="37614" y="6269"/>
                  </a:cubicBezTo>
                  <a:cubicBezTo>
                    <a:pt x="36718" y="5373"/>
                    <a:pt x="35375" y="5373"/>
                    <a:pt x="34480" y="6269"/>
                  </a:cubicBezTo>
                  <a:lnTo>
                    <a:pt x="24628" y="17016"/>
                  </a:lnTo>
                  <a:lnTo>
                    <a:pt x="24628" y="2239"/>
                  </a:lnTo>
                  <a:cubicBezTo>
                    <a:pt x="24628" y="896"/>
                    <a:pt x="23733" y="0"/>
                    <a:pt x="22389" y="0"/>
                  </a:cubicBezTo>
                  <a:cubicBezTo>
                    <a:pt x="21046" y="0"/>
                    <a:pt x="20150" y="896"/>
                    <a:pt x="20150" y="2239"/>
                  </a:cubicBezTo>
                  <a:lnTo>
                    <a:pt x="20150" y="17016"/>
                  </a:lnTo>
                  <a:lnTo>
                    <a:pt x="9403" y="6717"/>
                  </a:lnTo>
                  <a:cubicBezTo>
                    <a:pt x="8508" y="5821"/>
                    <a:pt x="7164" y="5821"/>
                    <a:pt x="6269" y="6717"/>
                  </a:cubicBezTo>
                  <a:cubicBezTo>
                    <a:pt x="5374" y="7612"/>
                    <a:pt x="5374" y="8956"/>
                    <a:pt x="6269" y="9851"/>
                  </a:cubicBezTo>
                  <a:lnTo>
                    <a:pt x="17016" y="19703"/>
                  </a:lnTo>
                  <a:lnTo>
                    <a:pt x="2239" y="19703"/>
                  </a:lnTo>
                  <a:cubicBezTo>
                    <a:pt x="896" y="19703"/>
                    <a:pt x="0" y="20598"/>
                    <a:pt x="0" y="21941"/>
                  </a:cubicBezTo>
                  <a:cubicBezTo>
                    <a:pt x="0" y="23285"/>
                    <a:pt x="896" y="24180"/>
                    <a:pt x="2239" y="24180"/>
                  </a:cubicBezTo>
                  <a:lnTo>
                    <a:pt x="17016" y="24180"/>
                  </a:lnTo>
                  <a:lnTo>
                    <a:pt x="6717" y="34927"/>
                  </a:lnTo>
                  <a:cubicBezTo>
                    <a:pt x="5821" y="35823"/>
                    <a:pt x="5821" y="37166"/>
                    <a:pt x="6717" y="38061"/>
                  </a:cubicBezTo>
                  <a:cubicBezTo>
                    <a:pt x="7164" y="38509"/>
                    <a:pt x="7613" y="38509"/>
                    <a:pt x="8060" y="38509"/>
                  </a:cubicBezTo>
                  <a:cubicBezTo>
                    <a:pt x="8508" y="38509"/>
                    <a:pt x="9403" y="38061"/>
                    <a:pt x="9852" y="37614"/>
                  </a:cubicBezTo>
                  <a:lnTo>
                    <a:pt x="19703" y="26867"/>
                  </a:lnTo>
                  <a:lnTo>
                    <a:pt x="19703" y="41644"/>
                  </a:lnTo>
                  <a:cubicBezTo>
                    <a:pt x="19703" y="42987"/>
                    <a:pt x="20598" y="43883"/>
                    <a:pt x="21941" y="43883"/>
                  </a:cubicBezTo>
                  <a:cubicBezTo>
                    <a:pt x="23285" y="43883"/>
                    <a:pt x="24180" y="42987"/>
                    <a:pt x="24180" y="41644"/>
                  </a:cubicBezTo>
                  <a:lnTo>
                    <a:pt x="24180" y="26867"/>
                  </a:lnTo>
                  <a:lnTo>
                    <a:pt x="34927" y="37166"/>
                  </a:lnTo>
                  <a:cubicBezTo>
                    <a:pt x="35375" y="37614"/>
                    <a:pt x="35823" y="37614"/>
                    <a:pt x="36270" y="37614"/>
                  </a:cubicBezTo>
                  <a:cubicBezTo>
                    <a:pt x="36718" y="37614"/>
                    <a:pt x="37614" y="37166"/>
                    <a:pt x="38061" y="36718"/>
                  </a:cubicBezTo>
                  <a:cubicBezTo>
                    <a:pt x="38957" y="35823"/>
                    <a:pt x="38957" y="34479"/>
                    <a:pt x="38061" y="33584"/>
                  </a:cubicBezTo>
                  <a:lnTo>
                    <a:pt x="27315" y="23732"/>
                  </a:lnTo>
                  <a:lnTo>
                    <a:pt x="42092" y="23732"/>
                  </a:lnTo>
                  <a:cubicBezTo>
                    <a:pt x="43435" y="23732"/>
                    <a:pt x="44331" y="22837"/>
                    <a:pt x="44331" y="21493"/>
                  </a:cubicBezTo>
                  <a:cubicBezTo>
                    <a:pt x="44331" y="20150"/>
                    <a:pt x="42987" y="20150"/>
                    <a:pt x="42092" y="20150"/>
                  </a:cubicBezTo>
                  <a:close/>
                </a:path>
              </a:pathLst>
            </a:custGeom>
            <a:solidFill>
              <a:srgbClr val="231F20"/>
            </a:solidFill>
            <a:ln w="4474" cap="flat">
              <a:noFill/>
              <a:prstDash val="solid"/>
              <a:miter/>
            </a:ln>
          </p:spPr>
          <p:txBody>
            <a:bodyPr rtlCol="0" anchor="ctr"/>
            <a:lstStyle/>
            <a:p>
              <a:endParaRPr lang="en-US"/>
            </a:p>
          </p:txBody>
        </p:sp>
        <p:sp>
          <p:nvSpPr>
            <p:cNvPr id="4769" name="Freeform: Shape 4768">
              <a:extLst>
                <a:ext uri="{FF2B5EF4-FFF2-40B4-BE49-F238E27FC236}">
                  <a16:creationId xmlns:a16="http://schemas.microsoft.com/office/drawing/2014/main" id="{BCA21C1E-46AD-41CB-9ECA-144D33D06D32}"/>
                </a:ext>
              </a:extLst>
            </p:cNvPr>
            <p:cNvSpPr/>
            <p:nvPr/>
          </p:nvSpPr>
          <p:spPr>
            <a:xfrm>
              <a:off x="5574400" y="5202414"/>
              <a:ext cx="138812" cy="98512"/>
            </a:xfrm>
            <a:custGeom>
              <a:avLst/>
              <a:gdLst>
                <a:gd name="connsiteX0" fmla="*/ 102990 w 138812"/>
                <a:gd name="connsiteY0" fmla="*/ 26867 h 98511"/>
                <a:gd name="connsiteX1" fmla="*/ 102094 w 138812"/>
                <a:gd name="connsiteY1" fmla="*/ 26867 h 98511"/>
                <a:gd name="connsiteX2" fmla="*/ 62689 w 138812"/>
                <a:gd name="connsiteY2" fmla="*/ 0 h 98511"/>
                <a:gd name="connsiteX3" fmla="*/ 20150 w 138812"/>
                <a:gd name="connsiteY3" fmla="*/ 41644 h 98511"/>
                <a:gd name="connsiteX4" fmla="*/ 0 w 138812"/>
                <a:gd name="connsiteY4" fmla="*/ 69406 h 98511"/>
                <a:gd name="connsiteX5" fmla="*/ 7612 w 138812"/>
                <a:gd name="connsiteY5" fmla="*/ 89109 h 98511"/>
                <a:gd name="connsiteX6" fmla="*/ 29106 w 138812"/>
                <a:gd name="connsiteY6" fmla="*/ 98512 h 98511"/>
                <a:gd name="connsiteX7" fmla="*/ 40300 w 138812"/>
                <a:gd name="connsiteY7" fmla="*/ 98512 h 98511"/>
                <a:gd name="connsiteX8" fmla="*/ 42539 w 138812"/>
                <a:gd name="connsiteY8" fmla="*/ 96273 h 98511"/>
                <a:gd name="connsiteX9" fmla="*/ 40300 w 138812"/>
                <a:gd name="connsiteY9" fmla="*/ 94034 h 98511"/>
                <a:gd name="connsiteX10" fmla="*/ 29106 w 138812"/>
                <a:gd name="connsiteY10" fmla="*/ 94034 h 98511"/>
                <a:gd name="connsiteX11" fmla="*/ 11642 w 138812"/>
                <a:gd name="connsiteY11" fmla="*/ 86870 h 98511"/>
                <a:gd name="connsiteX12" fmla="*/ 10747 w 138812"/>
                <a:gd name="connsiteY12" fmla="*/ 85974 h 98511"/>
                <a:gd name="connsiteX13" fmla="*/ 4478 w 138812"/>
                <a:gd name="connsiteY13" fmla="*/ 69406 h 98511"/>
                <a:gd name="connsiteX14" fmla="*/ 22837 w 138812"/>
                <a:gd name="connsiteY14" fmla="*/ 45674 h 98511"/>
                <a:gd name="connsiteX15" fmla="*/ 24628 w 138812"/>
                <a:gd name="connsiteY15" fmla="*/ 43435 h 98511"/>
                <a:gd name="connsiteX16" fmla="*/ 24628 w 138812"/>
                <a:gd name="connsiteY16" fmla="*/ 42539 h 98511"/>
                <a:gd name="connsiteX17" fmla="*/ 62689 w 138812"/>
                <a:gd name="connsiteY17" fmla="*/ 4478 h 98511"/>
                <a:gd name="connsiteX18" fmla="*/ 98512 w 138812"/>
                <a:gd name="connsiteY18" fmla="*/ 30001 h 98511"/>
                <a:gd name="connsiteX19" fmla="*/ 100751 w 138812"/>
                <a:gd name="connsiteY19" fmla="*/ 31345 h 98511"/>
                <a:gd name="connsiteX20" fmla="*/ 102990 w 138812"/>
                <a:gd name="connsiteY20" fmla="*/ 31345 h 98511"/>
                <a:gd name="connsiteX21" fmla="*/ 134335 w 138812"/>
                <a:gd name="connsiteY21" fmla="*/ 62689 h 98511"/>
                <a:gd name="connsiteX22" fmla="*/ 128961 w 138812"/>
                <a:gd name="connsiteY22" fmla="*/ 80153 h 98511"/>
                <a:gd name="connsiteX23" fmla="*/ 129409 w 138812"/>
                <a:gd name="connsiteY23" fmla="*/ 83288 h 98511"/>
                <a:gd name="connsiteX24" fmla="*/ 132543 w 138812"/>
                <a:gd name="connsiteY24" fmla="*/ 82840 h 98511"/>
                <a:gd name="connsiteX25" fmla="*/ 138812 w 138812"/>
                <a:gd name="connsiteY25" fmla="*/ 62689 h 98511"/>
                <a:gd name="connsiteX26" fmla="*/ 102990 w 138812"/>
                <a:gd name="connsiteY26" fmla="*/ 26867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8812" h="98511">
                  <a:moveTo>
                    <a:pt x="102990" y="26867"/>
                  </a:moveTo>
                  <a:cubicBezTo>
                    <a:pt x="102542" y="26867"/>
                    <a:pt x="102542" y="26867"/>
                    <a:pt x="102094" y="26867"/>
                  </a:cubicBezTo>
                  <a:cubicBezTo>
                    <a:pt x="95825" y="10747"/>
                    <a:pt x="80153" y="0"/>
                    <a:pt x="62689" y="0"/>
                  </a:cubicBezTo>
                  <a:cubicBezTo>
                    <a:pt x="39405" y="0"/>
                    <a:pt x="20598" y="18807"/>
                    <a:pt x="20150" y="41644"/>
                  </a:cubicBezTo>
                  <a:cubicBezTo>
                    <a:pt x="8060" y="45674"/>
                    <a:pt x="0" y="56868"/>
                    <a:pt x="0" y="69406"/>
                  </a:cubicBezTo>
                  <a:cubicBezTo>
                    <a:pt x="0" y="76571"/>
                    <a:pt x="2687" y="83735"/>
                    <a:pt x="7612" y="89109"/>
                  </a:cubicBezTo>
                  <a:cubicBezTo>
                    <a:pt x="12986" y="94930"/>
                    <a:pt x="21046" y="98512"/>
                    <a:pt x="29106" y="98512"/>
                  </a:cubicBezTo>
                  <a:lnTo>
                    <a:pt x="40300" y="98512"/>
                  </a:lnTo>
                  <a:cubicBezTo>
                    <a:pt x="41644" y="98512"/>
                    <a:pt x="42539" y="97616"/>
                    <a:pt x="42539" y="96273"/>
                  </a:cubicBezTo>
                  <a:cubicBezTo>
                    <a:pt x="42539" y="94930"/>
                    <a:pt x="41644" y="94034"/>
                    <a:pt x="40300" y="94034"/>
                  </a:cubicBezTo>
                  <a:lnTo>
                    <a:pt x="29106" y="94034"/>
                  </a:lnTo>
                  <a:cubicBezTo>
                    <a:pt x="22389" y="94034"/>
                    <a:pt x="16120" y="91348"/>
                    <a:pt x="11642" y="86870"/>
                  </a:cubicBezTo>
                  <a:lnTo>
                    <a:pt x="10747" y="85974"/>
                  </a:lnTo>
                  <a:cubicBezTo>
                    <a:pt x="6717" y="81496"/>
                    <a:pt x="4478" y="75675"/>
                    <a:pt x="4478" y="69406"/>
                  </a:cubicBezTo>
                  <a:cubicBezTo>
                    <a:pt x="4478" y="58212"/>
                    <a:pt x="12090" y="48360"/>
                    <a:pt x="22837" y="45674"/>
                  </a:cubicBezTo>
                  <a:cubicBezTo>
                    <a:pt x="23733" y="45226"/>
                    <a:pt x="24628" y="44331"/>
                    <a:pt x="24628" y="43435"/>
                  </a:cubicBezTo>
                  <a:lnTo>
                    <a:pt x="24628" y="42539"/>
                  </a:lnTo>
                  <a:cubicBezTo>
                    <a:pt x="24628" y="21493"/>
                    <a:pt x="41644" y="4478"/>
                    <a:pt x="62689" y="4478"/>
                  </a:cubicBezTo>
                  <a:cubicBezTo>
                    <a:pt x="78809" y="4478"/>
                    <a:pt x="93139" y="14777"/>
                    <a:pt x="98512" y="30001"/>
                  </a:cubicBezTo>
                  <a:cubicBezTo>
                    <a:pt x="98960" y="30897"/>
                    <a:pt x="99856" y="31793"/>
                    <a:pt x="100751" y="31345"/>
                  </a:cubicBezTo>
                  <a:cubicBezTo>
                    <a:pt x="101646" y="31345"/>
                    <a:pt x="102094" y="31345"/>
                    <a:pt x="102990" y="31345"/>
                  </a:cubicBezTo>
                  <a:cubicBezTo>
                    <a:pt x="120453" y="31345"/>
                    <a:pt x="134335" y="45226"/>
                    <a:pt x="134335" y="62689"/>
                  </a:cubicBezTo>
                  <a:cubicBezTo>
                    <a:pt x="134335" y="68958"/>
                    <a:pt x="132543" y="75227"/>
                    <a:pt x="128961" y="80153"/>
                  </a:cubicBezTo>
                  <a:cubicBezTo>
                    <a:pt x="128065" y="81049"/>
                    <a:pt x="128513" y="82392"/>
                    <a:pt x="129409" y="83288"/>
                  </a:cubicBezTo>
                  <a:cubicBezTo>
                    <a:pt x="130304" y="84183"/>
                    <a:pt x="131648" y="83735"/>
                    <a:pt x="132543" y="82840"/>
                  </a:cubicBezTo>
                  <a:cubicBezTo>
                    <a:pt x="136573" y="77019"/>
                    <a:pt x="138812" y="69854"/>
                    <a:pt x="138812" y="62689"/>
                  </a:cubicBezTo>
                  <a:cubicBezTo>
                    <a:pt x="138812" y="42987"/>
                    <a:pt x="122692" y="26867"/>
                    <a:pt x="102990" y="26867"/>
                  </a:cubicBezTo>
                  <a:close/>
                </a:path>
              </a:pathLst>
            </a:custGeom>
            <a:solidFill>
              <a:srgbClr val="231F20"/>
            </a:solidFill>
            <a:ln w="4474" cap="flat">
              <a:noFill/>
              <a:prstDash val="solid"/>
              <a:miter/>
            </a:ln>
          </p:spPr>
          <p:txBody>
            <a:bodyPr rtlCol="0" anchor="ctr"/>
            <a:lstStyle/>
            <a:p>
              <a:endParaRPr lang="en-US"/>
            </a:p>
          </p:txBody>
        </p:sp>
      </p:grpSp>
      <p:grpSp>
        <p:nvGrpSpPr>
          <p:cNvPr id="4770" name="Group 4769">
            <a:extLst>
              <a:ext uri="{FF2B5EF4-FFF2-40B4-BE49-F238E27FC236}">
                <a16:creationId xmlns:a16="http://schemas.microsoft.com/office/drawing/2014/main" id="{4216D844-74D6-417C-AFE7-6FD60960D200}"/>
              </a:ext>
              <a:ext uri="{C183D7F6-B498-43B3-948B-1728B52AA6E4}">
                <adec:decorative xmlns:adec="http://schemas.microsoft.com/office/drawing/2017/decorative" val="1"/>
              </a:ext>
            </a:extLst>
          </p:cNvPr>
          <p:cNvGrpSpPr>
            <a:grpSpLocks noChangeAspect="1"/>
          </p:cNvGrpSpPr>
          <p:nvPr/>
        </p:nvGrpSpPr>
        <p:grpSpPr>
          <a:xfrm>
            <a:off x="6365868" y="2092050"/>
            <a:ext cx="134335" cy="134607"/>
            <a:chOff x="585215" y="5551236"/>
            <a:chExt cx="134335" cy="134607"/>
          </a:xfrm>
        </p:grpSpPr>
        <p:sp>
          <p:nvSpPr>
            <p:cNvPr id="4771" name="Freeform: Shape 4770">
              <a:extLst>
                <a:ext uri="{FF2B5EF4-FFF2-40B4-BE49-F238E27FC236}">
                  <a16:creationId xmlns:a16="http://schemas.microsoft.com/office/drawing/2014/main" id="{E0B4DB14-BDA4-4339-A324-DB9679EEF06E}"/>
                </a:ext>
              </a:extLst>
            </p:cNvPr>
            <p:cNvSpPr/>
            <p:nvPr/>
          </p:nvSpPr>
          <p:spPr>
            <a:xfrm>
              <a:off x="585215" y="5551236"/>
              <a:ext cx="134335" cy="94034"/>
            </a:xfrm>
            <a:custGeom>
              <a:avLst/>
              <a:gdLst>
                <a:gd name="connsiteX0" fmla="*/ 98064 w 134334"/>
                <a:gd name="connsiteY0" fmla="*/ 98512 h 94034"/>
                <a:gd name="connsiteX1" fmla="*/ 95825 w 134334"/>
                <a:gd name="connsiteY1" fmla="*/ 96273 h 94034"/>
                <a:gd name="connsiteX2" fmla="*/ 98064 w 134334"/>
                <a:gd name="connsiteY2" fmla="*/ 94034 h 94034"/>
                <a:gd name="connsiteX3" fmla="*/ 104781 w 134334"/>
                <a:gd name="connsiteY3" fmla="*/ 94034 h 94034"/>
                <a:gd name="connsiteX4" fmla="*/ 134335 w 134334"/>
                <a:gd name="connsiteY4" fmla="*/ 62689 h 94034"/>
                <a:gd name="connsiteX5" fmla="*/ 102990 w 134334"/>
                <a:gd name="connsiteY5" fmla="*/ 31344 h 94034"/>
                <a:gd name="connsiteX6" fmla="*/ 100751 w 134334"/>
                <a:gd name="connsiteY6" fmla="*/ 31344 h 94034"/>
                <a:gd name="connsiteX7" fmla="*/ 98512 w 134334"/>
                <a:gd name="connsiteY7" fmla="*/ 30001 h 94034"/>
                <a:gd name="connsiteX8" fmla="*/ 62689 w 134334"/>
                <a:gd name="connsiteY8" fmla="*/ 4478 h 94034"/>
                <a:gd name="connsiteX9" fmla="*/ 24628 w 134334"/>
                <a:gd name="connsiteY9" fmla="*/ 42539 h 94034"/>
                <a:gd name="connsiteX10" fmla="*/ 24628 w 134334"/>
                <a:gd name="connsiteY10" fmla="*/ 43435 h 94034"/>
                <a:gd name="connsiteX11" fmla="*/ 22837 w 134334"/>
                <a:gd name="connsiteY11" fmla="*/ 45674 h 94034"/>
                <a:gd name="connsiteX12" fmla="*/ 4478 w 134334"/>
                <a:gd name="connsiteY12" fmla="*/ 69406 h 94034"/>
                <a:gd name="connsiteX13" fmla="*/ 29106 w 134334"/>
                <a:gd name="connsiteY13" fmla="*/ 94034 h 94034"/>
                <a:gd name="connsiteX14" fmla="*/ 31345 w 134334"/>
                <a:gd name="connsiteY14" fmla="*/ 96273 h 94034"/>
                <a:gd name="connsiteX15" fmla="*/ 29106 w 134334"/>
                <a:gd name="connsiteY15" fmla="*/ 98512 h 94034"/>
                <a:gd name="connsiteX16" fmla="*/ 0 w 134334"/>
                <a:gd name="connsiteY16" fmla="*/ 69406 h 94034"/>
                <a:gd name="connsiteX17" fmla="*/ 20150 w 134334"/>
                <a:gd name="connsiteY17" fmla="*/ 41644 h 94034"/>
                <a:gd name="connsiteX18" fmla="*/ 62689 w 134334"/>
                <a:gd name="connsiteY18" fmla="*/ 0 h 94034"/>
                <a:gd name="connsiteX19" fmla="*/ 102094 w 134334"/>
                <a:gd name="connsiteY19" fmla="*/ 26867 h 94034"/>
                <a:gd name="connsiteX20" fmla="*/ 102990 w 134334"/>
                <a:gd name="connsiteY20" fmla="*/ 26867 h 94034"/>
                <a:gd name="connsiteX21" fmla="*/ 138812 w 134334"/>
                <a:gd name="connsiteY21" fmla="*/ 62689 h 94034"/>
                <a:gd name="connsiteX22" fmla="*/ 104781 w 134334"/>
                <a:gd name="connsiteY22" fmla="*/ 98512 h 94034"/>
                <a:gd name="connsiteX23" fmla="*/ 98064 w 134334"/>
                <a:gd name="connsiteY23" fmla="*/ 98512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334" h="94034">
                  <a:moveTo>
                    <a:pt x="98064" y="98512"/>
                  </a:moveTo>
                  <a:cubicBezTo>
                    <a:pt x="96721" y="98512"/>
                    <a:pt x="95825" y="97616"/>
                    <a:pt x="95825" y="96273"/>
                  </a:cubicBezTo>
                  <a:cubicBezTo>
                    <a:pt x="95825" y="94930"/>
                    <a:pt x="96721" y="94034"/>
                    <a:pt x="98064" y="94034"/>
                  </a:cubicBezTo>
                  <a:cubicBezTo>
                    <a:pt x="98512" y="94034"/>
                    <a:pt x="103885" y="94034"/>
                    <a:pt x="104781" y="94034"/>
                  </a:cubicBezTo>
                  <a:cubicBezTo>
                    <a:pt x="121349" y="93139"/>
                    <a:pt x="134335" y="79257"/>
                    <a:pt x="134335" y="62689"/>
                  </a:cubicBezTo>
                  <a:cubicBezTo>
                    <a:pt x="134335" y="45226"/>
                    <a:pt x="120453" y="31344"/>
                    <a:pt x="102990" y="31344"/>
                  </a:cubicBezTo>
                  <a:cubicBezTo>
                    <a:pt x="102094" y="31344"/>
                    <a:pt x="101646" y="31344"/>
                    <a:pt x="100751" y="31344"/>
                  </a:cubicBezTo>
                  <a:cubicBezTo>
                    <a:pt x="99855" y="31344"/>
                    <a:pt x="98512" y="30897"/>
                    <a:pt x="98512" y="30001"/>
                  </a:cubicBezTo>
                  <a:cubicBezTo>
                    <a:pt x="93139" y="14777"/>
                    <a:pt x="78810" y="4478"/>
                    <a:pt x="62689" y="4478"/>
                  </a:cubicBezTo>
                  <a:cubicBezTo>
                    <a:pt x="41644" y="4478"/>
                    <a:pt x="24628" y="21493"/>
                    <a:pt x="24628" y="42539"/>
                  </a:cubicBezTo>
                  <a:lnTo>
                    <a:pt x="24628" y="43435"/>
                  </a:lnTo>
                  <a:cubicBezTo>
                    <a:pt x="24628" y="44330"/>
                    <a:pt x="23732" y="45226"/>
                    <a:pt x="22837" y="45674"/>
                  </a:cubicBezTo>
                  <a:cubicBezTo>
                    <a:pt x="12090" y="48360"/>
                    <a:pt x="4478" y="58211"/>
                    <a:pt x="4478" y="69406"/>
                  </a:cubicBezTo>
                  <a:cubicBezTo>
                    <a:pt x="4478" y="82839"/>
                    <a:pt x="15672" y="94034"/>
                    <a:pt x="29106" y="94034"/>
                  </a:cubicBezTo>
                  <a:cubicBezTo>
                    <a:pt x="30449" y="94034"/>
                    <a:pt x="31345" y="94930"/>
                    <a:pt x="31345" y="96273"/>
                  </a:cubicBezTo>
                  <a:cubicBezTo>
                    <a:pt x="31345" y="97616"/>
                    <a:pt x="30449" y="98512"/>
                    <a:pt x="29106" y="98512"/>
                  </a:cubicBezTo>
                  <a:cubicBezTo>
                    <a:pt x="12986" y="98512"/>
                    <a:pt x="0" y="85526"/>
                    <a:pt x="0" y="69406"/>
                  </a:cubicBezTo>
                  <a:cubicBezTo>
                    <a:pt x="0" y="56868"/>
                    <a:pt x="8060" y="45674"/>
                    <a:pt x="20150" y="41644"/>
                  </a:cubicBezTo>
                  <a:cubicBezTo>
                    <a:pt x="20598" y="18359"/>
                    <a:pt x="39405" y="0"/>
                    <a:pt x="62689" y="0"/>
                  </a:cubicBezTo>
                  <a:cubicBezTo>
                    <a:pt x="80153" y="0"/>
                    <a:pt x="95825" y="10747"/>
                    <a:pt x="102094" y="26867"/>
                  </a:cubicBezTo>
                  <a:cubicBezTo>
                    <a:pt x="102542" y="26867"/>
                    <a:pt x="102542" y="26867"/>
                    <a:pt x="102990" y="26867"/>
                  </a:cubicBezTo>
                  <a:cubicBezTo>
                    <a:pt x="122692" y="26867"/>
                    <a:pt x="138812" y="42987"/>
                    <a:pt x="138812" y="62689"/>
                  </a:cubicBezTo>
                  <a:cubicBezTo>
                    <a:pt x="138812" y="81944"/>
                    <a:pt x="124036" y="97616"/>
                    <a:pt x="104781" y="98512"/>
                  </a:cubicBezTo>
                  <a:cubicBezTo>
                    <a:pt x="104333" y="98512"/>
                    <a:pt x="98512" y="98512"/>
                    <a:pt x="98064" y="98512"/>
                  </a:cubicBezTo>
                  <a:close/>
                </a:path>
              </a:pathLst>
            </a:custGeom>
            <a:solidFill>
              <a:srgbClr val="231F20"/>
            </a:solidFill>
            <a:ln w="4474" cap="flat">
              <a:noFill/>
              <a:prstDash val="solid"/>
              <a:miter/>
            </a:ln>
          </p:spPr>
          <p:txBody>
            <a:bodyPr rtlCol="0" anchor="ctr"/>
            <a:lstStyle/>
            <a:p>
              <a:endParaRPr lang="en-US"/>
            </a:p>
          </p:txBody>
        </p:sp>
        <p:sp>
          <p:nvSpPr>
            <p:cNvPr id="4772" name="Freeform: Shape 4771">
              <a:extLst>
                <a:ext uri="{FF2B5EF4-FFF2-40B4-BE49-F238E27FC236}">
                  <a16:creationId xmlns:a16="http://schemas.microsoft.com/office/drawing/2014/main" id="{499A5B25-BBB3-4504-AAB2-F071065A0098}"/>
                </a:ext>
              </a:extLst>
            </p:cNvPr>
            <p:cNvSpPr/>
            <p:nvPr/>
          </p:nvSpPr>
          <p:spPr>
            <a:xfrm>
              <a:off x="625180" y="5605242"/>
              <a:ext cx="44778" cy="80601"/>
            </a:xfrm>
            <a:custGeom>
              <a:avLst/>
              <a:gdLst>
                <a:gd name="connsiteX0" fmla="*/ 16008 w 44778"/>
                <a:gd name="connsiteY0" fmla="*/ 84806 h 80600"/>
                <a:gd name="connsiteX1" fmla="*/ 14665 w 44778"/>
                <a:gd name="connsiteY1" fmla="*/ 84358 h 80600"/>
                <a:gd name="connsiteX2" fmla="*/ 14217 w 44778"/>
                <a:gd name="connsiteY2" fmla="*/ 81224 h 80600"/>
                <a:gd name="connsiteX3" fmla="*/ 38845 w 44778"/>
                <a:gd name="connsiteY3" fmla="*/ 44506 h 80600"/>
                <a:gd name="connsiteX4" fmla="*/ 2127 w 44778"/>
                <a:gd name="connsiteY4" fmla="*/ 44506 h 80600"/>
                <a:gd name="connsiteX5" fmla="*/ 336 w 44778"/>
                <a:gd name="connsiteY5" fmla="*/ 43610 h 80600"/>
                <a:gd name="connsiteX6" fmla="*/ 336 w 44778"/>
                <a:gd name="connsiteY6" fmla="*/ 41372 h 80600"/>
                <a:gd name="connsiteX7" fmla="*/ 20934 w 44778"/>
                <a:gd name="connsiteY7" fmla="*/ 1071 h 80600"/>
                <a:gd name="connsiteX8" fmla="*/ 24068 w 44778"/>
                <a:gd name="connsiteY8" fmla="*/ 176 h 80600"/>
                <a:gd name="connsiteX9" fmla="*/ 24964 w 44778"/>
                <a:gd name="connsiteY9" fmla="*/ 3310 h 80600"/>
                <a:gd name="connsiteX10" fmla="*/ 6157 w 44778"/>
                <a:gd name="connsiteY10" fmla="*/ 40476 h 80600"/>
                <a:gd name="connsiteX11" fmla="*/ 43323 w 44778"/>
                <a:gd name="connsiteY11" fmla="*/ 40476 h 80600"/>
                <a:gd name="connsiteX12" fmla="*/ 45114 w 44778"/>
                <a:gd name="connsiteY12" fmla="*/ 41819 h 80600"/>
                <a:gd name="connsiteX13" fmla="*/ 45114 w 44778"/>
                <a:gd name="connsiteY13" fmla="*/ 44058 h 80600"/>
                <a:gd name="connsiteX14" fmla="*/ 18247 w 44778"/>
                <a:gd name="connsiteY14" fmla="*/ 84358 h 80600"/>
                <a:gd name="connsiteX15" fmla="*/ 16008 w 44778"/>
                <a:gd name="connsiteY15" fmla="*/ 84806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78" h="80600">
                  <a:moveTo>
                    <a:pt x="16008" y="84806"/>
                  </a:moveTo>
                  <a:cubicBezTo>
                    <a:pt x="15560" y="84806"/>
                    <a:pt x="15113" y="84806"/>
                    <a:pt x="14665" y="84358"/>
                  </a:cubicBezTo>
                  <a:cubicBezTo>
                    <a:pt x="13769" y="83463"/>
                    <a:pt x="13322" y="82120"/>
                    <a:pt x="14217" y="81224"/>
                  </a:cubicBezTo>
                  <a:lnTo>
                    <a:pt x="38845" y="44506"/>
                  </a:lnTo>
                  <a:lnTo>
                    <a:pt x="2127" y="44506"/>
                  </a:lnTo>
                  <a:cubicBezTo>
                    <a:pt x="1231" y="44506"/>
                    <a:pt x="784" y="44058"/>
                    <a:pt x="336" y="43610"/>
                  </a:cubicBezTo>
                  <a:cubicBezTo>
                    <a:pt x="-112" y="43163"/>
                    <a:pt x="-112" y="42267"/>
                    <a:pt x="336" y="41372"/>
                  </a:cubicBezTo>
                  <a:lnTo>
                    <a:pt x="20934" y="1071"/>
                  </a:lnTo>
                  <a:cubicBezTo>
                    <a:pt x="21382" y="176"/>
                    <a:pt x="22725" y="-272"/>
                    <a:pt x="24068" y="176"/>
                  </a:cubicBezTo>
                  <a:cubicBezTo>
                    <a:pt x="24964" y="624"/>
                    <a:pt x="25412" y="1967"/>
                    <a:pt x="24964" y="3310"/>
                  </a:cubicBezTo>
                  <a:lnTo>
                    <a:pt x="6157" y="40476"/>
                  </a:lnTo>
                  <a:lnTo>
                    <a:pt x="43323" y="40476"/>
                  </a:lnTo>
                  <a:cubicBezTo>
                    <a:pt x="44218" y="40476"/>
                    <a:pt x="45114" y="40924"/>
                    <a:pt x="45114" y="41819"/>
                  </a:cubicBezTo>
                  <a:cubicBezTo>
                    <a:pt x="45562" y="42715"/>
                    <a:pt x="45562" y="43610"/>
                    <a:pt x="45114" y="44058"/>
                  </a:cubicBezTo>
                  <a:lnTo>
                    <a:pt x="18247" y="84358"/>
                  </a:lnTo>
                  <a:cubicBezTo>
                    <a:pt x="17352" y="84358"/>
                    <a:pt x="16456" y="84806"/>
                    <a:pt x="16008" y="84806"/>
                  </a:cubicBezTo>
                  <a:close/>
                </a:path>
              </a:pathLst>
            </a:custGeom>
            <a:solidFill>
              <a:srgbClr val="231F20"/>
            </a:solidFill>
            <a:ln w="4474" cap="flat">
              <a:noFill/>
              <a:prstDash val="solid"/>
              <a:miter/>
            </a:ln>
          </p:spPr>
          <p:txBody>
            <a:bodyPr rtlCol="0" anchor="ctr"/>
            <a:lstStyle/>
            <a:p>
              <a:endParaRPr lang="en-US"/>
            </a:p>
          </p:txBody>
        </p:sp>
      </p:grpSp>
      <p:sp>
        <p:nvSpPr>
          <p:cNvPr id="4773" name="Freeform: Shape 4772">
            <a:extLst>
              <a:ext uri="{FF2B5EF4-FFF2-40B4-BE49-F238E27FC236}">
                <a16:creationId xmlns:a16="http://schemas.microsoft.com/office/drawing/2014/main" id="{B1CB426D-6EE9-488E-BD53-E7F138748208}"/>
              </a:ext>
              <a:ext uri="{C183D7F6-B498-43B3-948B-1728B52AA6E4}">
                <adec:decorative xmlns:adec="http://schemas.microsoft.com/office/drawing/2017/decorative" val="1"/>
              </a:ext>
            </a:extLst>
          </p:cNvPr>
          <p:cNvSpPr>
            <a:spLocks noChangeAspect="1"/>
          </p:cNvSpPr>
          <p:nvPr/>
        </p:nvSpPr>
        <p:spPr>
          <a:xfrm>
            <a:off x="9017912" y="2078616"/>
            <a:ext cx="89556" cy="147768"/>
          </a:xfrm>
          <a:custGeom>
            <a:avLst/>
            <a:gdLst>
              <a:gd name="connsiteX0" fmla="*/ 91963 w 89556"/>
              <a:gd name="connsiteY0" fmla="*/ 2239 h 147767"/>
              <a:gd name="connsiteX1" fmla="*/ 89277 w 89556"/>
              <a:gd name="connsiteY1" fmla="*/ 0 h 147767"/>
              <a:gd name="connsiteX2" fmla="*/ 34647 w 89556"/>
              <a:gd name="connsiteY2" fmla="*/ 0 h 147767"/>
              <a:gd name="connsiteX3" fmla="*/ 31961 w 89556"/>
              <a:gd name="connsiteY3" fmla="*/ 1791 h 147767"/>
              <a:gd name="connsiteX4" fmla="*/ 32856 w 89556"/>
              <a:gd name="connsiteY4" fmla="*/ 4925 h 147767"/>
              <a:gd name="connsiteX5" fmla="*/ 53006 w 89556"/>
              <a:gd name="connsiteY5" fmla="*/ 21941 h 147767"/>
              <a:gd name="connsiteX6" fmla="*/ 54350 w 89556"/>
              <a:gd name="connsiteY6" fmla="*/ 26419 h 147767"/>
              <a:gd name="connsiteX7" fmla="*/ 40916 w 89556"/>
              <a:gd name="connsiteY7" fmla="*/ 26419 h 147767"/>
              <a:gd name="connsiteX8" fmla="*/ 5989 w 89556"/>
              <a:gd name="connsiteY8" fmla="*/ 61346 h 147767"/>
              <a:gd name="connsiteX9" fmla="*/ 5989 w 89556"/>
              <a:gd name="connsiteY9" fmla="*/ 81944 h 147767"/>
              <a:gd name="connsiteX10" fmla="*/ 5989 w 89556"/>
              <a:gd name="connsiteY10" fmla="*/ 81944 h 147767"/>
              <a:gd name="connsiteX11" fmla="*/ 168 w 89556"/>
              <a:gd name="connsiteY11" fmla="*/ 116871 h 147767"/>
              <a:gd name="connsiteX12" fmla="*/ 1511 w 89556"/>
              <a:gd name="connsiteY12" fmla="*/ 122244 h 147767"/>
              <a:gd name="connsiteX13" fmla="*/ 6437 w 89556"/>
              <a:gd name="connsiteY13" fmla="*/ 124483 h 147767"/>
              <a:gd name="connsiteX14" fmla="*/ 9124 w 89556"/>
              <a:gd name="connsiteY14" fmla="*/ 124483 h 147767"/>
              <a:gd name="connsiteX15" fmla="*/ 14049 w 89556"/>
              <a:gd name="connsiteY15" fmla="*/ 122244 h 147767"/>
              <a:gd name="connsiteX16" fmla="*/ 15393 w 89556"/>
              <a:gd name="connsiteY16" fmla="*/ 116871 h 147767"/>
              <a:gd name="connsiteX17" fmla="*/ 9571 w 89556"/>
              <a:gd name="connsiteY17" fmla="*/ 81944 h 147767"/>
              <a:gd name="connsiteX18" fmla="*/ 9571 w 89556"/>
              <a:gd name="connsiteY18" fmla="*/ 61346 h 147767"/>
              <a:gd name="connsiteX19" fmla="*/ 40021 w 89556"/>
              <a:gd name="connsiteY19" fmla="*/ 30897 h 147767"/>
              <a:gd name="connsiteX20" fmla="*/ 44946 w 89556"/>
              <a:gd name="connsiteY20" fmla="*/ 30897 h 147767"/>
              <a:gd name="connsiteX21" fmla="*/ 31513 w 89556"/>
              <a:gd name="connsiteY21" fmla="*/ 55077 h 147767"/>
              <a:gd name="connsiteX22" fmla="*/ 31513 w 89556"/>
              <a:gd name="connsiteY22" fmla="*/ 140156 h 147767"/>
              <a:gd name="connsiteX23" fmla="*/ 42707 w 89556"/>
              <a:gd name="connsiteY23" fmla="*/ 151350 h 147767"/>
              <a:gd name="connsiteX24" fmla="*/ 78530 w 89556"/>
              <a:gd name="connsiteY24" fmla="*/ 151350 h 147767"/>
              <a:gd name="connsiteX25" fmla="*/ 89724 w 89556"/>
              <a:gd name="connsiteY25" fmla="*/ 140156 h 147767"/>
              <a:gd name="connsiteX26" fmla="*/ 89724 w 89556"/>
              <a:gd name="connsiteY26" fmla="*/ 115528 h 147767"/>
              <a:gd name="connsiteX27" fmla="*/ 89724 w 89556"/>
              <a:gd name="connsiteY27" fmla="*/ 61794 h 147767"/>
              <a:gd name="connsiteX28" fmla="*/ 89724 w 89556"/>
              <a:gd name="connsiteY28" fmla="*/ 55077 h 147767"/>
              <a:gd name="connsiteX29" fmla="*/ 67783 w 89556"/>
              <a:gd name="connsiteY29" fmla="*/ 26867 h 147767"/>
              <a:gd name="connsiteX30" fmla="*/ 69574 w 89556"/>
              <a:gd name="connsiteY30" fmla="*/ 21941 h 147767"/>
              <a:gd name="connsiteX31" fmla="*/ 90172 w 89556"/>
              <a:gd name="connsiteY31" fmla="*/ 4478 h 147767"/>
              <a:gd name="connsiteX32" fmla="*/ 91963 w 89556"/>
              <a:gd name="connsiteY32" fmla="*/ 2239 h 147767"/>
              <a:gd name="connsiteX33" fmla="*/ 11362 w 89556"/>
              <a:gd name="connsiteY33" fmla="*/ 118214 h 147767"/>
              <a:gd name="connsiteX34" fmla="*/ 10915 w 89556"/>
              <a:gd name="connsiteY34" fmla="*/ 120005 h 147767"/>
              <a:gd name="connsiteX35" fmla="*/ 9124 w 89556"/>
              <a:gd name="connsiteY35" fmla="*/ 120901 h 147767"/>
              <a:gd name="connsiteX36" fmla="*/ 6437 w 89556"/>
              <a:gd name="connsiteY36" fmla="*/ 120901 h 147767"/>
              <a:gd name="connsiteX37" fmla="*/ 4646 w 89556"/>
              <a:gd name="connsiteY37" fmla="*/ 120005 h 147767"/>
              <a:gd name="connsiteX38" fmla="*/ 4198 w 89556"/>
              <a:gd name="connsiteY38" fmla="*/ 118214 h 147767"/>
              <a:gd name="connsiteX39" fmla="*/ 7780 w 89556"/>
              <a:gd name="connsiteY39" fmla="*/ 96273 h 147767"/>
              <a:gd name="connsiteX40" fmla="*/ 11362 w 89556"/>
              <a:gd name="connsiteY40" fmla="*/ 118214 h 147767"/>
              <a:gd name="connsiteX41" fmla="*/ 65992 w 89556"/>
              <a:gd name="connsiteY41" fmla="*/ 22389 h 147767"/>
              <a:gd name="connsiteX42" fmla="*/ 61514 w 89556"/>
              <a:gd name="connsiteY42" fmla="*/ 26867 h 147767"/>
              <a:gd name="connsiteX43" fmla="*/ 57036 w 89556"/>
              <a:gd name="connsiteY43" fmla="*/ 22389 h 147767"/>
              <a:gd name="connsiteX44" fmla="*/ 61514 w 89556"/>
              <a:gd name="connsiteY44" fmla="*/ 17911 h 147767"/>
              <a:gd name="connsiteX45" fmla="*/ 65992 w 89556"/>
              <a:gd name="connsiteY45" fmla="*/ 22389 h 147767"/>
              <a:gd name="connsiteX46" fmla="*/ 86142 w 89556"/>
              <a:gd name="connsiteY46" fmla="*/ 114184 h 147767"/>
              <a:gd name="connsiteX47" fmla="*/ 52558 w 89556"/>
              <a:gd name="connsiteY47" fmla="*/ 114184 h 147767"/>
              <a:gd name="connsiteX48" fmla="*/ 50319 w 89556"/>
              <a:gd name="connsiteY48" fmla="*/ 111945 h 147767"/>
              <a:gd name="connsiteX49" fmla="*/ 50319 w 89556"/>
              <a:gd name="connsiteY49" fmla="*/ 67167 h 147767"/>
              <a:gd name="connsiteX50" fmla="*/ 52558 w 89556"/>
              <a:gd name="connsiteY50" fmla="*/ 64928 h 147767"/>
              <a:gd name="connsiteX51" fmla="*/ 86142 w 89556"/>
              <a:gd name="connsiteY51" fmla="*/ 64928 h 147767"/>
              <a:gd name="connsiteX52" fmla="*/ 86142 w 89556"/>
              <a:gd name="connsiteY52" fmla="*/ 114184 h 147767"/>
              <a:gd name="connsiteX53" fmla="*/ 86142 w 89556"/>
              <a:gd name="connsiteY53" fmla="*/ 55972 h 147767"/>
              <a:gd name="connsiteX54" fmla="*/ 86142 w 89556"/>
              <a:gd name="connsiteY54" fmla="*/ 60450 h 147767"/>
              <a:gd name="connsiteX55" fmla="*/ 52558 w 89556"/>
              <a:gd name="connsiteY55" fmla="*/ 60450 h 147767"/>
              <a:gd name="connsiteX56" fmla="*/ 45842 w 89556"/>
              <a:gd name="connsiteY56" fmla="*/ 67167 h 147767"/>
              <a:gd name="connsiteX57" fmla="*/ 45842 w 89556"/>
              <a:gd name="connsiteY57" fmla="*/ 111945 h 147767"/>
              <a:gd name="connsiteX58" fmla="*/ 52558 w 89556"/>
              <a:gd name="connsiteY58" fmla="*/ 118662 h 147767"/>
              <a:gd name="connsiteX59" fmla="*/ 86142 w 89556"/>
              <a:gd name="connsiteY59" fmla="*/ 118662 h 147767"/>
              <a:gd name="connsiteX60" fmla="*/ 86142 w 89556"/>
              <a:gd name="connsiteY60" fmla="*/ 141051 h 147767"/>
              <a:gd name="connsiteX61" fmla="*/ 79425 w 89556"/>
              <a:gd name="connsiteY61" fmla="*/ 147768 h 147767"/>
              <a:gd name="connsiteX62" fmla="*/ 43603 w 89556"/>
              <a:gd name="connsiteY62" fmla="*/ 147768 h 147767"/>
              <a:gd name="connsiteX63" fmla="*/ 36886 w 89556"/>
              <a:gd name="connsiteY63" fmla="*/ 141051 h 147767"/>
              <a:gd name="connsiteX64" fmla="*/ 36886 w 89556"/>
              <a:gd name="connsiteY64" fmla="*/ 55972 h 147767"/>
              <a:gd name="connsiteX65" fmla="*/ 61514 w 89556"/>
              <a:gd name="connsiteY65" fmla="*/ 31344 h 147767"/>
              <a:gd name="connsiteX66" fmla="*/ 86142 w 89556"/>
              <a:gd name="connsiteY66" fmla="*/ 55972 h 147767"/>
              <a:gd name="connsiteX67" fmla="*/ 69126 w 89556"/>
              <a:gd name="connsiteY67" fmla="*/ 17911 h 147767"/>
              <a:gd name="connsiteX68" fmla="*/ 61514 w 89556"/>
              <a:gd name="connsiteY68" fmla="*/ 13433 h 147767"/>
              <a:gd name="connsiteX69" fmla="*/ 53902 w 89556"/>
              <a:gd name="connsiteY69" fmla="*/ 17911 h 147767"/>
              <a:gd name="connsiteX70" fmla="*/ 38677 w 89556"/>
              <a:gd name="connsiteY70" fmla="*/ 4925 h 147767"/>
              <a:gd name="connsiteX71" fmla="*/ 84799 w 89556"/>
              <a:gd name="connsiteY71" fmla="*/ 4925 h 147767"/>
              <a:gd name="connsiteX72" fmla="*/ 69126 w 89556"/>
              <a:gd name="connsiteY72" fmla="*/ 17911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9556" h="147767">
                <a:moveTo>
                  <a:pt x="91963" y="2239"/>
                </a:moveTo>
                <a:cubicBezTo>
                  <a:pt x="91515" y="896"/>
                  <a:pt x="90620" y="448"/>
                  <a:pt x="89277" y="0"/>
                </a:cubicBezTo>
                <a:lnTo>
                  <a:pt x="34647" y="0"/>
                </a:lnTo>
                <a:cubicBezTo>
                  <a:pt x="33304" y="0"/>
                  <a:pt x="32408" y="896"/>
                  <a:pt x="31961" y="1791"/>
                </a:cubicBezTo>
                <a:cubicBezTo>
                  <a:pt x="31513" y="3135"/>
                  <a:pt x="31961" y="4030"/>
                  <a:pt x="32856" y="4925"/>
                </a:cubicBezTo>
                <a:lnTo>
                  <a:pt x="53006" y="21941"/>
                </a:lnTo>
                <a:cubicBezTo>
                  <a:pt x="53006" y="23732"/>
                  <a:pt x="53454" y="25076"/>
                  <a:pt x="54350" y="26419"/>
                </a:cubicBezTo>
                <a:lnTo>
                  <a:pt x="40916" y="26419"/>
                </a:lnTo>
                <a:cubicBezTo>
                  <a:pt x="21662" y="26419"/>
                  <a:pt x="5989" y="42091"/>
                  <a:pt x="5989" y="61346"/>
                </a:cubicBezTo>
                <a:lnTo>
                  <a:pt x="5989" y="81944"/>
                </a:lnTo>
                <a:cubicBezTo>
                  <a:pt x="5989" y="81944"/>
                  <a:pt x="5989" y="81944"/>
                  <a:pt x="5989" y="81944"/>
                </a:cubicBezTo>
                <a:lnTo>
                  <a:pt x="168" y="116871"/>
                </a:lnTo>
                <a:cubicBezTo>
                  <a:pt x="-280" y="118662"/>
                  <a:pt x="168" y="120901"/>
                  <a:pt x="1511" y="122244"/>
                </a:cubicBezTo>
                <a:cubicBezTo>
                  <a:pt x="2855" y="123588"/>
                  <a:pt x="4646" y="124483"/>
                  <a:pt x="6437" y="124483"/>
                </a:cubicBezTo>
                <a:lnTo>
                  <a:pt x="9124" y="124483"/>
                </a:lnTo>
                <a:cubicBezTo>
                  <a:pt x="10915" y="124483"/>
                  <a:pt x="13154" y="123588"/>
                  <a:pt x="14049" y="122244"/>
                </a:cubicBezTo>
                <a:cubicBezTo>
                  <a:pt x="15393" y="120901"/>
                  <a:pt x="15840" y="118662"/>
                  <a:pt x="15393" y="116871"/>
                </a:cubicBezTo>
                <a:lnTo>
                  <a:pt x="9571" y="81944"/>
                </a:lnTo>
                <a:lnTo>
                  <a:pt x="9571" y="61346"/>
                </a:lnTo>
                <a:cubicBezTo>
                  <a:pt x="9571" y="44778"/>
                  <a:pt x="23453" y="30897"/>
                  <a:pt x="40021" y="30897"/>
                </a:cubicBezTo>
                <a:lnTo>
                  <a:pt x="44946" y="30897"/>
                </a:lnTo>
                <a:cubicBezTo>
                  <a:pt x="36886" y="36270"/>
                  <a:pt x="31513" y="45226"/>
                  <a:pt x="31513" y="55077"/>
                </a:cubicBezTo>
                <a:lnTo>
                  <a:pt x="31513" y="140156"/>
                </a:lnTo>
                <a:cubicBezTo>
                  <a:pt x="31513" y="146425"/>
                  <a:pt x="36438" y="151350"/>
                  <a:pt x="42707" y="151350"/>
                </a:cubicBezTo>
                <a:lnTo>
                  <a:pt x="78530" y="151350"/>
                </a:lnTo>
                <a:cubicBezTo>
                  <a:pt x="84799" y="151350"/>
                  <a:pt x="89724" y="146425"/>
                  <a:pt x="89724" y="140156"/>
                </a:cubicBezTo>
                <a:lnTo>
                  <a:pt x="89724" y="115528"/>
                </a:lnTo>
                <a:lnTo>
                  <a:pt x="89724" y="61794"/>
                </a:lnTo>
                <a:lnTo>
                  <a:pt x="89724" y="55077"/>
                </a:lnTo>
                <a:cubicBezTo>
                  <a:pt x="89724" y="41644"/>
                  <a:pt x="80321" y="30001"/>
                  <a:pt x="67783" y="26867"/>
                </a:cubicBezTo>
                <a:cubicBezTo>
                  <a:pt x="68679" y="25524"/>
                  <a:pt x="69574" y="23732"/>
                  <a:pt x="69574" y="21941"/>
                </a:cubicBezTo>
                <a:lnTo>
                  <a:pt x="90172" y="4478"/>
                </a:lnTo>
                <a:cubicBezTo>
                  <a:pt x="91963" y="4478"/>
                  <a:pt x="92411" y="3135"/>
                  <a:pt x="91963" y="2239"/>
                </a:cubicBezTo>
                <a:close/>
                <a:moveTo>
                  <a:pt x="11362" y="118214"/>
                </a:moveTo>
                <a:cubicBezTo>
                  <a:pt x="11362" y="118662"/>
                  <a:pt x="11362" y="119558"/>
                  <a:pt x="10915" y="120005"/>
                </a:cubicBezTo>
                <a:cubicBezTo>
                  <a:pt x="10467" y="120453"/>
                  <a:pt x="10019" y="120901"/>
                  <a:pt x="9124" y="120901"/>
                </a:cubicBezTo>
                <a:lnTo>
                  <a:pt x="6437" y="120901"/>
                </a:lnTo>
                <a:cubicBezTo>
                  <a:pt x="5989" y="120901"/>
                  <a:pt x="5094" y="120453"/>
                  <a:pt x="4646" y="120005"/>
                </a:cubicBezTo>
                <a:cubicBezTo>
                  <a:pt x="4198" y="119558"/>
                  <a:pt x="4198" y="118662"/>
                  <a:pt x="4198" y="118214"/>
                </a:cubicBezTo>
                <a:lnTo>
                  <a:pt x="7780" y="96273"/>
                </a:lnTo>
                <a:lnTo>
                  <a:pt x="11362" y="118214"/>
                </a:lnTo>
                <a:close/>
                <a:moveTo>
                  <a:pt x="65992" y="22389"/>
                </a:moveTo>
                <a:cubicBezTo>
                  <a:pt x="65992" y="24628"/>
                  <a:pt x="64201" y="26867"/>
                  <a:pt x="61514" y="26867"/>
                </a:cubicBezTo>
                <a:cubicBezTo>
                  <a:pt x="58827" y="26867"/>
                  <a:pt x="57036" y="25076"/>
                  <a:pt x="57036" y="22389"/>
                </a:cubicBezTo>
                <a:cubicBezTo>
                  <a:pt x="57036" y="20150"/>
                  <a:pt x="58827" y="17911"/>
                  <a:pt x="61514" y="17911"/>
                </a:cubicBezTo>
                <a:cubicBezTo>
                  <a:pt x="64201" y="17911"/>
                  <a:pt x="65992" y="19702"/>
                  <a:pt x="65992" y="22389"/>
                </a:cubicBezTo>
                <a:close/>
                <a:moveTo>
                  <a:pt x="86142" y="114184"/>
                </a:moveTo>
                <a:lnTo>
                  <a:pt x="52558" y="114184"/>
                </a:lnTo>
                <a:cubicBezTo>
                  <a:pt x="51215" y="114184"/>
                  <a:pt x="50319" y="113289"/>
                  <a:pt x="50319" y="111945"/>
                </a:cubicBezTo>
                <a:lnTo>
                  <a:pt x="50319" y="67167"/>
                </a:lnTo>
                <a:cubicBezTo>
                  <a:pt x="50319" y="65824"/>
                  <a:pt x="51215" y="64928"/>
                  <a:pt x="52558" y="64928"/>
                </a:cubicBezTo>
                <a:lnTo>
                  <a:pt x="86142" y="64928"/>
                </a:lnTo>
                <a:lnTo>
                  <a:pt x="86142" y="114184"/>
                </a:lnTo>
                <a:close/>
                <a:moveTo>
                  <a:pt x="86142" y="55972"/>
                </a:moveTo>
                <a:lnTo>
                  <a:pt x="86142" y="60450"/>
                </a:lnTo>
                <a:lnTo>
                  <a:pt x="52558" y="60450"/>
                </a:lnTo>
                <a:cubicBezTo>
                  <a:pt x="48976" y="60450"/>
                  <a:pt x="45842" y="63585"/>
                  <a:pt x="45842" y="67167"/>
                </a:cubicBezTo>
                <a:lnTo>
                  <a:pt x="45842" y="111945"/>
                </a:lnTo>
                <a:cubicBezTo>
                  <a:pt x="45842" y="115528"/>
                  <a:pt x="48976" y="118662"/>
                  <a:pt x="52558" y="118662"/>
                </a:cubicBezTo>
                <a:lnTo>
                  <a:pt x="86142" y="118662"/>
                </a:lnTo>
                <a:lnTo>
                  <a:pt x="86142" y="141051"/>
                </a:lnTo>
                <a:cubicBezTo>
                  <a:pt x="86142" y="144633"/>
                  <a:pt x="83008" y="147768"/>
                  <a:pt x="79425" y="147768"/>
                </a:cubicBezTo>
                <a:lnTo>
                  <a:pt x="43603" y="147768"/>
                </a:lnTo>
                <a:cubicBezTo>
                  <a:pt x="40021" y="147768"/>
                  <a:pt x="36886" y="144633"/>
                  <a:pt x="36886" y="141051"/>
                </a:cubicBezTo>
                <a:lnTo>
                  <a:pt x="36886" y="55972"/>
                </a:lnTo>
                <a:cubicBezTo>
                  <a:pt x="36886" y="42539"/>
                  <a:pt x="48081" y="31344"/>
                  <a:pt x="61514" y="31344"/>
                </a:cubicBezTo>
                <a:cubicBezTo>
                  <a:pt x="74947" y="31344"/>
                  <a:pt x="86142" y="42539"/>
                  <a:pt x="86142" y="55972"/>
                </a:cubicBezTo>
                <a:close/>
                <a:moveTo>
                  <a:pt x="69126" y="17911"/>
                </a:moveTo>
                <a:cubicBezTo>
                  <a:pt x="67783" y="15224"/>
                  <a:pt x="64649" y="13433"/>
                  <a:pt x="61514" y="13433"/>
                </a:cubicBezTo>
                <a:cubicBezTo>
                  <a:pt x="58380" y="13433"/>
                  <a:pt x="55245" y="15224"/>
                  <a:pt x="53902" y="17911"/>
                </a:cubicBezTo>
                <a:lnTo>
                  <a:pt x="38677" y="4925"/>
                </a:lnTo>
                <a:lnTo>
                  <a:pt x="84799" y="4925"/>
                </a:lnTo>
                <a:lnTo>
                  <a:pt x="69126" y="17911"/>
                </a:lnTo>
                <a:close/>
              </a:path>
            </a:pathLst>
          </a:custGeom>
          <a:solidFill>
            <a:srgbClr val="231F20"/>
          </a:solidFill>
          <a:ln w="4474" cap="flat">
            <a:noFill/>
            <a:prstDash val="solid"/>
            <a:miter/>
          </a:ln>
        </p:spPr>
        <p:txBody>
          <a:bodyPr rtlCol="0" anchor="ctr"/>
          <a:lstStyle/>
          <a:p>
            <a:endParaRPr lang="en-US"/>
          </a:p>
        </p:txBody>
      </p:sp>
      <p:grpSp>
        <p:nvGrpSpPr>
          <p:cNvPr id="4774" name="Group 4773">
            <a:extLst>
              <a:ext uri="{FF2B5EF4-FFF2-40B4-BE49-F238E27FC236}">
                <a16:creationId xmlns:a16="http://schemas.microsoft.com/office/drawing/2014/main" id="{47E07776-358D-4EC5-83D2-5D8568B6440A}"/>
              </a:ext>
              <a:ext uri="{C183D7F6-B498-43B3-948B-1728B52AA6E4}">
                <adec:decorative xmlns:adec="http://schemas.microsoft.com/office/drawing/2017/decorative" val="1"/>
              </a:ext>
            </a:extLst>
          </p:cNvPr>
          <p:cNvGrpSpPr>
            <a:grpSpLocks noChangeAspect="1"/>
          </p:cNvGrpSpPr>
          <p:nvPr/>
        </p:nvGrpSpPr>
        <p:grpSpPr>
          <a:xfrm>
            <a:off x="8515221" y="2079960"/>
            <a:ext cx="71645" cy="147768"/>
            <a:chOff x="2734568" y="5539146"/>
            <a:chExt cx="71645" cy="147768"/>
          </a:xfrm>
        </p:grpSpPr>
        <p:sp>
          <p:nvSpPr>
            <p:cNvPr id="4775" name="Freeform: Shape 4774">
              <a:extLst>
                <a:ext uri="{FF2B5EF4-FFF2-40B4-BE49-F238E27FC236}">
                  <a16:creationId xmlns:a16="http://schemas.microsoft.com/office/drawing/2014/main" id="{E58194D2-593C-4A97-A789-E6B405E294F5}"/>
                </a:ext>
              </a:extLst>
            </p:cNvPr>
            <p:cNvSpPr/>
            <p:nvPr/>
          </p:nvSpPr>
          <p:spPr>
            <a:xfrm>
              <a:off x="2734568" y="5539146"/>
              <a:ext cx="71645" cy="147768"/>
            </a:xfrm>
            <a:custGeom>
              <a:avLst/>
              <a:gdLst>
                <a:gd name="connsiteX0" fmla="*/ 63137 w 71645"/>
                <a:gd name="connsiteY0" fmla="*/ 12090 h 147767"/>
                <a:gd name="connsiteX1" fmla="*/ 53286 w 71645"/>
                <a:gd name="connsiteY1" fmla="*/ 12090 h 147767"/>
                <a:gd name="connsiteX2" fmla="*/ 53286 w 71645"/>
                <a:gd name="connsiteY2" fmla="*/ 2239 h 147767"/>
                <a:gd name="connsiteX3" fmla="*/ 51047 w 71645"/>
                <a:gd name="connsiteY3" fmla="*/ 0 h 147767"/>
                <a:gd name="connsiteX4" fmla="*/ 21046 w 71645"/>
                <a:gd name="connsiteY4" fmla="*/ 0 h 147767"/>
                <a:gd name="connsiteX5" fmla="*/ 18807 w 71645"/>
                <a:gd name="connsiteY5" fmla="*/ 2239 h 147767"/>
                <a:gd name="connsiteX6" fmla="*/ 18807 w 71645"/>
                <a:gd name="connsiteY6" fmla="*/ 12090 h 147767"/>
                <a:gd name="connsiteX7" fmla="*/ 8956 w 71645"/>
                <a:gd name="connsiteY7" fmla="*/ 12090 h 147767"/>
                <a:gd name="connsiteX8" fmla="*/ 0 w 71645"/>
                <a:gd name="connsiteY8" fmla="*/ 20598 h 147767"/>
                <a:gd name="connsiteX9" fmla="*/ 0 w 71645"/>
                <a:gd name="connsiteY9" fmla="*/ 142395 h 147767"/>
                <a:gd name="connsiteX10" fmla="*/ 8956 w 71645"/>
                <a:gd name="connsiteY10" fmla="*/ 150902 h 147767"/>
                <a:gd name="connsiteX11" fmla="*/ 63137 w 71645"/>
                <a:gd name="connsiteY11" fmla="*/ 150902 h 147767"/>
                <a:gd name="connsiteX12" fmla="*/ 72093 w 71645"/>
                <a:gd name="connsiteY12" fmla="*/ 142395 h 147767"/>
                <a:gd name="connsiteX13" fmla="*/ 72093 w 71645"/>
                <a:gd name="connsiteY13" fmla="*/ 20598 h 147767"/>
                <a:gd name="connsiteX14" fmla="*/ 63137 w 71645"/>
                <a:gd name="connsiteY14" fmla="*/ 12090 h 147767"/>
                <a:gd name="connsiteX15" fmla="*/ 23285 w 71645"/>
                <a:gd name="connsiteY15" fmla="*/ 4478 h 147767"/>
                <a:gd name="connsiteX16" fmla="*/ 48808 w 71645"/>
                <a:gd name="connsiteY16" fmla="*/ 4478 h 147767"/>
                <a:gd name="connsiteX17" fmla="*/ 48808 w 71645"/>
                <a:gd name="connsiteY17" fmla="*/ 12090 h 147767"/>
                <a:gd name="connsiteX18" fmla="*/ 23285 w 71645"/>
                <a:gd name="connsiteY18" fmla="*/ 12090 h 147767"/>
                <a:gd name="connsiteX19" fmla="*/ 23285 w 71645"/>
                <a:gd name="connsiteY19" fmla="*/ 4478 h 147767"/>
                <a:gd name="connsiteX20" fmla="*/ 67615 w 71645"/>
                <a:gd name="connsiteY20" fmla="*/ 142395 h 147767"/>
                <a:gd name="connsiteX21" fmla="*/ 63137 w 71645"/>
                <a:gd name="connsiteY21" fmla="*/ 146424 h 147767"/>
                <a:gd name="connsiteX22" fmla="*/ 8956 w 71645"/>
                <a:gd name="connsiteY22" fmla="*/ 146424 h 147767"/>
                <a:gd name="connsiteX23" fmla="*/ 4478 w 71645"/>
                <a:gd name="connsiteY23" fmla="*/ 142395 h 147767"/>
                <a:gd name="connsiteX24" fmla="*/ 4478 w 71645"/>
                <a:gd name="connsiteY24" fmla="*/ 20598 h 147767"/>
                <a:gd name="connsiteX25" fmla="*/ 8956 w 71645"/>
                <a:gd name="connsiteY25" fmla="*/ 16568 h 147767"/>
                <a:gd name="connsiteX26" fmla="*/ 21046 w 71645"/>
                <a:gd name="connsiteY26" fmla="*/ 16568 h 147767"/>
                <a:gd name="connsiteX27" fmla="*/ 51047 w 71645"/>
                <a:gd name="connsiteY27" fmla="*/ 16568 h 147767"/>
                <a:gd name="connsiteX28" fmla="*/ 63137 w 71645"/>
                <a:gd name="connsiteY28" fmla="*/ 16568 h 147767"/>
                <a:gd name="connsiteX29" fmla="*/ 67615 w 71645"/>
                <a:gd name="connsiteY29" fmla="*/ 20598 h 147767"/>
                <a:gd name="connsiteX30" fmla="*/ 67615 w 71645"/>
                <a:gd name="connsiteY30" fmla="*/ 142395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645" h="147767">
                  <a:moveTo>
                    <a:pt x="63137" y="12090"/>
                  </a:moveTo>
                  <a:lnTo>
                    <a:pt x="53286" y="12090"/>
                  </a:lnTo>
                  <a:lnTo>
                    <a:pt x="53286" y="2239"/>
                  </a:lnTo>
                  <a:cubicBezTo>
                    <a:pt x="53286" y="896"/>
                    <a:pt x="52391" y="0"/>
                    <a:pt x="51047" y="0"/>
                  </a:cubicBezTo>
                  <a:lnTo>
                    <a:pt x="21046" y="0"/>
                  </a:lnTo>
                  <a:cubicBezTo>
                    <a:pt x="19703" y="0"/>
                    <a:pt x="18807" y="896"/>
                    <a:pt x="18807" y="2239"/>
                  </a:cubicBezTo>
                  <a:lnTo>
                    <a:pt x="18807" y="12090"/>
                  </a:lnTo>
                  <a:lnTo>
                    <a:pt x="8956" y="12090"/>
                  </a:lnTo>
                  <a:cubicBezTo>
                    <a:pt x="4030" y="12090"/>
                    <a:pt x="0" y="16120"/>
                    <a:pt x="0" y="20598"/>
                  </a:cubicBezTo>
                  <a:lnTo>
                    <a:pt x="0" y="142395"/>
                  </a:lnTo>
                  <a:cubicBezTo>
                    <a:pt x="0" y="147320"/>
                    <a:pt x="4030" y="150902"/>
                    <a:pt x="8956" y="150902"/>
                  </a:cubicBezTo>
                  <a:lnTo>
                    <a:pt x="63137" y="150902"/>
                  </a:lnTo>
                  <a:cubicBezTo>
                    <a:pt x="68063" y="150902"/>
                    <a:pt x="72093" y="146873"/>
                    <a:pt x="72093" y="142395"/>
                  </a:cubicBezTo>
                  <a:lnTo>
                    <a:pt x="72093" y="20598"/>
                  </a:lnTo>
                  <a:cubicBezTo>
                    <a:pt x="72093" y="16120"/>
                    <a:pt x="68063" y="12090"/>
                    <a:pt x="63137" y="12090"/>
                  </a:cubicBezTo>
                  <a:close/>
                  <a:moveTo>
                    <a:pt x="23285" y="4478"/>
                  </a:moveTo>
                  <a:lnTo>
                    <a:pt x="48808" y="4478"/>
                  </a:lnTo>
                  <a:lnTo>
                    <a:pt x="48808" y="12090"/>
                  </a:lnTo>
                  <a:lnTo>
                    <a:pt x="23285" y="12090"/>
                  </a:lnTo>
                  <a:lnTo>
                    <a:pt x="23285" y="4478"/>
                  </a:lnTo>
                  <a:close/>
                  <a:moveTo>
                    <a:pt x="67615" y="142395"/>
                  </a:moveTo>
                  <a:cubicBezTo>
                    <a:pt x="67615" y="144634"/>
                    <a:pt x="65824" y="146424"/>
                    <a:pt x="63137" y="146424"/>
                  </a:cubicBezTo>
                  <a:lnTo>
                    <a:pt x="8956" y="146424"/>
                  </a:lnTo>
                  <a:cubicBezTo>
                    <a:pt x="6717" y="146424"/>
                    <a:pt x="4478" y="144634"/>
                    <a:pt x="4478" y="142395"/>
                  </a:cubicBezTo>
                  <a:lnTo>
                    <a:pt x="4478" y="20598"/>
                  </a:lnTo>
                  <a:cubicBezTo>
                    <a:pt x="4478" y="18359"/>
                    <a:pt x="6269" y="16568"/>
                    <a:pt x="8956" y="16568"/>
                  </a:cubicBezTo>
                  <a:lnTo>
                    <a:pt x="21046" y="16568"/>
                  </a:lnTo>
                  <a:lnTo>
                    <a:pt x="51047" y="16568"/>
                  </a:lnTo>
                  <a:lnTo>
                    <a:pt x="63137" y="16568"/>
                  </a:lnTo>
                  <a:cubicBezTo>
                    <a:pt x="65376" y="16568"/>
                    <a:pt x="67615" y="18359"/>
                    <a:pt x="67615" y="20598"/>
                  </a:cubicBezTo>
                  <a:lnTo>
                    <a:pt x="67615" y="142395"/>
                  </a:lnTo>
                  <a:close/>
                </a:path>
              </a:pathLst>
            </a:custGeom>
            <a:solidFill>
              <a:srgbClr val="231F20"/>
            </a:solidFill>
            <a:ln w="4474" cap="flat">
              <a:noFill/>
              <a:prstDash val="solid"/>
              <a:miter/>
            </a:ln>
          </p:spPr>
          <p:txBody>
            <a:bodyPr rtlCol="0" anchor="ctr"/>
            <a:lstStyle/>
            <a:p>
              <a:endParaRPr lang="en-US"/>
            </a:p>
          </p:txBody>
        </p:sp>
        <p:sp>
          <p:nvSpPr>
            <p:cNvPr id="4776" name="Freeform: Shape 4775">
              <a:extLst>
                <a:ext uri="{FF2B5EF4-FFF2-40B4-BE49-F238E27FC236}">
                  <a16:creationId xmlns:a16="http://schemas.microsoft.com/office/drawing/2014/main" id="{5B28F39D-AE4A-46F4-8050-2F8A9C8F2399}"/>
                </a:ext>
              </a:extLst>
            </p:cNvPr>
            <p:cNvSpPr/>
            <p:nvPr/>
          </p:nvSpPr>
          <p:spPr>
            <a:xfrm>
              <a:off x="2744979" y="5578375"/>
              <a:ext cx="49256" cy="67167"/>
            </a:xfrm>
            <a:custGeom>
              <a:avLst/>
              <a:gdLst>
                <a:gd name="connsiteX0" fmla="*/ 50935 w 49255"/>
                <a:gd name="connsiteY0" fmla="*/ 24356 h 67167"/>
                <a:gd name="connsiteX1" fmla="*/ 31233 w 49255"/>
                <a:gd name="connsiteY1" fmla="*/ 24356 h 67167"/>
                <a:gd name="connsiteX2" fmla="*/ 34815 w 49255"/>
                <a:gd name="connsiteY2" fmla="*/ 2415 h 67167"/>
                <a:gd name="connsiteX3" fmla="*/ 33472 w 49255"/>
                <a:gd name="connsiteY3" fmla="*/ 176 h 67167"/>
                <a:gd name="connsiteX4" fmla="*/ 30785 w 49255"/>
                <a:gd name="connsiteY4" fmla="*/ 1071 h 67167"/>
                <a:gd name="connsiteX5" fmla="*/ 336 w 49255"/>
                <a:gd name="connsiteY5" fmla="*/ 43610 h 67167"/>
                <a:gd name="connsiteX6" fmla="*/ 336 w 49255"/>
                <a:gd name="connsiteY6" fmla="*/ 45849 h 67167"/>
                <a:gd name="connsiteX7" fmla="*/ 2127 w 49255"/>
                <a:gd name="connsiteY7" fmla="*/ 47193 h 67167"/>
                <a:gd name="connsiteX8" fmla="*/ 21829 w 49255"/>
                <a:gd name="connsiteY8" fmla="*/ 47193 h 67167"/>
                <a:gd name="connsiteX9" fmla="*/ 18247 w 49255"/>
                <a:gd name="connsiteY9" fmla="*/ 69134 h 67167"/>
                <a:gd name="connsiteX10" fmla="*/ 19590 w 49255"/>
                <a:gd name="connsiteY10" fmla="*/ 71373 h 67167"/>
                <a:gd name="connsiteX11" fmla="*/ 20486 w 49255"/>
                <a:gd name="connsiteY11" fmla="*/ 71373 h 67167"/>
                <a:gd name="connsiteX12" fmla="*/ 22277 w 49255"/>
                <a:gd name="connsiteY12" fmla="*/ 70477 h 67167"/>
                <a:gd name="connsiteX13" fmla="*/ 52726 w 49255"/>
                <a:gd name="connsiteY13" fmla="*/ 27938 h 67167"/>
                <a:gd name="connsiteX14" fmla="*/ 52726 w 49255"/>
                <a:gd name="connsiteY14" fmla="*/ 25699 h 67167"/>
                <a:gd name="connsiteX15" fmla="*/ 50935 w 49255"/>
                <a:gd name="connsiteY15" fmla="*/ 24356 h 67167"/>
                <a:gd name="connsiteX16" fmla="*/ 24068 w 49255"/>
                <a:gd name="connsiteY16" fmla="*/ 59731 h 67167"/>
                <a:gd name="connsiteX17" fmla="*/ 26755 w 49255"/>
                <a:gd name="connsiteY17" fmla="*/ 44954 h 67167"/>
                <a:gd name="connsiteX18" fmla="*/ 26307 w 49255"/>
                <a:gd name="connsiteY18" fmla="*/ 43163 h 67167"/>
                <a:gd name="connsiteX19" fmla="*/ 24516 w 49255"/>
                <a:gd name="connsiteY19" fmla="*/ 42267 h 67167"/>
                <a:gd name="connsiteX20" fmla="*/ 6605 w 49255"/>
                <a:gd name="connsiteY20" fmla="*/ 42267 h 67167"/>
                <a:gd name="connsiteX21" fmla="*/ 28994 w 49255"/>
                <a:gd name="connsiteY21" fmla="*/ 11370 h 67167"/>
                <a:gd name="connsiteX22" fmla="*/ 26307 w 49255"/>
                <a:gd name="connsiteY22" fmla="*/ 26147 h 67167"/>
                <a:gd name="connsiteX23" fmla="*/ 26755 w 49255"/>
                <a:gd name="connsiteY23" fmla="*/ 27938 h 67167"/>
                <a:gd name="connsiteX24" fmla="*/ 28546 w 49255"/>
                <a:gd name="connsiteY24" fmla="*/ 28833 h 67167"/>
                <a:gd name="connsiteX25" fmla="*/ 46457 w 49255"/>
                <a:gd name="connsiteY25" fmla="*/ 28833 h 67167"/>
                <a:gd name="connsiteX26" fmla="*/ 24068 w 49255"/>
                <a:gd name="connsiteY26" fmla="*/ 59731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255" h="67167">
                  <a:moveTo>
                    <a:pt x="50935" y="24356"/>
                  </a:moveTo>
                  <a:lnTo>
                    <a:pt x="31233" y="24356"/>
                  </a:lnTo>
                  <a:lnTo>
                    <a:pt x="34815" y="2415"/>
                  </a:lnTo>
                  <a:cubicBezTo>
                    <a:pt x="34815" y="1519"/>
                    <a:pt x="34367" y="176"/>
                    <a:pt x="33472" y="176"/>
                  </a:cubicBezTo>
                  <a:cubicBezTo>
                    <a:pt x="32576" y="-272"/>
                    <a:pt x="31233" y="176"/>
                    <a:pt x="30785" y="1071"/>
                  </a:cubicBezTo>
                  <a:lnTo>
                    <a:pt x="336" y="43610"/>
                  </a:lnTo>
                  <a:cubicBezTo>
                    <a:pt x="-112" y="44506"/>
                    <a:pt x="-112" y="45402"/>
                    <a:pt x="336" y="45849"/>
                  </a:cubicBezTo>
                  <a:cubicBezTo>
                    <a:pt x="784" y="46745"/>
                    <a:pt x="1679" y="47193"/>
                    <a:pt x="2127" y="47193"/>
                  </a:cubicBezTo>
                  <a:lnTo>
                    <a:pt x="21829" y="47193"/>
                  </a:lnTo>
                  <a:lnTo>
                    <a:pt x="18247" y="69134"/>
                  </a:lnTo>
                  <a:cubicBezTo>
                    <a:pt x="18247" y="70030"/>
                    <a:pt x="18695" y="71373"/>
                    <a:pt x="19590" y="71373"/>
                  </a:cubicBezTo>
                  <a:cubicBezTo>
                    <a:pt x="20038" y="71373"/>
                    <a:pt x="20038" y="71373"/>
                    <a:pt x="20486" y="71373"/>
                  </a:cubicBezTo>
                  <a:cubicBezTo>
                    <a:pt x="21382" y="71373"/>
                    <a:pt x="21829" y="70925"/>
                    <a:pt x="22277" y="70477"/>
                  </a:cubicBezTo>
                  <a:lnTo>
                    <a:pt x="52726" y="27938"/>
                  </a:lnTo>
                  <a:cubicBezTo>
                    <a:pt x="53174" y="27043"/>
                    <a:pt x="53174" y="26147"/>
                    <a:pt x="52726" y="25699"/>
                  </a:cubicBezTo>
                  <a:cubicBezTo>
                    <a:pt x="52278" y="24804"/>
                    <a:pt x="51831" y="24356"/>
                    <a:pt x="50935" y="24356"/>
                  </a:cubicBezTo>
                  <a:close/>
                  <a:moveTo>
                    <a:pt x="24068" y="59731"/>
                  </a:moveTo>
                  <a:lnTo>
                    <a:pt x="26755" y="44954"/>
                  </a:lnTo>
                  <a:cubicBezTo>
                    <a:pt x="26755" y="44506"/>
                    <a:pt x="26755" y="43610"/>
                    <a:pt x="26307" y="43163"/>
                  </a:cubicBezTo>
                  <a:cubicBezTo>
                    <a:pt x="25859" y="42715"/>
                    <a:pt x="25412" y="42267"/>
                    <a:pt x="24516" y="42267"/>
                  </a:cubicBezTo>
                  <a:lnTo>
                    <a:pt x="6605" y="42267"/>
                  </a:lnTo>
                  <a:lnTo>
                    <a:pt x="28994" y="11370"/>
                  </a:lnTo>
                  <a:lnTo>
                    <a:pt x="26307" y="26147"/>
                  </a:lnTo>
                  <a:cubicBezTo>
                    <a:pt x="26307" y="26595"/>
                    <a:pt x="26307" y="27490"/>
                    <a:pt x="26755" y="27938"/>
                  </a:cubicBezTo>
                  <a:cubicBezTo>
                    <a:pt x="27203" y="28386"/>
                    <a:pt x="27650" y="28833"/>
                    <a:pt x="28546" y="28833"/>
                  </a:cubicBezTo>
                  <a:lnTo>
                    <a:pt x="46457" y="28833"/>
                  </a:lnTo>
                  <a:lnTo>
                    <a:pt x="24068" y="59731"/>
                  </a:lnTo>
                  <a:close/>
                </a:path>
              </a:pathLst>
            </a:custGeom>
            <a:solidFill>
              <a:srgbClr val="231F20"/>
            </a:solidFill>
            <a:ln w="4474" cap="flat">
              <a:noFill/>
              <a:prstDash val="solid"/>
              <a:miter/>
            </a:ln>
          </p:spPr>
          <p:txBody>
            <a:bodyPr rtlCol="0" anchor="ctr"/>
            <a:lstStyle/>
            <a:p>
              <a:endParaRPr lang="en-US"/>
            </a:p>
          </p:txBody>
        </p:sp>
      </p:grpSp>
      <p:sp>
        <p:nvSpPr>
          <p:cNvPr id="4777" name="Freeform: Shape 4776">
            <a:extLst>
              <a:ext uri="{FF2B5EF4-FFF2-40B4-BE49-F238E27FC236}">
                <a16:creationId xmlns:a16="http://schemas.microsoft.com/office/drawing/2014/main" id="{FED906C8-0277-4A3A-90EA-785B60D978FB}"/>
              </a:ext>
              <a:ext uri="{C183D7F6-B498-43B3-948B-1728B52AA6E4}">
                <adec:decorative xmlns:adec="http://schemas.microsoft.com/office/drawing/2017/decorative" val="1"/>
              </a:ext>
            </a:extLst>
          </p:cNvPr>
          <p:cNvSpPr>
            <a:spLocks noChangeAspect="1"/>
          </p:cNvSpPr>
          <p:nvPr/>
        </p:nvSpPr>
        <p:spPr>
          <a:xfrm>
            <a:off x="8751413" y="2079211"/>
            <a:ext cx="94034" cy="147768"/>
          </a:xfrm>
          <a:custGeom>
            <a:avLst/>
            <a:gdLst>
              <a:gd name="connsiteX0" fmla="*/ 86659 w 94034"/>
              <a:gd name="connsiteY0" fmla="*/ 68364 h 147767"/>
              <a:gd name="connsiteX1" fmla="*/ 86659 w 94034"/>
              <a:gd name="connsiteY1" fmla="*/ 68364 h 147767"/>
              <a:gd name="connsiteX2" fmla="*/ 86211 w 94034"/>
              <a:gd name="connsiteY2" fmla="*/ 67916 h 147767"/>
              <a:gd name="connsiteX3" fmla="*/ 83077 w 94034"/>
              <a:gd name="connsiteY3" fmla="*/ 68364 h 147767"/>
              <a:gd name="connsiteX4" fmla="*/ 83525 w 94034"/>
              <a:gd name="connsiteY4" fmla="*/ 71499 h 147767"/>
              <a:gd name="connsiteX5" fmla="*/ 85316 w 94034"/>
              <a:gd name="connsiteY5" fmla="*/ 73738 h 147767"/>
              <a:gd name="connsiteX6" fmla="*/ 85763 w 94034"/>
              <a:gd name="connsiteY6" fmla="*/ 74185 h 147767"/>
              <a:gd name="connsiteX7" fmla="*/ 88002 w 94034"/>
              <a:gd name="connsiteY7" fmla="*/ 79111 h 147767"/>
              <a:gd name="connsiteX8" fmla="*/ 85763 w 94034"/>
              <a:gd name="connsiteY8" fmla="*/ 88514 h 147767"/>
              <a:gd name="connsiteX9" fmla="*/ 77256 w 94034"/>
              <a:gd name="connsiteY9" fmla="*/ 92992 h 147767"/>
              <a:gd name="connsiteX10" fmla="*/ 68300 w 94034"/>
              <a:gd name="connsiteY10" fmla="*/ 89858 h 147767"/>
              <a:gd name="connsiteX11" fmla="*/ 64718 w 94034"/>
              <a:gd name="connsiteY11" fmla="*/ 80454 h 147767"/>
              <a:gd name="connsiteX12" fmla="*/ 70091 w 94034"/>
              <a:gd name="connsiteY12" fmla="*/ 71946 h 147767"/>
              <a:gd name="connsiteX13" fmla="*/ 71882 w 94034"/>
              <a:gd name="connsiteY13" fmla="*/ 70155 h 147767"/>
              <a:gd name="connsiteX14" fmla="*/ 64718 w 94034"/>
              <a:gd name="connsiteY14" fmla="*/ 19108 h 147767"/>
              <a:gd name="connsiteX15" fmla="*/ 49493 w 94034"/>
              <a:gd name="connsiteY15" fmla="*/ 5674 h 147767"/>
              <a:gd name="connsiteX16" fmla="*/ 42329 w 94034"/>
              <a:gd name="connsiteY16" fmla="*/ 1645 h 147767"/>
              <a:gd name="connsiteX17" fmla="*/ 41881 w 94034"/>
              <a:gd name="connsiteY17" fmla="*/ 1197 h 147767"/>
              <a:gd name="connsiteX18" fmla="*/ 37403 w 94034"/>
              <a:gd name="connsiteY18" fmla="*/ 301 h 147767"/>
              <a:gd name="connsiteX19" fmla="*/ 34716 w 94034"/>
              <a:gd name="connsiteY19" fmla="*/ 2540 h 147767"/>
              <a:gd name="connsiteX20" fmla="*/ 36507 w 94034"/>
              <a:gd name="connsiteY20" fmla="*/ 7913 h 147767"/>
              <a:gd name="connsiteX21" fmla="*/ 36955 w 94034"/>
              <a:gd name="connsiteY21" fmla="*/ 8361 h 147767"/>
              <a:gd name="connsiteX22" fmla="*/ 37403 w 94034"/>
              <a:gd name="connsiteY22" fmla="*/ 53587 h 147767"/>
              <a:gd name="connsiteX23" fmla="*/ 23074 w 94034"/>
              <a:gd name="connsiteY23" fmla="*/ 67916 h 147767"/>
              <a:gd name="connsiteX24" fmla="*/ 8745 w 94034"/>
              <a:gd name="connsiteY24" fmla="*/ 82245 h 147767"/>
              <a:gd name="connsiteX25" fmla="*/ 4715 w 94034"/>
              <a:gd name="connsiteY25" fmla="*/ 126128 h 147767"/>
              <a:gd name="connsiteX26" fmla="*/ 47254 w 94034"/>
              <a:gd name="connsiteY26" fmla="*/ 152099 h 147767"/>
              <a:gd name="connsiteX27" fmla="*/ 47254 w 94034"/>
              <a:gd name="connsiteY27" fmla="*/ 152099 h 147767"/>
              <a:gd name="connsiteX28" fmla="*/ 47254 w 94034"/>
              <a:gd name="connsiteY28" fmla="*/ 152099 h 147767"/>
              <a:gd name="connsiteX29" fmla="*/ 47254 w 94034"/>
              <a:gd name="connsiteY29" fmla="*/ 152099 h 147767"/>
              <a:gd name="connsiteX30" fmla="*/ 47254 w 94034"/>
              <a:gd name="connsiteY30" fmla="*/ 152099 h 147767"/>
              <a:gd name="connsiteX31" fmla="*/ 47254 w 94034"/>
              <a:gd name="connsiteY31" fmla="*/ 152099 h 147767"/>
              <a:gd name="connsiteX32" fmla="*/ 97406 w 94034"/>
              <a:gd name="connsiteY32" fmla="*/ 110008 h 147767"/>
              <a:gd name="connsiteX33" fmla="*/ 86659 w 94034"/>
              <a:gd name="connsiteY33" fmla="*/ 68364 h 147767"/>
              <a:gd name="connsiteX34" fmla="*/ 94271 w 94034"/>
              <a:gd name="connsiteY34" fmla="*/ 109112 h 147767"/>
              <a:gd name="connsiteX35" fmla="*/ 48150 w 94034"/>
              <a:gd name="connsiteY35" fmla="*/ 147173 h 147767"/>
              <a:gd name="connsiteX36" fmla="*/ 9641 w 94034"/>
              <a:gd name="connsiteY36" fmla="*/ 123441 h 147767"/>
              <a:gd name="connsiteX37" fmla="*/ 13223 w 94034"/>
              <a:gd name="connsiteY37" fmla="*/ 84484 h 147767"/>
              <a:gd name="connsiteX38" fmla="*/ 27104 w 94034"/>
              <a:gd name="connsiteY38" fmla="*/ 70603 h 147767"/>
              <a:gd name="connsiteX39" fmla="*/ 41881 w 94034"/>
              <a:gd name="connsiteY39" fmla="*/ 55826 h 147767"/>
              <a:gd name="connsiteX40" fmla="*/ 41433 w 94034"/>
              <a:gd name="connsiteY40" fmla="*/ 5227 h 147767"/>
              <a:gd name="connsiteX41" fmla="*/ 41433 w 94034"/>
              <a:gd name="connsiteY41" fmla="*/ 5227 h 147767"/>
              <a:gd name="connsiteX42" fmla="*/ 47254 w 94034"/>
              <a:gd name="connsiteY42" fmla="*/ 8809 h 147767"/>
              <a:gd name="connsiteX43" fmla="*/ 61583 w 94034"/>
              <a:gd name="connsiteY43" fmla="*/ 21347 h 147767"/>
              <a:gd name="connsiteX44" fmla="*/ 69196 w 94034"/>
              <a:gd name="connsiteY44" fmla="*/ 66573 h 147767"/>
              <a:gd name="connsiteX45" fmla="*/ 67404 w 94034"/>
              <a:gd name="connsiteY45" fmla="*/ 68364 h 147767"/>
              <a:gd name="connsiteX46" fmla="*/ 60688 w 94034"/>
              <a:gd name="connsiteY46" fmla="*/ 79558 h 147767"/>
              <a:gd name="connsiteX47" fmla="*/ 65165 w 94034"/>
              <a:gd name="connsiteY47" fmla="*/ 92544 h 147767"/>
              <a:gd name="connsiteX48" fmla="*/ 77703 w 94034"/>
              <a:gd name="connsiteY48" fmla="*/ 97022 h 147767"/>
              <a:gd name="connsiteX49" fmla="*/ 89346 w 94034"/>
              <a:gd name="connsiteY49" fmla="*/ 91201 h 147767"/>
              <a:gd name="connsiteX50" fmla="*/ 92480 w 94034"/>
              <a:gd name="connsiteY50" fmla="*/ 85380 h 147767"/>
              <a:gd name="connsiteX51" fmla="*/ 94271 w 94034"/>
              <a:gd name="connsiteY51" fmla="*/ 10911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4034" h="147767">
                <a:moveTo>
                  <a:pt x="86659" y="68364"/>
                </a:moveTo>
                <a:cubicBezTo>
                  <a:pt x="86659" y="68364"/>
                  <a:pt x="86659" y="68364"/>
                  <a:pt x="86659" y="68364"/>
                </a:cubicBezTo>
                <a:cubicBezTo>
                  <a:pt x="86211" y="68364"/>
                  <a:pt x="86211" y="67916"/>
                  <a:pt x="86211" y="67916"/>
                </a:cubicBezTo>
                <a:cubicBezTo>
                  <a:pt x="85316" y="67021"/>
                  <a:pt x="83972" y="67469"/>
                  <a:pt x="83077" y="68364"/>
                </a:cubicBezTo>
                <a:cubicBezTo>
                  <a:pt x="82181" y="69260"/>
                  <a:pt x="82629" y="70603"/>
                  <a:pt x="83525" y="71499"/>
                </a:cubicBezTo>
                <a:cubicBezTo>
                  <a:pt x="83972" y="71946"/>
                  <a:pt x="84868" y="72842"/>
                  <a:pt x="85316" y="73738"/>
                </a:cubicBezTo>
                <a:lnTo>
                  <a:pt x="85763" y="74185"/>
                </a:lnTo>
                <a:cubicBezTo>
                  <a:pt x="87107" y="75528"/>
                  <a:pt x="87554" y="77320"/>
                  <a:pt x="88002" y="79111"/>
                </a:cubicBezTo>
                <a:cubicBezTo>
                  <a:pt x="88450" y="82245"/>
                  <a:pt x="88002" y="85827"/>
                  <a:pt x="85763" y="88514"/>
                </a:cubicBezTo>
                <a:cubicBezTo>
                  <a:pt x="83525" y="91201"/>
                  <a:pt x="80390" y="92544"/>
                  <a:pt x="77256" y="92992"/>
                </a:cubicBezTo>
                <a:cubicBezTo>
                  <a:pt x="73673" y="92992"/>
                  <a:pt x="70539" y="92097"/>
                  <a:pt x="68300" y="89858"/>
                </a:cubicBezTo>
                <a:cubicBezTo>
                  <a:pt x="65613" y="87619"/>
                  <a:pt x="64718" y="84036"/>
                  <a:pt x="64718" y="80454"/>
                </a:cubicBezTo>
                <a:cubicBezTo>
                  <a:pt x="65165" y="76872"/>
                  <a:pt x="67404" y="74633"/>
                  <a:pt x="70091" y="71946"/>
                </a:cubicBezTo>
                <a:cubicBezTo>
                  <a:pt x="70539" y="71499"/>
                  <a:pt x="71434" y="70603"/>
                  <a:pt x="71882" y="70155"/>
                </a:cubicBezTo>
                <a:cubicBezTo>
                  <a:pt x="85763" y="55826"/>
                  <a:pt x="75017" y="31646"/>
                  <a:pt x="64718" y="19108"/>
                </a:cubicBezTo>
                <a:cubicBezTo>
                  <a:pt x="60688" y="14182"/>
                  <a:pt x="55314" y="9705"/>
                  <a:pt x="49493" y="5674"/>
                </a:cubicBezTo>
                <a:cubicBezTo>
                  <a:pt x="47254" y="4331"/>
                  <a:pt x="45015" y="2540"/>
                  <a:pt x="42329" y="1645"/>
                </a:cubicBezTo>
                <a:lnTo>
                  <a:pt x="41881" y="1197"/>
                </a:lnTo>
                <a:cubicBezTo>
                  <a:pt x="40985" y="749"/>
                  <a:pt x="39194" y="-594"/>
                  <a:pt x="37403" y="301"/>
                </a:cubicBezTo>
                <a:cubicBezTo>
                  <a:pt x="35612" y="749"/>
                  <a:pt x="35164" y="2092"/>
                  <a:pt x="34716" y="2540"/>
                </a:cubicBezTo>
                <a:cubicBezTo>
                  <a:pt x="34269" y="4779"/>
                  <a:pt x="35612" y="6570"/>
                  <a:pt x="36507" y="7913"/>
                </a:cubicBezTo>
                <a:lnTo>
                  <a:pt x="36955" y="8361"/>
                </a:lnTo>
                <a:cubicBezTo>
                  <a:pt x="47254" y="24481"/>
                  <a:pt x="47702" y="41049"/>
                  <a:pt x="37403" y="53587"/>
                </a:cubicBezTo>
                <a:cubicBezTo>
                  <a:pt x="33373" y="58961"/>
                  <a:pt x="28000" y="63438"/>
                  <a:pt x="23074" y="67916"/>
                </a:cubicBezTo>
                <a:cubicBezTo>
                  <a:pt x="18148" y="72394"/>
                  <a:pt x="12775" y="76872"/>
                  <a:pt x="8745" y="82245"/>
                </a:cubicBezTo>
                <a:cubicBezTo>
                  <a:pt x="-1106" y="94783"/>
                  <a:pt x="-2897" y="111351"/>
                  <a:pt x="4715" y="126128"/>
                </a:cubicBezTo>
                <a:cubicBezTo>
                  <a:pt x="12775" y="141800"/>
                  <a:pt x="29343" y="152099"/>
                  <a:pt x="47254" y="152099"/>
                </a:cubicBezTo>
                <a:cubicBezTo>
                  <a:pt x="47254" y="152099"/>
                  <a:pt x="47254" y="152099"/>
                  <a:pt x="47254" y="152099"/>
                </a:cubicBezTo>
                <a:cubicBezTo>
                  <a:pt x="47254" y="152099"/>
                  <a:pt x="47254" y="152099"/>
                  <a:pt x="47254" y="152099"/>
                </a:cubicBezTo>
                <a:lnTo>
                  <a:pt x="47254" y="152099"/>
                </a:lnTo>
                <a:lnTo>
                  <a:pt x="47254" y="152099"/>
                </a:lnTo>
                <a:cubicBezTo>
                  <a:pt x="47254" y="152099"/>
                  <a:pt x="47254" y="152099"/>
                  <a:pt x="47254" y="152099"/>
                </a:cubicBezTo>
                <a:cubicBezTo>
                  <a:pt x="91585" y="149412"/>
                  <a:pt x="97406" y="110455"/>
                  <a:pt x="97406" y="110008"/>
                </a:cubicBezTo>
                <a:cubicBezTo>
                  <a:pt x="102331" y="81797"/>
                  <a:pt x="87554" y="68812"/>
                  <a:pt x="86659" y="68364"/>
                </a:cubicBezTo>
                <a:close/>
                <a:moveTo>
                  <a:pt x="94271" y="109112"/>
                </a:moveTo>
                <a:cubicBezTo>
                  <a:pt x="94271" y="109560"/>
                  <a:pt x="88898" y="144934"/>
                  <a:pt x="48150" y="147173"/>
                </a:cubicBezTo>
                <a:cubicBezTo>
                  <a:pt x="32030" y="147173"/>
                  <a:pt x="16805" y="137770"/>
                  <a:pt x="9641" y="123441"/>
                </a:cubicBezTo>
                <a:cubicBezTo>
                  <a:pt x="2924" y="110008"/>
                  <a:pt x="4267" y="95678"/>
                  <a:pt x="13223" y="84484"/>
                </a:cubicBezTo>
                <a:cubicBezTo>
                  <a:pt x="17253" y="79558"/>
                  <a:pt x="22178" y="75081"/>
                  <a:pt x="27104" y="70603"/>
                </a:cubicBezTo>
                <a:cubicBezTo>
                  <a:pt x="32030" y="66125"/>
                  <a:pt x="37403" y="61199"/>
                  <a:pt x="41881" y="55826"/>
                </a:cubicBezTo>
                <a:cubicBezTo>
                  <a:pt x="53075" y="41497"/>
                  <a:pt x="53075" y="23138"/>
                  <a:pt x="41433" y="5227"/>
                </a:cubicBezTo>
                <a:cubicBezTo>
                  <a:pt x="41433" y="5227"/>
                  <a:pt x="41433" y="5227"/>
                  <a:pt x="41433" y="5227"/>
                </a:cubicBezTo>
                <a:cubicBezTo>
                  <a:pt x="43224" y="6122"/>
                  <a:pt x="45463" y="7466"/>
                  <a:pt x="47254" y="8809"/>
                </a:cubicBezTo>
                <a:cubicBezTo>
                  <a:pt x="52628" y="12391"/>
                  <a:pt x="57553" y="16869"/>
                  <a:pt x="61583" y="21347"/>
                </a:cubicBezTo>
                <a:cubicBezTo>
                  <a:pt x="70987" y="32541"/>
                  <a:pt x="80838" y="54035"/>
                  <a:pt x="69196" y="66573"/>
                </a:cubicBezTo>
                <a:cubicBezTo>
                  <a:pt x="68748" y="67021"/>
                  <a:pt x="67852" y="67916"/>
                  <a:pt x="67404" y="68364"/>
                </a:cubicBezTo>
                <a:cubicBezTo>
                  <a:pt x="64270" y="71499"/>
                  <a:pt x="61135" y="74185"/>
                  <a:pt x="60688" y="79558"/>
                </a:cubicBezTo>
                <a:cubicBezTo>
                  <a:pt x="60240" y="84484"/>
                  <a:pt x="62031" y="88962"/>
                  <a:pt x="65165" y="92544"/>
                </a:cubicBezTo>
                <a:cubicBezTo>
                  <a:pt x="68300" y="95678"/>
                  <a:pt x="72778" y="97470"/>
                  <a:pt x="77703" y="97022"/>
                </a:cubicBezTo>
                <a:cubicBezTo>
                  <a:pt x="82181" y="96574"/>
                  <a:pt x="86659" y="94783"/>
                  <a:pt x="89346" y="91201"/>
                </a:cubicBezTo>
                <a:cubicBezTo>
                  <a:pt x="90689" y="89410"/>
                  <a:pt x="91585" y="87619"/>
                  <a:pt x="92480" y="85380"/>
                </a:cubicBezTo>
                <a:cubicBezTo>
                  <a:pt x="94271" y="91201"/>
                  <a:pt x="95615" y="99261"/>
                  <a:pt x="94271" y="109112"/>
                </a:cubicBezTo>
                <a:close/>
              </a:path>
            </a:pathLst>
          </a:custGeom>
          <a:solidFill>
            <a:srgbClr val="231F20"/>
          </a:solidFill>
          <a:ln w="4474" cap="flat">
            <a:noFill/>
            <a:prstDash val="solid"/>
            <a:miter/>
          </a:ln>
        </p:spPr>
        <p:txBody>
          <a:bodyPr rtlCol="0" anchor="ctr"/>
          <a:lstStyle/>
          <a:p>
            <a:endParaRPr lang="en-US"/>
          </a:p>
        </p:txBody>
      </p:sp>
      <p:sp>
        <p:nvSpPr>
          <p:cNvPr id="4778" name="Freeform: Shape 4777">
            <a:extLst>
              <a:ext uri="{FF2B5EF4-FFF2-40B4-BE49-F238E27FC236}">
                <a16:creationId xmlns:a16="http://schemas.microsoft.com/office/drawing/2014/main" id="{0D4346EF-EDA2-4151-88A6-71A7BA6285D9}"/>
              </a:ext>
              <a:ext uri="{C183D7F6-B498-43B3-948B-1728B52AA6E4}">
                <adec:decorative xmlns:adec="http://schemas.microsoft.com/office/drawing/2017/decorative" val="1"/>
              </a:ext>
            </a:extLst>
          </p:cNvPr>
          <p:cNvSpPr>
            <a:spLocks noChangeAspect="1"/>
          </p:cNvSpPr>
          <p:nvPr/>
        </p:nvSpPr>
        <p:spPr>
          <a:xfrm>
            <a:off x="10050217" y="2078616"/>
            <a:ext cx="152246" cy="147768"/>
          </a:xfrm>
          <a:custGeom>
            <a:avLst/>
            <a:gdLst>
              <a:gd name="connsiteX0" fmla="*/ 152246 w 152245"/>
              <a:gd name="connsiteY0" fmla="*/ 76123 h 147767"/>
              <a:gd name="connsiteX1" fmla="*/ 76123 w 152245"/>
              <a:gd name="connsiteY1" fmla="*/ 0 h 147767"/>
              <a:gd name="connsiteX2" fmla="*/ 55973 w 152245"/>
              <a:gd name="connsiteY2" fmla="*/ 2687 h 147767"/>
              <a:gd name="connsiteX3" fmla="*/ 55077 w 152245"/>
              <a:gd name="connsiteY3" fmla="*/ 2687 h 147767"/>
              <a:gd name="connsiteX4" fmla="*/ 55077 w 152245"/>
              <a:gd name="connsiteY4" fmla="*/ 2687 h 147767"/>
              <a:gd name="connsiteX5" fmla="*/ 0 w 152245"/>
              <a:gd name="connsiteY5" fmla="*/ 74332 h 147767"/>
              <a:gd name="connsiteX6" fmla="*/ 0 w 152245"/>
              <a:gd name="connsiteY6" fmla="*/ 75227 h 147767"/>
              <a:gd name="connsiteX7" fmla="*/ 0 w 152245"/>
              <a:gd name="connsiteY7" fmla="*/ 75675 h 147767"/>
              <a:gd name="connsiteX8" fmla="*/ 76123 w 152245"/>
              <a:gd name="connsiteY8" fmla="*/ 151798 h 147767"/>
              <a:gd name="connsiteX9" fmla="*/ 96273 w 152245"/>
              <a:gd name="connsiteY9" fmla="*/ 149111 h 147767"/>
              <a:gd name="connsiteX10" fmla="*/ 96273 w 152245"/>
              <a:gd name="connsiteY10" fmla="*/ 149111 h 147767"/>
              <a:gd name="connsiteX11" fmla="*/ 97169 w 152245"/>
              <a:gd name="connsiteY11" fmla="*/ 148664 h 147767"/>
              <a:gd name="connsiteX12" fmla="*/ 152246 w 152245"/>
              <a:gd name="connsiteY12" fmla="*/ 76123 h 147767"/>
              <a:gd name="connsiteX13" fmla="*/ 145529 w 152245"/>
              <a:gd name="connsiteY13" fmla="*/ 59107 h 147767"/>
              <a:gd name="connsiteX14" fmla="*/ 126275 w 152245"/>
              <a:gd name="connsiteY14" fmla="*/ 38509 h 147767"/>
              <a:gd name="connsiteX15" fmla="*/ 104333 w 152245"/>
              <a:gd name="connsiteY15" fmla="*/ 33136 h 147767"/>
              <a:gd name="connsiteX16" fmla="*/ 94482 w 152245"/>
              <a:gd name="connsiteY16" fmla="*/ 31793 h 147767"/>
              <a:gd name="connsiteX17" fmla="*/ 72541 w 152245"/>
              <a:gd name="connsiteY17" fmla="*/ 21493 h 147767"/>
              <a:gd name="connsiteX18" fmla="*/ 59555 w 152245"/>
              <a:gd name="connsiteY18" fmla="*/ 6269 h 147767"/>
              <a:gd name="connsiteX19" fmla="*/ 76123 w 152245"/>
              <a:gd name="connsiteY19" fmla="*/ 4030 h 147767"/>
              <a:gd name="connsiteX20" fmla="*/ 145529 w 152245"/>
              <a:gd name="connsiteY20" fmla="*/ 59107 h 147767"/>
              <a:gd name="connsiteX21" fmla="*/ 4478 w 152245"/>
              <a:gd name="connsiteY21" fmla="*/ 76123 h 147767"/>
              <a:gd name="connsiteX22" fmla="*/ 4478 w 152245"/>
              <a:gd name="connsiteY22" fmla="*/ 75675 h 147767"/>
              <a:gd name="connsiteX23" fmla="*/ 13433 w 152245"/>
              <a:gd name="connsiteY23" fmla="*/ 60450 h 147767"/>
              <a:gd name="connsiteX24" fmla="*/ 41196 w 152245"/>
              <a:gd name="connsiteY24" fmla="*/ 56868 h 147767"/>
              <a:gd name="connsiteX25" fmla="*/ 64033 w 152245"/>
              <a:gd name="connsiteY25" fmla="*/ 98064 h 147767"/>
              <a:gd name="connsiteX26" fmla="*/ 71197 w 152245"/>
              <a:gd name="connsiteY26" fmla="*/ 123588 h 147767"/>
              <a:gd name="connsiteX27" fmla="*/ 90900 w 152245"/>
              <a:gd name="connsiteY27" fmla="*/ 146425 h 147767"/>
              <a:gd name="connsiteX28" fmla="*/ 76123 w 152245"/>
              <a:gd name="connsiteY28" fmla="*/ 147768 h 147767"/>
              <a:gd name="connsiteX29" fmla="*/ 4478 w 152245"/>
              <a:gd name="connsiteY29" fmla="*/ 76123 h 147767"/>
              <a:gd name="connsiteX30" fmla="*/ 96273 w 152245"/>
              <a:gd name="connsiteY30" fmla="*/ 144633 h 147767"/>
              <a:gd name="connsiteX31" fmla="*/ 74780 w 152245"/>
              <a:gd name="connsiteY31" fmla="*/ 121349 h 147767"/>
              <a:gd name="connsiteX32" fmla="*/ 68063 w 152245"/>
              <a:gd name="connsiteY32" fmla="*/ 96721 h 147767"/>
              <a:gd name="connsiteX33" fmla="*/ 42539 w 152245"/>
              <a:gd name="connsiteY33" fmla="*/ 52391 h 147767"/>
              <a:gd name="connsiteX34" fmla="*/ 10299 w 152245"/>
              <a:gd name="connsiteY34" fmla="*/ 56868 h 147767"/>
              <a:gd name="connsiteX35" fmla="*/ 5373 w 152245"/>
              <a:gd name="connsiteY35" fmla="*/ 62689 h 147767"/>
              <a:gd name="connsiteX36" fmla="*/ 54629 w 152245"/>
              <a:gd name="connsiteY36" fmla="*/ 8060 h 147767"/>
              <a:gd name="connsiteX37" fmla="*/ 69406 w 152245"/>
              <a:gd name="connsiteY37" fmla="*/ 25524 h 147767"/>
              <a:gd name="connsiteX38" fmla="*/ 93139 w 152245"/>
              <a:gd name="connsiteY38" fmla="*/ 36718 h 147767"/>
              <a:gd name="connsiteX39" fmla="*/ 103438 w 152245"/>
              <a:gd name="connsiteY39" fmla="*/ 38061 h 147767"/>
              <a:gd name="connsiteX40" fmla="*/ 123588 w 152245"/>
              <a:gd name="connsiteY40" fmla="*/ 42987 h 147767"/>
              <a:gd name="connsiteX41" fmla="*/ 142395 w 152245"/>
              <a:gd name="connsiteY41" fmla="*/ 63585 h 147767"/>
              <a:gd name="connsiteX42" fmla="*/ 147320 w 152245"/>
              <a:gd name="connsiteY42" fmla="*/ 76571 h 147767"/>
              <a:gd name="connsiteX43" fmla="*/ 96273 w 152245"/>
              <a:gd name="connsiteY43" fmla="*/ 14463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2245" h="147767">
                <a:moveTo>
                  <a:pt x="152246" y="76123"/>
                </a:moveTo>
                <a:cubicBezTo>
                  <a:pt x="152246" y="34032"/>
                  <a:pt x="118215" y="0"/>
                  <a:pt x="76123" y="0"/>
                </a:cubicBezTo>
                <a:cubicBezTo>
                  <a:pt x="68959" y="0"/>
                  <a:pt x="62242" y="896"/>
                  <a:pt x="55973" y="2687"/>
                </a:cubicBezTo>
                <a:cubicBezTo>
                  <a:pt x="55525" y="2687"/>
                  <a:pt x="55525" y="2687"/>
                  <a:pt x="55077" y="2687"/>
                </a:cubicBezTo>
                <a:cubicBezTo>
                  <a:pt x="55077" y="2687"/>
                  <a:pt x="55077" y="2687"/>
                  <a:pt x="55077" y="2687"/>
                </a:cubicBezTo>
                <a:cubicBezTo>
                  <a:pt x="23733" y="11642"/>
                  <a:pt x="896" y="40300"/>
                  <a:pt x="0" y="74332"/>
                </a:cubicBezTo>
                <a:cubicBezTo>
                  <a:pt x="0" y="74780"/>
                  <a:pt x="0" y="74780"/>
                  <a:pt x="0" y="75227"/>
                </a:cubicBezTo>
                <a:cubicBezTo>
                  <a:pt x="0" y="75227"/>
                  <a:pt x="0" y="75675"/>
                  <a:pt x="0" y="75675"/>
                </a:cubicBezTo>
                <a:cubicBezTo>
                  <a:pt x="0" y="117767"/>
                  <a:pt x="34032" y="151798"/>
                  <a:pt x="76123" y="151798"/>
                </a:cubicBezTo>
                <a:cubicBezTo>
                  <a:pt x="83288" y="151798"/>
                  <a:pt x="90004" y="150902"/>
                  <a:pt x="96273" y="149111"/>
                </a:cubicBezTo>
                <a:cubicBezTo>
                  <a:pt x="96273" y="149111"/>
                  <a:pt x="96273" y="149111"/>
                  <a:pt x="96273" y="149111"/>
                </a:cubicBezTo>
                <a:cubicBezTo>
                  <a:pt x="96721" y="149111"/>
                  <a:pt x="97169" y="149111"/>
                  <a:pt x="97169" y="148664"/>
                </a:cubicBezTo>
                <a:cubicBezTo>
                  <a:pt x="128961" y="140156"/>
                  <a:pt x="152246" y="110602"/>
                  <a:pt x="152246" y="76123"/>
                </a:cubicBezTo>
                <a:close/>
                <a:moveTo>
                  <a:pt x="145529" y="59107"/>
                </a:moveTo>
                <a:cubicBezTo>
                  <a:pt x="140604" y="50152"/>
                  <a:pt x="133887" y="42987"/>
                  <a:pt x="126275" y="38509"/>
                </a:cubicBezTo>
                <a:cubicBezTo>
                  <a:pt x="119558" y="34479"/>
                  <a:pt x="111498" y="34032"/>
                  <a:pt x="104333" y="33136"/>
                </a:cubicBezTo>
                <a:cubicBezTo>
                  <a:pt x="100751" y="32688"/>
                  <a:pt x="97617" y="32240"/>
                  <a:pt x="94482" y="31793"/>
                </a:cubicBezTo>
                <a:cubicBezTo>
                  <a:pt x="85974" y="30001"/>
                  <a:pt x="78362" y="26867"/>
                  <a:pt x="72541" y="21493"/>
                </a:cubicBezTo>
                <a:cubicBezTo>
                  <a:pt x="67167" y="17016"/>
                  <a:pt x="62689" y="11642"/>
                  <a:pt x="59555" y="6269"/>
                </a:cubicBezTo>
                <a:cubicBezTo>
                  <a:pt x="64928" y="4925"/>
                  <a:pt x="70302" y="4030"/>
                  <a:pt x="76123" y="4030"/>
                </a:cubicBezTo>
                <a:cubicBezTo>
                  <a:pt x="109707" y="4478"/>
                  <a:pt x="137917" y="27763"/>
                  <a:pt x="145529" y="59107"/>
                </a:cubicBezTo>
                <a:close/>
                <a:moveTo>
                  <a:pt x="4478" y="76123"/>
                </a:moveTo>
                <a:cubicBezTo>
                  <a:pt x="4478" y="76123"/>
                  <a:pt x="4478" y="75675"/>
                  <a:pt x="4478" y="75675"/>
                </a:cubicBezTo>
                <a:cubicBezTo>
                  <a:pt x="6269" y="69854"/>
                  <a:pt x="9404" y="64033"/>
                  <a:pt x="13433" y="60450"/>
                </a:cubicBezTo>
                <a:cubicBezTo>
                  <a:pt x="20150" y="54182"/>
                  <a:pt x="30897" y="52838"/>
                  <a:pt x="41196" y="56868"/>
                </a:cubicBezTo>
                <a:cubicBezTo>
                  <a:pt x="57764" y="64033"/>
                  <a:pt x="60898" y="80600"/>
                  <a:pt x="64033" y="98064"/>
                </a:cubicBezTo>
                <a:cubicBezTo>
                  <a:pt x="65824" y="107020"/>
                  <a:pt x="67615" y="115975"/>
                  <a:pt x="71197" y="123588"/>
                </a:cubicBezTo>
                <a:cubicBezTo>
                  <a:pt x="75228" y="132095"/>
                  <a:pt x="81944" y="139708"/>
                  <a:pt x="90900" y="146425"/>
                </a:cubicBezTo>
                <a:cubicBezTo>
                  <a:pt x="85974" y="147320"/>
                  <a:pt x="81049" y="147768"/>
                  <a:pt x="76123" y="147768"/>
                </a:cubicBezTo>
                <a:cubicBezTo>
                  <a:pt x="36270" y="147768"/>
                  <a:pt x="4478" y="115528"/>
                  <a:pt x="4478" y="76123"/>
                </a:cubicBezTo>
                <a:close/>
                <a:moveTo>
                  <a:pt x="96273" y="144633"/>
                </a:moveTo>
                <a:cubicBezTo>
                  <a:pt x="86422" y="137917"/>
                  <a:pt x="79257" y="130305"/>
                  <a:pt x="74780" y="121349"/>
                </a:cubicBezTo>
                <a:cubicBezTo>
                  <a:pt x="71197" y="114184"/>
                  <a:pt x="69854" y="105677"/>
                  <a:pt x="68063" y="96721"/>
                </a:cubicBezTo>
                <a:cubicBezTo>
                  <a:pt x="64928" y="78810"/>
                  <a:pt x="61346" y="60450"/>
                  <a:pt x="42539" y="52391"/>
                </a:cubicBezTo>
                <a:cubicBezTo>
                  <a:pt x="30897" y="47465"/>
                  <a:pt x="18359" y="49256"/>
                  <a:pt x="10299" y="56868"/>
                </a:cubicBezTo>
                <a:cubicBezTo>
                  <a:pt x="8508" y="58660"/>
                  <a:pt x="7165" y="60450"/>
                  <a:pt x="5373" y="62689"/>
                </a:cubicBezTo>
                <a:cubicBezTo>
                  <a:pt x="10299" y="36718"/>
                  <a:pt x="29554" y="15672"/>
                  <a:pt x="54629" y="8060"/>
                </a:cubicBezTo>
                <a:cubicBezTo>
                  <a:pt x="58212" y="14329"/>
                  <a:pt x="63137" y="20598"/>
                  <a:pt x="69406" y="25524"/>
                </a:cubicBezTo>
                <a:cubicBezTo>
                  <a:pt x="76123" y="30897"/>
                  <a:pt x="84183" y="34927"/>
                  <a:pt x="93139" y="36718"/>
                </a:cubicBezTo>
                <a:cubicBezTo>
                  <a:pt x="96721" y="37166"/>
                  <a:pt x="100303" y="37614"/>
                  <a:pt x="103438" y="38061"/>
                </a:cubicBezTo>
                <a:cubicBezTo>
                  <a:pt x="110602" y="38957"/>
                  <a:pt x="117767" y="39405"/>
                  <a:pt x="123588" y="42987"/>
                </a:cubicBezTo>
                <a:cubicBezTo>
                  <a:pt x="132991" y="48360"/>
                  <a:pt x="138812" y="57316"/>
                  <a:pt x="142395" y="63585"/>
                </a:cubicBezTo>
                <a:cubicBezTo>
                  <a:pt x="144634" y="68063"/>
                  <a:pt x="146425" y="72541"/>
                  <a:pt x="147320" y="76571"/>
                </a:cubicBezTo>
                <a:cubicBezTo>
                  <a:pt x="147320" y="108811"/>
                  <a:pt x="125827" y="136125"/>
                  <a:pt x="96273" y="144633"/>
                </a:cubicBezTo>
                <a:close/>
              </a:path>
            </a:pathLst>
          </a:custGeom>
          <a:solidFill>
            <a:srgbClr val="231F20"/>
          </a:solidFill>
          <a:ln w="4474" cap="flat">
            <a:noFill/>
            <a:prstDash val="solid"/>
            <a:miter/>
          </a:ln>
        </p:spPr>
        <p:txBody>
          <a:bodyPr rtlCol="0" anchor="ctr"/>
          <a:lstStyle/>
          <a:p>
            <a:endParaRPr lang="en-US"/>
          </a:p>
        </p:txBody>
      </p:sp>
      <p:sp>
        <p:nvSpPr>
          <p:cNvPr id="4779" name="Freeform: Shape 4778">
            <a:extLst>
              <a:ext uri="{FF2B5EF4-FFF2-40B4-BE49-F238E27FC236}">
                <a16:creationId xmlns:a16="http://schemas.microsoft.com/office/drawing/2014/main" id="{AE29939A-CFD2-4575-859F-8D414C063950}"/>
              </a:ext>
              <a:ext uri="{C183D7F6-B498-43B3-948B-1728B52AA6E4}">
                <adec:decorative xmlns:adec="http://schemas.microsoft.com/office/drawing/2017/decorative" val="1"/>
              </a:ext>
            </a:extLst>
          </p:cNvPr>
          <p:cNvSpPr>
            <a:spLocks noChangeAspect="1"/>
          </p:cNvSpPr>
          <p:nvPr/>
        </p:nvSpPr>
        <p:spPr>
          <a:xfrm>
            <a:off x="9790056" y="2078946"/>
            <a:ext cx="147768" cy="147768"/>
          </a:xfrm>
          <a:custGeom>
            <a:avLst/>
            <a:gdLst>
              <a:gd name="connsiteX0" fmla="*/ 144186 w 147767"/>
              <a:gd name="connsiteY0" fmla="*/ 112512 h 147767"/>
              <a:gd name="connsiteX1" fmla="*/ 144186 w 147767"/>
              <a:gd name="connsiteY1" fmla="*/ 112512 h 147767"/>
              <a:gd name="connsiteX2" fmla="*/ 143738 w 147767"/>
              <a:gd name="connsiteY2" fmla="*/ 112064 h 147767"/>
              <a:gd name="connsiteX3" fmla="*/ 143290 w 147767"/>
              <a:gd name="connsiteY3" fmla="*/ 111616 h 147767"/>
              <a:gd name="connsiteX4" fmla="*/ 143290 w 147767"/>
              <a:gd name="connsiteY4" fmla="*/ 111616 h 147767"/>
              <a:gd name="connsiteX5" fmla="*/ 36270 w 147767"/>
              <a:gd name="connsiteY5" fmla="*/ 4596 h 147767"/>
              <a:gd name="connsiteX6" fmla="*/ 15225 w 147767"/>
              <a:gd name="connsiteY6" fmla="*/ 4148 h 147767"/>
              <a:gd name="connsiteX7" fmla="*/ 4030 w 147767"/>
              <a:gd name="connsiteY7" fmla="*/ 15343 h 147767"/>
              <a:gd name="connsiteX8" fmla="*/ 0 w 147767"/>
              <a:gd name="connsiteY8" fmla="*/ 25642 h 147767"/>
              <a:gd name="connsiteX9" fmla="*/ 4478 w 147767"/>
              <a:gd name="connsiteY9" fmla="*/ 36389 h 147767"/>
              <a:gd name="connsiteX10" fmla="*/ 18807 w 147767"/>
              <a:gd name="connsiteY10" fmla="*/ 50718 h 147767"/>
              <a:gd name="connsiteX11" fmla="*/ 18807 w 147767"/>
              <a:gd name="connsiteY11" fmla="*/ 50718 h 147767"/>
              <a:gd name="connsiteX12" fmla="*/ 18807 w 147767"/>
              <a:gd name="connsiteY12" fmla="*/ 50718 h 147767"/>
              <a:gd name="connsiteX13" fmla="*/ 111050 w 147767"/>
              <a:gd name="connsiteY13" fmla="*/ 143409 h 147767"/>
              <a:gd name="connsiteX14" fmla="*/ 111050 w 147767"/>
              <a:gd name="connsiteY14" fmla="*/ 143409 h 147767"/>
              <a:gd name="connsiteX15" fmla="*/ 111498 w 147767"/>
              <a:gd name="connsiteY15" fmla="*/ 143856 h 147767"/>
              <a:gd name="connsiteX16" fmla="*/ 111945 w 147767"/>
              <a:gd name="connsiteY16" fmla="*/ 143856 h 147767"/>
              <a:gd name="connsiteX17" fmla="*/ 111945 w 147767"/>
              <a:gd name="connsiteY17" fmla="*/ 143856 h 147767"/>
              <a:gd name="connsiteX18" fmla="*/ 149111 w 147767"/>
              <a:gd name="connsiteY18" fmla="*/ 151916 h 147767"/>
              <a:gd name="connsiteX19" fmla="*/ 149559 w 147767"/>
              <a:gd name="connsiteY19" fmla="*/ 151916 h 147767"/>
              <a:gd name="connsiteX20" fmla="*/ 151350 w 147767"/>
              <a:gd name="connsiteY20" fmla="*/ 151468 h 147767"/>
              <a:gd name="connsiteX21" fmla="*/ 151798 w 147767"/>
              <a:gd name="connsiteY21" fmla="*/ 149230 h 147767"/>
              <a:gd name="connsiteX22" fmla="*/ 144186 w 147767"/>
              <a:gd name="connsiteY22" fmla="*/ 112512 h 147767"/>
              <a:gd name="connsiteX23" fmla="*/ 113289 w 147767"/>
              <a:gd name="connsiteY23" fmla="*/ 138483 h 147767"/>
              <a:gd name="connsiteX24" fmla="*/ 23732 w 147767"/>
              <a:gd name="connsiteY24" fmla="*/ 48926 h 147767"/>
              <a:gd name="connsiteX25" fmla="*/ 49256 w 147767"/>
              <a:gd name="connsiteY25" fmla="*/ 23403 h 147767"/>
              <a:gd name="connsiteX26" fmla="*/ 138812 w 147767"/>
              <a:gd name="connsiteY26" fmla="*/ 112959 h 147767"/>
              <a:gd name="connsiteX27" fmla="*/ 113289 w 147767"/>
              <a:gd name="connsiteY27" fmla="*/ 138483 h 147767"/>
              <a:gd name="connsiteX28" fmla="*/ 4925 w 147767"/>
              <a:gd name="connsiteY28" fmla="*/ 25194 h 147767"/>
              <a:gd name="connsiteX29" fmla="*/ 7612 w 147767"/>
              <a:gd name="connsiteY29" fmla="*/ 18030 h 147767"/>
              <a:gd name="connsiteX30" fmla="*/ 18807 w 147767"/>
              <a:gd name="connsiteY30" fmla="*/ 6835 h 147767"/>
              <a:gd name="connsiteX31" fmla="*/ 25971 w 147767"/>
              <a:gd name="connsiteY31" fmla="*/ 4148 h 147767"/>
              <a:gd name="connsiteX32" fmla="*/ 33584 w 147767"/>
              <a:gd name="connsiteY32" fmla="*/ 7283 h 147767"/>
              <a:gd name="connsiteX33" fmla="*/ 46121 w 147767"/>
              <a:gd name="connsiteY33" fmla="*/ 19821 h 147767"/>
              <a:gd name="connsiteX34" fmla="*/ 20598 w 147767"/>
              <a:gd name="connsiteY34" fmla="*/ 45344 h 147767"/>
              <a:gd name="connsiteX35" fmla="*/ 8060 w 147767"/>
              <a:gd name="connsiteY35" fmla="*/ 32359 h 147767"/>
              <a:gd name="connsiteX36" fmla="*/ 4925 w 147767"/>
              <a:gd name="connsiteY36" fmla="*/ 25194 h 147767"/>
              <a:gd name="connsiteX37" fmla="*/ 117767 w 147767"/>
              <a:gd name="connsiteY37" fmla="*/ 140274 h 147767"/>
              <a:gd name="connsiteX38" fmla="*/ 141051 w 147767"/>
              <a:gd name="connsiteY38" fmla="*/ 116989 h 147767"/>
              <a:gd name="connsiteX39" fmla="*/ 147768 w 147767"/>
              <a:gd name="connsiteY39" fmla="*/ 146543 h 147767"/>
              <a:gd name="connsiteX40" fmla="*/ 117767 w 147767"/>
              <a:gd name="connsiteY40" fmla="*/ 140274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7767" h="147767">
                <a:moveTo>
                  <a:pt x="144186" y="112512"/>
                </a:moveTo>
                <a:cubicBezTo>
                  <a:pt x="144186" y="112512"/>
                  <a:pt x="144186" y="112064"/>
                  <a:pt x="144186" y="112512"/>
                </a:cubicBezTo>
                <a:cubicBezTo>
                  <a:pt x="144186" y="112064"/>
                  <a:pt x="144186" y="112064"/>
                  <a:pt x="143738" y="112064"/>
                </a:cubicBezTo>
                <a:cubicBezTo>
                  <a:pt x="143738" y="112064"/>
                  <a:pt x="143738" y="111616"/>
                  <a:pt x="143290" y="111616"/>
                </a:cubicBezTo>
                <a:cubicBezTo>
                  <a:pt x="143290" y="111616"/>
                  <a:pt x="143290" y="111616"/>
                  <a:pt x="143290" y="111616"/>
                </a:cubicBezTo>
                <a:lnTo>
                  <a:pt x="36270" y="4596"/>
                </a:lnTo>
                <a:cubicBezTo>
                  <a:pt x="30449" y="-1225"/>
                  <a:pt x="21046" y="-1673"/>
                  <a:pt x="15225" y="4148"/>
                </a:cubicBezTo>
                <a:lnTo>
                  <a:pt x="4030" y="15343"/>
                </a:lnTo>
                <a:cubicBezTo>
                  <a:pt x="1343" y="18030"/>
                  <a:pt x="0" y="21612"/>
                  <a:pt x="0" y="25642"/>
                </a:cubicBezTo>
                <a:cubicBezTo>
                  <a:pt x="0" y="29672"/>
                  <a:pt x="1791" y="33702"/>
                  <a:pt x="4478" y="36389"/>
                </a:cubicBezTo>
                <a:lnTo>
                  <a:pt x="18807" y="50718"/>
                </a:lnTo>
                <a:cubicBezTo>
                  <a:pt x="18807" y="50718"/>
                  <a:pt x="18807" y="50718"/>
                  <a:pt x="18807" y="50718"/>
                </a:cubicBezTo>
                <a:cubicBezTo>
                  <a:pt x="18807" y="50718"/>
                  <a:pt x="18807" y="50718"/>
                  <a:pt x="18807" y="50718"/>
                </a:cubicBezTo>
                <a:lnTo>
                  <a:pt x="111050" y="143409"/>
                </a:lnTo>
                <a:cubicBezTo>
                  <a:pt x="111050" y="143409"/>
                  <a:pt x="111050" y="143409"/>
                  <a:pt x="111050" y="143409"/>
                </a:cubicBezTo>
                <a:cubicBezTo>
                  <a:pt x="111050" y="143409"/>
                  <a:pt x="111498" y="143409"/>
                  <a:pt x="111498" y="143856"/>
                </a:cubicBezTo>
                <a:cubicBezTo>
                  <a:pt x="111498" y="143856"/>
                  <a:pt x="111945" y="143856"/>
                  <a:pt x="111945" y="143856"/>
                </a:cubicBezTo>
                <a:cubicBezTo>
                  <a:pt x="111945" y="143856"/>
                  <a:pt x="111945" y="143856"/>
                  <a:pt x="111945" y="143856"/>
                </a:cubicBezTo>
                <a:lnTo>
                  <a:pt x="149111" y="151916"/>
                </a:lnTo>
                <a:cubicBezTo>
                  <a:pt x="149111" y="151916"/>
                  <a:pt x="149559" y="151916"/>
                  <a:pt x="149559" y="151916"/>
                </a:cubicBezTo>
                <a:cubicBezTo>
                  <a:pt x="150007" y="151916"/>
                  <a:pt x="150903" y="151468"/>
                  <a:pt x="151350" y="151468"/>
                </a:cubicBezTo>
                <a:cubicBezTo>
                  <a:pt x="151798" y="151021"/>
                  <a:pt x="152246" y="150125"/>
                  <a:pt x="151798" y="149230"/>
                </a:cubicBezTo>
                <a:lnTo>
                  <a:pt x="144186" y="112512"/>
                </a:lnTo>
                <a:close/>
                <a:moveTo>
                  <a:pt x="113289" y="138483"/>
                </a:moveTo>
                <a:lnTo>
                  <a:pt x="23732" y="48926"/>
                </a:lnTo>
                <a:lnTo>
                  <a:pt x="49256" y="23403"/>
                </a:lnTo>
                <a:lnTo>
                  <a:pt x="138812" y="112959"/>
                </a:lnTo>
                <a:lnTo>
                  <a:pt x="113289" y="138483"/>
                </a:lnTo>
                <a:close/>
                <a:moveTo>
                  <a:pt x="4925" y="25194"/>
                </a:moveTo>
                <a:cubicBezTo>
                  <a:pt x="4925" y="22507"/>
                  <a:pt x="5821" y="20268"/>
                  <a:pt x="7612" y="18030"/>
                </a:cubicBezTo>
                <a:lnTo>
                  <a:pt x="18807" y="6835"/>
                </a:lnTo>
                <a:cubicBezTo>
                  <a:pt x="20598" y="5044"/>
                  <a:pt x="23285" y="4148"/>
                  <a:pt x="25971" y="4148"/>
                </a:cubicBezTo>
                <a:cubicBezTo>
                  <a:pt x="28658" y="4148"/>
                  <a:pt x="31345" y="5044"/>
                  <a:pt x="33584" y="7283"/>
                </a:cubicBezTo>
                <a:lnTo>
                  <a:pt x="46121" y="19821"/>
                </a:lnTo>
                <a:lnTo>
                  <a:pt x="20598" y="45344"/>
                </a:lnTo>
                <a:lnTo>
                  <a:pt x="8060" y="32359"/>
                </a:lnTo>
                <a:cubicBezTo>
                  <a:pt x="5821" y="31015"/>
                  <a:pt x="4925" y="28328"/>
                  <a:pt x="4925" y="25194"/>
                </a:cubicBezTo>
                <a:close/>
                <a:moveTo>
                  <a:pt x="117767" y="140274"/>
                </a:moveTo>
                <a:lnTo>
                  <a:pt x="141051" y="116989"/>
                </a:lnTo>
                <a:lnTo>
                  <a:pt x="147768" y="146543"/>
                </a:lnTo>
                <a:lnTo>
                  <a:pt x="117767" y="140274"/>
                </a:lnTo>
                <a:close/>
              </a:path>
            </a:pathLst>
          </a:custGeom>
          <a:solidFill>
            <a:srgbClr val="231F20"/>
          </a:solidFill>
          <a:ln w="4474" cap="flat">
            <a:noFill/>
            <a:prstDash val="solid"/>
            <a:miter/>
          </a:ln>
        </p:spPr>
        <p:txBody>
          <a:bodyPr rtlCol="0" anchor="ctr"/>
          <a:lstStyle/>
          <a:p>
            <a:endParaRPr lang="en-US"/>
          </a:p>
        </p:txBody>
      </p:sp>
      <p:sp>
        <p:nvSpPr>
          <p:cNvPr id="4780" name="Freeform: Shape 4779">
            <a:extLst>
              <a:ext uri="{FF2B5EF4-FFF2-40B4-BE49-F238E27FC236}">
                <a16:creationId xmlns:a16="http://schemas.microsoft.com/office/drawing/2014/main" id="{69E9EBA6-83BE-46C3-97F1-69C97B0E0446}"/>
              </a:ext>
              <a:ext uri="{C183D7F6-B498-43B3-948B-1728B52AA6E4}">
                <adec:decorative xmlns:adec="http://schemas.microsoft.com/office/drawing/2017/decorative" val="1"/>
              </a:ext>
            </a:extLst>
          </p:cNvPr>
          <p:cNvSpPr>
            <a:spLocks noChangeAspect="1"/>
          </p:cNvSpPr>
          <p:nvPr/>
        </p:nvSpPr>
        <p:spPr>
          <a:xfrm>
            <a:off x="10320229" y="2079064"/>
            <a:ext cx="152246" cy="152246"/>
          </a:xfrm>
          <a:custGeom>
            <a:avLst/>
            <a:gdLst>
              <a:gd name="connsiteX0" fmla="*/ 129409 w 152245"/>
              <a:gd name="connsiteY0" fmla="*/ 21493 h 152245"/>
              <a:gd name="connsiteX1" fmla="*/ 128961 w 152245"/>
              <a:gd name="connsiteY1" fmla="*/ 21046 h 152245"/>
              <a:gd name="connsiteX2" fmla="*/ 76123 w 152245"/>
              <a:gd name="connsiteY2" fmla="*/ 0 h 152245"/>
              <a:gd name="connsiteX3" fmla="*/ 0 w 152245"/>
              <a:gd name="connsiteY3" fmla="*/ 76123 h 152245"/>
              <a:gd name="connsiteX4" fmla="*/ 76123 w 152245"/>
              <a:gd name="connsiteY4" fmla="*/ 152246 h 152245"/>
              <a:gd name="connsiteX5" fmla="*/ 152246 w 152245"/>
              <a:gd name="connsiteY5" fmla="*/ 76123 h 152245"/>
              <a:gd name="connsiteX6" fmla="*/ 129409 w 152245"/>
              <a:gd name="connsiteY6" fmla="*/ 21493 h 152245"/>
              <a:gd name="connsiteX7" fmla="*/ 147768 w 152245"/>
              <a:gd name="connsiteY7" fmla="*/ 73436 h 152245"/>
              <a:gd name="connsiteX8" fmla="*/ 98512 w 152245"/>
              <a:gd name="connsiteY8" fmla="*/ 73436 h 152245"/>
              <a:gd name="connsiteX9" fmla="*/ 127170 w 152245"/>
              <a:gd name="connsiteY9" fmla="*/ 25524 h 152245"/>
              <a:gd name="connsiteX10" fmla="*/ 147768 w 152245"/>
              <a:gd name="connsiteY10" fmla="*/ 73436 h 152245"/>
              <a:gd name="connsiteX11" fmla="*/ 78362 w 152245"/>
              <a:gd name="connsiteY11" fmla="*/ 73436 h 152245"/>
              <a:gd name="connsiteX12" fmla="*/ 78362 w 152245"/>
              <a:gd name="connsiteY12" fmla="*/ 4030 h 152245"/>
              <a:gd name="connsiteX13" fmla="*/ 123588 w 152245"/>
              <a:gd name="connsiteY13" fmla="*/ 22389 h 152245"/>
              <a:gd name="connsiteX14" fmla="*/ 94034 w 152245"/>
              <a:gd name="connsiteY14" fmla="*/ 73436 h 152245"/>
              <a:gd name="connsiteX15" fmla="*/ 78362 w 152245"/>
              <a:gd name="connsiteY15" fmla="*/ 73436 h 152245"/>
              <a:gd name="connsiteX16" fmla="*/ 73884 w 152245"/>
              <a:gd name="connsiteY16" fmla="*/ 73436 h 152245"/>
              <a:gd name="connsiteX17" fmla="*/ 58212 w 152245"/>
              <a:gd name="connsiteY17" fmla="*/ 73436 h 152245"/>
              <a:gd name="connsiteX18" fmla="*/ 28210 w 152245"/>
              <a:gd name="connsiteY18" fmla="*/ 22389 h 152245"/>
              <a:gd name="connsiteX19" fmla="*/ 73884 w 152245"/>
              <a:gd name="connsiteY19" fmla="*/ 4030 h 152245"/>
              <a:gd name="connsiteX20" fmla="*/ 73884 w 152245"/>
              <a:gd name="connsiteY20" fmla="*/ 73436 h 152245"/>
              <a:gd name="connsiteX21" fmla="*/ 73884 w 152245"/>
              <a:gd name="connsiteY21" fmla="*/ 77914 h 152245"/>
              <a:gd name="connsiteX22" fmla="*/ 73884 w 152245"/>
              <a:gd name="connsiteY22" fmla="*/ 147320 h 152245"/>
              <a:gd name="connsiteX23" fmla="*/ 28658 w 152245"/>
              <a:gd name="connsiteY23" fmla="*/ 129409 h 152245"/>
              <a:gd name="connsiteX24" fmla="*/ 58212 w 152245"/>
              <a:gd name="connsiteY24" fmla="*/ 78362 h 152245"/>
              <a:gd name="connsiteX25" fmla="*/ 73884 w 152245"/>
              <a:gd name="connsiteY25" fmla="*/ 78362 h 152245"/>
              <a:gd name="connsiteX26" fmla="*/ 78362 w 152245"/>
              <a:gd name="connsiteY26" fmla="*/ 77914 h 152245"/>
              <a:gd name="connsiteX27" fmla="*/ 94034 w 152245"/>
              <a:gd name="connsiteY27" fmla="*/ 77914 h 152245"/>
              <a:gd name="connsiteX28" fmla="*/ 123588 w 152245"/>
              <a:gd name="connsiteY28" fmla="*/ 128961 h 152245"/>
              <a:gd name="connsiteX29" fmla="*/ 78362 w 152245"/>
              <a:gd name="connsiteY29" fmla="*/ 147320 h 152245"/>
              <a:gd name="connsiteX30" fmla="*/ 78362 w 152245"/>
              <a:gd name="connsiteY30" fmla="*/ 77914 h 152245"/>
              <a:gd name="connsiteX31" fmla="*/ 24628 w 152245"/>
              <a:gd name="connsiteY31" fmla="*/ 25524 h 152245"/>
              <a:gd name="connsiteX32" fmla="*/ 53286 w 152245"/>
              <a:gd name="connsiteY32" fmla="*/ 73436 h 152245"/>
              <a:gd name="connsiteX33" fmla="*/ 4030 w 152245"/>
              <a:gd name="connsiteY33" fmla="*/ 73436 h 152245"/>
              <a:gd name="connsiteX34" fmla="*/ 24628 w 152245"/>
              <a:gd name="connsiteY34" fmla="*/ 25524 h 152245"/>
              <a:gd name="connsiteX35" fmla="*/ 4478 w 152245"/>
              <a:gd name="connsiteY35" fmla="*/ 77914 h 152245"/>
              <a:gd name="connsiteX36" fmla="*/ 53734 w 152245"/>
              <a:gd name="connsiteY36" fmla="*/ 77914 h 152245"/>
              <a:gd name="connsiteX37" fmla="*/ 25076 w 152245"/>
              <a:gd name="connsiteY37" fmla="*/ 125827 h 152245"/>
              <a:gd name="connsiteX38" fmla="*/ 4478 w 152245"/>
              <a:gd name="connsiteY38" fmla="*/ 77914 h 152245"/>
              <a:gd name="connsiteX39" fmla="*/ 127170 w 152245"/>
              <a:gd name="connsiteY39" fmla="*/ 125827 h 152245"/>
              <a:gd name="connsiteX40" fmla="*/ 98512 w 152245"/>
              <a:gd name="connsiteY40" fmla="*/ 77914 h 152245"/>
              <a:gd name="connsiteX41" fmla="*/ 147768 w 152245"/>
              <a:gd name="connsiteY41" fmla="*/ 77914 h 152245"/>
              <a:gd name="connsiteX42" fmla="*/ 127170 w 152245"/>
              <a:gd name="connsiteY42" fmla="*/ 12582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245" h="152245">
                <a:moveTo>
                  <a:pt x="129409" y="21493"/>
                </a:moveTo>
                <a:cubicBezTo>
                  <a:pt x="129409" y="21493"/>
                  <a:pt x="128961" y="21046"/>
                  <a:pt x="128961" y="21046"/>
                </a:cubicBezTo>
                <a:cubicBezTo>
                  <a:pt x="115080" y="8060"/>
                  <a:pt x="96721" y="0"/>
                  <a:pt x="76123" y="0"/>
                </a:cubicBezTo>
                <a:cubicBezTo>
                  <a:pt x="34031" y="0"/>
                  <a:pt x="0" y="34032"/>
                  <a:pt x="0" y="76123"/>
                </a:cubicBezTo>
                <a:cubicBezTo>
                  <a:pt x="0" y="118214"/>
                  <a:pt x="34031" y="152246"/>
                  <a:pt x="76123" y="152246"/>
                </a:cubicBezTo>
                <a:cubicBezTo>
                  <a:pt x="118214" y="152246"/>
                  <a:pt x="152246" y="118214"/>
                  <a:pt x="152246" y="76123"/>
                </a:cubicBezTo>
                <a:cubicBezTo>
                  <a:pt x="152246" y="54629"/>
                  <a:pt x="143290" y="35375"/>
                  <a:pt x="129409" y="21493"/>
                </a:cubicBezTo>
                <a:close/>
                <a:moveTo>
                  <a:pt x="147768" y="73436"/>
                </a:moveTo>
                <a:lnTo>
                  <a:pt x="98512" y="73436"/>
                </a:lnTo>
                <a:cubicBezTo>
                  <a:pt x="99407" y="53734"/>
                  <a:pt x="110154" y="35823"/>
                  <a:pt x="127170" y="25524"/>
                </a:cubicBezTo>
                <a:cubicBezTo>
                  <a:pt x="139260" y="38062"/>
                  <a:pt x="146872" y="55077"/>
                  <a:pt x="147768" y="73436"/>
                </a:cubicBezTo>
                <a:close/>
                <a:moveTo>
                  <a:pt x="78362" y="73436"/>
                </a:moveTo>
                <a:lnTo>
                  <a:pt x="78362" y="4030"/>
                </a:lnTo>
                <a:cubicBezTo>
                  <a:pt x="95825" y="4478"/>
                  <a:pt x="111498" y="11195"/>
                  <a:pt x="123588" y="22389"/>
                </a:cubicBezTo>
                <a:cubicBezTo>
                  <a:pt x="105676" y="33584"/>
                  <a:pt x="94482" y="52391"/>
                  <a:pt x="94034" y="73436"/>
                </a:cubicBezTo>
                <a:lnTo>
                  <a:pt x="78362" y="73436"/>
                </a:lnTo>
                <a:close/>
                <a:moveTo>
                  <a:pt x="73884" y="73436"/>
                </a:moveTo>
                <a:lnTo>
                  <a:pt x="58212" y="73436"/>
                </a:lnTo>
                <a:cubicBezTo>
                  <a:pt x="57316" y="52391"/>
                  <a:pt x="46121" y="33584"/>
                  <a:pt x="28210" y="22389"/>
                </a:cubicBezTo>
                <a:cubicBezTo>
                  <a:pt x="40300" y="11642"/>
                  <a:pt x="56420" y="4478"/>
                  <a:pt x="73884" y="4030"/>
                </a:cubicBezTo>
                <a:lnTo>
                  <a:pt x="73884" y="73436"/>
                </a:lnTo>
                <a:close/>
                <a:moveTo>
                  <a:pt x="73884" y="77914"/>
                </a:moveTo>
                <a:lnTo>
                  <a:pt x="73884" y="147320"/>
                </a:lnTo>
                <a:cubicBezTo>
                  <a:pt x="56420" y="146872"/>
                  <a:pt x="40748" y="140156"/>
                  <a:pt x="28658" y="129409"/>
                </a:cubicBezTo>
                <a:cubicBezTo>
                  <a:pt x="46569" y="118214"/>
                  <a:pt x="57764" y="98960"/>
                  <a:pt x="58212" y="78362"/>
                </a:cubicBezTo>
                <a:lnTo>
                  <a:pt x="73884" y="78362"/>
                </a:lnTo>
                <a:close/>
                <a:moveTo>
                  <a:pt x="78362" y="77914"/>
                </a:moveTo>
                <a:lnTo>
                  <a:pt x="94034" y="77914"/>
                </a:lnTo>
                <a:cubicBezTo>
                  <a:pt x="94930" y="98960"/>
                  <a:pt x="106124" y="118214"/>
                  <a:pt x="123588" y="128961"/>
                </a:cubicBezTo>
                <a:cubicBezTo>
                  <a:pt x="111498" y="139708"/>
                  <a:pt x="95377" y="146425"/>
                  <a:pt x="78362" y="147320"/>
                </a:cubicBezTo>
                <a:lnTo>
                  <a:pt x="78362" y="77914"/>
                </a:lnTo>
                <a:close/>
                <a:moveTo>
                  <a:pt x="24628" y="25524"/>
                </a:moveTo>
                <a:cubicBezTo>
                  <a:pt x="41644" y="35375"/>
                  <a:pt x="52390" y="53734"/>
                  <a:pt x="53286" y="73436"/>
                </a:cubicBezTo>
                <a:lnTo>
                  <a:pt x="4030" y="73436"/>
                </a:lnTo>
                <a:cubicBezTo>
                  <a:pt x="4925" y="55077"/>
                  <a:pt x="12538" y="38062"/>
                  <a:pt x="24628" y="25524"/>
                </a:cubicBezTo>
                <a:close/>
                <a:moveTo>
                  <a:pt x="4478" y="77914"/>
                </a:moveTo>
                <a:lnTo>
                  <a:pt x="53734" y="77914"/>
                </a:lnTo>
                <a:cubicBezTo>
                  <a:pt x="52838" y="97616"/>
                  <a:pt x="42091" y="115975"/>
                  <a:pt x="25076" y="125827"/>
                </a:cubicBezTo>
                <a:cubicBezTo>
                  <a:pt x="12538" y="113736"/>
                  <a:pt x="4925" y="96721"/>
                  <a:pt x="4478" y="77914"/>
                </a:cubicBezTo>
                <a:close/>
                <a:moveTo>
                  <a:pt x="127170" y="125827"/>
                </a:moveTo>
                <a:cubicBezTo>
                  <a:pt x="110154" y="115975"/>
                  <a:pt x="99407" y="97616"/>
                  <a:pt x="98512" y="77914"/>
                </a:cubicBezTo>
                <a:lnTo>
                  <a:pt x="147768" y="77914"/>
                </a:lnTo>
                <a:cubicBezTo>
                  <a:pt x="146872" y="96721"/>
                  <a:pt x="139260" y="113289"/>
                  <a:pt x="127170" y="125827"/>
                </a:cubicBezTo>
                <a:close/>
              </a:path>
            </a:pathLst>
          </a:custGeom>
          <a:solidFill>
            <a:srgbClr val="231F20"/>
          </a:solidFill>
          <a:ln w="4474" cap="flat">
            <a:noFill/>
            <a:prstDash val="solid"/>
            <a:miter/>
          </a:ln>
        </p:spPr>
        <p:txBody>
          <a:bodyPr rtlCol="0" anchor="ctr"/>
          <a:lstStyle/>
          <a:p>
            <a:endParaRPr lang="en-US"/>
          </a:p>
        </p:txBody>
      </p:sp>
      <p:sp>
        <p:nvSpPr>
          <p:cNvPr id="4781" name="Freeform: Shape 4780">
            <a:extLst>
              <a:ext uri="{FF2B5EF4-FFF2-40B4-BE49-F238E27FC236}">
                <a16:creationId xmlns:a16="http://schemas.microsoft.com/office/drawing/2014/main" id="{316D20E8-A3D6-4E05-8C36-1AFD7D27E526}"/>
              </a:ext>
              <a:ext uri="{C183D7F6-B498-43B3-948B-1728B52AA6E4}">
                <adec:decorative xmlns:adec="http://schemas.microsoft.com/office/drawing/2017/decorative" val="1"/>
              </a:ext>
            </a:extLst>
          </p:cNvPr>
          <p:cNvSpPr>
            <a:spLocks noChangeAspect="1"/>
          </p:cNvSpPr>
          <p:nvPr/>
        </p:nvSpPr>
        <p:spPr>
          <a:xfrm>
            <a:off x="10579495" y="2078616"/>
            <a:ext cx="152246" cy="147768"/>
          </a:xfrm>
          <a:custGeom>
            <a:avLst/>
            <a:gdLst>
              <a:gd name="connsiteX0" fmla="*/ 143738 w 152245"/>
              <a:gd name="connsiteY0" fmla="*/ 111945 h 147767"/>
              <a:gd name="connsiteX1" fmla="*/ 152694 w 152245"/>
              <a:gd name="connsiteY1" fmla="*/ 76123 h 147767"/>
              <a:gd name="connsiteX2" fmla="*/ 150903 w 152245"/>
              <a:gd name="connsiteY2" fmla="*/ 60003 h 147767"/>
              <a:gd name="connsiteX3" fmla="*/ 150455 w 152245"/>
              <a:gd name="connsiteY3" fmla="*/ 59107 h 147767"/>
              <a:gd name="connsiteX4" fmla="*/ 76123 w 152245"/>
              <a:gd name="connsiteY4" fmla="*/ 0 h 147767"/>
              <a:gd name="connsiteX5" fmla="*/ 66272 w 152245"/>
              <a:gd name="connsiteY5" fmla="*/ 896 h 147767"/>
              <a:gd name="connsiteX6" fmla="*/ 65376 w 152245"/>
              <a:gd name="connsiteY6" fmla="*/ 896 h 147767"/>
              <a:gd name="connsiteX7" fmla="*/ 24628 w 152245"/>
              <a:gd name="connsiteY7" fmla="*/ 20150 h 147767"/>
              <a:gd name="connsiteX8" fmla="*/ 23732 w 152245"/>
              <a:gd name="connsiteY8" fmla="*/ 21046 h 147767"/>
              <a:gd name="connsiteX9" fmla="*/ 0 w 152245"/>
              <a:gd name="connsiteY9" fmla="*/ 76123 h 147767"/>
              <a:gd name="connsiteX10" fmla="*/ 11642 w 152245"/>
              <a:gd name="connsiteY10" fmla="*/ 116423 h 147767"/>
              <a:gd name="connsiteX11" fmla="*/ 12090 w 152245"/>
              <a:gd name="connsiteY11" fmla="*/ 117319 h 147767"/>
              <a:gd name="connsiteX12" fmla="*/ 44778 w 152245"/>
              <a:gd name="connsiteY12" fmla="*/ 145529 h 147767"/>
              <a:gd name="connsiteX13" fmla="*/ 45674 w 152245"/>
              <a:gd name="connsiteY13" fmla="*/ 145977 h 147767"/>
              <a:gd name="connsiteX14" fmla="*/ 75675 w 152245"/>
              <a:gd name="connsiteY14" fmla="*/ 152246 h 147767"/>
              <a:gd name="connsiteX15" fmla="*/ 143738 w 152245"/>
              <a:gd name="connsiteY15" fmla="*/ 111945 h 147767"/>
              <a:gd name="connsiteX16" fmla="*/ 143738 w 152245"/>
              <a:gd name="connsiteY16" fmla="*/ 111945 h 147767"/>
              <a:gd name="connsiteX17" fmla="*/ 141499 w 152245"/>
              <a:gd name="connsiteY17" fmla="*/ 106124 h 147767"/>
              <a:gd name="connsiteX18" fmla="*/ 78810 w 152245"/>
              <a:gd name="connsiteY18" fmla="*/ 74332 h 147767"/>
              <a:gd name="connsiteX19" fmla="*/ 77914 w 152245"/>
              <a:gd name="connsiteY19" fmla="*/ 74332 h 147767"/>
              <a:gd name="connsiteX20" fmla="*/ 77466 w 152245"/>
              <a:gd name="connsiteY20" fmla="*/ 73436 h 147767"/>
              <a:gd name="connsiteX21" fmla="*/ 66272 w 152245"/>
              <a:gd name="connsiteY21" fmla="*/ 38061 h 147767"/>
              <a:gd name="connsiteX22" fmla="*/ 79705 w 152245"/>
              <a:gd name="connsiteY22" fmla="*/ 36718 h 147767"/>
              <a:gd name="connsiteX23" fmla="*/ 146872 w 152245"/>
              <a:gd name="connsiteY23" fmla="*/ 61346 h 147767"/>
              <a:gd name="connsiteX24" fmla="*/ 148216 w 152245"/>
              <a:gd name="connsiteY24" fmla="*/ 76123 h 147767"/>
              <a:gd name="connsiteX25" fmla="*/ 141499 w 152245"/>
              <a:gd name="connsiteY25" fmla="*/ 106124 h 147767"/>
              <a:gd name="connsiteX26" fmla="*/ 48360 w 152245"/>
              <a:gd name="connsiteY26" fmla="*/ 103885 h 147767"/>
              <a:gd name="connsiteX27" fmla="*/ 26419 w 152245"/>
              <a:gd name="connsiteY27" fmla="*/ 41196 h 147767"/>
              <a:gd name="connsiteX28" fmla="*/ 28210 w 152245"/>
              <a:gd name="connsiteY28" fmla="*/ 23285 h 147767"/>
              <a:gd name="connsiteX29" fmla="*/ 63585 w 152245"/>
              <a:gd name="connsiteY29" fmla="*/ 5373 h 147767"/>
              <a:gd name="connsiteX30" fmla="*/ 61346 w 152245"/>
              <a:gd name="connsiteY30" fmla="*/ 29554 h 147767"/>
              <a:gd name="connsiteX31" fmla="*/ 73884 w 152245"/>
              <a:gd name="connsiteY31" fmla="*/ 75675 h 147767"/>
              <a:gd name="connsiteX32" fmla="*/ 74332 w 152245"/>
              <a:gd name="connsiteY32" fmla="*/ 76571 h 147767"/>
              <a:gd name="connsiteX33" fmla="*/ 48360 w 152245"/>
              <a:gd name="connsiteY33" fmla="*/ 103885 h 147767"/>
              <a:gd name="connsiteX34" fmla="*/ 144633 w 152245"/>
              <a:gd name="connsiteY34" fmla="*/ 54182 h 147767"/>
              <a:gd name="connsiteX35" fmla="*/ 79257 w 152245"/>
              <a:gd name="connsiteY35" fmla="*/ 32688 h 147767"/>
              <a:gd name="connsiteX36" fmla="*/ 65376 w 152245"/>
              <a:gd name="connsiteY36" fmla="*/ 34032 h 147767"/>
              <a:gd name="connsiteX37" fmla="*/ 65376 w 152245"/>
              <a:gd name="connsiteY37" fmla="*/ 30001 h 147767"/>
              <a:gd name="connsiteX38" fmla="*/ 68063 w 152245"/>
              <a:gd name="connsiteY38" fmla="*/ 5373 h 147767"/>
              <a:gd name="connsiteX39" fmla="*/ 76123 w 152245"/>
              <a:gd name="connsiteY39" fmla="*/ 4925 h 147767"/>
              <a:gd name="connsiteX40" fmla="*/ 144633 w 152245"/>
              <a:gd name="connsiteY40" fmla="*/ 54182 h 147767"/>
              <a:gd name="connsiteX41" fmla="*/ 22389 w 152245"/>
              <a:gd name="connsiteY41" fmla="*/ 29106 h 147767"/>
              <a:gd name="connsiteX42" fmla="*/ 21493 w 152245"/>
              <a:gd name="connsiteY42" fmla="*/ 41644 h 147767"/>
              <a:gd name="connsiteX43" fmla="*/ 43883 w 152245"/>
              <a:gd name="connsiteY43" fmla="*/ 106572 h 147767"/>
              <a:gd name="connsiteX44" fmla="*/ 15225 w 152245"/>
              <a:gd name="connsiteY44" fmla="*/ 114184 h 147767"/>
              <a:gd name="connsiteX45" fmla="*/ 4478 w 152245"/>
              <a:gd name="connsiteY45" fmla="*/ 76571 h 147767"/>
              <a:gd name="connsiteX46" fmla="*/ 22389 w 152245"/>
              <a:gd name="connsiteY46" fmla="*/ 29106 h 147767"/>
              <a:gd name="connsiteX47" fmla="*/ 18359 w 152245"/>
              <a:gd name="connsiteY47" fmla="*/ 117767 h 147767"/>
              <a:gd name="connsiteX48" fmla="*/ 48808 w 152245"/>
              <a:gd name="connsiteY48" fmla="*/ 108811 h 147767"/>
              <a:gd name="connsiteX49" fmla="*/ 48808 w 152245"/>
              <a:gd name="connsiteY49" fmla="*/ 108811 h 147767"/>
              <a:gd name="connsiteX50" fmla="*/ 48808 w 152245"/>
              <a:gd name="connsiteY50" fmla="*/ 108811 h 147767"/>
              <a:gd name="connsiteX51" fmla="*/ 77466 w 152245"/>
              <a:gd name="connsiteY51" fmla="*/ 78810 h 147767"/>
              <a:gd name="connsiteX52" fmla="*/ 78362 w 152245"/>
              <a:gd name="connsiteY52" fmla="*/ 78810 h 147767"/>
              <a:gd name="connsiteX53" fmla="*/ 114184 w 152245"/>
              <a:gd name="connsiteY53" fmla="*/ 85526 h 147767"/>
              <a:gd name="connsiteX54" fmla="*/ 47017 w 152245"/>
              <a:gd name="connsiteY54" fmla="*/ 141499 h 147767"/>
              <a:gd name="connsiteX55" fmla="*/ 18359 w 152245"/>
              <a:gd name="connsiteY55" fmla="*/ 117767 h 147767"/>
              <a:gd name="connsiteX56" fmla="*/ 76571 w 152245"/>
              <a:gd name="connsiteY56" fmla="*/ 147768 h 147767"/>
              <a:gd name="connsiteX57" fmla="*/ 54629 w 152245"/>
              <a:gd name="connsiteY57" fmla="*/ 144186 h 147767"/>
              <a:gd name="connsiteX58" fmla="*/ 118662 w 152245"/>
              <a:gd name="connsiteY58" fmla="*/ 87317 h 147767"/>
              <a:gd name="connsiteX59" fmla="*/ 139260 w 152245"/>
              <a:gd name="connsiteY59" fmla="*/ 111050 h 147767"/>
              <a:gd name="connsiteX60" fmla="*/ 76571 w 152245"/>
              <a:gd name="connsiteY60" fmla="*/ 147768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2245" h="147767">
                <a:moveTo>
                  <a:pt x="143738" y="111945"/>
                </a:moveTo>
                <a:cubicBezTo>
                  <a:pt x="149559" y="101199"/>
                  <a:pt x="152694" y="89108"/>
                  <a:pt x="152694" y="76123"/>
                </a:cubicBezTo>
                <a:cubicBezTo>
                  <a:pt x="152694" y="70749"/>
                  <a:pt x="152246" y="65376"/>
                  <a:pt x="150903" y="60003"/>
                </a:cubicBezTo>
                <a:cubicBezTo>
                  <a:pt x="150903" y="59555"/>
                  <a:pt x="150903" y="59555"/>
                  <a:pt x="150455" y="59107"/>
                </a:cubicBezTo>
                <a:cubicBezTo>
                  <a:pt x="142843" y="25076"/>
                  <a:pt x="112393" y="0"/>
                  <a:pt x="76123" y="0"/>
                </a:cubicBezTo>
                <a:cubicBezTo>
                  <a:pt x="72541" y="0"/>
                  <a:pt x="69406" y="448"/>
                  <a:pt x="66272" y="896"/>
                </a:cubicBezTo>
                <a:cubicBezTo>
                  <a:pt x="65824" y="896"/>
                  <a:pt x="65824" y="896"/>
                  <a:pt x="65376" y="896"/>
                </a:cubicBezTo>
                <a:cubicBezTo>
                  <a:pt x="49704" y="3135"/>
                  <a:pt x="35823" y="10299"/>
                  <a:pt x="24628" y="20150"/>
                </a:cubicBezTo>
                <a:cubicBezTo>
                  <a:pt x="24180" y="20150"/>
                  <a:pt x="23732" y="20598"/>
                  <a:pt x="23732" y="21046"/>
                </a:cubicBezTo>
                <a:cubicBezTo>
                  <a:pt x="9404" y="34927"/>
                  <a:pt x="0" y="54182"/>
                  <a:pt x="0" y="76123"/>
                </a:cubicBezTo>
                <a:cubicBezTo>
                  <a:pt x="0" y="90900"/>
                  <a:pt x="4478" y="104781"/>
                  <a:pt x="11642" y="116423"/>
                </a:cubicBezTo>
                <a:cubicBezTo>
                  <a:pt x="11642" y="116871"/>
                  <a:pt x="12090" y="117319"/>
                  <a:pt x="12090" y="117319"/>
                </a:cubicBezTo>
                <a:cubicBezTo>
                  <a:pt x="20150" y="129409"/>
                  <a:pt x="31345" y="139260"/>
                  <a:pt x="44778" y="145529"/>
                </a:cubicBezTo>
                <a:cubicBezTo>
                  <a:pt x="45226" y="145529"/>
                  <a:pt x="45226" y="145977"/>
                  <a:pt x="45674" y="145977"/>
                </a:cubicBezTo>
                <a:cubicBezTo>
                  <a:pt x="55077" y="150007"/>
                  <a:pt x="64928" y="152246"/>
                  <a:pt x="75675" y="152246"/>
                </a:cubicBezTo>
                <a:cubicBezTo>
                  <a:pt x="105229" y="152246"/>
                  <a:pt x="130305" y="136125"/>
                  <a:pt x="143738" y="111945"/>
                </a:cubicBezTo>
                <a:cubicBezTo>
                  <a:pt x="143290" y="111945"/>
                  <a:pt x="143290" y="111945"/>
                  <a:pt x="143738" y="111945"/>
                </a:cubicBezTo>
                <a:close/>
                <a:moveTo>
                  <a:pt x="141499" y="106124"/>
                </a:moveTo>
                <a:cubicBezTo>
                  <a:pt x="126275" y="77914"/>
                  <a:pt x="101647" y="74332"/>
                  <a:pt x="78810" y="74332"/>
                </a:cubicBezTo>
                <a:lnTo>
                  <a:pt x="77914" y="74332"/>
                </a:lnTo>
                <a:lnTo>
                  <a:pt x="77466" y="73436"/>
                </a:lnTo>
                <a:cubicBezTo>
                  <a:pt x="71197" y="63137"/>
                  <a:pt x="67167" y="51047"/>
                  <a:pt x="66272" y="38061"/>
                </a:cubicBezTo>
                <a:cubicBezTo>
                  <a:pt x="70302" y="37614"/>
                  <a:pt x="74332" y="37166"/>
                  <a:pt x="79705" y="36718"/>
                </a:cubicBezTo>
                <a:cubicBezTo>
                  <a:pt x="104333" y="35822"/>
                  <a:pt x="128066" y="44778"/>
                  <a:pt x="146872" y="61346"/>
                </a:cubicBezTo>
                <a:cubicBezTo>
                  <a:pt x="147768" y="66272"/>
                  <a:pt x="148216" y="70749"/>
                  <a:pt x="148216" y="76123"/>
                </a:cubicBezTo>
                <a:cubicBezTo>
                  <a:pt x="148216" y="86869"/>
                  <a:pt x="145529" y="97169"/>
                  <a:pt x="141499" y="106124"/>
                </a:cubicBezTo>
                <a:close/>
                <a:moveTo>
                  <a:pt x="48360" y="103885"/>
                </a:moveTo>
                <a:cubicBezTo>
                  <a:pt x="34032" y="86422"/>
                  <a:pt x="26419" y="64033"/>
                  <a:pt x="26419" y="41196"/>
                </a:cubicBezTo>
                <a:cubicBezTo>
                  <a:pt x="26419" y="35375"/>
                  <a:pt x="26867" y="29106"/>
                  <a:pt x="28210" y="23285"/>
                </a:cubicBezTo>
                <a:cubicBezTo>
                  <a:pt x="38061" y="14329"/>
                  <a:pt x="50152" y="8060"/>
                  <a:pt x="63585" y="5373"/>
                </a:cubicBezTo>
                <a:cubicBezTo>
                  <a:pt x="61794" y="12538"/>
                  <a:pt x="61346" y="20150"/>
                  <a:pt x="61346" y="29554"/>
                </a:cubicBezTo>
                <a:cubicBezTo>
                  <a:pt x="61346" y="46121"/>
                  <a:pt x="65824" y="62241"/>
                  <a:pt x="73884" y="75675"/>
                </a:cubicBezTo>
                <a:lnTo>
                  <a:pt x="74332" y="76571"/>
                </a:lnTo>
                <a:cubicBezTo>
                  <a:pt x="67167" y="88213"/>
                  <a:pt x="58660" y="97616"/>
                  <a:pt x="48360" y="103885"/>
                </a:cubicBezTo>
                <a:close/>
                <a:moveTo>
                  <a:pt x="144633" y="54182"/>
                </a:moveTo>
                <a:cubicBezTo>
                  <a:pt x="125827" y="39405"/>
                  <a:pt x="102990" y="31793"/>
                  <a:pt x="79257" y="32688"/>
                </a:cubicBezTo>
                <a:cubicBezTo>
                  <a:pt x="73884" y="32688"/>
                  <a:pt x="69406" y="33136"/>
                  <a:pt x="65376" y="34032"/>
                </a:cubicBezTo>
                <a:cubicBezTo>
                  <a:pt x="65376" y="32688"/>
                  <a:pt x="65376" y="31344"/>
                  <a:pt x="65376" y="30001"/>
                </a:cubicBezTo>
                <a:cubicBezTo>
                  <a:pt x="65376" y="20598"/>
                  <a:pt x="66272" y="12538"/>
                  <a:pt x="68063" y="5373"/>
                </a:cubicBezTo>
                <a:cubicBezTo>
                  <a:pt x="70749" y="4925"/>
                  <a:pt x="73436" y="4925"/>
                  <a:pt x="76123" y="4925"/>
                </a:cubicBezTo>
                <a:cubicBezTo>
                  <a:pt x="108363" y="4478"/>
                  <a:pt x="135230" y="25076"/>
                  <a:pt x="144633" y="54182"/>
                </a:cubicBezTo>
                <a:close/>
                <a:moveTo>
                  <a:pt x="22389" y="29106"/>
                </a:moveTo>
                <a:cubicBezTo>
                  <a:pt x="21941" y="33136"/>
                  <a:pt x="21493" y="37166"/>
                  <a:pt x="21493" y="41644"/>
                </a:cubicBezTo>
                <a:cubicBezTo>
                  <a:pt x="21493" y="65376"/>
                  <a:pt x="29554" y="88213"/>
                  <a:pt x="43883" y="106572"/>
                </a:cubicBezTo>
                <a:cubicBezTo>
                  <a:pt x="35375" y="111050"/>
                  <a:pt x="25524" y="113736"/>
                  <a:pt x="15225" y="114184"/>
                </a:cubicBezTo>
                <a:cubicBezTo>
                  <a:pt x="8508" y="103438"/>
                  <a:pt x="4478" y="90452"/>
                  <a:pt x="4478" y="76571"/>
                </a:cubicBezTo>
                <a:cubicBezTo>
                  <a:pt x="4926" y="58211"/>
                  <a:pt x="11642" y="41644"/>
                  <a:pt x="22389" y="29106"/>
                </a:cubicBezTo>
                <a:close/>
                <a:moveTo>
                  <a:pt x="18359" y="117767"/>
                </a:moveTo>
                <a:cubicBezTo>
                  <a:pt x="29554" y="116871"/>
                  <a:pt x="39853" y="113736"/>
                  <a:pt x="48808" y="108811"/>
                </a:cubicBezTo>
                <a:cubicBezTo>
                  <a:pt x="48808" y="108811"/>
                  <a:pt x="48808" y="108811"/>
                  <a:pt x="48808" y="108811"/>
                </a:cubicBezTo>
                <a:cubicBezTo>
                  <a:pt x="48808" y="108811"/>
                  <a:pt x="48808" y="108811"/>
                  <a:pt x="48808" y="108811"/>
                </a:cubicBezTo>
                <a:cubicBezTo>
                  <a:pt x="60451" y="102094"/>
                  <a:pt x="69854" y="91795"/>
                  <a:pt x="77466" y="78810"/>
                </a:cubicBezTo>
                <a:lnTo>
                  <a:pt x="78362" y="78810"/>
                </a:lnTo>
                <a:cubicBezTo>
                  <a:pt x="90452" y="78810"/>
                  <a:pt x="102990" y="80153"/>
                  <a:pt x="114184" y="85526"/>
                </a:cubicBezTo>
                <a:cubicBezTo>
                  <a:pt x="102094" y="113736"/>
                  <a:pt x="77019" y="134782"/>
                  <a:pt x="47017" y="141499"/>
                </a:cubicBezTo>
                <a:cubicBezTo>
                  <a:pt x="35823" y="136125"/>
                  <a:pt x="25971" y="128066"/>
                  <a:pt x="18359" y="117767"/>
                </a:cubicBezTo>
                <a:close/>
                <a:moveTo>
                  <a:pt x="76571" y="147768"/>
                </a:moveTo>
                <a:cubicBezTo>
                  <a:pt x="68959" y="147768"/>
                  <a:pt x="61346" y="146425"/>
                  <a:pt x="54629" y="144186"/>
                </a:cubicBezTo>
                <a:cubicBezTo>
                  <a:pt x="82840" y="135678"/>
                  <a:pt x="106572" y="115080"/>
                  <a:pt x="118662" y="87317"/>
                </a:cubicBezTo>
                <a:cubicBezTo>
                  <a:pt x="126722" y="92243"/>
                  <a:pt x="133887" y="99408"/>
                  <a:pt x="139260" y="111050"/>
                </a:cubicBezTo>
                <a:cubicBezTo>
                  <a:pt x="126722" y="132991"/>
                  <a:pt x="102990" y="147768"/>
                  <a:pt x="76571" y="147768"/>
                </a:cubicBezTo>
                <a:close/>
              </a:path>
            </a:pathLst>
          </a:custGeom>
          <a:solidFill>
            <a:srgbClr val="231F20"/>
          </a:solidFill>
          <a:ln w="4474" cap="flat">
            <a:noFill/>
            <a:prstDash val="solid"/>
            <a:miter/>
          </a:ln>
        </p:spPr>
        <p:txBody>
          <a:bodyPr rtlCol="0" anchor="ctr"/>
          <a:lstStyle/>
          <a:p>
            <a:endParaRPr lang="en-US"/>
          </a:p>
        </p:txBody>
      </p:sp>
      <p:grpSp>
        <p:nvGrpSpPr>
          <p:cNvPr id="4782" name="Group 4781">
            <a:extLst>
              <a:ext uri="{FF2B5EF4-FFF2-40B4-BE49-F238E27FC236}">
                <a16:creationId xmlns:a16="http://schemas.microsoft.com/office/drawing/2014/main" id="{82F6A87C-9340-4F27-B6FF-6F857CD3530E}"/>
              </a:ext>
              <a:ext uri="{C183D7F6-B498-43B3-948B-1728B52AA6E4}">
                <adec:decorative xmlns:adec="http://schemas.microsoft.com/office/drawing/2017/decorative" val="1"/>
              </a:ext>
            </a:extLst>
          </p:cNvPr>
          <p:cNvGrpSpPr>
            <a:grpSpLocks noChangeAspect="1"/>
          </p:cNvGrpSpPr>
          <p:nvPr/>
        </p:nvGrpSpPr>
        <p:grpSpPr>
          <a:xfrm>
            <a:off x="11099817" y="2078616"/>
            <a:ext cx="138812" cy="147768"/>
            <a:chOff x="5319164" y="5537802"/>
            <a:chExt cx="138812" cy="147768"/>
          </a:xfrm>
        </p:grpSpPr>
        <p:sp>
          <p:nvSpPr>
            <p:cNvPr id="4783" name="Freeform: Shape 4782">
              <a:extLst>
                <a:ext uri="{FF2B5EF4-FFF2-40B4-BE49-F238E27FC236}">
                  <a16:creationId xmlns:a16="http://schemas.microsoft.com/office/drawing/2014/main" id="{3358D5B9-1F6A-4D97-9537-E74DA7556EA0}"/>
                </a:ext>
              </a:extLst>
            </p:cNvPr>
            <p:cNvSpPr/>
            <p:nvPr/>
          </p:nvSpPr>
          <p:spPr>
            <a:xfrm>
              <a:off x="5319164" y="5537802"/>
              <a:ext cx="138812" cy="147768"/>
            </a:xfrm>
            <a:custGeom>
              <a:avLst/>
              <a:gdLst>
                <a:gd name="connsiteX0" fmla="*/ 138812 w 138812"/>
                <a:gd name="connsiteY0" fmla="*/ 22389 h 147767"/>
                <a:gd name="connsiteX1" fmla="*/ 119110 w 138812"/>
                <a:gd name="connsiteY1" fmla="*/ 896 h 147767"/>
                <a:gd name="connsiteX2" fmla="*/ 103437 w 138812"/>
                <a:gd name="connsiteY2" fmla="*/ 0 h 147767"/>
                <a:gd name="connsiteX3" fmla="*/ 30001 w 138812"/>
                <a:gd name="connsiteY3" fmla="*/ 33136 h 147767"/>
                <a:gd name="connsiteX4" fmla="*/ 0 w 138812"/>
                <a:gd name="connsiteY4" fmla="*/ 113289 h 147767"/>
                <a:gd name="connsiteX5" fmla="*/ 895 w 138812"/>
                <a:gd name="connsiteY5" fmla="*/ 129856 h 147767"/>
                <a:gd name="connsiteX6" fmla="*/ 20598 w 138812"/>
                <a:gd name="connsiteY6" fmla="*/ 151350 h 147767"/>
                <a:gd name="connsiteX7" fmla="*/ 36270 w 138812"/>
                <a:gd name="connsiteY7" fmla="*/ 152246 h 147767"/>
                <a:gd name="connsiteX8" fmla="*/ 109707 w 138812"/>
                <a:gd name="connsiteY8" fmla="*/ 119110 h 147767"/>
                <a:gd name="connsiteX9" fmla="*/ 139708 w 138812"/>
                <a:gd name="connsiteY9" fmla="*/ 38957 h 147767"/>
                <a:gd name="connsiteX10" fmla="*/ 138812 w 138812"/>
                <a:gd name="connsiteY10" fmla="*/ 22389 h 147767"/>
                <a:gd name="connsiteX11" fmla="*/ 106572 w 138812"/>
                <a:gd name="connsiteY11" fmla="*/ 116423 h 147767"/>
                <a:gd name="connsiteX12" fmla="*/ 36270 w 138812"/>
                <a:gd name="connsiteY12" fmla="*/ 148216 h 147767"/>
                <a:gd name="connsiteX13" fmla="*/ 36270 w 138812"/>
                <a:gd name="connsiteY13" fmla="*/ 148216 h 147767"/>
                <a:gd name="connsiteX14" fmla="*/ 21494 w 138812"/>
                <a:gd name="connsiteY14" fmla="*/ 147320 h 147767"/>
                <a:gd name="connsiteX15" fmla="*/ 5821 w 138812"/>
                <a:gd name="connsiteY15" fmla="*/ 129856 h 147767"/>
                <a:gd name="connsiteX16" fmla="*/ 4925 w 138812"/>
                <a:gd name="connsiteY16" fmla="*/ 113736 h 147767"/>
                <a:gd name="connsiteX17" fmla="*/ 34031 w 138812"/>
                <a:gd name="connsiteY17" fmla="*/ 36718 h 147767"/>
                <a:gd name="connsiteX18" fmla="*/ 104333 w 138812"/>
                <a:gd name="connsiteY18" fmla="*/ 4925 h 147767"/>
                <a:gd name="connsiteX19" fmla="*/ 119110 w 138812"/>
                <a:gd name="connsiteY19" fmla="*/ 5821 h 147767"/>
                <a:gd name="connsiteX20" fmla="*/ 134782 w 138812"/>
                <a:gd name="connsiteY20" fmla="*/ 23285 h 147767"/>
                <a:gd name="connsiteX21" fmla="*/ 135678 w 138812"/>
                <a:gd name="connsiteY21" fmla="*/ 39405 h 147767"/>
                <a:gd name="connsiteX22" fmla="*/ 106572 w 138812"/>
                <a:gd name="connsiteY22" fmla="*/ 11642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812" h="147767">
                  <a:moveTo>
                    <a:pt x="138812" y="22389"/>
                  </a:moveTo>
                  <a:cubicBezTo>
                    <a:pt x="137469" y="11195"/>
                    <a:pt x="129409" y="2687"/>
                    <a:pt x="119110" y="896"/>
                  </a:cubicBezTo>
                  <a:cubicBezTo>
                    <a:pt x="114184" y="0"/>
                    <a:pt x="109259" y="0"/>
                    <a:pt x="103437" y="0"/>
                  </a:cubicBezTo>
                  <a:cubicBezTo>
                    <a:pt x="75675" y="0"/>
                    <a:pt x="49256" y="11642"/>
                    <a:pt x="30001" y="33136"/>
                  </a:cubicBezTo>
                  <a:cubicBezTo>
                    <a:pt x="10747" y="54182"/>
                    <a:pt x="0" y="82839"/>
                    <a:pt x="0" y="113289"/>
                  </a:cubicBezTo>
                  <a:cubicBezTo>
                    <a:pt x="0" y="119110"/>
                    <a:pt x="448" y="124931"/>
                    <a:pt x="895" y="129856"/>
                  </a:cubicBezTo>
                  <a:cubicBezTo>
                    <a:pt x="2239" y="141051"/>
                    <a:pt x="10299" y="149559"/>
                    <a:pt x="20598" y="151350"/>
                  </a:cubicBezTo>
                  <a:cubicBezTo>
                    <a:pt x="25523" y="152246"/>
                    <a:pt x="30449" y="152246"/>
                    <a:pt x="36270" y="152246"/>
                  </a:cubicBezTo>
                  <a:cubicBezTo>
                    <a:pt x="64033" y="152246"/>
                    <a:pt x="90452" y="140603"/>
                    <a:pt x="109707" y="119110"/>
                  </a:cubicBezTo>
                  <a:cubicBezTo>
                    <a:pt x="129409" y="98064"/>
                    <a:pt x="139708" y="69406"/>
                    <a:pt x="139708" y="38957"/>
                  </a:cubicBezTo>
                  <a:cubicBezTo>
                    <a:pt x="139708" y="33136"/>
                    <a:pt x="139708" y="27763"/>
                    <a:pt x="138812" y="22389"/>
                  </a:cubicBezTo>
                  <a:close/>
                  <a:moveTo>
                    <a:pt x="106572" y="116423"/>
                  </a:moveTo>
                  <a:cubicBezTo>
                    <a:pt x="87765" y="136573"/>
                    <a:pt x="63137" y="148216"/>
                    <a:pt x="36270" y="148216"/>
                  </a:cubicBezTo>
                  <a:lnTo>
                    <a:pt x="36270" y="148216"/>
                  </a:lnTo>
                  <a:cubicBezTo>
                    <a:pt x="30897" y="148216"/>
                    <a:pt x="25972" y="147768"/>
                    <a:pt x="21494" y="147320"/>
                  </a:cubicBezTo>
                  <a:cubicBezTo>
                    <a:pt x="13433" y="145977"/>
                    <a:pt x="6717" y="138812"/>
                    <a:pt x="5821" y="129856"/>
                  </a:cubicBezTo>
                  <a:cubicBezTo>
                    <a:pt x="5373" y="124931"/>
                    <a:pt x="4925" y="119558"/>
                    <a:pt x="4925" y="113736"/>
                  </a:cubicBezTo>
                  <a:cubicBezTo>
                    <a:pt x="4925" y="84631"/>
                    <a:pt x="15225" y="57316"/>
                    <a:pt x="34031" y="36718"/>
                  </a:cubicBezTo>
                  <a:cubicBezTo>
                    <a:pt x="52838" y="16568"/>
                    <a:pt x="77466" y="4925"/>
                    <a:pt x="104333" y="4925"/>
                  </a:cubicBezTo>
                  <a:cubicBezTo>
                    <a:pt x="109707" y="4925"/>
                    <a:pt x="114632" y="5373"/>
                    <a:pt x="119110" y="5821"/>
                  </a:cubicBezTo>
                  <a:cubicBezTo>
                    <a:pt x="127170" y="7164"/>
                    <a:pt x="133887" y="14329"/>
                    <a:pt x="134782" y="23285"/>
                  </a:cubicBezTo>
                  <a:cubicBezTo>
                    <a:pt x="135230" y="28210"/>
                    <a:pt x="135678" y="33583"/>
                    <a:pt x="135678" y="39405"/>
                  </a:cubicBezTo>
                  <a:cubicBezTo>
                    <a:pt x="135230" y="68511"/>
                    <a:pt x="124931" y="95825"/>
                    <a:pt x="106572" y="116423"/>
                  </a:cubicBezTo>
                  <a:close/>
                </a:path>
              </a:pathLst>
            </a:custGeom>
            <a:solidFill>
              <a:srgbClr val="231F20"/>
            </a:solidFill>
            <a:ln w="4474" cap="flat">
              <a:noFill/>
              <a:prstDash val="solid"/>
              <a:miter/>
            </a:ln>
          </p:spPr>
          <p:txBody>
            <a:bodyPr rtlCol="0" anchor="ctr"/>
            <a:lstStyle/>
            <a:p>
              <a:endParaRPr lang="en-US"/>
            </a:p>
          </p:txBody>
        </p:sp>
        <p:sp>
          <p:nvSpPr>
            <p:cNvPr id="4784" name="Freeform: Shape 4783">
              <a:extLst>
                <a:ext uri="{FF2B5EF4-FFF2-40B4-BE49-F238E27FC236}">
                  <a16:creationId xmlns:a16="http://schemas.microsoft.com/office/drawing/2014/main" id="{53EB8B6B-A566-4F58-8337-4E8A288ED011}"/>
                </a:ext>
              </a:extLst>
            </p:cNvPr>
            <p:cNvSpPr/>
            <p:nvPr/>
          </p:nvSpPr>
          <p:spPr>
            <a:xfrm>
              <a:off x="5356106" y="5581909"/>
              <a:ext cx="62689" cy="62689"/>
            </a:xfrm>
            <a:custGeom>
              <a:avLst/>
              <a:gdLst>
                <a:gd name="connsiteX0" fmla="*/ 52615 w 62689"/>
                <a:gd name="connsiteY0" fmla="*/ 14553 h 62689"/>
                <a:gd name="connsiteX1" fmla="*/ 62018 w 62689"/>
                <a:gd name="connsiteY1" fmla="*/ 3806 h 62689"/>
                <a:gd name="connsiteX2" fmla="*/ 62018 w 62689"/>
                <a:gd name="connsiteY2" fmla="*/ 672 h 62689"/>
                <a:gd name="connsiteX3" fmla="*/ 58884 w 62689"/>
                <a:gd name="connsiteY3" fmla="*/ 672 h 62689"/>
                <a:gd name="connsiteX4" fmla="*/ 49480 w 62689"/>
                <a:gd name="connsiteY4" fmla="*/ 11418 h 62689"/>
                <a:gd name="connsiteX5" fmla="*/ 39181 w 62689"/>
                <a:gd name="connsiteY5" fmla="*/ 1567 h 62689"/>
                <a:gd name="connsiteX6" fmla="*/ 36047 w 62689"/>
                <a:gd name="connsiteY6" fmla="*/ 1567 h 62689"/>
                <a:gd name="connsiteX7" fmla="*/ 36047 w 62689"/>
                <a:gd name="connsiteY7" fmla="*/ 4702 h 62689"/>
                <a:gd name="connsiteX8" fmla="*/ 46793 w 62689"/>
                <a:gd name="connsiteY8" fmla="*/ 14553 h 62689"/>
                <a:gd name="connsiteX9" fmla="*/ 32912 w 62689"/>
                <a:gd name="connsiteY9" fmla="*/ 30226 h 62689"/>
                <a:gd name="connsiteX10" fmla="*/ 21717 w 62689"/>
                <a:gd name="connsiteY10" fmla="*/ 19926 h 62689"/>
                <a:gd name="connsiteX11" fmla="*/ 18583 w 62689"/>
                <a:gd name="connsiteY11" fmla="*/ 19926 h 62689"/>
                <a:gd name="connsiteX12" fmla="*/ 18583 w 62689"/>
                <a:gd name="connsiteY12" fmla="*/ 23061 h 62689"/>
                <a:gd name="connsiteX13" fmla="*/ 29778 w 62689"/>
                <a:gd name="connsiteY13" fmla="*/ 33360 h 62689"/>
                <a:gd name="connsiteX14" fmla="*/ 15001 w 62689"/>
                <a:gd name="connsiteY14" fmla="*/ 49927 h 62689"/>
                <a:gd name="connsiteX15" fmla="*/ 3806 w 62689"/>
                <a:gd name="connsiteY15" fmla="*/ 39629 h 62689"/>
                <a:gd name="connsiteX16" fmla="*/ 672 w 62689"/>
                <a:gd name="connsiteY16" fmla="*/ 39629 h 62689"/>
                <a:gd name="connsiteX17" fmla="*/ 672 w 62689"/>
                <a:gd name="connsiteY17" fmla="*/ 42763 h 62689"/>
                <a:gd name="connsiteX18" fmla="*/ 11866 w 62689"/>
                <a:gd name="connsiteY18" fmla="*/ 53062 h 62689"/>
                <a:gd name="connsiteX19" fmla="*/ 6941 w 62689"/>
                <a:gd name="connsiteY19" fmla="*/ 58435 h 62689"/>
                <a:gd name="connsiteX20" fmla="*/ 6941 w 62689"/>
                <a:gd name="connsiteY20" fmla="*/ 61570 h 62689"/>
                <a:gd name="connsiteX21" fmla="*/ 8284 w 62689"/>
                <a:gd name="connsiteY21" fmla="*/ 62018 h 62689"/>
                <a:gd name="connsiteX22" fmla="*/ 10075 w 62689"/>
                <a:gd name="connsiteY22" fmla="*/ 61122 h 62689"/>
                <a:gd name="connsiteX23" fmla="*/ 15001 w 62689"/>
                <a:gd name="connsiteY23" fmla="*/ 55749 h 62689"/>
                <a:gd name="connsiteX24" fmla="*/ 26195 w 62689"/>
                <a:gd name="connsiteY24" fmla="*/ 66048 h 62689"/>
                <a:gd name="connsiteX25" fmla="*/ 27539 w 62689"/>
                <a:gd name="connsiteY25" fmla="*/ 66496 h 62689"/>
                <a:gd name="connsiteX26" fmla="*/ 29330 w 62689"/>
                <a:gd name="connsiteY26" fmla="*/ 65600 h 62689"/>
                <a:gd name="connsiteX27" fmla="*/ 29330 w 62689"/>
                <a:gd name="connsiteY27" fmla="*/ 62466 h 62689"/>
                <a:gd name="connsiteX28" fmla="*/ 18136 w 62689"/>
                <a:gd name="connsiteY28" fmla="*/ 52166 h 62689"/>
                <a:gd name="connsiteX29" fmla="*/ 32912 w 62689"/>
                <a:gd name="connsiteY29" fmla="*/ 35599 h 62689"/>
                <a:gd name="connsiteX30" fmla="*/ 43659 w 62689"/>
                <a:gd name="connsiteY30" fmla="*/ 45450 h 62689"/>
                <a:gd name="connsiteX31" fmla="*/ 45002 w 62689"/>
                <a:gd name="connsiteY31" fmla="*/ 45898 h 62689"/>
                <a:gd name="connsiteX32" fmla="*/ 46793 w 62689"/>
                <a:gd name="connsiteY32" fmla="*/ 45002 h 62689"/>
                <a:gd name="connsiteX33" fmla="*/ 46793 w 62689"/>
                <a:gd name="connsiteY33" fmla="*/ 41868 h 62689"/>
                <a:gd name="connsiteX34" fmla="*/ 35599 w 62689"/>
                <a:gd name="connsiteY34" fmla="*/ 31569 h 62689"/>
                <a:gd name="connsiteX35" fmla="*/ 49480 w 62689"/>
                <a:gd name="connsiteY35" fmla="*/ 15896 h 62689"/>
                <a:gd name="connsiteX36" fmla="*/ 61122 w 62689"/>
                <a:gd name="connsiteY36" fmla="*/ 26643 h 62689"/>
                <a:gd name="connsiteX37" fmla="*/ 62465 w 62689"/>
                <a:gd name="connsiteY37" fmla="*/ 27091 h 62689"/>
                <a:gd name="connsiteX38" fmla="*/ 64257 w 62689"/>
                <a:gd name="connsiteY38" fmla="*/ 26195 h 62689"/>
                <a:gd name="connsiteX39" fmla="*/ 64257 w 62689"/>
                <a:gd name="connsiteY39" fmla="*/ 23061 h 62689"/>
                <a:gd name="connsiteX40" fmla="*/ 52615 w 62689"/>
                <a:gd name="connsiteY40" fmla="*/ 14553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689" h="62689">
                  <a:moveTo>
                    <a:pt x="52615" y="14553"/>
                  </a:moveTo>
                  <a:lnTo>
                    <a:pt x="62018" y="3806"/>
                  </a:lnTo>
                  <a:cubicBezTo>
                    <a:pt x="62914" y="2910"/>
                    <a:pt x="62914" y="1567"/>
                    <a:pt x="62018" y="672"/>
                  </a:cubicBezTo>
                  <a:cubicBezTo>
                    <a:pt x="61122" y="-224"/>
                    <a:pt x="59779" y="-224"/>
                    <a:pt x="58884" y="672"/>
                  </a:cubicBezTo>
                  <a:lnTo>
                    <a:pt x="49480" y="11418"/>
                  </a:lnTo>
                  <a:lnTo>
                    <a:pt x="39181" y="1567"/>
                  </a:lnTo>
                  <a:cubicBezTo>
                    <a:pt x="38286" y="672"/>
                    <a:pt x="36942" y="672"/>
                    <a:pt x="36047" y="1567"/>
                  </a:cubicBezTo>
                  <a:cubicBezTo>
                    <a:pt x="35151" y="2463"/>
                    <a:pt x="35151" y="3806"/>
                    <a:pt x="36047" y="4702"/>
                  </a:cubicBezTo>
                  <a:lnTo>
                    <a:pt x="46793" y="14553"/>
                  </a:lnTo>
                  <a:lnTo>
                    <a:pt x="32912" y="30226"/>
                  </a:lnTo>
                  <a:lnTo>
                    <a:pt x="21717" y="19926"/>
                  </a:lnTo>
                  <a:cubicBezTo>
                    <a:pt x="20822" y="19031"/>
                    <a:pt x="19479" y="19031"/>
                    <a:pt x="18583" y="19926"/>
                  </a:cubicBezTo>
                  <a:cubicBezTo>
                    <a:pt x="17687" y="20822"/>
                    <a:pt x="17687" y="22165"/>
                    <a:pt x="18583" y="23061"/>
                  </a:cubicBezTo>
                  <a:lnTo>
                    <a:pt x="29778" y="33360"/>
                  </a:lnTo>
                  <a:lnTo>
                    <a:pt x="15001" y="49927"/>
                  </a:lnTo>
                  <a:lnTo>
                    <a:pt x="3806" y="39629"/>
                  </a:lnTo>
                  <a:cubicBezTo>
                    <a:pt x="2911" y="38733"/>
                    <a:pt x="1567" y="38733"/>
                    <a:pt x="672" y="39629"/>
                  </a:cubicBezTo>
                  <a:cubicBezTo>
                    <a:pt x="-224" y="40524"/>
                    <a:pt x="-224" y="41868"/>
                    <a:pt x="672" y="42763"/>
                  </a:cubicBezTo>
                  <a:lnTo>
                    <a:pt x="11866" y="53062"/>
                  </a:lnTo>
                  <a:lnTo>
                    <a:pt x="6941" y="58435"/>
                  </a:lnTo>
                  <a:cubicBezTo>
                    <a:pt x="6045" y="59331"/>
                    <a:pt x="6045" y="60674"/>
                    <a:pt x="6941" y="61570"/>
                  </a:cubicBezTo>
                  <a:cubicBezTo>
                    <a:pt x="7389" y="62018"/>
                    <a:pt x="7836" y="62018"/>
                    <a:pt x="8284" y="62018"/>
                  </a:cubicBezTo>
                  <a:cubicBezTo>
                    <a:pt x="8732" y="62018"/>
                    <a:pt x="9628" y="61570"/>
                    <a:pt x="10075" y="61122"/>
                  </a:cubicBezTo>
                  <a:lnTo>
                    <a:pt x="15001" y="55749"/>
                  </a:lnTo>
                  <a:lnTo>
                    <a:pt x="26195" y="66048"/>
                  </a:lnTo>
                  <a:cubicBezTo>
                    <a:pt x="26643" y="66496"/>
                    <a:pt x="27091" y="66496"/>
                    <a:pt x="27539" y="66496"/>
                  </a:cubicBezTo>
                  <a:cubicBezTo>
                    <a:pt x="27987" y="66496"/>
                    <a:pt x="28882" y="66048"/>
                    <a:pt x="29330" y="65600"/>
                  </a:cubicBezTo>
                  <a:cubicBezTo>
                    <a:pt x="30225" y="64705"/>
                    <a:pt x="30225" y="63361"/>
                    <a:pt x="29330" y="62466"/>
                  </a:cubicBezTo>
                  <a:lnTo>
                    <a:pt x="18136" y="52166"/>
                  </a:lnTo>
                  <a:lnTo>
                    <a:pt x="32912" y="35599"/>
                  </a:lnTo>
                  <a:lnTo>
                    <a:pt x="43659" y="45450"/>
                  </a:lnTo>
                  <a:cubicBezTo>
                    <a:pt x="44107" y="45898"/>
                    <a:pt x="44554" y="45898"/>
                    <a:pt x="45002" y="45898"/>
                  </a:cubicBezTo>
                  <a:cubicBezTo>
                    <a:pt x="45450" y="45898"/>
                    <a:pt x="46345" y="45450"/>
                    <a:pt x="46793" y="45002"/>
                  </a:cubicBezTo>
                  <a:cubicBezTo>
                    <a:pt x="47689" y="44107"/>
                    <a:pt x="47689" y="42763"/>
                    <a:pt x="46793" y="41868"/>
                  </a:cubicBezTo>
                  <a:lnTo>
                    <a:pt x="35599" y="31569"/>
                  </a:lnTo>
                  <a:lnTo>
                    <a:pt x="49480" y="15896"/>
                  </a:lnTo>
                  <a:lnTo>
                    <a:pt x="61122" y="26643"/>
                  </a:lnTo>
                  <a:cubicBezTo>
                    <a:pt x="61570" y="27091"/>
                    <a:pt x="62018" y="27091"/>
                    <a:pt x="62465" y="27091"/>
                  </a:cubicBezTo>
                  <a:cubicBezTo>
                    <a:pt x="62914" y="27091"/>
                    <a:pt x="63809" y="26643"/>
                    <a:pt x="64257" y="26195"/>
                  </a:cubicBezTo>
                  <a:cubicBezTo>
                    <a:pt x="65153" y="25300"/>
                    <a:pt x="65153" y="23956"/>
                    <a:pt x="64257" y="23061"/>
                  </a:cubicBezTo>
                  <a:lnTo>
                    <a:pt x="52615" y="14553"/>
                  </a:lnTo>
                  <a:close/>
                </a:path>
              </a:pathLst>
            </a:custGeom>
            <a:solidFill>
              <a:srgbClr val="231F20"/>
            </a:solidFill>
            <a:ln w="4474" cap="flat">
              <a:noFill/>
              <a:prstDash val="solid"/>
              <a:miter/>
            </a:ln>
          </p:spPr>
          <p:txBody>
            <a:bodyPr rtlCol="0" anchor="ctr"/>
            <a:lstStyle/>
            <a:p>
              <a:endParaRPr lang="en-US"/>
            </a:p>
          </p:txBody>
        </p:sp>
      </p:grpSp>
      <p:sp>
        <p:nvSpPr>
          <p:cNvPr id="4785" name="Freeform: Shape 4784">
            <a:extLst>
              <a:ext uri="{FF2B5EF4-FFF2-40B4-BE49-F238E27FC236}">
                <a16:creationId xmlns:a16="http://schemas.microsoft.com/office/drawing/2014/main" id="{4626B544-63E7-4DC4-B0E7-9FD4CEC57184}"/>
              </a:ext>
              <a:ext uri="{C183D7F6-B498-43B3-948B-1728B52AA6E4}">
                <adec:decorative xmlns:adec="http://schemas.microsoft.com/office/drawing/2017/decorative" val="1"/>
              </a:ext>
            </a:extLst>
          </p:cNvPr>
          <p:cNvSpPr>
            <a:spLocks noChangeAspect="1"/>
          </p:cNvSpPr>
          <p:nvPr/>
        </p:nvSpPr>
        <p:spPr>
          <a:xfrm>
            <a:off x="9521834" y="2076601"/>
            <a:ext cx="147768" cy="152246"/>
          </a:xfrm>
          <a:custGeom>
            <a:avLst/>
            <a:gdLst>
              <a:gd name="connsiteX0" fmla="*/ 150455 w 147767"/>
              <a:gd name="connsiteY0" fmla="*/ 151126 h 152245"/>
              <a:gd name="connsiteX1" fmla="*/ 150455 w 147767"/>
              <a:gd name="connsiteY1" fmla="*/ 151126 h 152245"/>
              <a:gd name="connsiteX2" fmla="*/ 150455 w 147767"/>
              <a:gd name="connsiteY2" fmla="*/ 151126 h 152245"/>
              <a:gd name="connsiteX3" fmla="*/ 150455 w 147767"/>
              <a:gd name="connsiteY3" fmla="*/ 151126 h 152245"/>
              <a:gd name="connsiteX4" fmla="*/ 150007 w 147767"/>
              <a:gd name="connsiteY4" fmla="*/ 150679 h 152245"/>
              <a:gd name="connsiteX5" fmla="*/ 143738 w 147767"/>
              <a:gd name="connsiteY5" fmla="*/ 130976 h 152245"/>
              <a:gd name="connsiteX6" fmla="*/ 142843 w 147767"/>
              <a:gd name="connsiteY6" fmla="*/ 125155 h 152245"/>
              <a:gd name="connsiteX7" fmla="*/ 140156 w 147767"/>
              <a:gd name="connsiteY7" fmla="*/ 121573 h 152245"/>
              <a:gd name="connsiteX8" fmla="*/ 126722 w 147767"/>
              <a:gd name="connsiteY8" fmla="*/ 111721 h 152245"/>
              <a:gd name="connsiteX9" fmla="*/ 127170 w 147767"/>
              <a:gd name="connsiteY9" fmla="*/ 109482 h 152245"/>
              <a:gd name="connsiteX10" fmla="*/ 124931 w 147767"/>
              <a:gd name="connsiteY10" fmla="*/ 105900 h 152245"/>
              <a:gd name="connsiteX11" fmla="*/ 121797 w 147767"/>
              <a:gd name="connsiteY11" fmla="*/ 103662 h 152245"/>
              <a:gd name="connsiteX12" fmla="*/ 124036 w 147767"/>
              <a:gd name="connsiteY12" fmla="*/ 101423 h 152245"/>
              <a:gd name="connsiteX13" fmla="*/ 124484 w 147767"/>
              <a:gd name="connsiteY13" fmla="*/ 99631 h 152245"/>
              <a:gd name="connsiteX14" fmla="*/ 124036 w 147767"/>
              <a:gd name="connsiteY14" fmla="*/ 97840 h 152245"/>
              <a:gd name="connsiteX15" fmla="*/ 34032 w 147767"/>
              <a:gd name="connsiteY15" fmla="*/ 7836 h 152245"/>
              <a:gd name="connsiteX16" fmla="*/ 31345 w 147767"/>
              <a:gd name="connsiteY16" fmla="*/ 5597 h 152245"/>
              <a:gd name="connsiteX17" fmla="*/ 40300 w 147767"/>
              <a:gd name="connsiteY17" fmla="*/ 6493 h 152245"/>
              <a:gd name="connsiteX18" fmla="*/ 80601 w 147767"/>
              <a:gd name="connsiteY18" fmla="*/ 46793 h 152245"/>
              <a:gd name="connsiteX19" fmla="*/ 82392 w 147767"/>
              <a:gd name="connsiteY19" fmla="*/ 47241 h 152245"/>
              <a:gd name="connsiteX20" fmla="*/ 84183 w 147767"/>
              <a:gd name="connsiteY20" fmla="*/ 46793 h 152245"/>
              <a:gd name="connsiteX21" fmla="*/ 84183 w 147767"/>
              <a:gd name="connsiteY21" fmla="*/ 43659 h 152245"/>
              <a:gd name="connsiteX22" fmla="*/ 43883 w 147767"/>
              <a:gd name="connsiteY22" fmla="*/ 3358 h 152245"/>
              <a:gd name="connsiteX23" fmla="*/ 27315 w 147767"/>
              <a:gd name="connsiteY23" fmla="*/ 3358 h 152245"/>
              <a:gd name="connsiteX24" fmla="*/ 13881 w 147767"/>
              <a:gd name="connsiteY24" fmla="*/ 6493 h 152245"/>
              <a:gd name="connsiteX25" fmla="*/ 3582 w 147767"/>
              <a:gd name="connsiteY25" fmla="*/ 16792 h 152245"/>
              <a:gd name="connsiteX26" fmla="*/ 0 w 147767"/>
              <a:gd name="connsiteY26" fmla="*/ 25747 h 152245"/>
              <a:gd name="connsiteX27" fmla="*/ 4926 w 147767"/>
              <a:gd name="connsiteY27" fmla="*/ 36942 h 152245"/>
              <a:gd name="connsiteX28" fmla="*/ 94930 w 147767"/>
              <a:gd name="connsiteY28" fmla="*/ 127394 h 152245"/>
              <a:gd name="connsiteX29" fmla="*/ 96721 w 147767"/>
              <a:gd name="connsiteY29" fmla="*/ 127842 h 152245"/>
              <a:gd name="connsiteX30" fmla="*/ 96721 w 147767"/>
              <a:gd name="connsiteY30" fmla="*/ 127842 h 152245"/>
              <a:gd name="connsiteX31" fmla="*/ 98512 w 147767"/>
              <a:gd name="connsiteY31" fmla="*/ 127394 h 152245"/>
              <a:gd name="connsiteX32" fmla="*/ 100751 w 147767"/>
              <a:gd name="connsiteY32" fmla="*/ 125155 h 152245"/>
              <a:gd name="connsiteX33" fmla="*/ 102990 w 147767"/>
              <a:gd name="connsiteY33" fmla="*/ 128290 h 152245"/>
              <a:gd name="connsiteX34" fmla="*/ 106572 w 147767"/>
              <a:gd name="connsiteY34" fmla="*/ 130528 h 152245"/>
              <a:gd name="connsiteX35" fmla="*/ 108811 w 147767"/>
              <a:gd name="connsiteY35" fmla="*/ 130081 h 152245"/>
              <a:gd name="connsiteX36" fmla="*/ 118662 w 147767"/>
              <a:gd name="connsiteY36" fmla="*/ 143514 h 152245"/>
              <a:gd name="connsiteX37" fmla="*/ 122245 w 147767"/>
              <a:gd name="connsiteY37" fmla="*/ 146201 h 152245"/>
              <a:gd name="connsiteX38" fmla="*/ 128513 w 147767"/>
              <a:gd name="connsiteY38" fmla="*/ 147096 h 152245"/>
              <a:gd name="connsiteX39" fmla="*/ 148216 w 147767"/>
              <a:gd name="connsiteY39" fmla="*/ 153365 h 152245"/>
              <a:gd name="connsiteX40" fmla="*/ 148664 w 147767"/>
              <a:gd name="connsiteY40" fmla="*/ 153813 h 152245"/>
              <a:gd name="connsiteX41" fmla="*/ 148664 w 147767"/>
              <a:gd name="connsiteY41" fmla="*/ 153813 h 152245"/>
              <a:gd name="connsiteX42" fmla="*/ 149112 w 147767"/>
              <a:gd name="connsiteY42" fmla="*/ 153813 h 152245"/>
              <a:gd name="connsiteX43" fmla="*/ 149559 w 147767"/>
              <a:gd name="connsiteY43" fmla="*/ 153813 h 152245"/>
              <a:gd name="connsiteX44" fmla="*/ 149559 w 147767"/>
              <a:gd name="connsiteY44" fmla="*/ 153813 h 152245"/>
              <a:gd name="connsiteX45" fmla="*/ 149559 w 147767"/>
              <a:gd name="connsiteY45" fmla="*/ 153813 h 152245"/>
              <a:gd name="connsiteX46" fmla="*/ 149559 w 147767"/>
              <a:gd name="connsiteY46" fmla="*/ 153813 h 152245"/>
              <a:gd name="connsiteX47" fmla="*/ 149559 w 147767"/>
              <a:gd name="connsiteY47" fmla="*/ 153813 h 152245"/>
              <a:gd name="connsiteX48" fmla="*/ 150455 w 147767"/>
              <a:gd name="connsiteY48" fmla="*/ 153813 h 152245"/>
              <a:gd name="connsiteX49" fmla="*/ 150455 w 147767"/>
              <a:gd name="connsiteY49" fmla="*/ 153813 h 152245"/>
              <a:gd name="connsiteX50" fmla="*/ 150455 w 147767"/>
              <a:gd name="connsiteY50" fmla="*/ 153813 h 152245"/>
              <a:gd name="connsiteX51" fmla="*/ 150455 w 147767"/>
              <a:gd name="connsiteY51" fmla="*/ 153813 h 152245"/>
              <a:gd name="connsiteX52" fmla="*/ 150903 w 147767"/>
              <a:gd name="connsiteY52" fmla="*/ 153365 h 152245"/>
              <a:gd name="connsiteX53" fmla="*/ 150903 w 147767"/>
              <a:gd name="connsiteY53" fmla="*/ 153365 h 152245"/>
              <a:gd name="connsiteX54" fmla="*/ 150903 w 147767"/>
              <a:gd name="connsiteY54" fmla="*/ 153365 h 152245"/>
              <a:gd name="connsiteX55" fmla="*/ 150903 w 147767"/>
              <a:gd name="connsiteY55" fmla="*/ 153365 h 152245"/>
              <a:gd name="connsiteX56" fmla="*/ 151350 w 147767"/>
              <a:gd name="connsiteY56" fmla="*/ 152918 h 152245"/>
              <a:gd name="connsiteX57" fmla="*/ 151350 w 147767"/>
              <a:gd name="connsiteY57" fmla="*/ 152918 h 152245"/>
              <a:gd name="connsiteX58" fmla="*/ 151350 w 147767"/>
              <a:gd name="connsiteY58" fmla="*/ 152918 h 152245"/>
              <a:gd name="connsiteX59" fmla="*/ 151350 w 147767"/>
              <a:gd name="connsiteY59" fmla="*/ 152022 h 152245"/>
              <a:gd name="connsiteX60" fmla="*/ 151350 w 147767"/>
              <a:gd name="connsiteY60" fmla="*/ 152022 h 152245"/>
              <a:gd name="connsiteX61" fmla="*/ 151350 w 147767"/>
              <a:gd name="connsiteY61" fmla="*/ 152022 h 152245"/>
              <a:gd name="connsiteX62" fmla="*/ 151350 w 147767"/>
              <a:gd name="connsiteY62" fmla="*/ 152022 h 152245"/>
              <a:gd name="connsiteX63" fmla="*/ 151350 w 147767"/>
              <a:gd name="connsiteY63" fmla="*/ 152022 h 152245"/>
              <a:gd name="connsiteX64" fmla="*/ 150455 w 147767"/>
              <a:gd name="connsiteY64" fmla="*/ 151126 h 152245"/>
              <a:gd name="connsiteX65" fmla="*/ 3582 w 147767"/>
              <a:gd name="connsiteY65" fmla="*/ 26195 h 152245"/>
              <a:gd name="connsiteX66" fmla="*/ 5821 w 147767"/>
              <a:gd name="connsiteY66" fmla="*/ 20374 h 152245"/>
              <a:gd name="connsiteX67" fmla="*/ 16120 w 147767"/>
              <a:gd name="connsiteY67" fmla="*/ 10075 h 152245"/>
              <a:gd name="connsiteX68" fmla="*/ 21941 w 147767"/>
              <a:gd name="connsiteY68" fmla="*/ 7836 h 152245"/>
              <a:gd name="connsiteX69" fmla="*/ 30001 w 147767"/>
              <a:gd name="connsiteY69" fmla="*/ 11418 h 152245"/>
              <a:gd name="connsiteX70" fmla="*/ 58212 w 147767"/>
              <a:gd name="connsiteY70" fmla="*/ 39181 h 152245"/>
              <a:gd name="connsiteX71" fmla="*/ 34927 w 147767"/>
              <a:gd name="connsiteY71" fmla="*/ 62465 h 152245"/>
              <a:gd name="connsiteX72" fmla="*/ 7165 w 147767"/>
              <a:gd name="connsiteY72" fmla="*/ 34255 h 152245"/>
              <a:gd name="connsiteX73" fmla="*/ 3582 w 147767"/>
              <a:gd name="connsiteY73" fmla="*/ 26195 h 152245"/>
              <a:gd name="connsiteX74" fmla="*/ 95378 w 147767"/>
              <a:gd name="connsiteY74" fmla="*/ 122916 h 152245"/>
              <a:gd name="connsiteX75" fmla="*/ 38061 w 147767"/>
              <a:gd name="connsiteY75" fmla="*/ 65600 h 152245"/>
              <a:gd name="connsiteX76" fmla="*/ 61794 w 147767"/>
              <a:gd name="connsiteY76" fmla="*/ 42315 h 152245"/>
              <a:gd name="connsiteX77" fmla="*/ 119110 w 147767"/>
              <a:gd name="connsiteY77" fmla="*/ 99631 h 152245"/>
              <a:gd name="connsiteX78" fmla="*/ 95378 w 147767"/>
              <a:gd name="connsiteY78" fmla="*/ 122916 h 152245"/>
              <a:gd name="connsiteX79" fmla="*/ 122245 w 147767"/>
              <a:gd name="connsiteY79" fmla="*/ 142171 h 152245"/>
              <a:gd name="connsiteX80" fmla="*/ 120901 w 147767"/>
              <a:gd name="connsiteY80" fmla="*/ 141275 h 152245"/>
              <a:gd name="connsiteX81" fmla="*/ 109259 w 147767"/>
              <a:gd name="connsiteY81" fmla="*/ 125603 h 152245"/>
              <a:gd name="connsiteX82" fmla="*/ 107468 w 147767"/>
              <a:gd name="connsiteY82" fmla="*/ 124707 h 152245"/>
              <a:gd name="connsiteX83" fmla="*/ 105677 w 147767"/>
              <a:gd name="connsiteY83" fmla="*/ 125155 h 152245"/>
              <a:gd name="connsiteX84" fmla="*/ 105229 w 147767"/>
              <a:gd name="connsiteY84" fmla="*/ 125603 h 152245"/>
              <a:gd name="connsiteX85" fmla="*/ 104781 w 147767"/>
              <a:gd name="connsiteY85" fmla="*/ 125603 h 152245"/>
              <a:gd name="connsiteX86" fmla="*/ 102094 w 147767"/>
              <a:gd name="connsiteY86" fmla="*/ 122021 h 152245"/>
              <a:gd name="connsiteX87" fmla="*/ 118215 w 147767"/>
              <a:gd name="connsiteY87" fmla="*/ 105900 h 152245"/>
              <a:gd name="connsiteX88" fmla="*/ 121797 w 147767"/>
              <a:gd name="connsiteY88" fmla="*/ 108587 h 152245"/>
              <a:gd name="connsiteX89" fmla="*/ 121797 w 147767"/>
              <a:gd name="connsiteY89" fmla="*/ 109035 h 152245"/>
              <a:gd name="connsiteX90" fmla="*/ 121349 w 147767"/>
              <a:gd name="connsiteY90" fmla="*/ 109482 h 152245"/>
              <a:gd name="connsiteX91" fmla="*/ 120901 w 147767"/>
              <a:gd name="connsiteY91" fmla="*/ 111274 h 152245"/>
              <a:gd name="connsiteX92" fmla="*/ 121797 w 147767"/>
              <a:gd name="connsiteY92" fmla="*/ 113065 h 152245"/>
              <a:gd name="connsiteX93" fmla="*/ 137469 w 147767"/>
              <a:gd name="connsiteY93" fmla="*/ 125155 h 152245"/>
              <a:gd name="connsiteX94" fmla="*/ 138365 w 147767"/>
              <a:gd name="connsiteY94" fmla="*/ 126498 h 152245"/>
              <a:gd name="connsiteX95" fmla="*/ 139260 w 147767"/>
              <a:gd name="connsiteY95" fmla="*/ 131424 h 152245"/>
              <a:gd name="connsiteX96" fmla="*/ 141051 w 147767"/>
              <a:gd name="connsiteY96" fmla="*/ 141723 h 152245"/>
              <a:gd name="connsiteX97" fmla="*/ 127170 w 147767"/>
              <a:gd name="connsiteY97" fmla="*/ 127842 h 152245"/>
              <a:gd name="connsiteX98" fmla="*/ 127618 w 147767"/>
              <a:gd name="connsiteY98" fmla="*/ 126051 h 152245"/>
              <a:gd name="connsiteX99" fmla="*/ 122245 w 147767"/>
              <a:gd name="connsiteY99" fmla="*/ 120677 h 152245"/>
              <a:gd name="connsiteX100" fmla="*/ 116871 w 147767"/>
              <a:gd name="connsiteY100" fmla="*/ 126051 h 152245"/>
              <a:gd name="connsiteX101" fmla="*/ 122245 w 147767"/>
              <a:gd name="connsiteY101" fmla="*/ 131424 h 152245"/>
              <a:gd name="connsiteX102" fmla="*/ 124036 w 147767"/>
              <a:gd name="connsiteY102" fmla="*/ 130976 h 152245"/>
              <a:gd name="connsiteX103" fmla="*/ 137917 w 147767"/>
              <a:gd name="connsiteY103" fmla="*/ 144857 h 152245"/>
              <a:gd name="connsiteX104" fmla="*/ 127170 w 147767"/>
              <a:gd name="connsiteY104" fmla="*/ 143066 h 152245"/>
              <a:gd name="connsiteX105" fmla="*/ 122245 w 147767"/>
              <a:gd name="connsiteY105" fmla="*/ 142171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47767" h="152245">
                <a:moveTo>
                  <a:pt x="150455" y="151126"/>
                </a:moveTo>
                <a:cubicBezTo>
                  <a:pt x="150455" y="151126"/>
                  <a:pt x="150455" y="151126"/>
                  <a:pt x="150455" y="151126"/>
                </a:cubicBezTo>
                <a:lnTo>
                  <a:pt x="150455" y="151126"/>
                </a:lnTo>
                <a:lnTo>
                  <a:pt x="150455" y="151126"/>
                </a:lnTo>
                <a:cubicBezTo>
                  <a:pt x="150455" y="150679"/>
                  <a:pt x="150007" y="150679"/>
                  <a:pt x="150007" y="150679"/>
                </a:cubicBezTo>
                <a:cubicBezTo>
                  <a:pt x="145977" y="146201"/>
                  <a:pt x="144186" y="136349"/>
                  <a:pt x="143738" y="130976"/>
                </a:cubicBezTo>
                <a:cubicBezTo>
                  <a:pt x="143290" y="128737"/>
                  <a:pt x="143290" y="126498"/>
                  <a:pt x="142843" y="125155"/>
                </a:cubicBezTo>
                <a:cubicBezTo>
                  <a:pt x="142395" y="123812"/>
                  <a:pt x="141499" y="122468"/>
                  <a:pt x="140156" y="121573"/>
                </a:cubicBezTo>
                <a:cubicBezTo>
                  <a:pt x="138812" y="120677"/>
                  <a:pt x="131648" y="115751"/>
                  <a:pt x="126722" y="111721"/>
                </a:cubicBezTo>
                <a:cubicBezTo>
                  <a:pt x="127170" y="110826"/>
                  <a:pt x="127170" y="109931"/>
                  <a:pt x="127170" y="109482"/>
                </a:cubicBezTo>
                <a:cubicBezTo>
                  <a:pt x="127170" y="108139"/>
                  <a:pt x="126275" y="106796"/>
                  <a:pt x="124931" y="105900"/>
                </a:cubicBezTo>
                <a:cubicBezTo>
                  <a:pt x="124036" y="105453"/>
                  <a:pt x="122692" y="104557"/>
                  <a:pt x="121797" y="103662"/>
                </a:cubicBezTo>
                <a:lnTo>
                  <a:pt x="124036" y="101423"/>
                </a:lnTo>
                <a:cubicBezTo>
                  <a:pt x="124484" y="100975"/>
                  <a:pt x="124484" y="100527"/>
                  <a:pt x="124484" y="99631"/>
                </a:cubicBezTo>
                <a:cubicBezTo>
                  <a:pt x="124484" y="99184"/>
                  <a:pt x="124036" y="98288"/>
                  <a:pt x="124036" y="97840"/>
                </a:cubicBezTo>
                <a:lnTo>
                  <a:pt x="34032" y="7836"/>
                </a:lnTo>
                <a:cubicBezTo>
                  <a:pt x="33136" y="6941"/>
                  <a:pt x="32240" y="6493"/>
                  <a:pt x="31345" y="5597"/>
                </a:cubicBezTo>
                <a:cubicBezTo>
                  <a:pt x="34032" y="3806"/>
                  <a:pt x="38061" y="4254"/>
                  <a:pt x="40300" y="6493"/>
                </a:cubicBezTo>
                <a:lnTo>
                  <a:pt x="80601" y="46793"/>
                </a:lnTo>
                <a:cubicBezTo>
                  <a:pt x="81049" y="47241"/>
                  <a:pt x="81496" y="47241"/>
                  <a:pt x="82392" y="47241"/>
                </a:cubicBezTo>
                <a:cubicBezTo>
                  <a:pt x="83288" y="47241"/>
                  <a:pt x="83735" y="47241"/>
                  <a:pt x="84183" y="46793"/>
                </a:cubicBezTo>
                <a:cubicBezTo>
                  <a:pt x="85079" y="45898"/>
                  <a:pt x="85079" y="44554"/>
                  <a:pt x="84183" y="43659"/>
                </a:cubicBezTo>
                <a:lnTo>
                  <a:pt x="43883" y="3358"/>
                </a:lnTo>
                <a:cubicBezTo>
                  <a:pt x="39405" y="-1119"/>
                  <a:pt x="31793" y="-1119"/>
                  <a:pt x="27315" y="3358"/>
                </a:cubicBezTo>
                <a:cubicBezTo>
                  <a:pt x="22389" y="2015"/>
                  <a:pt x="17464" y="2911"/>
                  <a:pt x="13881" y="6493"/>
                </a:cubicBezTo>
                <a:lnTo>
                  <a:pt x="3582" y="16792"/>
                </a:lnTo>
                <a:cubicBezTo>
                  <a:pt x="1344" y="19031"/>
                  <a:pt x="0" y="22613"/>
                  <a:pt x="0" y="25747"/>
                </a:cubicBezTo>
                <a:cubicBezTo>
                  <a:pt x="0" y="29778"/>
                  <a:pt x="1791" y="33808"/>
                  <a:pt x="4926" y="36942"/>
                </a:cubicBezTo>
                <a:lnTo>
                  <a:pt x="94930" y="127394"/>
                </a:lnTo>
                <a:cubicBezTo>
                  <a:pt x="95378" y="127842"/>
                  <a:pt x="95825" y="127842"/>
                  <a:pt x="96721" y="127842"/>
                </a:cubicBezTo>
                <a:cubicBezTo>
                  <a:pt x="96721" y="127842"/>
                  <a:pt x="96721" y="127842"/>
                  <a:pt x="96721" y="127842"/>
                </a:cubicBezTo>
                <a:cubicBezTo>
                  <a:pt x="97169" y="127842"/>
                  <a:pt x="98064" y="127394"/>
                  <a:pt x="98512" y="127394"/>
                </a:cubicBezTo>
                <a:lnTo>
                  <a:pt x="100751" y="125155"/>
                </a:lnTo>
                <a:cubicBezTo>
                  <a:pt x="101647" y="126051"/>
                  <a:pt x="102094" y="126946"/>
                  <a:pt x="102990" y="128290"/>
                </a:cubicBezTo>
                <a:cubicBezTo>
                  <a:pt x="103885" y="129633"/>
                  <a:pt x="105229" y="130528"/>
                  <a:pt x="106572" y="130528"/>
                </a:cubicBezTo>
                <a:cubicBezTo>
                  <a:pt x="107468" y="130528"/>
                  <a:pt x="108363" y="130528"/>
                  <a:pt x="108811" y="130081"/>
                </a:cubicBezTo>
                <a:cubicBezTo>
                  <a:pt x="113289" y="135006"/>
                  <a:pt x="117767" y="141723"/>
                  <a:pt x="118662" y="143514"/>
                </a:cubicBezTo>
                <a:cubicBezTo>
                  <a:pt x="119558" y="144857"/>
                  <a:pt x="120901" y="145753"/>
                  <a:pt x="122245" y="146201"/>
                </a:cubicBezTo>
                <a:cubicBezTo>
                  <a:pt x="124036" y="146649"/>
                  <a:pt x="125827" y="147096"/>
                  <a:pt x="128513" y="147096"/>
                </a:cubicBezTo>
                <a:cubicBezTo>
                  <a:pt x="140604" y="148440"/>
                  <a:pt x="145977" y="151126"/>
                  <a:pt x="148216" y="153365"/>
                </a:cubicBezTo>
                <a:cubicBezTo>
                  <a:pt x="148216" y="153365"/>
                  <a:pt x="148664" y="153813"/>
                  <a:pt x="148664" y="153813"/>
                </a:cubicBezTo>
                <a:cubicBezTo>
                  <a:pt x="148664" y="153813"/>
                  <a:pt x="148664" y="153813"/>
                  <a:pt x="148664" y="153813"/>
                </a:cubicBezTo>
                <a:cubicBezTo>
                  <a:pt x="148664" y="153813"/>
                  <a:pt x="149112" y="153813"/>
                  <a:pt x="149112" y="153813"/>
                </a:cubicBezTo>
                <a:cubicBezTo>
                  <a:pt x="149112" y="153813"/>
                  <a:pt x="149112" y="153813"/>
                  <a:pt x="149559" y="153813"/>
                </a:cubicBezTo>
                <a:cubicBezTo>
                  <a:pt x="149559" y="153813"/>
                  <a:pt x="149559" y="153813"/>
                  <a:pt x="149559" y="153813"/>
                </a:cubicBezTo>
                <a:lnTo>
                  <a:pt x="149559" y="153813"/>
                </a:lnTo>
                <a:cubicBezTo>
                  <a:pt x="149559" y="153813"/>
                  <a:pt x="149559" y="153813"/>
                  <a:pt x="149559" y="153813"/>
                </a:cubicBezTo>
                <a:cubicBezTo>
                  <a:pt x="149559" y="153813"/>
                  <a:pt x="149559" y="153813"/>
                  <a:pt x="149559" y="153813"/>
                </a:cubicBezTo>
                <a:cubicBezTo>
                  <a:pt x="150007" y="153813"/>
                  <a:pt x="150007" y="153813"/>
                  <a:pt x="150455" y="153813"/>
                </a:cubicBezTo>
                <a:cubicBezTo>
                  <a:pt x="150455" y="153813"/>
                  <a:pt x="150455" y="153813"/>
                  <a:pt x="150455" y="153813"/>
                </a:cubicBezTo>
                <a:lnTo>
                  <a:pt x="150455" y="153813"/>
                </a:lnTo>
                <a:cubicBezTo>
                  <a:pt x="150455" y="153813"/>
                  <a:pt x="150455" y="153813"/>
                  <a:pt x="150455" y="153813"/>
                </a:cubicBezTo>
                <a:cubicBezTo>
                  <a:pt x="150455" y="153813"/>
                  <a:pt x="150903" y="153365"/>
                  <a:pt x="150903" y="153365"/>
                </a:cubicBezTo>
                <a:cubicBezTo>
                  <a:pt x="150903" y="153365"/>
                  <a:pt x="150903" y="153365"/>
                  <a:pt x="150903" y="153365"/>
                </a:cubicBezTo>
                <a:lnTo>
                  <a:pt x="150903" y="153365"/>
                </a:lnTo>
                <a:cubicBezTo>
                  <a:pt x="150903" y="153365"/>
                  <a:pt x="150903" y="153365"/>
                  <a:pt x="150903" y="153365"/>
                </a:cubicBezTo>
                <a:cubicBezTo>
                  <a:pt x="150903" y="153365"/>
                  <a:pt x="151350" y="152918"/>
                  <a:pt x="151350" y="152918"/>
                </a:cubicBezTo>
                <a:cubicBezTo>
                  <a:pt x="151350" y="152918"/>
                  <a:pt x="151350" y="152918"/>
                  <a:pt x="151350" y="152918"/>
                </a:cubicBezTo>
                <a:cubicBezTo>
                  <a:pt x="151350" y="152918"/>
                  <a:pt x="151350" y="152918"/>
                  <a:pt x="151350" y="152918"/>
                </a:cubicBezTo>
                <a:cubicBezTo>
                  <a:pt x="151350" y="152470"/>
                  <a:pt x="151350" y="152470"/>
                  <a:pt x="151350" y="152022"/>
                </a:cubicBezTo>
                <a:cubicBezTo>
                  <a:pt x="151350" y="152022"/>
                  <a:pt x="151350" y="152022"/>
                  <a:pt x="151350" y="152022"/>
                </a:cubicBezTo>
                <a:lnTo>
                  <a:pt x="151350" y="152022"/>
                </a:lnTo>
                <a:cubicBezTo>
                  <a:pt x="151350" y="152022"/>
                  <a:pt x="151350" y="152022"/>
                  <a:pt x="151350" y="152022"/>
                </a:cubicBezTo>
                <a:lnTo>
                  <a:pt x="151350" y="152022"/>
                </a:lnTo>
                <a:cubicBezTo>
                  <a:pt x="150455" y="152022"/>
                  <a:pt x="150455" y="151574"/>
                  <a:pt x="150455" y="151126"/>
                </a:cubicBezTo>
                <a:close/>
                <a:moveTo>
                  <a:pt x="3582" y="26195"/>
                </a:moveTo>
                <a:cubicBezTo>
                  <a:pt x="3582" y="23956"/>
                  <a:pt x="4478" y="21717"/>
                  <a:pt x="5821" y="20374"/>
                </a:cubicBezTo>
                <a:lnTo>
                  <a:pt x="16120" y="10075"/>
                </a:lnTo>
                <a:cubicBezTo>
                  <a:pt x="17911" y="8284"/>
                  <a:pt x="19703" y="7836"/>
                  <a:pt x="21941" y="7836"/>
                </a:cubicBezTo>
                <a:cubicBezTo>
                  <a:pt x="24628" y="7836"/>
                  <a:pt x="27763" y="9179"/>
                  <a:pt x="30001" y="11418"/>
                </a:cubicBezTo>
                <a:lnTo>
                  <a:pt x="58212" y="39181"/>
                </a:lnTo>
                <a:lnTo>
                  <a:pt x="34927" y="62465"/>
                </a:lnTo>
                <a:lnTo>
                  <a:pt x="7165" y="34255"/>
                </a:lnTo>
                <a:cubicBezTo>
                  <a:pt x="4926" y="32017"/>
                  <a:pt x="3582" y="28882"/>
                  <a:pt x="3582" y="26195"/>
                </a:cubicBezTo>
                <a:close/>
                <a:moveTo>
                  <a:pt x="95378" y="122916"/>
                </a:moveTo>
                <a:lnTo>
                  <a:pt x="38061" y="65600"/>
                </a:lnTo>
                <a:lnTo>
                  <a:pt x="61794" y="42315"/>
                </a:lnTo>
                <a:lnTo>
                  <a:pt x="119110" y="99631"/>
                </a:lnTo>
                <a:lnTo>
                  <a:pt x="95378" y="122916"/>
                </a:lnTo>
                <a:close/>
                <a:moveTo>
                  <a:pt x="122245" y="142171"/>
                </a:moveTo>
                <a:cubicBezTo>
                  <a:pt x="121797" y="142171"/>
                  <a:pt x="121349" y="141723"/>
                  <a:pt x="120901" y="141275"/>
                </a:cubicBezTo>
                <a:cubicBezTo>
                  <a:pt x="120006" y="139484"/>
                  <a:pt x="114184" y="130976"/>
                  <a:pt x="109259" y="125603"/>
                </a:cubicBezTo>
                <a:cubicBezTo>
                  <a:pt x="108811" y="125155"/>
                  <a:pt x="108363" y="124707"/>
                  <a:pt x="107468" y="124707"/>
                </a:cubicBezTo>
                <a:cubicBezTo>
                  <a:pt x="107020" y="124707"/>
                  <a:pt x="106124" y="125155"/>
                  <a:pt x="105677" y="125155"/>
                </a:cubicBezTo>
                <a:lnTo>
                  <a:pt x="105229" y="125603"/>
                </a:lnTo>
                <a:cubicBezTo>
                  <a:pt x="105229" y="125603"/>
                  <a:pt x="104781" y="125603"/>
                  <a:pt x="104781" y="125603"/>
                </a:cubicBezTo>
                <a:cubicBezTo>
                  <a:pt x="103885" y="124259"/>
                  <a:pt x="102990" y="122916"/>
                  <a:pt x="102094" y="122021"/>
                </a:cubicBezTo>
                <a:lnTo>
                  <a:pt x="118215" y="105900"/>
                </a:lnTo>
                <a:cubicBezTo>
                  <a:pt x="119558" y="106796"/>
                  <a:pt x="120453" y="108139"/>
                  <a:pt x="121797" y="108587"/>
                </a:cubicBezTo>
                <a:lnTo>
                  <a:pt x="121797" y="109035"/>
                </a:lnTo>
                <a:lnTo>
                  <a:pt x="121349" y="109482"/>
                </a:lnTo>
                <a:cubicBezTo>
                  <a:pt x="120901" y="109931"/>
                  <a:pt x="120901" y="110378"/>
                  <a:pt x="120901" y="111274"/>
                </a:cubicBezTo>
                <a:cubicBezTo>
                  <a:pt x="120901" y="112170"/>
                  <a:pt x="121349" y="112617"/>
                  <a:pt x="121797" y="113065"/>
                </a:cubicBezTo>
                <a:cubicBezTo>
                  <a:pt x="126722" y="117990"/>
                  <a:pt x="135678" y="123812"/>
                  <a:pt x="137469" y="125155"/>
                </a:cubicBezTo>
                <a:cubicBezTo>
                  <a:pt x="137917" y="125603"/>
                  <a:pt x="138365" y="125603"/>
                  <a:pt x="138365" y="126498"/>
                </a:cubicBezTo>
                <a:cubicBezTo>
                  <a:pt x="138812" y="127842"/>
                  <a:pt x="138812" y="129633"/>
                  <a:pt x="139260" y="131424"/>
                </a:cubicBezTo>
                <a:cubicBezTo>
                  <a:pt x="139708" y="134559"/>
                  <a:pt x="140156" y="138141"/>
                  <a:pt x="141051" y="141723"/>
                </a:cubicBezTo>
                <a:lnTo>
                  <a:pt x="127170" y="127842"/>
                </a:lnTo>
                <a:cubicBezTo>
                  <a:pt x="127170" y="127394"/>
                  <a:pt x="127618" y="126946"/>
                  <a:pt x="127618" y="126051"/>
                </a:cubicBezTo>
                <a:cubicBezTo>
                  <a:pt x="127618" y="123364"/>
                  <a:pt x="125379" y="120677"/>
                  <a:pt x="122245" y="120677"/>
                </a:cubicBezTo>
                <a:cubicBezTo>
                  <a:pt x="119110" y="120677"/>
                  <a:pt x="116871" y="122916"/>
                  <a:pt x="116871" y="126051"/>
                </a:cubicBezTo>
                <a:cubicBezTo>
                  <a:pt x="116871" y="128737"/>
                  <a:pt x="119110" y="131424"/>
                  <a:pt x="122245" y="131424"/>
                </a:cubicBezTo>
                <a:cubicBezTo>
                  <a:pt x="122692" y="131424"/>
                  <a:pt x="123588" y="131424"/>
                  <a:pt x="124036" y="130976"/>
                </a:cubicBezTo>
                <a:lnTo>
                  <a:pt x="137917" y="144857"/>
                </a:lnTo>
                <a:cubicBezTo>
                  <a:pt x="134782" y="143962"/>
                  <a:pt x="131200" y="143514"/>
                  <a:pt x="127170" y="143066"/>
                </a:cubicBezTo>
                <a:cubicBezTo>
                  <a:pt x="125379" y="142618"/>
                  <a:pt x="123588" y="142618"/>
                  <a:pt x="122245" y="142171"/>
                </a:cubicBezTo>
                <a:close/>
              </a:path>
            </a:pathLst>
          </a:custGeom>
          <a:solidFill>
            <a:srgbClr val="231F20"/>
          </a:solidFill>
          <a:ln w="4474" cap="flat">
            <a:noFill/>
            <a:prstDash val="solid"/>
            <a:miter/>
          </a:ln>
        </p:spPr>
        <p:txBody>
          <a:bodyPr rtlCol="0" anchor="ctr"/>
          <a:lstStyle/>
          <a:p>
            <a:endParaRPr lang="en-US"/>
          </a:p>
        </p:txBody>
      </p:sp>
      <p:sp>
        <p:nvSpPr>
          <p:cNvPr id="4786" name="Freeform: Shape 4785">
            <a:extLst>
              <a:ext uri="{FF2B5EF4-FFF2-40B4-BE49-F238E27FC236}">
                <a16:creationId xmlns:a16="http://schemas.microsoft.com/office/drawing/2014/main" id="{59C18CBD-6865-4EF8-B468-54BF928B5E25}"/>
              </a:ext>
              <a:ext uri="{C183D7F6-B498-43B3-948B-1728B52AA6E4}">
                <adec:decorative xmlns:adec="http://schemas.microsoft.com/office/drawing/2017/decorative" val="1"/>
              </a:ext>
            </a:extLst>
          </p:cNvPr>
          <p:cNvSpPr>
            <a:spLocks noChangeAspect="1"/>
          </p:cNvSpPr>
          <p:nvPr/>
        </p:nvSpPr>
        <p:spPr>
          <a:xfrm>
            <a:off x="9273875" y="2078889"/>
            <a:ext cx="107468" cy="147768"/>
          </a:xfrm>
          <a:custGeom>
            <a:avLst/>
            <a:gdLst>
              <a:gd name="connsiteX0" fmla="*/ 42427 w 107467"/>
              <a:gd name="connsiteY0" fmla="*/ 151973 h 147767"/>
              <a:gd name="connsiteX1" fmla="*/ 41532 w 107467"/>
              <a:gd name="connsiteY1" fmla="*/ 151973 h 147767"/>
              <a:gd name="connsiteX2" fmla="*/ 40188 w 107467"/>
              <a:gd name="connsiteY2" fmla="*/ 149735 h 147767"/>
              <a:gd name="connsiteX3" fmla="*/ 49144 w 107467"/>
              <a:gd name="connsiteY3" fmla="*/ 98688 h 147767"/>
              <a:gd name="connsiteX4" fmla="*/ 2127 w 107467"/>
              <a:gd name="connsiteY4" fmla="*/ 98688 h 147767"/>
              <a:gd name="connsiteX5" fmla="*/ 336 w 107467"/>
              <a:gd name="connsiteY5" fmla="*/ 97344 h 147767"/>
              <a:gd name="connsiteX6" fmla="*/ 336 w 107467"/>
              <a:gd name="connsiteY6" fmla="*/ 95105 h 147767"/>
              <a:gd name="connsiteX7" fmla="*/ 67503 w 107467"/>
              <a:gd name="connsiteY7" fmla="*/ 1071 h 147767"/>
              <a:gd name="connsiteX8" fmla="*/ 70190 w 107467"/>
              <a:gd name="connsiteY8" fmla="*/ 176 h 147767"/>
              <a:gd name="connsiteX9" fmla="*/ 71533 w 107467"/>
              <a:gd name="connsiteY9" fmla="*/ 2415 h 147767"/>
              <a:gd name="connsiteX10" fmla="*/ 62578 w 107467"/>
              <a:gd name="connsiteY10" fmla="*/ 53461 h 147767"/>
              <a:gd name="connsiteX11" fmla="*/ 109595 w 107467"/>
              <a:gd name="connsiteY11" fmla="*/ 53461 h 147767"/>
              <a:gd name="connsiteX12" fmla="*/ 111386 w 107467"/>
              <a:gd name="connsiteY12" fmla="*/ 54805 h 147767"/>
              <a:gd name="connsiteX13" fmla="*/ 111386 w 107467"/>
              <a:gd name="connsiteY13" fmla="*/ 57044 h 147767"/>
              <a:gd name="connsiteX14" fmla="*/ 44218 w 107467"/>
              <a:gd name="connsiteY14" fmla="*/ 151078 h 147767"/>
              <a:gd name="connsiteX15" fmla="*/ 42427 w 107467"/>
              <a:gd name="connsiteY15" fmla="*/ 151973 h 147767"/>
              <a:gd name="connsiteX16" fmla="*/ 6605 w 107467"/>
              <a:gd name="connsiteY16" fmla="*/ 93762 h 147767"/>
              <a:gd name="connsiteX17" fmla="*/ 51831 w 107467"/>
              <a:gd name="connsiteY17" fmla="*/ 93762 h 147767"/>
              <a:gd name="connsiteX18" fmla="*/ 53622 w 107467"/>
              <a:gd name="connsiteY18" fmla="*/ 94658 h 147767"/>
              <a:gd name="connsiteX19" fmla="*/ 54070 w 107467"/>
              <a:gd name="connsiteY19" fmla="*/ 96449 h 147767"/>
              <a:gd name="connsiteX20" fmla="*/ 46457 w 107467"/>
              <a:gd name="connsiteY20" fmla="*/ 140331 h 147767"/>
              <a:gd name="connsiteX21" fmla="*/ 105564 w 107467"/>
              <a:gd name="connsiteY21" fmla="*/ 57939 h 147767"/>
              <a:gd name="connsiteX22" fmla="*/ 60339 w 107467"/>
              <a:gd name="connsiteY22" fmla="*/ 57939 h 147767"/>
              <a:gd name="connsiteX23" fmla="*/ 58547 w 107467"/>
              <a:gd name="connsiteY23" fmla="*/ 57044 h 147767"/>
              <a:gd name="connsiteX24" fmla="*/ 58100 w 107467"/>
              <a:gd name="connsiteY24" fmla="*/ 55253 h 147767"/>
              <a:gd name="connsiteX25" fmla="*/ 65712 w 107467"/>
              <a:gd name="connsiteY25" fmla="*/ 11370 h 147767"/>
              <a:gd name="connsiteX26" fmla="*/ 6605 w 107467"/>
              <a:gd name="connsiteY26" fmla="*/ 9376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467" h="147767">
                <a:moveTo>
                  <a:pt x="42427" y="151973"/>
                </a:moveTo>
                <a:cubicBezTo>
                  <a:pt x="41979" y="151973"/>
                  <a:pt x="41979" y="151973"/>
                  <a:pt x="41532" y="151973"/>
                </a:cubicBezTo>
                <a:cubicBezTo>
                  <a:pt x="40636" y="151526"/>
                  <a:pt x="40188" y="150630"/>
                  <a:pt x="40188" y="149735"/>
                </a:cubicBezTo>
                <a:lnTo>
                  <a:pt x="49144" y="98688"/>
                </a:lnTo>
                <a:lnTo>
                  <a:pt x="2127" y="98688"/>
                </a:lnTo>
                <a:cubicBezTo>
                  <a:pt x="1231" y="98688"/>
                  <a:pt x="336" y="98240"/>
                  <a:pt x="336" y="97344"/>
                </a:cubicBezTo>
                <a:cubicBezTo>
                  <a:pt x="-112" y="96449"/>
                  <a:pt x="-112" y="95553"/>
                  <a:pt x="336" y="95105"/>
                </a:cubicBezTo>
                <a:lnTo>
                  <a:pt x="67503" y="1071"/>
                </a:lnTo>
                <a:cubicBezTo>
                  <a:pt x="67951" y="176"/>
                  <a:pt x="69294" y="-272"/>
                  <a:pt x="70190" y="176"/>
                </a:cubicBezTo>
                <a:cubicBezTo>
                  <a:pt x="71085" y="624"/>
                  <a:pt x="71533" y="1519"/>
                  <a:pt x="71533" y="2415"/>
                </a:cubicBezTo>
                <a:lnTo>
                  <a:pt x="62578" y="53461"/>
                </a:lnTo>
                <a:lnTo>
                  <a:pt x="109595" y="53461"/>
                </a:lnTo>
                <a:cubicBezTo>
                  <a:pt x="110490" y="53461"/>
                  <a:pt x="111386" y="53910"/>
                  <a:pt x="111386" y="54805"/>
                </a:cubicBezTo>
                <a:cubicBezTo>
                  <a:pt x="111834" y="55700"/>
                  <a:pt x="111834" y="56596"/>
                  <a:pt x="111386" y="57044"/>
                </a:cubicBezTo>
                <a:lnTo>
                  <a:pt x="44218" y="151078"/>
                </a:lnTo>
                <a:cubicBezTo>
                  <a:pt x="43771" y="151526"/>
                  <a:pt x="43323" y="151973"/>
                  <a:pt x="42427" y="151973"/>
                </a:cubicBezTo>
                <a:close/>
                <a:moveTo>
                  <a:pt x="6605" y="93762"/>
                </a:moveTo>
                <a:lnTo>
                  <a:pt x="51831" y="93762"/>
                </a:lnTo>
                <a:cubicBezTo>
                  <a:pt x="52279" y="93762"/>
                  <a:pt x="53174" y="94210"/>
                  <a:pt x="53622" y="94658"/>
                </a:cubicBezTo>
                <a:cubicBezTo>
                  <a:pt x="54070" y="95105"/>
                  <a:pt x="54070" y="96001"/>
                  <a:pt x="54070" y="96449"/>
                </a:cubicBezTo>
                <a:lnTo>
                  <a:pt x="46457" y="140331"/>
                </a:lnTo>
                <a:lnTo>
                  <a:pt x="105564" y="57939"/>
                </a:lnTo>
                <a:lnTo>
                  <a:pt x="60339" y="57939"/>
                </a:lnTo>
                <a:cubicBezTo>
                  <a:pt x="59891" y="57939"/>
                  <a:pt x="58995" y="57492"/>
                  <a:pt x="58547" y="57044"/>
                </a:cubicBezTo>
                <a:cubicBezTo>
                  <a:pt x="58100" y="56596"/>
                  <a:pt x="58100" y="55700"/>
                  <a:pt x="58100" y="55253"/>
                </a:cubicBezTo>
                <a:lnTo>
                  <a:pt x="65712" y="11370"/>
                </a:lnTo>
                <a:lnTo>
                  <a:pt x="6605" y="93762"/>
                </a:lnTo>
                <a:close/>
              </a:path>
            </a:pathLst>
          </a:custGeom>
          <a:solidFill>
            <a:srgbClr val="231F20"/>
          </a:solidFill>
          <a:ln w="4474" cap="flat">
            <a:noFill/>
            <a:prstDash val="solid"/>
            <a:miter/>
          </a:ln>
        </p:spPr>
        <p:txBody>
          <a:bodyPr rtlCol="0" anchor="ctr"/>
          <a:lstStyle/>
          <a:p>
            <a:endParaRPr lang="en-US"/>
          </a:p>
        </p:txBody>
      </p:sp>
      <p:sp>
        <p:nvSpPr>
          <p:cNvPr id="4787" name="Freeform: Shape 4786">
            <a:extLst>
              <a:ext uri="{FF2B5EF4-FFF2-40B4-BE49-F238E27FC236}">
                <a16:creationId xmlns:a16="http://schemas.microsoft.com/office/drawing/2014/main" id="{006732CB-7F37-4DCB-8F65-C2B025EC1116}"/>
              </a:ext>
              <a:ext uri="{C183D7F6-B498-43B3-948B-1728B52AA6E4}">
                <adec:decorative xmlns:adec="http://schemas.microsoft.com/office/drawing/2017/decorative" val="1"/>
              </a:ext>
            </a:extLst>
          </p:cNvPr>
          <p:cNvSpPr>
            <a:spLocks noChangeAspect="1"/>
          </p:cNvSpPr>
          <p:nvPr/>
        </p:nvSpPr>
        <p:spPr>
          <a:xfrm>
            <a:off x="10840552" y="2078616"/>
            <a:ext cx="152246" cy="147768"/>
          </a:xfrm>
          <a:custGeom>
            <a:avLst/>
            <a:gdLst>
              <a:gd name="connsiteX0" fmla="*/ 76123 w 152245"/>
              <a:gd name="connsiteY0" fmla="*/ 0 h 147767"/>
              <a:gd name="connsiteX1" fmla="*/ 0 w 152245"/>
              <a:gd name="connsiteY1" fmla="*/ 76123 h 147767"/>
              <a:gd name="connsiteX2" fmla="*/ 76123 w 152245"/>
              <a:gd name="connsiteY2" fmla="*/ 152246 h 147767"/>
              <a:gd name="connsiteX3" fmla="*/ 152246 w 152245"/>
              <a:gd name="connsiteY3" fmla="*/ 76123 h 147767"/>
              <a:gd name="connsiteX4" fmla="*/ 76123 w 152245"/>
              <a:gd name="connsiteY4" fmla="*/ 0 h 147767"/>
              <a:gd name="connsiteX5" fmla="*/ 138812 w 152245"/>
              <a:gd name="connsiteY5" fmla="*/ 110602 h 147767"/>
              <a:gd name="connsiteX6" fmla="*/ 107915 w 152245"/>
              <a:gd name="connsiteY6" fmla="*/ 118214 h 147767"/>
              <a:gd name="connsiteX7" fmla="*/ 95378 w 152245"/>
              <a:gd name="connsiteY7" fmla="*/ 100751 h 147767"/>
              <a:gd name="connsiteX8" fmla="*/ 105676 w 152245"/>
              <a:gd name="connsiteY8" fmla="*/ 69406 h 147767"/>
              <a:gd name="connsiteX9" fmla="*/ 126722 w 152245"/>
              <a:gd name="connsiteY9" fmla="*/ 62689 h 147767"/>
              <a:gd name="connsiteX10" fmla="*/ 147320 w 152245"/>
              <a:gd name="connsiteY10" fmla="*/ 80600 h 147767"/>
              <a:gd name="connsiteX11" fmla="*/ 138812 w 152245"/>
              <a:gd name="connsiteY11" fmla="*/ 110602 h 147767"/>
              <a:gd name="connsiteX12" fmla="*/ 42539 w 152245"/>
              <a:gd name="connsiteY12" fmla="*/ 118214 h 147767"/>
              <a:gd name="connsiteX13" fmla="*/ 13881 w 152245"/>
              <a:gd name="connsiteY13" fmla="*/ 112393 h 147767"/>
              <a:gd name="connsiteX14" fmla="*/ 4478 w 152245"/>
              <a:gd name="connsiteY14" fmla="*/ 80600 h 147767"/>
              <a:gd name="connsiteX15" fmla="*/ 25076 w 152245"/>
              <a:gd name="connsiteY15" fmla="*/ 62689 h 147767"/>
              <a:gd name="connsiteX16" fmla="*/ 43883 w 152245"/>
              <a:gd name="connsiteY16" fmla="*/ 69406 h 147767"/>
              <a:gd name="connsiteX17" fmla="*/ 54182 w 152245"/>
              <a:gd name="connsiteY17" fmla="*/ 101199 h 147767"/>
              <a:gd name="connsiteX18" fmla="*/ 42539 w 152245"/>
              <a:gd name="connsiteY18" fmla="*/ 118214 h 147767"/>
              <a:gd name="connsiteX19" fmla="*/ 4478 w 152245"/>
              <a:gd name="connsiteY19" fmla="*/ 74332 h 147767"/>
              <a:gd name="connsiteX20" fmla="*/ 17016 w 152245"/>
              <a:gd name="connsiteY20" fmla="*/ 35375 h 147767"/>
              <a:gd name="connsiteX21" fmla="*/ 21941 w 152245"/>
              <a:gd name="connsiteY21" fmla="*/ 59107 h 147767"/>
              <a:gd name="connsiteX22" fmla="*/ 4478 w 152245"/>
              <a:gd name="connsiteY22" fmla="*/ 74332 h 147767"/>
              <a:gd name="connsiteX23" fmla="*/ 58660 w 152245"/>
              <a:gd name="connsiteY23" fmla="*/ 98960 h 147767"/>
              <a:gd name="connsiteX24" fmla="*/ 48361 w 152245"/>
              <a:gd name="connsiteY24" fmla="*/ 68063 h 147767"/>
              <a:gd name="connsiteX25" fmla="*/ 75228 w 152245"/>
              <a:gd name="connsiteY25" fmla="*/ 48808 h 147767"/>
              <a:gd name="connsiteX26" fmla="*/ 102094 w 152245"/>
              <a:gd name="connsiteY26" fmla="*/ 68063 h 147767"/>
              <a:gd name="connsiteX27" fmla="*/ 91795 w 152245"/>
              <a:gd name="connsiteY27" fmla="*/ 98960 h 147767"/>
              <a:gd name="connsiteX28" fmla="*/ 58660 w 152245"/>
              <a:gd name="connsiteY28" fmla="*/ 98960 h 147767"/>
              <a:gd name="connsiteX29" fmla="*/ 129857 w 152245"/>
              <a:gd name="connsiteY29" fmla="*/ 59555 h 147767"/>
              <a:gd name="connsiteX30" fmla="*/ 134782 w 152245"/>
              <a:gd name="connsiteY30" fmla="*/ 35375 h 147767"/>
              <a:gd name="connsiteX31" fmla="*/ 147768 w 152245"/>
              <a:gd name="connsiteY31" fmla="*/ 74780 h 147767"/>
              <a:gd name="connsiteX32" fmla="*/ 129857 w 152245"/>
              <a:gd name="connsiteY32" fmla="*/ 59555 h 147767"/>
              <a:gd name="connsiteX33" fmla="*/ 131200 w 152245"/>
              <a:gd name="connsiteY33" fmla="*/ 30449 h 147767"/>
              <a:gd name="connsiteX34" fmla="*/ 125379 w 152245"/>
              <a:gd name="connsiteY34" fmla="*/ 58211 h 147767"/>
              <a:gd name="connsiteX35" fmla="*/ 105229 w 152245"/>
              <a:gd name="connsiteY35" fmla="*/ 64480 h 147767"/>
              <a:gd name="connsiteX36" fmla="*/ 77466 w 152245"/>
              <a:gd name="connsiteY36" fmla="*/ 44330 h 147767"/>
              <a:gd name="connsiteX37" fmla="*/ 78810 w 152245"/>
              <a:gd name="connsiteY37" fmla="*/ 22837 h 147767"/>
              <a:gd name="connsiteX38" fmla="*/ 102990 w 152245"/>
              <a:gd name="connsiteY38" fmla="*/ 9403 h 147767"/>
              <a:gd name="connsiteX39" fmla="*/ 131200 w 152245"/>
              <a:gd name="connsiteY39" fmla="*/ 30449 h 147767"/>
              <a:gd name="connsiteX40" fmla="*/ 97169 w 152245"/>
              <a:gd name="connsiteY40" fmla="*/ 7612 h 147767"/>
              <a:gd name="connsiteX41" fmla="*/ 76571 w 152245"/>
              <a:gd name="connsiteY41" fmla="*/ 19255 h 147767"/>
              <a:gd name="connsiteX42" fmla="*/ 55973 w 152245"/>
              <a:gd name="connsiteY42" fmla="*/ 7164 h 147767"/>
              <a:gd name="connsiteX43" fmla="*/ 76123 w 152245"/>
              <a:gd name="connsiteY43" fmla="*/ 4030 h 147767"/>
              <a:gd name="connsiteX44" fmla="*/ 97169 w 152245"/>
              <a:gd name="connsiteY44" fmla="*/ 7612 h 147767"/>
              <a:gd name="connsiteX45" fmla="*/ 50152 w 152245"/>
              <a:gd name="connsiteY45" fmla="*/ 9403 h 147767"/>
              <a:gd name="connsiteX46" fmla="*/ 73884 w 152245"/>
              <a:gd name="connsiteY46" fmla="*/ 23285 h 147767"/>
              <a:gd name="connsiteX47" fmla="*/ 72541 w 152245"/>
              <a:gd name="connsiteY47" fmla="*/ 44778 h 147767"/>
              <a:gd name="connsiteX48" fmla="*/ 44778 w 152245"/>
              <a:gd name="connsiteY48" fmla="*/ 64480 h 147767"/>
              <a:gd name="connsiteX49" fmla="*/ 25972 w 152245"/>
              <a:gd name="connsiteY49" fmla="*/ 58211 h 147767"/>
              <a:gd name="connsiteX50" fmla="*/ 20150 w 152245"/>
              <a:gd name="connsiteY50" fmla="*/ 30897 h 147767"/>
              <a:gd name="connsiteX51" fmla="*/ 50152 w 152245"/>
              <a:gd name="connsiteY51" fmla="*/ 9403 h 147767"/>
              <a:gd name="connsiteX52" fmla="*/ 17464 w 152245"/>
              <a:gd name="connsiteY52" fmla="*/ 117319 h 147767"/>
              <a:gd name="connsiteX53" fmla="*/ 42092 w 152245"/>
              <a:gd name="connsiteY53" fmla="*/ 122244 h 147767"/>
              <a:gd name="connsiteX54" fmla="*/ 52391 w 152245"/>
              <a:gd name="connsiteY54" fmla="*/ 143738 h 147767"/>
              <a:gd name="connsiteX55" fmla="*/ 17464 w 152245"/>
              <a:gd name="connsiteY55" fmla="*/ 117319 h 147767"/>
              <a:gd name="connsiteX56" fmla="*/ 58212 w 152245"/>
              <a:gd name="connsiteY56" fmla="*/ 145529 h 147767"/>
              <a:gd name="connsiteX57" fmla="*/ 46122 w 152245"/>
              <a:gd name="connsiteY57" fmla="*/ 120901 h 147767"/>
              <a:gd name="connsiteX58" fmla="*/ 58212 w 152245"/>
              <a:gd name="connsiteY58" fmla="*/ 103438 h 147767"/>
              <a:gd name="connsiteX59" fmla="*/ 92243 w 152245"/>
              <a:gd name="connsiteY59" fmla="*/ 103438 h 147767"/>
              <a:gd name="connsiteX60" fmla="*/ 104781 w 152245"/>
              <a:gd name="connsiteY60" fmla="*/ 120901 h 147767"/>
              <a:gd name="connsiteX61" fmla="*/ 91795 w 152245"/>
              <a:gd name="connsiteY61" fmla="*/ 145977 h 147767"/>
              <a:gd name="connsiteX62" fmla="*/ 76123 w 152245"/>
              <a:gd name="connsiteY62" fmla="*/ 147768 h 147767"/>
              <a:gd name="connsiteX63" fmla="*/ 58212 w 152245"/>
              <a:gd name="connsiteY63" fmla="*/ 145529 h 147767"/>
              <a:gd name="connsiteX64" fmla="*/ 97617 w 152245"/>
              <a:gd name="connsiteY64" fmla="*/ 144633 h 147767"/>
              <a:gd name="connsiteX65" fmla="*/ 108811 w 152245"/>
              <a:gd name="connsiteY65" fmla="*/ 122692 h 147767"/>
              <a:gd name="connsiteX66" fmla="*/ 135678 w 152245"/>
              <a:gd name="connsiteY66" fmla="*/ 115975 h 147767"/>
              <a:gd name="connsiteX67" fmla="*/ 97617 w 152245"/>
              <a:gd name="connsiteY67" fmla="*/ 144633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2245" h="147767">
                <a:moveTo>
                  <a:pt x="76123" y="0"/>
                </a:moveTo>
                <a:cubicBezTo>
                  <a:pt x="34032" y="0"/>
                  <a:pt x="0" y="34032"/>
                  <a:pt x="0" y="76123"/>
                </a:cubicBezTo>
                <a:cubicBezTo>
                  <a:pt x="0" y="118214"/>
                  <a:pt x="34032" y="152246"/>
                  <a:pt x="76123" y="152246"/>
                </a:cubicBezTo>
                <a:cubicBezTo>
                  <a:pt x="118215" y="152246"/>
                  <a:pt x="152246" y="118214"/>
                  <a:pt x="152246" y="76123"/>
                </a:cubicBezTo>
                <a:cubicBezTo>
                  <a:pt x="152246" y="34032"/>
                  <a:pt x="118215" y="0"/>
                  <a:pt x="76123" y="0"/>
                </a:cubicBezTo>
                <a:close/>
                <a:moveTo>
                  <a:pt x="138812" y="110602"/>
                </a:moveTo>
                <a:lnTo>
                  <a:pt x="107915" y="118214"/>
                </a:lnTo>
                <a:lnTo>
                  <a:pt x="95378" y="100751"/>
                </a:lnTo>
                <a:lnTo>
                  <a:pt x="105676" y="69406"/>
                </a:lnTo>
                <a:lnTo>
                  <a:pt x="126722" y="62689"/>
                </a:lnTo>
                <a:lnTo>
                  <a:pt x="147320" y="80600"/>
                </a:lnTo>
                <a:cubicBezTo>
                  <a:pt x="146873" y="91347"/>
                  <a:pt x="143738" y="101647"/>
                  <a:pt x="138812" y="110602"/>
                </a:cubicBezTo>
                <a:close/>
                <a:moveTo>
                  <a:pt x="42539" y="118214"/>
                </a:moveTo>
                <a:lnTo>
                  <a:pt x="13881" y="112393"/>
                </a:lnTo>
                <a:cubicBezTo>
                  <a:pt x="8508" y="102990"/>
                  <a:pt x="4926" y="92243"/>
                  <a:pt x="4478" y="80600"/>
                </a:cubicBezTo>
                <a:lnTo>
                  <a:pt x="25076" y="62689"/>
                </a:lnTo>
                <a:lnTo>
                  <a:pt x="43883" y="69406"/>
                </a:lnTo>
                <a:lnTo>
                  <a:pt x="54182" y="101199"/>
                </a:lnTo>
                <a:lnTo>
                  <a:pt x="42539" y="118214"/>
                </a:lnTo>
                <a:close/>
                <a:moveTo>
                  <a:pt x="4478" y="74332"/>
                </a:moveTo>
                <a:cubicBezTo>
                  <a:pt x="4926" y="60003"/>
                  <a:pt x="9404" y="46569"/>
                  <a:pt x="17016" y="35375"/>
                </a:cubicBezTo>
                <a:lnTo>
                  <a:pt x="21941" y="59107"/>
                </a:lnTo>
                <a:lnTo>
                  <a:pt x="4478" y="74332"/>
                </a:lnTo>
                <a:close/>
                <a:moveTo>
                  <a:pt x="58660" y="98960"/>
                </a:moveTo>
                <a:lnTo>
                  <a:pt x="48361" y="68063"/>
                </a:lnTo>
                <a:lnTo>
                  <a:pt x="75228" y="48808"/>
                </a:lnTo>
                <a:lnTo>
                  <a:pt x="102094" y="68063"/>
                </a:lnTo>
                <a:lnTo>
                  <a:pt x="91795" y="98960"/>
                </a:lnTo>
                <a:lnTo>
                  <a:pt x="58660" y="98960"/>
                </a:lnTo>
                <a:close/>
                <a:moveTo>
                  <a:pt x="129857" y="59555"/>
                </a:moveTo>
                <a:lnTo>
                  <a:pt x="134782" y="35375"/>
                </a:lnTo>
                <a:cubicBezTo>
                  <a:pt x="142843" y="46569"/>
                  <a:pt x="147320" y="60003"/>
                  <a:pt x="147768" y="74780"/>
                </a:cubicBezTo>
                <a:lnTo>
                  <a:pt x="129857" y="59555"/>
                </a:lnTo>
                <a:close/>
                <a:moveTo>
                  <a:pt x="131200" y="30449"/>
                </a:moveTo>
                <a:lnTo>
                  <a:pt x="125379" y="58211"/>
                </a:lnTo>
                <a:lnTo>
                  <a:pt x="105229" y="64480"/>
                </a:lnTo>
                <a:lnTo>
                  <a:pt x="77466" y="44330"/>
                </a:lnTo>
                <a:lnTo>
                  <a:pt x="78810" y="22837"/>
                </a:lnTo>
                <a:lnTo>
                  <a:pt x="102990" y="9403"/>
                </a:lnTo>
                <a:cubicBezTo>
                  <a:pt x="113737" y="14329"/>
                  <a:pt x="123588" y="21493"/>
                  <a:pt x="131200" y="30449"/>
                </a:cubicBezTo>
                <a:close/>
                <a:moveTo>
                  <a:pt x="97169" y="7612"/>
                </a:moveTo>
                <a:lnTo>
                  <a:pt x="76571" y="19255"/>
                </a:lnTo>
                <a:lnTo>
                  <a:pt x="55973" y="7164"/>
                </a:lnTo>
                <a:cubicBezTo>
                  <a:pt x="62242" y="5373"/>
                  <a:pt x="68959" y="4030"/>
                  <a:pt x="76123" y="4030"/>
                </a:cubicBezTo>
                <a:cubicBezTo>
                  <a:pt x="83288" y="4478"/>
                  <a:pt x="90452" y="5821"/>
                  <a:pt x="97169" y="7612"/>
                </a:cubicBezTo>
                <a:close/>
                <a:moveTo>
                  <a:pt x="50152" y="9403"/>
                </a:moveTo>
                <a:lnTo>
                  <a:pt x="73884" y="23285"/>
                </a:lnTo>
                <a:lnTo>
                  <a:pt x="72541" y="44778"/>
                </a:lnTo>
                <a:lnTo>
                  <a:pt x="44778" y="64480"/>
                </a:lnTo>
                <a:lnTo>
                  <a:pt x="25972" y="58211"/>
                </a:lnTo>
                <a:lnTo>
                  <a:pt x="20150" y="30897"/>
                </a:lnTo>
                <a:cubicBezTo>
                  <a:pt x="28210" y="21046"/>
                  <a:pt x="38509" y="13881"/>
                  <a:pt x="50152" y="9403"/>
                </a:cubicBezTo>
                <a:close/>
                <a:moveTo>
                  <a:pt x="17464" y="117319"/>
                </a:moveTo>
                <a:lnTo>
                  <a:pt x="42092" y="122244"/>
                </a:lnTo>
                <a:lnTo>
                  <a:pt x="52391" y="143738"/>
                </a:lnTo>
                <a:cubicBezTo>
                  <a:pt x="38061" y="138812"/>
                  <a:pt x="25972" y="129409"/>
                  <a:pt x="17464" y="117319"/>
                </a:cubicBezTo>
                <a:close/>
                <a:moveTo>
                  <a:pt x="58212" y="145529"/>
                </a:moveTo>
                <a:lnTo>
                  <a:pt x="46122" y="120901"/>
                </a:lnTo>
                <a:lnTo>
                  <a:pt x="58212" y="103438"/>
                </a:lnTo>
                <a:lnTo>
                  <a:pt x="92243" y="103438"/>
                </a:lnTo>
                <a:lnTo>
                  <a:pt x="104781" y="120901"/>
                </a:lnTo>
                <a:lnTo>
                  <a:pt x="91795" y="145977"/>
                </a:lnTo>
                <a:cubicBezTo>
                  <a:pt x="86870" y="147320"/>
                  <a:pt x="81496" y="147768"/>
                  <a:pt x="76123" y="147768"/>
                </a:cubicBezTo>
                <a:cubicBezTo>
                  <a:pt x="69854" y="147768"/>
                  <a:pt x="64033" y="146872"/>
                  <a:pt x="58212" y="145529"/>
                </a:cubicBezTo>
                <a:close/>
                <a:moveTo>
                  <a:pt x="97617" y="144633"/>
                </a:moveTo>
                <a:lnTo>
                  <a:pt x="108811" y="122692"/>
                </a:lnTo>
                <a:lnTo>
                  <a:pt x="135678" y="115975"/>
                </a:lnTo>
                <a:cubicBezTo>
                  <a:pt x="126722" y="129409"/>
                  <a:pt x="113289" y="139708"/>
                  <a:pt x="97617" y="144633"/>
                </a:cubicBezTo>
                <a:close/>
              </a:path>
            </a:pathLst>
          </a:custGeom>
          <a:solidFill>
            <a:srgbClr val="231F20"/>
          </a:solidFill>
          <a:ln w="4474" cap="flat">
            <a:noFill/>
            <a:prstDash val="solid"/>
            <a:miter/>
          </a:ln>
        </p:spPr>
        <p:txBody>
          <a:bodyPr rtlCol="0" anchor="ctr"/>
          <a:lstStyle/>
          <a:p>
            <a:endParaRPr lang="en-US"/>
          </a:p>
        </p:txBody>
      </p:sp>
      <p:grpSp>
        <p:nvGrpSpPr>
          <p:cNvPr id="4788" name="Group 4787">
            <a:extLst>
              <a:ext uri="{FF2B5EF4-FFF2-40B4-BE49-F238E27FC236}">
                <a16:creationId xmlns:a16="http://schemas.microsoft.com/office/drawing/2014/main" id="{E3C1AF3B-C9BD-48E0-9205-01E1B48E6616}"/>
              </a:ext>
              <a:ext uri="{C183D7F6-B498-43B3-948B-1728B52AA6E4}">
                <adec:decorative xmlns:adec="http://schemas.microsoft.com/office/drawing/2017/decorative" val="1"/>
              </a:ext>
            </a:extLst>
          </p:cNvPr>
          <p:cNvGrpSpPr>
            <a:grpSpLocks noChangeAspect="1"/>
          </p:cNvGrpSpPr>
          <p:nvPr/>
        </p:nvGrpSpPr>
        <p:grpSpPr>
          <a:xfrm>
            <a:off x="11375203" y="2078616"/>
            <a:ext cx="111945" cy="147768"/>
            <a:chOff x="5594550" y="5537802"/>
            <a:chExt cx="111945" cy="147768"/>
          </a:xfrm>
        </p:grpSpPr>
        <p:sp>
          <p:nvSpPr>
            <p:cNvPr id="4789" name="Freeform: Shape 4788">
              <a:extLst>
                <a:ext uri="{FF2B5EF4-FFF2-40B4-BE49-F238E27FC236}">
                  <a16:creationId xmlns:a16="http://schemas.microsoft.com/office/drawing/2014/main" id="{DB73BB7A-9FD8-4899-B261-B50BDB3C64EB}"/>
                </a:ext>
              </a:extLst>
            </p:cNvPr>
            <p:cNvSpPr/>
            <p:nvPr/>
          </p:nvSpPr>
          <p:spPr>
            <a:xfrm>
              <a:off x="5607984" y="5537802"/>
              <a:ext cx="85079" cy="107468"/>
            </a:xfrm>
            <a:custGeom>
              <a:avLst/>
              <a:gdLst>
                <a:gd name="connsiteX0" fmla="*/ 42539 w 85078"/>
                <a:gd name="connsiteY0" fmla="*/ 111945 h 107467"/>
                <a:gd name="connsiteX1" fmla="*/ 85079 w 85078"/>
                <a:gd name="connsiteY1" fmla="*/ 73884 h 107467"/>
                <a:gd name="connsiteX2" fmla="*/ 85079 w 85078"/>
                <a:gd name="connsiteY2" fmla="*/ 38061 h 107467"/>
                <a:gd name="connsiteX3" fmla="*/ 42539 w 85078"/>
                <a:gd name="connsiteY3" fmla="*/ 0 h 107467"/>
                <a:gd name="connsiteX4" fmla="*/ 0 w 85078"/>
                <a:gd name="connsiteY4" fmla="*/ 38061 h 107467"/>
                <a:gd name="connsiteX5" fmla="*/ 0 w 85078"/>
                <a:gd name="connsiteY5" fmla="*/ 73884 h 107467"/>
                <a:gd name="connsiteX6" fmla="*/ 42539 w 85078"/>
                <a:gd name="connsiteY6" fmla="*/ 111945 h 107467"/>
                <a:gd name="connsiteX7" fmla="*/ 4478 w 85078"/>
                <a:gd name="connsiteY7" fmla="*/ 38061 h 107467"/>
                <a:gd name="connsiteX8" fmla="*/ 42539 w 85078"/>
                <a:gd name="connsiteY8" fmla="*/ 4478 h 107467"/>
                <a:gd name="connsiteX9" fmla="*/ 80601 w 85078"/>
                <a:gd name="connsiteY9" fmla="*/ 38061 h 107467"/>
                <a:gd name="connsiteX10" fmla="*/ 80601 w 85078"/>
                <a:gd name="connsiteY10" fmla="*/ 73884 h 107467"/>
                <a:gd name="connsiteX11" fmla="*/ 42539 w 85078"/>
                <a:gd name="connsiteY11" fmla="*/ 107467 h 107467"/>
                <a:gd name="connsiteX12" fmla="*/ 4478 w 85078"/>
                <a:gd name="connsiteY12" fmla="*/ 73884 h 107467"/>
                <a:gd name="connsiteX13" fmla="*/ 4478 w 85078"/>
                <a:gd name="connsiteY13" fmla="*/ 38061 h 1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078" h="107467">
                  <a:moveTo>
                    <a:pt x="42539" y="111945"/>
                  </a:moveTo>
                  <a:cubicBezTo>
                    <a:pt x="65824" y="111945"/>
                    <a:pt x="85079" y="94930"/>
                    <a:pt x="85079" y="73884"/>
                  </a:cubicBezTo>
                  <a:lnTo>
                    <a:pt x="85079" y="38061"/>
                  </a:lnTo>
                  <a:cubicBezTo>
                    <a:pt x="85079" y="17016"/>
                    <a:pt x="65824" y="0"/>
                    <a:pt x="42539" y="0"/>
                  </a:cubicBezTo>
                  <a:cubicBezTo>
                    <a:pt x="19255" y="0"/>
                    <a:pt x="0" y="17016"/>
                    <a:pt x="0" y="38061"/>
                  </a:cubicBezTo>
                  <a:lnTo>
                    <a:pt x="0" y="73884"/>
                  </a:lnTo>
                  <a:cubicBezTo>
                    <a:pt x="0" y="94930"/>
                    <a:pt x="18807" y="111945"/>
                    <a:pt x="42539" y="111945"/>
                  </a:cubicBezTo>
                  <a:close/>
                  <a:moveTo>
                    <a:pt x="4478" y="38061"/>
                  </a:moveTo>
                  <a:cubicBezTo>
                    <a:pt x="4478" y="19702"/>
                    <a:pt x="21494" y="4478"/>
                    <a:pt x="42539" y="4478"/>
                  </a:cubicBezTo>
                  <a:cubicBezTo>
                    <a:pt x="63585" y="4478"/>
                    <a:pt x="80601" y="19702"/>
                    <a:pt x="80601" y="38061"/>
                  </a:cubicBezTo>
                  <a:lnTo>
                    <a:pt x="80601" y="73884"/>
                  </a:lnTo>
                  <a:cubicBezTo>
                    <a:pt x="80601" y="92243"/>
                    <a:pt x="63585" y="107467"/>
                    <a:pt x="42539" y="107467"/>
                  </a:cubicBezTo>
                  <a:cubicBezTo>
                    <a:pt x="21494" y="107467"/>
                    <a:pt x="4478" y="92243"/>
                    <a:pt x="4478" y="73884"/>
                  </a:cubicBezTo>
                  <a:lnTo>
                    <a:pt x="4478" y="38061"/>
                  </a:lnTo>
                  <a:close/>
                </a:path>
              </a:pathLst>
            </a:custGeom>
            <a:solidFill>
              <a:srgbClr val="231F20"/>
            </a:solidFill>
            <a:ln w="4474" cap="flat">
              <a:noFill/>
              <a:prstDash val="solid"/>
              <a:miter/>
            </a:ln>
          </p:spPr>
          <p:txBody>
            <a:bodyPr rtlCol="0" anchor="ctr"/>
            <a:lstStyle/>
            <a:p>
              <a:endParaRPr lang="en-US"/>
            </a:p>
          </p:txBody>
        </p:sp>
        <p:sp>
          <p:nvSpPr>
            <p:cNvPr id="4790" name="Freeform: Shape 4789">
              <a:extLst>
                <a:ext uri="{FF2B5EF4-FFF2-40B4-BE49-F238E27FC236}">
                  <a16:creationId xmlns:a16="http://schemas.microsoft.com/office/drawing/2014/main" id="{DD239E49-559A-430E-98D2-4AEA739D8CE6}"/>
                </a:ext>
              </a:extLst>
            </p:cNvPr>
            <p:cNvSpPr/>
            <p:nvPr/>
          </p:nvSpPr>
          <p:spPr>
            <a:xfrm>
              <a:off x="5594550" y="5604969"/>
              <a:ext cx="111945" cy="80601"/>
            </a:xfrm>
            <a:custGeom>
              <a:avLst/>
              <a:gdLst>
                <a:gd name="connsiteX0" fmla="*/ 109707 w 111945"/>
                <a:gd name="connsiteY0" fmla="*/ 0 h 80600"/>
                <a:gd name="connsiteX1" fmla="*/ 107468 w 111945"/>
                <a:gd name="connsiteY1" fmla="*/ 2239 h 80600"/>
                <a:gd name="connsiteX2" fmla="*/ 107468 w 111945"/>
                <a:gd name="connsiteY2" fmla="*/ 8060 h 80600"/>
                <a:gd name="connsiteX3" fmla="*/ 55973 w 111945"/>
                <a:gd name="connsiteY3" fmla="*/ 53734 h 80600"/>
                <a:gd name="connsiteX4" fmla="*/ 4478 w 111945"/>
                <a:gd name="connsiteY4" fmla="*/ 8060 h 80600"/>
                <a:gd name="connsiteX5" fmla="*/ 4478 w 111945"/>
                <a:gd name="connsiteY5" fmla="*/ 2239 h 80600"/>
                <a:gd name="connsiteX6" fmla="*/ 2239 w 111945"/>
                <a:gd name="connsiteY6" fmla="*/ 0 h 80600"/>
                <a:gd name="connsiteX7" fmla="*/ 0 w 111945"/>
                <a:gd name="connsiteY7" fmla="*/ 2239 h 80600"/>
                <a:gd name="connsiteX8" fmla="*/ 0 w 111945"/>
                <a:gd name="connsiteY8" fmla="*/ 8060 h 80600"/>
                <a:gd name="connsiteX9" fmla="*/ 53734 w 111945"/>
                <a:gd name="connsiteY9" fmla="*/ 57764 h 80600"/>
                <a:gd name="connsiteX10" fmla="*/ 53734 w 111945"/>
                <a:gd name="connsiteY10" fmla="*/ 82392 h 80600"/>
                <a:gd name="connsiteX11" fmla="*/ 55973 w 111945"/>
                <a:gd name="connsiteY11" fmla="*/ 84631 h 80600"/>
                <a:gd name="connsiteX12" fmla="*/ 58212 w 111945"/>
                <a:gd name="connsiteY12" fmla="*/ 82392 h 80600"/>
                <a:gd name="connsiteX13" fmla="*/ 58212 w 111945"/>
                <a:gd name="connsiteY13" fmla="*/ 57764 h 80600"/>
                <a:gd name="connsiteX14" fmla="*/ 111945 w 111945"/>
                <a:gd name="connsiteY14" fmla="*/ 8060 h 80600"/>
                <a:gd name="connsiteX15" fmla="*/ 111945 w 111945"/>
                <a:gd name="connsiteY15" fmla="*/ 2239 h 80600"/>
                <a:gd name="connsiteX16" fmla="*/ 109707 w 111945"/>
                <a:gd name="connsiteY16" fmla="*/ 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1945" h="80600">
                  <a:moveTo>
                    <a:pt x="109707" y="0"/>
                  </a:moveTo>
                  <a:cubicBezTo>
                    <a:pt x="108363" y="0"/>
                    <a:pt x="107468" y="896"/>
                    <a:pt x="107468" y="2239"/>
                  </a:cubicBezTo>
                  <a:lnTo>
                    <a:pt x="107468" y="8060"/>
                  </a:lnTo>
                  <a:cubicBezTo>
                    <a:pt x="107468" y="33136"/>
                    <a:pt x="84183" y="53734"/>
                    <a:pt x="55973" y="53734"/>
                  </a:cubicBezTo>
                  <a:cubicBezTo>
                    <a:pt x="27762" y="53734"/>
                    <a:pt x="4478" y="33136"/>
                    <a:pt x="4478" y="8060"/>
                  </a:cubicBezTo>
                  <a:lnTo>
                    <a:pt x="4478" y="2239"/>
                  </a:lnTo>
                  <a:cubicBezTo>
                    <a:pt x="4478" y="896"/>
                    <a:pt x="3582" y="0"/>
                    <a:pt x="2239" y="0"/>
                  </a:cubicBezTo>
                  <a:cubicBezTo>
                    <a:pt x="895" y="0"/>
                    <a:pt x="0" y="896"/>
                    <a:pt x="0" y="2239"/>
                  </a:cubicBezTo>
                  <a:lnTo>
                    <a:pt x="0" y="8060"/>
                  </a:lnTo>
                  <a:cubicBezTo>
                    <a:pt x="0" y="34927"/>
                    <a:pt x="23733" y="56869"/>
                    <a:pt x="53734" y="57764"/>
                  </a:cubicBezTo>
                  <a:lnTo>
                    <a:pt x="53734" y="82392"/>
                  </a:lnTo>
                  <a:cubicBezTo>
                    <a:pt x="53734" y="83736"/>
                    <a:pt x="54629" y="84631"/>
                    <a:pt x="55973" y="84631"/>
                  </a:cubicBezTo>
                  <a:cubicBezTo>
                    <a:pt x="57316" y="84631"/>
                    <a:pt x="58212" y="83736"/>
                    <a:pt x="58212" y="82392"/>
                  </a:cubicBezTo>
                  <a:lnTo>
                    <a:pt x="58212" y="57764"/>
                  </a:lnTo>
                  <a:cubicBezTo>
                    <a:pt x="88213" y="56869"/>
                    <a:pt x="111945" y="34927"/>
                    <a:pt x="111945" y="8060"/>
                  </a:cubicBezTo>
                  <a:lnTo>
                    <a:pt x="111945" y="2239"/>
                  </a:lnTo>
                  <a:cubicBezTo>
                    <a:pt x="111945" y="896"/>
                    <a:pt x="110602" y="0"/>
                    <a:pt x="109707" y="0"/>
                  </a:cubicBezTo>
                  <a:close/>
                </a:path>
              </a:pathLst>
            </a:custGeom>
            <a:solidFill>
              <a:srgbClr val="231F20"/>
            </a:solidFill>
            <a:ln w="4474" cap="flat">
              <a:noFill/>
              <a:prstDash val="solid"/>
              <a:miter/>
            </a:ln>
          </p:spPr>
          <p:txBody>
            <a:bodyPr rtlCol="0" anchor="ctr"/>
            <a:lstStyle/>
            <a:p>
              <a:endParaRPr lang="en-US"/>
            </a:p>
          </p:txBody>
        </p:sp>
      </p:grpSp>
      <p:grpSp>
        <p:nvGrpSpPr>
          <p:cNvPr id="4791" name="Group 4790">
            <a:extLst>
              <a:ext uri="{FF2B5EF4-FFF2-40B4-BE49-F238E27FC236}">
                <a16:creationId xmlns:a16="http://schemas.microsoft.com/office/drawing/2014/main" id="{28030C37-A53E-49BD-B248-5D2565B8171D}"/>
              </a:ext>
              <a:ext uri="{C183D7F6-B498-43B3-948B-1728B52AA6E4}">
                <adec:decorative xmlns:adec="http://schemas.microsoft.com/office/drawing/2017/decorative" val="1"/>
              </a:ext>
            </a:extLst>
          </p:cNvPr>
          <p:cNvGrpSpPr>
            <a:grpSpLocks noChangeAspect="1"/>
          </p:cNvGrpSpPr>
          <p:nvPr/>
        </p:nvGrpSpPr>
        <p:grpSpPr>
          <a:xfrm>
            <a:off x="6379302" y="2440872"/>
            <a:ext cx="120901" cy="125379"/>
            <a:chOff x="598649" y="5900058"/>
            <a:chExt cx="120901" cy="125379"/>
          </a:xfrm>
        </p:grpSpPr>
        <p:sp>
          <p:nvSpPr>
            <p:cNvPr id="4792" name="Freeform: Shape 4791">
              <a:extLst>
                <a:ext uri="{FF2B5EF4-FFF2-40B4-BE49-F238E27FC236}">
                  <a16:creationId xmlns:a16="http://schemas.microsoft.com/office/drawing/2014/main" id="{10FCE744-34DE-42A2-AB84-EB01D7267432}"/>
                </a:ext>
              </a:extLst>
            </p:cNvPr>
            <p:cNvSpPr/>
            <p:nvPr/>
          </p:nvSpPr>
          <p:spPr>
            <a:xfrm>
              <a:off x="598649" y="5900058"/>
              <a:ext cx="120901" cy="125379"/>
            </a:xfrm>
            <a:custGeom>
              <a:avLst/>
              <a:gdLst>
                <a:gd name="connsiteX0" fmla="*/ 109707 w 120901"/>
                <a:gd name="connsiteY0" fmla="*/ 125379 h 125378"/>
                <a:gd name="connsiteX1" fmla="*/ 15672 w 120901"/>
                <a:gd name="connsiteY1" fmla="*/ 125379 h 125378"/>
                <a:gd name="connsiteX2" fmla="*/ 0 w 120901"/>
                <a:gd name="connsiteY2" fmla="*/ 109707 h 125378"/>
                <a:gd name="connsiteX3" fmla="*/ 0 w 120901"/>
                <a:gd name="connsiteY3" fmla="*/ 15672 h 125378"/>
                <a:gd name="connsiteX4" fmla="*/ 15672 w 120901"/>
                <a:gd name="connsiteY4" fmla="*/ 0 h 125378"/>
                <a:gd name="connsiteX5" fmla="*/ 109707 w 120901"/>
                <a:gd name="connsiteY5" fmla="*/ 0 h 125378"/>
                <a:gd name="connsiteX6" fmla="*/ 125379 w 120901"/>
                <a:gd name="connsiteY6" fmla="*/ 15672 h 125378"/>
                <a:gd name="connsiteX7" fmla="*/ 125379 w 120901"/>
                <a:gd name="connsiteY7" fmla="*/ 109707 h 125378"/>
                <a:gd name="connsiteX8" fmla="*/ 109707 w 120901"/>
                <a:gd name="connsiteY8" fmla="*/ 125379 h 125378"/>
                <a:gd name="connsiteX9" fmla="*/ 15672 w 120901"/>
                <a:gd name="connsiteY9" fmla="*/ 4478 h 125378"/>
                <a:gd name="connsiteX10" fmla="*/ 4478 w 120901"/>
                <a:gd name="connsiteY10" fmla="*/ 15672 h 125378"/>
                <a:gd name="connsiteX11" fmla="*/ 4478 w 120901"/>
                <a:gd name="connsiteY11" fmla="*/ 109707 h 125378"/>
                <a:gd name="connsiteX12" fmla="*/ 15672 w 120901"/>
                <a:gd name="connsiteY12" fmla="*/ 120901 h 125378"/>
                <a:gd name="connsiteX13" fmla="*/ 109707 w 120901"/>
                <a:gd name="connsiteY13" fmla="*/ 120901 h 125378"/>
                <a:gd name="connsiteX14" fmla="*/ 120901 w 120901"/>
                <a:gd name="connsiteY14" fmla="*/ 109707 h 125378"/>
                <a:gd name="connsiteX15" fmla="*/ 120901 w 120901"/>
                <a:gd name="connsiteY15" fmla="*/ 15672 h 125378"/>
                <a:gd name="connsiteX16" fmla="*/ 109707 w 120901"/>
                <a:gd name="connsiteY16" fmla="*/ 4478 h 125378"/>
                <a:gd name="connsiteX17" fmla="*/ 15672 w 120901"/>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901" h="125378">
                  <a:moveTo>
                    <a:pt x="109707" y="125379"/>
                  </a:moveTo>
                  <a:lnTo>
                    <a:pt x="15672" y="125379"/>
                  </a:lnTo>
                  <a:cubicBezTo>
                    <a:pt x="7165" y="125379"/>
                    <a:pt x="0" y="118214"/>
                    <a:pt x="0" y="109707"/>
                  </a:cubicBezTo>
                  <a:lnTo>
                    <a:pt x="0" y="15672"/>
                  </a:lnTo>
                  <a:cubicBezTo>
                    <a:pt x="0" y="7164"/>
                    <a:pt x="7165" y="0"/>
                    <a:pt x="15672" y="0"/>
                  </a:cubicBezTo>
                  <a:lnTo>
                    <a:pt x="109707" y="0"/>
                  </a:lnTo>
                  <a:cubicBezTo>
                    <a:pt x="118214" y="0"/>
                    <a:pt x="125379" y="7164"/>
                    <a:pt x="125379" y="15672"/>
                  </a:cubicBezTo>
                  <a:lnTo>
                    <a:pt x="125379" y="109707"/>
                  </a:lnTo>
                  <a:cubicBezTo>
                    <a:pt x="125379" y="118214"/>
                    <a:pt x="118214" y="125379"/>
                    <a:pt x="109707" y="125379"/>
                  </a:cubicBezTo>
                  <a:close/>
                  <a:moveTo>
                    <a:pt x="15672" y="4478"/>
                  </a:moveTo>
                  <a:cubicBezTo>
                    <a:pt x="9403" y="4478"/>
                    <a:pt x="4478" y="9403"/>
                    <a:pt x="4478" y="15672"/>
                  </a:cubicBezTo>
                  <a:lnTo>
                    <a:pt x="4478" y="109707"/>
                  </a:lnTo>
                  <a:cubicBezTo>
                    <a:pt x="4478" y="115976"/>
                    <a:pt x="9403" y="120901"/>
                    <a:pt x="15672" y="120901"/>
                  </a:cubicBezTo>
                  <a:lnTo>
                    <a:pt x="109707" y="120901"/>
                  </a:lnTo>
                  <a:cubicBezTo>
                    <a:pt x="115975" y="120901"/>
                    <a:pt x="120901" y="115976"/>
                    <a:pt x="120901" y="109707"/>
                  </a:cubicBezTo>
                  <a:lnTo>
                    <a:pt x="120901" y="15672"/>
                  </a:lnTo>
                  <a:cubicBezTo>
                    <a:pt x="120901" y="9403"/>
                    <a:pt x="115975" y="4478"/>
                    <a:pt x="109707"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793" name="Freeform: Shape 4792">
              <a:extLst>
                <a:ext uri="{FF2B5EF4-FFF2-40B4-BE49-F238E27FC236}">
                  <a16:creationId xmlns:a16="http://schemas.microsoft.com/office/drawing/2014/main" id="{0B1A53A5-606C-47A3-90DE-15C9322F445B}"/>
                </a:ext>
              </a:extLst>
            </p:cNvPr>
            <p:cNvSpPr/>
            <p:nvPr/>
          </p:nvSpPr>
          <p:spPr>
            <a:xfrm>
              <a:off x="625516" y="5926925"/>
              <a:ext cx="67167" cy="71645"/>
            </a:xfrm>
            <a:custGeom>
              <a:avLst/>
              <a:gdLst>
                <a:gd name="connsiteX0" fmla="*/ 35823 w 67167"/>
                <a:gd name="connsiteY0" fmla="*/ 71645 h 71645"/>
                <a:gd name="connsiteX1" fmla="*/ 0 w 67167"/>
                <a:gd name="connsiteY1" fmla="*/ 35823 h 71645"/>
                <a:gd name="connsiteX2" fmla="*/ 35823 w 67167"/>
                <a:gd name="connsiteY2" fmla="*/ 0 h 71645"/>
                <a:gd name="connsiteX3" fmla="*/ 71645 w 67167"/>
                <a:gd name="connsiteY3" fmla="*/ 35823 h 71645"/>
                <a:gd name="connsiteX4" fmla="*/ 35823 w 67167"/>
                <a:gd name="connsiteY4" fmla="*/ 71645 h 71645"/>
                <a:gd name="connsiteX5" fmla="*/ 35823 w 67167"/>
                <a:gd name="connsiteY5" fmla="*/ 4478 h 71645"/>
                <a:gd name="connsiteX6" fmla="*/ 4478 w 67167"/>
                <a:gd name="connsiteY6" fmla="*/ 35823 h 71645"/>
                <a:gd name="connsiteX7" fmla="*/ 35823 w 67167"/>
                <a:gd name="connsiteY7" fmla="*/ 67167 h 71645"/>
                <a:gd name="connsiteX8" fmla="*/ 67167 w 67167"/>
                <a:gd name="connsiteY8" fmla="*/ 35823 h 71645"/>
                <a:gd name="connsiteX9" fmla="*/ 35823 w 67167"/>
                <a:gd name="connsiteY9" fmla="*/ 4478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167" h="71645">
                  <a:moveTo>
                    <a:pt x="35823" y="71645"/>
                  </a:moveTo>
                  <a:cubicBezTo>
                    <a:pt x="16120" y="71645"/>
                    <a:pt x="0" y="55525"/>
                    <a:pt x="0" y="35823"/>
                  </a:cubicBezTo>
                  <a:cubicBezTo>
                    <a:pt x="0" y="16120"/>
                    <a:pt x="16120" y="0"/>
                    <a:pt x="35823" y="0"/>
                  </a:cubicBezTo>
                  <a:cubicBezTo>
                    <a:pt x="55525" y="0"/>
                    <a:pt x="71645" y="16120"/>
                    <a:pt x="71645" y="35823"/>
                  </a:cubicBezTo>
                  <a:cubicBezTo>
                    <a:pt x="71645" y="55525"/>
                    <a:pt x="55525" y="71645"/>
                    <a:pt x="35823" y="71645"/>
                  </a:cubicBezTo>
                  <a:close/>
                  <a:moveTo>
                    <a:pt x="35823" y="4478"/>
                  </a:moveTo>
                  <a:cubicBezTo>
                    <a:pt x="18359" y="4478"/>
                    <a:pt x="4478" y="18359"/>
                    <a:pt x="4478" y="35823"/>
                  </a:cubicBezTo>
                  <a:cubicBezTo>
                    <a:pt x="4478" y="53286"/>
                    <a:pt x="18359" y="67167"/>
                    <a:pt x="35823" y="67167"/>
                  </a:cubicBezTo>
                  <a:cubicBezTo>
                    <a:pt x="53286" y="67167"/>
                    <a:pt x="67167" y="53286"/>
                    <a:pt x="67167" y="35823"/>
                  </a:cubicBezTo>
                  <a:cubicBezTo>
                    <a:pt x="67167" y="18359"/>
                    <a:pt x="52838" y="4478"/>
                    <a:pt x="35823" y="4478"/>
                  </a:cubicBezTo>
                  <a:close/>
                </a:path>
              </a:pathLst>
            </a:custGeom>
            <a:solidFill>
              <a:srgbClr val="231F20"/>
            </a:solidFill>
            <a:ln w="4474" cap="flat">
              <a:noFill/>
              <a:prstDash val="solid"/>
              <a:miter/>
            </a:ln>
          </p:spPr>
          <p:txBody>
            <a:bodyPr rtlCol="0" anchor="ctr"/>
            <a:lstStyle/>
            <a:p>
              <a:endParaRPr lang="en-US"/>
            </a:p>
          </p:txBody>
        </p:sp>
        <p:sp>
          <p:nvSpPr>
            <p:cNvPr id="4794" name="Freeform: Shape 4793">
              <a:extLst>
                <a:ext uri="{FF2B5EF4-FFF2-40B4-BE49-F238E27FC236}">
                  <a16:creationId xmlns:a16="http://schemas.microsoft.com/office/drawing/2014/main" id="{48A2B4AD-F94F-491F-9FB2-8F5B90C41D33}"/>
                </a:ext>
              </a:extLst>
            </p:cNvPr>
            <p:cNvSpPr/>
            <p:nvPr/>
          </p:nvSpPr>
          <p:spPr>
            <a:xfrm>
              <a:off x="692683" y="5913491"/>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6568" y="4478"/>
                    <a:pt x="15672" y="4478"/>
                  </a:cubicBezTo>
                  <a:close/>
                </a:path>
              </a:pathLst>
            </a:custGeom>
            <a:solidFill>
              <a:srgbClr val="231F20"/>
            </a:solidFill>
            <a:ln w="4474" cap="flat">
              <a:noFill/>
              <a:prstDash val="solid"/>
              <a:miter/>
            </a:ln>
          </p:spPr>
          <p:txBody>
            <a:bodyPr rtlCol="0" anchor="ctr"/>
            <a:lstStyle/>
            <a:p>
              <a:endParaRPr lang="en-US"/>
            </a:p>
          </p:txBody>
        </p:sp>
      </p:grpSp>
      <p:sp>
        <p:nvSpPr>
          <p:cNvPr id="4795" name="Freeform: Shape 4794">
            <a:extLst>
              <a:ext uri="{FF2B5EF4-FFF2-40B4-BE49-F238E27FC236}">
                <a16:creationId xmlns:a16="http://schemas.microsoft.com/office/drawing/2014/main" id="{975414AB-AFAD-46E7-B1AC-4C3A5132279E}"/>
              </a:ext>
              <a:ext uri="{C183D7F6-B498-43B3-948B-1728B52AA6E4}">
                <adec:decorative xmlns:adec="http://schemas.microsoft.com/office/drawing/2017/decorative" val="1"/>
              </a:ext>
            </a:extLst>
          </p:cNvPr>
          <p:cNvSpPr>
            <a:spLocks noChangeAspect="1"/>
          </p:cNvSpPr>
          <p:nvPr/>
        </p:nvSpPr>
        <p:spPr>
          <a:xfrm>
            <a:off x="6639015" y="2440872"/>
            <a:ext cx="125379" cy="125379"/>
          </a:xfrm>
          <a:custGeom>
            <a:avLst/>
            <a:gdLst>
              <a:gd name="connsiteX0" fmla="*/ 109707 w 125378"/>
              <a:gd name="connsiteY0" fmla="*/ 13433 h 125378"/>
              <a:gd name="connsiteX1" fmla="*/ 98512 w 125378"/>
              <a:gd name="connsiteY1" fmla="*/ 13433 h 125378"/>
              <a:gd name="connsiteX2" fmla="*/ 98512 w 125378"/>
              <a:gd name="connsiteY2" fmla="*/ 2239 h 125378"/>
              <a:gd name="connsiteX3" fmla="*/ 96273 w 125378"/>
              <a:gd name="connsiteY3" fmla="*/ 0 h 125378"/>
              <a:gd name="connsiteX4" fmla="*/ 94034 w 125378"/>
              <a:gd name="connsiteY4" fmla="*/ 2239 h 125378"/>
              <a:gd name="connsiteX5" fmla="*/ 94034 w 125378"/>
              <a:gd name="connsiteY5" fmla="*/ 13433 h 125378"/>
              <a:gd name="connsiteX6" fmla="*/ 31345 w 125378"/>
              <a:gd name="connsiteY6" fmla="*/ 13433 h 125378"/>
              <a:gd name="connsiteX7" fmla="*/ 31345 w 125378"/>
              <a:gd name="connsiteY7" fmla="*/ 2239 h 125378"/>
              <a:gd name="connsiteX8" fmla="*/ 29106 w 125378"/>
              <a:gd name="connsiteY8" fmla="*/ 0 h 125378"/>
              <a:gd name="connsiteX9" fmla="*/ 26867 w 125378"/>
              <a:gd name="connsiteY9" fmla="*/ 2239 h 125378"/>
              <a:gd name="connsiteX10" fmla="*/ 26867 w 125378"/>
              <a:gd name="connsiteY10" fmla="*/ 13433 h 125378"/>
              <a:gd name="connsiteX11" fmla="*/ 15672 w 125378"/>
              <a:gd name="connsiteY11" fmla="*/ 13433 h 125378"/>
              <a:gd name="connsiteX12" fmla="*/ 0 w 125378"/>
              <a:gd name="connsiteY12" fmla="*/ 29106 h 125378"/>
              <a:gd name="connsiteX13" fmla="*/ 0 w 125378"/>
              <a:gd name="connsiteY13" fmla="*/ 109707 h 125378"/>
              <a:gd name="connsiteX14" fmla="*/ 15672 w 125378"/>
              <a:gd name="connsiteY14" fmla="*/ 125379 h 125378"/>
              <a:gd name="connsiteX15" fmla="*/ 109707 w 125378"/>
              <a:gd name="connsiteY15" fmla="*/ 125379 h 125378"/>
              <a:gd name="connsiteX16" fmla="*/ 125379 w 125378"/>
              <a:gd name="connsiteY16" fmla="*/ 109707 h 125378"/>
              <a:gd name="connsiteX17" fmla="*/ 125379 w 125378"/>
              <a:gd name="connsiteY17" fmla="*/ 29106 h 125378"/>
              <a:gd name="connsiteX18" fmla="*/ 109707 w 125378"/>
              <a:gd name="connsiteY18" fmla="*/ 13433 h 125378"/>
              <a:gd name="connsiteX19" fmla="*/ 15672 w 125378"/>
              <a:gd name="connsiteY19" fmla="*/ 17911 h 125378"/>
              <a:gd name="connsiteX20" fmla="*/ 26867 w 125378"/>
              <a:gd name="connsiteY20" fmla="*/ 17911 h 125378"/>
              <a:gd name="connsiteX21" fmla="*/ 26867 w 125378"/>
              <a:gd name="connsiteY21" fmla="*/ 29106 h 125378"/>
              <a:gd name="connsiteX22" fmla="*/ 29106 w 125378"/>
              <a:gd name="connsiteY22" fmla="*/ 31345 h 125378"/>
              <a:gd name="connsiteX23" fmla="*/ 31345 w 125378"/>
              <a:gd name="connsiteY23" fmla="*/ 29106 h 125378"/>
              <a:gd name="connsiteX24" fmla="*/ 31345 w 125378"/>
              <a:gd name="connsiteY24" fmla="*/ 17911 h 125378"/>
              <a:gd name="connsiteX25" fmla="*/ 94034 w 125378"/>
              <a:gd name="connsiteY25" fmla="*/ 17911 h 125378"/>
              <a:gd name="connsiteX26" fmla="*/ 94034 w 125378"/>
              <a:gd name="connsiteY26" fmla="*/ 29106 h 125378"/>
              <a:gd name="connsiteX27" fmla="*/ 96273 w 125378"/>
              <a:gd name="connsiteY27" fmla="*/ 31345 h 125378"/>
              <a:gd name="connsiteX28" fmla="*/ 98512 w 125378"/>
              <a:gd name="connsiteY28" fmla="*/ 29106 h 125378"/>
              <a:gd name="connsiteX29" fmla="*/ 98512 w 125378"/>
              <a:gd name="connsiteY29" fmla="*/ 17911 h 125378"/>
              <a:gd name="connsiteX30" fmla="*/ 109707 w 125378"/>
              <a:gd name="connsiteY30" fmla="*/ 17911 h 125378"/>
              <a:gd name="connsiteX31" fmla="*/ 120901 w 125378"/>
              <a:gd name="connsiteY31" fmla="*/ 29106 h 125378"/>
              <a:gd name="connsiteX32" fmla="*/ 120901 w 125378"/>
              <a:gd name="connsiteY32" fmla="*/ 40300 h 125378"/>
              <a:gd name="connsiteX33" fmla="*/ 4478 w 125378"/>
              <a:gd name="connsiteY33" fmla="*/ 40300 h 125378"/>
              <a:gd name="connsiteX34" fmla="*/ 4478 w 125378"/>
              <a:gd name="connsiteY34" fmla="*/ 29106 h 125378"/>
              <a:gd name="connsiteX35" fmla="*/ 15672 w 125378"/>
              <a:gd name="connsiteY35" fmla="*/ 17911 h 125378"/>
              <a:gd name="connsiteX36" fmla="*/ 109707 w 125378"/>
              <a:gd name="connsiteY36" fmla="*/ 120901 h 125378"/>
              <a:gd name="connsiteX37" fmla="*/ 15672 w 125378"/>
              <a:gd name="connsiteY37" fmla="*/ 120901 h 125378"/>
              <a:gd name="connsiteX38" fmla="*/ 4478 w 125378"/>
              <a:gd name="connsiteY38" fmla="*/ 109707 h 125378"/>
              <a:gd name="connsiteX39" fmla="*/ 4478 w 125378"/>
              <a:gd name="connsiteY39" fmla="*/ 44778 h 125378"/>
              <a:gd name="connsiteX40" fmla="*/ 120901 w 125378"/>
              <a:gd name="connsiteY40" fmla="*/ 44778 h 125378"/>
              <a:gd name="connsiteX41" fmla="*/ 120901 w 125378"/>
              <a:gd name="connsiteY41" fmla="*/ 109707 h 125378"/>
              <a:gd name="connsiteX42" fmla="*/ 109707 w 125378"/>
              <a:gd name="connsiteY42"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378" h="125378">
                <a:moveTo>
                  <a:pt x="109707" y="13433"/>
                </a:moveTo>
                <a:lnTo>
                  <a:pt x="98512" y="13433"/>
                </a:lnTo>
                <a:lnTo>
                  <a:pt x="98512" y="2239"/>
                </a:lnTo>
                <a:cubicBezTo>
                  <a:pt x="98512" y="896"/>
                  <a:pt x="97616" y="0"/>
                  <a:pt x="96273" y="0"/>
                </a:cubicBezTo>
                <a:cubicBezTo>
                  <a:pt x="94930" y="0"/>
                  <a:pt x="94034" y="896"/>
                  <a:pt x="94034" y="2239"/>
                </a:cubicBezTo>
                <a:lnTo>
                  <a:pt x="94034" y="13433"/>
                </a:lnTo>
                <a:lnTo>
                  <a:pt x="31345" y="13433"/>
                </a:lnTo>
                <a:lnTo>
                  <a:pt x="31345" y="2239"/>
                </a:lnTo>
                <a:cubicBezTo>
                  <a:pt x="31345" y="896"/>
                  <a:pt x="30449" y="0"/>
                  <a:pt x="29106" y="0"/>
                </a:cubicBezTo>
                <a:cubicBezTo>
                  <a:pt x="27762" y="0"/>
                  <a:pt x="26867" y="896"/>
                  <a:pt x="26867" y="2239"/>
                </a:cubicBezTo>
                <a:lnTo>
                  <a:pt x="26867" y="13433"/>
                </a:lnTo>
                <a:lnTo>
                  <a:pt x="15672" y="13433"/>
                </a:lnTo>
                <a:cubicBezTo>
                  <a:pt x="7165" y="13433"/>
                  <a:pt x="0" y="20598"/>
                  <a:pt x="0" y="29106"/>
                </a:cubicBezTo>
                <a:lnTo>
                  <a:pt x="0" y="109707"/>
                </a:lnTo>
                <a:cubicBezTo>
                  <a:pt x="0" y="118214"/>
                  <a:pt x="7165" y="125379"/>
                  <a:pt x="15672" y="125379"/>
                </a:cubicBezTo>
                <a:lnTo>
                  <a:pt x="109707" y="125379"/>
                </a:lnTo>
                <a:cubicBezTo>
                  <a:pt x="118214" y="125379"/>
                  <a:pt x="125379" y="118214"/>
                  <a:pt x="125379" y="109707"/>
                </a:cubicBezTo>
                <a:lnTo>
                  <a:pt x="125379" y="29106"/>
                </a:lnTo>
                <a:cubicBezTo>
                  <a:pt x="125379" y="20598"/>
                  <a:pt x="118214" y="13433"/>
                  <a:pt x="109707" y="13433"/>
                </a:cubicBezTo>
                <a:close/>
                <a:moveTo>
                  <a:pt x="15672" y="17911"/>
                </a:moveTo>
                <a:lnTo>
                  <a:pt x="26867" y="17911"/>
                </a:lnTo>
                <a:lnTo>
                  <a:pt x="26867" y="29106"/>
                </a:lnTo>
                <a:cubicBezTo>
                  <a:pt x="26867" y="30449"/>
                  <a:pt x="27762" y="31345"/>
                  <a:pt x="29106" y="31345"/>
                </a:cubicBezTo>
                <a:cubicBezTo>
                  <a:pt x="30449" y="31345"/>
                  <a:pt x="31345" y="30449"/>
                  <a:pt x="31345" y="29106"/>
                </a:cubicBezTo>
                <a:lnTo>
                  <a:pt x="31345" y="17911"/>
                </a:lnTo>
                <a:lnTo>
                  <a:pt x="94034" y="17911"/>
                </a:lnTo>
                <a:lnTo>
                  <a:pt x="94034" y="29106"/>
                </a:lnTo>
                <a:cubicBezTo>
                  <a:pt x="94034" y="30449"/>
                  <a:pt x="94930" y="31345"/>
                  <a:pt x="96273" y="31345"/>
                </a:cubicBezTo>
                <a:cubicBezTo>
                  <a:pt x="97616" y="31345"/>
                  <a:pt x="98512" y="30449"/>
                  <a:pt x="98512" y="29106"/>
                </a:cubicBezTo>
                <a:lnTo>
                  <a:pt x="98512" y="17911"/>
                </a:lnTo>
                <a:lnTo>
                  <a:pt x="109707" y="17911"/>
                </a:lnTo>
                <a:cubicBezTo>
                  <a:pt x="115975" y="17911"/>
                  <a:pt x="120901" y="22837"/>
                  <a:pt x="120901" y="29106"/>
                </a:cubicBezTo>
                <a:lnTo>
                  <a:pt x="120901" y="40300"/>
                </a:lnTo>
                <a:lnTo>
                  <a:pt x="4478" y="40300"/>
                </a:lnTo>
                <a:lnTo>
                  <a:pt x="4478" y="29106"/>
                </a:lnTo>
                <a:cubicBezTo>
                  <a:pt x="4478" y="22837"/>
                  <a:pt x="9403" y="17911"/>
                  <a:pt x="15672" y="17911"/>
                </a:cubicBezTo>
                <a:close/>
                <a:moveTo>
                  <a:pt x="109707" y="120901"/>
                </a:moveTo>
                <a:lnTo>
                  <a:pt x="15672" y="120901"/>
                </a:lnTo>
                <a:cubicBezTo>
                  <a:pt x="9403" y="120901"/>
                  <a:pt x="4478" y="115976"/>
                  <a:pt x="4478" y="109707"/>
                </a:cubicBezTo>
                <a:lnTo>
                  <a:pt x="4478" y="44778"/>
                </a:lnTo>
                <a:lnTo>
                  <a:pt x="120901" y="44778"/>
                </a:lnTo>
                <a:lnTo>
                  <a:pt x="120901" y="109707"/>
                </a:lnTo>
                <a:cubicBezTo>
                  <a:pt x="120901" y="115976"/>
                  <a:pt x="115528" y="120901"/>
                  <a:pt x="109707" y="120901"/>
                </a:cubicBezTo>
                <a:close/>
              </a:path>
            </a:pathLst>
          </a:custGeom>
          <a:solidFill>
            <a:srgbClr val="231F20"/>
          </a:solidFill>
          <a:ln w="4474" cap="flat">
            <a:noFill/>
            <a:prstDash val="solid"/>
            <a:miter/>
          </a:ln>
        </p:spPr>
        <p:txBody>
          <a:bodyPr rtlCol="0" anchor="ctr"/>
          <a:lstStyle/>
          <a:p>
            <a:endParaRPr lang="en-US"/>
          </a:p>
        </p:txBody>
      </p:sp>
      <p:sp>
        <p:nvSpPr>
          <p:cNvPr id="4796" name="Freeform: Shape 4795">
            <a:extLst>
              <a:ext uri="{FF2B5EF4-FFF2-40B4-BE49-F238E27FC236}">
                <a16:creationId xmlns:a16="http://schemas.microsoft.com/office/drawing/2014/main" id="{98F3579E-9F95-4E96-9A0D-50295D59F13E}"/>
              </a:ext>
              <a:ext uri="{C183D7F6-B498-43B3-948B-1728B52AA6E4}">
                <adec:decorative xmlns:adec="http://schemas.microsoft.com/office/drawing/2017/decorative" val="1"/>
              </a:ext>
            </a:extLst>
          </p:cNvPr>
          <p:cNvSpPr>
            <a:spLocks noChangeAspect="1"/>
          </p:cNvSpPr>
          <p:nvPr/>
        </p:nvSpPr>
        <p:spPr>
          <a:xfrm>
            <a:off x="7155308" y="2776260"/>
            <a:ext cx="152246" cy="152246"/>
          </a:xfrm>
          <a:custGeom>
            <a:avLst/>
            <a:gdLst>
              <a:gd name="connsiteX0" fmla="*/ 76123 w 152245"/>
              <a:gd name="connsiteY0" fmla="*/ 152246 h 152245"/>
              <a:gd name="connsiteX1" fmla="*/ 0 w 152245"/>
              <a:gd name="connsiteY1" fmla="*/ 76123 h 152245"/>
              <a:gd name="connsiteX2" fmla="*/ 76123 w 152245"/>
              <a:gd name="connsiteY2" fmla="*/ 0 h 152245"/>
              <a:gd name="connsiteX3" fmla="*/ 152246 w 152245"/>
              <a:gd name="connsiteY3" fmla="*/ 76123 h 152245"/>
              <a:gd name="connsiteX4" fmla="*/ 76123 w 152245"/>
              <a:gd name="connsiteY4" fmla="*/ 152246 h 152245"/>
              <a:gd name="connsiteX5" fmla="*/ 76123 w 152245"/>
              <a:gd name="connsiteY5" fmla="*/ 4478 h 152245"/>
              <a:gd name="connsiteX6" fmla="*/ 4478 w 152245"/>
              <a:gd name="connsiteY6" fmla="*/ 76123 h 152245"/>
              <a:gd name="connsiteX7" fmla="*/ 76123 w 152245"/>
              <a:gd name="connsiteY7" fmla="*/ 147768 h 152245"/>
              <a:gd name="connsiteX8" fmla="*/ 147768 w 152245"/>
              <a:gd name="connsiteY8" fmla="*/ 76123 h 152245"/>
              <a:gd name="connsiteX9" fmla="*/ 76123 w 152245"/>
              <a:gd name="connsiteY9"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152246"/>
                </a:moveTo>
                <a:cubicBezTo>
                  <a:pt x="34031" y="152246"/>
                  <a:pt x="0" y="118214"/>
                  <a:pt x="0" y="76123"/>
                </a:cubicBezTo>
                <a:cubicBezTo>
                  <a:pt x="0" y="34031"/>
                  <a:pt x="34031" y="0"/>
                  <a:pt x="76123" y="0"/>
                </a:cubicBezTo>
                <a:cubicBezTo>
                  <a:pt x="118214" y="0"/>
                  <a:pt x="152246" y="34031"/>
                  <a:pt x="152246" y="76123"/>
                </a:cubicBezTo>
                <a:cubicBezTo>
                  <a:pt x="152246" y="118214"/>
                  <a:pt x="117767" y="152246"/>
                  <a:pt x="76123" y="152246"/>
                </a:cubicBezTo>
                <a:close/>
                <a:moveTo>
                  <a:pt x="76123" y="4478"/>
                </a:moveTo>
                <a:cubicBezTo>
                  <a:pt x="36718" y="4478"/>
                  <a:pt x="4478" y="36718"/>
                  <a:pt x="4478" y="76123"/>
                </a:cubicBezTo>
                <a:cubicBezTo>
                  <a:pt x="4478" y="115528"/>
                  <a:pt x="36718" y="147768"/>
                  <a:pt x="76123" y="147768"/>
                </a:cubicBezTo>
                <a:cubicBezTo>
                  <a:pt x="115528" y="147768"/>
                  <a:pt x="147768" y="115528"/>
                  <a:pt x="147768" y="76123"/>
                </a:cubicBezTo>
                <a:cubicBezTo>
                  <a:pt x="147768" y="36718"/>
                  <a:pt x="115528" y="4478"/>
                  <a:pt x="76123" y="4478"/>
                </a:cubicBezTo>
                <a:close/>
              </a:path>
            </a:pathLst>
          </a:custGeom>
          <a:solidFill>
            <a:srgbClr val="231F20"/>
          </a:solidFill>
          <a:ln w="4474" cap="flat">
            <a:noFill/>
            <a:prstDash val="solid"/>
            <a:miter/>
          </a:ln>
        </p:spPr>
        <p:txBody>
          <a:bodyPr rtlCol="0" anchor="ctr"/>
          <a:lstStyle/>
          <a:p>
            <a:endParaRPr lang="en-US"/>
          </a:p>
        </p:txBody>
      </p:sp>
      <p:grpSp>
        <p:nvGrpSpPr>
          <p:cNvPr id="4797" name="Group 4796">
            <a:extLst>
              <a:ext uri="{FF2B5EF4-FFF2-40B4-BE49-F238E27FC236}">
                <a16:creationId xmlns:a16="http://schemas.microsoft.com/office/drawing/2014/main" id="{976937CE-422B-4C75-971B-E35D94AD08D8}"/>
              </a:ext>
              <a:ext uri="{C183D7F6-B498-43B3-948B-1728B52AA6E4}">
                <adec:decorative xmlns:adec="http://schemas.microsoft.com/office/drawing/2017/decorative" val="1"/>
              </a:ext>
            </a:extLst>
          </p:cNvPr>
          <p:cNvGrpSpPr>
            <a:grpSpLocks noChangeAspect="1"/>
          </p:cNvGrpSpPr>
          <p:nvPr/>
        </p:nvGrpSpPr>
        <p:grpSpPr>
          <a:xfrm>
            <a:off x="6895594" y="2427438"/>
            <a:ext cx="152246" cy="152246"/>
            <a:chOff x="1114941" y="5886624"/>
            <a:chExt cx="152246" cy="152246"/>
          </a:xfrm>
        </p:grpSpPr>
        <p:sp>
          <p:nvSpPr>
            <p:cNvPr id="4798" name="Freeform: Shape 4797">
              <a:extLst>
                <a:ext uri="{FF2B5EF4-FFF2-40B4-BE49-F238E27FC236}">
                  <a16:creationId xmlns:a16="http://schemas.microsoft.com/office/drawing/2014/main" id="{13E144D5-60FD-4C59-88F1-55C9E136E775}"/>
                </a:ext>
              </a:extLst>
            </p:cNvPr>
            <p:cNvSpPr/>
            <p:nvPr/>
          </p:nvSpPr>
          <p:spPr>
            <a:xfrm>
              <a:off x="1114941" y="5886624"/>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47768 h 152245"/>
                <a:gd name="connsiteX6" fmla="*/ 4478 w 152245"/>
                <a:gd name="connsiteY6" fmla="*/ 76123 h 152245"/>
                <a:gd name="connsiteX7" fmla="*/ 76123 w 152245"/>
                <a:gd name="connsiteY7" fmla="*/ 4478 h 152245"/>
                <a:gd name="connsiteX8" fmla="*/ 147768 w 152245"/>
                <a:gd name="connsiteY8" fmla="*/ 76123 h 152245"/>
                <a:gd name="connsiteX9" fmla="*/ 76123 w 152245"/>
                <a:gd name="connsiteY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0"/>
                  </a:moveTo>
                  <a:cubicBezTo>
                    <a:pt x="34031" y="0"/>
                    <a:pt x="0" y="34031"/>
                    <a:pt x="0" y="76123"/>
                  </a:cubicBezTo>
                  <a:cubicBezTo>
                    <a:pt x="0" y="118214"/>
                    <a:pt x="34031" y="152246"/>
                    <a:pt x="76123" y="152246"/>
                  </a:cubicBezTo>
                  <a:cubicBezTo>
                    <a:pt x="118214" y="152246"/>
                    <a:pt x="152246" y="118214"/>
                    <a:pt x="152246" y="76123"/>
                  </a:cubicBezTo>
                  <a:cubicBezTo>
                    <a:pt x="152246" y="34031"/>
                    <a:pt x="118214" y="0"/>
                    <a:pt x="76123" y="0"/>
                  </a:cubicBezTo>
                  <a:close/>
                  <a:moveTo>
                    <a:pt x="76123" y="147768"/>
                  </a:moveTo>
                  <a:cubicBezTo>
                    <a:pt x="36718" y="147768"/>
                    <a:pt x="4478" y="115528"/>
                    <a:pt x="4478" y="76123"/>
                  </a:cubicBezTo>
                  <a:cubicBezTo>
                    <a:pt x="4478" y="36718"/>
                    <a:pt x="36718" y="4478"/>
                    <a:pt x="76123" y="4478"/>
                  </a:cubicBezTo>
                  <a:cubicBezTo>
                    <a:pt x="115528" y="4478"/>
                    <a:pt x="147768" y="36718"/>
                    <a:pt x="147768" y="76123"/>
                  </a:cubicBezTo>
                  <a:cubicBezTo>
                    <a:pt x="147768" y="115528"/>
                    <a:pt x="115528" y="147768"/>
                    <a:pt x="76123" y="147768"/>
                  </a:cubicBezTo>
                  <a:close/>
                </a:path>
              </a:pathLst>
            </a:custGeom>
            <a:solidFill>
              <a:srgbClr val="231F20"/>
            </a:solidFill>
            <a:ln w="4474" cap="flat">
              <a:noFill/>
              <a:prstDash val="solid"/>
              <a:miter/>
            </a:ln>
          </p:spPr>
          <p:txBody>
            <a:bodyPr rtlCol="0" anchor="ctr"/>
            <a:lstStyle/>
            <a:p>
              <a:endParaRPr lang="en-US"/>
            </a:p>
          </p:txBody>
        </p:sp>
        <p:sp>
          <p:nvSpPr>
            <p:cNvPr id="4799" name="Freeform: Shape 4798">
              <a:extLst>
                <a:ext uri="{FF2B5EF4-FFF2-40B4-BE49-F238E27FC236}">
                  <a16:creationId xmlns:a16="http://schemas.microsoft.com/office/drawing/2014/main" id="{4E6396FD-9969-4E04-8E4C-43348AAA5AC7}"/>
                </a:ext>
              </a:extLst>
            </p:cNvPr>
            <p:cNvSpPr/>
            <p:nvPr/>
          </p:nvSpPr>
          <p:spPr>
            <a:xfrm>
              <a:off x="1155465" y="5900058"/>
              <a:ext cx="35823" cy="62689"/>
            </a:xfrm>
            <a:custGeom>
              <a:avLst/>
              <a:gdLst>
                <a:gd name="connsiteX0" fmla="*/ 35599 w 35822"/>
                <a:gd name="connsiteY0" fmla="*/ 0 h 62689"/>
                <a:gd name="connsiteX1" fmla="*/ 33360 w 35822"/>
                <a:gd name="connsiteY1" fmla="*/ 2239 h 62689"/>
                <a:gd name="connsiteX2" fmla="*/ 33360 w 35822"/>
                <a:gd name="connsiteY2" fmla="*/ 57316 h 62689"/>
                <a:gd name="connsiteX3" fmla="*/ 3806 w 35822"/>
                <a:gd name="connsiteY3" fmla="*/ 27763 h 62689"/>
                <a:gd name="connsiteX4" fmla="*/ 672 w 35822"/>
                <a:gd name="connsiteY4" fmla="*/ 27763 h 62689"/>
                <a:gd name="connsiteX5" fmla="*/ 672 w 35822"/>
                <a:gd name="connsiteY5" fmla="*/ 30897 h 62689"/>
                <a:gd name="connsiteX6" fmla="*/ 34255 w 35822"/>
                <a:gd name="connsiteY6" fmla="*/ 64481 h 62689"/>
                <a:gd name="connsiteX7" fmla="*/ 35151 w 35822"/>
                <a:gd name="connsiteY7" fmla="*/ 64928 h 62689"/>
                <a:gd name="connsiteX8" fmla="*/ 36046 w 35822"/>
                <a:gd name="connsiteY8" fmla="*/ 64928 h 62689"/>
                <a:gd name="connsiteX9" fmla="*/ 36942 w 35822"/>
                <a:gd name="connsiteY9" fmla="*/ 64928 h 62689"/>
                <a:gd name="connsiteX10" fmla="*/ 38285 w 35822"/>
                <a:gd name="connsiteY10" fmla="*/ 63585 h 62689"/>
                <a:gd name="connsiteX11" fmla="*/ 38285 w 35822"/>
                <a:gd name="connsiteY11" fmla="*/ 62689 h 62689"/>
                <a:gd name="connsiteX12" fmla="*/ 38285 w 35822"/>
                <a:gd name="connsiteY12" fmla="*/ 2239 h 62689"/>
                <a:gd name="connsiteX13" fmla="*/ 35599 w 35822"/>
                <a:gd name="connsiteY13" fmla="*/ 0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22" h="62689">
                  <a:moveTo>
                    <a:pt x="35599" y="0"/>
                  </a:moveTo>
                  <a:cubicBezTo>
                    <a:pt x="34255" y="0"/>
                    <a:pt x="33360" y="896"/>
                    <a:pt x="33360" y="2239"/>
                  </a:cubicBezTo>
                  <a:lnTo>
                    <a:pt x="33360" y="57316"/>
                  </a:lnTo>
                  <a:lnTo>
                    <a:pt x="3806" y="27763"/>
                  </a:lnTo>
                  <a:cubicBezTo>
                    <a:pt x="2911" y="26867"/>
                    <a:pt x="1567" y="26867"/>
                    <a:pt x="672" y="27763"/>
                  </a:cubicBezTo>
                  <a:cubicBezTo>
                    <a:pt x="-224" y="28658"/>
                    <a:pt x="-224" y="30002"/>
                    <a:pt x="672" y="30897"/>
                  </a:cubicBezTo>
                  <a:lnTo>
                    <a:pt x="34255" y="64481"/>
                  </a:lnTo>
                  <a:cubicBezTo>
                    <a:pt x="34255" y="64481"/>
                    <a:pt x="34703" y="64928"/>
                    <a:pt x="35151" y="64928"/>
                  </a:cubicBezTo>
                  <a:cubicBezTo>
                    <a:pt x="35599" y="64928"/>
                    <a:pt x="35599" y="64928"/>
                    <a:pt x="36046" y="64928"/>
                  </a:cubicBezTo>
                  <a:cubicBezTo>
                    <a:pt x="36494" y="64928"/>
                    <a:pt x="36494" y="64928"/>
                    <a:pt x="36942" y="64928"/>
                  </a:cubicBezTo>
                  <a:cubicBezTo>
                    <a:pt x="37390" y="64481"/>
                    <a:pt x="37838" y="64481"/>
                    <a:pt x="38285" y="63585"/>
                  </a:cubicBezTo>
                  <a:cubicBezTo>
                    <a:pt x="38285" y="63137"/>
                    <a:pt x="38285" y="63137"/>
                    <a:pt x="38285" y="62689"/>
                  </a:cubicBezTo>
                  <a:lnTo>
                    <a:pt x="38285" y="2239"/>
                  </a:lnTo>
                  <a:cubicBezTo>
                    <a:pt x="37838" y="896"/>
                    <a:pt x="36942" y="0"/>
                    <a:pt x="35599" y="0"/>
                  </a:cubicBezTo>
                  <a:close/>
                </a:path>
              </a:pathLst>
            </a:custGeom>
            <a:solidFill>
              <a:srgbClr val="231F20"/>
            </a:solidFill>
            <a:ln w="4474" cap="flat">
              <a:noFill/>
              <a:prstDash val="solid"/>
              <a:miter/>
            </a:ln>
          </p:spPr>
          <p:txBody>
            <a:bodyPr rtlCol="0" anchor="ctr"/>
            <a:lstStyle/>
            <a:p>
              <a:endParaRPr lang="en-US"/>
            </a:p>
          </p:txBody>
        </p:sp>
      </p:grpSp>
      <p:grpSp>
        <p:nvGrpSpPr>
          <p:cNvPr id="4800" name="Group 4799">
            <a:extLst>
              <a:ext uri="{FF2B5EF4-FFF2-40B4-BE49-F238E27FC236}">
                <a16:creationId xmlns:a16="http://schemas.microsoft.com/office/drawing/2014/main" id="{979FAA8C-9D14-46F1-9B68-19D118918194}"/>
              </a:ext>
              <a:ext uri="{C183D7F6-B498-43B3-948B-1728B52AA6E4}">
                <adec:decorative xmlns:adec="http://schemas.microsoft.com/office/drawing/2017/decorative" val="1"/>
              </a:ext>
            </a:extLst>
          </p:cNvPr>
          <p:cNvGrpSpPr>
            <a:grpSpLocks noChangeAspect="1"/>
          </p:cNvGrpSpPr>
          <p:nvPr/>
        </p:nvGrpSpPr>
        <p:grpSpPr>
          <a:xfrm>
            <a:off x="7155308" y="2427438"/>
            <a:ext cx="152246" cy="152246"/>
            <a:chOff x="1374655" y="5886624"/>
            <a:chExt cx="152246" cy="152246"/>
          </a:xfrm>
        </p:grpSpPr>
        <p:sp>
          <p:nvSpPr>
            <p:cNvPr id="4801" name="Freeform: Shape 4800">
              <a:extLst>
                <a:ext uri="{FF2B5EF4-FFF2-40B4-BE49-F238E27FC236}">
                  <a16:creationId xmlns:a16="http://schemas.microsoft.com/office/drawing/2014/main" id="{EAA45481-C0DF-4185-B38B-3EF7E0944B42}"/>
                </a:ext>
              </a:extLst>
            </p:cNvPr>
            <p:cNvSpPr/>
            <p:nvPr/>
          </p:nvSpPr>
          <p:spPr>
            <a:xfrm>
              <a:off x="1374655" y="5886624"/>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47768 h 152245"/>
                <a:gd name="connsiteX6" fmla="*/ 4478 w 152245"/>
                <a:gd name="connsiteY6" fmla="*/ 76123 h 152245"/>
                <a:gd name="connsiteX7" fmla="*/ 76123 w 152245"/>
                <a:gd name="connsiteY7" fmla="*/ 4478 h 152245"/>
                <a:gd name="connsiteX8" fmla="*/ 147768 w 152245"/>
                <a:gd name="connsiteY8" fmla="*/ 76123 h 152245"/>
                <a:gd name="connsiteX9" fmla="*/ 76123 w 152245"/>
                <a:gd name="connsiteY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0"/>
                  </a:moveTo>
                  <a:cubicBezTo>
                    <a:pt x="34031" y="0"/>
                    <a:pt x="0" y="34031"/>
                    <a:pt x="0" y="76123"/>
                  </a:cubicBezTo>
                  <a:cubicBezTo>
                    <a:pt x="0" y="118214"/>
                    <a:pt x="34031" y="152246"/>
                    <a:pt x="76123" y="152246"/>
                  </a:cubicBezTo>
                  <a:cubicBezTo>
                    <a:pt x="118214" y="152246"/>
                    <a:pt x="152246" y="118214"/>
                    <a:pt x="152246" y="76123"/>
                  </a:cubicBezTo>
                  <a:cubicBezTo>
                    <a:pt x="152246" y="34031"/>
                    <a:pt x="117767" y="0"/>
                    <a:pt x="76123" y="0"/>
                  </a:cubicBezTo>
                  <a:close/>
                  <a:moveTo>
                    <a:pt x="76123" y="147768"/>
                  </a:moveTo>
                  <a:cubicBezTo>
                    <a:pt x="36718" y="147768"/>
                    <a:pt x="4478" y="115528"/>
                    <a:pt x="4478" y="76123"/>
                  </a:cubicBezTo>
                  <a:cubicBezTo>
                    <a:pt x="4478" y="36718"/>
                    <a:pt x="36718" y="4478"/>
                    <a:pt x="76123" y="4478"/>
                  </a:cubicBezTo>
                  <a:cubicBezTo>
                    <a:pt x="115528" y="4478"/>
                    <a:pt x="147768" y="36718"/>
                    <a:pt x="147768" y="76123"/>
                  </a:cubicBezTo>
                  <a:cubicBezTo>
                    <a:pt x="147768" y="115528"/>
                    <a:pt x="115528" y="147768"/>
                    <a:pt x="76123" y="147768"/>
                  </a:cubicBezTo>
                  <a:close/>
                </a:path>
              </a:pathLst>
            </a:custGeom>
            <a:solidFill>
              <a:srgbClr val="231F20"/>
            </a:solidFill>
            <a:ln w="4474" cap="flat">
              <a:noFill/>
              <a:prstDash val="solid"/>
              <a:miter/>
            </a:ln>
          </p:spPr>
          <p:txBody>
            <a:bodyPr rtlCol="0" anchor="ctr"/>
            <a:lstStyle/>
            <a:p>
              <a:endParaRPr lang="en-US"/>
            </a:p>
          </p:txBody>
        </p:sp>
        <p:sp>
          <p:nvSpPr>
            <p:cNvPr id="4802" name="Freeform: Shape 4801">
              <a:extLst>
                <a:ext uri="{FF2B5EF4-FFF2-40B4-BE49-F238E27FC236}">
                  <a16:creationId xmlns:a16="http://schemas.microsoft.com/office/drawing/2014/main" id="{27DCD77C-2159-4FC0-801A-7EBE2BEEFBFC}"/>
                </a:ext>
              </a:extLst>
            </p:cNvPr>
            <p:cNvSpPr/>
            <p:nvPr/>
          </p:nvSpPr>
          <p:spPr>
            <a:xfrm>
              <a:off x="1414731" y="5900058"/>
              <a:ext cx="35823" cy="98512"/>
            </a:xfrm>
            <a:custGeom>
              <a:avLst/>
              <a:gdLst>
                <a:gd name="connsiteX0" fmla="*/ 36046 w 35822"/>
                <a:gd name="connsiteY0" fmla="*/ 0 h 98511"/>
                <a:gd name="connsiteX1" fmla="*/ 33808 w 35822"/>
                <a:gd name="connsiteY1" fmla="*/ 2239 h 98511"/>
                <a:gd name="connsiteX2" fmla="*/ 33808 w 35822"/>
                <a:gd name="connsiteY2" fmla="*/ 61794 h 98511"/>
                <a:gd name="connsiteX3" fmla="*/ 672 w 35822"/>
                <a:gd name="connsiteY3" fmla="*/ 94930 h 98511"/>
                <a:gd name="connsiteX4" fmla="*/ 672 w 35822"/>
                <a:gd name="connsiteY4" fmla="*/ 98064 h 98511"/>
                <a:gd name="connsiteX5" fmla="*/ 2463 w 35822"/>
                <a:gd name="connsiteY5" fmla="*/ 98512 h 98511"/>
                <a:gd name="connsiteX6" fmla="*/ 4254 w 35822"/>
                <a:gd name="connsiteY6" fmla="*/ 98064 h 98511"/>
                <a:gd name="connsiteX7" fmla="*/ 37838 w 35822"/>
                <a:gd name="connsiteY7" fmla="*/ 64481 h 98511"/>
                <a:gd name="connsiteX8" fmla="*/ 38285 w 35822"/>
                <a:gd name="connsiteY8" fmla="*/ 63585 h 98511"/>
                <a:gd name="connsiteX9" fmla="*/ 38285 w 35822"/>
                <a:gd name="connsiteY9" fmla="*/ 62689 h 98511"/>
                <a:gd name="connsiteX10" fmla="*/ 38285 w 35822"/>
                <a:gd name="connsiteY10" fmla="*/ 2239 h 98511"/>
                <a:gd name="connsiteX11" fmla="*/ 36046 w 35822"/>
                <a:gd name="connsiteY11" fmla="*/ 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22" h="98511">
                  <a:moveTo>
                    <a:pt x="36046" y="0"/>
                  </a:moveTo>
                  <a:cubicBezTo>
                    <a:pt x="34703" y="0"/>
                    <a:pt x="33808" y="896"/>
                    <a:pt x="33808" y="2239"/>
                  </a:cubicBezTo>
                  <a:lnTo>
                    <a:pt x="33808" y="61794"/>
                  </a:lnTo>
                  <a:lnTo>
                    <a:pt x="672" y="94930"/>
                  </a:lnTo>
                  <a:cubicBezTo>
                    <a:pt x="-224" y="95825"/>
                    <a:pt x="-224" y="97169"/>
                    <a:pt x="672" y="98064"/>
                  </a:cubicBezTo>
                  <a:cubicBezTo>
                    <a:pt x="1119" y="98512"/>
                    <a:pt x="1567" y="98512"/>
                    <a:pt x="2463" y="98512"/>
                  </a:cubicBezTo>
                  <a:cubicBezTo>
                    <a:pt x="3358" y="98512"/>
                    <a:pt x="3806" y="98512"/>
                    <a:pt x="4254" y="98064"/>
                  </a:cubicBezTo>
                  <a:lnTo>
                    <a:pt x="37838" y="64481"/>
                  </a:lnTo>
                  <a:cubicBezTo>
                    <a:pt x="37838" y="64481"/>
                    <a:pt x="38285" y="64033"/>
                    <a:pt x="38285" y="63585"/>
                  </a:cubicBezTo>
                  <a:cubicBezTo>
                    <a:pt x="38285" y="63137"/>
                    <a:pt x="38285" y="63137"/>
                    <a:pt x="38285" y="62689"/>
                  </a:cubicBezTo>
                  <a:lnTo>
                    <a:pt x="38285" y="2239"/>
                  </a:lnTo>
                  <a:cubicBezTo>
                    <a:pt x="38285" y="896"/>
                    <a:pt x="36942" y="0"/>
                    <a:pt x="36046" y="0"/>
                  </a:cubicBezTo>
                  <a:close/>
                </a:path>
              </a:pathLst>
            </a:custGeom>
            <a:solidFill>
              <a:srgbClr val="231F20"/>
            </a:solidFill>
            <a:ln w="4474" cap="flat">
              <a:noFill/>
              <a:prstDash val="solid"/>
              <a:miter/>
            </a:ln>
          </p:spPr>
          <p:txBody>
            <a:bodyPr rtlCol="0" anchor="ctr"/>
            <a:lstStyle/>
            <a:p>
              <a:endParaRPr lang="en-US"/>
            </a:p>
          </p:txBody>
        </p:sp>
      </p:grpSp>
      <p:grpSp>
        <p:nvGrpSpPr>
          <p:cNvPr id="4803" name="Group 4802">
            <a:extLst>
              <a:ext uri="{FF2B5EF4-FFF2-40B4-BE49-F238E27FC236}">
                <a16:creationId xmlns:a16="http://schemas.microsoft.com/office/drawing/2014/main" id="{9C5DBB42-33CE-4A8E-9EF0-3EE6B971F60A}"/>
              </a:ext>
              <a:ext uri="{C183D7F6-B498-43B3-948B-1728B52AA6E4}">
                <adec:decorative xmlns:adec="http://schemas.microsoft.com/office/drawing/2017/decorative" val="1"/>
              </a:ext>
            </a:extLst>
          </p:cNvPr>
          <p:cNvGrpSpPr>
            <a:grpSpLocks noChangeAspect="1"/>
          </p:cNvGrpSpPr>
          <p:nvPr/>
        </p:nvGrpSpPr>
        <p:grpSpPr>
          <a:xfrm>
            <a:off x="7425320" y="2427438"/>
            <a:ext cx="152246" cy="152246"/>
            <a:chOff x="1644667" y="5886624"/>
            <a:chExt cx="152246" cy="152246"/>
          </a:xfrm>
        </p:grpSpPr>
        <p:sp>
          <p:nvSpPr>
            <p:cNvPr id="4804" name="Freeform: Shape 4803">
              <a:extLst>
                <a:ext uri="{FF2B5EF4-FFF2-40B4-BE49-F238E27FC236}">
                  <a16:creationId xmlns:a16="http://schemas.microsoft.com/office/drawing/2014/main" id="{37C463D2-EE42-43B2-B62D-A5D6A466D02D}"/>
                </a:ext>
              </a:extLst>
            </p:cNvPr>
            <p:cNvSpPr/>
            <p:nvPr/>
          </p:nvSpPr>
          <p:spPr>
            <a:xfrm>
              <a:off x="1644667" y="5886624"/>
              <a:ext cx="152246" cy="152246"/>
            </a:xfrm>
            <a:custGeom>
              <a:avLst/>
              <a:gdLst>
                <a:gd name="connsiteX0" fmla="*/ 76123 w 152245"/>
                <a:gd name="connsiteY0" fmla="*/ 0 h 152245"/>
                <a:gd name="connsiteX1" fmla="*/ 0 w 152245"/>
                <a:gd name="connsiteY1" fmla="*/ 76123 h 152245"/>
                <a:gd name="connsiteX2" fmla="*/ 76123 w 152245"/>
                <a:gd name="connsiteY2" fmla="*/ 152246 h 152245"/>
                <a:gd name="connsiteX3" fmla="*/ 152246 w 152245"/>
                <a:gd name="connsiteY3" fmla="*/ 76123 h 152245"/>
                <a:gd name="connsiteX4" fmla="*/ 76123 w 152245"/>
                <a:gd name="connsiteY4" fmla="*/ 0 h 152245"/>
                <a:gd name="connsiteX5" fmla="*/ 76123 w 152245"/>
                <a:gd name="connsiteY5" fmla="*/ 147768 h 152245"/>
                <a:gd name="connsiteX6" fmla="*/ 4478 w 152245"/>
                <a:gd name="connsiteY6" fmla="*/ 76123 h 152245"/>
                <a:gd name="connsiteX7" fmla="*/ 76123 w 152245"/>
                <a:gd name="connsiteY7" fmla="*/ 4478 h 152245"/>
                <a:gd name="connsiteX8" fmla="*/ 147768 w 152245"/>
                <a:gd name="connsiteY8" fmla="*/ 76123 h 152245"/>
                <a:gd name="connsiteX9" fmla="*/ 76123 w 152245"/>
                <a:gd name="connsiteY9"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45" h="152245">
                  <a:moveTo>
                    <a:pt x="76123" y="0"/>
                  </a:moveTo>
                  <a:cubicBezTo>
                    <a:pt x="34031" y="0"/>
                    <a:pt x="0" y="34031"/>
                    <a:pt x="0" y="76123"/>
                  </a:cubicBezTo>
                  <a:cubicBezTo>
                    <a:pt x="0" y="118214"/>
                    <a:pt x="34031" y="152246"/>
                    <a:pt x="76123" y="152246"/>
                  </a:cubicBezTo>
                  <a:cubicBezTo>
                    <a:pt x="118214" y="152246"/>
                    <a:pt x="152246" y="118214"/>
                    <a:pt x="152246" y="76123"/>
                  </a:cubicBezTo>
                  <a:cubicBezTo>
                    <a:pt x="152246" y="34031"/>
                    <a:pt x="118214" y="0"/>
                    <a:pt x="76123" y="0"/>
                  </a:cubicBezTo>
                  <a:close/>
                  <a:moveTo>
                    <a:pt x="76123" y="147768"/>
                  </a:moveTo>
                  <a:cubicBezTo>
                    <a:pt x="36718" y="147768"/>
                    <a:pt x="4478" y="115528"/>
                    <a:pt x="4478" y="76123"/>
                  </a:cubicBezTo>
                  <a:cubicBezTo>
                    <a:pt x="4478" y="36718"/>
                    <a:pt x="36718" y="4478"/>
                    <a:pt x="76123" y="4478"/>
                  </a:cubicBezTo>
                  <a:cubicBezTo>
                    <a:pt x="115528" y="4478"/>
                    <a:pt x="147768" y="36718"/>
                    <a:pt x="147768" y="76123"/>
                  </a:cubicBezTo>
                  <a:cubicBezTo>
                    <a:pt x="147768" y="115528"/>
                    <a:pt x="115528" y="147768"/>
                    <a:pt x="76123" y="147768"/>
                  </a:cubicBezTo>
                  <a:close/>
                </a:path>
              </a:pathLst>
            </a:custGeom>
            <a:solidFill>
              <a:srgbClr val="231F20"/>
            </a:solidFill>
            <a:ln w="4474" cap="flat">
              <a:noFill/>
              <a:prstDash val="solid"/>
              <a:miter/>
            </a:ln>
          </p:spPr>
          <p:txBody>
            <a:bodyPr rtlCol="0" anchor="ctr"/>
            <a:lstStyle/>
            <a:p>
              <a:endParaRPr lang="en-US"/>
            </a:p>
          </p:txBody>
        </p:sp>
        <p:sp>
          <p:nvSpPr>
            <p:cNvPr id="4805" name="Freeform: Shape 4804">
              <a:extLst>
                <a:ext uri="{FF2B5EF4-FFF2-40B4-BE49-F238E27FC236}">
                  <a16:creationId xmlns:a16="http://schemas.microsoft.com/office/drawing/2014/main" id="{41D28D2B-E4E1-49B2-820E-D73367CCD7D6}"/>
                </a:ext>
              </a:extLst>
            </p:cNvPr>
            <p:cNvSpPr/>
            <p:nvPr/>
          </p:nvSpPr>
          <p:spPr>
            <a:xfrm>
              <a:off x="1718551" y="5900058"/>
              <a:ext cx="35823" cy="98512"/>
            </a:xfrm>
            <a:custGeom>
              <a:avLst/>
              <a:gdLst>
                <a:gd name="connsiteX0" fmla="*/ 4478 w 35822"/>
                <a:gd name="connsiteY0" fmla="*/ 61794 h 98511"/>
                <a:gd name="connsiteX1" fmla="*/ 4478 w 35822"/>
                <a:gd name="connsiteY1" fmla="*/ 2239 h 98511"/>
                <a:gd name="connsiteX2" fmla="*/ 2239 w 35822"/>
                <a:gd name="connsiteY2" fmla="*/ 0 h 98511"/>
                <a:gd name="connsiteX3" fmla="*/ 0 w 35822"/>
                <a:gd name="connsiteY3" fmla="*/ 2239 h 98511"/>
                <a:gd name="connsiteX4" fmla="*/ 0 w 35822"/>
                <a:gd name="connsiteY4" fmla="*/ 62689 h 98511"/>
                <a:gd name="connsiteX5" fmla="*/ 0 w 35822"/>
                <a:gd name="connsiteY5" fmla="*/ 63585 h 98511"/>
                <a:gd name="connsiteX6" fmla="*/ 448 w 35822"/>
                <a:gd name="connsiteY6" fmla="*/ 64481 h 98511"/>
                <a:gd name="connsiteX7" fmla="*/ 34031 w 35822"/>
                <a:gd name="connsiteY7" fmla="*/ 98064 h 98511"/>
                <a:gd name="connsiteX8" fmla="*/ 35823 w 35822"/>
                <a:gd name="connsiteY8" fmla="*/ 98512 h 98511"/>
                <a:gd name="connsiteX9" fmla="*/ 37614 w 35822"/>
                <a:gd name="connsiteY9" fmla="*/ 98064 h 98511"/>
                <a:gd name="connsiteX10" fmla="*/ 37614 w 35822"/>
                <a:gd name="connsiteY10" fmla="*/ 94930 h 98511"/>
                <a:gd name="connsiteX11" fmla="*/ 4478 w 35822"/>
                <a:gd name="connsiteY11" fmla="*/ 6179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22" h="98511">
                  <a:moveTo>
                    <a:pt x="4478" y="61794"/>
                  </a:moveTo>
                  <a:lnTo>
                    <a:pt x="4478" y="2239"/>
                  </a:lnTo>
                  <a:cubicBezTo>
                    <a:pt x="4478" y="896"/>
                    <a:pt x="3582" y="0"/>
                    <a:pt x="2239" y="0"/>
                  </a:cubicBezTo>
                  <a:cubicBezTo>
                    <a:pt x="896" y="0"/>
                    <a:pt x="0" y="896"/>
                    <a:pt x="0" y="2239"/>
                  </a:cubicBezTo>
                  <a:lnTo>
                    <a:pt x="0" y="62689"/>
                  </a:lnTo>
                  <a:cubicBezTo>
                    <a:pt x="0" y="63137"/>
                    <a:pt x="0" y="63137"/>
                    <a:pt x="0" y="63585"/>
                  </a:cubicBezTo>
                  <a:cubicBezTo>
                    <a:pt x="0" y="64033"/>
                    <a:pt x="448" y="64033"/>
                    <a:pt x="448" y="64481"/>
                  </a:cubicBezTo>
                  <a:lnTo>
                    <a:pt x="34031" y="98064"/>
                  </a:lnTo>
                  <a:cubicBezTo>
                    <a:pt x="34479" y="98512"/>
                    <a:pt x="34927" y="98512"/>
                    <a:pt x="35823" y="98512"/>
                  </a:cubicBezTo>
                  <a:cubicBezTo>
                    <a:pt x="36718" y="98512"/>
                    <a:pt x="37166" y="98512"/>
                    <a:pt x="37614" y="98064"/>
                  </a:cubicBezTo>
                  <a:cubicBezTo>
                    <a:pt x="38509" y="97169"/>
                    <a:pt x="38509" y="95825"/>
                    <a:pt x="37614" y="94930"/>
                  </a:cubicBezTo>
                  <a:lnTo>
                    <a:pt x="4478" y="61794"/>
                  </a:lnTo>
                  <a:close/>
                </a:path>
              </a:pathLst>
            </a:custGeom>
            <a:solidFill>
              <a:srgbClr val="231F20"/>
            </a:solidFill>
            <a:ln w="4474" cap="flat">
              <a:noFill/>
              <a:prstDash val="solid"/>
              <a:miter/>
            </a:ln>
          </p:spPr>
          <p:txBody>
            <a:bodyPr rtlCol="0" anchor="ctr"/>
            <a:lstStyle/>
            <a:p>
              <a:endParaRPr lang="en-US"/>
            </a:p>
          </p:txBody>
        </p:sp>
      </p:grpSp>
      <p:grpSp>
        <p:nvGrpSpPr>
          <p:cNvPr id="4806" name="Group 4805">
            <a:extLst>
              <a:ext uri="{FF2B5EF4-FFF2-40B4-BE49-F238E27FC236}">
                <a16:creationId xmlns:a16="http://schemas.microsoft.com/office/drawing/2014/main" id="{8E2AB314-2916-445A-A387-04E9FE62280B}"/>
              </a:ext>
              <a:ext uri="{C183D7F6-B498-43B3-948B-1728B52AA6E4}">
                <adec:decorative xmlns:adec="http://schemas.microsoft.com/office/drawing/2017/decorative" val="1"/>
              </a:ext>
            </a:extLst>
          </p:cNvPr>
          <p:cNvGrpSpPr>
            <a:grpSpLocks noChangeAspect="1"/>
          </p:cNvGrpSpPr>
          <p:nvPr/>
        </p:nvGrpSpPr>
        <p:grpSpPr>
          <a:xfrm>
            <a:off x="7955270" y="2427677"/>
            <a:ext cx="147768" cy="147768"/>
            <a:chOff x="2174617" y="5886863"/>
            <a:chExt cx="147768" cy="147768"/>
          </a:xfrm>
        </p:grpSpPr>
        <p:sp>
          <p:nvSpPr>
            <p:cNvPr id="4807" name="Freeform: Shape 4806">
              <a:extLst>
                <a:ext uri="{FF2B5EF4-FFF2-40B4-BE49-F238E27FC236}">
                  <a16:creationId xmlns:a16="http://schemas.microsoft.com/office/drawing/2014/main" id="{F4D0DC1E-5673-4119-B404-6A6AAD009CB7}"/>
                </a:ext>
              </a:extLst>
            </p:cNvPr>
            <p:cNvSpPr/>
            <p:nvPr/>
          </p:nvSpPr>
          <p:spPr>
            <a:xfrm>
              <a:off x="2174617" y="5886863"/>
              <a:ext cx="147768" cy="147768"/>
            </a:xfrm>
            <a:custGeom>
              <a:avLst/>
              <a:gdLst>
                <a:gd name="connsiteX0" fmla="*/ 75899 w 147767"/>
                <a:gd name="connsiteY0" fmla="*/ 152007 h 147767"/>
                <a:gd name="connsiteX1" fmla="*/ 22165 w 147767"/>
                <a:gd name="connsiteY1" fmla="*/ 129618 h 147767"/>
                <a:gd name="connsiteX2" fmla="*/ 22165 w 147767"/>
                <a:gd name="connsiteY2" fmla="*/ 22150 h 147767"/>
                <a:gd name="connsiteX3" fmla="*/ 25300 w 147767"/>
                <a:gd name="connsiteY3" fmla="*/ 22150 h 147767"/>
                <a:gd name="connsiteX4" fmla="*/ 25300 w 147767"/>
                <a:gd name="connsiteY4" fmla="*/ 25285 h 147767"/>
                <a:gd name="connsiteX5" fmla="*/ 25300 w 147767"/>
                <a:gd name="connsiteY5" fmla="*/ 126484 h 147767"/>
                <a:gd name="connsiteX6" fmla="*/ 126498 w 147767"/>
                <a:gd name="connsiteY6" fmla="*/ 126484 h 147767"/>
                <a:gd name="connsiteX7" fmla="*/ 126498 w 147767"/>
                <a:gd name="connsiteY7" fmla="*/ 25285 h 147767"/>
                <a:gd name="connsiteX8" fmla="*/ 53510 w 147767"/>
                <a:gd name="connsiteY8" fmla="*/ 7821 h 147767"/>
                <a:gd name="connsiteX9" fmla="*/ 50823 w 147767"/>
                <a:gd name="connsiteY9" fmla="*/ 6478 h 147767"/>
                <a:gd name="connsiteX10" fmla="*/ 52167 w 147767"/>
                <a:gd name="connsiteY10" fmla="*/ 3791 h 147767"/>
                <a:gd name="connsiteX11" fmla="*/ 129633 w 147767"/>
                <a:gd name="connsiteY11" fmla="*/ 22598 h 147767"/>
                <a:gd name="connsiteX12" fmla="*/ 129633 w 147767"/>
                <a:gd name="connsiteY12" fmla="*/ 130065 h 147767"/>
                <a:gd name="connsiteX13" fmla="*/ 75899 w 147767"/>
                <a:gd name="connsiteY13" fmla="*/ 152007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767" h="147767">
                  <a:moveTo>
                    <a:pt x="75899" y="152007"/>
                  </a:moveTo>
                  <a:cubicBezTo>
                    <a:pt x="56197" y="152007"/>
                    <a:pt x="36942" y="144395"/>
                    <a:pt x="22165" y="129618"/>
                  </a:cubicBezTo>
                  <a:cubicBezTo>
                    <a:pt x="-7388" y="100064"/>
                    <a:pt x="-7388" y="51704"/>
                    <a:pt x="22165" y="22150"/>
                  </a:cubicBezTo>
                  <a:cubicBezTo>
                    <a:pt x="23061" y="21255"/>
                    <a:pt x="24404" y="21255"/>
                    <a:pt x="25300" y="22150"/>
                  </a:cubicBezTo>
                  <a:cubicBezTo>
                    <a:pt x="26195" y="23046"/>
                    <a:pt x="26195" y="24389"/>
                    <a:pt x="25300" y="25285"/>
                  </a:cubicBezTo>
                  <a:cubicBezTo>
                    <a:pt x="-2463" y="53047"/>
                    <a:pt x="-2463" y="98721"/>
                    <a:pt x="25300" y="126484"/>
                  </a:cubicBezTo>
                  <a:cubicBezTo>
                    <a:pt x="53062" y="154246"/>
                    <a:pt x="98736" y="154246"/>
                    <a:pt x="126498" y="126484"/>
                  </a:cubicBezTo>
                  <a:cubicBezTo>
                    <a:pt x="154261" y="98721"/>
                    <a:pt x="154261" y="53047"/>
                    <a:pt x="126498" y="25285"/>
                  </a:cubicBezTo>
                  <a:cubicBezTo>
                    <a:pt x="107244" y="6030"/>
                    <a:pt x="79481" y="-687"/>
                    <a:pt x="53510" y="7821"/>
                  </a:cubicBezTo>
                  <a:cubicBezTo>
                    <a:pt x="52167" y="8269"/>
                    <a:pt x="51271" y="7374"/>
                    <a:pt x="50823" y="6478"/>
                  </a:cubicBezTo>
                  <a:cubicBezTo>
                    <a:pt x="50375" y="5135"/>
                    <a:pt x="51271" y="4239"/>
                    <a:pt x="52167" y="3791"/>
                  </a:cubicBezTo>
                  <a:cubicBezTo>
                    <a:pt x="79481" y="-5164"/>
                    <a:pt x="109035" y="2000"/>
                    <a:pt x="129633" y="22598"/>
                  </a:cubicBezTo>
                  <a:cubicBezTo>
                    <a:pt x="159186" y="52152"/>
                    <a:pt x="159186" y="100512"/>
                    <a:pt x="129633" y="130065"/>
                  </a:cubicBezTo>
                  <a:cubicBezTo>
                    <a:pt x="114856" y="144395"/>
                    <a:pt x="95154" y="152007"/>
                    <a:pt x="75899" y="152007"/>
                  </a:cubicBezTo>
                  <a:close/>
                </a:path>
              </a:pathLst>
            </a:custGeom>
            <a:solidFill>
              <a:srgbClr val="231F20"/>
            </a:solidFill>
            <a:ln w="4474" cap="flat">
              <a:noFill/>
              <a:prstDash val="solid"/>
              <a:miter/>
            </a:ln>
          </p:spPr>
          <p:txBody>
            <a:bodyPr rtlCol="0" anchor="ctr"/>
            <a:lstStyle/>
            <a:p>
              <a:endParaRPr lang="en-US"/>
            </a:p>
          </p:txBody>
        </p:sp>
        <p:sp>
          <p:nvSpPr>
            <p:cNvPr id="4808" name="Freeform: Shape 4807">
              <a:extLst>
                <a:ext uri="{FF2B5EF4-FFF2-40B4-BE49-F238E27FC236}">
                  <a16:creationId xmlns:a16="http://schemas.microsoft.com/office/drawing/2014/main" id="{3F5BADB8-3867-44FE-A256-FE44D218F77A}"/>
                </a:ext>
              </a:extLst>
            </p:cNvPr>
            <p:cNvSpPr/>
            <p:nvPr/>
          </p:nvSpPr>
          <p:spPr>
            <a:xfrm>
              <a:off x="2198980" y="5925541"/>
              <a:ext cx="53734" cy="35823"/>
            </a:xfrm>
            <a:custGeom>
              <a:avLst/>
              <a:gdLst>
                <a:gd name="connsiteX0" fmla="*/ 51535 w 53733"/>
                <a:gd name="connsiteY0" fmla="*/ 39445 h 35822"/>
                <a:gd name="connsiteX1" fmla="*/ 50192 w 53733"/>
                <a:gd name="connsiteY1" fmla="*/ 38997 h 35822"/>
                <a:gd name="connsiteX2" fmla="*/ 936 w 53733"/>
                <a:gd name="connsiteY2" fmla="*/ 4070 h 35822"/>
                <a:gd name="connsiteX3" fmla="*/ 488 w 53733"/>
                <a:gd name="connsiteY3" fmla="*/ 936 h 35822"/>
                <a:gd name="connsiteX4" fmla="*/ 3623 w 53733"/>
                <a:gd name="connsiteY4" fmla="*/ 488 h 35822"/>
                <a:gd name="connsiteX5" fmla="*/ 52879 w 53733"/>
                <a:gd name="connsiteY5" fmla="*/ 35415 h 35822"/>
                <a:gd name="connsiteX6" fmla="*/ 53326 w 53733"/>
                <a:gd name="connsiteY6" fmla="*/ 38550 h 35822"/>
                <a:gd name="connsiteX7" fmla="*/ 51535 w 53733"/>
                <a:gd name="connsiteY7" fmla="*/ 39445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33" h="35822">
                  <a:moveTo>
                    <a:pt x="51535" y="39445"/>
                  </a:moveTo>
                  <a:cubicBezTo>
                    <a:pt x="51088" y="39445"/>
                    <a:pt x="50640" y="39445"/>
                    <a:pt x="50192" y="38997"/>
                  </a:cubicBezTo>
                  <a:lnTo>
                    <a:pt x="936" y="4070"/>
                  </a:lnTo>
                  <a:cubicBezTo>
                    <a:pt x="40" y="3175"/>
                    <a:pt x="-407" y="1831"/>
                    <a:pt x="488" y="936"/>
                  </a:cubicBezTo>
                  <a:cubicBezTo>
                    <a:pt x="1384" y="41"/>
                    <a:pt x="2727" y="-408"/>
                    <a:pt x="3623" y="488"/>
                  </a:cubicBezTo>
                  <a:lnTo>
                    <a:pt x="52879" y="35415"/>
                  </a:lnTo>
                  <a:cubicBezTo>
                    <a:pt x="53774" y="36311"/>
                    <a:pt x="54222" y="37654"/>
                    <a:pt x="53326" y="38550"/>
                  </a:cubicBezTo>
                  <a:cubicBezTo>
                    <a:pt x="52879" y="38997"/>
                    <a:pt x="51983" y="39445"/>
                    <a:pt x="51535" y="39445"/>
                  </a:cubicBezTo>
                  <a:close/>
                </a:path>
              </a:pathLst>
            </a:custGeom>
            <a:solidFill>
              <a:srgbClr val="231F20"/>
            </a:solidFill>
            <a:ln w="4474" cap="flat">
              <a:noFill/>
              <a:prstDash val="solid"/>
              <a:miter/>
            </a:ln>
          </p:spPr>
          <p:txBody>
            <a:bodyPr rtlCol="0" anchor="ctr"/>
            <a:lstStyle/>
            <a:p>
              <a:endParaRPr lang="en-US"/>
            </a:p>
          </p:txBody>
        </p:sp>
      </p:grpSp>
      <p:grpSp>
        <p:nvGrpSpPr>
          <p:cNvPr id="4809" name="Group 4808">
            <a:extLst>
              <a:ext uri="{FF2B5EF4-FFF2-40B4-BE49-F238E27FC236}">
                <a16:creationId xmlns:a16="http://schemas.microsoft.com/office/drawing/2014/main" id="{929D16EC-483E-4FF6-998D-30F9BE669F64}"/>
              </a:ext>
              <a:ext uri="{C183D7F6-B498-43B3-948B-1728B52AA6E4}">
                <adec:decorative xmlns:adec="http://schemas.microsoft.com/office/drawing/2017/decorative" val="1"/>
              </a:ext>
            </a:extLst>
          </p:cNvPr>
          <p:cNvGrpSpPr>
            <a:grpSpLocks noChangeAspect="1"/>
          </p:cNvGrpSpPr>
          <p:nvPr/>
        </p:nvGrpSpPr>
        <p:grpSpPr>
          <a:xfrm>
            <a:off x="7685033" y="2427438"/>
            <a:ext cx="152246" cy="152246"/>
            <a:chOff x="1904380" y="5886624"/>
            <a:chExt cx="152246" cy="152246"/>
          </a:xfrm>
        </p:grpSpPr>
        <p:sp>
          <p:nvSpPr>
            <p:cNvPr id="4810" name="Freeform: Shape 4809">
              <a:extLst>
                <a:ext uri="{FF2B5EF4-FFF2-40B4-BE49-F238E27FC236}">
                  <a16:creationId xmlns:a16="http://schemas.microsoft.com/office/drawing/2014/main" id="{35671DCB-E5D1-45B8-B59E-F683096AFAE3}"/>
                </a:ext>
              </a:extLst>
            </p:cNvPr>
            <p:cNvSpPr/>
            <p:nvPr/>
          </p:nvSpPr>
          <p:spPr>
            <a:xfrm>
              <a:off x="1904380" y="5886624"/>
              <a:ext cx="152246" cy="152246"/>
            </a:xfrm>
            <a:custGeom>
              <a:avLst/>
              <a:gdLst>
                <a:gd name="connsiteX0" fmla="*/ 76123 w 152245"/>
                <a:gd name="connsiteY0" fmla="*/ 0 h 152245"/>
                <a:gd name="connsiteX1" fmla="*/ 11195 w 152245"/>
                <a:gd name="connsiteY1" fmla="*/ 36270 h 152245"/>
                <a:gd name="connsiteX2" fmla="*/ 11195 w 152245"/>
                <a:gd name="connsiteY2" fmla="*/ 15672 h 152245"/>
                <a:gd name="connsiteX3" fmla="*/ 8956 w 152245"/>
                <a:gd name="connsiteY3" fmla="*/ 13433 h 152245"/>
                <a:gd name="connsiteX4" fmla="*/ 6717 w 152245"/>
                <a:gd name="connsiteY4" fmla="*/ 15672 h 152245"/>
                <a:gd name="connsiteX5" fmla="*/ 6717 w 152245"/>
                <a:gd name="connsiteY5" fmla="*/ 42539 h 152245"/>
                <a:gd name="connsiteX6" fmla="*/ 8956 w 152245"/>
                <a:gd name="connsiteY6" fmla="*/ 44778 h 152245"/>
                <a:gd name="connsiteX7" fmla="*/ 35823 w 152245"/>
                <a:gd name="connsiteY7" fmla="*/ 44778 h 152245"/>
                <a:gd name="connsiteX8" fmla="*/ 38061 w 152245"/>
                <a:gd name="connsiteY8" fmla="*/ 42539 h 152245"/>
                <a:gd name="connsiteX9" fmla="*/ 35823 w 152245"/>
                <a:gd name="connsiteY9" fmla="*/ 40300 h 152245"/>
                <a:gd name="connsiteX10" fmla="*/ 13881 w 152245"/>
                <a:gd name="connsiteY10" fmla="*/ 40300 h 152245"/>
                <a:gd name="connsiteX11" fmla="*/ 76123 w 152245"/>
                <a:gd name="connsiteY11" fmla="*/ 4478 h 152245"/>
                <a:gd name="connsiteX12" fmla="*/ 147768 w 152245"/>
                <a:gd name="connsiteY12" fmla="*/ 76123 h 152245"/>
                <a:gd name="connsiteX13" fmla="*/ 76123 w 152245"/>
                <a:gd name="connsiteY13" fmla="*/ 147768 h 152245"/>
                <a:gd name="connsiteX14" fmla="*/ 4478 w 152245"/>
                <a:gd name="connsiteY14" fmla="*/ 76123 h 152245"/>
                <a:gd name="connsiteX15" fmla="*/ 2239 w 152245"/>
                <a:gd name="connsiteY15" fmla="*/ 73884 h 152245"/>
                <a:gd name="connsiteX16" fmla="*/ 0 w 152245"/>
                <a:gd name="connsiteY16" fmla="*/ 76123 h 152245"/>
                <a:gd name="connsiteX17" fmla="*/ 76123 w 152245"/>
                <a:gd name="connsiteY17" fmla="*/ 152246 h 152245"/>
                <a:gd name="connsiteX18" fmla="*/ 152246 w 152245"/>
                <a:gd name="connsiteY18" fmla="*/ 76123 h 152245"/>
                <a:gd name="connsiteX19" fmla="*/ 76123 w 152245"/>
                <a:gd name="connsiteY19" fmla="*/ 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245" h="152245">
                  <a:moveTo>
                    <a:pt x="76123" y="0"/>
                  </a:moveTo>
                  <a:cubicBezTo>
                    <a:pt x="49256" y="0"/>
                    <a:pt x="25076" y="13881"/>
                    <a:pt x="11195" y="36270"/>
                  </a:cubicBezTo>
                  <a:lnTo>
                    <a:pt x="11195" y="15672"/>
                  </a:lnTo>
                  <a:cubicBezTo>
                    <a:pt x="11195" y="14329"/>
                    <a:pt x="10299" y="13433"/>
                    <a:pt x="8956" y="13433"/>
                  </a:cubicBezTo>
                  <a:cubicBezTo>
                    <a:pt x="7612" y="13433"/>
                    <a:pt x="6717" y="14329"/>
                    <a:pt x="6717" y="15672"/>
                  </a:cubicBezTo>
                  <a:lnTo>
                    <a:pt x="6717" y="42539"/>
                  </a:lnTo>
                  <a:cubicBezTo>
                    <a:pt x="6717" y="43883"/>
                    <a:pt x="7612" y="44778"/>
                    <a:pt x="8956" y="44778"/>
                  </a:cubicBezTo>
                  <a:lnTo>
                    <a:pt x="35823" y="44778"/>
                  </a:lnTo>
                  <a:cubicBezTo>
                    <a:pt x="37166" y="44778"/>
                    <a:pt x="38061" y="43883"/>
                    <a:pt x="38061" y="42539"/>
                  </a:cubicBezTo>
                  <a:cubicBezTo>
                    <a:pt x="38061" y="41196"/>
                    <a:pt x="37166" y="40300"/>
                    <a:pt x="35823" y="40300"/>
                  </a:cubicBezTo>
                  <a:lnTo>
                    <a:pt x="13881" y="40300"/>
                  </a:lnTo>
                  <a:cubicBezTo>
                    <a:pt x="26867" y="17911"/>
                    <a:pt x="50152" y="4478"/>
                    <a:pt x="76123" y="4478"/>
                  </a:cubicBezTo>
                  <a:cubicBezTo>
                    <a:pt x="115528" y="4478"/>
                    <a:pt x="147768" y="36718"/>
                    <a:pt x="147768" y="76123"/>
                  </a:cubicBezTo>
                  <a:cubicBezTo>
                    <a:pt x="147768" y="115528"/>
                    <a:pt x="115528" y="147768"/>
                    <a:pt x="76123" y="147768"/>
                  </a:cubicBezTo>
                  <a:cubicBezTo>
                    <a:pt x="36718" y="147768"/>
                    <a:pt x="4478" y="115528"/>
                    <a:pt x="4478" y="76123"/>
                  </a:cubicBezTo>
                  <a:cubicBezTo>
                    <a:pt x="4478" y="74780"/>
                    <a:pt x="3582" y="73884"/>
                    <a:pt x="2239" y="73884"/>
                  </a:cubicBezTo>
                  <a:cubicBezTo>
                    <a:pt x="896" y="73884"/>
                    <a:pt x="0" y="74780"/>
                    <a:pt x="0" y="76123"/>
                  </a:cubicBezTo>
                  <a:cubicBezTo>
                    <a:pt x="0" y="118214"/>
                    <a:pt x="34031" y="152246"/>
                    <a:pt x="76123" y="152246"/>
                  </a:cubicBezTo>
                  <a:cubicBezTo>
                    <a:pt x="118214" y="152246"/>
                    <a:pt x="152246" y="118214"/>
                    <a:pt x="152246" y="76123"/>
                  </a:cubicBezTo>
                  <a:cubicBezTo>
                    <a:pt x="152246" y="34031"/>
                    <a:pt x="117767" y="0"/>
                    <a:pt x="76123" y="0"/>
                  </a:cubicBezTo>
                  <a:close/>
                </a:path>
              </a:pathLst>
            </a:custGeom>
            <a:solidFill>
              <a:srgbClr val="231F20"/>
            </a:solidFill>
            <a:ln w="4474" cap="flat">
              <a:noFill/>
              <a:prstDash val="solid"/>
              <a:miter/>
            </a:ln>
          </p:spPr>
          <p:txBody>
            <a:bodyPr rtlCol="0" anchor="ctr"/>
            <a:lstStyle/>
            <a:p>
              <a:endParaRPr lang="en-US"/>
            </a:p>
          </p:txBody>
        </p:sp>
        <p:sp>
          <p:nvSpPr>
            <p:cNvPr id="4811" name="Freeform: Shape 4810">
              <a:extLst>
                <a:ext uri="{FF2B5EF4-FFF2-40B4-BE49-F238E27FC236}">
                  <a16:creationId xmlns:a16="http://schemas.microsoft.com/office/drawing/2014/main" id="{29D50DB8-E88A-4B2C-B846-CB052FB20141}"/>
                </a:ext>
              </a:extLst>
            </p:cNvPr>
            <p:cNvSpPr/>
            <p:nvPr/>
          </p:nvSpPr>
          <p:spPr>
            <a:xfrm>
              <a:off x="1978264" y="5900058"/>
              <a:ext cx="49256" cy="62689"/>
            </a:xfrm>
            <a:custGeom>
              <a:avLst/>
              <a:gdLst>
                <a:gd name="connsiteX0" fmla="*/ 2239 w 49255"/>
                <a:gd name="connsiteY0" fmla="*/ 0 h 62689"/>
                <a:gd name="connsiteX1" fmla="*/ 0 w 49255"/>
                <a:gd name="connsiteY1" fmla="*/ 2239 h 62689"/>
                <a:gd name="connsiteX2" fmla="*/ 0 w 49255"/>
                <a:gd name="connsiteY2" fmla="*/ 62689 h 62689"/>
                <a:gd name="connsiteX3" fmla="*/ 2239 w 49255"/>
                <a:gd name="connsiteY3" fmla="*/ 64928 h 62689"/>
                <a:gd name="connsiteX4" fmla="*/ 49256 w 49255"/>
                <a:gd name="connsiteY4" fmla="*/ 64928 h 62689"/>
                <a:gd name="connsiteX5" fmla="*/ 51495 w 49255"/>
                <a:gd name="connsiteY5" fmla="*/ 62689 h 62689"/>
                <a:gd name="connsiteX6" fmla="*/ 49256 w 49255"/>
                <a:gd name="connsiteY6" fmla="*/ 60451 h 62689"/>
                <a:gd name="connsiteX7" fmla="*/ 4478 w 49255"/>
                <a:gd name="connsiteY7" fmla="*/ 60451 h 62689"/>
                <a:gd name="connsiteX8" fmla="*/ 4478 w 49255"/>
                <a:gd name="connsiteY8" fmla="*/ 2239 h 62689"/>
                <a:gd name="connsiteX9" fmla="*/ 2239 w 49255"/>
                <a:gd name="connsiteY9" fmla="*/ 0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55" h="62689">
                  <a:moveTo>
                    <a:pt x="2239" y="0"/>
                  </a:moveTo>
                  <a:cubicBezTo>
                    <a:pt x="896" y="0"/>
                    <a:pt x="0" y="896"/>
                    <a:pt x="0" y="2239"/>
                  </a:cubicBezTo>
                  <a:lnTo>
                    <a:pt x="0" y="62689"/>
                  </a:lnTo>
                  <a:cubicBezTo>
                    <a:pt x="0" y="64033"/>
                    <a:pt x="896" y="64928"/>
                    <a:pt x="2239" y="64928"/>
                  </a:cubicBezTo>
                  <a:lnTo>
                    <a:pt x="49256" y="64928"/>
                  </a:lnTo>
                  <a:cubicBezTo>
                    <a:pt x="50599" y="64928"/>
                    <a:pt x="51495" y="64033"/>
                    <a:pt x="51495" y="62689"/>
                  </a:cubicBezTo>
                  <a:cubicBezTo>
                    <a:pt x="51495" y="61346"/>
                    <a:pt x="50599" y="60451"/>
                    <a:pt x="49256" y="60451"/>
                  </a:cubicBezTo>
                  <a:lnTo>
                    <a:pt x="4478" y="60451"/>
                  </a:lnTo>
                  <a:lnTo>
                    <a:pt x="4478" y="2239"/>
                  </a:lnTo>
                  <a:cubicBezTo>
                    <a:pt x="4478" y="896"/>
                    <a:pt x="3135" y="0"/>
                    <a:pt x="2239" y="0"/>
                  </a:cubicBezTo>
                  <a:close/>
                </a:path>
              </a:pathLst>
            </a:custGeom>
            <a:solidFill>
              <a:srgbClr val="231F20"/>
            </a:solidFill>
            <a:ln w="4474" cap="flat">
              <a:noFill/>
              <a:prstDash val="solid"/>
              <a:miter/>
            </a:ln>
          </p:spPr>
          <p:txBody>
            <a:bodyPr rtlCol="0" anchor="ctr"/>
            <a:lstStyle/>
            <a:p>
              <a:endParaRPr lang="en-US"/>
            </a:p>
          </p:txBody>
        </p:sp>
      </p:grpSp>
      <p:grpSp>
        <p:nvGrpSpPr>
          <p:cNvPr id="4812" name="Group 4811">
            <a:extLst>
              <a:ext uri="{FF2B5EF4-FFF2-40B4-BE49-F238E27FC236}">
                <a16:creationId xmlns:a16="http://schemas.microsoft.com/office/drawing/2014/main" id="{1482E64D-6338-4A94-95A5-037A8FC19975}"/>
              </a:ext>
              <a:ext uri="{C183D7F6-B498-43B3-948B-1728B52AA6E4}">
                <adec:decorative xmlns:adec="http://schemas.microsoft.com/office/drawing/2017/decorative" val="1"/>
              </a:ext>
            </a:extLst>
          </p:cNvPr>
          <p:cNvGrpSpPr>
            <a:grpSpLocks noChangeAspect="1"/>
          </p:cNvGrpSpPr>
          <p:nvPr/>
        </p:nvGrpSpPr>
        <p:grpSpPr>
          <a:xfrm>
            <a:off x="8228193" y="2427438"/>
            <a:ext cx="125379" cy="138812"/>
            <a:chOff x="2447540" y="5886624"/>
            <a:chExt cx="125379" cy="138812"/>
          </a:xfrm>
        </p:grpSpPr>
        <p:sp>
          <p:nvSpPr>
            <p:cNvPr id="4813" name="Freeform: Shape 4812">
              <a:extLst>
                <a:ext uri="{FF2B5EF4-FFF2-40B4-BE49-F238E27FC236}">
                  <a16:creationId xmlns:a16="http://schemas.microsoft.com/office/drawing/2014/main" id="{47E5BB99-E377-40BF-9CF5-2E468863F5E1}"/>
                </a:ext>
              </a:extLst>
            </p:cNvPr>
            <p:cNvSpPr/>
            <p:nvPr/>
          </p:nvSpPr>
          <p:spPr>
            <a:xfrm>
              <a:off x="2447540" y="5886624"/>
              <a:ext cx="125379" cy="138812"/>
            </a:xfrm>
            <a:custGeom>
              <a:avLst/>
              <a:gdLst>
                <a:gd name="connsiteX0" fmla="*/ 101646 w 125378"/>
                <a:gd name="connsiteY0" fmla="*/ 26867 h 138812"/>
                <a:gd name="connsiteX1" fmla="*/ 111498 w 125378"/>
                <a:gd name="connsiteY1" fmla="*/ 17016 h 138812"/>
                <a:gd name="connsiteX2" fmla="*/ 111498 w 125378"/>
                <a:gd name="connsiteY2" fmla="*/ 13881 h 138812"/>
                <a:gd name="connsiteX3" fmla="*/ 108363 w 125378"/>
                <a:gd name="connsiteY3" fmla="*/ 13881 h 138812"/>
                <a:gd name="connsiteX4" fmla="*/ 98064 w 125378"/>
                <a:gd name="connsiteY4" fmla="*/ 24180 h 138812"/>
                <a:gd name="connsiteX5" fmla="*/ 64928 w 125378"/>
                <a:gd name="connsiteY5" fmla="*/ 13433 h 138812"/>
                <a:gd name="connsiteX6" fmla="*/ 64928 w 125378"/>
                <a:gd name="connsiteY6" fmla="*/ 4478 h 138812"/>
                <a:gd name="connsiteX7" fmla="*/ 82840 w 125378"/>
                <a:gd name="connsiteY7" fmla="*/ 4478 h 138812"/>
                <a:gd name="connsiteX8" fmla="*/ 85079 w 125378"/>
                <a:gd name="connsiteY8" fmla="*/ 2239 h 138812"/>
                <a:gd name="connsiteX9" fmla="*/ 82840 w 125378"/>
                <a:gd name="connsiteY9" fmla="*/ 0 h 138812"/>
                <a:gd name="connsiteX10" fmla="*/ 42539 w 125378"/>
                <a:gd name="connsiteY10" fmla="*/ 0 h 138812"/>
                <a:gd name="connsiteX11" fmla="*/ 40300 w 125378"/>
                <a:gd name="connsiteY11" fmla="*/ 2239 h 138812"/>
                <a:gd name="connsiteX12" fmla="*/ 42539 w 125378"/>
                <a:gd name="connsiteY12" fmla="*/ 4478 h 138812"/>
                <a:gd name="connsiteX13" fmla="*/ 60451 w 125378"/>
                <a:gd name="connsiteY13" fmla="*/ 4478 h 138812"/>
                <a:gd name="connsiteX14" fmla="*/ 60451 w 125378"/>
                <a:gd name="connsiteY14" fmla="*/ 13433 h 138812"/>
                <a:gd name="connsiteX15" fmla="*/ 0 w 125378"/>
                <a:gd name="connsiteY15" fmla="*/ 76123 h 138812"/>
                <a:gd name="connsiteX16" fmla="*/ 62689 w 125378"/>
                <a:gd name="connsiteY16" fmla="*/ 138812 h 138812"/>
                <a:gd name="connsiteX17" fmla="*/ 125379 w 125378"/>
                <a:gd name="connsiteY17" fmla="*/ 76123 h 138812"/>
                <a:gd name="connsiteX18" fmla="*/ 101646 w 125378"/>
                <a:gd name="connsiteY18" fmla="*/ 26867 h 138812"/>
                <a:gd name="connsiteX19" fmla="*/ 62689 w 125378"/>
                <a:gd name="connsiteY19" fmla="*/ 134335 h 138812"/>
                <a:gd name="connsiteX20" fmla="*/ 4478 w 125378"/>
                <a:gd name="connsiteY20" fmla="*/ 76123 h 138812"/>
                <a:gd name="connsiteX21" fmla="*/ 62689 w 125378"/>
                <a:gd name="connsiteY21" fmla="*/ 17911 h 138812"/>
                <a:gd name="connsiteX22" fmla="*/ 120901 w 125378"/>
                <a:gd name="connsiteY22" fmla="*/ 76123 h 138812"/>
                <a:gd name="connsiteX23" fmla="*/ 62689 w 125378"/>
                <a:gd name="connsiteY23"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378" h="138812">
                  <a:moveTo>
                    <a:pt x="101646" y="26867"/>
                  </a:moveTo>
                  <a:lnTo>
                    <a:pt x="111498" y="17016"/>
                  </a:lnTo>
                  <a:cubicBezTo>
                    <a:pt x="112393" y="16120"/>
                    <a:pt x="112393" y="14777"/>
                    <a:pt x="111498" y="13881"/>
                  </a:cubicBezTo>
                  <a:cubicBezTo>
                    <a:pt x="110602" y="12986"/>
                    <a:pt x="109259" y="12986"/>
                    <a:pt x="108363" y="13881"/>
                  </a:cubicBezTo>
                  <a:lnTo>
                    <a:pt x="98064" y="24180"/>
                  </a:lnTo>
                  <a:cubicBezTo>
                    <a:pt x="88661" y="17911"/>
                    <a:pt x="77466" y="13881"/>
                    <a:pt x="64928" y="13433"/>
                  </a:cubicBezTo>
                  <a:lnTo>
                    <a:pt x="64928" y="4478"/>
                  </a:lnTo>
                  <a:lnTo>
                    <a:pt x="82840" y="4478"/>
                  </a:lnTo>
                  <a:cubicBezTo>
                    <a:pt x="84183" y="4478"/>
                    <a:pt x="85079" y="3582"/>
                    <a:pt x="85079" y="2239"/>
                  </a:cubicBezTo>
                  <a:cubicBezTo>
                    <a:pt x="85079" y="896"/>
                    <a:pt x="84183" y="0"/>
                    <a:pt x="82840" y="0"/>
                  </a:cubicBezTo>
                  <a:lnTo>
                    <a:pt x="42539" y="0"/>
                  </a:lnTo>
                  <a:cubicBezTo>
                    <a:pt x="41196" y="0"/>
                    <a:pt x="40300" y="896"/>
                    <a:pt x="40300" y="2239"/>
                  </a:cubicBezTo>
                  <a:cubicBezTo>
                    <a:pt x="40300" y="3582"/>
                    <a:pt x="41196" y="4478"/>
                    <a:pt x="42539" y="4478"/>
                  </a:cubicBezTo>
                  <a:lnTo>
                    <a:pt x="60451" y="4478"/>
                  </a:lnTo>
                  <a:lnTo>
                    <a:pt x="60451" y="13433"/>
                  </a:lnTo>
                  <a:cubicBezTo>
                    <a:pt x="26867" y="14777"/>
                    <a:pt x="0" y="42092"/>
                    <a:pt x="0" y="76123"/>
                  </a:cubicBezTo>
                  <a:cubicBezTo>
                    <a:pt x="0" y="110602"/>
                    <a:pt x="28210" y="138812"/>
                    <a:pt x="62689" y="138812"/>
                  </a:cubicBezTo>
                  <a:cubicBezTo>
                    <a:pt x="97169" y="138812"/>
                    <a:pt x="125379" y="110602"/>
                    <a:pt x="125379" y="76123"/>
                  </a:cubicBezTo>
                  <a:cubicBezTo>
                    <a:pt x="125379" y="56420"/>
                    <a:pt x="115975" y="38509"/>
                    <a:pt x="101646" y="26867"/>
                  </a:cubicBezTo>
                  <a:close/>
                  <a:moveTo>
                    <a:pt x="62689" y="134335"/>
                  </a:moveTo>
                  <a:cubicBezTo>
                    <a:pt x="30449" y="134335"/>
                    <a:pt x="4478" y="108364"/>
                    <a:pt x="4478" y="76123"/>
                  </a:cubicBezTo>
                  <a:cubicBezTo>
                    <a:pt x="4478" y="43883"/>
                    <a:pt x="30449" y="17911"/>
                    <a:pt x="62689" y="17911"/>
                  </a:cubicBezTo>
                  <a:cubicBezTo>
                    <a:pt x="94930" y="17911"/>
                    <a:pt x="120901" y="43883"/>
                    <a:pt x="120901" y="76123"/>
                  </a:cubicBezTo>
                  <a:cubicBezTo>
                    <a:pt x="120901" y="108364"/>
                    <a:pt x="94930" y="134335"/>
                    <a:pt x="62689" y="134335"/>
                  </a:cubicBezTo>
                  <a:close/>
                </a:path>
              </a:pathLst>
            </a:custGeom>
            <a:solidFill>
              <a:srgbClr val="231F20"/>
            </a:solidFill>
            <a:ln w="4474" cap="flat">
              <a:noFill/>
              <a:prstDash val="solid"/>
              <a:miter/>
            </a:ln>
          </p:spPr>
          <p:txBody>
            <a:bodyPr rtlCol="0" anchor="ctr"/>
            <a:lstStyle/>
            <a:p>
              <a:endParaRPr lang="en-US"/>
            </a:p>
          </p:txBody>
        </p:sp>
        <p:sp>
          <p:nvSpPr>
            <p:cNvPr id="4814" name="Freeform: Shape 4813">
              <a:extLst>
                <a:ext uri="{FF2B5EF4-FFF2-40B4-BE49-F238E27FC236}">
                  <a16:creationId xmlns:a16="http://schemas.microsoft.com/office/drawing/2014/main" id="{A3AEE74C-314D-42F5-A059-FC661F113C0E}"/>
                </a:ext>
              </a:extLst>
            </p:cNvPr>
            <p:cNvSpPr/>
            <p:nvPr/>
          </p:nvSpPr>
          <p:spPr>
            <a:xfrm>
              <a:off x="2474183" y="5927149"/>
              <a:ext cx="35823" cy="35823"/>
            </a:xfrm>
            <a:custGeom>
              <a:avLst/>
              <a:gdLst>
                <a:gd name="connsiteX0" fmla="*/ 3806 w 35822"/>
                <a:gd name="connsiteY0" fmla="*/ 672 h 35822"/>
                <a:gd name="connsiteX1" fmla="*/ 672 w 35822"/>
                <a:gd name="connsiteY1" fmla="*/ 672 h 35822"/>
                <a:gd name="connsiteX2" fmla="*/ 672 w 35822"/>
                <a:gd name="connsiteY2" fmla="*/ 3806 h 35822"/>
                <a:gd name="connsiteX3" fmla="*/ 34255 w 35822"/>
                <a:gd name="connsiteY3" fmla="*/ 37390 h 35822"/>
                <a:gd name="connsiteX4" fmla="*/ 36046 w 35822"/>
                <a:gd name="connsiteY4" fmla="*/ 37837 h 35822"/>
                <a:gd name="connsiteX5" fmla="*/ 37838 w 35822"/>
                <a:gd name="connsiteY5" fmla="*/ 37390 h 35822"/>
                <a:gd name="connsiteX6" fmla="*/ 37838 w 35822"/>
                <a:gd name="connsiteY6" fmla="*/ 34256 h 35822"/>
                <a:gd name="connsiteX7" fmla="*/ 3806 w 35822"/>
                <a:gd name="connsiteY7" fmla="*/ 672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22" h="35822">
                  <a:moveTo>
                    <a:pt x="3806" y="672"/>
                  </a:moveTo>
                  <a:cubicBezTo>
                    <a:pt x="2911" y="-224"/>
                    <a:pt x="1567" y="-224"/>
                    <a:pt x="672" y="672"/>
                  </a:cubicBezTo>
                  <a:cubicBezTo>
                    <a:pt x="-224" y="1567"/>
                    <a:pt x="-224" y="2911"/>
                    <a:pt x="672" y="3806"/>
                  </a:cubicBezTo>
                  <a:lnTo>
                    <a:pt x="34255" y="37390"/>
                  </a:lnTo>
                  <a:cubicBezTo>
                    <a:pt x="34703" y="37837"/>
                    <a:pt x="35151" y="37837"/>
                    <a:pt x="36046" y="37837"/>
                  </a:cubicBezTo>
                  <a:cubicBezTo>
                    <a:pt x="36942" y="37837"/>
                    <a:pt x="37390" y="37837"/>
                    <a:pt x="37838" y="37390"/>
                  </a:cubicBezTo>
                  <a:cubicBezTo>
                    <a:pt x="38733" y="36494"/>
                    <a:pt x="38733" y="35151"/>
                    <a:pt x="37838" y="34256"/>
                  </a:cubicBezTo>
                  <a:lnTo>
                    <a:pt x="3806" y="672"/>
                  </a:lnTo>
                  <a:close/>
                </a:path>
              </a:pathLst>
            </a:custGeom>
            <a:solidFill>
              <a:srgbClr val="231F20"/>
            </a:solidFill>
            <a:ln w="4474" cap="flat">
              <a:noFill/>
              <a:prstDash val="solid"/>
              <a:miter/>
            </a:ln>
          </p:spPr>
          <p:txBody>
            <a:bodyPr rtlCol="0" anchor="ctr"/>
            <a:lstStyle/>
            <a:p>
              <a:endParaRPr lang="en-US"/>
            </a:p>
          </p:txBody>
        </p:sp>
      </p:grpSp>
      <p:grpSp>
        <p:nvGrpSpPr>
          <p:cNvPr id="4815" name="Group 4814">
            <a:extLst>
              <a:ext uri="{FF2B5EF4-FFF2-40B4-BE49-F238E27FC236}">
                <a16:creationId xmlns:a16="http://schemas.microsoft.com/office/drawing/2014/main" id="{FBB1F8E9-687E-4EDF-BC01-55D917E97FE2}"/>
              </a:ext>
              <a:ext uri="{C183D7F6-B498-43B3-948B-1728B52AA6E4}">
                <adec:decorative xmlns:adec="http://schemas.microsoft.com/office/drawing/2017/decorative" val="1"/>
              </a:ext>
            </a:extLst>
          </p:cNvPr>
          <p:cNvGrpSpPr>
            <a:grpSpLocks noChangeAspect="1"/>
          </p:cNvGrpSpPr>
          <p:nvPr/>
        </p:nvGrpSpPr>
        <p:grpSpPr>
          <a:xfrm>
            <a:off x="8488354" y="2427438"/>
            <a:ext cx="125379" cy="138812"/>
            <a:chOff x="2707701" y="5886624"/>
            <a:chExt cx="125379" cy="138812"/>
          </a:xfrm>
        </p:grpSpPr>
        <p:sp>
          <p:nvSpPr>
            <p:cNvPr id="4816" name="Freeform: Shape 4815">
              <a:extLst>
                <a:ext uri="{FF2B5EF4-FFF2-40B4-BE49-F238E27FC236}">
                  <a16:creationId xmlns:a16="http://schemas.microsoft.com/office/drawing/2014/main" id="{C9A1D576-B686-479F-B11E-8B8CC2932A5D}"/>
                </a:ext>
              </a:extLst>
            </p:cNvPr>
            <p:cNvSpPr/>
            <p:nvPr/>
          </p:nvSpPr>
          <p:spPr>
            <a:xfrm>
              <a:off x="2707701" y="5886624"/>
              <a:ext cx="125379" cy="138812"/>
            </a:xfrm>
            <a:custGeom>
              <a:avLst/>
              <a:gdLst>
                <a:gd name="connsiteX0" fmla="*/ 101647 w 125378"/>
                <a:gd name="connsiteY0" fmla="*/ 26867 h 138812"/>
                <a:gd name="connsiteX1" fmla="*/ 111498 w 125378"/>
                <a:gd name="connsiteY1" fmla="*/ 17016 h 138812"/>
                <a:gd name="connsiteX2" fmla="*/ 111498 w 125378"/>
                <a:gd name="connsiteY2" fmla="*/ 13881 h 138812"/>
                <a:gd name="connsiteX3" fmla="*/ 108363 w 125378"/>
                <a:gd name="connsiteY3" fmla="*/ 13881 h 138812"/>
                <a:gd name="connsiteX4" fmla="*/ 98064 w 125378"/>
                <a:gd name="connsiteY4" fmla="*/ 24180 h 138812"/>
                <a:gd name="connsiteX5" fmla="*/ 64928 w 125378"/>
                <a:gd name="connsiteY5" fmla="*/ 13433 h 138812"/>
                <a:gd name="connsiteX6" fmla="*/ 64928 w 125378"/>
                <a:gd name="connsiteY6" fmla="*/ 4478 h 138812"/>
                <a:gd name="connsiteX7" fmla="*/ 82840 w 125378"/>
                <a:gd name="connsiteY7" fmla="*/ 4478 h 138812"/>
                <a:gd name="connsiteX8" fmla="*/ 85079 w 125378"/>
                <a:gd name="connsiteY8" fmla="*/ 2239 h 138812"/>
                <a:gd name="connsiteX9" fmla="*/ 82840 w 125378"/>
                <a:gd name="connsiteY9" fmla="*/ 0 h 138812"/>
                <a:gd name="connsiteX10" fmla="*/ 42539 w 125378"/>
                <a:gd name="connsiteY10" fmla="*/ 0 h 138812"/>
                <a:gd name="connsiteX11" fmla="*/ 40300 w 125378"/>
                <a:gd name="connsiteY11" fmla="*/ 2239 h 138812"/>
                <a:gd name="connsiteX12" fmla="*/ 42539 w 125378"/>
                <a:gd name="connsiteY12" fmla="*/ 4478 h 138812"/>
                <a:gd name="connsiteX13" fmla="*/ 60451 w 125378"/>
                <a:gd name="connsiteY13" fmla="*/ 4478 h 138812"/>
                <a:gd name="connsiteX14" fmla="*/ 60451 w 125378"/>
                <a:gd name="connsiteY14" fmla="*/ 13433 h 138812"/>
                <a:gd name="connsiteX15" fmla="*/ 0 w 125378"/>
                <a:gd name="connsiteY15" fmla="*/ 76123 h 138812"/>
                <a:gd name="connsiteX16" fmla="*/ 62689 w 125378"/>
                <a:gd name="connsiteY16" fmla="*/ 138812 h 138812"/>
                <a:gd name="connsiteX17" fmla="*/ 125379 w 125378"/>
                <a:gd name="connsiteY17" fmla="*/ 76123 h 138812"/>
                <a:gd name="connsiteX18" fmla="*/ 101647 w 125378"/>
                <a:gd name="connsiteY18" fmla="*/ 26867 h 138812"/>
                <a:gd name="connsiteX19" fmla="*/ 62689 w 125378"/>
                <a:gd name="connsiteY19" fmla="*/ 134335 h 138812"/>
                <a:gd name="connsiteX20" fmla="*/ 4478 w 125378"/>
                <a:gd name="connsiteY20" fmla="*/ 76123 h 138812"/>
                <a:gd name="connsiteX21" fmla="*/ 62689 w 125378"/>
                <a:gd name="connsiteY21" fmla="*/ 17911 h 138812"/>
                <a:gd name="connsiteX22" fmla="*/ 120901 w 125378"/>
                <a:gd name="connsiteY22" fmla="*/ 76123 h 138812"/>
                <a:gd name="connsiteX23" fmla="*/ 62689 w 125378"/>
                <a:gd name="connsiteY23" fmla="*/ 13433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378" h="138812">
                  <a:moveTo>
                    <a:pt x="101647" y="26867"/>
                  </a:moveTo>
                  <a:lnTo>
                    <a:pt x="111498" y="17016"/>
                  </a:lnTo>
                  <a:cubicBezTo>
                    <a:pt x="112393" y="16120"/>
                    <a:pt x="112393" y="14777"/>
                    <a:pt x="111498" y="13881"/>
                  </a:cubicBezTo>
                  <a:cubicBezTo>
                    <a:pt x="110602" y="12986"/>
                    <a:pt x="109259" y="12986"/>
                    <a:pt x="108363" y="13881"/>
                  </a:cubicBezTo>
                  <a:lnTo>
                    <a:pt x="98064" y="24180"/>
                  </a:lnTo>
                  <a:cubicBezTo>
                    <a:pt x="88661" y="17911"/>
                    <a:pt x="77466" y="13881"/>
                    <a:pt x="64928" y="13433"/>
                  </a:cubicBezTo>
                  <a:lnTo>
                    <a:pt x="64928" y="4478"/>
                  </a:lnTo>
                  <a:lnTo>
                    <a:pt x="82840" y="4478"/>
                  </a:lnTo>
                  <a:cubicBezTo>
                    <a:pt x="84183" y="4478"/>
                    <a:pt x="85079" y="3582"/>
                    <a:pt x="85079" y="2239"/>
                  </a:cubicBezTo>
                  <a:cubicBezTo>
                    <a:pt x="85079" y="896"/>
                    <a:pt x="84183" y="0"/>
                    <a:pt x="82840" y="0"/>
                  </a:cubicBezTo>
                  <a:lnTo>
                    <a:pt x="42539" y="0"/>
                  </a:lnTo>
                  <a:cubicBezTo>
                    <a:pt x="41196" y="0"/>
                    <a:pt x="40300" y="896"/>
                    <a:pt x="40300" y="2239"/>
                  </a:cubicBezTo>
                  <a:cubicBezTo>
                    <a:pt x="40300" y="3582"/>
                    <a:pt x="41196" y="4478"/>
                    <a:pt x="42539" y="4478"/>
                  </a:cubicBezTo>
                  <a:lnTo>
                    <a:pt x="60451" y="4478"/>
                  </a:lnTo>
                  <a:lnTo>
                    <a:pt x="60451" y="13433"/>
                  </a:lnTo>
                  <a:cubicBezTo>
                    <a:pt x="26867" y="14777"/>
                    <a:pt x="0" y="42092"/>
                    <a:pt x="0" y="76123"/>
                  </a:cubicBezTo>
                  <a:cubicBezTo>
                    <a:pt x="0" y="110602"/>
                    <a:pt x="28210" y="138812"/>
                    <a:pt x="62689" y="138812"/>
                  </a:cubicBezTo>
                  <a:cubicBezTo>
                    <a:pt x="97169" y="138812"/>
                    <a:pt x="125379" y="110602"/>
                    <a:pt x="125379" y="76123"/>
                  </a:cubicBezTo>
                  <a:cubicBezTo>
                    <a:pt x="125379" y="56420"/>
                    <a:pt x="115976" y="38509"/>
                    <a:pt x="101647" y="26867"/>
                  </a:cubicBezTo>
                  <a:close/>
                  <a:moveTo>
                    <a:pt x="62689" y="134335"/>
                  </a:moveTo>
                  <a:cubicBezTo>
                    <a:pt x="30449" y="134335"/>
                    <a:pt x="4478" y="108364"/>
                    <a:pt x="4478" y="76123"/>
                  </a:cubicBezTo>
                  <a:cubicBezTo>
                    <a:pt x="4478" y="43883"/>
                    <a:pt x="30449" y="17911"/>
                    <a:pt x="62689" y="17911"/>
                  </a:cubicBezTo>
                  <a:cubicBezTo>
                    <a:pt x="94930" y="17911"/>
                    <a:pt x="120901" y="43883"/>
                    <a:pt x="120901" y="76123"/>
                  </a:cubicBezTo>
                  <a:cubicBezTo>
                    <a:pt x="120901" y="108364"/>
                    <a:pt x="94930" y="134335"/>
                    <a:pt x="62689" y="134335"/>
                  </a:cubicBezTo>
                  <a:close/>
                </a:path>
              </a:pathLst>
            </a:custGeom>
            <a:solidFill>
              <a:srgbClr val="231F20"/>
            </a:solidFill>
            <a:ln w="4474" cap="flat">
              <a:noFill/>
              <a:prstDash val="solid"/>
              <a:miter/>
            </a:ln>
          </p:spPr>
          <p:txBody>
            <a:bodyPr rtlCol="0" anchor="ctr"/>
            <a:lstStyle/>
            <a:p>
              <a:endParaRPr lang="en-US"/>
            </a:p>
          </p:txBody>
        </p:sp>
        <p:sp>
          <p:nvSpPr>
            <p:cNvPr id="4817" name="Freeform: Shape 4816">
              <a:extLst>
                <a:ext uri="{FF2B5EF4-FFF2-40B4-BE49-F238E27FC236}">
                  <a16:creationId xmlns:a16="http://schemas.microsoft.com/office/drawing/2014/main" id="{8FFDF06E-87CB-4F61-911F-E769A86E1CD9}"/>
                </a:ext>
              </a:extLst>
            </p:cNvPr>
            <p:cNvSpPr/>
            <p:nvPr/>
          </p:nvSpPr>
          <p:spPr>
            <a:xfrm>
              <a:off x="2768151" y="5913043"/>
              <a:ext cx="4478" cy="49256"/>
            </a:xfrm>
            <a:custGeom>
              <a:avLst/>
              <a:gdLst>
                <a:gd name="connsiteX0" fmla="*/ 2239 w 4477"/>
                <a:gd name="connsiteY0" fmla="*/ 0 h 49255"/>
                <a:gd name="connsiteX1" fmla="*/ 0 w 4477"/>
                <a:gd name="connsiteY1" fmla="*/ 2239 h 49255"/>
                <a:gd name="connsiteX2" fmla="*/ 0 w 4477"/>
                <a:gd name="connsiteY2" fmla="*/ 49704 h 49255"/>
                <a:gd name="connsiteX3" fmla="*/ 2239 w 4477"/>
                <a:gd name="connsiteY3" fmla="*/ 51943 h 49255"/>
                <a:gd name="connsiteX4" fmla="*/ 4478 w 4477"/>
                <a:gd name="connsiteY4" fmla="*/ 49704 h 49255"/>
                <a:gd name="connsiteX5" fmla="*/ 4478 w 4477"/>
                <a:gd name="connsiteY5" fmla="*/ 2239 h 49255"/>
                <a:gd name="connsiteX6" fmla="*/ 2239 w 4477"/>
                <a:gd name="connsiteY6" fmla="*/ 0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9255">
                  <a:moveTo>
                    <a:pt x="2239" y="0"/>
                  </a:moveTo>
                  <a:cubicBezTo>
                    <a:pt x="896" y="0"/>
                    <a:pt x="0" y="895"/>
                    <a:pt x="0" y="2239"/>
                  </a:cubicBezTo>
                  <a:lnTo>
                    <a:pt x="0" y="49704"/>
                  </a:lnTo>
                  <a:cubicBezTo>
                    <a:pt x="0" y="51047"/>
                    <a:pt x="896" y="51943"/>
                    <a:pt x="2239" y="51943"/>
                  </a:cubicBezTo>
                  <a:cubicBezTo>
                    <a:pt x="3582" y="51943"/>
                    <a:pt x="4478" y="51047"/>
                    <a:pt x="4478" y="49704"/>
                  </a:cubicBezTo>
                  <a:lnTo>
                    <a:pt x="4478" y="2239"/>
                  </a:lnTo>
                  <a:cubicBezTo>
                    <a:pt x="4478" y="895"/>
                    <a:pt x="3582" y="0"/>
                    <a:pt x="2239" y="0"/>
                  </a:cubicBezTo>
                  <a:close/>
                </a:path>
              </a:pathLst>
            </a:custGeom>
            <a:solidFill>
              <a:srgbClr val="231F20"/>
            </a:solidFill>
            <a:ln w="4474" cap="flat">
              <a:noFill/>
              <a:prstDash val="solid"/>
              <a:miter/>
            </a:ln>
          </p:spPr>
          <p:txBody>
            <a:bodyPr rtlCol="0" anchor="ctr"/>
            <a:lstStyle/>
            <a:p>
              <a:endParaRPr lang="en-US"/>
            </a:p>
          </p:txBody>
        </p:sp>
      </p:grpSp>
      <p:sp>
        <p:nvSpPr>
          <p:cNvPr id="4818" name="Freeform: Shape 4817">
            <a:extLst>
              <a:ext uri="{FF2B5EF4-FFF2-40B4-BE49-F238E27FC236}">
                <a16:creationId xmlns:a16="http://schemas.microsoft.com/office/drawing/2014/main" id="{BD26323A-3A6A-4C95-AA75-BAB5FE53F32E}"/>
              </a:ext>
              <a:ext uri="{C183D7F6-B498-43B3-948B-1728B52AA6E4}">
                <adec:decorative xmlns:adec="http://schemas.microsoft.com/office/drawing/2017/decorative" val="1"/>
              </a:ext>
            </a:extLst>
          </p:cNvPr>
          <p:cNvSpPr>
            <a:spLocks noChangeAspect="1"/>
          </p:cNvSpPr>
          <p:nvPr/>
        </p:nvSpPr>
        <p:spPr>
          <a:xfrm>
            <a:off x="8757471" y="2427438"/>
            <a:ext cx="98512" cy="152246"/>
          </a:xfrm>
          <a:custGeom>
            <a:avLst/>
            <a:gdLst>
              <a:gd name="connsiteX0" fmla="*/ 96273 w 98511"/>
              <a:gd name="connsiteY0" fmla="*/ 147768 h 152245"/>
              <a:gd name="connsiteX1" fmla="*/ 85079 w 98511"/>
              <a:gd name="connsiteY1" fmla="*/ 147768 h 152245"/>
              <a:gd name="connsiteX2" fmla="*/ 85079 w 98511"/>
              <a:gd name="connsiteY2" fmla="*/ 121797 h 152245"/>
              <a:gd name="connsiteX3" fmla="*/ 62242 w 98511"/>
              <a:gd name="connsiteY3" fmla="*/ 81497 h 152245"/>
              <a:gd name="connsiteX4" fmla="*/ 53734 w 98511"/>
              <a:gd name="connsiteY4" fmla="*/ 76123 h 152245"/>
              <a:gd name="connsiteX5" fmla="*/ 62242 w 98511"/>
              <a:gd name="connsiteY5" fmla="*/ 70750 h 152245"/>
              <a:gd name="connsiteX6" fmla="*/ 85079 w 98511"/>
              <a:gd name="connsiteY6" fmla="*/ 30449 h 152245"/>
              <a:gd name="connsiteX7" fmla="*/ 85079 w 98511"/>
              <a:gd name="connsiteY7" fmla="*/ 4478 h 152245"/>
              <a:gd name="connsiteX8" fmla="*/ 96273 w 98511"/>
              <a:gd name="connsiteY8" fmla="*/ 4478 h 152245"/>
              <a:gd name="connsiteX9" fmla="*/ 98512 w 98511"/>
              <a:gd name="connsiteY9" fmla="*/ 2239 h 152245"/>
              <a:gd name="connsiteX10" fmla="*/ 96273 w 98511"/>
              <a:gd name="connsiteY10" fmla="*/ 0 h 152245"/>
              <a:gd name="connsiteX11" fmla="*/ 2239 w 98511"/>
              <a:gd name="connsiteY11" fmla="*/ 0 h 152245"/>
              <a:gd name="connsiteX12" fmla="*/ 0 w 98511"/>
              <a:gd name="connsiteY12" fmla="*/ 2239 h 152245"/>
              <a:gd name="connsiteX13" fmla="*/ 2239 w 98511"/>
              <a:gd name="connsiteY13" fmla="*/ 4478 h 152245"/>
              <a:gd name="connsiteX14" fmla="*/ 13433 w 98511"/>
              <a:gd name="connsiteY14" fmla="*/ 4478 h 152245"/>
              <a:gd name="connsiteX15" fmla="*/ 13433 w 98511"/>
              <a:gd name="connsiteY15" fmla="*/ 30449 h 152245"/>
              <a:gd name="connsiteX16" fmla="*/ 36270 w 98511"/>
              <a:gd name="connsiteY16" fmla="*/ 70750 h 152245"/>
              <a:gd name="connsiteX17" fmla="*/ 44778 w 98511"/>
              <a:gd name="connsiteY17" fmla="*/ 76123 h 152245"/>
              <a:gd name="connsiteX18" fmla="*/ 36270 w 98511"/>
              <a:gd name="connsiteY18" fmla="*/ 81497 h 152245"/>
              <a:gd name="connsiteX19" fmla="*/ 13433 w 98511"/>
              <a:gd name="connsiteY19" fmla="*/ 121797 h 152245"/>
              <a:gd name="connsiteX20" fmla="*/ 13433 w 98511"/>
              <a:gd name="connsiteY20" fmla="*/ 147768 h 152245"/>
              <a:gd name="connsiteX21" fmla="*/ 2239 w 98511"/>
              <a:gd name="connsiteY21" fmla="*/ 147768 h 152245"/>
              <a:gd name="connsiteX22" fmla="*/ 0 w 98511"/>
              <a:gd name="connsiteY22" fmla="*/ 150007 h 152245"/>
              <a:gd name="connsiteX23" fmla="*/ 2239 w 98511"/>
              <a:gd name="connsiteY23" fmla="*/ 152246 h 152245"/>
              <a:gd name="connsiteX24" fmla="*/ 96273 w 98511"/>
              <a:gd name="connsiteY24" fmla="*/ 152246 h 152245"/>
              <a:gd name="connsiteX25" fmla="*/ 98512 w 98511"/>
              <a:gd name="connsiteY25" fmla="*/ 150007 h 152245"/>
              <a:gd name="connsiteX26" fmla="*/ 96273 w 98511"/>
              <a:gd name="connsiteY26" fmla="*/ 147768 h 152245"/>
              <a:gd name="connsiteX27" fmla="*/ 38957 w 98511"/>
              <a:gd name="connsiteY27" fmla="*/ 67167 h 152245"/>
              <a:gd name="connsiteX28" fmla="*/ 18359 w 98511"/>
              <a:gd name="connsiteY28" fmla="*/ 30897 h 152245"/>
              <a:gd name="connsiteX29" fmla="*/ 18359 w 98511"/>
              <a:gd name="connsiteY29" fmla="*/ 4925 h 152245"/>
              <a:gd name="connsiteX30" fmla="*/ 81048 w 98511"/>
              <a:gd name="connsiteY30" fmla="*/ 4925 h 152245"/>
              <a:gd name="connsiteX31" fmla="*/ 81048 w 98511"/>
              <a:gd name="connsiteY31" fmla="*/ 30897 h 152245"/>
              <a:gd name="connsiteX32" fmla="*/ 60451 w 98511"/>
              <a:gd name="connsiteY32" fmla="*/ 67167 h 152245"/>
              <a:gd name="connsiteX33" fmla="*/ 49704 w 98511"/>
              <a:gd name="connsiteY33" fmla="*/ 73436 h 152245"/>
              <a:gd name="connsiteX34" fmla="*/ 38957 w 98511"/>
              <a:gd name="connsiteY34" fmla="*/ 67167 h 152245"/>
              <a:gd name="connsiteX35" fmla="*/ 17911 w 98511"/>
              <a:gd name="connsiteY35" fmla="*/ 121797 h 152245"/>
              <a:gd name="connsiteX36" fmla="*/ 38509 w 98511"/>
              <a:gd name="connsiteY36" fmla="*/ 85526 h 152245"/>
              <a:gd name="connsiteX37" fmla="*/ 49256 w 98511"/>
              <a:gd name="connsiteY37" fmla="*/ 79258 h 152245"/>
              <a:gd name="connsiteX38" fmla="*/ 60003 w 98511"/>
              <a:gd name="connsiteY38" fmla="*/ 85526 h 152245"/>
              <a:gd name="connsiteX39" fmla="*/ 80601 w 98511"/>
              <a:gd name="connsiteY39" fmla="*/ 121797 h 152245"/>
              <a:gd name="connsiteX40" fmla="*/ 80601 w 98511"/>
              <a:gd name="connsiteY40" fmla="*/ 147768 h 152245"/>
              <a:gd name="connsiteX41" fmla="*/ 17911 w 98511"/>
              <a:gd name="connsiteY41" fmla="*/ 147768 h 152245"/>
              <a:gd name="connsiteX42" fmla="*/ 17911 w 98511"/>
              <a:gd name="connsiteY42" fmla="*/ 12179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511" h="152245">
                <a:moveTo>
                  <a:pt x="96273" y="147768"/>
                </a:moveTo>
                <a:lnTo>
                  <a:pt x="85079" y="147768"/>
                </a:lnTo>
                <a:lnTo>
                  <a:pt x="85079" y="121797"/>
                </a:lnTo>
                <a:cubicBezTo>
                  <a:pt x="85079" y="105229"/>
                  <a:pt x="76123" y="90004"/>
                  <a:pt x="62242" y="81497"/>
                </a:cubicBezTo>
                <a:lnTo>
                  <a:pt x="53734" y="76123"/>
                </a:lnTo>
                <a:lnTo>
                  <a:pt x="62242" y="70750"/>
                </a:lnTo>
                <a:cubicBezTo>
                  <a:pt x="76123" y="62242"/>
                  <a:pt x="85079" y="47017"/>
                  <a:pt x="85079" y="30449"/>
                </a:cubicBezTo>
                <a:lnTo>
                  <a:pt x="85079" y="4478"/>
                </a:lnTo>
                <a:lnTo>
                  <a:pt x="96273" y="4478"/>
                </a:lnTo>
                <a:cubicBezTo>
                  <a:pt x="97616" y="4478"/>
                  <a:pt x="98512" y="3582"/>
                  <a:pt x="98512" y="2239"/>
                </a:cubicBezTo>
                <a:cubicBezTo>
                  <a:pt x="98512" y="896"/>
                  <a:pt x="97616" y="0"/>
                  <a:pt x="96273" y="0"/>
                </a:cubicBezTo>
                <a:lnTo>
                  <a:pt x="2239" y="0"/>
                </a:lnTo>
                <a:cubicBezTo>
                  <a:pt x="895" y="0"/>
                  <a:pt x="0" y="896"/>
                  <a:pt x="0" y="2239"/>
                </a:cubicBezTo>
                <a:cubicBezTo>
                  <a:pt x="0" y="3582"/>
                  <a:pt x="895" y="4478"/>
                  <a:pt x="2239" y="4478"/>
                </a:cubicBezTo>
                <a:lnTo>
                  <a:pt x="13433" y="4478"/>
                </a:lnTo>
                <a:lnTo>
                  <a:pt x="13433" y="30449"/>
                </a:lnTo>
                <a:cubicBezTo>
                  <a:pt x="13433" y="47017"/>
                  <a:pt x="22389" y="62242"/>
                  <a:pt x="36270" y="70750"/>
                </a:cubicBezTo>
                <a:lnTo>
                  <a:pt x="44778" y="76123"/>
                </a:lnTo>
                <a:lnTo>
                  <a:pt x="36270" y="81497"/>
                </a:lnTo>
                <a:cubicBezTo>
                  <a:pt x="22389" y="90004"/>
                  <a:pt x="13433" y="105229"/>
                  <a:pt x="13433" y="121797"/>
                </a:cubicBezTo>
                <a:lnTo>
                  <a:pt x="13433" y="147768"/>
                </a:lnTo>
                <a:lnTo>
                  <a:pt x="2239" y="147768"/>
                </a:lnTo>
                <a:cubicBezTo>
                  <a:pt x="895" y="147768"/>
                  <a:pt x="0" y="148664"/>
                  <a:pt x="0" y="150007"/>
                </a:cubicBezTo>
                <a:cubicBezTo>
                  <a:pt x="0" y="151350"/>
                  <a:pt x="895" y="152246"/>
                  <a:pt x="2239" y="152246"/>
                </a:cubicBezTo>
                <a:lnTo>
                  <a:pt x="96273" y="152246"/>
                </a:lnTo>
                <a:cubicBezTo>
                  <a:pt x="97616" y="152246"/>
                  <a:pt x="98512" y="151350"/>
                  <a:pt x="98512" y="150007"/>
                </a:cubicBezTo>
                <a:cubicBezTo>
                  <a:pt x="98512" y="148664"/>
                  <a:pt x="97616" y="147768"/>
                  <a:pt x="96273" y="147768"/>
                </a:cubicBezTo>
                <a:close/>
                <a:moveTo>
                  <a:pt x="38957" y="67167"/>
                </a:moveTo>
                <a:cubicBezTo>
                  <a:pt x="26419" y="59555"/>
                  <a:pt x="18359" y="45674"/>
                  <a:pt x="18359" y="30897"/>
                </a:cubicBezTo>
                <a:lnTo>
                  <a:pt x="18359" y="4925"/>
                </a:lnTo>
                <a:lnTo>
                  <a:pt x="81048" y="4925"/>
                </a:lnTo>
                <a:lnTo>
                  <a:pt x="81048" y="30897"/>
                </a:lnTo>
                <a:cubicBezTo>
                  <a:pt x="81048" y="45674"/>
                  <a:pt x="72988" y="59555"/>
                  <a:pt x="60451" y="67167"/>
                </a:cubicBezTo>
                <a:lnTo>
                  <a:pt x="49704" y="73436"/>
                </a:lnTo>
                <a:lnTo>
                  <a:pt x="38957" y="67167"/>
                </a:lnTo>
                <a:close/>
                <a:moveTo>
                  <a:pt x="17911" y="121797"/>
                </a:moveTo>
                <a:cubicBezTo>
                  <a:pt x="17911" y="107020"/>
                  <a:pt x="25971" y="93139"/>
                  <a:pt x="38509" y="85526"/>
                </a:cubicBezTo>
                <a:lnTo>
                  <a:pt x="49256" y="79258"/>
                </a:lnTo>
                <a:lnTo>
                  <a:pt x="60003" y="85526"/>
                </a:lnTo>
                <a:cubicBezTo>
                  <a:pt x="72540" y="93139"/>
                  <a:pt x="80601" y="107020"/>
                  <a:pt x="80601" y="121797"/>
                </a:cubicBezTo>
                <a:lnTo>
                  <a:pt x="80601" y="147768"/>
                </a:lnTo>
                <a:lnTo>
                  <a:pt x="17911" y="147768"/>
                </a:lnTo>
                <a:lnTo>
                  <a:pt x="17911" y="121797"/>
                </a:lnTo>
                <a:close/>
              </a:path>
            </a:pathLst>
          </a:custGeom>
          <a:solidFill>
            <a:srgbClr val="231F20"/>
          </a:solidFill>
          <a:ln w="4474" cap="flat">
            <a:noFill/>
            <a:prstDash val="solid"/>
            <a:miter/>
          </a:ln>
        </p:spPr>
        <p:txBody>
          <a:bodyPr rtlCol="0" anchor="ctr"/>
          <a:lstStyle/>
          <a:p>
            <a:endParaRPr lang="en-US"/>
          </a:p>
        </p:txBody>
      </p:sp>
      <p:sp>
        <p:nvSpPr>
          <p:cNvPr id="4819" name="Freeform: Shape 4818">
            <a:extLst>
              <a:ext uri="{FF2B5EF4-FFF2-40B4-BE49-F238E27FC236}">
                <a16:creationId xmlns:a16="http://schemas.microsoft.com/office/drawing/2014/main" id="{69719D8F-FD43-4C53-AA40-3CD3A52DD5EF}"/>
              </a:ext>
              <a:ext uri="{C183D7F6-B498-43B3-948B-1728B52AA6E4}">
                <adec:decorative xmlns:adec="http://schemas.microsoft.com/office/drawing/2017/decorative" val="1"/>
              </a:ext>
            </a:extLst>
          </p:cNvPr>
          <p:cNvSpPr>
            <a:spLocks noChangeAspect="1"/>
          </p:cNvSpPr>
          <p:nvPr/>
        </p:nvSpPr>
        <p:spPr>
          <a:xfrm>
            <a:off x="9018080" y="2427438"/>
            <a:ext cx="94034" cy="152246"/>
          </a:xfrm>
          <a:custGeom>
            <a:avLst/>
            <a:gdLst>
              <a:gd name="connsiteX0" fmla="*/ 83735 w 94034"/>
              <a:gd name="connsiteY0" fmla="*/ 26867 h 152245"/>
              <a:gd name="connsiteX1" fmla="*/ 74780 w 94034"/>
              <a:gd name="connsiteY1" fmla="*/ 8508 h 152245"/>
              <a:gd name="connsiteX2" fmla="*/ 60898 w 94034"/>
              <a:gd name="connsiteY2" fmla="*/ 0 h 152245"/>
              <a:gd name="connsiteX3" fmla="*/ 37166 w 94034"/>
              <a:gd name="connsiteY3" fmla="*/ 0 h 152245"/>
              <a:gd name="connsiteX4" fmla="*/ 23285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5 w 94034"/>
              <a:gd name="connsiteY9" fmla="*/ 143738 h 152245"/>
              <a:gd name="connsiteX10" fmla="*/ 37166 w 94034"/>
              <a:gd name="connsiteY10" fmla="*/ 152246 h 152245"/>
              <a:gd name="connsiteX11" fmla="*/ 60898 w 94034"/>
              <a:gd name="connsiteY11" fmla="*/ 152246 h 152245"/>
              <a:gd name="connsiteX12" fmla="*/ 74780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10 w 94034"/>
              <a:gd name="connsiteY29" fmla="*/ 125379 h 152245"/>
              <a:gd name="connsiteX30" fmla="*/ 70302 w 94034"/>
              <a:gd name="connsiteY30" fmla="*/ 141499 h 152245"/>
              <a:gd name="connsiteX31" fmla="*/ 93139 w 94034"/>
              <a:gd name="connsiteY31" fmla="*/ 109707 h 152245"/>
              <a:gd name="connsiteX32" fmla="*/ 81944 w 94034"/>
              <a:gd name="connsiteY32" fmla="*/ 120901 h 152245"/>
              <a:gd name="connsiteX33" fmla="*/ 14777 w 94034"/>
              <a:gd name="connsiteY33" fmla="*/ 120901 h 152245"/>
              <a:gd name="connsiteX34" fmla="*/ 3582 w 94034"/>
              <a:gd name="connsiteY34" fmla="*/ 109707 h 152245"/>
              <a:gd name="connsiteX35" fmla="*/ 3582 w 94034"/>
              <a:gd name="connsiteY35" fmla="*/ 42539 h 152245"/>
              <a:gd name="connsiteX36" fmla="*/ 14777 w 94034"/>
              <a:gd name="connsiteY36" fmla="*/ 31345 h 152245"/>
              <a:gd name="connsiteX37" fmla="*/ 81944 w 94034"/>
              <a:gd name="connsiteY37" fmla="*/ 31345 h 152245"/>
              <a:gd name="connsiteX38" fmla="*/ 93139 w 94034"/>
              <a:gd name="connsiteY38" fmla="*/ 42539 h 152245"/>
              <a:gd name="connsiteX39" fmla="*/ 93139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80" y="8508"/>
                </a:lnTo>
                <a:cubicBezTo>
                  <a:pt x="72093" y="3135"/>
                  <a:pt x="66720" y="0"/>
                  <a:pt x="60898" y="0"/>
                </a:cubicBezTo>
                <a:lnTo>
                  <a:pt x="37166" y="0"/>
                </a:lnTo>
                <a:cubicBezTo>
                  <a:pt x="31345" y="0"/>
                  <a:pt x="25972" y="3135"/>
                  <a:pt x="23285" y="8508"/>
                </a:cubicBezTo>
                <a:lnTo>
                  <a:pt x="14329" y="26867"/>
                </a:lnTo>
                <a:cubicBezTo>
                  <a:pt x="6269" y="27763"/>
                  <a:pt x="0" y="34031"/>
                  <a:pt x="0" y="42539"/>
                </a:cubicBezTo>
                <a:lnTo>
                  <a:pt x="0" y="109707"/>
                </a:lnTo>
                <a:cubicBezTo>
                  <a:pt x="0" y="117767"/>
                  <a:pt x="6269" y="124484"/>
                  <a:pt x="14329" y="125379"/>
                </a:cubicBezTo>
                <a:lnTo>
                  <a:pt x="23285" y="143738"/>
                </a:lnTo>
                <a:cubicBezTo>
                  <a:pt x="25972" y="149112"/>
                  <a:pt x="31345" y="152246"/>
                  <a:pt x="37166" y="152246"/>
                </a:cubicBezTo>
                <a:lnTo>
                  <a:pt x="60898" y="152246"/>
                </a:lnTo>
                <a:cubicBezTo>
                  <a:pt x="66720" y="152246"/>
                  <a:pt x="72093" y="149112"/>
                  <a:pt x="74780" y="143738"/>
                </a:cubicBezTo>
                <a:lnTo>
                  <a:pt x="83735" y="125379"/>
                </a:lnTo>
                <a:cubicBezTo>
                  <a:pt x="91795" y="124484"/>
                  <a:pt x="98064" y="118214"/>
                  <a:pt x="98064" y="109707"/>
                </a:cubicBezTo>
                <a:lnTo>
                  <a:pt x="98064" y="42539"/>
                </a:lnTo>
                <a:cubicBezTo>
                  <a:pt x="97617" y="34480"/>
                  <a:pt x="91348"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1" y="147768"/>
                  <a:pt x="60451" y="147768"/>
                </a:cubicBezTo>
                <a:lnTo>
                  <a:pt x="36718" y="147768"/>
                </a:lnTo>
                <a:cubicBezTo>
                  <a:pt x="32240" y="147768"/>
                  <a:pt x="28658" y="145529"/>
                  <a:pt x="26867" y="141499"/>
                </a:cubicBezTo>
                <a:lnTo>
                  <a:pt x="18807" y="125379"/>
                </a:lnTo>
                <a:lnTo>
                  <a:pt x="78810" y="125379"/>
                </a:lnTo>
                <a:lnTo>
                  <a:pt x="70302" y="141499"/>
                </a:lnTo>
                <a:close/>
                <a:moveTo>
                  <a:pt x="93139" y="109707"/>
                </a:moveTo>
                <a:cubicBezTo>
                  <a:pt x="93139" y="115976"/>
                  <a:pt x="88213" y="120901"/>
                  <a:pt x="81944" y="120901"/>
                </a:cubicBezTo>
                <a:lnTo>
                  <a:pt x="14777" y="120901"/>
                </a:lnTo>
                <a:cubicBezTo>
                  <a:pt x="8508" y="120901"/>
                  <a:pt x="3582" y="115976"/>
                  <a:pt x="3582" y="109707"/>
                </a:cubicBezTo>
                <a:lnTo>
                  <a:pt x="3582" y="42539"/>
                </a:lnTo>
                <a:cubicBezTo>
                  <a:pt x="3582" y="36270"/>
                  <a:pt x="8508" y="31345"/>
                  <a:pt x="14777" y="31345"/>
                </a:cubicBezTo>
                <a:lnTo>
                  <a:pt x="81944" y="31345"/>
                </a:lnTo>
                <a:cubicBezTo>
                  <a:pt x="88213" y="31345"/>
                  <a:pt x="93139" y="36270"/>
                  <a:pt x="93139" y="42539"/>
                </a:cubicBezTo>
                <a:lnTo>
                  <a:pt x="93139" y="109707"/>
                </a:lnTo>
                <a:close/>
              </a:path>
            </a:pathLst>
          </a:custGeom>
          <a:solidFill>
            <a:srgbClr val="231F20"/>
          </a:solidFill>
          <a:ln w="4474" cap="flat">
            <a:noFill/>
            <a:prstDash val="solid"/>
            <a:miter/>
          </a:ln>
        </p:spPr>
        <p:txBody>
          <a:bodyPr rtlCol="0" anchor="ctr"/>
          <a:lstStyle/>
          <a:p>
            <a:endParaRPr lang="en-US"/>
          </a:p>
        </p:txBody>
      </p:sp>
      <p:grpSp>
        <p:nvGrpSpPr>
          <p:cNvPr id="4820" name="Group 4819">
            <a:extLst>
              <a:ext uri="{FF2B5EF4-FFF2-40B4-BE49-F238E27FC236}">
                <a16:creationId xmlns:a16="http://schemas.microsoft.com/office/drawing/2014/main" id="{C7662D0B-70A3-4A26-87A7-8D6C8F631545}"/>
              </a:ext>
              <a:ext uri="{C183D7F6-B498-43B3-948B-1728B52AA6E4}">
                <adec:decorative xmlns:adec="http://schemas.microsoft.com/office/drawing/2017/decorative" val="1"/>
              </a:ext>
            </a:extLst>
          </p:cNvPr>
          <p:cNvGrpSpPr>
            <a:grpSpLocks noChangeAspect="1"/>
          </p:cNvGrpSpPr>
          <p:nvPr/>
        </p:nvGrpSpPr>
        <p:grpSpPr>
          <a:xfrm>
            <a:off x="10077532" y="2427438"/>
            <a:ext cx="94034" cy="152246"/>
            <a:chOff x="4296879" y="5886624"/>
            <a:chExt cx="94034" cy="152246"/>
          </a:xfrm>
        </p:grpSpPr>
        <p:sp>
          <p:nvSpPr>
            <p:cNvPr id="4821" name="Freeform: Shape 4820">
              <a:extLst>
                <a:ext uri="{FF2B5EF4-FFF2-40B4-BE49-F238E27FC236}">
                  <a16:creationId xmlns:a16="http://schemas.microsoft.com/office/drawing/2014/main" id="{A2E49E0C-EDED-4F87-81AD-53AE370F0560}"/>
                </a:ext>
              </a:extLst>
            </p:cNvPr>
            <p:cNvSpPr/>
            <p:nvPr/>
          </p:nvSpPr>
          <p:spPr>
            <a:xfrm>
              <a:off x="4343448" y="5926925"/>
              <a:ext cx="22389" cy="58212"/>
            </a:xfrm>
            <a:custGeom>
              <a:avLst/>
              <a:gdLst>
                <a:gd name="connsiteX0" fmla="*/ 4478 w 22389"/>
                <a:gd name="connsiteY0" fmla="*/ 34927 h 58211"/>
                <a:gd name="connsiteX1" fmla="*/ 4478 w 22389"/>
                <a:gd name="connsiteY1" fmla="*/ 2239 h 58211"/>
                <a:gd name="connsiteX2" fmla="*/ 2239 w 22389"/>
                <a:gd name="connsiteY2" fmla="*/ 0 h 58211"/>
                <a:gd name="connsiteX3" fmla="*/ 0 w 22389"/>
                <a:gd name="connsiteY3" fmla="*/ 2239 h 58211"/>
                <a:gd name="connsiteX4" fmla="*/ 0 w 22389"/>
                <a:gd name="connsiteY4" fmla="*/ 35823 h 58211"/>
                <a:gd name="connsiteX5" fmla="*/ 0 w 22389"/>
                <a:gd name="connsiteY5" fmla="*/ 36718 h 58211"/>
                <a:gd name="connsiteX6" fmla="*/ 448 w 22389"/>
                <a:gd name="connsiteY6" fmla="*/ 37614 h 58211"/>
                <a:gd name="connsiteX7" fmla="*/ 20598 w 22389"/>
                <a:gd name="connsiteY7" fmla="*/ 57764 h 58211"/>
                <a:gd name="connsiteX8" fmla="*/ 22389 w 22389"/>
                <a:gd name="connsiteY8" fmla="*/ 58212 h 58211"/>
                <a:gd name="connsiteX9" fmla="*/ 24180 w 22389"/>
                <a:gd name="connsiteY9" fmla="*/ 57764 h 58211"/>
                <a:gd name="connsiteX10" fmla="*/ 24180 w 22389"/>
                <a:gd name="connsiteY10" fmla="*/ 54630 h 58211"/>
                <a:gd name="connsiteX11" fmla="*/ 4478 w 22389"/>
                <a:gd name="connsiteY11" fmla="*/ 3492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89" h="58211">
                  <a:moveTo>
                    <a:pt x="4478" y="34927"/>
                  </a:moveTo>
                  <a:lnTo>
                    <a:pt x="4478" y="2239"/>
                  </a:lnTo>
                  <a:cubicBezTo>
                    <a:pt x="4478" y="896"/>
                    <a:pt x="3582" y="0"/>
                    <a:pt x="2239" y="0"/>
                  </a:cubicBezTo>
                  <a:cubicBezTo>
                    <a:pt x="896" y="0"/>
                    <a:pt x="0" y="896"/>
                    <a:pt x="0" y="2239"/>
                  </a:cubicBezTo>
                  <a:lnTo>
                    <a:pt x="0" y="35823"/>
                  </a:lnTo>
                  <a:cubicBezTo>
                    <a:pt x="0" y="36270"/>
                    <a:pt x="0" y="36270"/>
                    <a:pt x="0" y="36718"/>
                  </a:cubicBezTo>
                  <a:cubicBezTo>
                    <a:pt x="0" y="37166"/>
                    <a:pt x="448" y="37166"/>
                    <a:pt x="448" y="37614"/>
                  </a:cubicBezTo>
                  <a:lnTo>
                    <a:pt x="20598" y="57764"/>
                  </a:lnTo>
                  <a:cubicBezTo>
                    <a:pt x="21046" y="58212"/>
                    <a:pt x="21494" y="58212"/>
                    <a:pt x="22389" y="58212"/>
                  </a:cubicBezTo>
                  <a:cubicBezTo>
                    <a:pt x="23285" y="58212"/>
                    <a:pt x="23733" y="58212"/>
                    <a:pt x="24180" y="57764"/>
                  </a:cubicBezTo>
                  <a:cubicBezTo>
                    <a:pt x="25076" y="56869"/>
                    <a:pt x="25076" y="55525"/>
                    <a:pt x="24180" y="54630"/>
                  </a:cubicBezTo>
                  <a:lnTo>
                    <a:pt x="4478" y="34927"/>
                  </a:lnTo>
                  <a:close/>
                </a:path>
              </a:pathLst>
            </a:custGeom>
            <a:solidFill>
              <a:srgbClr val="231F20"/>
            </a:solidFill>
            <a:ln w="4474" cap="flat">
              <a:noFill/>
              <a:prstDash val="solid"/>
              <a:miter/>
            </a:ln>
          </p:spPr>
          <p:txBody>
            <a:bodyPr rtlCol="0" anchor="ctr"/>
            <a:lstStyle/>
            <a:p>
              <a:endParaRPr lang="en-US"/>
            </a:p>
          </p:txBody>
        </p:sp>
        <p:sp>
          <p:nvSpPr>
            <p:cNvPr id="4822" name="Freeform: Shape 4821">
              <a:extLst>
                <a:ext uri="{FF2B5EF4-FFF2-40B4-BE49-F238E27FC236}">
                  <a16:creationId xmlns:a16="http://schemas.microsoft.com/office/drawing/2014/main" id="{9FC395EF-F70B-47CC-BFAC-1C07F73F5CB5}"/>
                </a:ext>
              </a:extLst>
            </p:cNvPr>
            <p:cNvSpPr/>
            <p:nvPr/>
          </p:nvSpPr>
          <p:spPr>
            <a:xfrm>
              <a:off x="4296879" y="5886624"/>
              <a:ext cx="94034" cy="152246"/>
            </a:xfrm>
            <a:custGeom>
              <a:avLst/>
              <a:gdLst>
                <a:gd name="connsiteX0" fmla="*/ 83735 w 94034"/>
                <a:gd name="connsiteY0" fmla="*/ 26867 h 152245"/>
                <a:gd name="connsiteX1" fmla="*/ 74780 w 94034"/>
                <a:gd name="connsiteY1" fmla="*/ 8508 h 152245"/>
                <a:gd name="connsiteX2" fmla="*/ 60898 w 94034"/>
                <a:gd name="connsiteY2" fmla="*/ 0 h 152245"/>
                <a:gd name="connsiteX3" fmla="*/ 37166 w 94034"/>
                <a:gd name="connsiteY3" fmla="*/ 0 h 152245"/>
                <a:gd name="connsiteX4" fmla="*/ 23285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5 w 94034"/>
                <a:gd name="connsiteY9" fmla="*/ 143738 h 152245"/>
                <a:gd name="connsiteX10" fmla="*/ 37166 w 94034"/>
                <a:gd name="connsiteY10" fmla="*/ 152246 h 152245"/>
                <a:gd name="connsiteX11" fmla="*/ 60898 w 94034"/>
                <a:gd name="connsiteY11" fmla="*/ 152246 h 152245"/>
                <a:gd name="connsiteX12" fmla="*/ 74780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586 w 94034"/>
                <a:gd name="connsiteY31" fmla="*/ 109707 h 152245"/>
                <a:gd name="connsiteX32" fmla="*/ 82392 w 94034"/>
                <a:gd name="connsiteY32" fmla="*/ 120901 h 152245"/>
                <a:gd name="connsiteX33" fmla="*/ 15224 w 94034"/>
                <a:gd name="connsiteY33" fmla="*/ 120901 h 152245"/>
                <a:gd name="connsiteX34" fmla="*/ 4030 w 94034"/>
                <a:gd name="connsiteY34" fmla="*/ 109707 h 152245"/>
                <a:gd name="connsiteX35" fmla="*/ 4030 w 94034"/>
                <a:gd name="connsiteY35" fmla="*/ 42539 h 152245"/>
                <a:gd name="connsiteX36" fmla="*/ 15224 w 94034"/>
                <a:gd name="connsiteY36" fmla="*/ 31345 h 152245"/>
                <a:gd name="connsiteX37" fmla="*/ 82392 w 94034"/>
                <a:gd name="connsiteY37" fmla="*/ 31345 h 152245"/>
                <a:gd name="connsiteX38" fmla="*/ 93586 w 94034"/>
                <a:gd name="connsiteY38" fmla="*/ 42539 h 152245"/>
                <a:gd name="connsiteX39" fmla="*/ 93586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80" y="8508"/>
                  </a:lnTo>
                  <a:cubicBezTo>
                    <a:pt x="72093" y="3135"/>
                    <a:pt x="66719" y="0"/>
                    <a:pt x="60898" y="0"/>
                  </a:cubicBezTo>
                  <a:lnTo>
                    <a:pt x="37166" y="0"/>
                  </a:lnTo>
                  <a:cubicBezTo>
                    <a:pt x="31345" y="0"/>
                    <a:pt x="25971" y="3135"/>
                    <a:pt x="23285" y="8508"/>
                  </a:cubicBezTo>
                  <a:lnTo>
                    <a:pt x="14329" y="26867"/>
                  </a:lnTo>
                  <a:cubicBezTo>
                    <a:pt x="6269" y="27763"/>
                    <a:pt x="0" y="34031"/>
                    <a:pt x="0" y="42539"/>
                  </a:cubicBezTo>
                  <a:lnTo>
                    <a:pt x="0" y="109707"/>
                  </a:lnTo>
                  <a:cubicBezTo>
                    <a:pt x="0" y="117767"/>
                    <a:pt x="6269" y="124484"/>
                    <a:pt x="14329" y="125379"/>
                  </a:cubicBezTo>
                  <a:lnTo>
                    <a:pt x="23285" y="143738"/>
                  </a:lnTo>
                  <a:cubicBezTo>
                    <a:pt x="25971" y="149112"/>
                    <a:pt x="31345" y="152246"/>
                    <a:pt x="37166" y="152246"/>
                  </a:cubicBezTo>
                  <a:lnTo>
                    <a:pt x="60898" y="152246"/>
                  </a:lnTo>
                  <a:cubicBezTo>
                    <a:pt x="66719" y="152246"/>
                    <a:pt x="72093" y="149112"/>
                    <a:pt x="74780" y="143738"/>
                  </a:cubicBezTo>
                  <a:lnTo>
                    <a:pt x="83735" y="125379"/>
                  </a:lnTo>
                  <a:cubicBezTo>
                    <a:pt x="91795" y="124484"/>
                    <a:pt x="98064" y="118214"/>
                    <a:pt x="98064" y="109707"/>
                  </a:cubicBezTo>
                  <a:lnTo>
                    <a:pt x="98064" y="42539"/>
                  </a:lnTo>
                  <a:cubicBezTo>
                    <a:pt x="98064" y="34480"/>
                    <a:pt x="91795"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586" y="109707"/>
                  </a:moveTo>
                  <a:cubicBezTo>
                    <a:pt x="93586" y="115976"/>
                    <a:pt x="88661" y="120901"/>
                    <a:pt x="82392" y="120901"/>
                  </a:cubicBezTo>
                  <a:lnTo>
                    <a:pt x="15224" y="120901"/>
                  </a:lnTo>
                  <a:cubicBezTo>
                    <a:pt x="8956" y="120901"/>
                    <a:pt x="4030" y="115976"/>
                    <a:pt x="4030" y="109707"/>
                  </a:cubicBezTo>
                  <a:lnTo>
                    <a:pt x="4030" y="42539"/>
                  </a:lnTo>
                  <a:cubicBezTo>
                    <a:pt x="4030" y="36270"/>
                    <a:pt x="8956" y="31345"/>
                    <a:pt x="15224" y="31345"/>
                  </a:cubicBezTo>
                  <a:lnTo>
                    <a:pt x="82392" y="31345"/>
                  </a:lnTo>
                  <a:cubicBezTo>
                    <a:pt x="88661" y="31345"/>
                    <a:pt x="93586" y="36270"/>
                    <a:pt x="93586" y="42539"/>
                  </a:cubicBezTo>
                  <a:lnTo>
                    <a:pt x="93586" y="109707"/>
                  </a:lnTo>
                  <a:close/>
                </a:path>
              </a:pathLst>
            </a:custGeom>
            <a:solidFill>
              <a:srgbClr val="231F20"/>
            </a:solidFill>
            <a:ln w="4474" cap="flat">
              <a:noFill/>
              <a:prstDash val="solid"/>
              <a:miter/>
            </a:ln>
          </p:spPr>
          <p:txBody>
            <a:bodyPr rtlCol="0" anchor="ctr"/>
            <a:lstStyle/>
            <a:p>
              <a:endParaRPr lang="en-US"/>
            </a:p>
          </p:txBody>
        </p:sp>
      </p:grpSp>
      <p:grpSp>
        <p:nvGrpSpPr>
          <p:cNvPr id="4823" name="Group 4822">
            <a:extLst>
              <a:ext uri="{FF2B5EF4-FFF2-40B4-BE49-F238E27FC236}">
                <a16:creationId xmlns:a16="http://schemas.microsoft.com/office/drawing/2014/main" id="{D6342701-96BB-49C5-AF0A-063186639CD8}"/>
              </a:ext>
              <a:ext uri="{C183D7F6-B498-43B3-948B-1728B52AA6E4}">
                <adec:decorative xmlns:adec="http://schemas.microsoft.com/office/drawing/2017/decorative" val="1"/>
              </a:ext>
            </a:extLst>
          </p:cNvPr>
          <p:cNvGrpSpPr>
            <a:grpSpLocks noChangeAspect="1"/>
          </p:cNvGrpSpPr>
          <p:nvPr/>
        </p:nvGrpSpPr>
        <p:grpSpPr>
          <a:xfrm>
            <a:off x="9547806" y="2427438"/>
            <a:ext cx="94034" cy="152246"/>
            <a:chOff x="3767153" y="5886624"/>
            <a:chExt cx="94034" cy="152246"/>
          </a:xfrm>
        </p:grpSpPr>
        <p:sp>
          <p:nvSpPr>
            <p:cNvPr id="4824" name="Freeform: Shape 4823">
              <a:extLst>
                <a:ext uri="{FF2B5EF4-FFF2-40B4-BE49-F238E27FC236}">
                  <a16:creationId xmlns:a16="http://schemas.microsoft.com/office/drawing/2014/main" id="{D6D52AF1-7B2F-474D-99A6-88CC2C1640ED}"/>
                </a:ext>
              </a:extLst>
            </p:cNvPr>
            <p:cNvSpPr/>
            <p:nvPr/>
          </p:nvSpPr>
          <p:spPr>
            <a:xfrm>
              <a:off x="3767153" y="5886624"/>
              <a:ext cx="94034" cy="152246"/>
            </a:xfrm>
            <a:custGeom>
              <a:avLst/>
              <a:gdLst>
                <a:gd name="connsiteX0" fmla="*/ 83735 w 94034"/>
                <a:gd name="connsiteY0" fmla="*/ 26867 h 152245"/>
                <a:gd name="connsiteX1" fmla="*/ 74779 w 94034"/>
                <a:gd name="connsiteY1" fmla="*/ 8508 h 152245"/>
                <a:gd name="connsiteX2" fmla="*/ 60898 w 94034"/>
                <a:gd name="connsiteY2" fmla="*/ 0 h 152245"/>
                <a:gd name="connsiteX3" fmla="*/ 37166 w 94034"/>
                <a:gd name="connsiteY3" fmla="*/ 0 h 152245"/>
                <a:gd name="connsiteX4" fmla="*/ 23284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4 w 94034"/>
                <a:gd name="connsiteY9" fmla="*/ 143738 h 152245"/>
                <a:gd name="connsiteX10" fmla="*/ 37166 w 94034"/>
                <a:gd name="connsiteY10" fmla="*/ 152246 h 152245"/>
                <a:gd name="connsiteX11" fmla="*/ 60898 w 94034"/>
                <a:gd name="connsiteY11" fmla="*/ 152246 h 152245"/>
                <a:gd name="connsiteX12" fmla="*/ 74779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139 w 94034"/>
                <a:gd name="connsiteY31" fmla="*/ 109707 h 152245"/>
                <a:gd name="connsiteX32" fmla="*/ 81944 w 94034"/>
                <a:gd name="connsiteY32" fmla="*/ 120901 h 152245"/>
                <a:gd name="connsiteX33" fmla="*/ 14777 w 94034"/>
                <a:gd name="connsiteY33" fmla="*/ 120901 h 152245"/>
                <a:gd name="connsiteX34" fmla="*/ 3582 w 94034"/>
                <a:gd name="connsiteY34" fmla="*/ 109707 h 152245"/>
                <a:gd name="connsiteX35" fmla="*/ 3582 w 94034"/>
                <a:gd name="connsiteY35" fmla="*/ 42539 h 152245"/>
                <a:gd name="connsiteX36" fmla="*/ 14777 w 94034"/>
                <a:gd name="connsiteY36" fmla="*/ 31345 h 152245"/>
                <a:gd name="connsiteX37" fmla="*/ 81944 w 94034"/>
                <a:gd name="connsiteY37" fmla="*/ 31345 h 152245"/>
                <a:gd name="connsiteX38" fmla="*/ 93139 w 94034"/>
                <a:gd name="connsiteY38" fmla="*/ 42539 h 152245"/>
                <a:gd name="connsiteX39" fmla="*/ 93139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79" y="8508"/>
                  </a:lnTo>
                  <a:cubicBezTo>
                    <a:pt x="72093" y="3135"/>
                    <a:pt x="66719" y="0"/>
                    <a:pt x="60898" y="0"/>
                  </a:cubicBezTo>
                  <a:lnTo>
                    <a:pt x="37166" y="0"/>
                  </a:lnTo>
                  <a:cubicBezTo>
                    <a:pt x="31345" y="0"/>
                    <a:pt x="25971" y="3135"/>
                    <a:pt x="23284" y="8508"/>
                  </a:cubicBezTo>
                  <a:lnTo>
                    <a:pt x="14329" y="26867"/>
                  </a:lnTo>
                  <a:cubicBezTo>
                    <a:pt x="6269" y="27763"/>
                    <a:pt x="0" y="34031"/>
                    <a:pt x="0" y="42539"/>
                  </a:cubicBezTo>
                  <a:lnTo>
                    <a:pt x="0" y="109707"/>
                  </a:lnTo>
                  <a:cubicBezTo>
                    <a:pt x="0" y="117767"/>
                    <a:pt x="6269" y="124484"/>
                    <a:pt x="14329" y="125379"/>
                  </a:cubicBezTo>
                  <a:lnTo>
                    <a:pt x="23284" y="143738"/>
                  </a:lnTo>
                  <a:cubicBezTo>
                    <a:pt x="25971" y="149112"/>
                    <a:pt x="31345" y="152246"/>
                    <a:pt x="37166" y="152246"/>
                  </a:cubicBezTo>
                  <a:lnTo>
                    <a:pt x="60898" y="152246"/>
                  </a:lnTo>
                  <a:cubicBezTo>
                    <a:pt x="66719" y="152246"/>
                    <a:pt x="72093" y="149112"/>
                    <a:pt x="74779" y="143738"/>
                  </a:cubicBezTo>
                  <a:lnTo>
                    <a:pt x="83735" y="125379"/>
                  </a:lnTo>
                  <a:cubicBezTo>
                    <a:pt x="91795" y="124484"/>
                    <a:pt x="98064" y="118214"/>
                    <a:pt x="98064" y="109707"/>
                  </a:cubicBezTo>
                  <a:lnTo>
                    <a:pt x="98064" y="42539"/>
                  </a:lnTo>
                  <a:cubicBezTo>
                    <a:pt x="97616" y="34480"/>
                    <a:pt x="91347"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139" y="109707"/>
                  </a:moveTo>
                  <a:cubicBezTo>
                    <a:pt x="93139" y="115976"/>
                    <a:pt x="88213" y="120901"/>
                    <a:pt x="81944" y="120901"/>
                  </a:cubicBezTo>
                  <a:lnTo>
                    <a:pt x="14777" y="120901"/>
                  </a:lnTo>
                  <a:cubicBezTo>
                    <a:pt x="8508" y="120901"/>
                    <a:pt x="3582" y="115976"/>
                    <a:pt x="3582" y="109707"/>
                  </a:cubicBezTo>
                  <a:lnTo>
                    <a:pt x="3582" y="42539"/>
                  </a:lnTo>
                  <a:cubicBezTo>
                    <a:pt x="3582" y="36270"/>
                    <a:pt x="8508" y="31345"/>
                    <a:pt x="14777" y="31345"/>
                  </a:cubicBezTo>
                  <a:lnTo>
                    <a:pt x="81944" y="31345"/>
                  </a:lnTo>
                  <a:cubicBezTo>
                    <a:pt x="88213" y="31345"/>
                    <a:pt x="93139" y="36270"/>
                    <a:pt x="93139" y="42539"/>
                  </a:cubicBezTo>
                  <a:lnTo>
                    <a:pt x="93139" y="109707"/>
                  </a:lnTo>
                  <a:close/>
                </a:path>
              </a:pathLst>
            </a:custGeom>
            <a:solidFill>
              <a:srgbClr val="231F20"/>
            </a:solidFill>
            <a:ln w="4474" cap="flat">
              <a:noFill/>
              <a:prstDash val="solid"/>
              <a:miter/>
            </a:ln>
          </p:spPr>
          <p:txBody>
            <a:bodyPr rtlCol="0" anchor="ctr"/>
            <a:lstStyle/>
            <a:p>
              <a:endParaRPr lang="en-US"/>
            </a:p>
          </p:txBody>
        </p:sp>
        <p:sp>
          <p:nvSpPr>
            <p:cNvPr id="4825" name="Freeform: Shape 4824">
              <a:extLst>
                <a:ext uri="{FF2B5EF4-FFF2-40B4-BE49-F238E27FC236}">
                  <a16:creationId xmlns:a16="http://schemas.microsoft.com/office/drawing/2014/main" id="{397944EF-BEB4-4021-BFA6-A2A8BC3C9FAA}"/>
                </a:ext>
              </a:extLst>
            </p:cNvPr>
            <p:cNvSpPr/>
            <p:nvPr/>
          </p:nvSpPr>
          <p:spPr>
            <a:xfrm>
              <a:off x="3779243" y="5939910"/>
              <a:ext cx="71645" cy="44778"/>
            </a:xfrm>
            <a:custGeom>
              <a:avLst/>
              <a:gdLst>
                <a:gd name="connsiteX0" fmla="*/ 69854 w 71645"/>
                <a:gd name="connsiteY0" fmla="*/ 27315 h 44778"/>
                <a:gd name="connsiteX1" fmla="*/ 50152 w 71645"/>
                <a:gd name="connsiteY1" fmla="*/ 27315 h 44778"/>
                <a:gd name="connsiteX2" fmla="*/ 48361 w 71645"/>
                <a:gd name="connsiteY2" fmla="*/ 28210 h 44778"/>
                <a:gd name="connsiteX3" fmla="*/ 41196 w 71645"/>
                <a:gd name="connsiteY3" fmla="*/ 37614 h 44778"/>
                <a:gd name="connsiteX4" fmla="*/ 32688 w 71645"/>
                <a:gd name="connsiteY4" fmla="*/ 1791 h 44778"/>
                <a:gd name="connsiteX5" fmla="*/ 30449 w 71645"/>
                <a:gd name="connsiteY5" fmla="*/ 0 h 44778"/>
                <a:gd name="connsiteX6" fmla="*/ 28210 w 71645"/>
                <a:gd name="connsiteY6" fmla="*/ 1344 h 44778"/>
                <a:gd name="connsiteX7" fmla="*/ 18807 w 71645"/>
                <a:gd name="connsiteY7" fmla="*/ 26867 h 44778"/>
                <a:gd name="connsiteX8" fmla="*/ 2239 w 71645"/>
                <a:gd name="connsiteY8" fmla="*/ 26867 h 44778"/>
                <a:gd name="connsiteX9" fmla="*/ 0 w 71645"/>
                <a:gd name="connsiteY9" fmla="*/ 29106 h 44778"/>
                <a:gd name="connsiteX10" fmla="*/ 2239 w 71645"/>
                <a:gd name="connsiteY10" fmla="*/ 31345 h 44778"/>
                <a:gd name="connsiteX11" fmla="*/ 20598 w 71645"/>
                <a:gd name="connsiteY11" fmla="*/ 31345 h 44778"/>
                <a:gd name="connsiteX12" fmla="*/ 22837 w 71645"/>
                <a:gd name="connsiteY12" fmla="*/ 30001 h 44778"/>
                <a:gd name="connsiteX13" fmla="*/ 30001 w 71645"/>
                <a:gd name="connsiteY13" fmla="*/ 10299 h 44778"/>
                <a:gd name="connsiteX14" fmla="*/ 38061 w 71645"/>
                <a:gd name="connsiteY14" fmla="*/ 43435 h 44778"/>
                <a:gd name="connsiteX15" fmla="*/ 39853 w 71645"/>
                <a:gd name="connsiteY15" fmla="*/ 45226 h 44778"/>
                <a:gd name="connsiteX16" fmla="*/ 40300 w 71645"/>
                <a:gd name="connsiteY16" fmla="*/ 45226 h 44778"/>
                <a:gd name="connsiteX17" fmla="*/ 42092 w 71645"/>
                <a:gd name="connsiteY17" fmla="*/ 44331 h 44778"/>
                <a:gd name="connsiteX18" fmla="*/ 51047 w 71645"/>
                <a:gd name="connsiteY18" fmla="*/ 31792 h 44778"/>
                <a:gd name="connsiteX19" fmla="*/ 69406 w 71645"/>
                <a:gd name="connsiteY19" fmla="*/ 31792 h 44778"/>
                <a:gd name="connsiteX20" fmla="*/ 71645 w 71645"/>
                <a:gd name="connsiteY20" fmla="*/ 29553 h 44778"/>
                <a:gd name="connsiteX21" fmla="*/ 69854 w 71645"/>
                <a:gd name="connsiteY21" fmla="*/ 27315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645" h="44778">
                  <a:moveTo>
                    <a:pt x="69854" y="27315"/>
                  </a:moveTo>
                  <a:lnTo>
                    <a:pt x="50152" y="27315"/>
                  </a:lnTo>
                  <a:cubicBezTo>
                    <a:pt x="49256" y="27315"/>
                    <a:pt x="48808" y="27762"/>
                    <a:pt x="48361" y="28210"/>
                  </a:cubicBezTo>
                  <a:lnTo>
                    <a:pt x="41196" y="37614"/>
                  </a:lnTo>
                  <a:lnTo>
                    <a:pt x="32688" y="1791"/>
                  </a:lnTo>
                  <a:cubicBezTo>
                    <a:pt x="32240" y="895"/>
                    <a:pt x="31793" y="0"/>
                    <a:pt x="30449" y="0"/>
                  </a:cubicBezTo>
                  <a:cubicBezTo>
                    <a:pt x="29554" y="0"/>
                    <a:pt x="28658" y="448"/>
                    <a:pt x="28210" y="1344"/>
                  </a:cubicBezTo>
                  <a:lnTo>
                    <a:pt x="18807" y="26867"/>
                  </a:lnTo>
                  <a:lnTo>
                    <a:pt x="2239" y="26867"/>
                  </a:lnTo>
                  <a:cubicBezTo>
                    <a:pt x="896" y="26867"/>
                    <a:pt x="0" y="27762"/>
                    <a:pt x="0" y="29106"/>
                  </a:cubicBezTo>
                  <a:cubicBezTo>
                    <a:pt x="0" y="30449"/>
                    <a:pt x="896" y="31345"/>
                    <a:pt x="2239" y="31345"/>
                  </a:cubicBezTo>
                  <a:lnTo>
                    <a:pt x="20598" y="31345"/>
                  </a:lnTo>
                  <a:cubicBezTo>
                    <a:pt x="21494" y="31345"/>
                    <a:pt x="22389" y="30897"/>
                    <a:pt x="22837" y="30001"/>
                  </a:cubicBezTo>
                  <a:lnTo>
                    <a:pt x="30001" y="10299"/>
                  </a:lnTo>
                  <a:lnTo>
                    <a:pt x="38061" y="43435"/>
                  </a:lnTo>
                  <a:cubicBezTo>
                    <a:pt x="38061" y="44331"/>
                    <a:pt x="38957" y="44778"/>
                    <a:pt x="39853" y="45226"/>
                  </a:cubicBezTo>
                  <a:cubicBezTo>
                    <a:pt x="39853" y="45226"/>
                    <a:pt x="40300" y="45226"/>
                    <a:pt x="40300" y="45226"/>
                  </a:cubicBezTo>
                  <a:cubicBezTo>
                    <a:pt x="41196" y="45226"/>
                    <a:pt x="41644" y="44778"/>
                    <a:pt x="42092" y="44331"/>
                  </a:cubicBezTo>
                  <a:lnTo>
                    <a:pt x="51047" y="31792"/>
                  </a:lnTo>
                  <a:lnTo>
                    <a:pt x="69406" y="31792"/>
                  </a:lnTo>
                  <a:cubicBezTo>
                    <a:pt x="70750" y="31792"/>
                    <a:pt x="71645" y="30897"/>
                    <a:pt x="71645" y="29553"/>
                  </a:cubicBezTo>
                  <a:cubicBezTo>
                    <a:pt x="71645" y="28210"/>
                    <a:pt x="71197" y="27315"/>
                    <a:pt x="69854" y="27315"/>
                  </a:cubicBezTo>
                  <a:close/>
                </a:path>
              </a:pathLst>
            </a:custGeom>
            <a:solidFill>
              <a:srgbClr val="231F20"/>
            </a:solidFill>
            <a:ln w="4474" cap="flat">
              <a:noFill/>
              <a:prstDash val="solid"/>
              <a:miter/>
            </a:ln>
          </p:spPr>
          <p:txBody>
            <a:bodyPr rtlCol="0" anchor="ctr"/>
            <a:lstStyle/>
            <a:p>
              <a:endParaRPr lang="en-US"/>
            </a:p>
          </p:txBody>
        </p:sp>
      </p:grpSp>
      <p:grpSp>
        <p:nvGrpSpPr>
          <p:cNvPr id="4826" name="Group 4825">
            <a:extLst>
              <a:ext uri="{FF2B5EF4-FFF2-40B4-BE49-F238E27FC236}">
                <a16:creationId xmlns:a16="http://schemas.microsoft.com/office/drawing/2014/main" id="{E148C595-B80D-401E-8F39-8857630B650C}"/>
              </a:ext>
              <a:ext uri="{C183D7F6-B498-43B3-948B-1728B52AA6E4}">
                <adec:decorative xmlns:adec="http://schemas.microsoft.com/office/drawing/2017/decorative" val="1"/>
              </a:ext>
            </a:extLst>
          </p:cNvPr>
          <p:cNvGrpSpPr>
            <a:grpSpLocks noChangeAspect="1"/>
          </p:cNvGrpSpPr>
          <p:nvPr/>
        </p:nvGrpSpPr>
        <p:grpSpPr>
          <a:xfrm>
            <a:off x="9288092" y="2427438"/>
            <a:ext cx="94034" cy="152246"/>
            <a:chOff x="3507439" y="5886624"/>
            <a:chExt cx="94034" cy="152246"/>
          </a:xfrm>
        </p:grpSpPr>
        <p:sp>
          <p:nvSpPr>
            <p:cNvPr id="4827" name="Freeform: Shape 4826">
              <a:extLst>
                <a:ext uri="{FF2B5EF4-FFF2-40B4-BE49-F238E27FC236}">
                  <a16:creationId xmlns:a16="http://schemas.microsoft.com/office/drawing/2014/main" id="{06DF1680-5F8C-4597-9A93-39775F15221F}"/>
                </a:ext>
              </a:extLst>
            </p:cNvPr>
            <p:cNvSpPr/>
            <p:nvPr/>
          </p:nvSpPr>
          <p:spPr>
            <a:xfrm>
              <a:off x="3507439" y="5886624"/>
              <a:ext cx="94034" cy="152246"/>
            </a:xfrm>
            <a:custGeom>
              <a:avLst/>
              <a:gdLst>
                <a:gd name="connsiteX0" fmla="*/ 83735 w 94034"/>
                <a:gd name="connsiteY0" fmla="*/ 26867 h 152245"/>
                <a:gd name="connsiteX1" fmla="*/ 74779 w 94034"/>
                <a:gd name="connsiteY1" fmla="*/ 8508 h 152245"/>
                <a:gd name="connsiteX2" fmla="*/ 60898 w 94034"/>
                <a:gd name="connsiteY2" fmla="*/ 0 h 152245"/>
                <a:gd name="connsiteX3" fmla="*/ 37166 w 94034"/>
                <a:gd name="connsiteY3" fmla="*/ 0 h 152245"/>
                <a:gd name="connsiteX4" fmla="*/ 23284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4 w 94034"/>
                <a:gd name="connsiteY9" fmla="*/ 143738 h 152245"/>
                <a:gd name="connsiteX10" fmla="*/ 37166 w 94034"/>
                <a:gd name="connsiteY10" fmla="*/ 152246 h 152245"/>
                <a:gd name="connsiteX11" fmla="*/ 60898 w 94034"/>
                <a:gd name="connsiteY11" fmla="*/ 152246 h 152245"/>
                <a:gd name="connsiteX12" fmla="*/ 74779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586 w 94034"/>
                <a:gd name="connsiteY31" fmla="*/ 109707 h 152245"/>
                <a:gd name="connsiteX32" fmla="*/ 82392 w 94034"/>
                <a:gd name="connsiteY32" fmla="*/ 120901 h 152245"/>
                <a:gd name="connsiteX33" fmla="*/ 15224 w 94034"/>
                <a:gd name="connsiteY33" fmla="*/ 120901 h 152245"/>
                <a:gd name="connsiteX34" fmla="*/ 4030 w 94034"/>
                <a:gd name="connsiteY34" fmla="*/ 109707 h 152245"/>
                <a:gd name="connsiteX35" fmla="*/ 4030 w 94034"/>
                <a:gd name="connsiteY35" fmla="*/ 42539 h 152245"/>
                <a:gd name="connsiteX36" fmla="*/ 15224 w 94034"/>
                <a:gd name="connsiteY36" fmla="*/ 31345 h 152245"/>
                <a:gd name="connsiteX37" fmla="*/ 82392 w 94034"/>
                <a:gd name="connsiteY37" fmla="*/ 31345 h 152245"/>
                <a:gd name="connsiteX38" fmla="*/ 93586 w 94034"/>
                <a:gd name="connsiteY38" fmla="*/ 42539 h 152245"/>
                <a:gd name="connsiteX39" fmla="*/ 93586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79" y="8508"/>
                  </a:lnTo>
                  <a:cubicBezTo>
                    <a:pt x="72093" y="3135"/>
                    <a:pt x="66719" y="0"/>
                    <a:pt x="60898" y="0"/>
                  </a:cubicBezTo>
                  <a:lnTo>
                    <a:pt x="37166" y="0"/>
                  </a:lnTo>
                  <a:cubicBezTo>
                    <a:pt x="31345" y="0"/>
                    <a:pt x="25971" y="3135"/>
                    <a:pt x="23284" y="8508"/>
                  </a:cubicBezTo>
                  <a:lnTo>
                    <a:pt x="14329" y="26867"/>
                  </a:lnTo>
                  <a:cubicBezTo>
                    <a:pt x="6269" y="27763"/>
                    <a:pt x="0" y="34031"/>
                    <a:pt x="0" y="42539"/>
                  </a:cubicBezTo>
                  <a:lnTo>
                    <a:pt x="0" y="109707"/>
                  </a:lnTo>
                  <a:cubicBezTo>
                    <a:pt x="0" y="117767"/>
                    <a:pt x="6269" y="124484"/>
                    <a:pt x="14329" y="125379"/>
                  </a:cubicBezTo>
                  <a:lnTo>
                    <a:pt x="23284" y="143738"/>
                  </a:lnTo>
                  <a:cubicBezTo>
                    <a:pt x="25971" y="149112"/>
                    <a:pt x="31345" y="152246"/>
                    <a:pt x="37166" y="152246"/>
                  </a:cubicBezTo>
                  <a:lnTo>
                    <a:pt x="60898" y="152246"/>
                  </a:lnTo>
                  <a:cubicBezTo>
                    <a:pt x="66719" y="152246"/>
                    <a:pt x="72093" y="149112"/>
                    <a:pt x="74779" y="143738"/>
                  </a:cubicBezTo>
                  <a:lnTo>
                    <a:pt x="83735" y="125379"/>
                  </a:lnTo>
                  <a:cubicBezTo>
                    <a:pt x="91795" y="124484"/>
                    <a:pt x="98064" y="118214"/>
                    <a:pt x="98064" y="109707"/>
                  </a:cubicBezTo>
                  <a:lnTo>
                    <a:pt x="98064" y="42539"/>
                  </a:lnTo>
                  <a:cubicBezTo>
                    <a:pt x="98064" y="34480"/>
                    <a:pt x="91795"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586" y="109707"/>
                  </a:moveTo>
                  <a:cubicBezTo>
                    <a:pt x="93586" y="115976"/>
                    <a:pt x="88661" y="120901"/>
                    <a:pt x="82392" y="120901"/>
                  </a:cubicBezTo>
                  <a:lnTo>
                    <a:pt x="15224" y="120901"/>
                  </a:lnTo>
                  <a:cubicBezTo>
                    <a:pt x="8956" y="120901"/>
                    <a:pt x="4030" y="115976"/>
                    <a:pt x="4030" y="109707"/>
                  </a:cubicBezTo>
                  <a:lnTo>
                    <a:pt x="4030" y="42539"/>
                  </a:lnTo>
                  <a:cubicBezTo>
                    <a:pt x="4030" y="36270"/>
                    <a:pt x="8956" y="31345"/>
                    <a:pt x="15224" y="31345"/>
                  </a:cubicBezTo>
                  <a:lnTo>
                    <a:pt x="82392" y="31345"/>
                  </a:lnTo>
                  <a:cubicBezTo>
                    <a:pt x="88661" y="31345"/>
                    <a:pt x="93586" y="36270"/>
                    <a:pt x="93586" y="42539"/>
                  </a:cubicBezTo>
                  <a:lnTo>
                    <a:pt x="93586" y="109707"/>
                  </a:lnTo>
                  <a:close/>
                </a:path>
              </a:pathLst>
            </a:custGeom>
            <a:solidFill>
              <a:srgbClr val="231F20"/>
            </a:solidFill>
            <a:ln w="4474" cap="flat">
              <a:noFill/>
              <a:prstDash val="solid"/>
              <a:miter/>
            </a:ln>
          </p:spPr>
          <p:txBody>
            <a:bodyPr rtlCol="0" anchor="ctr"/>
            <a:lstStyle/>
            <a:p>
              <a:endParaRPr lang="en-US"/>
            </a:p>
          </p:txBody>
        </p:sp>
        <p:sp>
          <p:nvSpPr>
            <p:cNvPr id="4828" name="Freeform: Shape 4827">
              <a:extLst>
                <a:ext uri="{FF2B5EF4-FFF2-40B4-BE49-F238E27FC236}">
                  <a16:creationId xmlns:a16="http://schemas.microsoft.com/office/drawing/2014/main" id="{313A0113-5E0C-4002-B51D-575C5DBE9DBF}"/>
                </a:ext>
              </a:extLst>
            </p:cNvPr>
            <p:cNvSpPr/>
            <p:nvPr/>
          </p:nvSpPr>
          <p:spPr>
            <a:xfrm>
              <a:off x="3519529" y="5932746"/>
              <a:ext cx="71645" cy="62689"/>
            </a:xfrm>
            <a:custGeom>
              <a:avLst/>
              <a:gdLst>
                <a:gd name="connsiteX0" fmla="*/ 51495 w 71645"/>
                <a:gd name="connsiteY0" fmla="*/ 448 h 62689"/>
                <a:gd name="connsiteX1" fmla="*/ 51495 w 71645"/>
                <a:gd name="connsiteY1" fmla="*/ 448 h 62689"/>
                <a:gd name="connsiteX2" fmla="*/ 36270 w 71645"/>
                <a:gd name="connsiteY2" fmla="*/ 7164 h 62689"/>
                <a:gd name="connsiteX3" fmla="*/ 21046 w 71645"/>
                <a:gd name="connsiteY3" fmla="*/ 0 h 62689"/>
                <a:gd name="connsiteX4" fmla="*/ 6269 w 71645"/>
                <a:gd name="connsiteY4" fmla="*/ 5821 h 62689"/>
                <a:gd name="connsiteX5" fmla="*/ 0 w 71645"/>
                <a:gd name="connsiteY5" fmla="*/ 20598 h 62689"/>
                <a:gd name="connsiteX6" fmla="*/ 5821 w 71645"/>
                <a:gd name="connsiteY6" fmla="*/ 34927 h 62689"/>
                <a:gd name="connsiteX7" fmla="*/ 34032 w 71645"/>
                <a:gd name="connsiteY7" fmla="*/ 63137 h 62689"/>
                <a:gd name="connsiteX8" fmla="*/ 35823 w 71645"/>
                <a:gd name="connsiteY8" fmla="*/ 63585 h 62689"/>
                <a:gd name="connsiteX9" fmla="*/ 35823 w 71645"/>
                <a:gd name="connsiteY9" fmla="*/ 63585 h 62689"/>
                <a:gd name="connsiteX10" fmla="*/ 37614 w 71645"/>
                <a:gd name="connsiteY10" fmla="*/ 63137 h 62689"/>
                <a:gd name="connsiteX11" fmla="*/ 65824 w 71645"/>
                <a:gd name="connsiteY11" fmla="*/ 34927 h 62689"/>
                <a:gd name="connsiteX12" fmla="*/ 71645 w 71645"/>
                <a:gd name="connsiteY12" fmla="*/ 20598 h 62689"/>
                <a:gd name="connsiteX13" fmla="*/ 65824 w 71645"/>
                <a:gd name="connsiteY13" fmla="*/ 5821 h 62689"/>
                <a:gd name="connsiteX14" fmla="*/ 51495 w 71645"/>
                <a:gd name="connsiteY14" fmla="*/ 448 h 62689"/>
                <a:gd name="connsiteX15" fmla="*/ 63137 w 71645"/>
                <a:gd name="connsiteY15" fmla="*/ 32688 h 62689"/>
                <a:gd name="connsiteX16" fmla="*/ 36270 w 71645"/>
                <a:gd name="connsiteY16" fmla="*/ 59107 h 62689"/>
                <a:gd name="connsiteX17" fmla="*/ 9851 w 71645"/>
                <a:gd name="connsiteY17" fmla="*/ 32240 h 62689"/>
                <a:gd name="connsiteX18" fmla="*/ 5373 w 71645"/>
                <a:gd name="connsiteY18" fmla="*/ 21046 h 62689"/>
                <a:gd name="connsiteX19" fmla="*/ 10299 w 71645"/>
                <a:gd name="connsiteY19" fmla="*/ 9403 h 62689"/>
                <a:gd name="connsiteX20" fmla="*/ 21941 w 71645"/>
                <a:gd name="connsiteY20" fmla="*/ 4478 h 62689"/>
                <a:gd name="connsiteX21" fmla="*/ 21941 w 71645"/>
                <a:gd name="connsiteY21" fmla="*/ 4478 h 62689"/>
                <a:gd name="connsiteX22" fmla="*/ 34032 w 71645"/>
                <a:gd name="connsiteY22" fmla="*/ 10299 h 62689"/>
                <a:gd name="connsiteX23" fmla="*/ 35375 w 71645"/>
                <a:gd name="connsiteY23" fmla="*/ 11642 h 62689"/>
                <a:gd name="connsiteX24" fmla="*/ 37166 w 71645"/>
                <a:gd name="connsiteY24" fmla="*/ 12538 h 62689"/>
                <a:gd name="connsiteX25" fmla="*/ 38957 w 71645"/>
                <a:gd name="connsiteY25" fmla="*/ 11642 h 62689"/>
                <a:gd name="connsiteX26" fmla="*/ 40300 w 71645"/>
                <a:gd name="connsiteY26" fmla="*/ 10299 h 62689"/>
                <a:gd name="connsiteX27" fmla="*/ 52391 w 71645"/>
                <a:gd name="connsiteY27" fmla="*/ 4478 h 62689"/>
                <a:gd name="connsiteX28" fmla="*/ 52391 w 71645"/>
                <a:gd name="connsiteY28" fmla="*/ 4478 h 62689"/>
                <a:gd name="connsiteX29" fmla="*/ 64033 w 71645"/>
                <a:gd name="connsiteY29" fmla="*/ 9403 h 62689"/>
                <a:gd name="connsiteX30" fmla="*/ 68959 w 71645"/>
                <a:gd name="connsiteY30" fmla="*/ 21046 h 62689"/>
                <a:gd name="connsiteX31" fmla="*/ 63137 w 71645"/>
                <a:gd name="connsiteY31" fmla="*/ 32688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645" h="62689">
                  <a:moveTo>
                    <a:pt x="51495" y="448"/>
                  </a:moveTo>
                  <a:cubicBezTo>
                    <a:pt x="51495" y="448"/>
                    <a:pt x="51495" y="448"/>
                    <a:pt x="51495" y="448"/>
                  </a:cubicBezTo>
                  <a:cubicBezTo>
                    <a:pt x="46122" y="448"/>
                    <a:pt x="40748" y="3134"/>
                    <a:pt x="36270" y="7164"/>
                  </a:cubicBezTo>
                  <a:cubicBezTo>
                    <a:pt x="32240" y="2687"/>
                    <a:pt x="26867" y="0"/>
                    <a:pt x="21046" y="0"/>
                  </a:cubicBezTo>
                  <a:cubicBezTo>
                    <a:pt x="15672" y="0"/>
                    <a:pt x="10299" y="2239"/>
                    <a:pt x="6269" y="5821"/>
                  </a:cubicBezTo>
                  <a:cubicBezTo>
                    <a:pt x="2239" y="9851"/>
                    <a:pt x="0" y="14776"/>
                    <a:pt x="0" y="20598"/>
                  </a:cubicBezTo>
                  <a:cubicBezTo>
                    <a:pt x="0" y="25971"/>
                    <a:pt x="2239" y="31345"/>
                    <a:pt x="5821" y="34927"/>
                  </a:cubicBezTo>
                  <a:lnTo>
                    <a:pt x="34032" y="63137"/>
                  </a:lnTo>
                  <a:cubicBezTo>
                    <a:pt x="34479" y="63585"/>
                    <a:pt x="34927" y="63585"/>
                    <a:pt x="35823" y="63585"/>
                  </a:cubicBezTo>
                  <a:cubicBezTo>
                    <a:pt x="35823" y="63585"/>
                    <a:pt x="35823" y="63585"/>
                    <a:pt x="35823" y="63585"/>
                  </a:cubicBezTo>
                  <a:cubicBezTo>
                    <a:pt x="36270" y="63585"/>
                    <a:pt x="37166" y="63137"/>
                    <a:pt x="37614" y="63137"/>
                  </a:cubicBezTo>
                  <a:lnTo>
                    <a:pt x="65824" y="34927"/>
                  </a:lnTo>
                  <a:cubicBezTo>
                    <a:pt x="69854" y="30897"/>
                    <a:pt x="71645" y="25971"/>
                    <a:pt x="71645" y="20598"/>
                  </a:cubicBezTo>
                  <a:cubicBezTo>
                    <a:pt x="71645" y="15225"/>
                    <a:pt x="69406" y="9851"/>
                    <a:pt x="65824" y="5821"/>
                  </a:cubicBezTo>
                  <a:cubicBezTo>
                    <a:pt x="62242" y="2687"/>
                    <a:pt x="57316" y="448"/>
                    <a:pt x="51495" y="448"/>
                  </a:cubicBezTo>
                  <a:close/>
                  <a:moveTo>
                    <a:pt x="63137" y="32688"/>
                  </a:moveTo>
                  <a:lnTo>
                    <a:pt x="36270" y="59107"/>
                  </a:lnTo>
                  <a:lnTo>
                    <a:pt x="9851" y="32240"/>
                  </a:lnTo>
                  <a:cubicBezTo>
                    <a:pt x="6717" y="29106"/>
                    <a:pt x="5373" y="25076"/>
                    <a:pt x="5373" y="21046"/>
                  </a:cubicBezTo>
                  <a:cubicBezTo>
                    <a:pt x="5373" y="16568"/>
                    <a:pt x="7165" y="12538"/>
                    <a:pt x="10299" y="9403"/>
                  </a:cubicBezTo>
                  <a:cubicBezTo>
                    <a:pt x="13433" y="6269"/>
                    <a:pt x="17464" y="4478"/>
                    <a:pt x="21941" y="4478"/>
                  </a:cubicBezTo>
                  <a:cubicBezTo>
                    <a:pt x="21941" y="4478"/>
                    <a:pt x="21941" y="4478"/>
                    <a:pt x="21941" y="4478"/>
                  </a:cubicBezTo>
                  <a:cubicBezTo>
                    <a:pt x="26419" y="4478"/>
                    <a:pt x="30897" y="6717"/>
                    <a:pt x="34032" y="10299"/>
                  </a:cubicBezTo>
                  <a:lnTo>
                    <a:pt x="35375" y="11642"/>
                  </a:lnTo>
                  <a:cubicBezTo>
                    <a:pt x="35823" y="12090"/>
                    <a:pt x="36270" y="12538"/>
                    <a:pt x="37166" y="12538"/>
                  </a:cubicBezTo>
                  <a:cubicBezTo>
                    <a:pt x="37614" y="12538"/>
                    <a:pt x="38509" y="12090"/>
                    <a:pt x="38957" y="11642"/>
                  </a:cubicBezTo>
                  <a:lnTo>
                    <a:pt x="40300" y="10299"/>
                  </a:lnTo>
                  <a:cubicBezTo>
                    <a:pt x="43435" y="6717"/>
                    <a:pt x="47913" y="4478"/>
                    <a:pt x="52391" y="4478"/>
                  </a:cubicBezTo>
                  <a:cubicBezTo>
                    <a:pt x="52391" y="4478"/>
                    <a:pt x="52391" y="4478"/>
                    <a:pt x="52391" y="4478"/>
                  </a:cubicBezTo>
                  <a:cubicBezTo>
                    <a:pt x="56868" y="4478"/>
                    <a:pt x="60898" y="6269"/>
                    <a:pt x="64033" y="9403"/>
                  </a:cubicBezTo>
                  <a:cubicBezTo>
                    <a:pt x="67167" y="12538"/>
                    <a:pt x="68959" y="16568"/>
                    <a:pt x="68959" y="21046"/>
                  </a:cubicBezTo>
                  <a:cubicBezTo>
                    <a:pt x="67615" y="25523"/>
                    <a:pt x="66272" y="29553"/>
                    <a:pt x="63137" y="32688"/>
                  </a:cubicBezTo>
                  <a:close/>
                </a:path>
              </a:pathLst>
            </a:custGeom>
            <a:solidFill>
              <a:srgbClr val="231F20"/>
            </a:solidFill>
            <a:ln w="4474" cap="flat">
              <a:noFill/>
              <a:prstDash val="solid"/>
              <a:miter/>
            </a:ln>
          </p:spPr>
          <p:txBody>
            <a:bodyPr rtlCol="0" anchor="ctr"/>
            <a:lstStyle/>
            <a:p>
              <a:endParaRPr lang="en-US"/>
            </a:p>
          </p:txBody>
        </p:sp>
      </p:grpSp>
      <p:grpSp>
        <p:nvGrpSpPr>
          <p:cNvPr id="4829" name="Group 4828">
            <a:extLst>
              <a:ext uri="{FF2B5EF4-FFF2-40B4-BE49-F238E27FC236}">
                <a16:creationId xmlns:a16="http://schemas.microsoft.com/office/drawing/2014/main" id="{5164DB3D-2C11-4BD7-8160-548BE622AA6C}"/>
              </a:ext>
              <a:ext uri="{C183D7F6-B498-43B3-948B-1728B52AA6E4}">
                <adec:decorative xmlns:adec="http://schemas.microsoft.com/office/drawing/2017/decorative" val="1"/>
              </a:ext>
            </a:extLst>
          </p:cNvPr>
          <p:cNvGrpSpPr>
            <a:grpSpLocks noChangeAspect="1"/>
          </p:cNvGrpSpPr>
          <p:nvPr/>
        </p:nvGrpSpPr>
        <p:grpSpPr>
          <a:xfrm>
            <a:off x="9817818" y="2427438"/>
            <a:ext cx="94034" cy="152246"/>
            <a:chOff x="4037165" y="5886624"/>
            <a:chExt cx="94034" cy="152246"/>
          </a:xfrm>
        </p:grpSpPr>
        <p:sp>
          <p:nvSpPr>
            <p:cNvPr id="4830" name="Freeform: Shape 4829">
              <a:extLst>
                <a:ext uri="{FF2B5EF4-FFF2-40B4-BE49-F238E27FC236}">
                  <a16:creationId xmlns:a16="http://schemas.microsoft.com/office/drawing/2014/main" id="{619291F3-E13B-46AF-BD62-2EF22D88C8A4}"/>
                </a:ext>
              </a:extLst>
            </p:cNvPr>
            <p:cNvSpPr/>
            <p:nvPr/>
          </p:nvSpPr>
          <p:spPr>
            <a:xfrm>
              <a:off x="4037165" y="5886624"/>
              <a:ext cx="94034" cy="152246"/>
            </a:xfrm>
            <a:custGeom>
              <a:avLst/>
              <a:gdLst>
                <a:gd name="connsiteX0" fmla="*/ 83735 w 94034"/>
                <a:gd name="connsiteY0" fmla="*/ 26867 h 152245"/>
                <a:gd name="connsiteX1" fmla="*/ 74780 w 94034"/>
                <a:gd name="connsiteY1" fmla="*/ 8508 h 152245"/>
                <a:gd name="connsiteX2" fmla="*/ 60898 w 94034"/>
                <a:gd name="connsiteY2" fmla="*/ 0 h 152245"/>
                <a:gd name="connsiteX3" fmla="*/ 37166 w 94034"/>
                <a:gd name="connsiteY3" fmla="*/ 0 h 152245"/>
                <a:gd name="connsiteX4" fmla="*/ 23285 w 94034"/>
                <a:gd name="connsiteY4" fmla="*/ 8508 h 152245"/>
                <a:gd name="connsiteX5" fmla="*/ 14329 w 94034"/>
                <a:gd name="connsiteY5" fmla="*/ 26867 h 152245"/>
                <a:gd name="connsiteX6" fmla="*/ 0 w 94034"/>
                <a:gd name="connsiteY6" fmla="*/ 42539 h 152245"/>
                <a:gd name="connsiteX7" fmla="*/ 0 w 94034"/>
                <a:gd name="connsiteY7" fmla="*/ 109707 h 152245"/>
                <a:gd name="connsiteX8" fmla="*/ 14329 w 94034"/>
                <a:gd name="connsiteY8" fmla="*/ 125379 h 152245"/>
                <a:gd name="connsiteX9" fmla="*/ 23285 w 94034"/>
                <a:gd name="connsiteY9" fmla="*/ 143738 h 152245"/>
                <a:gd name="connsiteX10" fmla="*/ 37166 w 94034"/>
                <a:gd name="connsiteY10" fmla="*/ 152246 h 152245"/>
                <a:gd name="connsiteX11" fmla="*/ 60898 w 94034"/>
                <a:gd name="connsiteY11" fmla="*/ 152246 h 152245"/>
                <a:gd name="connsiteX12" fmla="*/ 74780 w 94034"/>
                <a:gd name="connsiteY12" fmla="*/ 143738 h 152245"/>
                <a:gd name="connsiteX13" fmla="*/ 83735 w 94034"/>
                <a:gd name="connsiteY13" fmla="*/ 125379 h 152245"/>
                <a:gd name="connsiteX14" fmla="*/ 98064 w 94034"/>
                <a:gd name="connsiteY14" fmla="*/ 109707 h 152245"/>
                <a:gd name="connsiteX15" fmla="*/ 98064 w 94034"/>
                <a:gd name="connsiteY15" fmla="*/ 42539 h 152245"/>
                <a:gd name="connsiteX16" fmla="*/ 83735 w 94034"/>
                <a:gd name="connsiteY16" fmla="*/ 26867 h 152245"/>
                <a:gd name="connsiteX17" fmla="*/ 26867 w 94034"/>
                <a:gd name="connsiteY17" fmla="*/ 10747 h 152245"/>
                <a:gd name="connsiteX18" fmla="*/ 36718 w 94034"/>
                <a:gd name="connsiteY18" fmla="*/ 4478 h 152245"/>
                <a:gd name="connsiteX19" fmla="*/ 60451 w 94034"/>
                <a:gd name="connsiteY19" fmla="*/ 4478 h 152245"/>
                <a:gd name="connsiteX20" fmla="*/ 70302 w 94034"/>
                <a:gd name="connsiteY20" fmla="*/ 10747 h 152245"/>
                <a:gd name="connsiteX21" fmla="*/ 78362 w 94034"/>
                <a:gd name="connsiteY21" fmla="*/ 26867 h 152245"/>
                <a:gd name="connsiteX22" fmla="*/ 18359 w 94034"/>
                <a:gd name="connsiteY22" fmla="*/ 26867 h 152245"/>
                <a:gd name="connsiteX23" fmla="*/ 26867 w 94034"/>
                <a:gd name="connsiteY23" fmla="*/ 10747 h 152245"/>
                <a:gd name="connsiteX24" fmla="*/ 70302 w 94034"/>
                <a:gd name="connsiteY24" fmla="*/ 141499 h 152245"/>
                <a:gd name="connsiteX25" fmla="*/ 60451 w 94034"/>
                <a:gd name="connsiteY25" fmla="*/ 147768 h 152245"/>
                <a:gd name="connsiteX26" fmla="*/ 36718 w 94034"/>
                <a:gd name="connsiteY26" fmla="*/ 147768 h 152245"/>
                <a:gd name="connsiteX27" fmla="*/ 26867 w 94034"/>
                <a:gd name="connsiteY27" fmla="*/ 141499 h 152245"/>
                <a:gd name="connsiteX28" fmla="*/ 18807 w 94034"/>
                <a:gd name="connsiteY28" fmla="*/ 125379 h 152245"/>
                <a:gd name="connsiteX29" fmla="*/ 78809 w 94034"/>
                <a:gd name="connsiteY29" fmla="*/ 125379 h 152245"/>
                <a:gd name="connsiteX30" fmla="*/ 70302 w 94034"/>
                <a:gd name="connsiteY30" fmla="*/ 141499 h 152245"/>
                <a:gd name="connsiteX31" fmla="*/ 93586 w 94034"/>
                <a:gd name="connsiteY31" fmla="*/ 109707 h 152245"/>
                <a:gd name="connsiteX32" fmla="*/ 82392 w 94034"/>
                <a:gd name="connsiteY32" fmla="*/ 120901 h 152245"/>
                <a:gd name="connsiteX33" fmla="*/ 15224 w 94034"/>
                <a:gd name="connsiteY33" fmla="*/ 120901 h 152245"/>
                <a:gd name="connsiteX34" fmla="*/ 4030 w 94034"/>
                <a:gd name="connsiteY34" fmla="*/ 109707 h 152245"/>
                <a:gd name="connsiteX35" fmla="*/ 4030 w 94034"/>
                <a:gd name="connsiteY35" fmla="*/ 42539 h 152245"/>
                <a:gd name="connsiteX36" fmla="*/ 15224 w 94034"/>
                <a:gd name="connsiteY36" fmla="*/ 31345 h 152245"/>
                <a:gd name="connsiteX37" fmla="*/ 82392 w 94034"/>
                <a:gd name="connsiteY37" fmla="*/ 31345 h 152245"/>
                <a:gd name="connsiteX38" fmla="*/ 93586 w 94034"/>
                <a:gd name="connsiteY38" fmla="*/ 42539 h 152245"/>
                <a:gd name="connsiteX39" fmla="*/ 93586 w 94034"/>
                <a:gd name="connsiteY39" fmla="*/ 109707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4034" h="152245">
                  <a:moveTo>
                    <a:pt x="83735" y="26867"/>
                  </a:moveTo>
                  <a:lnTo>
                    <a:pt x="74780" y="8508"/>
                  </a:lnTo>
                  <a:cubicBezTo>
                    <a:pt x="72093" y="3135"/>
                    <a:pt x="66719" y="0"/>
                    <a:pt x="60898" y="0"/>
                  </a:cubicBezTo>
                  <a:lnTo>
                    <a:pt x="37166" y="0"/>
                  </a:lnTo>
                  <a:cubicBezTo>
                    <a:pt x="31345" y="0"/>
                    <a:pt x="25971" y="3135"/>
                    <a:pt x="23285" y="8508"/>
                  </a:cubicBezTo>
                  <a:lnTo>
                    <a:pt x="14329" y="26867"/>
                  </a:lnTo>
                  <a:cubicBezTo>
                    <a:pt x="6269" y="27763"/>
                    <a:pt x="0" y="34031"/>
                    <a:pt x="0" y="42539"/>
                  </a:cubicBezTo>
                  <a:lnTo>
                    <a:pt x="0" y="109707"/>
                  </a:lnTo>
                  <a:cubicBezTo>
                    <a:pt x="0" y="117767"/>
                    <a:pt x="6269" y="124484"/>
                    <a:pt x="14329" y="125379"/>
                  </a:cubicBezTo>
                  <a:lnTo>
                    <a:pt x="23285" y="143738"/>
                  </a:lnTo>
                  <a:cubicBezTo>
                    <a:pt x="25971" y="149112"/>
                    <a:pt x="31345" y="152246"/>
                    <a:pt x="37166" y="152246"/>
                  </a:cubicBezTo>
                  <a:lnTo>
                    <a:pt x="60898" y="152246"/>
                  </a:lnTo>
                  <a:cubicBezTo>
                    <a:pt x="66719" y="152246"/>
                    <a:pt x="72093" y="149112"/>
                    <a:pt x="74780" y="143738"/>
                  </a:cubicBezTo>
                  <a:lnTo>
                    <a:pt x="83735" y="125379"/>
                  </a:lnTo>
                  <a:cubicBezTo>
                    <a:pt x="91795" y="124484"/>
                    <a:pt x="98064" y="118214"/>
                    <a:pt x="98064" y="109707"/>
                  </a:cubicBezTo>
                  <a:lnTo>
                    <a:pt x="98064" y="42539"/>
                  </a:lnTo>
                  <a:cubicBezTo>
                    <a:pt x="98064" y="34480"/>
                    <a:pt x="91795" y="27763"/>
                    <a:pt x="83735" y="26867"/>
                  </a:cubicBezTo>
                  <a:close/>
                  <a:moveTo>
                    <a:pt x="26867" y="10747"/>
                  </a:moveTo>
                  <a:cubicBezTo>
                    <a:pt x="28658" y="6717"/>
                    <a:pt x="32688" y="4478"/>
                    <a:pt x="36718" y="4478"/>
                  </a:cubicBezTo>
                  <a:lnTo>
                    <a:pt x="60451" y="4478"/>
                  </a:lnTo>
                  <a:cubicBezTo>
                    <a:pt x="64928" y="4478"/>
                    <a:pt x="68511" y="6717"/>
                    <a:pt x="70302" y="10747"/>
                  </a:cubicBezTo>
                  <a:lnTo>
                    <a:pt x="78362" y="26867"/>
                  </a:lnTo>
                  <a:lnTo>
                    <a:pt x="18359" y="26867"/>
                  </a:lnTo>
                  <a:lnTo>
                    <a:pt x="26867" y="10747"/>
                  </a:lnTo>
                  <a:close/>
                  <a:moveTo>
                    <a:pt x="70302" y="141499"/>
                  </a:moveTo>
                  <a:cubicBezTo>
                    <a:pt x="68511" y="145529"/>
                    <a:pt x="64480" y="147768"/>
                    <a:pt x="60451" y="147768"/>
                  </a:cubicBezTo>
                  <a:lnTo>
                    <a:pt x="36718" y="147768"/>
                  </a:lnTo>
                  <a:cubicBezTo>
                    <a:pt x="32240" y="147768"/>
                    <a:pt x="28658" y="145529"/>
                    <a:pt x="26867" y="141499"/>
                  </a:cubicBezTo>
                  <a:lnTo>
                    <a:pt x="18807" y="125379"/>
                  </a:lnTo>
                  <a:lnTo>
                    <a:pt x="78809" y="125379"/>
                  </a:lnTo>
                  <a:lnTo>
                    <a:pt x="70302" y="141499"/>
                  </a:lnTo>
                  <a:close/>
                  <a:moveTo>
                    <a:pt x="93586" y="109707"/>
                  </a:moveTo>
                  <a:cubicBezTo>
                    <a:pt x="93586" y="115976"/>
                    <a:pt x="88661" y="120901"/>
                    <a:pt x="82392" y="120901"/>
                  </a:cubicBezTo>
                  <a:lnTo>
                    <a:pt x="15224" y="120901"/>
                  </a:lnTo>
                  <a:cubicBezTo>
                    <a:pt x="8956" y="120901"/>
                    <a:pt x="4030" y="115976"/>
                    <a:pt x="4030" y="109707"/>
                  </a:cubicBezTo>
                  <a:lnTo>
                    <a:pt x="4030" y="42539"/>
                  </a:lnTo>
                  <a:cubicBezTo>
                    <a:pt x="4030" y="36270"/>
                    <a:pt x="8956" y="31345"/>
                    <a:pt x="15224" y="31345"/>
                  </a:cubicBezTo>
                  <a:lnTo>
                    <a:pt x="82392" y="31345"/>
                  </a:lnTo>
                  <a:cubicBezTo>
                    <a:pt x="88661" y="31345"/>
                    <a:pt x="93586" y="36270"/>
                    <a:pt x="93586" y="42539"/>
                  </a:cubicBezTo>
                  <a:lnTo>
                    <a:pt x="93586" y="109707"/>
                  </a:lnTo>
                  <a:close/>
                </a:path>
              </a:pathLst>
            </a:custGeom>
            <a:solidFill>
              <a:srgbClr val="231F20"/>
            </a:solidFill>
            <a:ln w="4474" cap="flat">
              <a:noFill/>
              <a:prstDash val="solid"/>
              <a:miter/>
            </a:ln>
          </p:spPr>
          <p:txBody>
            <a:bodyPr rtlCol="0" anchor="ctr"/>
            <a:lstStyle/>
            <a:p>
              <a:endParaRPr lang="en-US"/>
            </a:p>
          </p:txBody>
        </p:sp>
        <p:sp>
          <p:nvSpPr>
            <p:cNvPr id="4831" name="Freeform: Shape 4830">
              <a:extLst>
                <a:ext uri="{FF2B5EF4-FFF2-40B4-BE49-F238E27FC236}">
                  <a16:creationId xmlns:a16="http://schemas.microsoft.com/office/drawing/2014/main" id="{2429342D-459E-4759-9A1E-786892E65AFD}"/>
                </a:ext>
              </a:extLst>
            </p:cNvPr>
            <p:cNvSpPr/>
            <p:nvPr/>
          </p:nvSpPr>
          <p:spPr>
            <a:xfrm>
              <a:off x="4050151" y="5940358"/>
              <a:ext cx="71645" cy="58212"/>
            </a:xfrm>
            <a:custGeom>
              <a:avLst/>
              <a:gdLst>
                <a:gd name="connsiteX0" fmla="*/ 63585 w 71645"/>
                <a:gd name="connsiteY0" fmla="*/ 0 h 58211"/>
                <a:gd name="connsiteX1" fmla="*/ 8060 w 71645"/>
                <a:gd name="connsiteY1" fmla="*/ 0 h 58211"/>
                <a:gd name="connsiteX2" fmla="*/ 0 w 71645"/>
                <a:gd name="connsiteY2" fmla="*/ 7613 h 58211"/>
                <a:gd name="connsiteX3" fmla="*/ 0 w 71645"/>
                <a:gd name="connsiteY3" fmla="*/ 37166 h 58211"/>
                <a:gd name="connsiteX4" fmla="*/ 8060 w 71645"/>
                <a:gd name="connsiteY4" fmla="*/ 44778 h 58211"/>
                <a:gd name="connsiteX5" fmla="*/ 13433 w 71645"/>
                <a:gd name="connsiteY5" fmla="*/ 44778 h 58211"/>
                <a:gd name="connsiteX6" fmla="*/ 13433 w 71645"/>
                <a:gd name="connsiteY6" fmla="*/ 55973 h 58211"/>
                <a:gd name="connsiteX7" fmla="*/ 14777 w 71645"/>
                <a:gd name="connsiteY7" fmla="*/ 57764 h 58211"/>
                <a:gd name="connsiteX8" fmla="*/ 15672 w 71645"/>
                <a:gd name="connsiteY8" fmla="*/ 58212 h 58211"/>
                <a:gd name="connsiteX9" fmla="*/ 17016 w 71645"/>
                <a:gd name="connsiteY9" fmla="*/ 57764 h 58211"/>
                <a:gd name="connsiteX10" fmla="*/ 34927 w 71645"/>
                <a:gd name="connsiteY10" fmla="*/ 44778 h 58211"/>
                <a:gd name="connsiteX11" fmla="*/ 63585 w 71645"/>
                <a:gd name="connsiteY11" fmla="*/ 44778 h 58211"/>
                <a:gd name="connsiteX12" fmla="*/ 71645 w 71645"/>
                <a:gd name="connsiteY12" fmla="*/ 37166 h 58211"/>
                <a:gd name="connsiteX13" fmla="*/ 71645 w 71645"/>
                <a:gd name="connsiteY13" fmla="*/ 7613 h 58211"/>
                <a:gd name="connsiteX14" fmla="*/ 63585 w 71645"/>
                <a:gd name="connsiteY14" fmla="*/ 0 h 58211"/>
                <a:gd name="connsiteX15" fmla="*/ 67167 w 71645"/>
                <a:gd name="connsiteY15" fmla="*/ 37166 h 58211"/>
                <a:gd name="connsiteX16" fmla="*/ 63585 w 71645"/>
                <a:gd name="connsiteY16" fmla="*/ 40300 h 58211"/>
                <a:gd name="connsiteX17" fmla="*/ 34479 w 71645"/>
                <a:gd name="connsiteY17" fmla="*/ 40300 h 58211"/>
                <a:gd name="connsiteX18" fmla="*/ 33136 w 71645"/>
                <a:gd name="connsiteY18" fmla="*/ 40748 h 58211"/>
                <a:gd name="connsiteX19" fmla="*/ 17911 w 71645"/>
                <a:gd name="connsiteY19" fmla="*/ 51495 h 58211"/>
                <a:gd name="connsiteX20" fmla="*/ 17911 w 71645"/>
                <a:gd name="connsiteY20" fmla="*/ 42539 h 58211"/>
                <a:gd name="connsiteX21" fmla="*/ 15672 w 71645"/>
                <a:gd name="connsiteY21" fmla="*/ 40300 h 58211"/>
                <a:gd name="connsiteX22" fmla="*/ 8060 w 71645"/>
                <a:gd name="connsiteY22" fmla="*/ 40300 h 58211"/>
                <a:gd name="connsiteX23" fmla="*/ 4478 w 71645"/>
                <a:gd name="connsiteY23" fmla="*/ 37166 h 58211"/>
                <a:gd name="connsiteX24" fmla="*/ 4478 w 71645"/>
                <a:gd name="connsiteY24" fmla="*/ 7613 h 58211"/>
                <a:gd name="connsiteX25" fmla="*/ 8060 w 71645"/>
                <a:gd name="connsiteY25" fmla="*/ 4478 h 58211"/>
                <a:gd name="connsiteX26" fmla="*/ 63585 w 71645"/>
                <a:gd name="connsiteY26" fmla="*/ 4478 h 58211"/>
                <a:gd name="connsiteX27" fmla="*/ 67167 w 71645"/>
                <a:gd name="connsiteY27" fmla="*/ 7613 h 58211"/>
                <a:gd name="connsiteX28" fmla="*/ 67167 w 71645"/>
                <a:gd name="connsiteY28" fmla="*/ 3716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645" h="58211">
                  <a:moveTo>
                    <a:pt x="63585" y="0"/>
                  </a:moveTo>
                  <a:lnTo>
                    <a:pt x="8060" y="0"/>
                  </a:lnTo>
                  <a:cubicBezTo>
                    <a:pt x="3582" y="0"/>
                    <a:pt x="0" y="3582"/>
                    <a:pt x="0" y="7613"/>
                  </a:cubicBezTo>
                  <a:lnTo>
                    <a:pt x="0" y="37166"/>
                  </a:lnTo>
                  <a:cubicBezTo>
                    <a:pt x="0" y="41196"/>
                    <a:pt x="3582" y="44778"/>
                    <a:pt x="8060" y="44778"/>
                  </a:cubicBezTo>
                  <a:lnTo>
                    <a:pt x="13433" y="44778"/>
                  </a:lnTo>
                  <a:lnTo>
                    <a:pt x="13433" y="55973"/>
                  </a:lnTo>
                  <a:cubicBezTo>
                    <a:pt x="13433" y="56869"/>
                    <a:pt x="13881" y="57764"/>
                    <a:pt x="14777" y="57764"/>
                  </a:cubicBezTo>
                  <a:cubicBezTo>
                    <a:pt x="15225" y="57764"/>
                    <a:pt x="15225" y="58212"/>
                    <a:pt x="15672" y="58212"/>
                  </a:cubicBezTo>
                  <a:cubicBezTo>
                    <a:pt x="16120" y="58212"/>
                    <a:pt x="16568" y="58212"/>
                    <a:pt x="17016" y="57764"/>
                  </a:cubicBezTo>
                  <a:lnTo>
                    <a:pt x="34927" y="44778"/>
                  </a:lnTo>
                  <a:lnTo>
                    <a:pt x="63585" y="44778"/>
                  </a:lnTo>
                  <a:cubicBezTo>
                    <a:pt x="68063" y="44778"/>
                    <a:pt x="71645" y="41196"/>
                    <a:pt x="71645" y="37166"/>
                  </a:cubicBezTo>
                  <a:lnTo>
                    <a:pt x="71645" y="7613"/>
                  </a:lnTo>
                  <a:cubicBezTo>
                    <a:pt x="71645" y="3582"/>
                    <a:pt x="68063" y="0"/>
                    <a:pt x="63585" y="0"/>
                  </a:cubicBezTo>
                  <a:close/>
                  <a:moveTo>
                    <a:pt x="67167" y="37166"/>
                  </a:moveTo>
                  <a:cubicBezTo>
                    <a:pt x="67167" y="38957"/>
                    <a:pt x="65376" y="40300"/>
                    <a:pt x="63585" y="40300"/>
                  </a:cubicBezTo>
                  <a:lnTo>
                    <a:pt x="34479" y="40300"/>
                  </a:lnTo>
                  <a:cubicBezTo>
                    <a:pt x="34032" y="40300"/>
                    <a:pt x="33584" y="40300"/>
                    <a:pt x="33136" y="40748"/>
                  </a:cubicBezTo>
                  <a:lnTo>
                    <a:pt x="17911" y="51495"/>
                  </a:lnTo>
                  <a:lnTo>
                    <a:pt x="17911" y="42539"/>
                  </a:lnTo>
                  <a:cubicBezTo>
                    <a:pt x="17911" y="41196"/>
                    <a:pt x="17016" y="40300"/>
                    <a:pt x="15672" y="40300"/>
                  </a:cubicBezTo>
                  <a:lnTo>
                    <a:pt x="8060" y="40300"/>
                  </a:lnTo>
                  <a:cubicBezTo>
                    <a:pt x="6269" y="40300"/>
                    <a:pt x="4478" y="38957"/>
                    <a:pt x="4478" y="37166"/>
                  </a:cubicBezTo>
                  <a:lnTo>
                    <a:pt x="4478" y="7613"/>
                  </a:lnTo>
                  <a:cubicBezTo>
                    <a:pt x="4478" y="5821"/>
                    <a:pt x="6269" y="4478"/>
                    <a:pt x="8060" y="4478"/>
                  </a:cubicBezTo>
                  <a:lnTo>
                    <a:pt x="63585" y="4478"/>
                  </a:lnTo>
                  <a:cubicBezTo>
                    <a:pt x="65376" y="4478"/>
                    <a:pt x="67167" y="5821"/>
                    <a:pt x="67167" y="7613"/>
                  </a:cubicBezTo>
                  <a:lnTo>
                    <a:pt x="67167" y="37166"/>
                  </a:lnTo>
                  <a:close/>
                </a:path>
              </a:pathLst>
            </a:custGeom>
            <a:solidFill>
              <a:srgbClr val="231F20"/>
            </a:solidFill>
            <a:ln w="4474" cap="flat">
              <a:noFill/>
              <a:prstDash val="solid"/>
              <a:miter/>
            </a:ln>
          </p:spPr>
          <p:txBody>
            <a:bodyPr rtlCol="0" anchor="ctr"/>
            <a:lstStyle/>
            <a:p>
              <a:endParaRPr lang="en-US"/>
            </a:p>
          </p:txBody>
        </p:sp>
        <p:sp>
          <p:nvSpPr>
            <p:cNvPr id="4832" name="Freeform: Shape 4831">
              <a:extLst>
                <a:ext uri="{FF2B5EF4-FFF2-40B4-BE49-F238E27FC236}">
                  <a16:creationId xmlns:a16="http://schemas.microsoft.com/office/drawing/2014/main" id="{BC5F8ABB-38D1-40F0-8A33-52C38F18CCA6}"/>
                </a:ext>
              </a:extLst>
            </p:cNvPr>
            <p:cNvSpPr/>
            <p:nvPr/>
          </p:nvSpPr>
          <p:spPr>
            <a:xfrm>
              <a:off x="4063584" y="5953792"/>
              <a:ext cx="44778" cy="4478"/>
            </a:xfrm>
            <a:custGeom>
              <a:avLst/>
              <a:gdLst>
                <a:gd name="connsiteX0" fmla="*/ 42539 w 44778"/>
                <a:gd name="connsiteY0" fmla="*/ 0 h 4477"/>
                <a:gd name="connsiteX1" fmla="*/ 2239 w 44778"/>
                <a:gd name="connsiteY1" fmla="*/ 0 h 4477"/>
                <a:gd name="connsiteX2" fmla="*/ 0 w 44778"/>
                <a:gd name="connsiteY2" fmla="*/ 2239 h 4477"/>
                <a:gd name="connsiteX3" fmla="*/ 2239 w 44778"/>
                <a:gd name="connsiteY3" fmla="*/ 4478 h 4477"/>
                <a:gd name="connsiteX4" fmla="*/ 42539 w 44778"/>
                <a:gd name="connsiteY4" fmla="*/ 4478 h 4477"/>
                <a:gd name="connsiteX5" fmla="*/ 44778 w 44778"/>
                <a:gd name="connsiteY5" fmla="*/ 2239 h 4477"/>
                <a:gd name="connsiteX6" fmla="*/ 42539 w 44778"/>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8" h="4477">
                  <a:moveTo>
                    <a:pt x="42539" y="0"/>
                  </a:moveTo>
                  <a:lnTo>
                    <a:pt x="2239" y="0"/>
                  </a:lnTo>
                  <a:cubicBezTo>
                    <a:pt x="896" y="0"/>
                    <a:pt x="0" y="896"/>
                    <a:pt x="0" y="2239"/>
                  </a:cubicBezTo>
                  <a:cubicBezTo>
                    <a:pt x="0" y="3582"/>
                    <a:pt x="896" y="4478"/>
                    <a:pt x="2239" y="4478"/>
                  </a:cubicBezTo>
                  <a:lnTo>
                    <a:pt x="42539" y="4478"/>
                  </a:lnTo>
                  <a:cubicBezTo>
                    <a:pt x="43883" y="4478"/>
                    <a:pt x="44778" y="3582"/>
                    <a:pt x="44778" y="2239"/>
                  </a:cubicBezTo>
                  <a:cubicBezTo>
                    <a:pt x="44778" y="896"/>
                    <a:pt x="43435" y="0"/>
                    <a:pt x="42539" y="0"/>
                  </a:cubicBezTo>
                  <a:close/>
                </a:path>
              </a:pathLst>
            </a:custGeom>
            <a:solidFill>
              <a:srgbClr val="231F20"/>
            </a:solidFill>
            <a:ln w="4474" cap="flat">
              <a:noFill/>
              <a:prstDash val="solid"/>
              <a:miter/>
            </a:ln>
          </p:spPr>
          <p:txBody>
            <a:bodyPr rtlCol="0" anchor="ctr"/>
            <a:lstStyle/>
            <a:p>
              <a:endParaRPr lang="en-US"/>
            </a:p>
          </p:txBody>
        </p:sp>
        <p:sp>
          <p:nvSpPr>
            <p:cNvPr id="4833" name="Freeform: Shape 4832">
              <a:extLst>
                <a:ext uri="{FF2B5EF4-FFF2-40B4-BE49-F238E27FC236}">
                  <a16:creationId xmlns:a16="http://schemas.microsoft.com/office/drawing/2014/main" id="{44B9BC79-4ED1-4EAF-8018-BC0405DA465F}"/>
                </a:ext>
              </a:extLst>
            </p:cNvPr>
            <p:cNvSpPr/>
            <p:nvPr/>
          </p:nvSpPr>
          <p:spPr>
            <a:xfrm>
              <a:off x="4063584" y="5967225"/>
              <a:ext cx="31345" cy="4478"/>
            </a:xfrm>
            <a:custGeom>
              <a:avLst/>
              <a:gdLst>
                <a:gd name="connsiteX0" fmla="*/ 29106 w 31344"/>
                <a:gd name="connsiteY0" fmla="*/ 0 h 4477"/>
                <a:gd name="connsiteX1" fmla="*/ 2239 w 31344"/>
                <a:gd name="connsiteY1" fmla="*/ 0 h 4477"/>
                <a:gd name="connsiteX2" fmla="*/ 0 w 31344"/>
                <a:gd name="connsiteY2" fmla="*/ 2239 h 4477"/>
                <a:gd name="connsiteX3" fmla="*/ 2239 w 31344"/>
                <a:gd name="connsiteY3" fmla="*/ 4478 h 4477"/>
                <a:gd name="connsiteX4" fmla="*/ 29106 w 31344"/>
                <a:gd name="connsiteY4" fmla="*/ 4478 h 4477"/>
                <a:gd name="connsiteX5" fmla="*/ 31345 w 31344"/>
                <a:gd name="connsiteY5" fmla="*/ 2239 h 4477"/>
                <a:gd name="connsiteX6" fmla="*/ 29106 w 31344"/>
                <a:gd name="connsiteY6" fmla="*/ 0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44" h="4477">
                  <a:moveTo>
                    <a:pt x="29106" y="0"/>
                  </a:moveTo>
                  <a:lnTo>
                    <a:pt x="2239" y="0"/>
                  </a:lnTo>
                  <a:cubicBezTo>
                    <a:pt x="896" y="0"/>
                    <a:pt x="0" y="896"/>
                    <a:pt x="0" y="2239"/>
                  </a:cubicBezTo>
                  <a:cubicBezTo>
                    <a:pt x="0" y="3582"/>
                    <a:pt x="896" y="4478"/>
                    <a:pt x="2239" y="4478"/>
                  </a:cubicBezTo>
                  <a:lnTo>
                    <a:pt x="29106" y="4478"/>
                  </a:lnTo>
                  <a:cubicBezTo>
                    <a:pt x="30449" y="4478"/>
                    <a:pt x="31345" y="3582"/>
                    <a:pt x="31345" y="2239"/>
                  </a:cubicBezTo>
                  <a:cubicBezTo>
                    <a:pt x="31345" y="896"/>
                    <a:pt x="30001" y="0"/>
                    <a:pt x="29106" y="0"/>
                  </a:cubicBezTo>
                  <a:close/>
                </a:path>
              </a:pathLst>
            </a:custGeom>
            <a:solidFill>
              <a:srgbClr val="231F20"/>
            </a:solidFill>
            <a:ln w="4474" cap="flat">
              <a:noFill/>
              <a:prstDash val="solid"/>
              <a:miter/>
            </a:ln>
          </p:spPr>
          <p:txBody>
            <a:bodyPr rtlCol="0" anchor="ctr"/>
            <a:lstStyle/>
            <a:p>
              <a:endParaRPr lang="en-US"/>
            </a:p>
          </p:txBody>
        </p:sp>
      </p:grpSp>
      <p:grpSp>
        <p:nvGrpSpPr>
          <p:cNvPr id="4834" name="Group 4833">
            <a:extLst>
              <a:ext uri="{FF2B5EF4-FFF2-40B4-BE49-F238E27FC236}">
                <a16:creationId xmlns:a16="http://schemas.microsoft.com/office/drawing/2014/main" id="{C5BB0B23-74CE-4EDF-9DAD-E904E0A26199}"/>
              </a:ext>
              <a:ext uri="{C183D7F6-B498-43B3-948B-1728B52AA6E4}">
                <adec:decorative xmlns:adec="http://schemas.microsoft.com/office/drawing/2017/decorative" val="1"/>
              </a:ext>
            </a:extLst>
          </p:cNvPr>
          <p:cNvGrpSpPr>
            <a:grpSpLocks noChangeAspect="1"/>
          </p:cNvGrpSpPr>
          <p:nvPr/>
        </p:nvGrpSpPr>
        <p:grpSpPr>
          <a:xfrm>
            <a:off x="10347096" y="2427438"/>
            <a:ext cx="98512" cy="152246"/>
            <a:chOff x="4566443" y="5886624"/>
            <a:chExt cx="98512" cy="152246"/>
          </a:xfrm>
        </p:grpSpPr>
        <p:sp>
          <p:nvSpPr>
            <p:cNvPr id="4835" name="Freeform: Shape 4834">
              <a:extLst>
                <a:ext uri="{FF2B5EF4-FFF2-40B4-BE49-F238E27FC236}">
                  <a16:creationId xmlns:a16="http://schemas.microsoft.com/office/drawing/2014/main" id="{18BF7F05-18D3-4A47-B574-B521E4814BEA}"/>
                </a:ext>
              </a:extLst>
            </p:cNvPr>
            <p:cNvSpPr/>
            <p:nvPr/>
          </p:nvSpPr>
          <p:spPr>
            <a:xfrm>
              <a:off x="4613460" y="5926925"/>
              <a:ext cx="22389" cy="58212"/>
            </a:xfrm>
            <a:custGeom>
              <a:avLst/>
              <a:gdLst>
                <a:gd name="connsiteX0" fmla="*/ 4478 w 22389"/>
                <a:gd name="connsiteY0" fmla="*/ 34927 h 58211"/>
                <a:gd name="connsiteX1" fmla="*/ 4478 w 22389"/>
                <a:gd name="connsiteY1" fmla="*/ 2239 h 58211"/>
                <a:gd name="connsiteX2" fmla="*/ 2239 w 22389"/>
                <a:gd name="connsiteY2" fmla="*/ 0 h 58211"/>
                <a:gd name="connsiteX3" fmla="*/ 0 w 22389"/>
                <a:gd name="connsiteY3" fmla="*/ 2239 h 58211"/>
                <a:gd name="connsiteX4" fmla="*/ 0 w 22389"/>
                <a:gd name="connsiteY4" fmla="*/ 35823 h 58211"/>
                <a:gd name="connsiteX5" fmla="*/ 0 w 22389"/>
                <a:gd name="connsiteY5" fmla="*/ 36718 h 58211"/>
                <a:gd name="connsiteX6" fmla="*/ 448 w 22389"/>
                <a:gd name="connsiteY6" fmla="*/ 37614 h 58211"/>
                <a:gd name="connsiteX7" fmla="*/ 20598 w 22389"/>
                <a:gd name="connsiteY7" fmla="*/ 57764 h 58211"/>
                <a:gd name="connsiteX8" fmla="*/ 22389 w 22389"/>
                <a:gd name="connsiteY8" fmla="*/ 58212 h 58211"/>
                <a:gd name="connsiteX9" fmla="*/ 24180 w 22389"/>
                <a:gd name="connsiteY9" fmla="*/ 57764 h 58211"/>
                <a:gd name="connsiteX10" fmla="*/ 24180 w 22389"/>
                <a:gd name="connsiteY10" fmla="*/ 54630 h 58211"/>
                <a:gd name="connsiteX11" fmla="*/ 4478 w 22389"/>
                <a:gd name="connsiteY11" fmla="*/ 34927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89" h="58211">
                  <a:moveTo>
                    <a:pt x="4478" y="34927"/>
                  </a:moveTo>
                  <a:lnTo>
                    <a:pt x="4478" y="2239"/>
                  </a:lnTo>
                  <a:cubicBezTo>
                    <a:pt x="4478" y="896"/>
                    <a:pt x="3582" y="0"/>
                    <a:pt x="2239" y="0"/>
                  </a:cubicBezTo>
                  <a:cubicBezTo>
                    <a:pt x="895" y="0"/>
                    <a:pt x="0" y="896"/>
                    <a:pt x="0" y="2239"/>
                  </a:cubicBezTo>
                  <a:lnTo>
                    <a:pt x="0" y="35823"/>
                  </a:lnTo>
                  <a:cubicBezTo>
                    <a:pt x="0" y="36270"/>
                    <a:pt x="0" y="36270"/>
                    <a:pt x="0" y="36718"/>
                  </a:cubicBezTo>
                  <a:cubicBezTo>
                    <a:pt x="0" y="37166"/>
                    <a:pt x="448" y="37166"/>
                    <a:pt x="448" y="37614"/>
                  </a:cubicBezTo>
                  <a:lnTo>
                    <a:pt x="20598" y="57764"/>
                  </a:lnTo>
                  <a:cubicBezTo>
                    <a:pt x="21046" y="58212"/>
                    <a:pt x="21493" y="58212"/>
                    <a:pt x="22389" y="58212"/>
                  </a:cubicBezTo>
                  <a:cubicBezTo>
                    <a:pt x="23284" y="58212"/>
                    <a:pt x="23732" y="58212"/>
                    <a:pt x="24180" y="57764"/>
                  </a:cubicBezTo>
                  <a:cubicBezTo>
                    <a:pt x="25076" y="56869"/>
                    <a:pt x="25076" y="55525"/>
                    <a:pt x="24180" y="54630"/>
                  </a:cubicBezTo>
                  <a:lnTo>
                    <a:pt x="4478" y="34927"/>
                  </a:lnTo>
                  <a:close/>
                </a:path>
              </a:pathLst>
            </a:custGeom>
            <a:solidFill>
              <a:srgbClr val="231F20"/>
            </a:solidFill>
            <a:ln w="4474" cap="flat">
              <a:noFill/>
              <a:prstDash val="solid"/>
              <a:miter/>
            </a:ln>
          </p:spPr>
          <p:txBody>
            <a:bodyPr rtlCol="0" anchor="ctr"/>
            <a:lstStyle/>
            <a:p>
              <a:endParaRPr lang="en-US"/>
            </a:p>
          </p:txBody>
        </p:sp>
        <p:sp>
          <p:nvSpPr>
            <p:cNvPr id="4836" name="Freeform: Shape 4835">
              <a:extLst>
                <a:ext uri="{FF2B5EF4-FFF2-40B4-BE49-F238E27FC236}">
                  <a16:creationId xmlns:a16="http://schemas.microsoft.com/office/drawing/2014/main" id="{34401D84-C686-4870-ABE2-F58D2D1DCDF6}"/>
                </a:ext>
              </a:extLst>
            </p:cNvPr>
            <p:cNvSpPr/>
            <p:nvPr/>
          </p:nvSpPr>
          <p:spPr>
            <a:xfrm>
              <a:off x="4566443" y="5886624"/>
              <a:ext cx="98512" cy="152246"/>
            </a:xfrm>
            <a:custGeom>
              <a:avLst/>
              <a:gdLst>
                <a:gd name="connsiteX0" fmla="*/ 98512 w 98511"/>
                <a:gd name="connsiteY0" fmla="*/ 76123 h 152245"/>
                <a:gd name="connsiteX1" fmla="*/ 71645 w 98511"/>
                <a:gd name="connsiteY1" fmla="*/ 32241 h 152245"/>
                <a:gd name="connsiteX2" fmla="*/ 71645 w 98511"/>
                <a:gd name="connsiteY2" fmla="*/ 15672 h 152245"/>
                <a:gd name="connsiteX3" fmla="*/ 55973 w 98511"/>
                <a:gd name="connsiteY3" fmla="*/ 0 h 152245"/>
                <a:gd name="connsiteX4" fmla="*/ 42539 w 98511"/>
                <a:gd name="connsiteY4" fmla="*/ 0 h 152245"/>
                <a:gd name="connsiteX5" fmla="*/ 26867 w 98511"/>
                <a:gd name="connsiteY5" fmla="*/ 15672 h 152245"/>
                <a:gd name="connsiteX6" fmla="*/ 26867 w 98511"/>
                <a:gd name="connsiteY6" fmla="*/ 32241 h 152245"/>
                <a:gd name="connsiteX7" fmla="*/ 0 w 98511"/>
                <a:gd name="connsiteY7" fmla="*/ 76123 h 152245"/>
                <a:gd name="connsiteX8" fmla="*/ 26867 w 98511"/>
                <a:gd name="connsiteY8" fmla="*/ 120006 h 152245"/>
                <a:gd name="connsiteX9" fmla="*/ 26867 w 98511"/>
                <a:gd name="connsiteY9" fmla="*/ 136573 h 152245"/>
                <a:gd name="connsiteX10" fmla="*/ 42539 w 98511"/>
                <a:gd name="connsiteY10" fmla="*/ 152246 h 152245"/>
                <a:gd name="connsiteX11" fmla="*/ 55973 w 98511"/>
                <a:gd name="connsiteY11" fmla="*/ 152246 h 152245"/>
                <a:gd name="connsiteX12" fmla="*/ 71645 w 98511"/>
                <a:gd name="connsiteY12" fmla="*/ 136573 h 152245"/>
                <a:gd name="connsiteX13" fmla="*/ 71645 w 98511"/>
                <a:gd name="connsiteY13" fmla="*/ 120006 h 152245"/>
                <a:gd name="connsiteX14" fmla="*/ 98512 w 98511"/>
                <a:gd name="connsiteY14" fmla="*/ 76123 h 152245"/>
                <a:gd name="connsiteX15" fmla="*/ 31345 w 98511"/>
                <a:gd name="connsiteY15" fmla="*/ 15672 h 152245"/>
                <a:gd name="connsiteX16" fmla="*/ 42539 w 98511"/>
                <a:gd name="connsiteY16" fmla="*/ 4478 h 152245"/>
                <a:gd name="connsiteX17" fmla="*/ 55973 w 98511"/>
                <a:gd name="connsiteY17" fmla="*/ 4478 h 152245"/>
                <a:gd name="connsiteX18" fmla="*/ 67167 w 98511"/>
                <a:gd name="connsiteY18" fmla="*/ 15672 h 152245"/>
                <a:gd name="connsiteX19" fmla="*/ 67167 w 98511"/>
                <a:gd name="connsiteY19" fmla="*/ 30449 h 152245"/>
                <a:gd name="connsiteX20" fmla="*/ 49256 w 98511"/>
                <a:gd name="connsiteY20" fmla="*/ 26867 h 152245"/>
                <a:gd name="connsiteX21" fmla="*/ 31345 w 98511"/>
                <a:gd name="connsiteY21" fmla="*/ 30449 h 152245"/>
                <a:gd name="connsiteX22" fmla="*/ 31345 w 98511"/>
                <a:gd name="connsiteY22" fmla="*/ 15672 h 152245"/>
                <a:gd name="connsiteX23" fmla="*/ 67167 w 98511"/>
                <a:gd name="connsiteY23" fmla="*/ 136573 h 152245"/>
                <a:gd name="connsiteX24" fmla="*/ 55973 w 98511"/>
                <a:gd name="connsiteY24" fmla="*/ 147768 h 152245"/>
                <a:gd name="connsiteX25" fmla="*/ 42539 w 98511"/>
                <a:gd name="connsiteY25" fmla="*/ 147768 h 152245"/>
                <a:gd name="connsiteX26" fmla="*/ 31345 w 98511"/>
                <a:gd name="connsiteY26" fmla="*/ 136573 h 152245"/>
                <a:gd name="connsiteX27" fmla="*/ 31345 w 98511"/>
                <a:gd name="connsiteY27" fmla="*/ 121797 h 152245"/>
                <a:gd name="connsiteX28" fmla="*/ 49256 w 98511"/>
                <a:gd name="connsiteY28" fmla="*/ 125379 h 152245"/>
                <a:gd name="connsiteX29" fmla="*/ 67167 w 98511"/>
                <a:gd name="connsiteY29" fmla="*/ 121797 h 152245"/>
                <a:gd name="connsiteX30" fmla="*/ 67167 w 98511"/>
                <a:gd name="connsiteY30" fmla="*/ 136573 h 152245"/>
                <a:gd name="connsiteX31" fmla="*/ 49256 w 98511"/>
                <a:gd name="connsiteY31" fmla="*/ 120901 h 152245"/>
                <a:gd name="connsiteX32" fmla="*/ 4478 w 98511"/>
                <a:gd name="connsiteY32" fmla="*/ 76123 h 152245"/>
                <a:gd name="connsiteX33" fmla="*/ 49256 w 98511"/>
                <a:gd name="connsiteY33" fmla="*/ 31345 h 152245"/>
                <a:gd name="connsiteX34" fmla="*/ 94034 w 98511"/>
                <a:gd name="connsiteY34" fmla="*/ 76123 h 152245"/>
                <a:gd name="connsiteX35" fmla="*/ 49256 w 98511"/>
                <a:gd name="connsiteY35" fmla="*/ 120901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8511" h="152245">
                  <a:moveTo>
                    <a:pt x="98512" y="76123"/>
                  </a:moveTo>
                  <a:cubicBezTo>
                    <a:pt x="98512" y="56869"/>
                    <a:pt x="87765" y="40300"/>
                    <a:pt x="71645" y="32241"/>
                  </a:cubicBezTo>
                  <a:lnTo>
                    <a:pt x="71645" y="15672"/>
                  </a:lnTo>
                  <a:cubicBezTo>
                    <a:pt x="71645" y="7164"/>
                    <a:pt x="64480" y="0"/>
                    <a:pt x="55973" y="0"/>
                  </a:cubicBezTo>
                  <a:lnTo>
                    <a:pt x="42539" y="0"/>
                  </a:lnTo>
                  <a:cubicBezTo>
                    <a:pt x="34031" y="0"/>
                    <a:pt x="26867" y="7164"/>
                    <a:pt x="26867" y="15672"/>
                  </a:cubicBezTo>
                  <a:lnTo>
                    <a:pt x="26867" y="32241"/>
                  </a:lnTo>
                  <a:cubicBezTo>
                    <a:pt x="10747" y="40300"/>
                    <a:pt x="0" y="56869"/>
                    <a:pt x="0" y="76123"/>
                  </a:cubicBezTo>
                  <a:cubicBezTo>
                    <a:pt x="0" y="95378"/>
                    <a:pt x="10747" y="111945"/>
                    <a:pt x="26867" y="120006"/>
                  </a:cubicBezTo>
                  <a:lnTo>
                    <a:pt x="26867" y="136573"/>
                  </a:lnTo>
                  <a:cubicBezTo>
                    <a:pt x="26867" y="145081"/>
                    <a:pt x="34031" y="152246"/>
                    <a:pt x="42539" y="152246"/>
                  </a:cubicBezTo>
                  <a:lnTo>
                    <a:pt x="55973" y="152246"/>
                  </a:lnTo>
                  <a:cubicBezTo>
                    <a:pt x="64480" y="152246"/>
                    <a:pt x="71645" y="145081"/>
                    <a:pt x="71645" y="136573"/>
                  </a:cubicBezTo>
                  <a:lnTo>
                    <a:pt x="71645" y="120006"/>
                  </a:lnTo>
                  <a:cubicBezTo>
                    <a:pt x="87317" y="111945"/>
                    <a:pt x="98512" y="95378"/>
                    <a:pt x="98512" y="76123"/>
                  </a:cubicBezTo>
                  <a:close/>
                  <a:moveTo>
                    <a:pt x="31345" y="15672"/>
                  </a:moveTo>
                  <a:cubicBezTo>
                    <a:pt x="31345" y="9403"/>
                    <a:pt x="36270" y="4478"/>
                    <a:pt x="42539" y="4478"/>
                  </a:cubicBezTo>
                  <a:lnTo>
                    <a:pt x="55973" y="4478"/>
                  </a:lnTo>
                  <a:cubicBezTo>
                    <a:pt x="62242" y="4478"/>
                    <a:pt x="67167" y="9403"/>
                    <a:pt x="67167" y="15672"/>
                  </a:cubicBezTo>
                  <a:lnTo>
                    <a:pt x="67167" y="30449"/>
                  </a:lnTo>
                  <a:cubicBezTo>
                    <a:pt x="61794" y="28210"/>
                    <a:pt x="55525" y="26867"/>
                    <a:pt x="49256" y="26867"/>
                  </a:cubicBezTo>
                  <a:cubicBezTo>
                    <a:pt x="42987" y="26867"/>
                    <a:pt x="36718" y="28210"/>
                    <a:pt x="31345" y="30449"/>
                  </a:cubicBezTo>
                  <a:lnTo>
                    <a:pt x="31345" y="15672"/>
                  </a:lnTo>
                  <a:close/>
                  <a:moveTo>
                    <a:pt x="67167" y="136573"/>
                  </a:moveTo>
                  <a:cubicBezTo>
                    <a:pt x="67167" y="142842"/>
                    <a:pt x="62242" y="147768"/>
                    <a:pt x="55973" y="147768"/>
                  </a:cubicBezTo>
                  <a:lnTo>
                    <a:pt x="42539" y="147768"/>
                  </a:lnTo>
                  <a:cubicBezTo>
                    <a:pt x="36270" y="147768"/>
                    <a:pt x="31345" y="142842"/>
                    <a:pt x="31345" y="136573"/>
                  </a:cubicBezTo>
                  <a:lnTo>
                    <a:pt x="31345" y="121797"/>
                  </a:lnTo>
                  <a:cubicBezTo>
                    <a:pt x="36718" y="124036"/>
                    <a:pt x="42987" y="125379"/>
                    <a:pt x="49256" y="125379"/>
                  </a:cubicBezTo>
                  <a:cubicBezTo>
                    <a:pt x="55525" y="125379"/>
                    <a:pt x="61794" y="124036"/>
                    <a:pt x="67167" y="121797"/>
                  </a:cubicBezTo>
                  <a:lnTo>
                    <a:pt x="67167" y="136573"/>
                  </a:lnTo>
                  <a:close/>
                  <a:moveTo>
                    <a:pt x="49256" y="120901"/>
                  </a:moveTo>
                  <a:cubicBezTo>
                    <a:pt x="24628" y="120901"/>
                    <a:pt x="4478" y="100751"/>
                    <a:pt x="4478" y="76123"/>
                  </a:cubicBezTo>
                  <a:cubicBezTo>
                    <a:pt x="4478" y="51495"/>
                    <a:pt x="24628" y="31345"/>
                    <a:pt x="49256" y="31345"/>
                  </a:cubicBezTo>
                  <a:cubicBezTo>
                    <a:pt x="73884" y="31345"/>
                    <a:pt x="94034" y="51495"/>
                    <a:pt x="94034" y="76123"/>
                  </a:cubicBezTo>
                  <a:cubicBezTo>
                    <a:pt x="94034" y="100751"/>
                    <a:pt x="73884" y="120901"/>
                    <a:pt x="49256" y="120901"/>
                  </a:cubicBezTo>
                  <a:close/>
                </a:path>
              </a:pathLst>
            </a:custGeom>
            <a:solidFill>
              <a:srgbClr val="231F20"/>
            </a:solidFill>
            <a:ln w="4474" cap="flat">
              <a:noFill/>
              <a:prstDash val="solid"/>
              <a:miter/>
            </a:ln>
          </p:spPr>
          <p:txBody>
            <a:bodyPr rtlCol="0" anchor="ctr"/>
            <a:lstStyle/>
            <a:p>
              <a:endParaRPr lang="en-US"/>
            </a:p>
          </p:txBody>
        </p:sp>
      </p:grpSp>
      <p:sp>
        <p:nvSpPr>
          <p:cNvPr id="4837" name="Freeform: Shape 4836">
            <a:extLst>
              <a:ext uri="{FF2B5EF4-FFF2-40B4-BE49-F238E27FC236}">
                <a16:creationId xmlns:a16="http://schemas.microsoft.com/office/drawing/2014/main" id="{0EBCB483-1DFD-4BC7-9F81-48F542FFAA74}"/>
              </a:ext>
              <a:ext uri="{C183D7F6-B498-43B3-948B-1728B52AA6E4}">
                <adec:decorative xmlns:adec="http://schemas.microsoft.com/office/drawing/2017/decorative" val="1"/>
              </a:ext>
            </a:extLst>
          </p:cNvPr>
          <p:cNvSpPr>
            <a:spLocks noChangeAspect="1"/>
          </p:cNvSpPr>
          <p:nvPr/>
        </p:nvSpPr>
        <p:spPr>
          <a:xfrm>
            <a:off x="10592928" y="2454305"/>
            <a:ext cx="138812" cy="111945"/>
          </a:xfrm>
          <a:custGeom>
            <a:avLst/>
            <a:gdLst>
              <a:gd name="connsiteX0" fmla="*/ 137917 w 138812"/>
              <a:gd name="connsiteY0" fmla="*/ 13881 h 111945"/>
              <a:gd name="connsiteX1" fmla="*/ 135678 w 138812"/>
              <a:gd name="connsiteY1" fmla="*/ 13881 h 111945"/>
              <a:gd name="connsiteX2" fmla="*/ 111945 w 138812"/>
              <a:gd name="connsiteY2" fmla="*/ 25524 h 111945"/>
              <a:gd name="connsiteX3" fmla="*/ 111945 w 138812"/>
              <a:gd name="connsiteY3" fmla="*/ 15672 h 111945"/>
              <a:gd name="connsiteX4" fmla="*/ 96273 w 138812"/>
              <a:gd name="connsiteY4" fmla="*/ 0 h 111945"/>
              <a:gd name="connsiteX5" fmla="*/ 15672 w 138812"/>
              <a:gd name="connsiteY5" fmla="*/ 0 h 111945"/>
              <a:gd name="connsiteX6" fmla="*/ 0 w 138812"/>
              <a:gd name="connsiteY6" fmla="*/ 15672 h 111945"/>
              <a:gd name="connsiteX7" fmla="*/ 0 w 138812"/>
              <a:gd name="connsiteY7" fmla="*/ 96273 h 111945"/>
              <a:gd name="connsiteX8" fmla="*/ 15672 w 138812"/>
              <a:gd name="connsiteY8" fmla="*/ 111945 h 111945"/>
              <a:gd name="connsiteX9" fmla="*/ 96273 w 138812"/>
              <a:gd name="connsiteY9" fmla="*/ 111945 h 111945"/>
              <a:gd name="connsiteX10" fmla="*/ 111945 w 138812"/>
              <a:gd name="connsiteY10" fmla="*/ 96273 h 111945"/>
              <a:gd name="connsiteX11" fmla="*/ 111945 w 138812"/>
              <a:gd name="connsiteY11" fmla="*/ 86422 h 111945"/>
              <a:gd name="connsiteX12" fmla="*/ 135678 w 138812"/>
              <a:gd name="connsiteY12" fmla="*/ 98064 h 111945"/>
              <a:gd name="connsiteX13" fmla="*/ 136573 w 138812"/>
              <a:gd name="connsiteY13" fmla="*/ 98512 h 111945"/>
              <a:gd name="connsiteX14" fmla="*/ 137917 w 138812"/>
              <a:gd name="connsiteY14" fmla="*/ 98064 h 111945"/>
              <a:gd name="connsiteX15" fmla="*/ 138812 w 138812"/>
              <a:gd name="connsiteY15" fmla="*/ 96273 h 111945"/>
              <a:gd name="connsiteX16" fmla="*/ 138812 w 138812"/>
              <a:gd name="connsiteY16" fmla="*/ 15672 h 111945"/>
              <a:gd name="connsiteX17" fmla="*/ 137917 w 138812"/>
              <a:gd name="connsiteY17" fmla="*/ 13881 h 111945"/>
              <a:gd name="connsiteX18" fmla="*/ 107916 w 138812"/>
              <a:gd name="connsiteY18" fmla="*/ 96273 h 111945"/>
              <a:gd name="connsiteX19" fmla="*/ 96721 w 138812"/>
              <a:gd name="connsiteY19" fmla="*/ 107468 h 111945"/>
              <a:gd name="connsiteX20" fmla="*/ 16120 w 138812"/>
              <a:gd name="connsiteY20" fmla="*/ 107468 h 111945"/>
              <a:gd name="connsiteX21" fmla="*/ 4926 w 138812"/>
              <a:gd name="connsiteY21" fmla="*/ 96273 h 111945"/>
              <a:gd name="connsiteX22" fmla="*/ 4926 w 138812"/>
              <a:gd name="connsiteY22" fmla="*/ 15672 h 111945"/>
              <a:gd name="connsiteX23" fmla="*/ 16120 w 138812"/>
              <a:gd name="connsiteY23" fmla="*/ 4478 h 111945"/>
              <a:gd name="connsiteX24" fmla="*/ 96721 w 138812"/>
              <a:gd name="connsiteY24" fmla="*/ 4478 h 111945"/>
              <a:gd name="connsiteX25" fmla="*/ 107916 w 138812"/>
              <a:gd name="connsiteY25" fmla="*/ 15672 h 111945"/>
              <a:gd name="connsiteX26" fmla="*/ 107916 w 138812"/>
              <a:gd name="connsiteY26" fmla="*/ 96273 h 111945"/>
              <a:gd name="connsiteX27" fmla="*/ 134782 w 138812"/>
              <a:gd name="connsiteY27" fmla="*/ 92691 h 111945"/>
              <a:gd name="connsiteX28" fmla="*/ 112393 w 138812"/>
              <a:gd name="connsiteY28" fmla="*/ 81497 h 111945"/>
              <a:gd name="connsiteX29" fmla="*/ 112393 w 138812"/>
              <a:gd name="connsiteY29" fmla="*/ 30449 h 111945"/>
              <a:gd name="connsiteX30" fmla="*/ 134782 w 138812"/>
              <a:gd name="connsiteY30" fmla="*/ 19255 h 111945"/>
              <a:gd name="connsiteX31" fmla="*/ 134782 w 138812"/>
              <a:gd name="connsiteY31" fmla="*/ 92691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8812" h="111945">
                <a:moveTo>
                  <a:pt x="137917" y="13881"/>
                </a:moveTo>
                <a:cubicBezTo>
                  <a:pt x="137469" y="13433"/>
                  <a:pt x="136573" y="13433"/>
                  <a:pt x="135678" y="13881"/>
                </a:cubicBezTo>
                <a:lnTo>
                  <a:pt x="111945" y="25524"/>
                </a:lnTo>
                <a:lnTo>
                  <a:pt x="111945" y="15672"/>
                </a:lnTo>
                <a:cubicBezTo>
                  <a:pt x="111945" y="7164"/>
                  <a:pt x="104781" y="0"/>
                  <a:pt x="96273" y="0"/>
                </a:cubicBezTo>
                <a:lnTo>
                  <a:pt x="15672" y="0"/>
                </a:lnTo>
                <a:cubicBezTo>
                  <a:pt x="7165" y="0"/>
                  <a:pt x="0" y="7164"/>
                  <a:pt x="0" y="15672"/>
                </a:cubicBezTo>
                <a:lnTo>
                  <a:pt x="0" y="96273"/>
                </a:lnTo>
                <a:cubicBezTo>
                  <a:pt x="0" y="104781"/>
                  <a:pt x="7165" y="111945"/>
                  <a:pt x="15672" y="111945"/>
                </a:cubicBezTo>
                <a:lnTo>
                  <a:pt x="96273" y="111945"/>
                </a:lnTo>
                <a:cubicBezTo>
                  <a:pt x="104781" y="111945"/>
                  <a:pt x="111945" y="104781"/>
                  <a:pt x="111945" y="96273"/>
                </a:cubicBezTo>
                <a:lnTo>
                  <a:pt x="111945" y="86422"/>
                </a:lnTo>
                <a:lnTo>
                  <a:pt x="135678" y="98064"/>
                </a:lnTo>
                <a:cubicBezTo>
                  <a:pt x="136126" y="98064"/>
                  <a:pt x="136126" y="98512"/>
                  <a:pt x="136573" y="98512"/>
                </a:cubicBezTo>
                <a:cubicBezTo>
                  <a:pt x="137021" y="98512"/>
                  <a:pt x="137469" y="98512"/>
                  <a:pt x="137917" y="98064"/>
                </a:cubicBezTo>
                <a:cubicBezTo>
                  <a:pt x="138365" y="97617"/>
                  <a:pt x="138812" y="96721"/>
                  <a:pt x="138812" y="96273"/>
                </a:cubicBezTo>
                <a:lnTo>
                  <a:pt x="138812" y="15672"/>
                </a:lnTo>
                <a:cubicBezTo>
                  <a:pt x="139260" y="14777"/>
                  <a:pt x="138812" y="14329"/>
                  <a:pt x="137917" y="13881"/>
                </a:cubicBezTo>
                <a:close/>
                <a:moveTo>
                  <a:pt x="107916" y="96273"/>
                </a:moveTo>
                <a:cubicBezTo>
                  <a:pt x="107916" y="102542"/>
                  <a:pt x="102990" y="107468"/>
                  <a:pt x="96721" y="107468"/>
                </a:cubicBezTo>
                <a:lnTo>
                  <a:pt x="16120" y="107468"/>
                </a:lnTo>
                <a:cubicBezTo>
                  <a:pt x="9851" y="107468"/>
                  <a:pt x="4926" y="102542"/>
                  <a:pt x="4926" y="96273"/>
                </a:cubicBezTo>
                <a:lnTo>
                  <a:pt x="4926" y="15672"/>
                </a:lnTo>
                <a:cubicBezTo>
                  <a:pt x="4926" y="9403"/>
                  <a:pt x="9851" y="4478"/>
                  <a:pt x="16120" y="4478"/>
                </a:cubicBezTo>
                <a:lnTo>
                  <a:pt x="96721" y="4478"/>
                </a:lnTo>
                <a:cubicBezTo>
                  <a:pt x="102990" y="4478"/>
                  <a:pt x="107916" y="9403"/>
                  <a:pt x="107916" y="15672"/>
                </a:cubicBezTo>
                <a:lnTo>
                  <a:pt x="107916" y="96273"/>
                </a:lnTo>
                <a:close/>
                <a:moveTo>
                  <a:pt x="134782" y="92691"/>
                </a:moveTo>
                <a:lnTo>
                  <a:pt x="112393" y="81497"/>
                </a:lnTo>
                <a:lnTo>
                  <a:pt x="112393" y="30449"/>
                </a:lnTo>
                <a:lnTo>
                  <a:pt x="134782" y="19255"/>
                </a:lnTo>
                <a:lnTo>
                  <a:pt x="134782" y="92691"/>
                </a:lnTo>
                <a:close/>
              </a:path>
            </a:pathLst>
          </a:custGeom>
          <a:solidFill>
            <a:srgbClr val="231F20"/>
          </a:solidFill>
          <a:ln w="4474" cap="flat">
            <a:noFill/>
            <a:prstDash val="solid"/>
            <a:miter/>
          </a:ln>
        </p:spPr>
        <p:txBody>
          <a:bodyPr rtlCol="0" anchor="ctr"/>
          <a:lstStyle/>
          <a:p>
            <a:endParaRPr lang="en-US"/>
          </a:p>
        </p:txBody>
      </p:sp>
      <p:grpSp>
        <p:nvGrpSpPr>
          <p:cNvPr id="4838" name="Group 4837">
            <a:extLst>
              <a:ext uri="{FF2B5EF4-FFF2-40B4-BE49-F238E27FC236}">
                <a16:creationId xmlns:a16="http://schemas.microsoft.com/office/drawing/2014/main" id="{C8DE47DD-CAF0-4B3B-A65B-C1E19F9631B6}"/>
              </a:ext>
              <a:ext uri="{C183D7F6-B498-43B3-948B-1728B52AA6E4}">
                <adec:decorative xmlns:adec="http://schemas.microsoft.com/office/drawing/2017/decorative" val="1"/>
              </a:ext>
            </a:extLst>
          </p:cNvPr>
          <p:cNvGrpSpPr>
            <a:grpSpLocks noChangeAspect="1"/>
          </p:cNvGrpSpPr>
          <p:nvPr/>
        </p:nvGrpSpPr>
        <p:grpSpPr>
          <a:xfrm>
            <a:off x="10853985" y="2440872"/>
            <a:ext cx="125379" cy="125379"/>
            <a:chOff x="5073332" y="5900058"/>
            <a:chExt cx="125379" cy="125379"/>
          </a:xfrm>
        </p:grpSpPr>
        <p:sp>
          <p:nvSpPr>
            <p:cNvPr id="4839" name="Freeform: Shape 4838">
              <a:extLst>
                <a:ext uri="{FF2B5EF4-FFF2-40B4-BE49-F238E27FC236}">
                  <a16:creationId xmlns:a16="http://schemas.microsoft.com/office/drawing/2014/main" id="{E368A454-0220-4AAE-AAA9-BC1126B6B095}"/>
                </a:ext>
              </a:extLst>
            </p:cNvPr>
            <p:cNvSpPr/>
            <p:nvPr/>
          </p:nvSpPr>
          <p:spPr>
            <a:xfrm>
              <a:off x="5073332" y="5900058"/>
              <a:ext cx="125379" cy="125379"/>
            </a:xfrm>
            <a:custGeom>
              <a:avLst/>
              <a:gdLst>
                <a:gd name="connsiteX0" fmla="*/ 62689 w 125378"/>
                <a:gd name="connsiteY0" fmla="*/ 125379 h 125378"/>
                <a:gd name="connsiteX1" fmla="*/ 0 w 125378"/>
                <a:gd name="connsiteY1" fmla="*/ 62689 h 125378"/>
                <a:gd name="connsiteX2" fmla="*/ 62689 w 125378"/>
                <a:gd name="connsiteY2" fmla="*/ 0 h 125378"/>
                <a:gd name="connsiteX3" fmla="*/ 125379 w 125378"/>
                <a:gd name="connsiteY3" fmla="*/ 62689 h 125378"/>
                <a:gd name="connsiteX4" fmla="*/ 62689 w 125378"/>
                <a:gd name="connsiteY4" fmla="*/ 125379 h 125378"/>
                <a:gd name="connsiteX5" fmla="*/ 62689 w 125378"/>
                <a:gd name="connsiteY5" fmla="*/ 4478 h 125378"/>
                <a:gd name="connsiteX6" fmla="*/ 4478 w 125378"/>
                <a:gd name="connsiteY6" fmla="*/ 62689 h 125378"/>
                <a:gd name="connsiteX7" fmla="*/ 62689 w 125378"/>
                <a:gd name="connsiteY7" fmla="*/ 120901 h 125378"/>
                <a:gd name="connsiteX8" fmla="*/ 120901 w 125378"/>
                <a:gd name="connsiteY8" fmla="*/ 62689 h 125378"/>
                <a:gd name="connsiteX9" fmla="*/ 62689 w 125378"/>
                <a:gd name="connsiteY9"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78" h="125378">
                  <a:moveTo>
                    <a:pt x="62689" y="125379"/>
                  </a:moveTo>
                  <a:cubicBezTo>
                    <a:pt x="28210" y="125379"/>
                    <a:pt x="0" y="97169"/>
                    <a:pt x="0" y="62689"/>
                  </a:cubicBezTo>
                  <a:cubicBezTo>
                    <a:pt x="0" y="28210"/>
                    <a:pt x="28210" y="0"/>
                    <a:pt x="62689" y="0"/>
                  </a:cubicBezTo>
                  <a:cubicBezTo>
                    <a:pt x="97169" y="0"/>
                    <a:pt x="125379" y="28210"/>
                    <a:pt x="125379" y="62689"/>
                  </a:cubicBezTo>
                  <a:cubicBezTo>
                    <a:pt x="125379" y="97169"/>
                    <a:pt x="97169" y="125379"/>
                    <a:pt x="62689" y="125379"/>
                  </a:cubicBezTo>
                  <a:close/>
                  <a:moveTo>
                    <a:pt x="62689" y="4478"/>
                  </a:moveTo>
                  <a:cubicBezTo>
                    <a:pt x="30449" y="4478"/>
                    <a:pt x="4478" y="30449"/>
                    <a:pt x="4478" y="62689"/>
                  </a:cubicBezTo>
                  <a:cubicBezTo>
                    <a:pt x="4478" y="94930"/>
                    <a:pt x="30449" y="120901"/>
                    <a:pt x="62689" y="120901"/>
                  </a:cubicBezTo>
                  <a:cubicBezTo>
                    <a:pt x="94930" y="120901"/>
                    <a:pt x="120901" y="94930"/>
                    <a:pt x="120901" y="62689"/>
                  </a:cubicBezTo>
                  <a:cubicBezTo>
                    <a:pt x="120901" y="30449"/>
                    <a:pt x="94482" y="4478"/>
                    <a:pt x="62689" y="4478"/>
                  </a:cubicBezTo>
                  <a:close/>
                </a:path>
              </a:pathLst>
            </a:custGeom>
            <a:solidFill>
              <a:srgbClr val="231F20"/>
            </a:solidFill>
            <a:ln w="4474" cap="flat">
              <a:noFill/>
              <a:prstDash val="solid"/>
              <a:miter/>
            </a:ln>
          </p:spPr>
          <p:txBody>
            <a:bodyPr rtlCol="0" anchor="ctr"/>
            <a:lstStyle/>
            <a:p>
              <a:endParaRPr lang="en-US"/>
            </a:p>
          </p:txBody>
        </p:sp>
        <p:sp>
          <p:nvSpPr>
            <p:cNvPr id="4840" name="Freeform: Shape 4839">
              <a:extLst>
                <a:ext uri="{FF2B5EF4-FFF2-40B4-BE49-F238E27FC236}">
                  <a16:creationId xmlns:a16="http://schemas.microsoft.com/office/drawing/2014/main" id="{DBFA7775-2606-4145-ACA2-073C4D5E2738}"/>
                </a:ext>
              </a:extLst>
            </p:cNvPr>
            <p:cNvSpPr/>
            <p:nvPr/>
          </p:nvSpPr>
          <p:spPr>
            <a:xfrm>
              <a:off x="5113632" y="5927037"/>
              <a:ext cx="62689" cy="67167"/>
            </a:xfrm>
            <a:custGeom>
              <a:avLst/>
              <a:gdLst>
                <a:gd name="connsiteX0" fmla="*/ 2239 w 62689"/>
                <a:gd name="connsiteY0" fmla="*/ 71533 h 67167"/>
                <a:gd name="connsiteX1" fmla="*/ 896 w 62689"/>
                <a:gd name="connsiteY1" fmla="*/ 71085 h 67167"/>
                <a:gd name="connsiteX2" fmla="*/ 0 w 62689"/>
                <a:gd name="connsiteY2" fmla="*/ 69294 h 67167"/>
                <a:gd name="connsiteX3" fmla="*/ 0 w 62689"/>
                <a:gd name="connsiteY3" fmla="*/ 2127 h 67167"/>
                <a:gd name="connsiteX4" fmla="*/ 896 w 62689"/>
                <a:gd name="connsiteY4" fmla="*/ 336 h 67167"/>
                <a:gd name="connsiteX5" fmla="*/ 3135 w 62689"/>
                <a:gd name="connsiteY5" fmla="*/ 336 h 67167"/>
                <a:gd name="connsiteX6" fmla="*/ 61346 w 62689"/>
                <a:gd name="connsiteY6" fmla="*/ 33919 h 67167"/>
                <a:gd name="connsiteX7" fmla="*/ 62689 w 62689"/>
                <a:gd name="connsiteY7" fmla="*/ 35711 h 67167"/>
                <a:gd name="connsiteX8" fmla="*/ 61346 w 62689"/>
                <a:gd name="connsiteY8" fmla="*/ 37502 h 67167"/>
                <a:gd name="connsiteX9" fmla="*/ 3135 w 62689"/>
                <a:gd name="connsiteY9" fmla="*/ 71085 h 67167"/>
                <a:gd name="connsiteX10" fmla="*/ 2239 w 62689"/>
                <a:gd name="connsiteY10" fmla="*/ 71533 h 67167"/>
                <a:gd name="connsiteX11" fmla="*/ 4478 w 62689"/>
                <a:gd name="connsiteY11" fmla="*/ 6157 h 67167"/>
                <a:gd name="connsiteX12" fmla="*/ 4478 w 62689"/>
                <a:gd name="connsiteY12" fmla="*/ 65712 h 67167"/>
                <a:gd name="connsiteX13" fmla="*/ 55973 w 62689"/>
                <a:gd name="connsiteY13" fmla="*/ 36158 h 67167"/>
                <a:gd name="connsiteX14" fmla="*/ 4478 w 62689"/>
                <a:gd name="connsiteY14" fmla="*/ 6157 h 6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89" h="67167">
                  <a:moveTo>
                    <a:pt x="2239" y="71533"/>
                  </a:moveTo>
                  <a:cubicBezTo>
                    <a:pt x="1791" y="71533"/>
                    <a:pt x="1344" y="71533"/>
                    <a:pt x="896" y="71085"/>
                  </a:cubicBezTo>
                  <a:cubicBezTo>
                    <a:pt x="0" y="70638"/>
                    <a:pt x="0" y="69742"/>
                    <a:pt x="0" y="69294"/>
                  </a:cubicBezTo>
                  <a:lnTo>
                    <a:pt x="0" y="2127"/>
                  </a:lnTo>
                  <a:cubicBezTo>
                    <a:pt x="0" y="1232"/>
                    <a:pt x="448" y="784"/>
                    <a:pt x="896" y="336"/>
                  </a:cubicBezTo>
                  <a:cubicBezTo>
                    <a:pt x="1791" y="-112"/>
                    <a:pt x="2239" y="-112"/>
                    <a:pt x="3135" y="336"/>
                  </a:cubicBezTo>
                  <a:lnTo>
                    <a:pt x="61346" y="33919"/>
                  </a:lnTo>
                  <a:cubicBezTo>
                    <a:pt x="62242" y="34368"/>
                    <a:pt x="62689" y="35263"/>
                    <a:pt x="62689" y="35711"/>
                  </a:cubicBezTo>
                  <a:cubicBezTo>
                    <a:pt x="62689" y="36158"/>
                    <a:pt x="62242" y="37054"/>
                    <a:pt x="61346" y="37502"/>
                  </a:cubicBezTo>
                  <a:lnTo>
                    <a:pt x="3135" y="71085"/>
                  </a:lnTo>
                  <a:cubicBezTo>
                    <a:pt x="2687" y="71533"/>
                    <a:pt x="2687" y="71533"/>
                    <a:pt x="2239" y="71533"/>
                  </a:cubicBezTo>
                  <a:close/>
                  <a:moveTo>
                    <a:pt x="4478" y="6157"/>
                  </a:moveTo>
                  <a:lnTo>
                    <a:pt x="4478" y="65712"/>
                  </a:lnTo>
                  <a:lnTo>
                    <a:pt x="55973" y="36158"/>
                  </a:lnTo>
                  <a:lnTo>
                    <a:pt x="4478" y="6157"/>
                  </a:lnTo>
                  <a:close/>
                </a:path>
              </a:pathLst>
            </a:custGeom>
            <a:solidFill>
              <a:srgbClr val="231F20"/>
            </a:solidFill>
            <a:ln w="4474" cap="flat">
              <a:noFill/>
              <a:prstDash val="solid"/>
              <a:miter/>
            </a:ln>
          </p:spPr>
          <p:txBody>
            <a:bodyPr rtlCol="0" anchor="ctr"/>
            <a:lstStyle/>
            <a:p>
              <a:endParaRPr lang="en-US"/>
            </a:p>
          </p:txBody>
        </p:sp>
      </p:grpSp>
      <p:sp>
        <p:nvSpPr>
          <p:cNvPr id="4841" name="Freeform: Shape 4840">
            <a:extLst>
              <a:ext uri="{FF2B5EF4-FFF2-40B4-BE49-F238E27FC236}">
                <a16:creationId xmlns:a16="http://schemas.microsoft.com/office/drawing/2014/main" id="{2EF37626-6948-499E-AB57-D05FFB9B72B4}"/>
              </a:ext>
              <a:ext uri="{C183D7F6-B498-43B3-948B-1728B52AA6E4}">
                <adec:decorative xmlns:adec="http://schemas.microsoft.com/office/drawing/2017/decorative" val="1"/>
              </a:ext>
            </a:extLst>
          </p:cNvPr>
          <p:cNvSpPr>
            <a:spLocks noChangeAspect="1"/>
          </p:cNvSpPr>
          <p:nvPr/>
        </p:nvSpPr>
        <p:spPr>
          <a:xfrm>
            <a:off x="6392735" y="2789806"/>
            <a:ext cx="107468" cy="120901"/>
          </a:xfrm>
          <a:custGeom>
            <a:avLst/>
            <a:gdLst>
              <a:gd name="connsiteX0" fmla="*/ 2239 w 107467"/>
              <a:gd name="connsiteY0" fmla="*/ 125267 h 120901"/>
              <a:gd name="connsiteX1" fmla="*/ 896 w 107467"/>
              <a:gd name="connsiteY1" fmla="*/ 124819 h 120901"/>
              <a:gd name="connsiteX2" fmla="*/ 0 w 107467"/>
              <a:gd name="connsiteY2" fmla="*/ 123028 h 120901"/>
              <a:gd name="connsiteX3" fmla="*/ 0 w 107467"/>
              <a:gd name="connsiteY3" fmla="*/ 2127 h 120901"/>
              <a:gd name="connsiteX4" fmla="*/ 896 w 107467"/>
              <a:gd name="connsiteY4" fmla="*/ 336 h 120901"/>
              <a:gd name="connsiteX5" fmla="*/ 3134 w 107467"/>
              <a:gd name="connsiteY5" fmla="*/ 336 h 120901"/>
              <a:gd name="connsiteX6" fmla="*/ 108363 w 107467"/>
              <a:gd name="connsiteY6" fmla="*/ 60786 h 120901"/>
              <a:gd name="connsiteX7" fmla="*/ 109707 w 107467"/>
              <a:gd name="connsiteY7" fmla="*/ 62578 h 120901"/>
              <a:gd name="connsiteX8" fmla="*/ 108363 w 107467"/>
              <a:gd name="connsiteY8" fmla="*/ 64369 h 120901"/>
              <a:gd name="connsiteX9" fmla="*/ 3134 w 107467"/>
              <a:gd name="connsiteY9" fmla="*/ 124819 h 120901"/>
              <a:gd name="connsiteX10" fmla="*/ 2239 w 107467"/>
              <a:gd name="connsiteY10" fmla="*/ 125267 h 120901"/>
              <a:gd name="connsiteX11" fmla="*/ 4478 w 107467"/>
              <a:gd name="connsiteY11" fmla="*/ 6157 h 120901"/>
              <a:gd name="connsiteX12" fmla="*/ 4478 w 107467"/>
              <a:gd name="connsiteY12" fmla="*/ 119446 h 120901"/>
              <a:gd name="connsiteX13" fmla="*/ 102990 w 107467"/>
              <a:gd name="connsiteY13" fmla="*/ 63025 h 120901"/>
              <a:gd name="connsiteX14" fmla="*/ 4478 w 107467"/>
              <a:gd name="connsiteY14" fmla="*/ 6157 h 12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467" h="120901">
                <a:moveTo>
                  <a:pt x="2239" y="125267"/>
                </a:moveTo>
                <a:cubicBezTo>
                  <a:pt x="1791" y="125267"/>
                  <a:pt x="1343" y="125267"/>
                  <a:pt x="896" y="124819"/>
                </a:cubicBezTo>
                <a:cubicBezTo>
                  <a:pt x="0" y="124372"/>
                  <a:pt x="0" y="123476"/>
                  <a:pt x="0" y="123028"/>
                </a:cubicBezTo>
                <a:lnTo>
                  <a:pt x="0" y="2127"/>
                </a:lnTo>
                <a:cubicBezTo>
                  <a:pt x="0" y="1232"/>
                  <a:pt x="448" y="783"/>
                  <a:pt x="896" y="336"/>
                </a:cubicBezTo>
                <a:cubicBezTo>
                  <a:pt x="1343" y="-112"/>
                  <a:pt x="2239" y="-112"/>
                  <a:pt x="3134" y="336"/>
                </a:cubicBezTo>
                <a:lnTo>
                  <a:pt x="108363" y="60786"/>
                </a:lnTo>
                <a:cubicBezTo>
                  <a:pt x="109259" y="61234"/>
                  <a:pt x="109707" y="62130"/>
                  <a:pt x="109707" y="62578"/>
                </a:cubicBezTo>
                <a:cubicBezTo>
                  <a:pt x="109707" y="63025"/>
                  <a:pt x="109259" y="63921"/>
                  <a:pt x="108363" y="64369"/>
                </a:cubicBezTo>
                <a:lnTo>
                  <a:pt x="3134" y="124819"/>
                </a:lnTo>
                <a:cubicBezTo>
                  <a:pt x="2687" y="125267"/>
                  <a:pt x="2687" y="125267"/>
                  <a:pt x="2239" y="125267"/>
                </a:cubicBezTo>
                <a:close/>
                <a:moveTo>
                  <a:pt x="4478" y="6157"/>
                </a:moveTo>
                <a:lnTo>
                  <a:pt x="4478" y="119446"/>
                </a:lnTo>
                <a:lnTo>
                  <a:pt x="102990" y="63025"/>
                </a:lnTo>
                <a:lnTo>
                  <a:pt x="4478" y="6157"/>
                </a:lnTo>
                <a:close/>
              </a:path>
            </a:pathLst>
          </a:custGeom>
          <a:solidFill>
            <a:srgbClr val="231F20"/>
          </a:solidFill>
          <a:ln w="4474" cap="flat">
            <a:noFill/>
            <a:prstDash val="solid"/>
            <a:miter/>
          </a:ln>
        </p:spPr>
        <p:txBody>
          <a:bodyPr rtlCol="0" anchor="ctr"/>
          <a:lstStyle/>
          <a:p>
            <a:endParaRPr lang="en-US"/>
          </a:p>
        </p:txBody>
      </p:sp>
      <p:sp>
        <p:nvSpPr>
          <p:cNvPr id="4842" name="Freeform: Shape 4841">
            <a:extLst>
              <a:ext uri="{FF2B5EF4-FFF2-40B4-BE49-F238E27FC236}">
                <a16:creationId xmlns:a16="http://schemas.microsoft.com/office/drawing/2014/main" id="{AF263818-BDA6-4DDF-9791-7726F6211BA3}"/>
              </a:ext>
              <a:ext uri="{C183D7F6-B498-43B3-948B-1728B52AA6E4}">
                <adec:decorative xmlns:adec="http://schemas.microsoft.com/office/drawing/2017/decorative" val="1"/>
              </a:ext>
            </a:extLst>
          </p:cNvPr>
          <p:cNvSpPr>
            <a:spLocks noChangeAspect="1"/>
          </p:cNvSpPr>
          <p:nvPr/>
        </p:nvSpPr>
        <p:spPr>
          <a:xfrm>
            <a:off x="6909027" y="2789694"/>
            <a:ext cx="125379" cy="125379"/>
          </a:xfrm>
          <a:custGeom>
            <a:avLst/>
            <a:gdLst>
              <a:gd name="connsiteX0" fmla="*/ 123140 w 125378"/>
              <a:gd name="connsiteY0" fmla="*/ 125379 h 125378"/>
              <a:gd name="connsiteX1" fmla="*/ 2239 w 125378"/>
              <a:gd name="connsiteY1" fmla="*/ 125379 h 125378"/>
              <a:gd name="connsiteX2" fmla="*/ 0 w 125378"/>
              <a:gd name="connsiteY2" fmla="*/ 123140 h 125378"/>
              <a:gd name="connsiteX3" fmla="*/ 0 w 125378"/>
              <a:gd name="connsiteY3" fmla="*/ 2239 h 125378"/>
              <a:gd name="connsiteX4" fmla="*/ 2239 w 125378"/>
              <a:gd name="connsiteY4" fmla="*/ 0 h 125378"/>
              <a:gd name="connsiteX5" fmla="*/ 123140 w 125378"/>
              <a:gd name="connsiteY5" fmla="*/ 0 h 125378"/>
              <a:gd name="connsiteX6" fmla="*/ 125379 w 125378"/>
              <a:gd name="connsiteY6" fmla="*/ 2239 h 125378"/>
              <a:gd name="connsiteX7" fmla="*/ 125379 w 125378"/>
              <a:gd name="connsiteY7" fmla="*/ 123140 h 125378"/>
              <a:gd name="connsiteX8" fmla="*/ 123140 w 125378"/>
              <a:gd name="connsiteY8" fmla="*/ 125379 h 125378"/>
              <a:gd name="connsiteX9" fmla="*/ 4478 w 125378"/>
              <a:gd name="connsiteY9" fmla="*/ 120901 h 125378"/>
              <a:gd name="connsiteX10" fmla="*/ 120901 w 125378"/>
              <a:gd name="connsiteY10" fmla="*/ 120901 h 125378"/>
              <a:gd name="connsiteX11" fmla="*/ 120901 w 125378"/>
              <a:gd name="connsiteY11" fmla="*/ 4478 h 125378"/>
              <a:gd name="connsiteX12" fmla="*/ 4478 w 125378"/>
              <a:gd name="connsiteY12" fmla="*/ 4478 h 125378"/>
              <a:gd name="connsiteX13" fmla="*/ 4478 w 125378"/>
              <a:gd name="connsiteY13"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378" h="125378">
                <a:moveTo>
                  <a:pt x="123140" y="125379"/>
                </a:moveTo>
                <a:lnTo>
                  <a:pt x="2239" y="125379"/>
                </a:lnTo>
                <a:cubicBezTo>
                  <a:pt x="896" y="125379"/>
                  <a:pt x="0" y="124484"/>
                  <a:pt x="0" y="123140"/>
                </a:cubicBezTo>
                <a:lnTo>
                  <a:pt x="0" y="2239"/>
                </a:lnTo>
                <a:cubicBezTo>
                  <a:pt x="0" y="895"/>
                  <a:pt x="896" y="0"/>
                  <a:pt x="2239" y="0"/>
                </a:cubicBezTo>
                <a:lnTo>
                  <a:pt x="123140" y="0"/>
                </a:lnTo>
                <a:cubicBezTo>
                  <a:pt x="124483" y="0"/>
                  <a:pt x="125379" y="895"/>
                  <a:pt x="125379" y="2239"/>
                </a:cubicBezTo>
                <a:lnTo>
                  <a:pt x="125379" y="123140"/>
                </a:lnTo>
                <a:cubicBezTo>
                  <a:pt x="125379" y="124484"/>
                  <a:pt x="124483" y="125379"/>
                  <a:pt x="123140" y="125379"/>
                </a:cubicBezTo>
                <a:close/>
                <a:moveTo>
                  <a:pt x="4478" y="120901"/>
                </a:moveTo>
                <a:lnTo>
                  <a:pt x="120901" y="120901"/>
                </a:lnTo>
                <a:lnTo>
                  <a:pt x="120901" y="4478"/>
                </a:lnTo>
                <a:lnTo>
                  <a:pt x="4478" y="4478"/>
                </a:lnTo>
                <a:lnTo>
                  <a:pt x="4478" y="120901"/>
                </a:lnTo>
                <a:close/>
              </a:path>
            </a:pathLst>
          </a:custGeom>
          <a:solidFill>
            <a:srgbClr val="231F20"/>
          </a:solidFill>
          <a:ln w="4474" cap="flat">
            <a:noFill/>
            <a:prstDash val="solid"/>
            <a:miter/>
          </a:ln>
        </p:spPr>
        <p:txBody>
          <a:bodyPr rtlCol="0" anchor="ctr"/>
          <a:lstStyle/>
          <a:p>
            <a:endParaRPr lang="en-US"/>
          </a:p>
        </p:txBody>
      </p:sp>
      <p:grpSp>
        <p:nvGrpSpPr>
          <p:cNvPr id="4843" name="Group 4842">
            <a:extLst>
              <a:ext uri="{FF2B5EF4-FFF2-40B4-BE49-F238E27FC236}">
                <a16:creationId xmlns:a16="http://schemas.microsoft.com/office/drawing/2014/main" id="{9677D497-99B4-4EB0-93FF-932A63AABB89}"/>
              </a:ext>
              <a:ext uri="{C183D7F6-B498-43B3-948B-1728B52AA6E4}">
                <adec:decorative xmlns:adec="http://schemas.microsoft.com/office/drawing/2017/decorative" val="1"/>
              </a:ext>
            </a:extLst>
          </p:cNvPr>
          <p:cNvGrpSpPr>
            <a:grpSpLocks noChangeAspect="1"/>
          </p:cNvGrpSpPr>
          <p:nvPr/>
        </p:nvGrpSpPr>
        <p:grpSpPr>
          <a:xfrm>
            <a:off x="6652449" y="2789694"/>
            <a:ext cx="98511" cy="125379"/>
            <a:chOff x="871796" y="6248880"/>
            <a:chExt cx="98511" cy="125379"/>
          </a:xfrm>
        </p:grpSpPr>
        <p:sp>
          <p:nvSpPr>
            <p:cNvPr id="4844" name="Freeform: Shape 4843">
              <a:extLst>
                <a:ext uri="{FF2B5EF4-FFF2-40B4-BE49-F238E27FC236}">
                  <a16:creationId xmlns:a16="http://schemas.microsoft.com/office/drawing/2014/main" id="{A520012C-F5F8-4091-984C-AC8146CB7E9E}"/>
                </a:ext>
              </a:extLst>
            </p:cNvPr>
            <p:cNvSpPr/>
            <p:nvPr/>
          </p:nvSpPr>
          <p:spPr>
            <a:xfrm>
              <a:off x="871796" y="6248880"/>
              <a:ext cx="44778" cy="125379"/>
            </a:xfrm>
            <a:custGeom>
              <a:avLst/>
              <a:gdLst>
                <a:gd name="connsiteX0" fmla="*/ 42539 w 44778"/>
                <a:gd name="connsiteY0" fmla="*/ 125379 h 125378"/>
                <a:gd name="connsiteX1" fmla="*/ 2239 w 44778"/>
                <a:gd name="connsiteY1" fmla="*/ 125379 h 125378"/>
                <a:gd name="connsiteX2" fmla="*/ 0 w 44778"/>
                <a:gd name="connsiteY2" fmla="*/ 123140 h 125378"/>
                <a:gd name="connsiteX3" fmla="*/ 0 w 44778"/>
                <a:gd name="connsiteY3" fmla="*/ 2239 h 125378"/>
                <a:gd name="connsiteX4" fmla="*/ 2239 w 44778"/>
                <a:gd name="connsiteY4" fmla="*/ 0 h 125378"/>
                <a:gd name="connsiteX5" fmla="*/ 42539 w 44778"/>
                <a:gd name="connsiteY5" fmla="*/ 0 h 125378"/>
                <a:gd name="connsiteX6" fmla="*/ 44778 w 44778"/>
                <a:gd name="connsiteY6" fmla="*/ 2239 h 125378"/>
                <a:gd name="connsiteX7" fmla="*/ 44778 w 44778"/>
                <a:gd name="connsiteY7" fmla="*/ 123140 h 125378"/>
                <a:gd name="connsiteX8" fmla="*/ 42539 w 44778"/>
                <a:gd name="connsiteY8" fmla="*/ 125379 h 125378"/>
                <a:gd name="connsiteX9" fmla="*/ 4478 w 44778"/>
                <a:gd name="connsiteY9" fmla="*/ 120901 h 125378"/>
                <a:gd name="connsiteX10" fmla="*/ 40300 w 44778"/>
                <a:gd name="connsiteY10" fmla="*/ 120901 h 125378"/>
                <a:gd name="connsiteX11" fmla="*/ 40300 w 44778"/>
                <a:gd name="connsiteY11" fmla="*/ 4478 h 125378"/>
                <a:gd name="connsiteX12" fmla="*/ 4478 w 44778"/>
                <a:gd name="connsiteY12" fmla="*/ 4478 h 125378"/>
                <a:gd name="connsiteX13" fmla="*/ 4478 w 44778"/>
                <a:gd name="connsiteY13"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78" h="125378">
                  <a:moveTo>
                    <a:pt x="42539" y="125379"/>
                  </a:moveTo>
                  <a:lnTo>
                    <a:pt x="2239" y="125379"/>
                  </a:lnTo>
                  <a:cubicBezTo>
                    <a:pt x="896" y="125379"/>
                    <a:pt x="0" y="124484"/>
                    <a:pt x="0" y="123140"/>
                  </a:cubicBezTo>
                  <a:lnTo>
                    <a:pt x="0" y="2239"/>
                  </a:lnTo>
                  <a:cubicBezTo>
                    <a:pt x="0" y="895"/>
                    <a:pt x="896" y="0"/>
                    <a:pt x="2239" y="0"/>
                  </a:cubicBezTo>
                  <a:lnTo>
                    <a:pt x="42539" y="0"/>
                  </a:lnTo>
                  <a:cubicBezTo>
                    <a:pt x="43883" y="0"/>
                    <a:pt x="44778" y="895"/>
                    <a:pt x="44778" y="2239"/>
                  </a:cubicBezTo>
                  <a:lnTo>
                    <a:pt x="44778" y="123140"/>
                  </a:lnTo>
                  <a:cubicBezTo>
                    <a:pt x="44778" y="124484"/>
                    <a:pt x="43435" y="125379"/>
                    <a:pt x="42539" y="125379"/>
                  </a:cubicBezTo>
                  <a:close/>
                  <a:moveTo>
                    <a:pt x="4478" y="120901"/>
                  </a:moveTo>
                  <a:lnTo>
                    <a:pt x="40300" y="120901"/>
                  </a:lnTo>
                  <a:lnTo>
                    <a:pt x="40300" y="4478"/>
                  </a:lnTo>
                  <a:lnTo>
                    <a:pt x="4478" y="4478"/>
                  </a:lnTo>
                  <a:lnTo>
                    <a:pt x="4478" y="120901"/>
                  </a:lnTo>
                  <a:close/>
                </a:path>
              </a:pathLst>
            </a:custGeom>
            <a:solidFill>
              <a:srgbClr val="231F20"/>
            </a:solidFill>
            <a:ln w="4474" cap="flat">
              <a:noFill/>
              <a:prstDash val="solid"/>
              <a:miter/>
            </a:ln>
          </p:spPr>
          <p:txBody>
            <a:bodyPr rtlCol="0" anchor="ctr"/>
            <a:lstStyle/>
            <a:p>
              <a:endParaRPr lang="en-US"/>
            </a:p>
          </p:txBody>
        </p:sp>
        <p:sp>
          <p:nvSpPr>
            <p:cNvPr id="4845" name="Freeform: Shape 4844">
              <a:extLst>
                <a:ext uri="{FF2B5EF4-FFF2-40B4-BE49-F238E27FC236}">
                  <a16:creationId xmlns:a16="http://schemas.microsoft.com/office/drawing/2014/main" id="{18EC84BD-72D2-4229-9C4C-0FD79CC27AC5}"/>
                </a:ext>
              </a:extLst>
            </p:cNvPr>
            <p:cNvSpPr/>
            <p:nvPr/>
          </p:nvSpPr>
          <p:spPr>
            <a:xfrm>
              <a:off x="925529" y="6248880"/>
              <a:ext cx="44778" cy="125379"/>
            </a:xfrm>
            <a:custGeom>
              <a:avLst/>
              <a:gdLst>
                <a:gd name="connsiteX0" fmla="*/ 42539 w 44778"/>
                <a:gd name="connsiteY0" fmla="*/ 125379 h 125378"/>
                <a:gd name="connsiteX1" fmla="*/ 2239 w 44778"/>
                <a:gd name="connsiteY1" fmla="*/ 125379 h 125378"/>
                <a:gd name="connsiteX2" fmla="*/ 0 w 44778"/>
                <a:gd name="connsiteY2" fmla="*/ 123140 h 125378"/>
                <a:gd name="connsiteX3" fmla="*/ 0 w 44778"/>
                <a:gd name="connsiteY3" fmla="*/ 2239 h 125378"/>
                <a:gd name="connsiteX4" fmla="*/ 2239 w 44778"/>
                <a:gd name="connsiteY4" fmla="*/ 0 h 125378"/>
                <a:gd name="connsiteX5" fmla="*/ 42539 w 44778"/>
                <a:gd name="connsiteY5" fmla="*/ 0 h 125378"/>
                <a:gd name="connsiteX6" fmla="*/ 44778 w 44778"/>
                <a:gd name="connsiteY6" fmla="*/ 2239 h 125378"/>
                <a:gd name="connsiteX7" fmla="*/ 44778 w 44778"/>
                <a:gd name="connsiteY7" fmla="*/ 123140 h 125378"/>
                <a:gd name="connsiteX8" fmla="*/ 42539 w 44778"/>
                <a:gd name="connsiteY8" fmla="*/ 125379 h 125378"/>
                <a:gd name="connsiteX9" fmla="*/ 4478 w 44778"/>
                <a:gd name="connsiteY9" fmla="*/ 120901 h 125378"/>
                <a:gd name="connsiteX10" fmla="*/ 40300 w 44778"/>
                <a:gd name="connsiteY10" fmla="*/ 120901 h 125378"/>
                <a:gd name="connsiteX11" fmla="*/ 40300 w 44778"/>
                <a:gd name="connsiteY11" fmla="*/ 4478 h 125378"/>
                <a:gd name="connsiteX12" fmla="*/ 4478 w 44778"/>
                <a:gd name="connsiteY12" fmla="*/ 4478 h 125378"/>
                <a:gd name="connsiteX13" fmla="*/ 4478 w 44778"/>
                <a:gd name="connsiteY13" fmla="*/ 120901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78" h="125378">
                  <a:moveTo>
                    <a:pt x="42539" y="125379"/>
                  </a:moveTo>
                  <a:lnTo>
                    <a:pt x="2239" y="125379"/>
                  </a:lnTo>
                  <a:cubicBezTo>
                    <a:pt x="896" y="125379"/>
                    <a:pt x="0" y="124484"/>
                    <a:pt x="0" y="123140"/>
                  </a:cubicBezTo>
                  <a:lnTo>
                    <a:pt x="0" y="2239"/>
                  </a:lnTo>
                  <a:cubicBezTo>
                    <a:pt x="0" y="895"/>
                    <a:pt x="896" y="0"/>
                    <a:pt x="2239" y="0"/>
                  </a:cubicBezTo>
                  <a:lnTo>
                    <a:pt x="42539" y="0"/>
                  </a:lnTo>
                  <a:cubicBezTo>
                    <a:pt x="43883" y="0"/>
                    <a:pt x="44778" y="895"/>
                    <a:pt x="44778" y="2239"/>
                  </a:cubicBezTo>
                  <a:lnTo>
                    <a:pt x="44778" y="123140"/>
                  </a:lnTo>
                  <a:cubicBezTo>
                    <a:pt x="44778" y="124484"/>
                    <a:pt x="43435" y="125379"/>
                    <a:pt x="42539" y="125379"/>
                  </a:cubicBezTo>
                  <a:close/>
                  <a:moveTo>
                    <a:pt x="4478" y="120901"/>
                  </a:moveTo>
                  <a:lnTo>
                    <a:pt x="40300" y="120901"/>
                  </a:lnTo>
                  <a:lnTo>
                    <a:pt x="40300" y="4478"/>
                  </a:lnTo>
                  <a:lnTo>
                    <a:pt x="4478" y="4478"/>
                  </a:lnTo>
                  <a:lnTo>
                    <a:pt x="4478" y="120901"/>
                  </a:lnTo>
                  <a:close/>
                </a:path>
              </a:pathLst>
            </a:custGeom>
            <a:solidFill>
              <a:srgbClr val="231F20"/>
            </a:solidFill>
            <a:ln w="4474" cap="flat">
              <a:noFill/>
              <a:prstDash val="solid"/>
              <a:miter/>
            </a:ln>
          </p:spPr>
          <p:txBody>
            <a:bodyPr rtlCol="0" anchor="ctr"/>
            <a:lstStyle/>
            <a:p>
              <a:endParaRPr lang="en-US"/>
            </a:p>
          </p:txBody>
        </p:sp>
      </p:grpSp>
      <p:sp>
        <p:nvSpPr>
          <p:cNvPr id="4846" name="Freeform: Shape 4845">
            <a:extLst>
              <a:ext uri="{FF2B5EF4-FFF2-40B4-BE49-F238E27FC236}">
                <a16:creationId xmlns:a16="http://schemas.microsoft.com/office/drawing/2014/main" id="{DF2848E8-D794-420A-936A-F05A84481FC4}"/>
              </a:ext>
              <a:ext uri="{C183D7F6-B498-43B3-948B-1728B52AA6E4}">
                <adec:decorative xmlns:adec="http://schemas.microsoft.com/office/drawing/2017/decorative" val="1"/>
              </a:ext>
            </a:extLst>
          </p:cNvPr>
          <p:cNvSpPr>
            <a:spLocks noChangeAspect="1"/>
          </p:cNvSpPr>
          <p:nvPr/>
        </p:nvSpPr>
        <p:spPr>
          <a:xfrm>
            <a:off x="7452187" y="2802494"/>
            <a:ext cx="111945" cy="98512"/>
          </a:xfrm>
          <a:custGeom>
            <a:avLst/>
            <a:gdLst>
              <a:gd name="connsiteX0" fmla="*/ 110602 w 111945"/>
              <a:gd name="connsiteY0" fmla="*/ 633 h 98511"/>
              <a:gd name="connsiteX1" fmla="*/ 108363 w 111945"/>
              <a:gd name="connsiteY1" fmla="*/ 633 h 98511"/>
              <a:gd name="connsiteX2" fmla="*/ 58212 w 111945"/>
              <a:gd name="connsiteY2" fmla="*/ 38247 h 98511"/>
              <a:gd name="connsiteX3" fmla="*/ 58212 w 111945"/>
              <a:gd name="connsiteY3" fmla="*/ 2424 h 98511"/>
              <a:gd name="connsiteX4" fmla="*/ 56868 w 111945"/>
              <a:gd name="connsiteY4" fmla="*/ 185 h 98511"/>
              <a:gd name="connsiteX5" fmla="*/ 54629 w 111945"/>
              <a:gd name="connsiteY5" fmla="*/ 633 h 98511"/>
              <a:gd name="connsiteX6" fmla="*/ 896 w 111945"/>
              <a:gd name="connsiteY6" fmla="*/ 49889 h 98511"/>
              <a:gd name="connsiteX7" fmla="*/ 0 w 111945"/>
              <a:gd name="connsiteY7" fmla="*/ 51680 h 98511"/>
              <a:gd name="connsiteX8" fmla="*/ 896 w 111945"/>
              <a:gd name="connsiteY8" fmla="*/ 53472 h 98511"/>
              <a:gd name="connsiteX9" fmla="*/ 54629 w 111945"/>
              <a:gd name="connsiteY9" fmla="*/ 98250 h 98511"/>
              <a:gd name="connsiteX10" fmla="*/ 55973 w 111945"/>
              <a:gd name="connsiteY10" fmla="*/ 98697 h 98511"/>
              <a:gd name="connsiteX11" fmla="*/ 56868 w 111945"/>
              <a:gd name="connsiteY11" fmla="*/ 98697 h 98511"/>
              <a:gd name="connsiteX12" fmla="*/ 58212 w 111945"/>
              <a:gd name="connsiteY12" fmla="*/ 96459 h 98511"/>
              <a:gd name="connsiteX13" fmla="*/ 58212 w 111945"/>
              <a:gd name="connsiteY13" fmla="*/ 60636 h 98511"/>
              <a:gd name="connsiteX14" fmla="*/ 108363 w 111945"/>
              <a:gd name="connsiteY14" fmla="*/ 98250 h 98511"/>
              <a:gd name="connsiteX15" fmla="*/ 109707 w 111945"/>
              <a:gd name="connsiteY15" fmla="*/ 98697 h 98511"/>
              <a:gd name="connsiteX16" fmla="*/ 110602 w 111945"/>
              <a:gd name="connsiteY16" fmla="*/ 98250 h 98511"/>
              <a:gd name="connsiteX17" fmla="*/ 111945 w 111945"/>
              <a:gd name="connsiteY17" fmla="*/ 96459 h 98511"/>
              <a:gd name="connsiteX18" fmla="*/ 111945 w 111945"/>
              <a:gd name="connsiteY18" fmla="*/ 2424 h 98511"/>
              <a:gd name="connsiteX19" fmla="*/ 110602 w 111945"/>
              <a:gd name="connsiteY19" fmla="*/ 633 h 98511"/>
              <a:gd name="connsiteX20" fmla="*/ 53734 w 111945"/>
              <a:gd name="connsiteY20" fmla="*/ 91981 h 98511"/>
              <a:gd name="connsiteX21" fmla="*/ 5821 w 111945"/>
              <a:gd name="connsiteY21" fmla="*/ 51680 h 98511"/>
              <a:gd name="connsiteX22" fmla="*/ 53734 w 111945"/>
              <a:gd name="connsiteY22" fmla="*/ 7798 h 98511"/>
              <a:gd name="connsiteX23" fmla="*/ 53734 w 111945"/>
              <a:gd name="connsiteY23" fmla="*/ 43172 h 98511"/>
              <a:gd name="connsiteX24" fmla="*/ 53734 w 111945"/>
              <a:gd name="connsiteY24" fmla="*/ 56606 h 98511"/>
              <a:gd name="connsiteX25" fmla="*/ 53734 w 111945"/>
              <a:gd name="connsiteY25" fmla="*/ 91981 h 98511"/>
              <a:gd name="connsiteX26" fmla="*/ 107468 w 111945"/>
              <a:gd name="connsiteY26" fmla="*/ 92428 h 98511"/>
              <a:gd name="connsiteX27" fmla="*/ 58212 w 111945"/>
              <a:gd name="connsiteY27" fmla="*/ 55262 h 98511"/>
              <a:gd name="connsiteX28" fmla="*/ 58212 w 111945"/>
              <a:gd name="connsiteY28" fmla="*/ 44068 h 98511"/>
              <a:gd name="connsiteX29" fmla="*/ 107468 w 111945"/>
              <a:gd name="connsiteY29" fmla="*/ 6902 h 98511"/>
              <a:gd name="connsiteX30" fmla="*/ 107468 w 111945"/>
              <a:gd name="connsiteY30" fmla="*/ 92428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945" h="98511">
                <a:moveTo>
                  <a:pt x="110602" y="633"/>
                </a:moveTo>
                <a:cubicBezTo>
                  <a:pt x="109707" y="185"/>
                  <a:pt x="108811" y="185"/>
                  <a:pt x="108363" y="633"/>
                </a:cubicBezTo>
                <a:lnTo>
                  <a:pt x="58212" y="38247"/>
                </a:lnTo>
                <a:lnTo>
                  <a:pt x="58212" y="2424"/>
                </a:lnTo>
                <a:cubicBezTo>
                  <a:pt x="58212" y="1528"/>
                  <a:pt x="57764" y="633"/>
                  <a:pt x="56868" y="185"/>
                </a:cubicBezTo>
                <a:cubicBezTo>
                  <a:pt x="55973" y="-262"/>
                  <a:pt x="55077" y="185"/>
                  <a:pt x="54629" y="633"/>
                </a:cubicBezTo>
                <a:lnTo>
                  <a:pt x="896" y="49889"/>
                </a:lnTo>
                <a:cubicBezTo>
                  <a:pt x="448" y="50337"/>
                  <a:pt x="0" y="50784"/>
                  <a:pt x="0" y="51680"/>
                </a:cubicBezTo>
                <a:cubicBezTo>
                  <a:pt x="0" y="52128"/>
                  <a:pt x="448" y="53023"/>
                  <a:pt x="896" y="53472"/>
                </a:cubicBezTo>
                <a:lnTo>
                  <a:pt x="54629" y="98250"/>
                </a:lnTo>
                <a:cubicBezTo>
                  <a:pt x="55077" y="98697"/>
                  <a:pt x="55525" y="98697"/>
                  <a:pt x="55973" y="98697"/>
                </a:cubicBezTo>
                <a:cubicBezTo>
                  <a:pt x="56421" y="98697"/>
                  <a:pt x="56421" y="98697"/>
                  <a:pt x="56868" y="98697"/>
                </a:cubicBezTo>
                <a:cubicBezTo>
                  <a:pt x="57764" y="98250"/>
                  <a:pt x="58212" y="97354"/>
                  <a:pt x="58212" y="96459"/>
                </a:cubicBezTo>
                <a:lnTo>
                  <a:pt x="58212" y="60636"/>
                </a:lnTo>
                <a:lnTo>
                  <a:pt x="108363" y="98250"/>
                </a:lnTo>
                <a:cubicBezTo>
                  <a:pt x="108811" y="98697"/>
                  <a:pt x="109259" y="98697"/>
                  <a:pt x="109707" y="98697"/>
                </a:cubicBezTo>
                <a:cubicBezTo>
                  <a:pt x="110154" y="98697"/>
                  <a:pt x="110602" y="98697"/>
                  <a:pt x="110602" y="98250"/>
                </a:cubicBezTo>
                <a:cubicBezTo>
                  <a:pt x="111498" y="97802"/>
                  <a:pt x="111945" y="96906"/>
                  <a:pt x="111945" y="96459"/>
                </a:cubicBezTo>
                <a:lnTo>
                  <a:pt x="111945" y="2424"/>
                </a:lnTo>
                <a:cubicBezTo>
                  <a:pt x="111945" y="1977"/>
                  <a:pt x="111498" y="1081"/>
                  <a:pt x="110602" y="633"/>
                </a:cubicBezTo>
                <a:close/>
                <a:moveTo>
                  <a:pt x="53734" y="91981"/>
                </a:moveTo>
                <a:lnTo>
                  <a:pt x="5821" y="51680"/>
                </a:lnTo>
                <a:lnTo>
                  <a:pt x="53734" y="7798"/>
                </a:lnTo>
                <a:lnTo>
                  <a:pt x="53734" y="43172"/>
                </a:lnTo>
                <a:lnTo>
                  <a:pt x="53734" y="56606"/>
                </a:lnTo>
                <a:lnTo>
                  <a:pt x="53734" y="91981"/>
                </a:lnTo>
                <a:close/>
                <a:moveTo>
                  <a:pt x="107468" y="92428"/>
                </a:moveTo>
                <a:lnTo>
                  <a:pt x="58212" y="55262"/>
                </a:lnTo>
                <a:lnTo>
                  <a:pt x="58212" y="44068"/>
                </a:lnTo>
                <a:lnTo>
                  <a:pt x="107468" y="6902"/>
                </a:lnTo>
                <a:lnTo>
                  <a:pt x="107468" y="92428"/>
                </a:lnTo>
                <a:close/>
              </a:path>
            </a:pathLst>
          </a:custGeom>
          <a:solidFill>
            <a:srgbClr val="231F20"/>
          </a:solidFill>
          <a:ln w="4474" cap="flat">
            <a:noFill/>
            <a:prstDash val="solid"/>
            <a:miter/>
          </a:ln>
        </p:spPr>
        <p:txBody>
          <a:bodyPr rtlCol="0" anchor="ctr"/>
          <a:lstStyle/>
          <a:p>
            <a:endParaRPr lang="en-US"/>
          </a:p>
        </p:txBody>
      </p:sp>
      <p:sp>
        <p:nvSpPr>
          <p:cNvPr id="4847" name="Freeform: Shape 4846">
            <a:extLst>
              <a:ext uri="{FF2B5EF4-FFF2-40B4-BE49-F238E27FC236}">
                <a16:creationId xmlns:a16="http://schemas.microsoft.com/office/drawing/2014/main" id="{1AD96734-DDE5-4F27-92A5-5F2979D95809}"/>
              </a:ext>
              <a:ext uri="{C183D7F6-B498-43B3-948B-1728B52AA6E4}">
                <adec:decorative xmlns:adec="http://schemas.microsoft.com/office/drawing/2017/decorative" val="1"/>
              </a:ext>
            </a:extLst>
          </p:cNvPr>
          <p:cNvSpPr>
            <a:spLocks noChangeAspect="1"/>
          </p:cNvSpPr>
          <p:nvPr/>
        </p:nvSpPr>
        <p:spPr>
          <a:xfrm>
            <a:off x="7711900" y="2802942"/>
            <a:ext cx="111945" cy="98512"/>
          </a:xfrm>
          <a:custGeom>
            <a:avLst/>
            <a:gdLst>
              <a:gd name="connsiteX0" fmla="*/ 111050 w 111945"/>
              <a:gd name="connsiteY0" fmla="*/ 47650 h 98511"/>
              <a:gd name="connsiteX1" fmla="*/ 57316 w 111945"/>
              <a:gd name="connsiteY1" fmla="*/ 633 h 98511"/>
              <a:gd name="connsiteX2" fmla="*/ 55077 w 111945"/>
              <a:gd name="connsiteY2" fmla="*/ 185 h 98511"/>
              <a:gd name="connsiteX3" fmla="*/ 53734 w 111945"/>
              <a:gd name="connsiteY3" fmla="*/ 2424 h 98511"/>
              <a:gd name="connsiteX4" fmla="*/ 53734 w 111945"/>
              <a:gd name="connsiteY4" fmla="*/ 38247 h 98511"/>
              <a:gd name="connsiteX5" fmla="*/ 3582 w 111945"/>
              <a:gd name="connsiteY5" fmla="*/ 633 h 98511"/>
              <a:gd name="connsiteX6" fmla="*/ 1343 w 111945"/>
              <a:gd name="connsiteY6" fmla="*/ 633 h 98511"/>
              <a:gd name="connsiteX7" fmla="*/ 0 w 111945"/>
              <a:gd name="connsiteY7" fmla="*/ 2424 h 98511"/>
              <a:gd name="connsiteX8" fmla="*/ 0 w 111945"/>
              <a:gd name="connsiteY8" fmla="*/ 96459 h 98511"/>
              <a:gd name="connsiteX9" fmla="*/ 1343 w 111945"/>
              <a:gd name="connsiteY9" fmla="*/ 98250 h 98511"/>
              <a:gd name="connsiteX10" fmla="*/ 2239 w 111945"/>
              <a:gd name="connsiteY10" fmla="*/ 98697 h 98511"/>
              <a:gd name="connsiteX11" fmla="*/ 3582 w 111945"/>
              <a:gd name="connsiteY11" fmla="*/ 98250 h 98511"/>
              <a:gd name="connsiteX12" fmla="*/ 53734 w 111945"/>
              <a:gd name="connsiteY12" fmla="*/ 60636 h 98511"/>
              <a:gd name="connsiteX13" fmla="*/ 53734 w 111945"/>
              <a:gd name="connsiteY13" fmla="*/ 96459 h 98511"/>
              <a:gd name="connsiteX14" fmla="*/ 55077 w 111945"/>
              <a:gd name="connsiteY14" fmla="*/ 98697 h 98511"/>
              <a:gd name="connsiteX15" fmla="*/ 55973 w 111945"/>
              <a:gd name="connsiteY15" fmla="*/ 98697 h 98511"/>
              <a:gd name="connsiteX16" fmla="*/ 57316 w 111945"/>
              <a:gd name="connsiteY16" fmla="*/ 98250 h 98511"/>
              <a:gd name="connsiteX17" fmla="*/ 111050 w 111945"/>
              <a:gd name="connsiteY17" fmla="*/ 51233 h 98511"/>
              <a:gd name="connsiteX18" fmla="*/ 111945 w 111945"/>
              <a:gd name="connsiteY18" fmla="*/ 49441 h 98511"/>
              <a:gd name="connsiteX19" fmla="*/ 111050 w 111945"/>
              <a:gd name="connsiteY19" fmla="*/ 47650 h 98511"/>
              <a:gd name="connsiteX20" fmla="*/ 4478 w 111945"/>
              <a:gd name="connsiteY20" fmla="*/ 91981 h 98511"/>
              <a:gd name="connsiteX21" fmla="*/ 4478 w 111945"/>
              <a:gd name="connsiteY21" fmla="*/ 6902 h 98511"/>
              <a:gd name="connsiteX22" fmla="*/ 53734 w 111945"/>
              <a:gd name="connsiteY22" fmla="*/ 44068 h 98511"/>
              <a:gd name="connsiteX23" fmla="*/ 53734 w 111945"/>
              <a:gd name="connsiteY23" fmla="*/ 55263 h 98511"/>
              <a:gd name="connsiteX24" fmla="*/ 4478 w 111945"/>
              <a:gd name="connsiteY24" fmla="*/ 91981 h 98511"/>
              <a:gd name="connsiteX25" fmla="*/ 58212 w 111945"/>
              <a:gd name="connsiteY25" fmla="*/ 91533 h 98511"/>
              <a:gd name="connsiteX26" fmla="*/ 58212 w 111945"/>
              <a:gd name="connsiteY26" fmla="*/ 56158 h 98511"/>
              <a:gd name="connsiteX27" fmla="*/ 58212 w 111945"/>
              <a:gd name="connsiteY27" fmla="*/ 42725 h 98511"/>
              <a:gd name="connsiteX28" fmla="*/ 58212 w 111945"/>
              <a:gd name="connsiteY28" fmla="*/ 7350 h 98511"/>
              <a:gd name="connsiteX29" fmla="*/ 106124 w 111945"/>
              <a:gd name="connsiteY29" fmla="*/ 49441 h 98511"/>
              <a:gd name="connsiteX30" fmla="*/ 58212 w 111945"/>
              <a:gd name="connsiteY30" fmla="*/ 91533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945" h="98511">
                <a:moveTo>
                  <a:pt x="111050" y="47650"/>
                </a:moveTo>
                <a:lnTo>
                  <a:pt x="57316" y="633"/>
                </a:lnTo>
                <a:cubicBezTo>
                  <a:pt x="56868" y="185"/>
                  <a:pt x="55525" y="-262"/>
                  <a:pt x="55077" y="185"/>
                </a:cubicBezTo>
                <a:cubicBezTo>
                  <a:pt x="54182" y="633"/>
                  <a:pt x="53734" y="1529"/>
                  <a:pt x="53734" y="2424"/>
                </a:cubicBezTo>
                <a:lnTo>
                  <a:pt x="53734" y="38247"/>
                </a:lnTo>
                <a:lnTo>
                  <a:pt x="3582" y="633"/>
                </a:lnTo>
                <a:cubicBezTo>
                  <a:pt x="2687" y="185"/>
                  <a:pt x="1791" y="185"/>
                  <a:pt x="1343" y="633"/>
                </a:cubicBezTo>
                <a:cubicBezTo>
                  <a:pt x="448" y="1081"/>
                  <a:pt x="0" y="1977"/>
                  <a:pt x="0" y="2424"/>
                </a:cubicBezTo>
                <a:lnTo>
                  <a:pt x="0" y="96459"/>
                </a:lnTo>
                <a:cubicBezTo>
                  <a:pt x="0" y="97354"/>
                  <a:pt x="448" y="98250"/>
                  <a:pt x="1343" y="98250"/>
                </a:cubicBezTo>
                <a:cubicBezTo>
                  <a:pt x="1791" y="98250"/>
                  <a:pt x="1791" y="98697"/>
                  <a:pt x="2239" y="98697"/>
                </a:cubicBezTo>
                <a:cubicBezTo>
                  <a:pt x="2687" y="98697"/>
                  <a:pt x="3135" y="98697"/>
                  <a:pt x="3582" y="98250"/>
                </a:cubicBezTo>
                <a:lnTo>
                  <a:pt x="53734" y="60636"/>
                </a:lnTo>
                <a:lnTo>
                  <a:pt x="53734" y="96459"/>
                </a:lnTo>
                <a:cubicBezTo>
                  <a:pt x="53734" y="97354"/>
                  <a:pt x="54182" y="98250"/>
                  <a:pt x="55077" y="98697"/>
                </a:cubicBezTo>
                <a:cubicBezTo>
                  <a:pt x="55525" y="98697"/>
                  <a:pt x="55525" y="98697"/>
                  <a:pt x="55973" y="98697"/>
                </a:cubicBezTo>
                <a:cubicBezTo>
                  <a:pt x="56421" y="98697"/>
                  <a:pt x="56868" y="98697"/>
                  <a:pt x="57316" y="98250"/>
                </a:cubicBezTo>
                <a:lnTo>
                  <a:pt x="111050" y="51233"/>
                </a:lnTo>
                <a:cubicBezTo>
                  <a:pt x="111498" y="50785"/>
                  <a:pt x="111945" y="50337"/>
                  <a:pt x="111945" y="49441"/>
                </a:cubicBezTo>
                <a:cubicBezTo>
                  <a:pt x="111945" y="48546"/>
                  <a:pt x="111498" y="48098"/>
                  <a:pt x="111050" y="47650"/>
                </a:cubicBezTo>
                <a:close/>
                <a:moveTo>
                  <a:pt x="4478" y="91981"/>
                </a:moveTo>
                <a:lnTo>
                  <a:pt x="4478" y="6902"/>
                </a:lnTo>
                <a:lnTo>
                  <a:pt x="53734" y="44068"/>
                </a:lnTo>
                <a:lnTo>
                  <a:pt x="53734" y="55263"/>
                </a:lnTo>
                <a:lnTo>
                  <a:pt x="4478" y="91981"/>
                </a:lnTo>
                <a:close/>
                <a:moveTo>
                  <a:pt x="58212" y="91533"/>
                </a:moveTo>
                <a:lnTo>
                  <a:pt x="58212" y="56158"/>
                </a:lnTo>
                <a:lnTo>
                  <a:pt x="58212" y="42725"/>
                </a:lnTo>
                <a:lnTo>
                  <a:pt x="58212" y="7350"/>
                </a:lnTo>
                <a:lnTo>
                  <a:pt x="106124" y="49441"/>
                </a:lnTo>
                <a:lnTo>
                  <a:pt x="58212" y="91533"/>
                </a:lnTo>
                <a:close/>
              </a:path>
            </a:pathLst>
          </a:custGeom>
          <a:solidFill>
            <a:srgbClr val="231F20"/>
          </a:solidFill>
          <a:ln w="4474" cap="flat">
            <a:noFill/>
            <a:prstDash val="solid"/>
            <a:miter/>
          </a:ln>
        </p:spPr>
        <p:txBody>
          <a:bodyPr rtlCol="0" anchor="ctr"/>
          <a:lstStyle/>
          <a:p>
            <a:endParaRPr lang="en-US"/>
          </a:p>
        </p:txBody>
      </p:sp>
      <p:grpSp>
        <p:nvGrpSpPr>
          <p:cNvPr id="4848" name="Group 4847">
            <a:extLst>
              <a:ext uri="{FF2B5EF4-FFF2-40B4-BE49-F238E27FC236}">
                <a16:creationId xmlns:a16="http://schemas.microsoft.com/office/drawing/2014/main" id="{FE074432-12C9-4FB5-9660-0DDE7B0B9B2F}"/>
              </a:ext>
              <a:ext uri="{C183D7F6-B498-43B3-948B-1728B52AA6E4}">
                <adec:decorative xmlns:adec="http://schemas.microsoft.com/office/drawing/2017/decorative" val="1"/>
              </a:ext>
            </a:extLst>
          </p:cNvPr>
          <p:cNvGrpSpPr>
            <a:grpSpLocks noChangeAspect="1"/>
          </p:cNvGrpSpPr>
          <p:nvPr/>
        </p:nvGrpSpPr>
        <p:grpSpPr>
          <a:xfrm>
            <a:off x="8483428" y="2789400"/>
            <a:ext cx="141275" cy="138812"/>
            <a:chOff x="2702775" y="6248586"/>
            <a:chExt cx="141275" cy="138812"/>
          </a:xfrm>
        </p:grpSpPr>
        <p:sp>
          <p:nvSpPr>
            <p:cNvPr id="4849" name="Freeform: Shape 4848">
              <a:extLst>
                <a:ext uri="{FF2B5EF4-FFF2-40B4-BE49-F238E27FC236}">
                  <a16:creationId xmlns:a16="http://schemas.microsoft.com/office/drawing/2014/main" id="{31A67EB1-E983-4C17-97CD-FFEC0BCFCC21}"/>
                </a:ext>
              </a:extLst>
            </p:cNvPr>
            <p:cNvSpPr/>
            <p:nvPr/>
          </p:nvSpPr>
          <p:spPr>
            <a:xfrm>
              <a:off x="2799272" y="6295673"/>
              <a:ext cx="44778" cy="44778"/>
            </a:xfrm>
            <a:custGeom>
              <a:avLst/>
              <a:gdLst>
                <a:gd name="connsiteX0" fmla="*/ 25747 w 44778"/>
                <a:gd name="connsiteY0" fmla="*/ 22613 h 44778"/>
                <a:gd name="connsiteX1" fmla="*/ 44554 w 44778"/>
                <a:gd name="connsiteY1" fmla="*/ 3806 h 44778"/>
                <a:gd name="connsiteX2" fmla="*/ 44554 w 44778"/>
                <a:gd name="connsiteY2" fmla="*/ 672 h 44778"/>
                <a:gd name="connsiteX3" fmla="*/ 41420 w 44778"/>
                <a:gd name="connsiteY3" fmla="*/ 672 h 44778"/>
                <a:gd name="connsiteX4" fmla="*/ 22613 w 44778"/>
                <a:gd name="connsiteY4" fmla="*/ 19479 h 44778"/>
                <a:gd name="connsiteX5" fmla="*/ 3806 w 44778"/>
                <a:gd name="connsiteY5" fmla="*/ 672 h 44778"/>
                <a:gd name="connsiteX6" fmla="*/ 672 w 44778"/>
                <a:gd name="connsiteY6" fmla="*/ 672 h 44778"/>
                <a:gd name="connsiteX7" fmla="*/ 672 w 44778"/>
                <a:gd name="connsiteY7" fmla="*/ 3806 h 44778"/>
                <a:gd name="connsiteX8" fmla="*/ 19479 w 44778"/>
                <a:gd name="connsiteY8" fmla="*/ 22613 h 44778"/>
                <a:gd name="connsiteX9" fmla="*/ 672 w 44778"/>
                <a:gd name="connsiteY9" fmla="*/ 41420 h 44778"/>
                <a:gd name="connsiteX10" fmla="*/ 672 w 44778"/>
                <a:gd name="connsiteY10" fmla="*/ 44554 h 44778"/>
                <a:gd name="connsiteX11" fmla="*/ 2463 w 44778"/>
                <a:gd name="connsiteY11" fmla="*/ 45002 h 44778"/>
                <a:gd name="connsiteX12" fmla="*/ 4254 w 44778"/>
                <a:gd name="connsiteY12" fmla="*/ 44554 h 44778"/>
                <a:gd name="connsiteX13" fmla="*/ 23061 w 44778"/>
                <a:gd name="connsiteY13" fmla="*/ 25747 h 44778"/>
                <a:gd name="connsiteX14" fmla="*/ 41868 w 44778"/>
                <a:gd name="connsiteY14" fmla="*/ 44554 h 44778"/>
                <a:gd name="connsiteX15" fmla="*/ 43659 w 44778"/>
                <a:gd name="connsiteY15" fmla="*/ 45002 h 44778"/>
                <a:gd name="connsiteX16" fmla="*/ 45450 w 44778"/>
                <a:gd name="connsiteY16" fmla="*/ 44554 h 44778"/>
                <a:gd name="connsiteX17" fmla="*/ 45450 w 44778"/>
                <a:gd name="connsiteY17" fmla="*/ 41420 h 44778"/>
                <a:gd name="connsiteX18" fmla="*/ 25747 w 44778"/>
                <a:gd name="connsiteY18" fmla="*/ 22613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78" h="44778">
                  <a:moveTo>
                    <a:pt x="25747" y="22613"/>
                  </a:moveTo>
                  <a:lnTo>
                    <a:pt x="44554" y="3806"/>
                  </a:lnTo>
                  <a:cubicBezTo>
                    <a:pt x="45450" y="2910"/>
                    <a:pt x="45450" y="1567"/>
                    <a:pt x="44554" y="672"/>
                  </a:cubicBezTo>
                  <a:cubicBezTo>
                    <a:pt x="43659" y="-224"/>
                    <a:pt x="42315" y="-224"/>
                    <a:pt x="41420" y="672"/>
                  </a:cubicBezTo>
                  <a:lnTo>
                    <a:pt x="22613" y="19479"/>
                  </a:lnTo>
                  <a:lnTo>
                    <a:pt x="3806" y="672"/>
                  </a:lnTo>
                  <a:cubicBezTo>
                    <a:pt x="2911" y="-224"/>
                    <a:pt x="1567" y="-224"/>
                    <a:pt x="672" y="672"/>
                  </a:cubicBezTo>
                  <a:cubicBezTo>
                    <a:pt x="-224" y="1567"/>
                    <a:pt x="-224" y="2910"/>
                    <a:pt x="672" y="3806"/>
                  </a:cubicBezTo>
                  <a:lnTo>
                    <a:pt x="19479" y="22613"/>
                  </a:lnTo>
                  <a:lnTo>
                    <a:pt x="672" y="41420"/>
                  </a:lnTo>
                  <a:cubicBezTo>
                    <a:pt x="-224" y="42315"/>
                    <a:pt x="-224" y="43658"/>
                    <a:pt x="672" y="44554"/>
                  </a:cubicBezTo>
                  <a:cubicBezTo>
                    <a:pt x="1119" y="45002"/>
                    <a:pt x="1567" y="45002"/>
                    <a:pt x="2463" y="45002"/>
                  </a:cubicBezTo>
                  <a:cubicBezTo>
                    <a:pt x="3358" y="45002"/>
                    <a:pt x="3806" y="45002"/>
                    <a:pt x="4254" y="44554"/>
                  </a:cubicBezTo>
                  <a:lnTo>
                    <a:pt x="23061" y="25747"/>
                  </a:lnTo>
                  <a:lnTo>
                    <a:pt x="41868" y="44554"/>
                  </a:lnTo>
                  <a:cubicBezTo>
                    <a:pt x="42315" y="45002"/>
                    <a:pt x="42763" y="45002"/>
                    <a:pt x="43659" y="45002"/>
                  </a:cubicBezTo>
                  <a:cubicBezTo>
                    <a:pt x="44554" y="45002"/>
                    <a:pt x="45002" y="45002"/>
                    <a:pt x="45450" y="44554"/>
                  </a:cubicBezTo>
                  <a:cubicBezTo>
                    <a:pt x="46345" y="43658"/>
                    <a:pt x="46345" y="42315"/>
                    <a:pt x="45450" y="41420"/>
                  </a:cubicBezTo>
                  <a:lnTo>
                    <a:pt x="25747" y="22613"/>
                  </a:lnTo>
                  <a:close/>
                </a:path>
              </a:pathLst>
            </a:custGeom>
            <a:solidFill>
              <a:srgbClr val="231F20"/>
            </a:solidFill>
            <a:ln w="4474" cap="flat">
              <a:noFill/>
              <a:prstDash val="solid"/>
              <a:miter/>
            </a:ln>
          </p:spPr>
          <p:txBody>
            <a:bodyPr rtlCol="0" anchor="ctr"/>
            <a:lstStyle/>
            <a:p>
              <a:endParaRPr lang="en-US"/>
            </a:p>
          </p:txBody>
        </p:sp>
        <p:sp>
          <p:nvSpPr>
            <p:cNvPr id="4850" name="Freeform: Shape 4849">
              <a:extLst>
                <a:ext uri="{FF2B5EF4-FFF2-40B4-BE49-F238E27FC236}">
                  <a16:creationId xmlns:a16="http://schemas.microsoft.com/office/drawing/2014/main" id="{B004DEB9-F7B7-48AB-8B69-E49F02F0D869}"/>
                </a:ext>
              </a:extLst>
            </p:cNvPr>
            <p:cNvSpPr/>
            <p:nvPr/>
          </p:nvSpPr>
          <p:spPr>
            <a:xfrm>
              <a:off x="2702775" y="6248586"/>
              <a:ext cx="89556" cy="138812"/>
            </a:xfrm>
            <a:custGeom>
              <a:avLst/>
              <a:gdLst>
                <a:gd name="connsiteX0" fmla="*/ 89109 w 89556"/>
                <a:gd name="connsiteY0" fmla="*/ 294 h 138812"/>
                <a:gd name="connsiteX1" fmla="*/ 86870 w 89556"/>
                <a:gd name="connsiteY1" fmla="*/ 742 h 138812"/>
                <a:gd name="connsiteX2" fmla="*/ 30001 w 89556"/>
                <a:gd name="connsiteY2" fmla="*/ 45968 h 138812"/>
                <a:gd name="connsiteX3" fmla="*/ 2239 w 89556"/>
                <a:gd name="connsiteY3" fmla="*/ 45968 h 138812"/>
                <a:gd name="connsiteX4" fmla="*/ 0 w 89556"/>
                <a:gd name="connsiteY4" fmla="*/ 48206 h 138812"/>
                <a:gd name="connsiteX5" fmla="*/ 0 w 89556"/>
                <a:gd name="connsiteY5" fmla="*/ 91194 h 138812"/>
                <a:gd name="connsiteX6" fmla="*/ 2239 w 89556"/>
                <a:gd name="connsiteY6" fmla="*/ 93433 h 138812"/>
                <a:gd name="connsiteX7" fmla="*/ 30001 w 89556"/>
                <a:gd name="connsiteY7" fmla="*/ 93433 h 138812"/>
                <a:gd name="connsiteX8" fmla="*/ 86870 w 89556"/>
                <a:gd name="connsiteY8" fmla="*/ 138659 h 138812"/>
                <a:gd name="connsiteX9" fmla="*/ 88213 w 89556"/>
                <a:gd name="connsiteY9" fmla="*/ 139106 h 138812"/>
                <a:gd name="connsiteX10" fmla="*/ 89109 w 89556"/>
                <a:gd name="connsiteY10" fmla="*/ 139106 h 138812"/>
                <a:gd name="connsiteX11" fmla="*/ 90452 w 89556"/>
                <a:gd name="connsiteY11" fmla="*/ 136867 h 138812"/>
                <a:gd name="connsiteX12" fmla="*/ 90452 w 89556"/>
                <a:gd name="connsiteY12" fmla="*/ 2533 h 138812"/>
                <a:gd name="connsiteX13" fmla="*/ 89109 w 89556"/>
                <a:gd name="connsiteY13" fmla="*/ 294 h 138812"/>
                <a:gd name="connsiteX14" fmla="*/ 85974 w 89556"/>
                <a:gd name="connsiteY14" fmla="*/ 132390 h 138812"/>
                <a:gd name="connsiteX15" fmla="*/ 32240 w 89556"/>
                <a:gd name="connsiteY15" fmla="*/ 89403 h 138812"/>
                <a:gd name="connsiteX16" fmla="*/ 30897 w 89556"/>
                <a:gd name="connsiteY16" fmla="*/ 88955 h 138812"/>
                <a:gd name="connsiteX17" fmla="*/ 4478 w 89556"/>
                <a:gd name="connsiteY17" fmla="*/ 88955 h 138812"/>
                <a:gd name="connsiteX18" fmla="*/ 4478 w 89556"/>
                <a:gd name="connsiteY18" fmla="*/ 50445 h 138812"/>
                <a:gd name="connsiteX19" fmla="*/ 30897 w 89556"/>
                <a:gd name="connsiteY19" fmla="*/ 50445 h 138812"/>
                <a:gd name="connsiteX20" fmla="*/ 32240 w 89556"/>
                <a:gd name="connsiteY20" fmla="*/ 49998 h 138812"/>
                <a:gd name="connsiteX21" fmla="*/ 85974 w 89556"/>
                <a:gd name="connsiteY21" fmla="*/ 7011 h 138812"/>
                <a:gd name="connsiteX22" fmla="*/ 85974 w 89556"/>
                <a:gd name="connsiteY22" fmla="*/ 132390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56" h="138812">
                  <a:moveTo>
                    <a:pt x="89109" y="294"/>
                  </a:moveTo>
                  <a:cubicBezTo>
                    <a:pt x="88213" y="-154"/>
                    <a:pt x="87317" y="-154"/>
                    <a:pt x="86870" y="742"/>
                  </a:cubicBezTo>
                  <a:lnTo>
                    <a:pt x="30001" y="45968"/>
                  </a:lnTo>
                  <a:lnTo>
                    <a:pt x="2239" y="45968"/>
                  </a:lnTo>
                  <a:cubicBezTo>
                    <a:pt x="895" y="45968"/>
                    <a:pt x="0" y="46863"/>
                    <a:pt x="0" y="48206"/>
                  </a:cubicBezTo>
                  <a:lnTo>
                    <a:pt x="0" y="91194"/>
                  </a:lnTo>
                  <a:cubicBezTo>
                    <a:pt x="0" y="92537"/>
                    <a:pt x="895" y="93433"/>
                    <a:pt x="2239" y="93433"/>
                  </a:cubicBezTo>
                  <a:lnTo>
                    <a:pt x="30001" y="93433"/>
                  </a:lnTo>
                  <a:lnTo>
                    <a:pt x="86870" y="138659"/>
                  </a:lnTo>
                  <a:cubicBezTo>
                    <a:pt x="87317" y="139106"/>
                    <a:pt x="87765" y="139106"/>
                    <a:pt x="88213" y="139106"/>
                  </a:cubicBezTo>
                  <a:cubicBezTo>
                    <a:pt x="88661" y="139106"/>
                    <a:pt x="88661" y="139106"/>
                    <a:pt x="89109" y="139106"/>
                  </a:cubicBezTo>
                  <a:cubicBezTo>
                    <a:pt x="90004" y="138659"/>
                    <a:pt x="90452" y="137763"/>
                    <a:pt x="90452" y="136867"/>
                  </a:cubicBezTo>
                  <a:lnTo>
                    <a:pt x="90452" y="2533"/>
                  </a:lnTo>
                  <a:cubicBezTo>
                    <a:pt x="90452" y="1638"/>
                    <a:pt x="90004" y="742"/>
                    <a:pt x="89109" y="294"/>
                  </a:cubicBezTo>
                  <a:close/>
                  <a:moveTo>
                    <a:pt x="85974" y="132390"/>
                  </a:moveTo>
                  <a:lnTo>
                    <a:pt x="32240" y="89403"/>
                  </a:lnTo>
                  <a:cubicBezTo>
                    <a:pt x="31792" y="88955"/>
                    <a:pt x="31345" y="88955"/>
                    <a:pt x="30897" y="88955"/>
                  </a:cubicBezTo>
                  <a:lnTo>
                    <a:pt x="4478" y="88955"/>
                  </a:lnTo>
                  <a:lnTo>
                    <a:pt x="4478" y="50445"/>
                  </a:lnTo>
                  <a:lnTo>
                    <a:pt x="30897" y="50445"/>
                  </a:lnTo>
                  <a:cubicBezTo>
                    <a:pt x="31345" y="50445"/>
                    <a:pt x="31792" y="50445"/>
                    <a:pt x="32240" y="49998"/>
                  </a:cubicBezTo>
                  <a:lnTo>
                    <a:pt x="85974" y="7011"/>
                  </a:lnTo>
                  <a:lnTo>
                    <a:pt x="85974" y="132390"/>
                  </a:lnTo>
                  <a:close/>
                </a:path>
              </a:pathLst>
            </a:custGeom>
            <a:solidFill>
              <a:srgbClr val="231F20"/>
            </a:solidFill>
            <a:ln w="4474" cap="flat">
              <a:noFill/>
              <a:prstDash val="solid"/>
              <a:miter/>
            </a:ln>
          </p:spPr>
          <p:txBody>
            <a:bodyPr rtlCol="0" anchor="ctr"/>
            <a:lstStyle/>
            <a:p>
              <a:endParaRPr lang="en-US"/>
            </a:p>
          </p:txBody>
        </p:sp>
      </p:grpSp>
      <p:grpSp>
        <p:nvGrpSpPr>
          <p:cNvPr id="4851" name="Group 4850">
            <a:extLst>
              <a:ext uri="{FF2B5EF4-FFF2-40B4-BE49-F238E27FC236}">
                <a16:creationId xmlns:a16="http://schemas.microsoft.com/office/drawing/2014/main" id="{F9123816-A29B-44C8-BA87-88CC485F80D6}"/>
              </a:ext>
              <a:ext uri="{C183D7F6-B498-43B3-948B-1728B52AA6E4}">
                <adec:decorative xmlns:adec="http://schemas.microsoft.com/office/drawing/2017/decorative" val="1"/>
              </a:ext>
            </a:extLst>
          </p:cNvPr>
          <p:cNvGrpSpPr>
            <a:grpSpLocks noChangeAspect="1"/>
          </p:cNvGrpSpPr>
          <p:nvPr/>
        </p:nvGrpSpPr>
        <p:grpSpPr>
          <a:xfrm>
            <a:off x="8222371" y="2789694"/>
            <a:ext cx="139484" cy="138812"/>
            <a:chOff x="2441718" y="6248880"/>
            <a:chExt cx="139484" cy="138812"/>
          </a:xfrm>
        </p:grpSpPr>
        <p:sp>
          <p:nvSpPr>
            <p:cNvPr id="4852" name="Freeform: Shape 4851">
              <a:extLst>
                <a:ext uri="{FF2B5EF4-FFF2-40B4-BE49-F238E27FC236}">
                  <a16:creationId xmlns:a16="http://schemas.microsoft.com/office/drawing/2014/main" id="{EED2AF93-5289-466D-9730-F9AB707AAAE1}"/>
                </a:ext>
              </a:extLst>
            </p:cNvPr>
            <p:cNvSpPr/>
            <p:nvPr/>
          </p:nvSpPr>
          <p:spPr>
            <a:xfrm>
              <a:off x="2543589" y="6289852"/>
              <a:ext cx="13433" cy="53734"/>
            </a:xfrm>
            <a:custGeom>
              <a:avLst/>
              <a:gdLst>
                <a:gd name="connsiteX0" fmla="*/ 2463 w 13433"/>
                <a:gd name="connsiteY0" fmla="*/ 56645 h 53733"/>
                <a:gd name="connsiteX1" fmla="*/ 672 w 13433"/>
                <a:gd name="connsiteY1" fmla="*/ 56196 h 53733"/>
                <a:gd name="connsiteX2" fmla="*/ 672 w 13433"/>
                <a:gd name="connsiteY2" fmla="*/ 53062 h 53733"/>
                <a:gd name="connsiteX3" fmla="*/ 2911 w 13433"/>
                <a:gd name="connsiteY3" fmla="*/ 50823 h 53733"/>
                <a:gd name="connsiteX4" fmla="*/ 2911 w 13433"/>
                <a:gd name="connsiteY4" fmla="*/ 6045 h 53733"/>
                <a:gd name="connsiteX5" fmla="*/ 672 w 13433"/>
                <a:gd name="connsiteY5" fmla="*/ 3806 h 53733"/>
                <a:gd name="connsiteX6" fmla="*/ 672 w 13433"/>
                <a:gd name="connsiteY6" fmla="*/ 672 h 53733"/>
                <a:gd name="connsiteX7" fmla="*/ 3806 w 13433"/>
                <a:gd name="connsiteY7" fmla="*/ 672 h 53733"/>
                <a:gd name="connsiteX8" fmla="*/ 6045 w 13433"/>
                <a:gd name="connsiteY8" fmla="*/ 2911 h 53733"/>
                <a:gd name="connsiteX9" fmla="*/ 6045 w 13433"/>
                <a:gd name="connsiteY9" fmla="*/ 53958 h 53733"/>
                <a:gd name="connsiteX10" fmla="*/ 3806 w 13433"/>
                <a:gd name="connsiteY10" fmla="*/ 56196 h 53733"/>
                <a:gd name="connsiteX11" fmla="*/ 2463 w 13433"/>
                <a:gd name="connsiteY11" fmla="*/ 56645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33" h="53733">
                  <a:moveTo>
                    <a:pt x="2463" y="56645"/>
                  </a:moveTo>
                  <a:cubicBezTo>
                    <a:pt x="2015" y="56645"/>
                    <a:pt x="1119" y="56645"/>
                    <a:pt x="672" y="56196"/>
                  </a:cubicBezTo>
                  <a:cubicBezTo>
                    <a:pt x="-224" y="55301"/>
                    <a:pt x="-224" y="53958"/>
                    <a:pt x="672" y="53062"/>
                  </a:cubicBezTo>
                  <a:lnTo>
                    <a:pt x="2911" y="50823"/>
                  </a:lnTo>
                  <a:cubicBezTo>
                    <a:pt x="15448" y="38285"/>
                    <a:pt x="15448" y="18583"/>
                    <a:pt x="2911" y="6045"/>
                  </a:cubicBezTo>
                  <a:lnTo>
                    <a:pt x="672" y="3806"/>
                  </a:lnTo>
                  <a:cubicBezTo>
                    <a:pt x="-224" y="2911"/>
                    <a:pt x="-224" y="1567"/>
                    <a:pt x="672" y="672"/>
                  </a:cubicBezTo>
                  <a:cubicBezTo>
                    <a:pt x="1567" y="-224"/>
                    <a:pt x="2911" y="-224"/>
                    <a:pt x="3806" y="672"/>
                  </a:cubicBezTo>
                  <a:lnTo>
                    <a:pt x="6045" y="2911"/>
                  </a:lnTo>
                  <a:cubicBezTo>
                    <a:pt x="19926" y="16792"/>
                    <a:pt x="19926" y="40076"/>
                    <a:pt x="6045" y="53958"/>
                  </a:cubicBezTo>
                  <a:lnTo>
                    <a:pt x="3806" y="56196"/>
                  </a:lnTo>
                  <a:cubicBezTo>
                    <a:pt x="3358" y="56645"/>
                    <a:pt x="2911" y="56645"/>
                    <a:pt x="2463" y="56645"/>
                  </a:cubicBezTo>
                  <a:close/>
                </a:path>
              </a:pathLst>
            </a:custGeom>
            <a:solidFill>
              <a:srgbClr val="231F20"/>
            </a:solidFill>
            <a:ln w="4474" cap="flat">
              <a:noFill/>
              <a:prstDash val="solid"/>
              <a:miter/>
            </a:ln>
          </p:spPr>
          <p:txBody>
            <a:bodyPr rtlCol="0" anchor="ctr"/>
            <a:lstStyle/>
            <a:p>
              <a:endParaRPr lang="en-US"/>
            </a:p>
          </p:txBody>
        </p:sp>
        <p:sp>
          <p:nvSpPr>
            <p:cNvPr id="4853" name="Freeform: Shape 4852">
              <a:extLst>
                <a:ext uri="{FF2B5EF4-FFF2-40B4-BE49-F238E27FC236}">
                  <a16:creationId xmlns:a16="http://schemas.microsoft.com/office/drawing/2014/main" id="{43B0B766-057E-43D0-825B-8B79E0EB55D5}"/>
                </a:ext>
              </a:extLst>
            </p:cNvPr>
            <p:cNvSpPr/>
            <p:nvPr/>
          </p:nvSpPr>
          <p:spPr>
            <a:xfrm>
              <a:off x="2558813" y="6274627"/>
              <a:ext cx="22389" cy="85079"/>
            </a:xfrm>
            <a:custGeom>
              <a:avLst/>
              <a:gdLst>
                <a:gd name="connsiteX0" fmla="*/ 2463 w 22389"/>
                <a:gd name="connsiteY0" fmla="*/ 87093 h 85078"/>
                <a:gd name="connsiteX1" fmla="*/ 672 w 22389"/>
                <a:gd name="connsiteY1" fmla="*/ 86646 h 85078"/>
                <a:gd name="connsiteX2" fmla="*/ 672 w 22389"/>
                <a:gd name="connsiteY2" fmla="*/ 83512 h 85078"/>
                <a:gd name="connsiteX3" fmla="*/ 2911 w 22389"/>
                <a:gd name="connsiteY3" fmla="*/ 81273 h 85078"/>
                <a:gd name="connsiteX4" fmla="*/ 18583 w 22389"/>
                <a:gd name="connsiteY4" fmla="*/ 43659 h 85078"/>
                <a:gd name="connsiteX5" fmla="*/ 2911 w 22389"/>
                <a:gd name="connsiteY5" fmla="*/ 6045 h 85078"/>
                <a:gd name="connsiteX6" fmla="*/ 672 w 22389"/>
                <a:gd name="connsiteY6" fmla="*/ 3806 h 85078"/>
                <a:gd name="connsiteX7" fmla="*/ 672 w 22389"/>
                <a:gd name="connsiteY7" fmla="*/ 672 h 85078"/>
                <a:gd name="connsiteX8" fmla="*/ 3806 w 22389"/>
                <a:gd name="connsiteY8" fmla="*/ 672 h 85078"/>
                <a:gd name="connsiteX9" fmla="*/ 6045 w 22389"/>
                <a:gd name="connsiteY9" fmla="*/ 2911 h 85078"/>
                <a:gd name="connsiteX10" fmla="*/ 23061 w 22389"/>
                <a:gd name="connsiteY10" fmla="*/ 43659 h 85078"/>
                <a:gd name="connsiteX11" fmla="*/ 6045 w 22389"/>
                <a:gd name="connsiteY11" fmla="*/ 84407 h 85078"/>
                <a:gd name="connsiteX12" fmla="*/ 3806 w 22389"/>
                <a:gd name="connsiteY12" fmla="*/ 86646 h 85078"/>
                <a:gd name="connsiteX13" fmla="*/ 2463 w 22389"/>
                <a:gd name="connsiteY13" fmla="*/ 87093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89" h="85078">
                  <a:moveTo>
                    <a:pt x="2463" y="87093"/>
                  </a:moveTo>
                  <a:cubicBezTo>
                    <a:pt x="2015" y="87093"/>
                    <a:pt x="1119" y="87093"/>
                    <a:pt x="672" y="86646"/>
                  </a:cubicBezTo>
                  <a:cubicBezTo>
                    <a:pt x="-224" y="85750"/>
                    <a:pt x="-224" y="84407"/>
                    <a:pt x="672" y="83512"/>
                  </a:cubicBezTo>
                  <a:lnTo>
                    <a:pt x="2911" y="81273"/>
                  </a:lnTo>
                  <a:cubicBezTo>
                    <a:pt x="12762" y="71421"/>
                    <a:pt x="18583" y="57988"/>
                    <a:pt x="18583" y="43659"/>
                  </a:cubicBezTo>
                  <a:cubicBezTo>
                    <a:pt x="18583" y="29330"/>
                    <a:pt x="13210" y="15897"/>
                    <a:pt x="2911" y="6045"/>
                  </a:cubicBezTo>
                  <a:lnTo>
                    <a:pt x="672" y="3806"/>
                  </a:lnTo>
                  <a:cubicBezTo>
                    <a:pt x="-224" y="2911"/>
                    <a:pt x="-224" y="1567"/>
                    <a:pt x="672" y="672"/>
                  </a:cubicBezTo>
                  <a:cubicBezTo>
                    <a:pt x="1567" y="-224"/>
                    <a:pt x="2911" y="-224"/>
                    <a:pt x="3806" y="672"/>
                  </a:cubicBezTo>
                  <a:lnTo>
                    <a:pt x="6045" y="2911"/>
                  </a:lnTo>
                  <a:cubicBezTo>
                    <a:pt x="16792" y="13658"/>
                    <a:pt x="23061" y="28434"/>
                    <a:pt x="23061" y="43659"/>
                  </a:cubicBezTo>
                  <a:cubicBezTo>
                    <a:pt x="23061" y="58884"/>
                    <a:pt x="17240" y="73660"/>
                    <a:pt x="6045" y="84407"/>
                  </a:cubicBezTo>
                  <a:lnTo>
                    <a:pt x="3806" y="86646"/>
                  </a:lnTo>
                  <a:cubicBezTo>
                    <a:pt x="3358" y="87093"/>
                    <a:pt x="2911" y="87093"/>
                    <a:pt x="2463" y="87093"/>
                  </a:cubicBezTo>
                  <a:close/>
                </a:path>
              </a:pathLst>
            </a:custGeom>
            <a:solidFill>
              <a:srgbClr val="231F20"/>
            </a:solidFill>
            <a:ln w="4474" cap="flat">
              <a:noFill/>
              <a:prstDash val="solid"/>
              <a:miter/>
            </a:ln>
          </p:spPr>
          <p:txBody>
            <a:bodyPr rtlCol="0" anchor="ctr"/>
            <a:lstStyle/>
            <a:p>
              <a:endParaRPr lang="en-US"/>
            </a:p>
          </p:txBody>
        </p:sp>
        <p:sp>
          <p:nvSpPr>
            <p:cNvPr id="4854" name="Freeform: Shape 4853">
              <a:extLst>
                <a:ext uri="{FF2B5EF4-FFF2-40B4-BE49-F238E27FC236}">
                  <a16:creationId xmlns:a16="http://schemas.microsoft.com/office/drawing/2014/main" id="{09E8D646-4FF3-4D09-8A2B-1373ACB57276}"/>
                </a:ext>
              </a:extLst>
            </p:cNvPr>
            <p:cNvSpPr/>
            <p:nvPr/>
          </p:nvSpPr>
          <p:spPr>
            <a:xfrm>
              <a:off x="2441718" y="6248880"/>
              <a:ext cx="89556" cy="138812"/>
            </a:xfrm>
            <a:custGeom>
              <a:avLst/>
              <a:gdLst>
                <a:gd name="connsiteX0" fmla="*/ 88661 w 89556"/>
                <a:gd name="connsiteY0" fmla="*/ 138812 h 138812"/>
                <a:gd name="connsiteX1" fmla="*/ 87317 w 89556"/>
                <a:gd name="connsiteY1" fmla="*/ 138365 h 138812"/>
                <a:gd name="connsiteX2" fmla="*/ 30449 w 89556"/>
                <a:gd name="connsiteY2" fmla="*/ 93139 h 138812"/>
                <a:gd name="connsiteX3" fmla="*/ 2239 w 89556"/>
                <a:gd name="connsiteY3" fmla="*/ 93139 h 138812"/>
                <a:gd name="connsiteX4" fmla="*/ 0 w 89556"/>
                <a:gd name="connsiteY4" fmla="*/ 90900 h 138812"/>
                <a:gd name="connsiteX5" fmla="*/ 0 w 89556"/>
                <a:gd name="connsiteY5" fmla="*/ 47912 h 138812"/>
                <a:gd name="connsiteX6" fmla="*/ 2239 w 89556"/>
                <a:gd name="connsiteY6" fmla="*/ 45674 h 138812"/>
                <a:gd name="connsiteX7" fmla="*/ 30449 w 89556"/>
                <a:gd name="connsiteY7" fmla="*/ 45674 h 138812"/>
                <a:gd name="connsiteX8" fmla="*/ 87317 w 89556"/>
                <a:gd name="connsiteY8" fmla="*/ 448 h 138812"/>
                <a:gd name="connsiteX9" fmla="*/ 89556 w 89556"/>
                <a:gd name="connsiteY9" fmla="*/ 0 h 138812"/>
                <a:gd name="connsiteX10" fmla="*/ 90900 w 89556"/>
                <a:gd name="connsiteY10" fmla="*/ 2239 h 138812"/>
                <a:gd name="connsiteX11" fmla="*/ 90900 w 89556"/>
                <a:gd name="connsiteY11" fmla="*/ 136573 h 138812"/>
                <a:gd name="connsiteX12" fmla="*/ 89556 w 89556"/>
                <a:gd name="connsiteY12" fmla="*/ 138812 h 138812"/>
                <a:gd name="connsiteX13" fmla="*/ 88661 w 89556"/>
                <a:gd name="connsiteY13" fmla="*/ 138812 h 138812"/>
                <a:gd name="connsiteX14" fmla="*/ 4478 w 89556"/>
                <a:gd name="connsiteY14" fmla="*/ 88661 h 138812"/>
                <a:gd name="connsiteX15" fmla="*/ 30897 w 89556"/>
                <a:gd name="connsiteY15" fmla="*/ 88661 h 138812"/>
                <a:gd name="connsiteX16" fmla="*/ 32240 w 89556"/>
                <a:gd name="connsiteY16" fmla="*/ 89109 h 138812"/>
                <a:gd name="connsiteX17" fmla="*/ 85974 w 89556"/>
                <a:gd name="connsiteY17" fmla="*/ 132096 h 138812"/>
                <a:gd name="connsiteX18" fmla="*/ 85974 w 89556"/>
                <a:gd name="connsiteY18" fmla="*/ 6717 h 138812"/>
                <a:gd name="connsiteX19" fmla="*/ 32240 w 89556"/>
                <a:gd name="connsiteY19" fmla="*/ 49704 h 138812"/>
                <a:gd name="connsiteX20" fmla="*/ 30897 w 89556"/>
                <a:gd name="connsiteY20" fmla="*/ 50151 h 138812"/>
                <a:gd name="connsiteX21" fmla="*/ 4478 w 89556"/>
                <a:gd name="connsiteY21" fmla="*/ 50151 h 138812"/>
                <a:gd name="connsiteX22" fmla="*/ 4478 w 89556"/>
                <a:gd name="connsiteY22" fmla="*/ 88661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56" h="138812">
                  <a:moveTo>
                    <a:pt x="88661" y="138812"/>
                  </a:moveTo>
                  <a:cubicBezTo>
                    <a:pt x="88213" y="138812"/>
                    <a:pt x="87765" y="138812"/>
                    <a:pt x="87317" y="138365"/>
                  </a:cubicBezTo>
                  <a:lnTo>
                    <a:pt x="30449" y="93139"/>
                  </a:lnTo>
                  <a:lnTo>
                    <a:pt x="2239" y="93139"/>
                  </a:lnTo>
                  <a:cubicBezTo>
                    <a:pt x="896" y="93139"/>
                    <a:pt x="0" y="92243"/>
                    <a:pt x="0" y="90900"/>
                  </a:cubicBezTo>
                  <a:lnTo>
                    <a:pt x="0" y="47912"/>
                  </a:lnTo>
                  <a:cubicBezTo>
                    <a:pt x="0" y="46569"/>
                    <a:pt x="896" y="45674"/>
                    <a:pt x="2239" y="45674"/>
                  </a:cubicBezTo>
                  <a:lnTo>
                    <a:pt x="30449" y="45674"/>
                  </a:lnTo>
                  <a:lnTo>
                    <a:pt x="87317" y="448"/>
                  </a:lnTo>
                  <a:cubicBezTo>
                    <a:pt x="88213" y="0"/>
                    <a:pt x="89109" y="0"/>
                    <a:pt x="89556" y="0"/>
                  </a:cubicBezTo>
                  <a:cubicBezTo>
                    <a:pt x="90452" y="448"/>
                    <a:pt x="90900" y="1344"/>
                    <a:pt x="90900" y="2239"/>
                  </a:cubicBezTo>
                  <a:lnTo>
                    <a:pt x="90900" y="136573"/>
                  </a:lnTo>
                  <a:cubicBezTo>
                    <a:pt x="90900" y="137469"/>
                    <a:pt x="90452" y="138365"/>
                    <a:pt x="89556" y="138812"/>
                  </a:cubicBezTo>
                  <a:cubicBezTo>
                    <a:pt x="89109" y="138812"/>
                    <a:pt x="88661" y="138812"/>
                    <a:pt x="88661" y="138812"/>
                  </a:cubicBezTo>
                  <a:close/>
                  <a:moveTo>
                    <a:pt x="4478" y="88661"/>
                  </a:moveTo>
                  <a:lnTo>
                    <a:pt x="30897" y="88661"/>
                  </a:lnTo>
                  <a:cubicBezTo>
                    <a:pt x="31345" y="88661"/>
                    <a:pt x="31793" y="88661"/>
                    <a:pt x="32240" y="89109"/>
                  </a:cubicBezTo>
                  <a:lnTo>
                    <a:pt x="85974" y="132096"/>
                  </a:lnTo>
                  <a:lnTo>
                    <a:pt x="85974" y="6717"/>
                  </a:lnTo>
                  <a:lnTo>
                    <a:pt x="32240" y="49704"/>
                  </a:lnTo>
                  <a:cubicBezTo>
                    <a:pt x="31793" y="50151"/>
                    <a:pt x="31345" y="50151"/>
                    <a:pt x="30897" y="50151"/>
                  </a:cubicBezTo>
                  <a:lnTo>
                    <a:pt x="4478" y="50151"/>
                  </a:lnTo>
                  <a:lnTo>
                    <a:pt x="4478" y="88661"/>
                  </a:lnTo>
                  <a:close/>
                </a:path>
              </a:pathLst>
            </a:custGeom>
            <a:solidFill>
              <a:srgbClr val="231F20"/>
            </a:solidFill>
            <a:ln w="4474" cap="flat">
              <a:noFill/>
              <a:prstDash val="solid"/>
              <a:miter/>
            </a:ln>
          </p:spPr>
          <p:txBody>
            <a:bodyPr rtlCol="0" anchor="ctr"/>
            <a:lstStyle/>
            <a:p>
              <a:endParaRPr lang="en-US"/>
            </a:p>
          </p:txBody>
        </p:sp>
      </p:grpSp>
      <p:grpSp>
        <p:nvGrpSpPr>
          <p:cNvPr id="4855" name="Group 4854">
            <a:extLst>
              <a:ext uri="{FF2B5EF4-FFF2-40B4-BE49-F238E27FC236}">
                <a16:creationId xmlns:a16="http://schemas.microsoft.com/office/drawing/2014/main" id="{C2ADE6B0-0638-4B78-8FCC-F8B9EEFEBB8F}"/>
              </a:ext>
              <a:ext uri="{C183D7F6-B498-43B3-948B-1728B52AA6E4}">
                <adec:decorative xmlns:adec="http://schemas.microsoft.com/office/drawing/2017/decorative" val="1"/>
              </a:ext>
            </a:extLst>
          </p:cNvPr>
          <p:cNvGrpSpPr>
            <a:grpSpLocks noChangeAspect="1"/>
          </p:cNvGrpSpPr>
          <p:nvPr/>
        </p:nvGrpSpPr>
        <p:grpSpPr>
          <a:xfrm>
            <a:off x="9531238" y="2787903"/>
            <a:ext cx="135901" cy="129857"/>
            <a:chOff x="3750585" y="6247089"/>
            <a:chExt cx="135901" cy="129857"/>
          </a:xfrm>
        </p:grpSpPr>
        <p:sp>
          <p:nvSpPr>
            <p:cNvPr id="4856" name="Freeform: Shape 4855">
              <a:extLst>
                <a:ext uri="{FF2B5EF4-FFF2-40B4-BE49-F238E27FC236}">
                  <a16:creationId xmlns:a16="http://schemas.microsoft.com/office/drawing/2014/main" id="{14E4604E-F843-40FE-9CA3-1979843FAD6E}"/>
                </a:ext>
              </a:extLst>
            </p:cNvPr>
            <p:cNvSpPr/>
            <p:nvPr/>
          </p:nvSpPr>
          <p:spPr>
            <a:xfrm>
              <a:off x="3868575" y="6269254"/>
              <a:ext cx="17911" cy="80601"/>
            </a:xfrm>
            <a:custGeom>
              <a:avLst/>
              <a:gdLst>
                <a:gd name="connsiteX0" fmla="*/ 2463 w 17911"/>
                <a:gd name="connsiteY0" fmla="*/ 84855 h 80600"/>
                <a:gd name="connsiteX1" fmla="*/ 672 w 17911"/>
                <a:gd name="connsiteY1" fmla="*/ 83959 h 80600"/>
                <a:gd name="connsiteX2" fmla="*/ 672 w 17911"/>
                <a:gd name="connsiteY2" fmla="*/ 80825 h 80600"/>
                <a:gd name="connsiteX3" fmla="*/ 17240 w 17911"/>
                <a:gd name="connsiteY3" fmla="*/ 42315 h 80600"/>
                <a:gd name="connsiteX4" fmla="*/ 672 w 17911"/>
                <a:gd name="connsiteY4" fmla="*/ 3806 h 80600"/>
                <a:gd name="connsiteX5" fmla="*/ 672 w 17911"/>
                <a:gd name="connsiteY5" fmla="*/ 672 h 80600"/>
                <a:gd name="connsiteX6" fmla="*/ 3806 w 17911"/>
                <a:gd name="connsiteY6" fmla="*/ 672 h 80600"/>
                <a:gd name="connsiteX7" fmla="*/ 21718 w 17911"/>
                <a:gd name="connsiteY7" fmla="*/ 42763 h 80600"/>
                <a:gd name="connsiteX8" fmla="*/ 3806 w 17911"/>
                <a:gd name="connsiteY8" fmla="*/ 84855 h 80600"/>
                <a:gd name="connsiteX9" fmla="*/ 2463 w 17911"/>
                <a:gd name="connsiteY9" fmla="*/ 84855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80600">
                  <a:moveTo>
                    <a:pt x="2463" y="84855"/>
                  </a:moveTo>
                  <a:cubicBezTo>
                    <a:pt x="2015" y="84855"/>
                    <a:pt x="1119" y="84407"/>
                    <a:pt x="672" y="83959"/>
                  </a:cubicBezTo>
                  <a:cubicBezTo>
                    <a:pt x="-224" y="83063"/>
                    <a:pt x="-224" y="81720"/>
                    <a:pt x="672" y="80825"/>
                  </a:cubicBezTo>
                  <a:cubicBezTo>
                    <a:pt x="11418" y="70526"/>
                    <a:pt x="17240" y="57092"/>
                    <a:pt x="17240" y="42315"/>
                  </a:cubicBezTo>
                  <a:cubicBezTo>
                    <a:pt x="17240" y="27538"/>
                    <a:pt x="11418" y="13657"/>
                    <a:pt x="672" y="3806"/>
                  </a:cubicBezTo>
                  <a:cubicBezTo>
                    <a:pt x="-224" y="2910"/>
                    <a:pt x="-224" y="1567"/>
                    <a:pt x="672" y="672"/>
                  </a:cubicBezTo>
                  <a:cubicBezTo>
                    <a:pt x="1567" y="-224"/>
                    <a:pt x="2911" y="-224"/>
                    <a:pt x="3806" y="672"/>
                  </a:cubicBezTo>
                  <a:cubicBezTo>
                    <a:pt x="15448" y="11866"/>
                    <a:pt x="21718" y="26643"/>
                    <a:pt x="21718" y="42763"/>
                  </a:cubicBezTo>
                  <a:cubicBezTo>
                    <a:pt x="21718" y="58883"/>
                    <a:pt x="15448" y="73660"/>
                    <a:pt x="3806" y="84855"/>
                  </a:cubicBezTo>
                  <a:cubicBezTo>
                    <a:pt x="3358" y="84407"/>
                    <a:pt x="2911" y="84855"/>
                    <a:pt x="2463" y="84855"/>
                  </a:cubicBezTo>
                  <a:close/>
                </a:path>
              </a:pathLst>
            </a:custGeom>
            <a:solidFill>
              <a:srgbClr val="231F20"/>
            </a:solidFill>
            <a:ln w="4474" cap="flat">
              <a:noFill/>
              <a:prstDash val="solid"/>
              <a:miter/>
            </a:ln>
          </p:spPr>
          <p:txBody>
            <a:bodyPr rtlCol="0" anchor="ctr"/>
            <a:lstStyle/>
            <a:p>
              <a:endParaRPr lang="en-US"/>
            </a:p>
          </p:txBody>
        </p:sp>
        <p:sp>
          <p:nvSpPr>
            <p:cNvPr id="4857" name="Freeform: Shape 4856">
              <a:extLst>
                <a:ext uri="{FF2B5EF4-FFF2-40B4-BE49-F238E27FC236}">
                  <a16:creationId xmlns:a16="http://schemas.microsoft.com/office/drawing/2014/main" id="{0F7CB4A2-934A-4912-B512-E03D43D17503}"/>
                </a:ext>
              </a:extLst>
            </p:cNvPr>
            <p:cNvSpPr/>
            <p:nvPr/>
          </p:nvSpPr>
          <p:spPr>
            <a:xfrm>
              <a:off x="3847082" y="6291643"/>
              <a:ext cx="8956" cy="35823"/>
            </a:xfrm>
            <a:custGeom>
              <a:avLst/>
              <a:gdLst>
                <a:gd name="connsiteX0" fmla="*/ 2463 w 8955"/>
                <a:gd name="connsiteY0" fmla="*/ 40077 h 35822"/>
                <a:gd name="connsiteX1" fmla="*/ 672 w 8955"/>
                <a:gd name="connsiteY1" fmla="*/ 39181 h 35822"/>
                <a:gd name="connsiteX2" fmla="*/ 672 w 8955"/>
                <a:gd name="connsiteY2" fmla="*/ 36046 h 35822"/>
                <a:gd name="connsiteX3" fmla="*/ 7836 w 8955"/>
                <a:gd name="connsiteY3" fmla="*/ 19926 h 35822"/>
                <a:gd name="connsiteX4" fmla="*/ 672 w 8955"/>
                <a:gd name="connsiteY4" fmla="*/ 3806 h 35822"/>
                <a:gd name="connsiteX5" fmla="*/ 672 w 8955"/>
                <a:gd name="connsiteY5" fmla="*/ 672 h 35822"/>
                <a:gd name="connsiteX6" fmla="*/ 3806 w 8955"/>
                <a:gd name="connsiteY6" fmla="*/ 672 h 35822"/>
                <a:gd name="connsiteX7" fmla="*/ 12314 w 8955"/>
                <a:gd name="connsiteY7" fmla="*/ 20374 h 35822"/>
                <a:gd name="connsiteX8" fmla="*/ 3806 w 8955"/>
                <a:gd name="connsiteY8" fmla="*/ 40077 h 35822"/>
                <a:gd name="connsiteX9" fmla="*/ 2463 w 8955"/>
                <a:gd name="connsiteY9" fmla="*/ 4007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35822">
                  <a:moveTo>
                    <a:pt x="2463" y="40077"/>
                  </a:moveTo>
                  <a:cubicBezTo>
                    <a:pt x="2015" y="40077"/>
                    <a:pt x="1119" y="39629"/>
                    <a:pt x="672" y="39181"/>
                  </a:cubicBezTo>
                  <a:cubicBezTo>
                    <a:pt x="-224" y="38285"/>
                    <a:pt x="-224" y="36942"/>
                    <a:pt x="672" y="36046"/>
                  </a:cubicBezTo>
                  <a:cubicBezTo>
                    <a:pt x="5150" y="31569"/>
                    <a:pt x="7836" y="26195"/>
                    <a:pt x="7836" y="19926"/>
                  </a:cubicBezTo>
                  <a:cubicBezTo>
                    <a:pt x="7836" y="13657"/>
                    <a:pt x="5150" y="7836"/>
                    <a:pt x="672" y="3806"/>
                  </a:cubicBezTo>
                  <a:cubicBezTo>
                    <a:pt x="-224" y="2910"/>
                    <a:pt x="-224" y="1567"/>
                    <a:pt x="672" y="672"/>
                  </a:cubicBezTo>
                  <a:cubicBezTo>
                    <a:pt x="1567" y="-224"/>
                    <a:pt x="2911" y="-224"/>
                    <a:pt x="3806" y="672"/>
                  </a:cubicBezTo>
                  <a:cubicBezTo>
                    <a:pt x="9179" y="5598"/>
                    <a:pt x="12314" y="12762"/>
                    <a:pt x="12314" y="20374"/>
                  </a:cubicBezTo>
                  <a:cubicBezTo>
                    <a:pt x="12314" y="27987"/>
                    <a:pt x="9179" y="34703"/>
                    <a:pt x="3806" y="40077"/>
                  </a:cubicBezTo>
                  <a:cubicBezTo>
                    <a:pt x="3806" y="39629"/>
                    <a:pt x="3358" y="40077"/>
                    <a:pt x="2463" y="40077"/>
                  </a:cubicBezTo>
                  <a:close/>
                </a:path>
              </a:pathLst>
            </a:custGeom>
            <a:solidFill>
              <a:srgbClr val="231F20"/>
            </a:solidFill>
            <a:ln w="4474" cap="flat">
              <a:noFill/>
              <a:prstDash val="solid"/>
              <a:miter/>
            </a:ln>
          </p:spPr>
          <p:txBody>
            <a:bodyPr rtlCol="0" anchor="ctr"/>
            <a:lstStyle/>
            <a:p>
              <a:endParaRPr lang="en-US"/>
            </a:p>
          </p:txBody>
        </p:sp>
        <p:sp>
          <p:nvSpPr>
            <p:cNvPr id="4858" name="Freeform: Shape 4857">
              <a:extLst>
                <a:ext uri="{FF2B5EF4-FFF2-40B4-BE49-F238E27FC236}">
                  <a16:creationId xmlns:a16="http://schemas.microsoft.com/office/drawing/2014/main" id="{1B0A85C2-A98A-4FE3-A42F-6EC48C1B66E9}"/>
                </a:ext>
              </a:extLst>
            </p:cNvPr>
            <p:cNvSpPr/>
            <p:nvPr/>
          </p:nvSpPr>
          <p:spPr>
            <a:xfrm>
              <a:off x="3857828" y="6280448"/>
              <a:ext cx="13433" cy="58212"/>
            </a:xfrm>
            <a:custGeom>
              <a:avLst/>
              <a:gdLst>
                <a:gd name="connsiteX0" fmla="*/ 2463 w 13433"/>
                <a:gd name="connsiteY0" fmla="*/ 62466 h 58211"/>
                <a:gd name="connsiteX1" fmla="*/ 672 w 13433"/>
                <a:gd name="connsiteY1" fmla="*/ 61570 h 58211"/>
                <a:gd name="connsiteX2" fmla="*/ 672 w 13433"/>
                <a:gd name="connsiteY2" fmla="*/ 58435 h 58211"/>
                <a:gd name="connsiteX3" fmla="*/ 12762 w 13433"/>
                <a:gd name="connsiteY3" fmla="*/ 31121 h 58211"/>
                <a:gd name="connsiteX4" fmla="*/ 672 w 13433"/>
                <a:gd name="connsiteY4" fmla="*/ 3806 h 58211"/>
                <a:gd name="connsiteX5" fmla="*/ 672 w 13433"/>
                <a:gd name="connsiteY5" fmla="*/ 672 h 58211"/>
                <a:gd name="connsiteX6" fmla="*/ 3806 w 13433"/>
                <a:gd name="connsiteY6" fmla="*/ 672 h 58211"/>
                <a:gd name="connsiteX7" fmla="*/ 17240 w 13433"/>
                <a:gd name="connsiteY7" fmla="*/ 31569 h 58211"/>
                <a:gd name="connsiteX8" fmla="*/ 3806 w 13433"/>
                <a:gd name="connsiteY8" fmla="*/ 62466 h 58211"/>
                <a:gd name="connsiteX9" fmla="*/ 2463 w 13433"/>
                <a:gd name="connsiteY9" fmla="*/ 6246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2463" y="62466"/>
                  </a:moveTo>
                  <a:cubicBezTo>
                    <a:pt x="2015" y="62466"/>
                    <a:pt x="1120" y="62018"/>
                    <a:pt x="672" y="61570"/>
                  </a:cubicBezTo>
                  <a:cubicBezTo>
                    <a:pt x="-224" y="60674"/>
                    <a:pt x="-224" y="59331"/>
                    <a:pt x="672" y="58435"/>
                  </a:cubicBezTo>
                  <a:cubicBezTo>
                    <a:pt x="8284" y="51271"/>
                    <a:pt x="12762" y="41420"/>
                    <a:pt x="12762" y="31121"/>
                  </a:cubicBezTo>
                  <a:cubicBezTo>
                    <a:pt x="12762" y="20822"/>
                    <a:pt x="8732" y="10971"/>
                    <a:pt x="672" y="3806"/>
                  </a:cubicBezTo>
                  <a:cubicBezTo>
                    <a:pt x="-224" y="2910"/>
                    <a:pt x="-224" y="1567"/>
                    <a:pt x="672" y="672"/>
                  </a:cubicBezTo>
                  <a:cubicBezTo>
                    <a:pt x="1567" y="-224"/>
                    <a:pt x="2911" y="-224"/>
                    <a:pt x="3806" y="672"/>
                  </a:cubicBezTo>
                  <a:cubicBezTo>
                    <a:pt x="12314" y="8732"/>
                    <a:pt x="17240" y="19479"/>
                    <a:pt x="17240" y="31569"/>
                  </a:cubicBezTo>
                  <a:cubicBezTo>
                    <a:pt x="17240" y="43211"/>
                    <a:pt x="12314" y="54405"/>
                    <a:pt x="3806" y="62466"/>
                  </a:cubicBezTo>
                  <a:cubicBezTo>
                    <a:pt x="3359" y="62018"/>
                    <a:pt x="2911" y="62466"/>
                    <a:pt x="2463" y="62466"/>
                  </a:cubicBezTo>
                  <a:close/>
                </a:path>
              </a:pathLst>
            </a:custGeom>
            <a:solidFill>
              <a:srgbClr val="231F20"/>
            </a:solidFill>
            <a:ln w="4474" cap="flat">
              <a:noFill/>
              <a:prstDash val="solid"/>
              <a:miter/>
            </a:ln>
          </p:spPr>
          <p:txBody>
            <a:bodyPr rtlCol="0" anchor="ctr"/>
            <a:lstStyle/>
            <a:p>
              <a:endParaRPr lang="en-US"/>
            </a:p>
          </p:txBody>
        </p:sp>
        <p:sp>
          <p:nvSpPr>
            <p:cNvPr id="4859" name="Freeform: Shape 4858">
              <a:extLst>
                <a:ext uri="{FF2B5EF4-FFF2-40B4-BE49-F238E27FC236}">
                  <a16:creationId xmlns:a16="http://schemas.microsoft.com/office/drawing/2014/main" id="{C711F100-A58E-4F6D-92F2-DC8774ADBAEB}"/>
                </a:ext>
              </a:extLst>
            </p:cNvPr>
            <p:cNvSpPr/>
            <p:nvPr/>
          </p:nvSpPr>
          <p:spPr>
            <a:xfrm>
              <a:off x="3750585" y="6247089"/>
              <a:ext cx="85079" cy="129857"/>
            </a:xfrm>
            <a:custGeom>
              <a:avLst/>
              <a:gdLst>
                <a:gd name="connsiteX0" fmla="*/ 85526 w 85078"/>
                <a:gd name="connsiteY0" fmla="*/ 129857 h 129856"/>
                <a:gd name="connsiteX1" fmla="*/ 84183 w 85078"/>
                <a:gd name="connsiteY1" fmla="*/ 129409 h 129856"/>
                <a:gd name="connsiteX2" fmla="*/ 32240 w 85078"/>
                <a:gd name="connsiteY2" fmla="*/ 88661 h 129856"/>
                <a:gd name="connsiteX3" fmla="*/ 2239 w 85078"/>
                <a:gd name="connsiteY3" fmla="*/ 88661 h 129856"/>
                <a:gd name="connsiteX4" fmla="*/ 0 w 85078"/>
                <a:gd name="connsiteY4" fmla="*/ 86422 h 129856"/>
                <a:gd name="connsiteX5" fmla="*/ 0 w 85078"/>
                <a:gd name="connsiteY5" fmla="*/ 43435 h 129856"/>
                <a:gd name="connsiteX6" fmla="*/ 2239 w 85078"/>
                <a:gd name="connsiteY6" fmla="*/ 41196 h 129856"/>
                <a:gd name="connsiteX7" fmla="*/ 32240 w 85078"/>
                <a:gd name="connsiteY7" fmla="*/ 41196 h 129856"/>
                <a:gd name="connsiteX8" fmla="*/ 84183 w 85078"/>
                <a:gd name="connsiteY8" fmla="*/ 448 h 129856"/>
                <a:gd name="connsiteX9" fmla="*/ 86422 w 85078"/>
                <a:gd name="connsiteY9" fmla="*/ 0 h 129856"/>
                <a:gd name="connsiteX10" fmla="*/ 87765 w 85078"/>
                <a:gd name="connsiteY10" fmla="*/ 2239 h 129856"/>
                <a:gd name="connsiteX11" fmla="*/ 87765 w 85078"/>
                <a:gd name="connsiteY11" fmla="*/ 128065 h 129856"/>
                <a:gd name="connsiteX12" fmla="*/ 86422 w 85078"/>
                <a:gd name="connsiteY12" fmla="*/ 130304 h 129856"/>
                <a:gd name="connsiteX13" fmla="*/ 85526 w 85078"/>
                <a:gd name="connsiteY13" fmla="*/ 129857 h 129856"/>
                <a:gd name="connsiteX14" fmla="*/ 4478 w 85078"/>
                <a:gd name="connsiteY14" fmla="*/ 83736 h 129856"/>
                <a:gd name="connsiteX15" fmla="*/ 33136 w 85078"/>
                <a:gd name="connsiteY15" fmla="*/ 83736 h 129856"/>
                <a:gd name="connsiteX16" fmla="*/ 34479 w 85078"/>
                <a:gd name="connsiteY16" fmla="*/ 84183 h 129856"/>
                <a:gd name="connsiteX17" fmla="*/ 83287 w 85078"/>
                <a:gd name="connsiteY17" fmla="*/ 122692 h 129856"/>
                <a:gd name="connsiteX18" fmla="*/ 83287 w 85078"/>
                <a:gd name="connsiteY18" fmla="*/ 5821 h 129856"/>
                <a:gd name="connsiteX19" fmla="*/ 34479 w 85078"/>
                <a:gd name="connsiteY19" fmla="*/ 44331 h 129856"/>
                <a:gd name="connsiteX20" fmla="*/ 33136 w 85078"/>
                <a:gd name="connsiteY20" fmla="*/ 44778 h 129856"/>
                <a:gd name="connsiteX21" fmla="*/ 4478 w 85078"/>
                <a:gd name="connsiteY21" fmla="*/ 44778 h 129856"/>
                <a:gd name="connsiteX22" fmla="*/ 4478 w 85078"/>
                <a:gd name="connsiteY22" fmla="*/ 8373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129856">
                  <a:moveTo>
                    <a:pt x="85526" y="129857"/>
                  </a:moveTo>
                  <a:cubicBezTo>
                    <a:pt x="85079" y="129857"/>
                    <a:pt x="84631" y="129857"/>
                    <a:pt x="84183" y="129409"/>
                  </a:cubicBezTo>
                  <a:lnTo>
                    <a:pt x="32240" y="88661"/>
                  </a:lnTo>
                  <a:lnTo>
                    <a:pt x="2239" y="88661"/>
                  </a:lnTo>
                  <a:cubicBezTo>
                    <a:pt x="896" y="88661"/>
                    <a:pt x="0" y="87765"/>
                    <a:pt x="0" y="86422"/>
                  </a:cubicBezTo>
                  <a:lnTo>
                    <a:pt x="0" y="43435"/>
                  </a:lnTo>
                  <a:cubicBezTo>
                    <a:pt x="0" y="42092"/>
                    <a:pt x="896" y="41196"/>
                    <a:pt x="2239" y="41196"/>
                  </a:cubicBezTo>
                  <a:lnTo>
                    <a:pt x="32240" y="41196"/>
                  </a:lnTo>
                  <a:lnTo>
                    <a:pt x="84183" y="448"/>
                  </a:lnTo>
                  <a:cubicBezTo>
                    <a:pt x="85079" y="0"/>
                    <a:pt x="85974" y="0"/>
                    <a:pt x="86422" y="0"/>
                  </a:cubicBezTo>
                  <a:cubicBezTo>
                    <a:pt x="87317" y="448"/>
                    <a:pt x="87765" y="1344"/>
                    <a:pt x="87765" y="2239"/>
                  </a:cubicBezTo>
                  <a:lnTo>
                    <a:pt x="87765" y="128065"/>
                  </a:lnTo>
                  <a:cubicBezTo>
                    <a:pt x="87765" y="128961"/>
                    <a:pt x="87317" y="129857"/>
                    <a:pt x="86422" y="130304"/>
                  </a:cubicBezTo>
                  <a:cubicBezTo>
                    <a:pt x="85974" y="129409"/>
                    <a:pt x="85526" y="129857"/>
                    <a:pt x="85526" y="129857"/>
                  </a:cubicBezTo>
                  <a:close/>
                  <a:moveTo>
                    <a:pt x="4478" y="83736"/>
                  </a:moveTo>
                  <a:lnTo>
                    <a:pt x="33136" y="83736"/>
                  </a:lnTo>
                  <a:cubicBezTo>
                    <a:pt x="33584" y="83736"/>
                    <a:pt x="34031" y="83736"/>
                    <a:pt x="34479" y="84183"/>
                  </a:cubicBezTo>
                  <a:lnTo>
                    <a:pt x="83287" y="122692"/>
                  </a:lnTo>
                  <a:lnTo>
                    <a:pt x="83287" y="5821"/>
                  </a:lnTo>
                  <a:lnTo>
                    <a:pt x="34479" y="44331"/>
                  </a:lnTo>
                  <a:cubicBezTo>
                    <a:pt x="34031" y="44778"/>
                    <a:pt x="33584" y="44778"/>
                    <a:pt x="33136" y="44778"/>
                  </a:cubicBezTo>
                  <a:lnTo>
                    <a:pt x="4478" y="44778"/>
                  </a:lnTo>
                  <a:lnTo>
                    <a:pt x="4478" y="83736"/>
                  </a:lnTo>
                  <a:close/>
                </a:path>
              </a:pathLst>
            </a:custGeom>
            <a:solidFill>
              <a:srgbClr val="231F20"/>
            </a:solidFill>
            <a:ln w="4474" cap="flat">
              <a:noFill/>
              <a:prstDash val="solid"/>
              <a:miter/>
            </a:ln>
          </p:spPr>
          <p:txBody>
            <a:bodyPr rtlCol="0" anchor="ctr"/>
            <a:lstStyle/>
            <a:p>
              <a:endParaRPr lang="en-US"/>
            </a:p>
          </p:txBody>
        </p:sp>
      </p:grpSp>
      <p:grpSp>
        <p:nvGrpSpPr>
          <p:cNvPr id="4860" name="Group 4859">
            <a:extLst>
              <a:ext uri="{FF2B5EF4-FFF2-40B4-BE49-F238E27FC236}">
                <a16:creationId xmlns:a16="http://schemas.microsoft.com/office/drawing/2014/main" id="{14629A9B-BFED-495F-890C-87C284BDCF6A}"/>
              </a:ext>
              <a:ext uri="{C183D7F6-B498-43B3-948B-1728B52AA6E4}">
                <adec:decorative xmlns:adec="http://schemas.microsoft.com/office/drawing/2017/decorative" val="1"/>
              </a:ext>
            </a:extLst>
          </p:cNvPr>
          <p:cNvGrpSpPr>
            <a:grpSpLocks noChangeAspect="1"/>
          </p:cNvGrpSpPr>
          <p:nvPr/>
        </p:nvGrpSpPr>
        <p:grpSpPr>
          <a:xfrm>
            <a:off x="9271524" y="2787903"/>
            <a:ext cx="120677" cy="129857"/>
            <a:chOff x="3490871" y="6247089"/>
            <a:chExt cx="120677" cy="129857"/>
          </a:xfrm>
        </p:grpSpPr>
        <p:sp>
          <p:nvSpPr>
            <p:cNvPr id="4861" name="Freeform: Shape 4860">
              <a:extLst>
                <a:ext uri="{FF2B5EF4-FFF2-40B4-BE49-F238E27FC236}">
                  <a16:creationId xmlns:a16="http://schemas.microsoft.com/office/drawing/2014/main" id="{3816DA2B-C437-4A53-887B-9B3E1DD0541F}"/>
                </a:ext>
              </a:extLst>
            </p:cNvPr>
            <p:cNvSpPr/>
            <p:nvPr/>
          </p:nvSpPr>
          <p:spPr>
            <a:xfrm>
              <a:off x="3587816" y="6291643"/>
              <a:ext cx="8956" cy="35823"/>
            </a:xfrm>
            <a:custGeom>
              <a:avLst/>
              <a:gdLst>
                <a:gd name="connsiteX0" fmla="*/ 2463 w 8955"/>
                <a:gd name="connsiteY0" fmla="*/ 40077 h 35822"/>
                <a:gd name="connsiteX1" fmla="*/ 672 w 8955"/>
                <a:gd name="connsiteY1" fmla="*/ 39181 h 35822"/>
                <a:gd name="connsiteX2" fmla="*/ 672 w 8955"/>
                <a:gd name="connsiteY2" fmla="*/ 36046 h 35822"/>
                <a:gd name="connsiteX3" fmla="*/ 7836 w 8955"/>
                <a:gd name="connsiteY3" fmla="*/ 19926 h 35822"/>
                <a:gd name="connsiteX4" fmla="*/ 672 w 8955"/>
                <a:gd name="connsiteY4" fmla="*/ 3806 h 35822"/>
                <a:gd name="connsiteX5" fmla="*/ 672 w 8955"/>
                <a:gd name="connsiteY5" fmla="*/ 672 h 35822"/>
                <a:gd name="connsiteX6" fmla="*/ 3806 w 8955"/>
                <a:gd name="connsiteY6" fmla="*/ 672 h 35822"/>
                <a:gd name="connsiteX7" fmla="*/ 12314 w 8955"/>
                <a:gd name="connsiteY7" fmla="*/ 20374 h 35822"/>
                <a:gd name="connsiteX8" fmla="*/ 3806 w 8955"/>
                <a:gd name="connsiteY8" fmla="*/ 40077 h 35822"/>
                <a:gd name="connsiteX9" fmla="*/ 2463 w 8955"/>
                <a:gd name="connsiteY9" fmla="*/ 4007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35822">
                  <a:moveTo>
                    <a:pt x="2463" y="40077"/>
                  </a:moveTo>
                  <a:cubicBezTo>
                    <a:pt x="2015" y="40077"/>
                    <a:pt x="1119" y="39629"/>
                    <a:pt x="672" y="39181"/>
                  </a:cubicBezTo>
                  <a:cubicBezTo>
                    <a:pt x="-224" y="38285"/>
                    <a:pt x="-224" y="36942"/>
                    <a:pt x="672" y="36046"/>
                  </a:cubicBezTo>
                  <a:cubicBezTo>
                    <a:pt x="5150" y="31569"/>
                    <a:pt x="7836" y="26195"/>
                    <a:pt x="7836" y="19926"/>
                  </a:cubicBezTo>
                  <a:cubicBezTo>
                    <a:pt x="7836" y="13657"/>
                    <a:pt x="5150" y="7836"/>
                    <a:pt x="672" y="3806"/>
                  </a:cubicBezTo>
                  <a:cubicBezTo>
                    <a:pt x="-224" y="2910"/>
                    <a:pt x="-224" y="1567"/>
                    <a:pt x="672" y="672"/>
                  </a:cubicBezTo>
                  <a:cubicBezTo>
                    <a:pt x="1567" y="-224"/>
                    <a:pt x="2911" y="-224"/>
                    <a:pt x="3806" y="672"/>
                  </a:cubicBezTo>
                  <a:cubicBezTo>
                    <a:pt x="9180" y="5598"/>
                    <a:pt x="12314" y="12762"/>
                    <a:pt x="12314" y="20374"/>
                  </a:cubicBezTo>
                  <a:cubicBezTo>
                    <a:pt x="12314" y="27987"/>
                    <a:pt x="9180" y="34703"/>
                    <a:pt x="3806" y="40077"/>
                  </a:cubicBezTo>
                  <a:cubicBezTo>
                    <a:pt x="3358" y="39629"/>
                    <a:pt x="2911" y="40077"/>
                    <a:pt x="2463" y="40077"/>
                  </a:cubicBezTo>
                  <a:close/>
                </a:path>
              </a:pathLst>
            </a:custGeom>
            <a:solidFill>
              <a:srgbClr val="231F20"/>
            </a:solidFill>
            <a:ln w="4474" cap="flat">
              <a:noFill/>
              <a:prstDash val="solid"/>
              <a:miter/>
            </a:ln>
          </p:spPr>
          <p:txBody>
            <a:bodyPr rtlCol="0" anchor="ctr"/>
            <a:lstStyle/>
            <a:p>
              <a:endParaRPr lang="en-US"/>
            </a:p>
          </p:txBody>
        </p:sp>
        <p:sp>
          <p:nvSpPr>
            <p:cNvPr id="4862" name="Freeform: Shape 4861">
              <a:extLst>
                <a:ext uri="{FF2B5EF4-FFF2-40B4-BE49-F238E27FC236}">
                  <a16:creationId xmlns:a16="http://schemas.microsoft.com/office/drawing/2014/main" id="{6E837DFD-06F4-43D7-ADDD-C0C9F118BA69}"/>
                </a:ext>
              </a:extLst>
            </p:cNvPr>
            <p:cNvSpPr/>
            <p:nvPr/>
          </p:nvSpPr>
          <p:spPr>
            <a:xfrm>
              <a:off x="3598115" y="6280448"/>
              <a:ext cx="13433" cy="58212"/>
            </a:xfrm>
            <a:custGeom>
              <a:avLst/>
              <a:gdLst>
                <a:gd name="connsiteX0" fmla="*/ 2463 w 13433"/>
                <a:gd name="connsiteY0" fmla="*/ 62466 h 58211"/>
                <a:gd name="connsiteX1" fmla="*/ 672 w 13433"/>
                <a:gd name="connsiteY1" fmla="*/ 61570 h 58211"/>
                <a:gd name="connsiteX2" fmla="*/ 672 w 13433"/>
                <a:gd name="connsiteY2" fmla="*/ 58435 h 58211"/>
                <a:gd name="connsiteX3" fmla="*/ 12762 w 13433"/>
                <a:gd name="connsiteY3" fmla="*/ 31121 h 58211"/>
                <a:gd name="connsiteX4" fmla="*/ 672 w 13433"/>
                <a:gd name="connsiteY4" fmla="*/ 3806 h 58211"/>
                <a:gd name="connsiteX5" fmla="*/ 672 w 13433"/>
                <a:gd name="connsiteY5" fmla="*/ 672 h 58211"/>
                <a:gd name="connsiteX6" fmla="*/ 3806 w 13433"/>
                <a:gd name="connsiteY6" fmla="*/ 672 h 58211"/>
                <a:gd name="connsiteX7" fmla="*/ 17240 w 13433"/>
                <a:gd name="connsiteY7" fmla="*/ 31569 h 58211"/>
                <a:gd name="connsiteX8" fmla="*/ 3806 w 13433"/>
                <a:gd name="connsiteY8" fmla="*/ 62466 h 58211"/>
                <a:gd name="connsiteX9" fmla="*/ 2463 w 13433"/>
                <a:gd name="connsiteY9" fmla="*/ 6246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3" h="58211">
                  <a:moveTo>
                    <a:pt x="2463" y="62466"/>
                  </a:moveTo>
                  <a:cubicBezTo>
                    <a:pt x="2015" y="62466"/>
                    <a:pt x="1120" y="62018"/>
                    <a:pt x="672" y="61570"/>
                  </a:cubicBezTo>
                  <a:cubicBezTo>
                    <a:pt x="-224" y="60674"/>
                    <a:pt x="-224" y="59331"/>
                    <a:pt x="672" y="58435"/>
                  </a:cubicBezTo>
                  <a:cubicBezTo>
                    <a:pt x="8284" y="51271"/>
                    <a:pt x="12762" y="41420"/>
                    <a:pt x="12762" y="31121"/>
                  </a:cubicBezTo>
                  <a:cubicBezTo>
                    <a:pt x="12762" y="20822"/>
                    <a:pt x="8732" y="10971"/>
                    <a:pt x="672" y="3806"/>
                  </a:cubicBezTo>
                  <a:cubicBezTo>
                    <a:pt x="-224" y="2910"/>
                    <a:pt x="-224" y="1567"/>
                    <a:pt x="672" y="672"/>
                  </a:cubicBezTo>
                  <a:cubicBezTo>
                    <a:pt x="1567" y="-224"/>
                    <a:pt x="2911" y="-224"/>
                    <a:pt x="3806" y="672"/>
                  </a:cubicBezTo>
                  <a:cubicBezTo>
                    <a:pt x="12314" y="8732"/>
                    <a:pt x="17240" y="19479"/>
                    <a:pt x="17240" y="31569"/>
                  </a:cubicBezTo>
                  <a:cubicBezTo>
                    <a:pt x="17240" y="43211"/>
                    <a:pt x="12314" y="54405"/>
                    <a:pt x="3806" y="62466"/>
                  </a:cubicBezTo>
                  <a:cubicBezTo>
                    <a:pt x="3806" y="62018"/>
                    <a:pt x="2911" y="62466"/>
                    <a:pt x="2463" y="62466"/>
                  </a:cubicBezTo>
                  <a:close/>
                </a:path>
              </a:pathLst>
            </a:custGeom>
            <a:solidFill>
              <a:srgbClr val="231F20"/>
            </a:solidFill>
            <a:ln w="4474" cap="flat">
              <a:noFill/>
              <a:prstDash val="solid"/>
              <a:miter/>
            </a:ln>
          </p:spPr>
          <p:txBody>
            <a:bodyPr rtlCol="0" anchor="ctr"/>
            <a:lstStyle/>
            <a:p>
              <a:endParaRPr lang="en-US"/>
            </a:p>
          </p:txBody>
        </p:sp>
        <p:sp>
          <p:nvSpPr>
            <p:cNvPr id="4863" name="Freeform: Shape 4862">
              <a:extLst>
                <a:ext uri="{FF2B5EF4-FFF2-40B4-BE49-F238E27FC236}">
                  <a16:creationId xmlns:a16="http://schemas.microsoft.com/office/drawing/2014/main" id="{0A91BE13-5EC2-4ACC-8EC9-89C747302A88}"/>
                </a:ext>
              </a:extLst>
            </p:cNvPr>
            <p:cNvSpPr/>
            <p:nvPr/>
          </p:nvSpPr>
          <p:spPr>
            <a:xfrm>
              <a:off x="3490871" y="6247089"/>
              <a:ext cx="85079" cy="129857"/>
            </a:xfrm>
            <a:custGeom>
              <a:avLst/>
              <a:gdLst>
                <a:gd name="connsiteX0" fmla="*/ 85526 w 85078"/>
                <a:gd name="connsiteY0" fmla="*/ 129857 h 129856"/>
                <a:gd name="connsiteX1" fmla="*/ 84183 w 85078"/>
                <a:gd name="connsiteY1" fmla="*/ 129409 h 129856"/>
                <a:gd name="connsiteX2" fmla="*/ 32240 w 85078"/>
                <a:gd name="connsiteY2" fmla="*/ 88661 h 129856"/>
                <a:gd name="connsiteX3" fmla="*/ 2239 w 85078"/>
                <a:gd name="connsiteY3" fmla="*/ 88661 h 129856"/>
                <a:gd name="connsiteX4" fmla="*/ 0 w 85078"/>
                <a:gd name="connsiteY4" fmla="*/ 86422 h 129856"/>
                <a:gd name="connsiteX5" fmla="*/ 0 w 85078"/>
                <a:gd name="connsiteY5" fmla="*/ 43435 h 129856"/>
                <a:gd name="connsiteX6" fmla="*/ 2239 w 85078"/>
                <a:gd name="connsiteY6" fmla="*/ 41196 h 129856"/>
                <a:gd name="connsiteX7" fmla="*/ 32240 w 85078"/>
                <a:gd name="connsiteY7" fmla="*/ 41196 h 129856"/>
                <a:gd name="connsiteX8" fmla="*/ 84183 w 85078"/>
                <a:gd name="connsiteY8" fmla="*/ 448 h 129856"/>
                <a:gd name="connsiteX9" fmla="*/ 86422 w 85078"/>
                <a:gd name="connsiteY9" fmla="*/ 0 h 129856"/>
                <a:gd name="connsiteX10" fmla="*/ 87765 w 85078"/>
                <a:gd name="connsiteY10" fmla="*/ 2239 h 129856"/>
                <a:gd name="connsiteX11" fmla="*/ 87765 w 85078"/>
                <a:gd name="connsiteY11" fmla="*/ 128065 h 129856"/>
                <a:gd name="connsiteX12" fmla="*/ 86422 w 85078"/>
                <a:gd name="connsiteY12" fmla="*/ 130304 h 129856"/>
                <a:gd name="connsiteX13" fmla="*/ 85526 w 85078"/>
                <a:gd name="connsiteY13" fmla="*/ 129857 h 129856"/>
                <a:gd name="connsiteX14" fmla="*/ 4478 w 85078"/>
                <a:gd name="connsiteY14" fmla="*/ 83736 h 129856"/>
                <a:gd name="connsiteX15" fmla="*/ 33136 w 85078"/>
                <a:gd name="connsiteY15" fmla="*/ 83736 h 129856"/>
                <a:gd name="connsiteX16" fmla="*/ 34479 w 85078"/>
                <a:gd name="connsiteY16" fmla="*/ 84183 h 129856"/>
                <a:gd name="connsiteX17" fmla="*/ 83287 w 85078"/>
                <a:gd name="connsiteY17" fmla="*/ 122692 h 129856"/>
                <a:gd name="connsiteX18" fmla="*/ 83287 w 85078"/>
                <a:gd name="connsiteY18" fmla="*/ 5821 h 129856"/>
                <a:gd name="connsiteX19" fmla="*/ 34479 w 85078"/>
                <a:gd name="connsiteY19" fmla="*/ 44331 h 129856"/>
                <a:gd name="connsiteX20" fmla="*/ 33136 w 85078"/>
                <a:gd name="connsiteY20" fmla="*/ 44778 h 129856"/>
                <a:gd name="connsiteX21" fmla="*/ 4478 w 85078"/>
                <a:gd name="connsiteY21" fmla="*/ 44778 h 129856"/>
                <a:gd name="connsiteX22" fmla="*/ 4478 w 85078"/>
                <a:gd name="connsiteY22" fmla="*/ 8373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129856">
                  <a:moveTo>
                    <a:pt x="85526" y="129857"/>
                  </a:moveTo>
                  <a:cubicBezTo>
                    <a:pt x="85079" y="129857"/>
                    <a:pt x="84631" y="129857"/>
                    <a:pt x="84183" y="129409"/>
                  </a:cubicBezTo>
                  <a:lnTo>
                    <a:pt x="32240" y="88661"/>
                  </a:lnTo>
                  <a:lnTo>
                    <a:pt x="2239" y="88661"/>
                  </a:lnTo>
                  <a:cubicBezTo>
                    <a:pt x="896" y="88661"/>
                    <a:pt x="0" y="87765"/>
                    <a:pt x="0" y="86422"/>
                  </a:cubicBezTo>
                  <a:lnTo>
                    <a:pt x="0" y="43435"/>
                  </a:lnTo>
                  <a:cubicBezTo>
                    <a:pt x="0" y="42092"/>
                    <a:pt x="896" y="41196"/>
                    <a:pt x="2239" y="41196"/>
                  </a:cubicBezTo>
                  <a:lnTo>
                    <a:pt x="32240" y="41196"/>
                  </a:lnTo>
                  <a:lnTo>
                    <a:pt x="84183" y="448"/>
                  </a:lnTo>
                  <a:cubicBezTo>
                    <a:pt x="85079" y="0"/>
                    <a:pt x="85974" y="0"/>
                    <a:pt x="86422" y="0"/>
                  </a:cubicBezTo>
                  <a:cubicBezTo>
                    <a:pt x="87317" y="448"/>
                    <a:pt x="87765" y="1344"/>
                    <a:pt x="87765" y="2239"/>
                  </a:cubicBezTo>
                  <a:lnTo>
                    <a:pt x="87765" y="128065"/>
                  </a:lnTo>
                  <a:cubicBezTo>
                    <a:pt x="87765" y="128961"/>
                    <a:pt x="87317" y="129857"/>
                    <a:pt x="86422" y="130304"/>
                  </a:cubicBezTo>
                  <a:cubicBezTo>
                    <a:pt x="85974" y="129409"/>
                    <a:pt x="85526" y="129857"/>
                    <a:pt x="85526" y="129857"/>
                  </a:cubicBezTo>
                  <a:close/>
                  <a:moveTo>
                    <a:pt x="4478" y="83736"/>
                  </a:moveTo>
                  <a:lnTo>
                    <a:pt x="33136" y="83736"/>
                  </a:lnTo>
                  <a:cubicBezTo>
                    <a:pt x="33584" y="83736"/>
                    <a:pt x="34031" y="83736"/>
                    <a:pt x="34479" y="84183"/>
                  </a:cubicBezTo>
                  <a:lnTo>
                    <a:pt x="83287" y="122692"/>
                  </a:lnTo>
                  <a:lnTo>
                    <a:pt x="83287" y="5821"/>
                  </a:lnTo>
                  <a:lnTo>
                    <a:pt x="34479" y="44331"/>
                  </a:lnTo>
                  <a:cubicBezTo>
                    <a:pt x="34031" y="44778"/>
                    <a:pt x="33584" y="44778"/>
                    <a:pt x="33136" y="44778"/>
                  </a:cubicBezTo>
                  <a:lnTo>
                    <a:pt x="4478" y="44778"/>
                  </a:lnTo>
                  <a:lnTo>
                    <a:pt x="4478" y="83736"/>
                  </a:lnTo>
                  <a:close/>
                </a:path>
              </a:pathLst>
            </a:custGeom>
            <a:solidFill>
              <a:srgbClr val="231F20"/>
            </a:solidFill>
            <a:ln w="4474" cap="flat">
              <a:noFill/>
              <a:prstDash val="solid"/>
              <a:miter/>
            </a:ln>
          </p:spPr>
          <p:txBody>
            <a:bodyPr rtlCol="0" anchor="ctr"/>
            <a:lstStyle/>
            <a:p>
              <a:endParaRPr lang="en-US"/>
            </a:p>
          </p:txBody>
        </p:sp>
      </p:grpSp>
      <p:grpSp>
        <p:nvGrpSpPr>
          <p:cNvPr id="4864" name="Group 4863">
            <a:extLst>
              <a:ext uri="{FF2B5EF4-FFF2-40B4-BE49-F238E27FC236}">
                <a16:creationId xmlns:a16="http://schemas.microsoft.com/office/drawing/2014/main" id="{B608CAC1-F1BE-4179-820B-65F4CD126C70}"/>
              </a:ext>
              <a:ext uri="{C183D7F6-B498-43B3-948B-1728B52AA6E4}">
                <adec:decorative xmlns:adec="http://schemas.microsoft.com/office/drawing/2017/decorative" val="1"/>
              </a:ext>
            </a:extLst>
          </p:cNvPr>
          <p:cNvGrpSpPr>
            <a:grpSpLocks noChangeAspect="1"/>
          </p:cNvGrpSpPr>
          <p:nvPr/>
        </p:nvGrpSpPr>
        <p:grpSpPr>
          <a:xfrm>
            <a:off x="9014497" y="2787903"/>
            <a:ext cx="105901" cy="129857"/>
            <a:chOff x="3233844" y="6247089"/>
            <a:chExt cx="105901" cy="129857"/>
          </a:xfrm>
        </p:grpSpPr>
        <p:sp>
          <p:nvSpPr>
            <p:cNvPr id="4865" name="Freeform: Shape 4864">
              <a:extLst>
                <a:ext uri="{FF2B5EF4-FFF2-40B4-BE49-F238E27FC236}">
                  <a16:creationId xmlns:a16="http://schemas.microsoft.com/office/drawing/2014/main" id="{707CCBF7-9D3B-497D-B8EC-3792FB28C577}"/>
                </a:ext>
              </a:extLst>
            </p:cNvPr>
            <p:cNvSpPr/>
            <p:nvPr/>
          </p:nvSpPr>
          <p:spPr>
            <a:xfrm>
              <a:off x="3330789" y="6291643"/>
              <a:ext cx="8956" cy="35823"/>
            </a:xfrm>
            <a:custGeom>
              <a:avLst/>
              <a:gdLst>
                <a:gd name="connsiteX0" fmla="*/ 2463 w 8955"/>
                <a:gd name="connsiteY0" fmla="*/ 40077 h 35822"/>
                <a:gd name="connsiteX1" fmla="*/ 672 w 8955"/>
                <a:gd name="connsiteY1" fmla="*/ 39181 h 35822"/>
                <a:gd name="connsiteX2" fmla="*/ 672 w 8955"/>
                <a:gd name="connsiteY2" fmla="*/ 36046 h 35822"/>
                <a:gd name="connsiteX3" fmla="*/ 7836 w 8955"/>
                <a:gd name="connsiteY3" fmla="*/ 19926 h 35822"/>
                <a:gd name="connsiteX4" fmla="*/ 672 w 8955"/>
                <a:gd name="connsiteY4" fmla="*/ 3806 h 35822"/>
                <a:gd name="connsiteX5" fmla="*/ 672 w 8955"/>
                <a:gd name="connsiteY5" fmla="*/ 672 h 35822"/>
                <a:gd name="connsiteX6" fmla="*/ 3806 w 8955"/>
                <a:gd name="connsiteY6" fmla="*/ 672 h 35822"/>
                <a:gd name="connsiteX7" fmla="*/ 12314 w 8955"/>
                <a:gd name="connsiteY7" fmla="*/ 20374 h 35822"/>
                <a:gd name="connsiteX8" fmla="*/ 3806 w 8955"/>
                <a:gd name="connsiteY8" fmla="*/ 40077 h 35822"/>
                <a:gd name="connsiteX9" fmla="*/ 2463 w 8955"/>
                <a:gd name="connsiteY9" fmla="*/ 40077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5" h="35822">
                  <a:moveTo>
                    <a:pt x="2463" y="40077"/>
                  </a:moveTo>
                  <a:cubicBezTo>
                    <a:pt x="2015" y="40077"/>
                    <a:pt x="1119" y="39629"/>
                    <a:pt x="672" y="39181"/>
                  </a:cubicBezTo>
                  <a:cubicBezTo>
                    <a:pt x="-224" y="38285"/>
                    <a:pt x="-224" y="36942"/>
                    <a:pt x="672" y="36046"/>
                  </a:cubicBezTo>
                  <a:cubicBezTo>
                    <a:pt x="5149" y="31569"/>
                    <a:pt x="7836" y="26195"/>
                    <a:pt x="7836" y="19926"/>
                  </a:cubicBezTo>
                  <a:cubicBezTo>
                    <a:pt x="7836" y="13657"/>
                    <a:pt x="5149" y="7836"/>
                    <a:pt x="672" y="3806"/>
                  </a:cubicBezTo>
                  <a:cubicBezTo>
                    <a:pt x="-224" y="2910"/>
                    <a:pt x="-224" y="1567"/>
                    <a:pt x="672" y="672"/>
                  </a:cubicBezTo>
                  <a:cubicBezTo>
                    <a:pt x="1567" y="-224"/>
                    <a:pt x="2910" y="-224"/>
                    <a:pt x="3806" y="672"/>
                  </a:cubicBezTo>
                  <a:cubicBezTo>
                    <a:pt x="9179" y="5598"/>
                    <a:pt x="12314" y="12762"/>
                    <a:pt x="12314" y="20374"/>
                  </a:cubicBezTo>
                  <a:cubicBezTo>
                    <a:pt x="12314" y="27987"/>
                    <a:pt x="9179" y="34703"/>
                    <a:pt x="3806" y="40077"/>
                  </a:cubicBezTo>
                  <a:cubicBezTo>
                    <a:pt x="3806" y="39629"/>
                    <a:pt x="2910" y="40077"/>
                    <a:pt x="2463" y="40077"/>
                  </a:cubicBezTo>
                  <a:close/>
                </a:path>
              </a:pathLst>
            </a:custGeom>
            <a:solidFill>
              <a:srgbClr val="231F20"/>
            </a:solidFill>
            <a:ln w="4474" cap="flat">
              <a:noFill/>
              <a:prstDash val="solid"/>
              <a:miter/>
            </a:ln>
          </p:spPr>
          <p:txBody>
            <a:bodyPr rtlCol="0" anchor="ctr"/>
            <a:lstStyle/>
            <a:p>
              <a:endParaRPr lang="en-US"/>
            </a:p>
          </p:txBody>
        </p:sp>
        <p:sp>
          <p:nvSpPr>
            <p:cNvPr id="4866" name="Freeform: Shape 4865">
              <a:extLst>
                <a:ext uri="{FF2B5EF4-FFF2-40B4-BE49-F238E27FC236}">
                  <a16:creationId xmlns:a16="http://schemas.microsoft.com/office/drawing/2014/main" id="{EB2C1995-6421-4308-8546-7E539B6E02D8}"/>
                </a:ext>
              </a:extLst>
            </p:cNvPr>
            <p:cNvSpPr/>
            <p:nvPr/>
          </p:nvSpPr>
          <p:spPr>
            <a:xfrm>
              <a:off x="3233844" y="6247089"/>
              <a:ext cx="85079" cy="129857"/>
            </a:xfrm>
            <a:custGeom>
              <a:avLst/>
              <a:gdLst>
                <a:gd name="connsiteX0" fmla="*/ 85526 w 85078"/>
                <a:gd name="connsiteY0" fmla="*/ 129857 h 129856"/>
                <a:gd name="connsiteX1" fmla="*/ 84183 w 85078"/>
                <a:gd name="connsiteY1" fmla="*/ 129409 h 129856"/>
                <a:gd name="connsiteX2" fmla="*/ 32240 w 85078"/>
                <a:gd name="connsiteY2" fmla="*/ 88661 h 129856"/>
                <a:gd name="connsiteX3" fmla="*/ 2239 w 85078"/>
                <a:gd name="connsiteY3" fmla="*/ 88661 h 129856"/>
                <a:gd name="connsiteX4" fmla="*/ 0 w 85078"/>
                <a:gd name="connsiteY4" fmla="*/ 86422 h 129856"/>
                <a:gd name="connsiteX5" fmla="*/ 0 w 85078"/>
                <a:gd name="connsiteY5" fmla="*/ 43435 h 129856"/>
                <a:gd name="connsiteX6" fmla="*/ 2239 w 85078"/>
                <a:gd name="connsiteY6" fmla="*/ 41196 h 129856"/>
                <a:gd name="connsiteX7" fmla="*/ 32240 w 85078"/>
                <a:gd name="connsiteY7" fmla="*/ 41196 h 129856"/>
                <a:gd name="connsiteX8" fmla="*/ 84183 w 85078"/>
                <a:gd name="connsiteY8" fmla="*/ 448 h 129856"/>
                <a:gd name="connsiteX9" fmla="*/ 86422 w 85078"/>
                <a:gd name="connsiteY9" fmla="*/ 0 h 129856"/>
                <a:gd name="connsiteX10" fmla="*/ 87765 w 85078"/>
                <a:gd name="connsiteY10" fmla="*/ 2239 h 129856"/>
                <a:gd name="connsiteX11" fmla="*/ 87765 w 85078"/>
                <a:gd name="connsiteY11" fmla="*/ 128065 h 129856"/>
                <a:gd name="connsiteX12" fmla="*/ 86422 w 85078"/>
                <a:gd name="connsiteY12" fmla="*/ 130304 h 129856"/>
                <a:gd name="connsiteX13" fmla="*/ 85526 w 85078"/>
                <a:gd name="connsiteY13" fmla="*/ 129857 h 129856"/>
                <a:gd name="connsiteX14" fmla="*/ 4926 w 85078"/>
                <a:gd name="connsiteY14" fmla="*/ 83736 h 129856"/>
                <a:gd name="connsiteX15" fmla="*/ 33584 w 85078"/>
                <a:gd name="connsiteY15" fmla="*/ 83736 h 129856"/>
                <a:gd name="connsiteX16" fmla="*/ 34927 w 85078"/>
                <a:gd name="connsiteY16" fmla="*/ 84183 h 129856"/>
                <a:gd name="connsiteX17" fmla="*/ 83735 w 85078"/>
                <a:gd name="connsiteY17" fmla="*/ 122692 h 129856"/>
                <a:gd name="connsiteX18" fmla="*/ 83735 w 85078"/>
                <a:gd name="connsiteY18" fmla="*/ 5821 h 129856"/>
                <a:gd name="connsiteX19" fmla="*/ 34927 w 85078"/>
                <a:gd name="connsiteY19" fmla="*/ 44331 h 129856"/>
                <a:gd name="connsiteX20" fmla="*/ 33584 w 85078"/>
                <a:gd name="connsiteY20" fmla="*/ 44778 h 129856"/>
                <a:gd name="connsiteX21" fmla="*/ 4926 w 85078"/>
                <a:gd name="connsiteY21" fmla="*/ 44778 h 129856"/>
                <a:gd name="connsiteX22" fmla="*/ 4926 w 85078"/>
                <a:gd name="connsiteY22" fmla="*/ 83736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078" h="129856">
                  <a:moveTo>
                    <a:pt x="85526" y="129857"/>
                  </a:moveTo>
                  <a:cubicBezTo>
                    <a:pt x="85079" y="129857"/>
                    <a:pt x="84631" y="129857"/>
                    <a:pt x="84183" y="129409"/>
                  </a:cubicBezTo>
                  <a:lnTo>
                    <a:pt x="32240" y="88661"/>
                  </a:lnTo>
                  <a:lnTo>
                    <a:pt x="2239" y="88661"/>
                  </a:lnTo>
                  <a:cubicBezTo>
                    <a:pt x="896" y="88661"/>
                    <a:pt x="0" y="87765"/>
                    <a:pt x="0" y="86422"/>
                  </a:cubicBezTo>
                  <a:lnTo>
                    <a:pt x="0" y="43435"/>
                  </a:lnTo>
                  <a:cubicBezTo>
                    <a:pt x="0" y="42092"/>
                    <a:pt x="896" y="41196"/>
                    <a:pt x="2239" y="41196"/>
                  </a:cubicBezTo>
                  <a:lnTo>
                    <a:pt x="32240" y="41196"/>
                  </a:lnTo>
                  <a:lnTo>
                    <a:pt x="84183" y="448"/>
                  </a:lnTo>
                  <a:cubicBezTo>
                    <a:pt x="85079" y="0"/>
                    <a:pt x="85974" y="0"/>
                    <a:pt x="86422" y="0"/>
                  </a:cubicBezTo>
                  <a:cubicBezTo>
                    <a:pt x="87317" y="448"/>
                    <a:pt x="87765" y="1344"/>
                    <a:pt x="87765" y="2239"/>
                  </a:cubicBezTo>
                  <a:lnTo>
                    <a:pt x="87765" y="128065"/>
                  </a:lnTo>
                  <a:cubicBezTo>
                    <a:pt x="87765" y="128961"/>
                    <a:pt x="87317" y="129857"/>
                    <a:pt x="86422" y="130304"/>
                  </a:cubicBezTo>
                  <a:cubicBezTo>
                    <a:pt x="86422" y="129409"/>
                    <a:pt x="85974" y="129857"/>
                    <a:pt x="85526" y="129857"/>
                  </a:cubicBezTo>
                  <a:close/>
                  <a:moveTo>
                    <a:pt x="4926" y="83736"/>
                  </a:moveTo>
                  <a:lnTo>
                    <a:pt x="33584" y="83736"/>
                  </a:lnTo>
                  <a:cubicBezTo>
                    <a:pt x="34032" y="83736"/>
                    <a:pt x="34479" y="83736"/>
                    <a:pt x="34927" y="84183"/>
                  </a:cubicBezTo>
                  <a:lnTo>
                    <a:pt x="83735" y="122692"/>
                  </a:lnTo>
                  <a:lnTo>
                    <a:pt x="83735" y="5821"/>
                  </a:lnTo>
                  <a:lnTo>
                    <a:pt x="34927" y="44331"/>
                  </a:lnTo>
                  <a:cubicBezTo>
                    <a:pt x="34479" y="44778"/>
                    <a:pt x="34032" y="44778"/>
                    <a:pt x="33584" y="44778"/>
                  </a:cubicBezTo>
                  <a:lnTo>
                    <a:pt x="4926" y="44778"/>
                  </a:lnTo>
                  <a:lnTo>
                    <a:pt x="4926" y="83736"/>
                  </a:lnTo>
                  <a:close/>
                </a:path>
              </a:pathLst>
            </a:custGeom>
            <a:solidFill>
              <a:srgbClr val="231F20"/>
            </a:solidFill>
            <a:ln w="4474" cap="flat">
              <a:noFill/>
              <a:prstDash val="solid"/>
              <a:miter/>
            </a:ln>
          </p:spPr>
          <p:txBody>
            <a:bodyPr rtlCol="0" anchor="ctr"/>
            <a:lstStyle/>
            <a:p>
              <a:endParaRPr lang="en-US"/>
            </a:p>
          </p:txBody>
        </p:sp>
      </p:grpSp>
      <p:sp>
        <p:nvSpPr>
          <p:cNvPr id="4867" name="Freeform: Shape 4866">
            <a:extLst>
              <a:ext uri="{FF2B5EF4-FFF2-40B4-BE49-F238E27FC236}">
                <a16:creationId xmlns:a16="http://schemas.microsoft.com/office/drawing/2014/main" id="{CD37B875-7EBA-4BA5-A30B-B3D11C317AF5}"/>
              </a:ext>
              <a:ext uri="{C183D7F6-B498-43B3-948B-1728B52AA6E4}">
                <adec:decorative xmlns:adec="http://schemas.microsoft.com/office/drawing/2017/decorative" val="1"/>
              </a:ext>
            </a:extLst>
          </p:cNvPr>
          <p:cNvSpPr>
            <a:spLocks noChangeAspect="1"/>
          </p:cNvSpPr>
          <p:nvPr/>
        </p:nvSpPr>
        <p:spPr>
          <a:xfrm>
            <a:off x="8755232" y="2791191"/>
            <a:ext cx="107468" cy="129857"/>
          </a:xfrm>
          <a:custGeom>
            <a:avLst/>
            <a:gdLst>
              <a:gd name="connsiteX0" fmla="*/ 110154 w 107467"/>
              <a:gd name="connsiteY0" fmla="*/ 118060 h 129856"/>
              <a:gd name="connsiteX1" fmla="*/ 87317 w 107467"/>
              <a:gd name="connsiteY1" fmla="*/ 95224 h 129856"/>
              <a:gd name="connsiteX2" fmla="*/ 87317 w 107467"/>
              <a:gd name="connsiteY2" fmla="*/ 2533 h 129856"/>
              <a:gd name="connsiteX3" fmla="*/ 85974 w 107467"/>
              <a:gd name="connsiteY3" fmla="*/ 294 h 129856"/>
              <a:gd name="connsiteX4" fmla="*/ 83735 w 107467"/>
              <a:gd name="connsiteY4" fmla="*/ 742 h 129856"/>
              <a:gd name="connsiteX5" fmla="*/ 33136 w 107467"/>
              <a:gd name="connsiteY5" fmla="*/ 41042 h 129856"/>
              <a:gd name="connsiteX6" fmla="*/ 8060 w 107467"/>
              <a:gd name="connsiteY6" fmla="*/ 15966 h 129856"/>
              <a:gd name="connsiteX7" fmla="*/ 4925 w 107467"/>
              <a:gd name="connsiteY7" fmla="*/ 15966 h 129856"/>
              <a:gd name="connsiteX8" fmla="*/ 4925 w 107467"/>
              <a:gd name="connsiteY8" fmla="*/ 19101 h 129856"/>
              <a:gd name="connsiteX9" fmla="*/ 27762 w 107467"/>
              <a:gd name="connsiteY9" fmla="*/ 41937 h 129856"/>
              <a:gd name="connsiteX10" fmla="*/ 2239 w 107467"/>
              <a:gd name="connsiteY10" fmla="*/ 41937 h 129856"/>
              <a:gd name="connsiteX11" fmla="*/ 0 w 107467"/>
              <a:gd name="connsiteY11" fmla="*/ 44176 h 129856"/>
              <a:gd name="connsiteX12" fmla="*/ 0 w 107467"/>
              <a:gd name="connsiteY12" fmla="*/ 87164 h 129856"/>
              <a:gd name="connsiteX13" fmla="*/ 2239 w 107467"/>
              <a:gd name="connsiteY13" fmla="*/ 89403 h 129856"/>
              <a:gd name="connsiteX14" fmla="*/ 32240 w 107467"/>
              <a:gd name="connsiteY14" fmla="*/ 89403 h 129856"/>
              <a:gd name="connsiteX15" fmla="*/ 84183 w 107467"/>
              <a:gd name="connsiteY15" fmla="*/ 130151 h 129856"/>
              <a:gd name="connsiteX16" fmla="*/ 85526 w 107467"/>
              <a:gd name="connsiteY16" fmla="*/ 130598 h 129856"/>
              <a:gd name="connsiteX17" fmla="*/ 86422 w 107467"/>
              <a:gd name="connsiteY17" fmla="*/ 130598 h 129856"/>
              <a:gd name="connsiteX18" fmla="*/ 87765 w 107467"/>
              <a:gd name="connsiteY18" fmla="*/ 128360 h 129856"/>
              <a:gd name="connsiteX19" fmla="*/ 87765 w 107467"/>
              <a:gd name="connsiteY19" fmla="*/ 101493 h 129856"/>
              <a:gd name="connsiteX20" fmla="*/ 107468 w 107467"/>
              <a:gd name="connsiteY20" fmla="*/ 121195 h 129856"/>
              <a:gd name="connsiteX21" fmla="*/ 109259 w 107467"/>
              <a:gd name="connsiteY21" fmla="*/ 121643 h 129856"/>
              <a:gd name="connsiteX22" fmla="*/ 111050 w 107467"/>
              <a:gd name="connsiteY22" fmla="*/ 121195 h 129856"/>
              <a:gd name="connsiteX23" fmla="*/ 110154 w 107467"/>
              <a:gd name="connsiteY23" fmla="*/ 118060 h 129856"/>
              <a:gd name="connsiteX24" fmla="*/ 82840 w 107467"/>
              <a:gd name="connsiteY24" fmla="*/ 7011 h 129856"/>
              <a:gd name="connsiteX25" fmla="*/ 82840 w 107467"/>
              <a:gd name="connsiteY25" fmla="*/ 90746 h 129856"/>
              <a:gd name="connsiteX26" fmla="*/ 36270 w 107467"/>
              <a:gd name="connsiteY26" fmla="*/ 44176 h 129856"/>
              <a:gd name="connsiteX27" fmla="*/ 82840 w 107467"/>
              <a:gd name="connsiteY27" fmla="*/ 7011 h 129856"/>
              <a:gd name="connsiteX28" fmla="*/ 82840 w 107467"/>
              <a:gd name="connsiteY28" fmla="*/ 123882 h 129856"/>
              <a:gd name="connsiteX29" fmla="*/ 34031 w 107467"/>
              <a:gd name="connsiteY29" fmla="*/ 85373 h 129856"/>
              <a:gd name="connsiteX30" fmla="*/ 32688 w 107467"/>
              <a:gd name="connsiteY30" fmla="*/ 84925 h 129856"/>
              <a:gd name="connsiteX31" fmla="*/ 4030 w 107467"/>
              <a:gd name="connsiteY31" fmla="*/ 84925 h 129856"/>
              <a:gd name="connsiteX32" fmla="*/ 4030 w 107467"/>
              <a:gd name="connsiteY32" fmla="*/ 46415 h 129856"/>
              <a:gd name="connsiteX33" fmla="*/ 31792 w 107467"/>
              <a:gd name="connsiteY33" fmla="*/ 46415 h 129856"/>
              <a:gd name="connsiteX34" fmla="*/ 82840 w 107467"/>
              <a:gd name="connsiteY34" fmla="*/ 97462 h 129856"/>
              <a:gd name="connsiteX35" fmla="*/ 82840 w 107467"/>
              <a:gd name="connsiteY35" fmla="*/ 123882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7467" h="129856">
                <a:moveTo>
                  <a:pt x="110154" y="118060"/>
                </a:moveTo>
                <a:lnTo>
                  <a:pt x="87317" y="95224"/>
                </a:lnTo>
                <a:lnTo>
                  <a:pt x="87317" y="2533"/>
                </a:lnTo>
                <a:cubicBezTo>
                  <a:pt x="87317" y="1637"/>
                  <a:pt x="86870" y="742"/>
                  <a:pt x="85974" y="294"/>
                </a:cubicBezTo>
                <a:cubicBezTo>
                  <a:pt x="85079" y="-154"/>
                  <a:pt x="84183" y="-154"/>
                  <a:pt x="83735" y="742"/>
                </a:cubicBezTo>
                <a:lnTo>
                  <a:pt x="33136" y="41042"/>
                </a:lnTo>
                <a:lnTo>
                  <a:pt x="8060" y="15966"/>
                </a:lnTo>
                <a:cubicBezTo>
                  <a:pt x="7164" y="15071"/>
                  <a:pt x="5821" y="15071"/>
                  <a:pt x="4925" y="15966"/>
                </a:cubicBezTo>
                <a:cubicBezTo>
                  <a:pt x="4030" y="16862"/>
                  <a:pt x="4030" y="18205"/>
                  <a:pt x="4925" y="19101"/>
                </a:cubicBezTo>
                <a:lnTo>
                  <a:pt x="27762" y="41937"/>
                </a:lnTo>
                <a:lnTo>
                  <a:pt x="2239" y="41937"/>
                </a:lnTo>
                <a:cubicBezTo>
                  <a:pt x="895" y="41937"/>
                  <a:pt x="0" y="42833"/>
                  <a:pt x="0" y="44176"/>
                </a:cubicBezTo>
                <a:lnTo>
                  <a:pt x="0" y="87164"/>
                </a:lnTo>
                <a:cubicBezTo>
                  <a:pt x="0" y="88507"/>
                  <a:pt x="895" y="89403"/>
                  <a:pt x="2239" y="89403"/>
                </a:cubicBezTo>
                <a:lnTo>
                  <a:pt x="32240" y="89403"/>
                </a:lnTo>
                <a:lnTo>
                  <a:pt x="84183" y="130151"/>
                </a:lnTo>
                <a:cubicBezTo>
                  <a:pt x="84631" y="130598"/>
                  <a:pt x="85079" y="130598"/>
                  <a:pt x="85526" y="130598"/>
                </a:cubicBezTo>
                <a:cubicBezTo>
                  <a:pt x="85974" y="130598"/>
                  <a:pt x="85974" y="130598"/>
                  <a:pt x="86422" y="130598"/>
                </a:cubicBezTo>
                <a:cubicBezTo>
                  <a:pt x="87317" y="130151"/>
                  <a:pt x="87765" y="129255"/>
                  <a:pt x="87765" y="128360"/>
                </a:cubicBezTo>
                <a:lnTo>
                  <a:pt x="87765" y="101493"/>
                </a:lnTo>
                <a:lnTo>
                  <a:pt x="107468" y="121195"/>
                </a:lnTo>
                <a:cubicBezTo>
                  <a:pt x="107915" y="121643"/>
                  <a:pt x="108363" y="121643"/>
                  <a:pt x="109259" y="121643"/>
                </a:cubicBezTo>
                <a:cubicBezTo>
                  <a:pt x="110154" y="121643"/>
                  <a:pt x="110602" y="121643"/>
                  <a:pt x="111050" y="121195"/>
                </a:cubicBezTo>
                <a:cubicBezTo>
                  <a:pt x="111050" y="120299"/>
                  <a:pt x="111050" y="118956"/>
                  <a:pt x="110154" y="118060"/>
                </a:cubicBezTo>
                <a:close/>
                <a:moveTo>
                  <a:pt x="82840" y="7011"/>
                </a:moveTo>
                <a:lnTo>
                  <a:pt x="82840" y="90746"/>
                </a:lnTo>
                <a:lnTo>
                  <a:pt x="36270" y="44176"/>
                </a:lnTo>
                <a:lnTo>
                  <a:pt x="82840" y="7011"/>
                </a:lnTo>
                <a:close/>
                <a:moveTo>
                  <a:pt x="82840" y="123882"/>
                </a:moveTo>
                <a:lnTo>
                  <a:pt x="34031" y="85373"/>
                </a:lnTo>
                <a:cubicBezTo>
                  <a:pt x="33584" y="84925"/>
                  <a:pt x="33136" y="84925"/>
                  <a:pt x="32688" y="84925"/>
                </a:cubicBezTo>
                <a:lnTo>
                  <a:pt x="4030" y="84925"/>
                </a:lnTo>
                <a:lnTo>
                  <a:pt x="4030" y="46415"/>
                </a:lnTo>
                <a:lnTo>
                  <a:pt x="31792" y="46415"/>
                </a:lnTo>
                <a:lnTo>
                  <a:pt x="82840" y="97462"/>
                </a:lnTo>
                <a:lnTo>
                  <a:pt x="82840" y="123882"/>
                </a:lnTo>
                <a:close/>
              </a:path>
            </a:pathLst>
          </a:custGeom>
          <a:solidFill>
            <a:srgbClr val="231F20"/>
          </a:solidFill>
          <a:ln w="4474" cap="flat">
            <a:noFill/>
            <a:prstDash val="solid"/>
            <a:miter/>
          </a:ln>
        </p:spPr>
        <p:txBody>
          <a:bodyPr rtlCol="0" anchor="ctr"/>
          <a:lstStyle/>
          <a:p>
            <a:endParaRPr lang="en-US"/>
          </a:p>
        </p:txBody>
      </p:sp>
      <p:grpSp>
        <p:nvGrpSpPr>
          <p:cNvPr id="4868" name="Group 4867">
            <a:extLst>
              <a:ext uri="{FF2B5EF4-FFF2-40B4-BE49-F238E27FC236}">
                <a16:creationId xmlns:a16="http://schemas.microsoft.com/office/drawing/2014/main" id="{F0C2BDA3-94EF-43E9-82BD-10336C977DEC}"/>
              </a:ext>
              <a:ext uri="{C183D7F6-B498-43B3-948B-1728B52AA6E4}">
                <adec:decorative xmlns:adec="http://schemas.microsoft.com/office/drawing/2017/decorative" val="1"/>
              </a:ext>
            </a:extLst>
          </p:cNvPr>
          <p:cNvGrpSpPr>
            <a:grpSpLocks noChangeAspect="1"/>
          </p:cNvGrpSpPr>
          <p:nvPr/>
        </p:nvGrpSpPr>
        <p:grpSpPr>
          <a:xfrm>
            <a:off x="10049944" y="2776532"/>
            <a:ext cx="147768" cy="147768"/>
            <a:chOff x="4269291" y="6235718"/>
            <a:chExt cx="147768" cy="147768"/>
          </a:xfrm>
        </p:grpSpPr>
        <p:sp>
          <p:nvSpPr>
            <p:cNvPr id="4869" name="Freeform: Shape 4868">
              <a:extLst>
                <a:ext uri="{FF2B5EF4-FFF2-40B4-BE49-F238E27FC236}">
                  <a16:creationId xmlns:a16="http://schemas.microsoft.com/office/drawing/2014/main" id="{723CB93A-658C-437F-B33B-2D09972F3298}"/>
                </a:ext>
              </a:extLst>
            </p:cNvPr>
            <p:cNvSpPr/>
            <p:nvPr/>
          </p:nvSpPr>
          <p:spPr>
            <a:xfrm>
              <a:off x="4269291" y="6235718"/>
              <a:ext cx="147768" cy="147768"/>
            </a:xfrm>
            <a:custGeom>
              <a:avLst/>
              <a:gdLst>
                <a:gd name="connsiteX0" fmla="*/ 151175 w 147767"/>
                <a:gd name="connsiteY0" fmla="*/ 35103 h 147767"/>
                <a:gd name="connsiteX1" fmla="*/ 146697 w 147767"/>
                <a:gd name="connsiteY1" fmla="*/ 34207 h 147767"/>
                <a:gd name="connsiteX2" fmla="*/ 103262 w 147767"/>
                <a:gd name="connsiteY2" fmla="*/ 48984 h 147767"/>
                <a:gd name="connsiteX3" fmla="*/ 118039 w 147767"/>
                <a:gd name="connsiteY3" fmla="*/ 5549 h 147767"/>
                <a:gd name="connsiteX4" fmla="*/ 117144 w 147767"/>
                <a:gd name="connsiteY4" fmla="*/ 1072 h 147767"/>
                <a:gd name="connsiteX5" fmla="*/ 112666 w 147767"/>
                <a:gd name="connsiteY5" fmla="*/ 176 h 147767"/>
                <a:gd name="connsiteX6" fmla="*/ 101023 w 147767"/>
                <a:gd name="connsiteY6" fmla="*/ 5101 h 147767"/>
                <a:gd name="connsiteX7" fmla="*/ 93859 w 147767"/>
                <a:gd name="connsiteY7" fmla="*/ 11370 h 147767"/>
                <a:gd name="connsiteX8" fmla="*/ 68335 w 147767"/>
                <a:gd name="connsiteY8" fmla="*/ 60178 h 147767"/>
                <a:gd name="connsiteX9" fmla="*/ 68335 w 147767"/>
                <a:gd name="connsiteY9" fmla="*/ 60626 h 147767"/>
                <a:gd name="connsiteX10" fmla="*/ 41468 w 147767"/>
                <a:gd name="connsiteY10" fmla="*/ 69582 h 147767"/>
                <a:gd name="connsiteX11" fmla="*/ 16393 w 147767"/>
                <a:gd name="connsiteY11" fmla="*/ 67343 h 147767"/>
                <a:gd name="connsiteX12" fmla="*/ 1168 w 147767"/>
                <a:gd name="connsiteY12" fmla="*/ 96001 h 147767"/>
                <a:gd name="connsiteX13" fmla="*/ 21318 w 147767"/>
                <a:gd name="connsiteY13" fmla="*/ 108091 h 147767"/>
                <a:gd name="connsiteX14" fmla="*/ 32065 w 147767"/>
                <a:gd name="connsiteY14" fmla="*/ 105852 h 147767"/>
                <a:gd name="connsiteX15" fmla="*/ 48185 w 147767"/>
                <a:gd name="connsiteY15" fmla="*/ 87941 h 147767"/>
                <a:gd name="connsiteX16" fmla="*/ 67440 w 147767"/>
                <a:gd name="connsiteY16" fmla="*/ 81672 h 147767"/>
                <a:gd name="connsiteX17" fmla="*/ 70127 w 147767"/>
                <a:gd name="connsiteY17" fmla="*/ 84806 h 147767"/>
                <a:gd name="connsiteX18" fmla="*/ 63858 w 147767"/>
                <a:gd name="connsiteY18" fmla="*/ 103613 h 147767"/>
                <a:gd name="connsiteX19" fmla="*/ 45946 w 147767"/>
                <a:gd name="connsiteY19" fmla="*/ 119734 h 147767"/>
                <a:gd name="connsiteX20" fmla="*/ 55798 w 147767"/>
                <a:gd name="connsiteY20" fmla="*/ 150630 h 147767"/>
                <a:gd name="connsiteX21" fmla="*/ 62514 w 147767"/>
                <a:gd name="connsiteY21" fmla="*/ 151974 h 147767"/>
                <a:gd name="connsiteX22" fmla="*/ 62514 w 147767"/>
                <a:gd name="connsiteY22" fmla="*/ 151974 h 147767"/>
                <a:gd name="connsiteX23" fmla="*/ 84456 w 147767"/>
                <a:gd name="connsiteY23" fmla="*/ 135406 h 147767"/>
                <a:gd name="connsiteX24" fmla="*/ 82217 w 147767"/>
                <a:gd name="connsiteY24" fmla="*/ 110330 h 147767"/>
                <a:gd name="connsiteX25" fmla="*/ 91172 w 147767"/>
                <a:gd name="connsiteY25" fmla="*/ 84359 h 147767"/>
                <a:gd name="connsiteX26" fmla="*/ 140428 w 147767"/>
                <a:gd name="connsiteY26" fmla="*/ 58387 h 147767"/>
                <a:gd name="connsiteX27" fmla="*/ 146697 w 147767"/>
                <a:gd name="connsiteY27" fmla="*/ 51223 h 147767"/>
                <a:gd name="connsiteX28" fmla="*/ 151623 w 147767"/>
                <a:gd name="connsiteY28" fmla="*/ 39581 h 147767"/>
                <a:gd name="connsiteX29" fmla="*/ 151175 w 147767"/>
                <a:gd name="connsiteY29" fmla="*/ 35103 h 147767"/>
                <a:gd name="connsiteX30" fmla="*/ 97889 w 147767"/>
                <a:gd name="connsiteY30" fmla="*/ 13609 h 147767"/>
                <a:gd name="connsiteX31" fmla="*/ 102815 w 147767"/>
                <a:gd name="connsiteY31" fmla="*/ 9131 h 147767"/>
                <a:gd name="connsiteX32" fmla="*/ 113562 w 147767"/>
                <a:gd name="connsiteY32" fmla="*/ 4653 h 147767"/>
                <a:gd name="connsiteX33" fmla="*/ 97889 w 147767"/>
                <a:gd name="connsiteY33" fmla="*/ 50775 h 147767"/>
                <a:gd name="connsiteX34" fmla="*/ 74604 w 147767"/>
                <a:gd name="connsiteY34" fmla="*/ 58835 h 147767"/>
                <a:gd name="connsiteX35" fmla="*/ 97889 w 147767"/>
                <a:gd name="connsiteY35" fmla="*/ 13609 h 147767"/>
                <a:gd name="connsiteX36" fmla="*/ 78187 w 147767"/>
                <a:gd name="connsiteY36" fmla="*/ 112121 h 147767"/>
                <a:gd name="connsiteX37" fmla="*/ 80873 w 147767"/>
                <a:gd name="connsiteY37" fmla="*/ 133615 h 147767"/>
                <a:gd name="connsiteX38" fmla="*/ 62962 w 147767"/>
                <a:gd name="connsiteY38" fmla="*/ 147048 h 147767"/>
                <a:gd name="connsiteX39" fmla="*/ 62962 w 147767"/>
                <a:gd name="connsiteY39" fmla="*/ 147048 h 147767"/>
                <a:gd name="connsiteX40" fmla="*/ 58036 w 147767"/>
                <a:gd name="connsiteY40" fmla="*/ 146152 h 147767"/>
                <a:gd name="connsiteX41" fmla="*/ 50424 w 147767"/>
                <a:gd name="connsiteY41" fmla="*/ 121077 h 147767"/>
                <a:gd name="connsiteX42" fmla="*/ 66096 w 147767"/>
                <a:gd name="connsiteY42" fmla="*/ 107643 h 147767"/>
                <a:gd name="connsiteX43" fmla="*/ 67440 w 147767"/>
                <a:gd name="connsiteY43" fmla="*/ 107643 h 147767"/>
                <a:gd name="connsiteX44" fmla="*/ 74157 w 147767"/>
                <a:gd name="connsiteY44" fmla="*/ 87493 h 147767"/>
                <a:gd name="connsiteX45" fmla="*/ 79530 w 147767"/>
                <a:gd name="connsiteY45" fmla="*/ 88837 h 147767"/>
                <a:gd name="connsiteX46" fmla="*/ 85351 w 147767"/>
                <a:gd name="connsiteY46" fmla="*/ 87493 h 147767"/>
                <a:gd name="connsiteX47" fmla="*/ 77291 w 147767"/>
                <a:gd name="connsiteY47" fmla="*/ 111673 h 147767"/>
                <a:gd name="connsiteX48" fmla="*/ 78187 w 147767"/>
                <a:gd name="connsiteY48" fmla="*/ 112121 h 147767"/>
                <a:gd name="connsiteX49" fmla="*/ 143115 w 147767"/>
                <a:gd name="connsiteY49" fmla="*/ 49432 h 147767"/>
                <a:gd name="connsiteX50" fmla="*/ 138637 w 147767"/>
                <a:gd name="connsiteY50" fmla="*/ 54357 h 147767"/>
                <a:gd name="connsiteX51" fmla="*/ 84008 w 147767"/>
                <a:gd name="connsiteY51" fmla="*/ 83015 h 147767"/>
                <a:gd name="connsiteX52" fmla="*/ 79530 w 147767"/>
                <a:gd name="connsiteY52" fmla="*/ 83911 h 147767"/>
                <a:gd name="connsiteX53" fmla="*/ 70574 w 147767"/>
                <a:gd name="connsiteY53" fmla="*/ 78090 h 147767"/>
                <a:gd name="connsiteX54" fmla="*/ 69679 w 147767"/>
                <a:gd name="connsiteY54" fmla="*/ 76299 h 147767"/>
                <a:gd name="connsiteX55" fmla="*/ 44155 w 147767"/>
                <a:gd name="connsiteY55" fmla="*/ 84806 h 147767"/>
                <a:gd name="connsiteX56" fmla="*/ 44155 w 147767"/>
                <a:gd name="connsiteY56" fmla="*/ 86150 h 147767"/>
                <a:gd name="connsiteX57" fmla="*/ 30722 w 147767"/>
                <a:gd name="connsiteY57" fmla="*/ 101822 h 147767"/>
                <a:gd name="connsiteX58" fmla="*/ 21766 w 147767"/>
                <a:gd name="connsiteY58" fmla="*/ 103613 h 147767"/>
                <a:gd name="connsiteX59" fmla="*/ 6094 w 147767"/>
                <a:gd name="connsiteY59" fmla="*/ 94210 h 147767"/>
                <a:gd name="connsiteX60" fmla="*/ 18632 w 147767"/>
                <a:gd name="connsiteY60" fmla="*/ 71373 h 147767"/>
                <a:gd name="connsiteX61" fmla="*/ 27587 w 147767"/>
                <a:gd name="connsiteY61" fmla="*/ 69582 h 147767"/>
                <a:gd name="connsiteX62" fmla="*/ 40125 w 147767"/>
                <a:gd name="connsiteY62" fmla="*/ 74060 h 147767"/>
                <a:gd name="connsiteX63" fmla="*/ 41021 w 147767"/>
                <a:gd name="connsiteY63" fmla="*/ 74955 h 147767"/>
                <a:gd name="connsiteX64" fmla="*/ 147593 w 147767"/>
                <a:gd name="connsiteY64" fmla="*/ 38685 h 147767"/>
                <a:gd name="connsiteX65" fmla="*/ 143115 w 147767"/>
                <a:gd name="connsiteY65" fmla="*/ 49432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47767" h="147767">
                  <a:moveTo>
                    <a:pt x="151175" y="35103"/>
                  </a:moveTo>
                  <a:cubicBezTo>
                    <a:pt x="150279" y="33759"/>
                    <a:pt x="148488" y="33312"/>
                    <a:pt x="146697" y="34207"/>
                  </a:cubicBezTo>
                  <a:lnTo>
                    <a:pt x="103262" y="48984"/>
                  </a:lnTo>
                  <a:lnTo>
                    <a:pt x="118039" y="5549"/>
                  </a:lnTo>
                  <a:cubicBezTo>
                    <a:pt x="118487" y="4206"/>
                    <a:pt x="118039" y="2415"/>
                    <a:pt x="117144" y="1072"/>
                  </a:cubicBezTo>
                  <a:cubicBezTo>
                    <a:pt x="115800" y="176"/>
                    <a:pt x="114457" y="-272"/>
                    <a:pt x="112666" y="176"/>
                  </a:cubicBezTo>
                  <a:lnTo>
                    <a:pt x="101023" y="5101"/>
                  </a:lnTo>
                  <a:cubicBezTo>
                    <a:pt x="97889" y="6445"/>
                    <a:pt x="95650" y="8684"/>
                    <a:pt x="93859" y="11370"/>
                  </a:cubicBezTo>
                  <a:lnTo>
                    <a:pt x="68335" y="60178"/>
                  </a:lnTo>
                  <a:cubicBezTo>
                    <a:pt x="68335" y="60178"/>
                    <a:pt x="68335" y="60626"/>
                    <a:pt x="68335" y="60626"/>
                  </a:cubicBezTo>
                  <a:lnTo>
                    <a:pt x="41468" y="69582"/>
                  </a:lnTo>
                  <a:cubicBezTo>
                    <a:pt x="35200" y="64656"/>
                    <a:pt x="24901" y="63761"/>
                    <a:pt x="16393" y="67343"/>
                  </a:cubicBezTo>
                  <a:cubicBezTo>
                    <a:pt x="3855" y="72717"/>
                    <a:pt x="-2862" y="85254"/>
                    <a:pt x="1168" y="96001"/>
                  </a:cubicBezTo>
                  <a:cubicBezTo>
                    <a:pt x="4303" y="103613"/>
                    <a:pt x="11915" y="108091"/>
                    <a:pt x="21318" y="108091"/>
                  </a:cubicBezTo>
                  <a:cubicBezTo>
                    <a:pt x="24901" y="108091"/>
                    <a:pt x="28483" y="107196"/>
                    <a:pt x="32065" y="105852"/>
                  </a:cubicBezTo>
                  <a:cubicBezTo>
                    <a:pt x="40573" y="102270"/>
                    <a:pt x="46394" y="95553"/>
                    <a:pt x="48185" y="87941"/>
                  </a:cubicBezTo>
                  <a:lnTo>
                    <a:pt x="67440" y="81672"/>
                  </a:lnTo>
                  <a:cubicBezTo>
                    <a:pt x="68335" y="83015"/>
                    <a:pt x="69231" y="83911"/>
                    <a:pt x="70127" y="84806"/>
                  </a:cubicBezTo>
                  <a:lnTo>
                    <a:pt x="63858" y="103613"/>
                  </a:lnTo>
                  <a:cubicBezTo>
                    <a:pt x="56245" y="105404"/>
                    <a:pt x="49529" y="111226"/>
                    <a:pt x="45946" y="119734"/>
                  </a:cubicBezTo>
                  <a:cubicBezTo>
                    <a:pt x="40573" y="132271"/>
                    <a:pt x="45051" y="146152"/>
                    <a:pt x="55798" y="150630"/>
                  </a:cubicBezTo>
                  <a:cubicBezTo>
                    <a:pt x="58036" y="151526"/>
                    <a:pt x="60275" y="151974"/>
                    <a:pt x="62514" y="151974"/>
                  </a:cubicBezTo>
                  <a:cubicBezTo>
                    <a:pt x="62514" y="151974"/>
                    <a:pt x="62514" y="151974"/>
                    <a:pt x="62514" y="151974"/>
                  </a:cubicBezTo>
                  <a:cubicBezTo>
                    <a:pt x="71470" y="151974"/>
                    <a:pt x="80426" y="145257"/>
                    <a:pt x="84456" y="135406"/>
                  </a:cubicBezTo>
                  <a:cubicBezTo>
                    <a:pt x="88038" y="126450"/>
                    <a:pt x="87142" y="116599"/>
                    <a:pt x="82217" y="110330"/>
                  </a:cubicBezTo>
                  <a:lnTo>
                    <a:pt x="91172" y="84359"/>
                  </a:lnTo>
                  <a:lnTo>
                    <a:pt x="140428" y="58387"/>
                  </a:lnTo>
                  <a:cubicBezTo>
                    <a:pt x="143115" y="57044"/>
                    <a:pt x="145802" y="54357"/>
                    <a:pt x="146697" y="51223"/>
                  </a:cubicBezTo>
                  <a:lnTo>
                    <a:pt x="151623" y="39581"/>
                  </a:lnTo>
                  <a:cubicBezTo>
                    <a:pt x="152518" y="37789"/>
                    <a:pt x="152071" y="36446"/>
                    <a:pt x="151175" y="35103"/>
                  </a:cubicBezTo>
                  <a:close/>
                  <a:moveTo>
                    <a:pt x="97889" y="13609"/>
                  </a:moveTo>
                  <a:cubicBezTo>
                    <a:pt x="98785" y="11818"/>
                    <a:pt x="100576" y="10027"/>
                    <a:pt x="102815" y="9131"/>
                  </a:cubicBezTo>
                  <a:lnTo>
                    <a:pt x="113562" y="4653"/>
                  </a:lnTo>
                  <a:lnTo>
                    <a:pt x="97889" y="50775"/>
                  </a:lnTo>
                  <a:lnTo>
                    <a:pt x="74604" y="58835"/>
                  </a:lnTo>
                  <a:lnTo>
                    <a:pt x="97889" y="13609"/>
                  </a:lnTo>
                  <a:close/>
                  <a:moveTo>
                    <a:pt x="78187" y="112121"/>
                  </a:moveTo>
                  <a:cubicBezTo>
                    <a:pt x="82664" y="117495"/>
                    <a:pt x="84008" y="126002"/>
                    <a:pt x="80873" y="133615"/>
                  </a:cubicBezTo>
                  <a:cubicBezTo>
                    <a:pt x="77739" y="141675"/>
                    <a:pt x="70574" y="147048"/>
                    <a:pt x="62962" y="147048"/>
                  </a:cubicBezTo>
                  <a:cubicBezTo>
                    <a:pt x="62962" y="147048"/>
                    <a:pt x="62962" y="147048"/>
                    <a:pt x="62962" y="147048"/>
                  </a:cubicBezTo>
                  <a:cubicBezTo>
                    <a:pt x="61171" y="147048"/>
                    <a:pt x="59380" y="146601"/>
                    <a:pt x="58036" y="146152"/>
                  </a:cubicBezTo>
                  <a:cubicBezTo>
                    <a:pt x="49529" y="142570"/>
                    <a:pt x="46394" y="131376"/>
                    <a:pt x="50424" y="121077"/>
                  </a:cubicBezTo>
                  <a:cubicBezTo>
                    <a:pt x="53559" y="113912"/>
                    <a:pt x="59380" y="108539"/>
                    <a:pt x="66096" y="107643"/>
                  </a:cubicBezTo>
                  <a:lnTo>
                    <a:pt x="67440" y="107643"/>
                  </a:lnTo>
                  <a:lnTo>
                    <a:pt x="74157" y="87493"/>
                  </a:lnTo>
                  <a:cubicBezTo>
                    <a:pt x="75948" y="88389"/>
                    <a:pt x="77739" y="88837"/>
                    <a:pt x="79530" y="88837"/>
                  </a:cubicBezTo>
                  <a:cubicBezTo>
                    <a:pt x="81769" y="88837"/>
                    <a:pt x="83560" y="88389"/>
                    <a:pt x="85351" y="87493"/>
                  </a:cubicBezTo>
                  <a:lnTo>
                    <a:pt x="77291" y="111673"/>
                  </a:lnTo>
                  <a:lnTo>
                    <a:pt x="78187" y="112121"/>
                  </a:lnTo>
                  <a:close/>
                  <a:moveTo>
                    <a:pt x="143115" y="49432"/>
                  </a:moveTo>
                  <a:cubicBezTo>
                    <a:pt x="142219" y="51671"/>
                    <a:pt x="140876" y="53014"/>
                    <a:pt x="138637" y="54357"/>
                  </a:cubicBezTo>
                  <a:lnTo>
                    <a:pt x="84008" y="83015"/>
                  </a:lnTo>
                  <a:cubicBezTo>
                    <a:pt x="82664" y="83911"/>
                    <a:pt x="80873" y="83911"/>
                    <a:pt x="79530" y="83911"/>
                  </a:cubicBezTo>
                  <a:cubicBezTo>
                    <a:pt x="75500" y="83911"/>
                    <a:pt x="71918" y="81672"/>
                    <a:pt x="70574" y="78090"/>
                  </a:cubicBezTo>
                  <a:lnTo>
                    <a:pt x="69679" y="76299"/>
                  </a:lnTo>
                  <a:lnTo>
                    <a:pt x="44155" y="84806"/>
                  </a:lnTo>
                  <a:lnTo>
                    <a:pt x="44155" y="86150"/>
                  </a:lnTo>
                  <a:cubicBezTo>
                    <a:pt x="43260" y="92867"/>
                    <a:pt x="37886" y="98688"/>
                    <a:pt x="30722" y="101822"/>
                  </a:cubicBezTo>
                  <a:cubicBezTo>
                    <a:pt x="27587" y="103165"/>
                    <a:pt x="24453" y="103613"/>
                    <a:pt x="21766" y="103613"/>
                  </a:cubicBezTo>
                  <a:cubicBezTo>
                    <a:pt x="14154" y="103613"/>
                    <a:pt x="8333" y="100031"/>
                    <a:pt x="6094" y="94210"/>
                  </a:cubicBezTo>
                  <a:cubicBezTo>
                    <a:pt x="2511" y="85702"/>
                    <a:pt x="8333" y="75403"/>
                    <a:pt x="18632" y="71373"/>
                  </a:cubicBezTo>
                  <a:cubicBezTo>
                    <a:pt x="21766" y="70029"/>
                    <a:pt x="24901" y="69582"/>
                    <a:pt x="27587" y="69582"/>
                  </a:cubicBezTo>
                  <a:cubicBezTo>
                    <a:pt x="32513" y="69582"/>
                    <a:pt x="36991" y="71373"/>
                    <a:pt x="40125" y="74060"/>
                  </a:cubicBezTo>
                  <a:lnTo>
                    <a:pt x="41021" y="74955"/>
                  </a:lnTo>
                  <a:lnTo>
                    <a:pt x="147593" y="38685"/>
                  </a:lnTo>
                  <a:lnTo>
                    <a:pt x="143115" y="49432"/>
                  </a:lnTo>
                  <a:close/>
                </a:path>
              </a:pathLst>
            </a:custGeom>
            <a:solidFill>
              <a:srgbClr val="231F20"/>
            </a:solidFill>
            <a:ln w="4474" cap="flat">
              <a:noFill/>
              <a:prstDash val="solid"/>
              <a:miter/>
            </a:ln>
          </p:spPr>
          <p:txBody>
            <a:bodyPr rtlCol="0" anchor="ctr"/>
            <a:lstStyle/>
            <a:p>
              <a:endParaRPr lang="en-US"/>
            </a:p>
          </p:txBody>
        </p:sp>
        <p:sp>
          <p:nvSpPr>
            <p:cNvPr id="4870" name="Freeform: Shape 4869">
              <a:extLst>
                <a:ext uri="{FF2B5EF4-FFF2-40B4-BE49-F238E27FC236}">
                  <a16:creationId xmlns:a16="http://schemas.microsoft.com/office/drawing/2014/main" id="{E5B009B9-5CCE-478A-856C-49AC543A4D8B}"/>
                </a:ext>
              </a:extLst>
            </p:cNvPr>
            <p:cNvSpPr/>
            <p:nvPr/>
          </p:nvSpPr>
          <p:spPr>
            <a:xfrm>
              <a:off x="4325496" y="6353152"/>
              <a:ext cx="13433" cy="17911"/>
            </a:xfrm>
            <a:custGeom>
              <a:avLst/>
              <a:gdLst>
                <a:gd name="connsiteX0" fmla="*/ 13026 w 13433"/>
                <a:gd name="connsiteY0" fmla="*/ 509 h 17911"/>
                <a:gd name="connsiteX1" fmla="*/ 936 w 13433"/>
                <a:gd name="connsiteY1" fmla="*/ 6778 h 17911"/>
                <a:gd name="connsiteX2" fmla="*/ 488 w 13433"/>
                <a:gd name="connsiteY2" fmla="*/ 14390 h 17911"/>
                <a:gd name="connsiteX3" fmla="*/ 4966 w 13433"/>
                <a:gd name="connsiteY3" fmla="*/ 19764 h 17911"/>
                <a:gd name="connsiteX4" fmla="*/ 7653 w 13433"/>
                <a:gd name="connsiteY4" fmla="*/ 20212 h 17911"/>
                <a:gd name="connsiteX5" fmla="*/ 16608 w 13433"/>
                <a:gd name="connsiteY5" fmla="*/ 13047 h 17911"/>
                <a:gd name="connsiteX6" fmla="*/ 13026 w 13433"/>
                <a:gd name="connsiteY6" fmla="*/ 509 h 17911"/>
                <a:gd name="connsiteX7" fmla="*/ 13026 w 13433"/>
                <a:gd name="connsiteY7" fmla="*/ 11704 h 17911"/>
                <a:gd name="connsiteX8" fmla="*/ 7205 w 13433"/>
                <a:gd name="connsiteY8" fmla="*/ 15734 h 17911"/>
                <a:gd name="connsiteX9" fmla="*/ 5414 w 13433"/>
                <a:gd name="connsiteY9" fmla="*/ 13495 h 17911"/>
                <a:gd name="connsiteX10" fmla="*/ 5862 w 13433"/>
                <a:gd name="connsiteY10" fmla="*/ 8569 h 17911"/>
                <a:gd name="connsiteX11" fmla="*/ 10787 w 13433"/>
                <a:gd name="connsiteY11" fmla="*/ 4539 h 17911"/>
                <a:gd name="connsiteX12" fmla="*/ 11683 w 13433"/>
                <a:gd name="connsiteY12" fmla="*/ 4539 h 17911"/>
                <a:gd name="connsiteX13" fmla="*/ 13026 w 13433"/>
                <a:gd name="connsiteY13" fmla="*/ 11704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33" h="17911">
                  <a:moveTo>
                    <a:pt x="13026" y="509"/>
                  </a:moveTo>
                  <a:cubicBezTo>
                    <a:pt x="8548" y="-1282"/>
                    <a:pt x="3175" y="1852"/>
                    <a:pt x="936" y="6778"/>
                  </a:cubicBezTo>
                  <a:cubicBezTo>
                    <a:pt x="40" y="9465"/>
                    <a:pt x="-407" y="12151"/>
                    <a:pt x="488" y="14390"/>
                  </a:cubicBezTo>
                  <a:cubicBezTo>
                    <a:pt x="1384" y="16629"/>
                    <a:pt x="2727" y="18868"/>
                    <a:pt x="4966" y="19764"/>
                  </a:cubicBezTo>
                  <a:cubicBezTo>
                    <a:pt x="5862" y="20212"/>
                    <a:pt x="6757" y="20212"/>
                    <a:pt x="7653" y="20212"/>
                  </a:cubicBezTo>
                  <a:cubicBezTo>
                    <a:pt x="11235" y="20212"/>
                    <a:pt x="15265" y="17525"/>
                    <a:pt x="16608" y="13047"/>
                  </a:cubicBezTo>
                  <a:cubicBezTo>
                    <a:pt x="19295" y="8121"/>
                    <a:pt x="17504" y="2300"/>
                    <a:pt x="13026" y="509"/>
                  </a:cubicBezTo>
                  <a:close/>
                  <a:moveTo>
                    <a:pt x="13026" y="11704"/>
                  </a:moveTo>
                  <a:cubicBezTo>
                    <a:pt x="11683" y="14390"/>
                    <a:pt x="8996" y="16629"/>
                    <a:pt x="7205" y="15734"/>
                  </a:cubicBezTo>
                  <a:cubicBezTo>
                    <a:pt x="6309" y="15286"/>
                    <a:pt x="5862" y="14390"/>
                    <a:pt x="5414" y="13495"/>
                  </a:cubicBezTo>
                  <a:cubicBezTo>
                    <a:pt x="4966" y="12151"/>
                    <a:pt x="4966" y="10360"/>
                    <a:pt x="5862" y="8569"/>
                  </a:cubicBezTo>
                  <a:cubicBezTo>
                    <a:pt x="6757" y="6330"/>
                    <a:pt x="8996" y="4539"/>
                    <a:pt x="10787" y="4539"/>
                  </a:cubicBezTo>
                  <a:cubicBezTo>
                    <a:pt x="11235" y="4539"/>
                    <a:pt x="11683" y="4539"/>
                    <a:pt x="11683" y="4539"/>
                  </a:cubicBezTo>
                  <a:cubicBezTo>
                    <a:pt x="13474" y="5435"/>
                    <a:pt x="14369" y="8569"/>
                    <a:pt x="13026" y="11704"/>
                  </a:cubicBezTo>
                  <a:close/>
                </a:path>
              </a:pathLst>
            </a:custGeom>
            <a:solidFill>
              <a:srgbClr val="231F20"/>
            </a:solidFill>
            <a:ln w="4474" cap="flat">
              <a:noFill/>
              <a:prstDash val="solid"/>
              <a:miter/>
            </a:ln>
          </p:spPr>
          <p:txBody>
            <a:bodyPr rtlCol="0" anchor="ctr"/>
            <a:lstStyle/>
            <a:p>
              <a:endParaRPr lang="en-US"/>
            </a:p>
          </p:txBody>
        </p:sp>
        <p:sp>
          <p:nvSpPr>
            <p:cNvPr id="4871" name="Freeform: Shape 4870">
              <a:extLst>
                <a:ext uri="{FF2B5EF4-FFF2-40B4-BE49-F238E27FC236}">
                  <a16:creationId xmlns:a16="http://schemas.microsoft.com/office/drawing/2014/main" id="{D30F8119-29C9-41C0-991F-CE92A5692789}"/>
                </a:ext>
              </a:extLst>
            </p:cNvPr>
            <p:cNvSpPr/>
            <p:nvPr/>
          </p:nvSpPr>
          <p:spPr>
            <a:xfrm>
              <a:off x="4344264" y="6302320"/>
              <a:ext cx="8956" cy="8956"/>
            </a:xfrm>
            <a:custGeom>
              <a:avLst/>
              <a:gdLst>
                <a:gd name="connsiteX0" fmla="*/ 5453 w 8955"/>
                <a:gd name="connsiteY0" fmla="*/ 11489 h 8955"/>
                <a:gd name="connsiteX1" fmla="*/ 8139 w 8955"/>
                <a:gd name="connsiteY1" fmla="*/ 11041 h 8955"/>
                <a:gd name="connsiteX2" fmla="*/ 11274 w 8955"/>
                <a:gd name="connsiteY2" fmla="*/ 7906 h 8955"/>
                <a:gd name="connsiteX3" fmla="*/ 10826 w 8955"/>
                <a:gd name="connsiteY3" fmla="*/ 3428 h 8955"/>
                <a:gd name="connsiteX4" fmla="*/ 7691 w 8955"/>
                <a:gd name="connsiteY4" fmla="*/ 294 h 8955"/>
                <a:gd name="connsiteX5" fmla="*/ 3214 w 8955"/>
                <a:gd name="connsiteY5" fmla="*/ 742 h 8955"/>
                <a:gd name="connsiteX6" fmla="*/ 527 w 8955"/>
                <a:gd name="connsiteY6" fmla="*/ 8354 h 8955"/>
                <a:gd name="connsiteX7" fmla="*/ 5453 w 8955"/>
                <a:gd name="connsiteY7" fmla="*/ 11489 h 8955"/>
                <a:gd name="connsiteX8" fmla="*/ 4557 w 8955"/>
                <a:gd name="connsiteY8" fmla="*/ 4324 h 8955"/>
                <a:gd name="connsiteX9" fmla="*/ 4557 w 8955"/>
                <a:gd name="connsiteY9" fmla="*/ 4324 h 8955"/>
                <a:gd name="connsiteX10" fmla="*/ 5005 w 8955"/>
                <a:gd name="connsiteY10" fmla="*/ 4324 h 8955"/>
                <a:gd name="connsiteX11" fmla="*/ 5453 w 8955"/>
                <a:gd name="connsiteY11" fmla="*/ 4324 h 8955"/>
                <a:gd name="connsiteX12" fmla="*/ 6348 w 8955"/>
                <a:gd name="connsiteY12" fmla="*/ 4772 h 8955"/>
                <a:gd name="connsiteX13" fmla="*/ 6348 w 8955"/>
                <a:gd name="connsiteY13" fmla="*/ 5667 h 8955"/>
                <a:gd name="connsiteX14" fmla="*/ 5900 w 8955"/>
                <a:gd name="connsiteY14" fmla="*/ 6563 h 8955"/>
                <a:gd name="connsiteX15" fmla="*/ 4109 w 8955"/>
                <a:gd name="connsiteY15" fmla="*/ 6115 h 8955"/>
                <a:gd name="connsiteX16" fmla="*/ 4557 w 8955"/>
                <a:gd name="connsiteY16" fmla="*/ 4324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55" h="8955">
                  <a:moveTo>
                    <a:pt x="5453" y="11489"/>
                  </a:moveTo>
                  <a:cubicBezTo>
                    <a:pt x="6348" y="11489"/>
                    <a:pt x="7244" y="11489"/>
                    <a:pt x="8139" y="11041"/>
                  </a:cubicBezTo>
                  <a:cubicBezTo>
                    <a:pt x="9483" y="10145"/>
                    <a:pt x="10378" y="9250"/>
                    <a:pt x="11274" y="7906"/>
                  </a:cubicBezTo>
                  <a:cubicBezTo>
                    <a:pt x="11722" y="6563"/>
                    <a:pt x="11722" y="4772"/>
                    <a:pt x="10826" y="3428"/>
                  </a:cubicBezTo>
                  <a:cubicBezTo>
                    <a:pt x="9930" y="2085"/>
                    <a:pt x="9035" y="1189"/>
                    <a:pt x="7691" y="294"/>
                  </a:cubicBezTo>
                  <a:cubicBezTo>
                    <a:pt x="6348" y="-154"/>
                    <a:pt x="4557" y="-154"/>
                    <a:pt x="3214" y="742"/>
                  </a:cubicBezTo>
                  <a:cubicBezTo>
                    <a:pt x="527" y="2085"/>
                    <a:pt x="-816" y="5667"/>
                    <a:pt x="527" y="8354"/>
                  </a:cubicBezTo>
                  <a:cubicBezTo>
                    <a:pt x="975" y="10145"/>
                    <a:pt x="3214" y="11489"/>
                    <a:pt x="5453" y="11489"/>
                  </a:cubicBezTo>
                  <a:close/>
                  <a:moveTo>
                    <a:pt x="4557" y="4324"/>
                  </a:moveTo>
                  <a:lnTo>
                    <a:pt x="4557" y="4324"/>
                  </a:lnTo>
                  <a:cubicBezTo>
                    <a:pt x="4557" y="4324"/>
                    <a:pt x="5005" y="4324"/>
                    <a:pt x="5005" y="4324"/>
                  </a:cubicBezTo>
                  <a:cubicBezTo>
                    <a:pt x="5005" y="4324"/>
                    <a:pt x="5453" y="4324"/>
                    <a:pt x="5453" y="4324"/>
                  </a:cubicBezTo>
                  <a:cubicBezTo>
                    <a:pt x="5900" y="4324"/>
                    <a:pt x="5900" y="4772"/>
                    <a:pt x="6348" y="4772"/>
                  </a:cubicBezTo>
                  <a:cubicBezTo>
                    <a:pt x="6348" y="5220"/>
                    <a:pt x="6348" y="5220"/>
                    <a:pt x="6348" y="5667"/>
                  </a:cubicBezTo>
                  <a:cubicBezTo>
                    <a:pt x="6348" y="6115"/>
                    <a:pt x="5900" y="6115"/>
                    <a:pt x="5900" y="6563"/>
                  </a:cubicBezTo>
                  <a:cubicBezTo>
                    <a:pt x="5453" y="7011"/>
                    <a:pt x="4557" y="6563"/>
                    <a:pt x="4109" y="6115"/>
                  </a:cubicBezTo>
                  <a:cubicBezTo>
                    <a:pt x="3661" y="5667"/>
                    <a:pt x="4109" y="4772"/>
                    <a:pt x="4557" y="4324"/>
                  </a:cubicBezTo>
                  <a:close/>
                </a:path>
              </a:pathLst>
            </a:custGeom>
            <a:solidFill>
              <a:srgbClr val="231F20"/>
            </a:solidFill>
            <a:ln w="4474" cap="flat">
              <a:noFill/>
              <a:prstDash val="solid"/>
              <a:miter/>
            </a:ln>
          </p:spPr>
          <p:txBody>
            <a:bodyPr rtlCol="0" anchor="ctr"/>
            <a:lstStyle/>
            <a:p>
              <a:endParaRPr lang="en-US"/>
            </a:p>
          </p:txBody>
        </p:sp>
        <p:sp>
          <p:nvSpPr>
            <p:cNvPr id="4872" name="Freeform: Shape 4871">
              <a:extLst>
                <a:ext uri="{FF2B5EF4-FFF2-40B4-BE49-F238E27FC236}">
                  <a16:creationId xmlns:a16="http://schemas.microsoft.com/office/drawing/2014/main" id="{5D9EF99A-9A40-456F-BA0C-F2D36659ACA7}"/>
                </a:ext>
              </a:extLst>
            </p:cNvPr>
            <p:cNvSpPr/>
            <p:nvPr/>
          </p:nvSpPr>
          <p:spPr>
            <a:xfrm>
              <a:off x="4283788" y="6313360"/>
              <a:ext cx="17911" cy="17911"/>
            </a:xfrm>
            <a:custGeom>
              <a:avLst/>
              <a:gdLst>
                <a:gd name="connsiteX0" fmla="*/ 11299 w 17911"/>
                <a:gd name="connsiteY0" fmla="*/ 0 h 17911"/>
                <a:gd name="connsiteX1" fmla="*/ 6821 w 17911"/>
                <a:gd name="connsiteY1" fmla="*/ 895 h 17911"/>
                <a:gd name="connsiteX2" fmla="*/ 553 w 17911"/>
                <a:gd name="connsiteY2" fmla="*/ 12986 h 17911"/>
                <a:gd name="connsiteX3" fmla="*/ 8613 w 17911"/>
                <a:gd name="connsiteY3" fmla="*/ 17911 h 17911"/>
                <a:gd name="connsiteX4" fmla="*/ 13091 w 17911"/>
                <a:gd name="connsiteY4" fmla="*/ 17015 h 17911"/>
                <a:gd name="connsiteX5" fmla="*/ 18912 w 17911"/>
                <a:gd name="connsiteY5" fmla="*/ 12090 h 17911"/>
                <a:gd name="connsiteX6" fmla="*/ 19359 w 17911"/>
                <a:gd name="connsiteY6" fmla="*/ 5373 h 17911"/>
                <a:gd name="connsiteX7" fmla="*/ 11299 w 17911"/>
                <a:gd name="connsiteY7" fmla="*/ 0 h 17911"/>
                <a:gd name="connsiteX8" fmla="*/ 15329 w 17911"/>
                <a:gd name="connsiteY8" fmla="*/ 9403 h 17911"/>
                <a:gd name="connsiteX9" fmla="*/ 11747 w 17911"/>
                <a:gd name="connsiteY9" fmla="*/ 12538 h 17911"/>
                <a:gd name="connsiteX10" fmla="*/ 4583 w 17911"/>
                <a:gd name="connsiteY10" fmla="*/ 11195 h 17911"/>
                <a:gd name="connsiteX11" fmla="*/ 8613 w 17911"/>
                <a:gd name="connsiteY11" fmla="*/ 5373 h 17911"/>
                <a:gd name="connsiteX12" fmla="*/ 11747 w 17911"/>
                <a:gd name="connsiteY12" fmla="*/ 4925 h 17911"/>
                <a:gd name="connsiteX13" fmla="*/ 15777 w 17911"/>
                <a:gd name="connsiteY13" fmla="*/ 7164 h 17911"/>
                <a:gd name="connsiteX14" fmla="*/ 15329 w 17911"/>
                <a:gd name="connsiteY14" fmla="*/ 9403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11" h="17911">
                  <a:moveTo>
                    <a:pt x="11299" y="0"/>
                  </a:moveTo>
                  <a:cubicBezTo>
                    <a:pt x="9956" y="0"/>
                    <a:pt x="8165" y="448"/>
                    <a:pt x="6821" y="895"/>
                  </a:cubicBezTo>
                  <a:cubicBezTo>
                    <a:pt x="1448" y="3134"/>
                    <a:pt x="-1239" y="8508"/>
                    <a:pt x="553" y="12986"/>
                  </a:cubicBezTo>
                  <a:cubicBezTo>
                    <a:pt x="1896" y="16120"/>
                    <a:pt x="5030" y="17911"/>
                    <a:pt x="8613" y="17911"/>
                  </a:cubicBezTo>
                  <a:cubicBezTo>
                    <a:pt x="9956" y="17911"/>
                    <a:pt x="11747" y="17464"/>
                    <a:pt x="13091" y="17015"/>
                  </a:cubicBezTo>
                  <a:cubicBezTo>
                    <a:pt x="15777" y="16120"/>
                    <a:pt x="17568" y="14329"/>
                    <a:pt x="18912" y="12090"/>
                  </a:cubicBezTo>
                  <a:cubicBezTo>
                    <a:pt x="20255" y="9851"/>
                    <a:pt x="20255" y="7612"/>
                    <a:pt x="19359" y="5373"/>
                  </a:cubicBezTo>
                  <a:cubicBezTo>
                    <a:pt x="18464" y="1791"/>
                    <a:pt x="15329" y="0"/>
                    <a:pt x="11299" y="0"/>
                  </a:cubicBezTo>
                  <a:close/>
                  <a:moveTo>
                    <a:pt x="15329" y="9403"/>
                  </a:moveTo>
                  <a:cubicBezTo>
                    <a:pt x="14434" y="10747"/>
                    <a:pt x="13091" y="11642"/>
                    <a:pt x="11747" y="12538"/>
                  </a:cubicBezTo>
                  <a:cubicBezTo>
                    <a:pt x="8613" y="13881"/>
                    <a:pt x="5478" y="12986"/>
                    <a:pt x="4583" y="11195"/>
                  </a:cubicBezTo>
                  <a:cubicBezTo>
                    <a:pt x="3687" y="8956"/>
                    <a:pt x="5478" y="6269"/>
                    <a:pt x="8613" y="5373"/>
                  </a:cubicBezTo>
                  <a:cubicBezTo>
                    <a:pt x="9508" y="4925"/>
                    <a:pt x="10404" y="4925"/>
                    <a:pt x="11747" y="4925"/>
                  </a:cubicBezTo>
                  <a:cubicBezTo>
                    <a:pt x="13538" y="4925"/>
                    <a:pt x="15329" y="5821"/>
                    <a:pt x="15777" y="7164"/>
                  </a:cubicBezTo>
                  <a:cubicBezTo>
                    <a:pt x="15777" y="7612"/>
                    <a:pt x="15777" y="8508"/>
                    <a:pt x="15329" y="9403"/>
                  </a:cubicBezTo>
                  <a:close/>
                </a:path>
              </a:pathLst>
            </a:custGeom>
            <a:solidFill>
              <a:srgbClr val="231F20"/>
            </a:solidFill>
            <a:ln w="4474" cap="flat">
              <a:noFill/>
              <a:prstDash val="solid"/>
              <a:miter/>
            </a:ln>
          </p:spPr>
          <p:txBody>
            <a:bodyPr rtlCol="0" anchor="ctr"/>
            <a:lstStyle/>
            <a:p>
              <a:endParaRPr lang="en-US"/>
            </a:p>
          </p:txBody>
        </p:sp>
      </p:grpSp>
      <p:sp>
        <p:nvSpPr>
          <p:cNvPr id="4873" name="Freeform: Shape 4872">
            <a:extLst>
              <a:ext uri="{FF2B5EF4-FFF2-40B4-BE49-F238E27FC236}">
                <a16:creationId xmlns:a16="http://schemas.microsoft.com/office/drawing/2014/main" id="{E9A45C44-8874-458F-B072-99162BC2A169}"/>
              </a:ext>
              <a:ext uri="{C183D7F6-B498-43B3-948B-1728B52AA6E4}">
                <adec:decorative xmlns:adec="http://schemas.microsoft.com/office/drawing/2017/decorative" val="1"/>
              </a:ext>
            </a:extLst>
          </p:cNvPr>
          <p:cNvSpPr>
            <a:spLocks noChangeAspect="1"/>
          </p:cNvSpPr>
          <p:nvPr/>
        </p:nvSpPr>
        <p:spPr>
          <a:xfrm>
            <a:off x="10840606" y="2790141"/>
            <a:ext cx="147768" cy="138812"/>
          </a:xfrm>
          <a:custGeom>
            <a:avLst/>
            <a:gdLst>
              <a:gd name="connsiteX0" fmla="*/ 149953 w 147767"/>
              <a:gd name="connsiteY0" fmla="*/ 53734 h 138812"/>
              <a:gd name="connsiteX1" fmla="*/ 143236 w 147767"/>
              <a:gd name="connsiteY1" fmla="*/ 47017 h 138812"/>
              <a:gd name="connsiteX2" fmla="*/ 141445 w 147767"/>
              <a:gd name="connsiteY2" fmla="*/ 46569 h 138812"/>
              <a:gd name="connsiteX3" fmla="*/ 136071 w 147767"/>
              <a:gd name="connsiteY3" fmla="*/ 47017 h 138812"/>
              <a:gd name="connsiteX4" fmla="*/ 131146 w 147767"/>
              <a:gd name="connsiteY4" fmla="*/ 45226 h 138812"/>
              <a:gd name="connsiteX5" fmla="*/ 129802 w 147767"/>
              <a:gd name="connsiteY5" fmla="*/ 40748 h 138812"/>
              <a:gd name="connsiteX6" fmla="*/ 130250 w 147767"/>
              <a:gd name="connsiteY6" fmla="*/ 35375 h 138812"/>
              <a:gd name="connsiteX7" fmla="*/ 129802 w 147767"/>
              <a:gd name="connsiteY7" fmla="*/ 33584 h 138812"/>
              <a:gd name="connsiteX8" fmla="*/ 107861 w 147767"/>
              <a:gd name="connsiteY8" fmla="*/ 11642 h 138812"/>
              <a:gd name="connsiteX9" fmla="*/ 96219 w 147767"/>
              <a:gd name="connsiteY9" fmla="*/ 3582 h 138812"/>
              <a:gd name="connsiteX10" fmla="*/ 80099 w 147767"/>
              <a:gd name="connsiteY10" fmla="*/ 0 h 138812"/>
              <a:gd name="connsiteX11" fmla="*/ 62187 w 147767"/>
              <a:gd name="connsiteY11" fmla="*/ 4030 h 138812"/>
              <a:gd name="connsiteX12" fmla="*/ 60844 w 147767"/>
              <a:gd name="connsiteY12" fmla="*/ 6269 h 138812"/>
              <a:gd name="connsiteX13" fmla="*/ 63083 w 147767"/>
              <a:gd name="connsiteY13" fmla="*/ 8060 h 138812"/>
              <a:gd name="connsiteX14" fmla="*/ 89054 w 147767"/>
              <a:gd name="connsiteY14" fmla="*/ 22837 h 138812"/>
              <a:gd name="connsiteX15" fmla="*/ 77412 w 147767"/>
              <a:gd name="connsiteY15" fmla="*/ 34480 h 138812"/>
              <a:gd name="connsiteX16" fmla="*/ 76964 w 147767"/>
              <a:gd name="connsiteY16" fmla="*/ 36270 h 138812"/>
              <a:gd name="connsiteX17" fmla="*/ 77412 w 147767"/>
              <a:gd name="connsiteY17" fmla="*/ 38061 h 138812"/>
              <a:gd name="connsiteX18" fmla="*/ 79651 w 147767"/>
              <a:gd name="connsiteY18" fmla="*/ 40300 h 138812"/>
              <a:gd name="connsiteX19" fmla="*/ 3976 w 147767"/>
              <a:gd name="connsiteY19" fmla="*/ 115080 h 138812"/>
              <a:gd name="connsiteX20" fmla="*/ 4423 w 147767"/>
              <a:gd name="connsiteY20" fmla="*/ 134782 h 138812"/>
              <a:gd name="connsiteX21" fmla="*/ 14275 w 147767"/>
              <a:gd name="connsiteY21" fmla="*/ 138812 h 138812"/>
              <a:gd name="connsiteX22" fmla="*/ 14275 w 147767"/>
              <a:gd name="connsiteY22" fmla="*/ 138812 h 138812"/>
              <a:gd name="connsiteX23" fmla="*/ 24126 w 147767"/>
              <a:gd name="connsiteY23" fmla="*/ 134782 h 138812"/>
              <a:gd name="connsiteX24" fmla="*/ 98906 w 147767"/>
              <a:gd name="connsiteY24" fmla="*/ 59555 h 138812"/>
              <a:gd name="connsiteX25" fmla="*/ 101592 w 147767"/>
              <a:gd name="connsiteY25" fmla="*/ 62242 h 138812"/>
              <a:gd name="connsiteX26" fmla="*/ 103831 w 147767"/>
              <a:gd name="connsiteY26" fmla="*/ 62689 h 138812"/>
              <a:gd name="connsiteX27" fmla="*/ 110996 w 147767"/>
              <a:gd name="connsiteY27" fmla="*/ 60898 h 138812"/>
              <a:gd name="connsiteX28" fmla="*/ 116817 w 147767"/>
              <a:gd name="connsiteY28" fmla="*/ 62689 h 138812"/>
              <a:gd name="connsiteX29" fmla="*/ 118160 w 147767"/>
              <a:gd name="connsiteY29" fmla="*/ 67167 h 138812"/>
              <a:gd name="connsiteX30" fmla="*/ 117712 w 147767"/>
              <a:gd name="connsiteY30" fmla="*/ 71197 h 138812"/>
              <a:gd name="connsiteX31" fmla="*/ 118160 w 147767"/>
              <a:gd name="connsiteY31" fmla="*/ 72989 h 138812"/>
              <a:gd name="connsiteX32" fmla="*/ 124877 w 147767"/>
              <a:gd name="connsiteY32" fmla="*/ 79705 h 138812"/>
              <a:gd name="connsiteX33" fmla="*/ 133833 w 147767"/>
              <a:gd name="connsiteY33" fmla="*/ 79705 h 138812"/>
              <a:gd name="connsiteX34" fmla="*/ 150400 w 147767"/>
              <a:gd name="connsiteY34" fmla="*/ 63137 h 138812"/>
              <a:gd name="connsiteX35" fmla="*/ 152191 w 147767"/>
              <a:gd name="connsiteY35" fmla="*/ 58659 h 138812"/>
              <a:gd name="connsiteX36" fmla="*/ 149953 w 147767"/>
              <a:gd name="connsiteY36" fmla="*/ 53734 h 138812"/>
              <a:gd name="connsiteX37" fmla="*/ 20544 w 147767"/>
              <a:gd name="connsiteY37" fmla="*/ 131200 h 138812"/>
              <a:gd name="connsiteX38" fmla="*/ 13827 w 147767"/>
              <a:gd name="connsiteY38" fmla="*/ 133887 h 138812"/>
              <a:gd name="connsiteX39" fmla="*/ 7110 w 147767"/>
              <a:gd name="connsiteY39" fmla="*/ 130753 h 138812"/>
              <a:gd name="connsiteX40" fmla="*/ 7110 w 147767"/>
              <a:gd name="connsiteY40" fmla="*/ 117767 h 138812"/>
              <a:gd name="connsiteX41" fmla="*/ 82785 w 147767"/>
              <a:gd name="connsiteY41" fmla="*/ 42987 h 138812"/>
              <a:gd name="connsiteX42" fmla="*/ 95323 w 147767"/>
              <a:gd name="connsiteY42" fmla="*/ 55525 h 138812"/>
              <a:gd name="connsiteX43" fmla="*/ 20544 w 147767"/>
              <a:gd name="connsiteY43" fmla="*/ 131200 h 138812"/>
              <a:gd name="connsiteX44" fmla="*/ 146818 w 147767"/>
              <a:gd name="connsiteY44" fmla="*/ 59555 h 138812"/>
              <a:gd name="connsiteX45" fmla="*/ 146818 w 147767"/>
              <a:gd name="connsiteY45" fmla="*/ 59555 h 138812"/>
              <a:gd name="connsiteX46" fmla="*/ 130250 w 147767"/>
              <a:gd name="connsiteY46" fmla="*/ 76123 h 138812"/>
              <a:gd name="connsiteX47" fmla="*/ 127563 w 147767"/>
              <a:gd name="connsiteY47" fmla="*/ 76123 h 138812"/>
              <a:gd name="connsiteX48" fmla="*/ 121743 w 147767"/>
              <a:gd name="connsiteY48" fmla="*/ 70302 h 138812"/>
              <a:gd name="connsiteX49" fmla="*/ 122190 w 147767"/>
              <a:gd name="connsiteY49" fmla="*/ 67167 h 138812"/>
              <a:gd name="connsiteX50" fmla="*/ 119504 w 147767"/>
              <a:gd name="connsiteY50" fmla="*/ 59108 h 138812"/>
              <a:gd name="connsiteX51" fmla="*/ 109205 w 147767"/>
              <a:gd name="connsiteY51" fmla="*/ 55973 h 138812"/>
              <a:gd name="connsiteX52" fmla="*/ 103383 w 147767"/>
              <a:gd name="connsiteY52" fmla="*/ 57316 h 138812"/>
              <a:gd name="connsiteX53" fmla="*/ 81890 w 147767"/>
              <a:gd name="connsiteY53" fmla="*/ 36270 h 138812"/>
              <a:gd name="connsiteX54" fmla="*/ 91741 w 147767"/>
              <a:gd name="connsiteY54" fmla="*/ 26419 h 138812"/>
              <a:gd name="connsiteX55" fmla="*/ 92637 w 147767"/>
              <a:gd name="connsiteY55" fmla="*/ 21494 h 138812"/>
              <a:gd name="connsiteX56" fmla="*/ 72039 w 147767"/>
              <a:gd name="connsiteY56" fmla="*/ 5374 h 138812"/>
              <a:gd name="connsiteX57" fmla="*/ 79651 w 147767"/>
              <a:gd name="connsiteY57" fmla="*/ 4478 h 138812"/>
              <a:gd name="connsiteX58" fmla="*/ 93980 w 147767"/>
              <a:gd name="connsiteY58" fmla="*/ 7613 h 138812"/>
              <a:gd name="connsiteX59" fmla="*/ 104279 w 147767"/>
              <a:gd name="connsiteY59" fmla="*/ 14777 h 138812"/>
              <a:gd name="connsiteX60" fmla="*/ 125325 w 147767"/>
              <a:gd name="connsiteY60" fmla="*/ 35823 h 138812"/>
              <a:gd name="connsiteX61" fmla="*/ 124877 w 147767"/>
              <a:gd name="connsiteY61" fmla="*/ 40300 h 138812"/>
              <a:gd name="connsiteX62" fmla="*/ 127563 w 147767"/>
              <a:gd name="connsiteY62" fmla="*/ 48361 h 138812"/>
              <a:gd name="connsiteX63" fmla="*/ 136519 w 147767"/>
              <a:gd name="connsiteY63" fmla="*/ 51943 h 138812"/>
              <a:gd name="connsiteX64" fmla="*/ 140997 w 147767"/>
              <a:gd name="connsiteY64" fmla="*/ 51495 h 138812"/>
              <a:gd name="connsiteX65" fmla="*/ 146818 w 147767"/>
              <a:gd name="connsiteY65" fmla="*/ 57316 h 138812"/>
              <a:gd name="connsiteX66" fmla="*/ 147266 w 147767"/>
              <a:gd name="connsiteY66" fmla="*/ 58659 h 138812"/>
              <a:gd name="connsiteX67" fmla="*/ 146818 w 147767"/>
              <a:gd name="connsiteY67" fmla="*/ 59555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47767" h="138812">
                <a:moveTo>
                  <a:pt x="149953" y="53734"/>
                </a:moveTo>
                <a:lnTo>
                  <a:pt x="143236" y="47017"/>
                </a:lnTo>
                <a:cubicBezTo>
                  <a:pt x="142788" y="46569"/>
                  <a:pt x="141893" y="46122"/>
                  <a:pt x="141445" y="46569"/>
                </a:cubicBezTo>
                <a:lnTo>
                  <a:pt x="136071" y="47017"/>
                </a:lnTo>
                <a:cubicBezTo>
                  <a:pt x="134280" y="47017"/>
                  <a:pt x="132041" y="46569"/>
                  <a:pt x="131146" y="45226"/>
                </a:cubicBezTo>
                <a:cubicBezTo>
                  <a:pt x="129802" y="43883"/>
                  <a:pt x="129355" y="42092"/>
                  <a:pt x="129802" y="40748"/>
                </a:cubicBezTo>
                <a:lnTo>
                  <a:pt x="130250" y="35375"/>
                </a:lnTo>
                <a:cubicBezTo>
                  <a:pt x="130250" y="34480"/>
                  <a:pt x="130250" y="34031"/>
                  <a:pt x="129802" y="33584"/>
                </a:cubicBezTo>
                <a:lnTo>
                  <a:pt x="107861" y="11642"/>
                </a:lnTo>
                <a:cubicBezTo>
                  <a:pt x="104279" y="8060"/>
                  <a:pt x="100249" y="5374"/>
                  <a:pt x="96219" y="3582"/>
                </a:cubicBezTo>
                <a:cubicBezTo>
                  <a:pt x="90846" y="1344"/>
                  <a:pt x="85472" y="0"/>
                  <a:pt x="80099" y="0"/>
                </a:cubicBezTo>
                <a:cubicBezTo>
                  <a:pt x="72039" y="0"/>
                  <a:pt x="66218" y="2239"/>
                  <a:pt x="62187" y="4030"/>
                </a:cubicBezTo>
                <a:cubicBezTo>
                  <a:pt x="61292" y="4478"/>
                  <a:pt x="60844" y="5374"/>
                  <a:pt x="60844" y="6269"/>
                </a:cubicBezTo>
                <a:cubicBezTo>
                  <a:pt x="60844" y="7164"/>
                  <a:pt x="61740" y="8060"/>
                  <a:pt x="63083" y="8060"/>
                </a:cubicBezTo>
                <a:cubicBezTo>
                  <a:pt x="79651" y="8956"/>
                  <a:pt x="86368" y="17911"/>
                  <a:pt x="89054" y="22837"/>
                </a:cubicBezTo>
                <a:lnTo>
                  <a:pt x="77412" y="34480"/>
                </a:lnTo>
                <a:cubicBezTo>
                  <a:pt x="76964" y="34927"/>
                  <a:pt x="76964" y="35375"/>
                  <a:pt x="76964" y="36270"/>
                </a:cubicBezTo>
                <a:cubicBezTo>
                  <a:pt x="76964" y="37166"/>
                  <a:pt x="77412" y="37614"/>
                  <a:pt x="77412" y="38061"/>
                </a:cubicBezTo>
                <a:lnTo>
                  <a:pt x="79651" y="40300"/>
                </a:lnTo>
                <a:lnTo>
                  <a:pt x="3976" y="115080"/>
                </a:lnTo>
                <a:cubicBezTo>
                  <a:pt x="-1398" y="120453"/>
                  <a:pt x="-1398" y="128961"/>
                  <a:pt x="4423" y="134782"/>
                </a:cubicBezTo>
                <a:cubicBezTo>
                  <a:pt x="7110" y="137469"/>
                  <a:pt x="10245" y="138812"/>
                  <a:pt x="14275" y="138812"/>
                </a:cubicBezTo>
                <a:cubicBezTo>
                  <a:pt x="14275" y="138812"/>
                  <a:pt x="14275" y="138812"/>
                  <a:pt x="14275" y="138812"/>
                </a:cubicBezTo>
                <a:cubicBezTo>
                  <a:pt x="17857" y="138812"/>
                  <a:pt x="21439" y="137469"/>
                  <a:pt x="24126" y="134782"/>
                </a:cubicBezTo>
                <a:lnTo>
                  <a:pt x="98906" y="59555"/>
                </a:lnTo>
                <a:lnTo>
                  <a:pt x="101592" y="62242"/>
                </a:lnTo>
                <a:cubicBezTo>
                  <a:pt x="102040" y="62689"/>
                  <a:pt x="102935" y="63137"/>
                  <a:pt x="103831" y="62689"/>
                </a:cubicBezTo>
                <a:lnTo>
                  <a:pt x="110996" y="60898"/>
                </a:lnTo>
                <a:cubicBezTo>
                  <a:pt x="113235" y="60451"/>
                  <a:pt x="115474" y="60898"/>
                  <a:pt x="116817" y="62689"/>
                </a:cubicBezTo>
                <a:cubicBezTo>
                  <a:pt x="118160" y="64033"/>
                  <a:pt x="118608" y="65824"/>
                  <a:pt x="118160" y="67167"/>
                </a:cubicBezTo>
                <a:lnTo>
                  <a:pt x="117712" y="71197"/>
                </a:lnTo>
                <a:cubicBezTo>
                  <a:pt x="117712" y="72093"/>
                  <a:pt x="117712" y="72541"/>
                  <a:pt x="118160" y="72989"/>
                </a:cubicBezTo>
                <a:lnTo>
                  <a:pt x="124877" y="79705"/>
                </a:lnTo>
                <a:cubicBezTo>
                  <a:pt x="127116" y="81944"/>
                  <a:pt x="131146" y="81944"/>
                  <a:pt x="133833" y="79705"/>
                </a:cubicBezTo>
                <a:lnTo>
                  <a:pt x="150400" y="63137"/>
                </a:lnTo>
                <a:cubicBezTo>
                  <a:pt x="151744" y="61794"/>
                  <a:pt x="152191" y="60451"/>
                  <a:pt x="152191" y="58659"/>
                </a:cubicBezTo>
                <a:cubicBezTo>
                  <a:pt x="151744" y="56869"/>
                  <a:pt x="151296" y="55077"/>
                  <a:pt x="149953" y="53734"/>
                </a:cubicBezTo>
                <a:close/>
                <a:moveTo>
                  <a:pt x="20544" y="131200"/>
                </a:moveTo>
                <a:cubicBezTo>
                  <a:pt x="18753" y="132992"/>
                  <a:pt x="16514" y="133887"/>
                  <a:pt x="13827" y="133887"/>
                </a:cubicBezTo>
                <a:cubicBezTo>
                  <a:pt x="11588" y="133887"/>
                  <a:pt x="8901" y="132992"/>
                  <a:pt x="7110" y="130753"/>
                </a:cubicBezTo>
                <a:cubicBezTo>
                  <a:pt x="3528" y="127170"/>
                  <a:pt x="3528" y="121349"/>
                  <a:pt x="7110" y="117767"/>
                </a:cubicBezTo>
                <a:lnTo>
                  <a:pt x="82785" y="42987"/>
                </a:lnTo>
                <a:lnTo>
                  <a:pt x="95323" y="55525"/>
                </a:lnTo>
                <a:lnTo>
                  <a:pt x="20544" y="131200"/>
                </a:lnTo>
                <a:close/>
                <a:moveTo>
                  <a:pt x="146818" y="59555"/>
                </a:moveTo>
                <a:lnTo>
                  <a:pt x="146818" y="59555"/>
                </a:lnTo>
                <a:lnTo>
                  <a:pt x="130250" y="76123"/>
                </a:lnTo>
                <a:cubicBezTo>
                  <a:pt x="129802" y="76571"/>
                  <a:pt x="128459" y="76571"/>
                  <a:pt x="127563" y="76123"/>
                </a:cubicBezTo>
                <a:lnTo>
                  <a:pt x="121743" y="70302"/>
                </a:lnTo>
                <a:lnTo>
                  <a:pt x="122190" y="67167"/>
                </a:lnTo>
                <a:cubicBezTo>
                  <a:pt x="122638" y="64033"/>
                  <a:pt x="121743" y="61346"/>
                  <a:pt x="119504" y="59108"/>
                </a:cubicBezTo>
                <a:cubicBezTo>
                  <a:pt x="116817" y="56420"/>
                  <a:pt x="112787" y="55077"/>
                  <a:pt x="109205" y="55973"/>
                </a:cubicBezTo>
                <a:lnTo>
                  <a:pt x="103383" y="57316"/>
                </a:lnTo>
                <a:lnTo>
                  <a:pt x="81890" y="36270"/>
                </a:lnTo>
                <a:lnTo>
                  <a:pt x="91741" y="26419"/>
                </a:lnTo>
                <a:cubicBezTo>
                  <a:pt x="93084" y="25076"/>
                  <a:pt x="93532" y="23285"/>
                  <a:pt x="92637" y="21494"/>
                </a:cubicBezTo>
                <a:cubicBezTo>
                  <a:pt x="89950" y="16568"/>
                  <a:pt x="84577" y="8508"/>
                  <a:pt x="72039" y="5374"/>
                </a:cubicBezTo>
                <a:cubicBezTo>
                  <a:pt x="74278" y="4925"/>
                  <a:pt x="76964" y="4478"/>
                  <a:pt x="79651" y="4478"/>
                </a:cubicBezTo>
                <a:cubicBezTo>
                  <a:pt x="84577" y="4478"/>
                  <a:pt x="89502" y="5374"/>
                  <a:pt x="93980" y="7613"/>
                </a:cubicBezTo>
                <a:cubicBezTo>
                  <a:pt x="97562" y="9403"/>
                  <a:pt x="101145" y="11642"/>
                  <a:pt x="104279" y="14777"/>
                </a:cubicBezTo>
                <a:lnTo>
                  <a:pt x="125325" y="35823"/>
                </a:lnTo>
                <a:lnTo>
                  <a:pt x="124877" y="40300"/>
                </a:lnTo>
                <a:cubicBezTo>
                  <a:pt x="124429" y="43435"/>
                  <a:pt x="125325" y="46122"/>
                  <a:pt x="127563" y="48361"/>
                </a:cubicBezTo>
                <a:cubicBezTo>
                  <a:pt x="129802" y="51047"/>
                  <a:pt x="132937" y="51943"/>
                  <a:pt x="136519" y="51943"/>
                </a:cubicBezTo>
                <a:lnTo>
                  <a:pt x="140997" y="51495"/>
                </a:lnTo>
                <a:lnTo>
                  <a:pt x="146818" y="57316"/>
                </a:lnTo>
                <a:cubicBezTo>
                  <a:pt x="147266" y="57764"/>
                  <a:pt x="147266" y="58212"/>
                  <a:pt x="147266" y="58659"/>
                </a:cubicBezTo>
                <a:cubicBezTo>
                  <a:pt x="147266" y="58659"/>
                  <a:pt x="147266" y="59108"/>
                  <a:pt x="146818" y="59555"/>
                </a:cubicBezTo>
                <a:close/>
              </a:path>
            </a:pathLst>
          </a:custGeom>
          <a:solidFill>
            <a:srgbClr val="231F20"/>
          </a:solidFill>
          <a:ln w="4474" cap="flat">
            <a:noFill/>
            <a:prstDash val="solid"/>
            <a:miter/>
          </a:ln>
        </p:spPr>
        <p:txBody>
          <a:bodyPr rtlCol="0" anchor="ctr"/>
          <a:lstStyle/>
          <a:p>
            <a:endParaRPr lang="en-US"/>
          </a:p>
        </p:txBody>
      </p:sp>
      <p:sp>
        <p:nvSpPr>
          <p:cNvPr id="4874" name="Freeform: Shape 4873">
            <a:extLst>
              <a:ext uri="{FF2B5EF4-FFF2-40B4-BE49-F238E27FC236}">
                <a16:creationId xmlns:a16="http://schemas.microsoft.com/office/drawing/2014/main" id="{ED8A39B8-480D-40F0-AAB9-CFE63B3DA12D}"/>
              </a:ext>
              <a:ext uri="{C183D7F6-B498-43B3-948B-1728B52AA6E4}">
                <adec:decorative xmlns:adec="http://schemas.microsoft.com/office/drawing/2017/decorative" val="1"/>
              </a:ext>
            </a:extLst>
          </p:cNvPr>
          <p:cNvSpPr>
            <a:spLocks noChangeAspect="1"/>
          </p:cNvSpPr>
          <p:nvPr/>
        </p:nvSpPr>
        <p:spPr>
          <a:xfrm>
            <a:off x="10579453" y="2774917"/>
            <a:ext cx="147768" cy="147768"/>
          </a:xfrm>
          <a:custGeom>
            <a:avLst/>
            <a:gdLst>
              <a:gd name="connsiteX0" fmla="*/ 29596 w 147767"/>
              <a:gd name="connsiteY0" fmla="*/ 151350 h 147767"/>
              <a:gd name="connsiteX1" fmla="*/ 21088 w 147767"/>
              <a:gd name="connsiteY1" fmla="*/ 150007 h 147767"/>
              <a:gd name="connsiteX2" fmla="*/ 19745 w 147767"/>
              <a:gd name="connsiteY2" fmla="*/ 148216 h 147767"/>
              <a:gd name="connsiteX3" fmla="*/ 20192 w 147767"/>
              <a:gd name="connsiteY3" fmla="*/ 145977 h 147767"/>
              <a:gd name="connsiteX4" fmla="*/ 33626 w 147767"/>
              <a:gd name="connsiteY4" fmla="*/ 132544 h 147767"/>
              <a:gd name="connsiteX5" fmla="*/ 30491 w 147767"/>
              <a:gd name="connsiteY5" fmla="*/ 120453 h 147767"/>
              <a:gd name="connsiteX6" fmla="*/ 18401 w 147767"/>
              <a:gd name="connsiteY6" fmla="*/ 117767 h 147767"/>
              <a:gd name="connsiteX7" fmla="*/ 5416 w 147767"/>
              <a:gd name="connsiteY7" fmla="*/ 130753 h 147767"/>
              <a:gd name="connsiteX8" fmla="*/ 3177 w 147767"/>
              <a:gd name="connsiteY8" fmla="*/ 131200 h 147767"/>
              <a:gd name="connsiteX9" fmla="*/ 1385 w 147767"/>
              <a:gd name="connsiteY9" fmla="*/ 129409 h 147767"/>
              <a:gd name="connsiteX10" fmla="*/ 42 w 147767"/>
              <a:gd name="connsiteY10" fmla="*/ 122245 h 147767"/>
              <a:gd name="connsiteX11" fmla="*/ 8550 w 147767"/>
              <a:gd name="connsiteY11" fmla="*/ 101199 h 147767"/>
              <a:gd name="connsiteX12" fmla="*/ 29148 w 147767"/>
              <a:gd name="connsiteY12" fmla="*/ 92691 h 147767"/>
              <a:gd name="connsiteX13" fmla="*/ 36760 w 147767"/>
              <a:gd name="connsiteY13" fmla="*/ 93586 h 147767"/>
              <a:gd name="connsiteX14" fmla="*/ 93629 w 147767"/>
              <a:gd name="connsiteY14" fmla="*/ 38061 h 147767"/>
              <a:gd name="connsiteX15" fmla="*/ 92285 w 147767"/>
              <a:gd name="connsiteY15" fmla="*/ 29554 h 147767"/>
              <a:gd name="connsiteX16" fmla="*/ 100793 w 147767"/>
              <a:gd name="connsiteY16" fmla="*/ 8956 h 147767"/>
              <a:gd name="connsiteX17" fmla="*/ 120496 w 147767"/>
              <a:gd name="connsiteY17" fmla="*/ 0 h 147767"/>
              <a:gd name="connsiteX18" fmla="*/ 129003 w 147767"/>
              <a:gd name="connsiteY18" fmla="*/ 1344 h 147767"/>
              <a:gd name="connsiteX19" fmla="*/ 130347 w 147767"/>
              <a:gd name="connsiteY19" fmla="*/ 3135 h 147767"/>
              <a:gd name="connsiteX20" fmla="*/ 129899 w 147767"/>
              <a:gd name="connsiteY20" fmla="*/ 5374 h 147767"/>
              <a:gd name="connsiteX21" fmla="*/ 116465 w 147767"/>
              <a:gd name="connsiteY21" fmla="*/ 18807 h 147767"/>
              <a:gd name="connsiteX22" fmla="*/ 119600 w 147767"/>
              <a:gd name="connsiteY22" fmla="*/ 30897 h 147767"/>
              <a:gd name="connsiteX23" fmla="*/ 131690 w 147767"/>
              <a:gd name="connsiteY23" fmla="*/ 33584 h 147767"/>
              <a:gd name="connsiteX24" fmla="*/ 144676 w 147767"/>
              <a:gd name="connsiteY24" fmla="*/ 20598 h 147767"/>
              <a:gd name="connsiteX25" fmla="*/ 146915 w 147767"/>
              <a:gd name="connsiteY25" fmla="*/ 20150 h 147767"/>
              <a:gd name="connsiteX26" fmla="*/ 148706 w 147767"/>
              <a:gd name="connsiteY26" fmla="*/ 21941 h 147767"/>
              <a:gd name="connsiteX27" fmla="*/ 150049 w 147767"/>
              <a:gd name="connsiteY27" fmla="*/ 29106 h 147767"/>
              <a:gd name="connsiteX28" fmla="*/ 141541 w 147767"/>
              <a:gd name="connsiteY28" fmla="*/ 50152 h 147767"/>
              <a:gd name="connsiteX29" fmla="*/ 141541 w 147767"/>
              <a:gd name="connsiteY29" fmla="*/ 50152 h 147767"/>
              <a:gd name="connsiteX30" fmla="*/ 120943 w 147767"/>
              <a:gd name="connsiteY30" fmla="*/ 58660 h 147767"/>
              <a:gd name="connsiteX31" fmla="*/ 111988 w 147767"/>
              <a:gd name="connsiteY31" fmla="*/ 57316 h 147767"/>
              <a:gd name="connsiteX32" fmla="*/ 56463 w 147767"/>
              <a:gd name="connsiteY32" fmla="*/ 112394 h 147767"/>
              <a:gd name="connsiteX33" fmla="*/ 58254 w 147767"/>
              <a:gd name="connsiteY33" fmla="*/ 121797 h 147767"/>
              <a:gd name="connsiteX34" fmla="*/ 49746 w 147767"/>
              <a:gd name="connsiteY34" fmla="*/ 142395 h 147767"/>
              <a:gd name="connsiteX35" fmla="*/ 49746 w 147767"/>
              <a:gd name="connsiteY35" fmla="*/ 142395 h 147767"/>
              <a:gd name="connsiteX36" fmla="*/ 49746 w 147767"/>
              <a:gd name="connsiteY36" fmla="*/ 142395 h 147767"/>
              <a:gd name="connsiteX37" fmla="*/ 29596 w 147767"/>
              <a:gd name="connsiteY37" fmla="*/ 151350 h 147767"/>
              <a:gd name="connsiteX38" fmla="*/ 26013 w 147767"/>
              <a:gd name="connsiteY38" fmla="*/ 146873 h 147767"/>
              <a:gd name="connsiteX39" fmla="*/ 29596 w 147767"/>
              <a:gd name="connsiteY39" fmla="*/ 147320 h 147767"/>
              <a:gd name="connsiteX40" fmla="*/ 46164 w 147767"/>
              <a:gd name="connsiteY40" fmla="*/ 139708 h 147767"/>
              <a:gd name="connsiteX41" fmla="*/ 46164 w 147767"/>
              <a:gd name="connsiteY41" fmla="*/ 139708 h 147767"/>
              <a:gd name="connsiteX42" fmla="*/ 53328 w 147767"/>
              <a:gd name="connsiteY42" fmla="*/ 122245 h 147767"/>
              <a:gd name="connsiteX43" fmla="*/ 51537 w 147767"/>
              <a:gd name="connsiteY43" fmla="*/ 113289 h 147767"/>
              <a:gd name="connsiteX44" fmla="*/ 51537 w 147767"/>
              <a:gd name="connsiteY44" fmla="*/ 112841 h 147767"/>
              <a:gd name="connsiteX45" fmla="*/ 46164 w 147767"/>
              <a:gd name="connsiteY45" fmla="*/ 104781 h 147767"/>
              <a:gd name="connsiteX46" fmla="*/ 36760 w 147767"/>
              <a:gd name="connsiteY46" fmla="*/ 98960 h 147767"/>
              <a:gd name="connsiteX47" fmla="*/ 36313 w 147767"/>
              <a:gd name="connsiteY47" fmla="*/ 98960 h 147767"/>
              <a:gd name="connsiteX48" fmla="*/ 28700 w 147767"/>
              <a:gd name="connsiteY48" fmla="*/ 97617 h 147767"/>
              <a:gd name="connsiteX49" fmla="*/ 11237 w 147767"/>
              <a:gd name="connsiteY49" fmla="*/ 104781 h 147767"/>
              <a:gd name="connsiteX50" fmla="*/ 4072 w 147767"/>
              <a:gd name="connsiteY50" fmla="*/ 122245 h 147767"/>
              <a:gd name="connsiteX51" fmla="*/ 4072 w 147767"/>
              <a:gd name="connsiteY51" fmla="*/ 124484 h 147767"/>
              <a:gd name="connsiteX52" fmla="*/ 14371 w 147767"/>
              <a:gd name="connsiteY52" fmla="*/ 114184 h 147767"/>
              <a:gd name="connsiteX53" fmla="*/ 18401 w 147767"/>
              <a:gd name="connsiteY53" fmla="*/ 112841 h 147767"/>
              <a:gd name="connsiteX54" fmla="*/ 30491 w 147767"/>
              <a:gd name="connsiteY54" fmla="*/ 115976 h 147767"/>
              <a:gd name="connsiteX55" fmla="*/ 33626 w 147767"/>
              <a:gd name="connsiteY55" fmla="*/ 119110 h 147767"/>
              <a:gd name="connsiteX56" fmla="*/ 36760 w 147767"/>
              <a:gd name="connsiteY56" fmla="*/ 131200 h 147767"/>
              <a:gd name="connsiteX57" fmla="*/ 35417 w 147767"/>
              <a:gd name="connsiteY57" fmla="*/ 135230 h 147767"/>
              <a:gd name="connsiteX58" fmla="*/ 26013 w 147767"/>
              <a:gd name="connsiteY58" fmla="*/ 146873 h 147767"/>
              <a:gd name="connsiteX59" fmla="*/ 41686 w 147767"/>
              <a:gd name="connsiteY59" fmla="*/ 96273 h 147767"/>
              <a:gd name="connsiteX60" fmla="*/ 49746 w 147767"/>
              <a:gd name="connsiteY60" fmla="*/ 102094 h 147767"/>
              <a:gd name="connsiteX61" fmla="*/ 54672 w 147767"/>
              <a:gd name="connsiteY61" fmla="*/ 108811 h 147767"/>
              <a:gd name="connsiteX62" fmla="*/ 107958 w 147767"/>
              <a:gd name="connsiteY62" fmla="*/ 55973 h 147767"/>
              <a:gd name="connsiteX63" fmla="*/ 101241 w 147767"/>
              <a:gd name="connsiteY63" fmla="*/ 51047 h 147767"/>
              <a:gd name="connsiteX64" fmla="*/ 95868 w 147767"/>
              <a:gd name="connsiteY64" fmla="*/ 43883 h 147767"/>
              <a:gd name="connsiteX65" fmla="*/ 41686 w 147767"/>
              <a:gd name="connsiteY65" fmla="*/ 96273 h 147767"/>
              <a:gd name="connsiteX66" fmla="*/ 112436 w 147767"/>
              <a:gd name="connsiteY66" fmla="*/ 53286 h 147767"/>
              <a:gd name="connsiteX67" fmla="*/ 120943 w 147767"/>
              <a:gd name="connsiteY67" fmla="*/ 55077 h 147767"/>
              <a:gd name="connsiteX68" fmla="*/ 138407 w 147767"/>
              <a:gd name="connsiteY68" fmla="*/ 47913 h 147767"/>
              <a:gd name="connsiteX69" fmla="*/ 145571 w 147767"/>
              <a:gd name="connsiteY69" fmla="*/ 30449 h 147767"/>
              <a:gd name="connsiteX70" fmla="*/ 145571 w 147767"/>
              <a:gd name="connsiteY70" fmla="*/ 28210 h 147767"/>
              <a:gd name="connsiteX71" fmla="*/ 135272 w 147767"/>
              <a:gd name="connsiteY71" fmla="*/ 38510 h 147767"/>
              <a:gd name="connsiteX72" fmla="*/ 131242 w 147767"/>
              <a:gd name="connsiteY72" fmla="*/ 39853 h 147767"/>
              <a:gd name="connsiteX73" fmla="*/ 119152 w 147767"/>
              <a:gd name="connsiteY73" fmla="*/ 36718 h 147767"/>
              <a:gd name="connsiteX74" fmla="*/ 116018 w 147767"/>
              <a:gd name="connsiteY74" fmla="*/ 33584 h 147767"/>
              <a:gd name="connsiteX75" fmla="*/ 112883 w 147767"/>
              <a:gd name="connsiteY75" fmla="*/ 21494 h 147767"/>
              <a:gd name="connsiteX76" fmla="*/ 114227 w 147767"/>
              <a:gd name="connsiteY76" fmla="*/ 17464 h 147767"/>
              <a:gd name="connsiteX77" fmla="*/ 124973 w 147767"/>
              <a:gd name="connsiteY77" fmla="*/ 6717 h 147767"/>
              <a:gd name="connsiteX78" fmla="*/ 121391 w 147767"/>
              <a:gd name="connsiteY78" fmla="*/ 6269 h 147767"/>
              <a:gd name="connsiteX79" fmla="*/ 104823 w 147767"/>
              <a:gd name="connsiteY79" fmla="*/ 13882 h 147767"/>
              <a:gd name="connsiteX80" fmla="*/ 97659 w 147767"/>
              <a:gd name="connsiteY80" fmla="*/ 31345 h 147767"/>
              <a:gd name="connsiteX81" fmla="*/ 99002 w 147767"/>
              <a:gd name="connsiteY81" fmla="*/ 39405 h 147767"/>
              <a:gd name="connsiteX82" fmla="*/ 99002 w 147767"/>
              <a:gd name="connsiteY82" fmla="*/ 39853 h 147767"/>
              <a:gd name="connsiteX83" fmla="*/ 104375 w 147767"/>
              <a:gd name="connsiteY83" fmla="*/ 48361 h 147767"/>
              <a:gd name="connsiteX84" fmla="*/ 112436 w 147767"/>
              <a:gd name="connsiteY84" fmla="*/ 53286 h 147767"/>
              <a:gd name="connsiteX85" fmla="*/ 112436 w 147767"/>
              <a:gd name="connsiteY85" fmla="*/ 53286 h 147767"/>
              <a:gd name="connsiteX86" fmla="*/ 139750 w 147767"/>
              <a:gd name="connsiteY86" fmla="*/ 49256 h 147767"/>
              <a:gd name="connsiteX87" fmla="*/ 139750 w 147767"/>
              <a:gd name="connsiteY87" fmla="*/ 49256 h 147767"/>
              <a:gd name="connsiteX88" fmla="*/ 139750 w 147767"/>
              <a:gd name="connsiteY88" fmla="*/ 4925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47767" h="147767">
                <a:moveTo>
                  <a:pt x="29596" y="151350"/>
                </a:moveTo>
                <a:cubicBezTo>
                  <a:pt x="26013" y="151350"/>
                  <a:pt x="22879" y="150455"/>
                  <a:pt x="21088" y="150007"/>
                </a:cubicBezTo>
                <a:cubicBezTo>
                  <a:pt x="20192" y="149559"/>
                  <a:pt x="19745" y="149112"/>
                  <a:pt x="19745" y="148216"/>
                </a:cubicBezTo>
                <a:cubicBezTo>
                  <a:pt x="19745" y="147320"/>
                  <a:pt x="19745" y="146873"/>
                  <a:pt x="20192" y="145977"/>
                </a:cubicBezTo>
                <a:lnTo>
                  <a:pt x="33626" y="132544"/>
                </a:lnTo>
                <a:lnTo>
                  <a:pt x="30491" y="120453"/>
                </a:lnTo>
                <a:lnTo>
                  <a:pt x="18401" y="117767"/>
                </a:lnTo>
                <a:lnTo>
                  <a:pt x="5416" y="130753"/>
                </a:lnTo>
                <a:cubicBezTo>
                  <a:pt x="4968" y="131200"/>
                  <a:pt x="4072" y="131648"/>
                  <a:pt x="3177" y="131200"/>
                </a:cubicBezTo>
                <a:cubicBezTo>
                  <a:pt x="2281" y="131200"/>
                  <a:pt x="1833" y="130305"/>
                  <a:pt x="1385" y="129409"/>
                </a:cubicBezTo>
                <a:cubicBezTo>
                  <a:pt x="938" y="127170"/>
                  <a:pt x="490" y="124484"/>
                  <a:pt x="42" y="122245"/>
                </a:cubicBezTo>
                <a:cubicBezTo>
                  <a:pt x="-405" y="114184"/>
                  <a:pt x="2729" y="107020"/>
                  <a:pt x="8550" y="101199"/>
                </a:cubicBezTo>
                <a:cubicBezTo>
                  <a:pt x="13924" y="95825"/>
                  <a:pt x="21088" y="92691"/>
                  <a:pt x="29148" y="92691"/>
                </a:cubicBezTo>
                <a:cubicBezTo>
                  <a:pt x="31835" y="92691"/>
                  <a:pt x="34521" y="93139"/>
                  <a:pt x="36760" y="93586"/>
                </a:cubicBezTo>
                <a:lnTo>
                  <a:pt x="93629" y="38061"/>
                </a:lnTo>
                <a:cubicBezTo>
                  <a:pt x="92733" y="35375"/>
                  <a:pt x="92285" y="32241"/>
                  <a:pt x="92285" y="29554"/>
                </a:cubicBezTo>
                <a:cubicBezTo>
                  <a:pt x="92285" y="21941"/>
                  <a:pt x="95420" y="14777"/>
                  <a:pt x="100793" y="8956"/>
                </a:cubicBezTo>
                <a:cubicBezTo>
                  <a:pt x="106614" y="3135"/>
                  <a:pt x="113331" y="0"/>
                  <a:pt x="120496" y="0"/>
                </a:cubicBezTo>
                <a:cubicBezTo>
                  <a:pt x="124078" y="0"/>
                  <a:pt x="127212" y="896"/>
                  <a:pt x="129003" y="1344"/>
                </a:cubicBezTo>
                <a:cubicBezTo>
                  <a:pt x="129899" y="1791"/>
                  <a:pt x="130347" y="2239"/>
                  <a:pt x="130347" y="3135"/>
                </a:cubicBezTo>
                <a:cubicBezTo>
                  <a:pt x="130347" y="4030"/>
                  <a:pt x="130347" y="4478"/>
                  <a:pt x="129899" y="5374"/>
                </a:cubicBezTo>
                <a:lnTo>
                  <a:pt x="116465" y="18807"/>
                </a:lnTo>
                <a:lnTo>
                  <a:pt x="119600" y="30897"/>
                </a:lnTo>
                <a:lnTo>
                  <a:pt x="131690" y="33584"/>
                </a:lnTo>
                <a:lnTo>
                  <a:pt x="144676" y="20598"/>
                </a:lnTo>
                <a:cubicBezTo>
                  <a:pt x="145124" y="20150"/>
                  <a:pt x="146019" y="19703"/>
                  <a:pt x="146915" y="20150"/>
                </a:cubicBezTo>
                <a:cubicBezTo>
                  <a:pt x="147810" y="20150"/>
                  <a:pt x="148258" y="21046"/>
                  <a:pt x="148706" y="21941"/>
                </a:cubicBezTo>
                <a:cubicBezTo>
                  <a:pt x="149153" y="24180"/>
                  <a:pt x="149601" y="26867"/>
                  <a:pt x="150049" y="29106"/>
                </a:cubicBezTo>
                <a:cubicBezTo>
                  <a:pt x="150497" y="37166"/>
                  <a:pt x="147363" y="44331"/>
                  <a:pt x="141541" y="50152"/>
                </a:cubicBezTo>
                <a:lnTo>
                  <a:pt x="141541" y="50152"/>
                </a:lnTo>
                <a:cubicBezTo>
                  <a:pt x="136168" y="55525"/>
                  <a:pt x="129003" y="58660"/>
                  <a:pt x="120943" y="58660"/>
                </a:cubicBezTo>
                <a:cubicBezTo>
                  <a:pt x="117809" y="58660"/>
                  <a:pt x="114674" y="58212"/>
                  <a:pt x="111988" y="57316"/>
                </a:cubicBezTo>
                <a:lnTo>
                  <a:pt x="56463" y="112394"/>
                </a:lnTo>
                <a:cubicBezTo>
                  <a:pt x="57358" y="115528"/>
                  <a:pt x="58254" y="118662"/>
                  <a:pt x="58254" y="121797"/>
                </a:cubicBezTo>
                <a:cubicBezTo>
                  <a:pt x="58254" y="129409"/>
                  <a:pt x="55119" y="136573"/>
                  <a:pt x="49746" y="142395"/>
                </a:cubicBezTo>
                <a:lnTo>
                  <a:pt x="49746" y="142395"/>
                </a:lnTo>
                <a:lnTo>
                  <a:pt x="49746" y="142395"/>
                </a:lnTo>
                <a:cubicBezTo>
                  <a:pt x="43477" y="148664"/>
                  <a:pt x="37208" y="151350"/>
                  <a:pt x="29596" y="151350"/>
                </a:cubicBezTo>
                <a:close/>
                <a:moveTo>
                  <a:pt x="26013" y="146873"/>
                </a:moveTo>
                <a:cubicBezTo>
                  <a:pt x="26909" y="146873"/>
                  <a:pt x="28252" y="147320"/>
                  <a:pt x="29596" y="147320"/>
                </a:cubicBezTo>
                <a:cubicBezTo>
                  <a:pt x="35865" y="147320"/>
                  <a:pt x="41238" y="144634"/>
                  <a:pt x="46164" y="139708"/>
                </a:cubicBezTo>
                <a:lnTo>
                  <a:pt x="46164" y="139708"/>
                </a:lnTo>
                <a:cubicBezTo>
                  <a:pt x="50641" y="135230"/>
                  <a:pt x="53328" y="128961"/>
                  <a:pt x="53328" y="122245"/>
                </a:cubicBezTo>
                <a:cubicBezTo>
                  <a:pt x="53328" y="119110"/>
                  <a:pt x="52880" y="115976"/>
                  <a:pt x="51537" y="113289"/>
                </a:cubicBezTo>
                <a:cubicBezTo>
                  <a:pt x="51537" y="113289"/>
                  <a:pt x="51537" y="113289"/>
                  <a:pt x="51537" y="112841"/>
                </a:cubicBezTo>
                <a:cubicBezTo>
                  <a:pt x="50194" y="110155"/>
                  <a:pt x="48403" y="107468"/>
                  <a:pt x="46164" y="104781"/>
                </a:cubicBezTo>
                <a:cubicBezTo>
                  <a:pt x="43477" y="102094"/>
                  <a:pt x="40343" y="100303"/>
                  <a:pt x="36760" y="98960"/>
                </a:cubicBezTo>
                <a:cubicBezTo>
                  <a:pt x="36760" y="98960"/>
                  <a:pt x="36313" y="98960"/>
                  <a:pt x="36313" y="98960"/>
                </a:cubicBezTo>
                <a:cubicBezTo>
                  <a:pt x="34074" y="98064"/>
                  <a:pt x="31387" y="97617"/>
                  <a:pt x="28700" y="97617"/>
                </a:cubicBezTo>
                <a:cubicBezTo>
                  <a:pt x="21984" y="97617"/>
                  <a:pt x="16162" y="100303"/>
                  <a:pt x="11237" y="104781"/>
                </a:cubicBezTo>
                <a:cubicBezTo>
                  <a:pt x="6311" y="109707"/>
                  <a:pt x="4072" y="115528"/>
                  <a:pt x="4072" y="122245"/>
                </a:cubicBezTo>
                <a:cubicBezTo>
                  <a:pt x="4072" y="123140"/>
                  <a:pt x="4072" y="123588"/>
                  <a:pt x="4072" y="124484"/>
                </a:cubicBezTo>
                <a:lnTo>
                  <a:pt x="14371" y="114184"/>
                </a:lnTo>
                <a:cubicBezTo>
                  <a:pt x="15267" y="113289"/>
                  <a:pt x="17058" y="112841"/>
                  <a:pt x="18401" y="112841"/>
                </a:cubicBezTo>
                <a:lnTo>
                  <a:pt x="30491" y="115976"/>
                </a:lnTo>
                <a:cubicBezTo>
                  <a:pt x="32283" y="116423"/>
                  <a:pt x="33178" y="117767"/>
                  <a:pt x="33626" y="119110"/>
                </a:cubicBezTo>
                <a:lnTo>
                  <a:pt x="36760" y="131200"/>
                </a:lnTo>
                <a:cubicBezTo>
                  <a:pt x="37208" y="132544"/>
                  <a:pt x="36760" y="134335"/>
                  <a:pt x="35417" y="135230"/>
                </a:cubicBezTo>
                <a:lnTo>
                  <a:pt x="26013" y="146873"/>
                </a:lnTo>
                <a:close/>
                <a:moveTo>
                  <a:pt x="41686" y="96273"/>
                </a:moveTo>
                <a:cubicBezTo>
                  <a:pt x="44820" y="97617"/>
                  <a:pt x="47507" y="99408"/>
                  <a:pt x="49746" y="102094"/>
                </a:cubicBezTo>
                <a:cubicBezTo>
                  <a:pt x="51537" y="103886"/>
                  <a:pt x="53328" y="106125"/>
                  <a:pt x="54672" y="108811"/>
                </a:cubicBezTo>
                <a:lnTo>
                  <a:pt x="107958" y="55973"/>
                </a:lnTo>
                <a:cubicBezTo>
                  <a:pt x="105719" y="54630"/>
                  <a:pt x="103032" y="52838"/>
                  <a:pt x="101241" y="51047"/>
                </a:cubicBezTo>
                <a:cubicBezTo>
                  <a:pt x="99002" y="48808"/>
                  <a:pt x="97211" y="46569"/>
                  <a:pt x="95868" y="43883"/>
                </a:cubicBezTo>
                <a:lnTo>
                  <a:pt x="41686" y="96273"/>
                </a:lnTo>
                <a:close/>
                <a:moveTo>
                  <a:pt x="112436" y="53286"/>
                </a:moveTo>
                <a:cubicBezTo>
                  <a:pt x="115122" y="54182"/>
                  <a:pt x="118257" y="55077"/>
                  <a:pt x="120943" y="55077"/>
                </a:cubicBezTo>
                <a:cubicBezTo>
                  <a:pt x="127660" y="55077"/>
                  <a:pt x="133481" y="52391"/>
                  <a:pt x="138407" y="47913"/>
                </a:cubicBezTo>
                <a:cubicBezTo>
                  <a:pt x="143332" y="42987"/>
                  <a:pt x="145571" y="37166"/>
                  <a:pt x="145571" y="30449"/>
                </a:cubicBezTo>
                <a:cubicBezTo>
                  <a:pt x="145571" y="29554"/>
                  <a:pt x="145571" y="28658"/>
                  <a:pt x="145571" y="28210"/>
                </a:cubicBezTo>
                <a:lnTo>
                  <a:pt x="135272" y="38510"/>
                </a:lnTo>
                <a:cubicBezTo>
                  <a:pt x="134377" y="39405"/>
                  <a:pt x="132586" y="39853"/>
                  <a:pt x="131242" y="39853"/>
                </a:cubicBezTo>
                <a:lnTo>
                  <a:pt x="119152" y="36718"/>
                </a:lnTo>
                <a:cubicBezTo>
                  <a:pt x="117361" y="36271"/>
                  <a:pt x="116465" y="34927"/>
                  <a:pt x="116018" y="33584"/>
                </a:cubicBezTo>
                <a:lnTo>
                  <a:pt x="112883" y="21494"/>
                </a:lnTo>
                <a:cubicBezTo>
                  <a:pt x="112436" y="20150"/>
                  <a:pt x="112883" y="18359"/>
                  <a:pt x="114227" y="17464"/>
                </a:cubicBezTo>
                <a:lnTo>
                  <a:pt x="124973" y="6717"/>
                </a:lnTo>
                <a:cubicBezTo>
                  <a:pt x="124078" y="6717"/>
                  <a:pt x="122735" y="6269"/>
                  <a:pt x="121391" y="6269"/>
                </a:cubicBezTo>
                <a:cubicBezTo>
                  <a:pt x="115122" y="6269"/>
                  <a:pt x="109749" y="8956"/>
                  <a:pt x="104823" y="13882"/>
                </a:cubicBezTo>
                <a:cubicBezTo>
                  <a:pt x="100345" y="18359"/>
                  <a:pt x="97659" y="24628"/>
                  <a:pt x="97659" y="31345"/>
                </a:cubicBezTo>
                <a:cubicBezTo>
                  <a:pt x="97659" y="34032"/>
                  <a:pt x="98107" y="37166"/>
                  <a:pt x="99002" y="39405"/>
                </a:cubicBezTo>
                <a:cubicBezTo>
                  <a:pt x="99002" y="39405"/>
                  <a:pt x="99002" y="39853"/>
                  <a:pt x="99002" y="39853"/>
                </a:cubicBezTo>
                <a:cubicBezTo>
                  <a:pt x="100345" y="42987"/>
                  <a:pt x="102136" y="45674"/>
                  <a:pt x="104375" y="48361"/>
                </a:cubicBezTo>
                <a:cubicBezTo>
                  <a:pt x="106167" y="50152"/>
                  <a:pt x="108853" y="51943"/>
                  <a:pt x="112436" y="53286"/>
                </a:cubicBezTo>
                <a:cubicBezTo>
                  <a:pt x="111988" y="53286"/>
                  <a:pt x="112436" y="53286"/>
                  <a:pt x="112436" y="53286"/>
                </a:cubicBezTo>
                <a:close/>
                <a:moveTo>
                  <a:pt x="139750" y="49256"/>
                </a:moveTo>
                <a:lnTo>
                  <a:pt x="139750" y="49256"/>
                </a:lnTo>
                <a:lnTo>
                  <a:pt x="139750" y="49256"/>
                </a:lnTo>
                <a:close/>
              </a:path>
            </a:pathLst>
          </a:custGeom>
          <a:solidFill>
            <a:srgbClr val="231F20"/>
          </a:solidFill>
          <a:ln w="4474" cap="flat">
            <a:noFill/>
            <a:prstDash val="solid"/>
            <a:miter/>
          </a:ln>
        </p:spPr>
        <p:txBody>
          <a:bodyPr rtlCol="0" anchor="ctr"/>
          <a:lstStyle/>
          <a:p>
            <a:endParaRPr lang="en-US"/>
          </a:p>
        </p:txBody>
      </p:sp>
      <p:sp>
        <p:nvSpPr>
          <p:cNvPr id="4875" name="Freeform: Shape 4874">
            <a:extLst>
              <a:ext uri="{FF2B5EF4-FFF2-40B4-BE49-F238E27FC236}">
                <a16:creationId xmlns:a16="http://schemas.microsoft.com/office/drawing/2014/main" id="{6A6CAA1E-F31D-415D-8B97-945895310EE3}"/>
              </a:ext>
              <a:ext uri="{C183D7F6-B498-43B3-948B-1728B52AA6E4}">
                <adec:decorative xmlns:adec="http://schemas.microsoft.com/office/drawing/2017/decorative" val="1"/>
              </a:ext>
            </a:extLst>
          </p:cNvPr>
          <p:cNvSpPr>
            <a:spLocks noChangeAspect="1"/>
          </p:cNvSpPr>
          <p:nvPr/>
        </p:nvSpPr>
        <p:spPr>
          <a:xfrm>
            <a:off x="9790503" y="2778947"/>
            <a:ext cx="152246" cy="143290"/>
          </a:xfrm>
          <a:custGeom>
            <a:avLst/>
            <a:gdLst>
              <a:gd name="connsiteX0" fmla="*/ 149559 w 152245"/>
              <a:gd name="connsiteY0" fmla="*/ 25972 h 143290"/>
              <a:gd name="connsiteX1" fmla="*/ 134335 w 152245"/>
              <a:gd name="connsiteY1" fmla="*/ 25972 h 143290"/>
              <a:gd name="connsiteX2" fmla="*/ 134335 w 152245"/>
              <a:gd name="connsiteY2" fmla="*/ 15225 h 143290"/>
              <a:gd name="connsiteX3" fmla="*/ 119110 w 152245"/>
              <a:gd name="connsiteY3" fmla="*/ 0 h 143290"/>
              <a:gd name="connsiteX4" fmla="*/ 103885 w 152245"/>
              <a:gd name="connsiteY4" fmla="*/ 15225 h 143290"/>
              <a:gd name="connsiteX5" fmla="*/ 103885 w 152245"/>
              <a:gd name="connsiteY5" fmla="*/ 25972 h 143290"/>
              <a:gd name="connsiteX6" fmla="*/ 43435 w 152245"/>
              <a:gd name="connsiteY6" fmla="*/ 25972 h 143290"/>
              <a:gd name="connsiteX7" fmla="*/ 43435 w 152245"/>
              <a:gd name="connsiteY7" fmla="*/ 15225 h 143290"/>
              <a:gd name="connsiteX8" fmla="*/ 28210 w 152245"/>
              <a:gd name="connsiteY8" fmla="*/ 0 h 143290"/>
              <a:gd name="connsiteX9" fmla="*/ 12986 w 152245"/>
              <a:gd name="connsiteY9" fmla="*/ 15225 h 143290"/>
              <a:gd name="connsiteX10" fmla="*/ 12986 w 152245"/>
              <a:gd name="connsiteY10" fmla="*/ 25972 h 143290"/>
              <a:gd name="connsiteX11" fmla="*/ 2239 w 152245"/>
              <a:gd name="connsiteY11" fmla="*/ 25972 h 143290"/>
              <a:gd name="connsiteX12" fmla="*/ 0 w 152245"/>
              <a:gd name="connsiteY12" fmla="*/ 28210 h 143290"/>
              <a:gd name="connsiteX13" fmla="*/ 0 w 152245"/>
              <a:gd name="connsiteY13" fmla="*/ 80153 h 143290"/>
              <a:gd name="connsiteX14" fmla="*/ 2239 w 152245"/>
              <a:gd name="connsiteY14" fmla="*/ 82392 h 143290"/>
              <a:gd name="connsiteX15" fmla="*/ 21494 w 152245"/>
              <a:gd name="connsiteY15" fmla="*/ 82392 h 143290"/>
              <a:gd name="connsiteX16" fmla="*/ 21494 w 152245"/>
              <a:gd name="connsiteY16" fmla="*/ 138812 h 143290"/>
              <a:gd name="connsiteX17" fmla="*/ 15225 w 152245"/>
              <a:gd name="connsiteY17" fmla="*/ 138812 h 143290"/>
              <a:gd name="connsiteX18" fmla="*/ 12986 w 152245"/>
              <a:gd name="connsiteY18" fmla="*/ 141051 h 143290"/>
              <a:gd name="connsiteX19" fmla="*/ 15225 w 152245"/>
              <a:gd name="connsiteY19" fmla="*/ 143290 h 143290"/>
              <a:gd name="connsiteX20" fmla="*/ 50152 w 152245"/>
              <a:gd name="connsiteY20" fmla="*/ 143290 h 143290"/>
              <a:gd name="connsiteX21" fmla="*/ 52391 w 152245"/>
              <a:gd name="connsiteY21" fmla="*/ 141051 h 143290"/>
              <a:gd name="connsiteX22" fmla="*/ 50152 w 152245"/>
              <a:gd name="connsiteY22" fmla="*/ 138812 h 143290"/>
              <a:gd name="connsiteX23" fmla="*/ 43883 w 152245"/>
              <a:gd name="connsiteY23" fmla="*/ 138812 h 143290"/>
              <a:gd name="connsiteX24" fmla="*/ 43883 w 152245"/>
              <a:gd name="connsiteY24" fmla="*/ 82392 h 143290"/>
              <a:gd name="connsiteX25" fmla="*/ 108811 w 152245"/>
              <a:gd name="connsiteY25" fmla="*/ 82392 h 143290"/>
              <a:gd name="connsiteX26" fmla="*/ 108811 w 152245"/>
              <a:gd name="connsiteY26" fmla="*/ 138812 h 143290"/>
              <a:gd name="connsiteX27" fmla="*/ 102542 w 152245"/>
              <a:gd name="connsiteY27" fmla="*/ 138812 h 143290"/>
              <a:gd name="connsiteX28" fmla="*/ 100303 w 152245"/>
              <a:gd name="connsiteY28" fmla="*/ 141051 h 143290"/>
              <a:gd name="connsiteX29" fmla="*/ 102542 w 152245"/>
              <a:gd name="connsiteY29" fmla="*/ 143290 h 143290"/>
              <a:gd name="connsiteX30" fmla="*/ 137469 w 152245"/>
              <a:gd name="connsiteY30" fmla="*/ 143290 h 143290"/>
              <a:gd name="connsiteX31" fmla="*/ 139708 w 152245"/>
              <a:gd name="connsiteY31" fmla="*/ 141051 h 143290"/>
              <a:gd name="connsiteX32" fmla="*/ 137469 w 152245"/>
              <a:gd name="connsiteY32" fmla="*/ 138812 h 143290"/>
              <a:gd name="connsiteX33" fmla="*/ 131200 w 152245"/>
              <a:gd name="connsiteY33" fmla="*/ 138812 h 143290"/>
              <a:gd name="connsiteX34" fmla="*/ 131200 w 152245"/>
              <a:gd name="connsiteY34" fmla="*/ 82392 h 143290"/>
              <a:gd name="connsiteX35" fmla="*/ 150455 w 152245"/>
              <a:gd name="connsiteY35" fmla="*/ 82392 h 143290"/>
              <a:gd name="connsiteX36" fmla="*/ 152694 w 152245"/>
              <a:gd name="connsiteY36" fmla="*/ 80153 h 143290"/>
              <a:gd name="connsiteX37" fmla="*/ 152694 w 152245"/>
              <a:gd name="connsiteY37" fmla="*/ 28210 h 143290"/>
              <a:gd name="connsiteX38" fmla="*/ 149559 w 152245"/>
              <a:gd name="connsiteY38" fmla="*/ 25972 h 143290"/>
              <a:gd name="connsiteX39" fmla="*/ 147320 w 152245"/>
              <a:gd name="connsiteY39" fmla="*/ 31792 h 143290"/>
              <a:gd name="connsiteX40" fmla="*/ 109259 w 152245"/>
              <a:gd name="connsiteY40" fmla="*/ 77914 h 143290"/>
              <a:gd name="connsiteX41" fmla="*/ 84631 w 152245"/>
              <a:gd name="connsiteY41" fmla="*/ 77914 h 143290"/>
              <a:gd name="connsiteX42" fmla="*/ 124484 w 152245"/>
              <a:gd name="connsiteY42" fmla="*/ 30449 h 143290"/>
              <a:gd name="connsiteX43" fmla="*/ 147320 w 152245"/>
              <a:gd name="connsiteY43" fmla="*/ 30449 h 143290"/>
              <a:gd name="connsiteX44" fmla="*/ 147320 w 152245"/>
              <a:gd name="connsiteY44" fmla="*/ 31792 h 143290"/>
              <a:gd name="connsiteX45" fmla="*/ 54629 w 152245"/>
              <a:gd name="connsiteY45" fmla="*/ 77914 h 143290"/>
              <a:gd name="connsiteX46" fmla="*/ 94482 w 152245"/>
              <a:gd name="connsiteY46" fmla="*/ 30449 h 143290"/>
              <a:gd name="connsiteX47" fmla="*/ 119110 w 152245"/>
              <a:gd name="connsiteY47" fmla="*/ 30449 h 143290"/>
              <a:gd name="connsiteX48" fmla="*/ 79257 w 152245"/>
              <a:gd name="connsiteY48" fmla="*/ 77914 h 143290"/>
              <a:gd name="connsiteX49" fmla="*/ 54629 w 152245"/>
              <a:gd name="connsiteY49" fmla="*/ 77914 h 143290"/>
              <a:gd name="connsiteX50" fmla="*/ 24180 w 152245"/>
              <a:gd name="connsiteY50" fmla="*/ 77914 h 143290"/>
              <a:gd name="connsiteX51" fmla="*/ 64033 w 152245"/>
              <a:gd name="connsiteY51" fmla="*/ 30449 h 143290"/>
              <a:gd name="connsiteX52" fmla="*/ 88661 w 152245"/>
              <a:gd name="connsiteY52" fmla="*/ 30449 h 143290"/>
              <a:gd name="connsiteX53" fmla="*/ 48808 w 152245"/>
              <a:gd name="connsiteY53" fmla="*/ 77914 h 143290"/>
              <a:gd name="connsiteX54" fmla="*/ 24180 w 152245"/>
              <a:gd name="connsiteY54" fmla="*/ 77914 h 143290"/>
              <a:gd name="connsiteX55" fmla="*/ 108363 w 152245"/>
              <a:gd name="connsiteY55" fmla="*/ 15225 h 143290"/>
              <a:gd name="connsiteX56" fmla="*/ 119110 w 152245"/>
              <a:gd name="connsiteY56" fmla="*/ 4478 h 143290"/>
              <a:gd name="connsiteX57" fmla="*/ 129857 w 152245"/>
              <a:gd name="connsiteY57" fmla="*/ 15225 h 143290"/>
              <a:gd name="connsiteX58" fmla="*/ 129857 w 152245"/>
              <a:gd name="connsiteY58" fmla="*/ 25972 h 143290"/>
              <a:gd name="connsiteX59" fmla="*/ 108363 w 152245"/>
              <a:gd name="connsiteY59" fmla="*/ 25972 h 143290"/>
              <a:gd name="connsiteX60" fmla="*/ 108363 w 152245"/>
              <a:gd name="connsiteY60" fmla="*/ 15225 h 143290"/>
              <a:gd name="connsiteX61" fmla="*/ 17464 w 152245"/>
              <a:gd name="connsiteY61" fmla="*/ 15225 h 143290"/>
              <a:gd name="connsiteX62" fmla="*/ 28210 w 152245"/>
              <a:gd name="connsiteY62" fmla="*/ 4478 h 143290"/>
              <a:gd name="connsiteX63" fmla="*/ 38957 w 152245"/>
              <a:gd name="connsiteY63" fmla="*/ 15225 h 143290"/>
              <a:gd name="connsiteX64" fmla="*/ 38957 w 152245"/>
              <a:gd name="connsiteY64" fmla="*/ 25972 h 143290"/>
              <a:gd name="connsiteX65" fmla="*/ 17464 w 152245"/>
              <a:gd name="connsiteY65" fmla="*/ 25972 h 143290"/>
              <a:gd name="connsiteX66" fmla="*/ 17464 w 152245"/>
              <a:gd name="connsiteY66" fmla="*/ 15225 h 143290"/>
              <a:gd name="connsiteX67" fmla="*/ 27315 w 152245"/>
              <a:gd name="connsiteY67" fmla="*/ 30449 h 143290"/>
              <a:gd name="connsiteX68" fmla="*/ 4030 w 152245"/>
              <a:gd name="connsiteY68" fmla="*/ 56869 h 143290"/>
              <a:gd name="connsiteX69" fmla="*/ 4030 w 152245"/>
              <a:gd name="connsiteY69" fmla="*/ 30449 h 143290"/>
              <a:gd name="connsiteX70" fmla="*/ 27315 w 152245"/>
              <a:gd name="connsiteY70" fmla="*/ 30449 h 143290"/>
              <a:gd name="connsiteX71" fmla="*/ 4478 w 152245"/>
              <a:gd name="connsiteY71" fmla="*/ 63585 h 143290"/>
              <a:gd name="connsiteX72" fmla="*/ 33584 w 152245"/>
              <a:gd name="connsiteY72" fmla="*/ 30449 h 143290"/>
              <a:gd name="connsiteX73" fmla="*/ 58212 w 152245"/>
              <a:gd name="connsiteY73" fmla="*/ 30449 h 143290"/>
              <a:gd name="connsiteX74" fmla="*/ 18359 w 152245"/>
              <a:gd name="connsiteY74" fmla="*/ 77914 h 143290"/>
              <a:gd name="connsiteX75" fmla="*/ 4478 w 152245"/>
              <a:gd name="connsiteY75" fmla="*/ 77914 h 143290"/>
              <a:gd name="connsiteX76" fmla="*/ 4478 w 152245"/>
              <a:gd name="connsiteY76" fmla="*/ 63585 h 143290"/>
              <a:gd name="connsiteX77" fmla="*/ 38957 w 152245"/>
              <a:gd name="connsiteY77" fmla="*/ 138812 h 143290"/>
              <a:gd name="connsiteX78" fmla="*/ 25972 w 152245"/>
              <a:gd name="connsiteY78" fmla="*/ 138812 h 143290"/>
              <a:gd name="connsiteX79" fmla="*/ 25972 w 152245"/>
              <a:gd name="connsiteY79" fmla="*/ 82392 h 143290"/>
              <a:gd name="connsiteX80" fmla="*/ 38957 w 152245"/>
              <a:gd name="connsiteY80" fmla="*/ 82392 h 143290"/>
              <a:gd name="connsiteX81" fmla="*/ 38957 w 152245"/>
              <a:gd name="connsiteY81" fmla="*/ 138812 h 143290"/>
              <a:gd name="connsiteX82" fmla="*/ 125827 w 152245"/>
              <a:gd name="connsiteY82" fmla="*/ 138812 h 143290"/>
              <a:gd name="connsiteX83" fmla="*/ 112841 w 152245"/>
              <a:gd name="connsiteY83" fmla="*/ 138812 h 143290"/>
              <a:gd name="connsiteX84" fmla="*/ 112841 w 152245"/>
              <a:gd name="connsiteY84" fmla="*/ 82392 h 143290"/>
              <a:gd name="connsiteX85" fmla="*/ 125827 w 152245"/>
              <a:gd name="connsiteY85" fmla="*/ 82392 h 143290"/>
              <a:gd name="connsiteX86" fmla="*/ 125827 w 152245"/>
              <a:gd name="connsiteY86" fmla="*/ 138812 h 143290"/>
              <a:gd name="connsiteX87" fmla="*/ 115080 w 152245"/>
              <a:gd name="connsiteY87" fmla="*/ 77914 h 143290"/>
              <a:gd name="connsiteX88" fmla="*/ 147320 w 152245"/>
              <a:gd name="connsiteY88" fmla="*/ 38509 h 143290"/>
              <a:gd name="connsiteX89" fmla="*/ 147320 w 152245"/>
              <a:gd name="connsiteY89" fmla="*/ 77914 h 143290"/>
              <a:gd name="connsiteX90" fmla="*/ 115080 w 152245"/>
              <a:gd name="connsiteY90" fmla="*/ 77914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52245" h="143290">
                <a:moveTo>
                  <a:pt x="149559" y="25972"/>
                </a:moveTo>
                <a:lnTo>
                  <a:pt x="134335" y="25972"/>
                </a:lnTo>
                <a:lnTo>
                  <a:pt x="134335" y="15225"/>
                </a:lnTo>
                <a:cubicBezTo>
                  <a:pt x="134335" y="6717"/>
                  <a:pt x="127618" y="0"/>
                  <a:pt x="119110" y="0"/>
                </a:cubicBezTo>
                <a:cubicBezTo>
                  <a:pt x="110602" y="0"/>
                  <a:pt x="103885" y="6717"/>
                  <a:pt x="103885" y="15225"/>
                </a:cubicBezTo>
                <a:lnTo>
                  <a:pt x="103885" y="25972"/>
                </a:lnTo>
                <a:lnTo>
                  <a:pt x="43435" y="25972"/>
                </a:lnTo>
                <a:lnTo>
                  <a:pt x="43435" y="15225"/>
                </a:lnTo>
                <a:cubicBezTo>
                  <a:pt x="43435" y="6717"/>
                  <a:pt x="36718" y="0"/>
                  <a:pt x="28210" y="0"/>
                </a:cubicBezTo>
                <a:cubicBezTo>
                  <a:pt x="19703" y="0"/>
                  <a:pt x="12986" y="6717"/>
                  <a:pt x="12986" y="15225"/>
                </a:cubicBezTo>
                <a:lnTo>
                  <a:pt x="12986" y="25972"/>
                </a:lnTo>
                <a:lnTo>
                  <a:pt x="2239" y="25972"/>
                </a:lnTo>
                <a:cubicBezTo>
                  <a:pt x="896" y="25972"/>
                  <a:pt x="0" y="26867"/>
                  <a:pt x="0" y="28210"/>
                </a:cubicBezTo>
                <a:lnTo>
                  <a:pt x="0" y="80153"/>
                </a:lnTo>
                <a:cubicBezTo>
                  <a:pt x="0" y="81497"/>
                  <a:pt x="896" y="82392"/>
                  <a:pt x="2239" y="82392"/>
                </a:cubicBezTo>
                <a:lnTo>
                  <a:pt x="21494" y="82392"/>
                </a:lnTo>
                <a:lnTo>
                  <a:pt x="21494" y="138812"/>
                </a:lnTo>
                <a:lnTo>
                  <a:pt x="15225" y="138812"/>
                </a:lnTo>
                <a:cubicBezTo>
                  <a:pt x="13881" y="138812"/>
                  <a:pt x="12986" y="139708"/>
                  <a:pt x="12986" y="141051"/>
                </a:cubicBezTo>
                <a:cubicBezTo>
                  <a:pt x="12986" y="142395"/>
                  <a:pt x="13881" y="143290"/>
                  <a:pt x="15225" y="143290"/>
                </a:cubicBezTo>
                <a:lnTo>
                  <a:pt x="50152" y="143290"/>
                </a:lnTo>
                <a:cubicBezTo>
                  <a:pt x="51495" y="143290"/>
                  <a:pt x="52391" y="142395"/>
                  <a:pt x="52391" y="141051"/>
                </a:cubicBezTo>
                <a:cubicBezTo>
                  <a:pt x="52391" y="139708"/>
                  <a:pt x="51495" y="138812"/>
                  <a:pt x="50152" y="138812"/>
                </a:cubicBezTo>
                <a:lnTo>
                  <a:pt x="43883" y="138812"/>
                </a:lnTo>
                <a:lnTo>
                  <a:pt x="43883" y="82392"/>
                </a:lnTo>
                <a:lnTo>
                  <a:pt x="108811" y="82392"/>
                </a:lnTo>
                <a:lnTo>
                  <a:pt x="108811" y="138812"/>
                </a:lnTo>
                <a:lnTo>
                  <a:pt x="102542" y="138812"/>
                </a:lnTo>
                <a:cubicBezTo>
                  <a:pt x="101199" y="138812"/>
                  <a:pt x="100303" y="139708"/>
                  <a:pt x="100303" y="141051"/>
                </a:cubicBezTo>
                <a:cubicBezTo>
                  <a:pt x="100303" y="142395"/>
                  <a:pt x="101199" y="143290"/>
                  <a:pt x="102542" y="143290"/>
                </a:cubicBezTo>
                <a:lnTo>
                  <a:pt x="137469" y="143290"/>
                </a:lnTo>
                <a:cubicBezTo>
                  <a:pt x="138812" y="143290"/>
                  <a:pt x="139708" y="142395"/>
                  <a:pt x="139708" y="141051"/>
                </a:cubicBezTo>
                <a:cubicBezTo>
                  <a:pt x="139708" y="139708"/>
                  <a:pt x="138812" y="138812"/>
                  <a:pt x="137469" y="138812"/>
                </a:cubicBezTo>
                <a:lnTo>
                  <a:pt x="131200" y="138812"/>
                </a:lnTo>
                <a:lnTo>
                  <a:pt x="131200" y="82392"/>
                </a:lnTo>
                <a:lnTo>
                  <a:pt x="150455" y="82392"/>
                </a:lnTo>
                <a:cubicBezTo>
                  <a:pt x="151798" y="82392"/>
                  <a:pt x="152694" y="81497"/>
                  <a:pt x="152694" y="80153"/>
                </a:cubicBezTo>
                <a:lnTo>
                  <a:pt x="152694" y="28210"/>
                </a:lnTo>
                <a:cubicBezTo>
                  <a:pt x="151798" y="26867"/>
                  <a:pt x="150903" y="25972"/>
                  <a:pt x="149559" y="25972"/>
                </a:cubicBezTo>
                <a:close/>
                <a:moveTo>
                  <a:pt x="147320" y="31792"/>
                </a:moveTo>
                <a:lnTo>
                  <a:pt x="109259" y="77914"/>
                </a:lnTo>
                <a:lnTo>
                  <a:pt x="84631" y="77914"/>
                </a:lnTo>
                <a:lnTo>
                  <a:pt x="124484" y="30449"/>
                </a:lnTo>
                <a:lnTo>
                  <a:pt x="147320" y="30449"/>
                </a:lnTo>
                <a:lnTo>
                  <a:pt x="147320" y="31792"/>
                </a:lnTo>
                <a:close/>
                <a:moveTo>
                  <a:pt x="54629" y="77914"/>
                </a:moveTo>
                <a:lnTo>
                  <a:pt x="94482" y="30449"/>
                </a:lnTo>
                <a:lnTo>
                  <a:pt x="119110" y="30449"/>
                </a:lnTo>
                <a:lnTo>
                  <a:pt x="79257" y="77914"/>
                </a:lnTo>
                <a:lnTo>
                  <a:pt x="54629" y="77914"/>
                </a:lnTo>
                <a:close/>
                <a:moveTo>
                  <a:pt x="24180" y="77914"/>
                </a:moveTo>
                <a:lnTo>
                  <a:pt x="64033" y="30449"/>
                </a:lnTo>
                <a:lnTo>
                  <a:pt x="88661" y="30449"/>
                </a:lnTo>
                <a:lnTo>
                  <a:pt x="48808" y="77914"/>
                </a:lnTo>
                <a:lnTo>
                  <a:pt x="24180" y="77914"/>
                </a:lnTo>
                <a:close/>
                <a:moveTo>
                  <a:pt x="108363" y="15225"/>
                </a:moveTo>
                <a:cubicBezTo>
                  <a:pt x="108363" y="9403"/>
                  <a:pt x="113289" y="4478"/>
                  <a:pt x="119110" y="4478"/>
                </a:cubicBezTo>
                <a:cubicBezTo>
                  <a:pt x="124931" y="4478"/>
                  <a:pt x="129857" y="9403"/>
                  <a:pt x="129857" y="15225"/>
                </a:cubicBezTo>
                <a:lnTo>
                  <a:pt x="129857" y="25972"/>
                </a:lnTo>
                <a:lnTo>
                  <a:pt x="108363" y="25972"/>
                </a:lnTo>
                <a:lnTo>
                  <a:pt x="108363" y="15225"/>
                </a:lnTo>
                <a:close/>
                <a:moveTo>
                  <a:pt x="17464" y="15225"/>
                </a:moveTo>
                <a:cubicBezTo>
                  <a:pt x="17464" y="9403"/>
                  <a:pt x="22389" y="4478"/>
                  <a:pt x="28210" y="4478"/>
                </a:cubicBezTo>
                <a:cubicBezTo>
                  <a:pt x="34032" y="4478"/>
                  <a:pt x="38957" y="9403"/>
                  <a:pt x="38957" y="15225"/>
                </a:cubicBezTo>
                <a:lnTo>
                  <a:pt x="38957" y="25972"/>
                </a:lnTo>
                <a:lnTo>
                  <a:pt x="17464" y="25972"/>
                </a:lnTo>
                <a:lnTo>
                  <a:pt x="17464" y="15225"/>
                </a:lnTo>
                <a:close/>
                <a:moveTo>
                  <a:pt x="27315" y="30449"/>
                </a:moveTo>
                <a:lnTo>
                  <a:pt x="4030" y="56869"/>
                </a:lnTo>
                <a:lnTo>
                  <a:pt x="4030" y="30449"/>
                </a:lnTo>
                <a:lnTo>
                  <a:pt x="27315" y="30449"/>
                </a:lnTo>
                <a:close/>
                <a:moveTo>
                  <a:pt x="4478" y="63585"/>
                </a:moveTo>
                <a:lnTo>
                  <a:pt x="33584" y="30449"/>
                </a:lnTo>
                <a:lnTo>
                  <a:pt x="58212" y="30449"/>
                </a:lnTo>
                <a:lnTo>
                  <a:pt x="18359" y="77914"/>
                </a:lnTo>
                <a:lnTo>
                  <a:pt x="4478" y="77914"/>
                </a:lnTo>
                <a:lnTo>
                  <a:pt x="4478" y="63585"/>
                </a:lnTo>
                <a:close/>
                <a:moveTo>
                  <a:pt x="38957" y="138812"/>
                </a:moveTo>
                <a:lnTo>
                  <a:pt x="25972" y="138812"/>
                </a:lnTo>
                <a:lnTo>
                  <a:pt x="25972" y="82392"/>
                </a:lnTo>
                <a:lnTo>
                  <a:pt x="38957" y="82392"/>
                </a:lnTo>
                <a:lnTo>
                  <a:pt x="38957" y="138812"/>
                </a:lnTo>
                <a:close/>
                <a:moveTo>
                  <a:pt x="125827" y="138812"/>
                </a:moveTo>
                <a:lnTo>
                  <a:pt x="112841" y="138812"/>
                </a:lnTo>
                <a:lnTo>
                  <a:pt x="112841" y="82392"/>
                </a:lnTo>
                <a:lnTo>
                  <a:pt x="125827" y="82392"/>
                </a:lnTo>
                <a:lnTo>
                  <a:pt x="125827" y="138812"/>
                </a:lnTo>
                <a:close/>
                <a:moveTo>
                  <a:pt x="115080" y="77914"/>
                </a:moveTo>
                <a:lnTo>
                  <a:pt x="147320" y="38509"/>
                </a:lnTo>
                <a:lnTo>
                  <a:pt x="147320" y="77914"/>
                </a:lnTo>
                <a:lnTo>
                  <a:pt x="115080" y="77914"/>
                </a:lnTo>
                <a:close/>
              </a:path>
            </a:pathLst>
          </a:custGeom>
          <a:solidFill>
            <a:srgbClr val="231F20"/>
          </a:solidFill>
          <a:ln w="4474" cap="flat">
            <a:noFill/>
            <a:prstDash val="solid"/>
            <a:miter/>
          </a:ln>
        </p:spPr>
        <p:txBody>
          <a:bodyPr rtlCol="0" anchor="ctr"/>
          <a:lstStyle/>
          <a:p>
            <a:endParaRPr lang="en-US"/>
          </a:p>
        </p:txBody>
      </p:sp>
      <p:sp>
        <p:nvSpPr>
          <p:cNvPr id="4876" name="Freeform: Shape 4875">
            <a:extLst>
              <a:ext uri="{FF2B5EF4-FFF2-40B4-BE49-F238E27FC236}">
                <a16:creationId xmlns:a16="http://schemas.microsoft.com/office/drawing/2014/main" id="{E3CFC817-46DE-495B-A122-9B69D30B17C7}"/>
              </a:ext>
              <a:ext uri="{C183D7F6-B498-43B3-948B-1728B52AA6E4}">
                <adec:decorative xmlns:adec="http://schemas.microsoft.com/office/drawing/2017/decorative" val="1"/>
              </a:ext>
            </a:extLst>
          </p:cNvPr>
          <p:cNvSpPr>
            <a:spLocks noChangeAspect="1"/>
          </p:cNvSpPr>
          <p:nvPr/>
        </p:nvSpPr>
        <p:spPr>
          <a:xfrm>
            <a:off x="7976091" y="2789694"/>
            <a:ext cx="89556" cy="138812"/>
          </a:xfrm>
          <a:custGeom>
            <a:avLst/>
            <a:gdLst>
              <a:gd name="connsiteX0" fmla="*/ 88661 w 89556"/>
              <a:gd name="connsiteY0" fmla="*/ 138812 h 138812"/>
              <a:gd name="connsiteX1" fmla="*/ 87317 w 89556"/>
              <a:gd name="connsiteY1" fmla="*/ 138365 h 138812"/>
              <a:gd name="connsiteX2" fmla="*/ 30449 w 89556"/>
              <a:gd name="connsiteY2" fmla="*/ 93139 h 138812"/>
              <a:gd name="connsiteX3" fmla="*/ 2239 w 89556"/>
              <a:gd name="connsiteY3" fmla="*/ 93139 h 138812"/>
              <a:gd name="connsiteX4" fmla="*/ 0 w 89556"/>
              <a:gd name="connsiteY4" fmla="*/ 90900 h 138812"/>
              <a:gd name="connsiteX5" fmla="*/ 0 w 89556"/>
              <a:gd name="connsiteY5" fmla="*/ 47912 h 138812"/>
              <a:gd name="connsiteX6" fmla="*/ 2239 w 89556"/>
              <a:gd name="connsiteY6" fmla="*/ 45674 h 138812"/>
              <a:gd name="connsiteX7" fmla="*/ 30449 w 89556"/>
              <a:gd name="connsiteY7" fmla="*/ 45674 h 138812"/>
              <a:gd name="connsiteX8" fmla="*/ 87317 w 89556"/>
              <a:gd name="connsiteY8" fmla="*/ 448 h 138812"/>
              <a:gd name="connsiteX9" fmla="*/ 89556 w 89556"/>
              <a:gd name="connsiteY9" fmla="*/ 0 h 138812"/>
              <a:gd name="connsiteX10" fmla="*/ 90900 w 89556"/>
              <a:gd name="connsiteY10" fmla="*/ 2239 h 138812"/>
              <a:gd name="connsiteX11" fmla="*/ 90900 w 89556"/>
              <a:gd name="connsiteY11" fmla="*/ 136573 h 138812"/>
              <a:gd name="connsiteX12" fmla="*/ 89556 w 89556"/>
              <a:gd name="connsiteY12" fmla="*/ 138812 h 138812"/>
              <a:gd name="connsiteX13" fmla="*/ 88661 w 89556"/>
              <a:gd name="connsiteY13" fmla="*/ 138812 h 138812"/>
              <a:gd name="connsiteX14" fmla="*/ 4478 w 89556"/>
              <a:gd name="connsiteY14" fmla="*/ 88661 h 138812"/>
              <a:gd name="connsiteX15" fmla="*/ 30897 w 89556"/>
              <a:gd name="connsiteY15" fmla="*/ 88661 h 138812"/>
              <a:gd name="connsiteX16" fmla="*/ 32240 w 89556"/>
              <a:gd name="connsiteY16" fmla="*/ 89109 h 138812"/>
              <a:gd name="connsiteX17" fmla="*/ 85974 w 89556"/>
              <a:gd name="connsiteY17" fmla="*/ 132096 h 138812"/>
              <a:gd name="connsiteX18" fmla="*/ 85974 w 89556"/>
              <a:gd name="connsiteY18" fmla="*/ 6717 h 138812"/>
              <a:gd name="connsiteX19" fmla="*/ 32240 w 89556"/>
              <a:gd name="connsiteY19" fmla="*/ 49704 h 138812"/>
              <a:gd name="connsiteX20" fmla="*/ 30897 w 89556"/>
              <a:gd name="connsiteY20" fmla="*/ 50151 h 138812"/>
              <a:gd name="connsiteX21" fmla="*/ 4478 w 89556"/>
              <a:gd name="connsiteY21" fmla="*/ 50151 h 138812"/>
              <a:gd name="connsiteX22" fmla="*/ 4478 w 89556"/>
              <a:gd name="connsiteY22" fmla="*/ 88661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56" h="138812">
                <a:moveTo>
                  <a:pt x="88661" y="138812"/>
                </a:moveTo>
                <a:cubicBezTo>
                  <a:pt x="88213" y="138812"/>
                  <a:pt x="87765" y="138812"/>
                  <a:pt x="87317" y="138365"/>
                </a:cubicBezTo>
                <a:lnTo>
                  <a:pt x="30449" y="93139"/>
                </a:lnTo>
                <a:lnTo>
                  <a:pt x="2239" y="93139"/>
                </a:lnTo>
                <a:cubicBezTo>
                  <a:pt x="896" y="93139"/>
                  <a:pt x="0" y="92243"/>
                  <a:pt x="0" y="90900"/>
                </a:cubicBezTo>
                <a:lnTo>
                  <a:pt x="0" y="47912"/>
                </a:lnTo>
                <a:cubicBezTo>
                  <a:pt x="0" y="46569"/>
                  <a:pt x="896" y="45674"/>
                  <a:pt x="2239" y="45674"/>
                </a:cubicBezTo>
                <a:lnTo>
                  <a:pt x="30449" y="45674"/>
                </a:lnTo>
                <a:lnTo>
                  <a:pt x="87317" y="448"/>
                </a:lnTo>
                <a:cubicBezTo>
                  <a:pt x="88213" y="0"/>
                  <a:pt x="89109" y="0"/>
                  <a:pt x="89556" y="0"/>
                </a:cubicBezTo>
                <a:cubicBezTo>
                  <a:pt x="90452" y="448"/>
                  <a:pt x="90900" y="1344"/>
                  <a:pt x="90900" y="2239"/>
                </a:cubicBezTo>
                <a:lnTo>
                  <a:pt x="90900" y="136573"/>
                </a:lnTo>
                <a:cubicBezTo>
                  <a:pt x="90900" y="137469"/>
                  <a:pt x="90452" y="138365"/>
                  <a:pt x="89556" y="138812"/>
                </a:cubicBezTo>
                <a:cubicBezTo>
                  <a:pt x="89109" y="138812"/>
                  <a:pt x="89109" y="138812"/>
                  <a:pt x="88661" y="138812"/>
                </a:cubicBezTo>
                <a:close/>
                <a:moveTo>
                  <a:pt x="4478" y="88661"/>
                </a:moveTo>
                <a:lnTo>
                  <a:pt x="30897" y="88661"/>
                </a:lnTo>
                <a:cubicBezTo>
                  <a:pt x="31345" y="88661"/>
                  <a:pt x="31793" y="88661"/>
                  <a:pt x="32240" y="89109"/>
                </a:cubicBezTo>
                <a:lnTo>
                  <a:pt x="85974" y="132096"/>
                </a:lnTo>
                <a:lnTo>
                  <a:pt x="85974" y="6717"/>
                </a:lnTo>
                <a:lnTo>
                  <a:pt x="32240" y="49704"/>
                </a:lnTo>
                <a:cubicBezTo>
                  <a:pt x="31793" y="50151"/>
                  <a:pt x="31345" y="50151"/>
                  <a:pt x="30897" y="50151"/>
                </a:cubicBezTo>
                <a:lnTo>
                  <a:pt x="4478" y="50151"/>
                </a:lnTo>
                <a:lnTo>
                  <a:pt x="4478" y="88661"/>
                </a:lnTo>
                <a:close/>
              </a:path>
            </a:pathLst>
          </a:custGeom>
          <a:solidFill>
            <a:srgbClr val="231F20"/>
          </a:solidFill>
          <a:ln w="4474" cap="flat">
            <a:noFill/>
            <a:prstDash val="solid"/>
            <a:miter/>
          </a:ln>
        </p:spPr>
        <p:txBody>
          <a:bodyPr rtlCol="0" anchor="ctr"/>
          <a:lstStyle/>
          <a:p>
            <a:endParaRPr lang="en-US"/>
          </a:p>
        </p:txBody>
      </p:sp>
      <p:grpSp>
        <p:nvGrpSpPr>
          <p:cNvPr id="4877" name="Group 4876">
            <a:extLst>
              <a:ext uri="{FF2B5EF4-FFF2-40B4-BE49-F238E27FC236}">
                <a16:creationId xmlns:a16="http://schemas.microsoft.com/office/drawing/2014/main" id="{86279896-CD1F-430D-99BD-339DE5CA3427}"/>
              </a:ext>
              <a:ext uri="{C183D7F6-B498-43B3-948B-1728B52AA6E4}">
                <adec:decorative xmlns:adec="http://schemas.microsoft.com/office/drawing/2017/decorative" val="1"/>
              </a:ext>
            </a:extLst>
          </p:cNvPr>
          <p:cNvGrpSpPr>
            <a:grpSpLocks noChangeAspect="1"/>
          </p:cNvGrpSpPr>
          <p:nvPr/>
        </p:nvGrpSpPr>
        <p:grpSpPr>
          <a:xfrm>
            <a:off x="10320229" y="2777138"/>
            <a:ext cx="147768" cy="147768"/>
            <a:chOff x="4539576" y="6236324"/>
            <a:chExt cx="147768" cy="147768"/>
          </a:xfrm>
        </p:grpSpPr>
        <p:sp>
          <p:nvSpPr>
            <p:cNvPr id="4878" name="Freeform: Shape 4877">
              <a:extLst>
                <a:ext uri="{FF2B5EF4-FFF2-40B4-BE49-F238E27FC236}">
                  <a16:creationId xmlns:a16="http://schemas.microsoft.com/office/drawing/2014/main" id="{FFB4CE99-4502-4680-90C6-1EE8D0B9786C}"/>
                </a:ext>
              </a:extLst>
            </p:cNvPr>
            <p:cNvSpPr/>
            <p:nvPr/>
          </p:nvSpPr>
          <p:spPr>
            <a:xfrm>
              <a:off x="4539576" y="6236324"/>
              <a:ext cx="147768" cy="147768"/>
            </a:xfrm>
            <a:custGeom>
              <a:avLst/>
              <a:gdLst>
                <a:gd name="connsiteX0" fmla="*/ 150007 w 147767"/>
                <a:gd name="connsiteY0" fmla="*/ 8974 h 147767"/>
                <a:gd name="connsiteX1" fmla="*/ 142395 w 147767"/>
                <a:gd name="connsiteY1" fmla="*/ 1362 h 147767"/>
                <a:gd name="connsiteX2" fmla="*/ 137021 w 147767"/>
                <a:gd name="connsiteY2" fmla="*/ 466 h 147767"/>
                <a:gd name="connsiteX3" fmla="*/ 120005 w 147767"/>
                <a:gd name="connsiteY3" fmla="*/ 10317 h 147767"/>
                <a:gd name="connsiteX4" fmla="*/ 118214 w 147767"/>
                <a:gd name="connsiteY4" fmla="*/ 12556 h 147767"/>
                <a:gd name="connsiteX5" fmla="*/ 114632 w 147767"/>
                <a:gd name="connsiteY5" fmla="*/ 22407 h 147767"/>
                <a:gd name="connsiteX6" fmla="*/ 72093 w 147767"/>
                <a:gd name="connsiteY6" fmla="*/ 64946 h 147767"/>
                <a:gd name="connsiteX7" fmla="*/ 60898 w 147767"/>
                <a:gd name="connsiteY7" fmla="*/ 65395 h 147767"/>
                <a:gd name="connsiteX8" fmla="*/ 48360 w 147767"/>
                <a:gd name="connsiteY8" fmla="*/ 70768 h 147767"/>
                <a:gd name="connsiteX9" fmla="*/ 5373 w 147767"/>
                <a:gd name="connsiteY9" fmla="*/ 113755 h 147767"/>
                <a:gd name="connsiteX10" fmla="*/ 0 w 147767"/>
                <a:gd name="connsiteY10" fmla="*/ 127188 h 147767"/>
                <a:gd name="connsiteX11" fmla="*/ 5373 w 147767"/>
                <a:gd name="connsiteY11" fmla="*/ 140622 h 147767"/>
                <a:gd name="connsiteX12" fmla="*/ 10299 w 147767"/>
                <a:gd name="connsiteY12" fmla="*/ 145547 h 147767"/>
                <a:gd name="connsiteX13" fmla="*/ 23732 w 147767"/>
                <a:gd name="connsiteY13" fmla="*/ 150921 h 147767"/>
                <a:gd name="connsiteX14" fmla="*/ 37166 w 147767"/>
                <a:gd name="connsiteY14" fmla="*/ 145547 h 147767"/>
                <a:gd name="connsiteX15" fmla="*/ 80153 w 147767"/>
                <a:gd name="connsiteY15" fmla="*/ 102560 h 147767"/>
                <a:gd name="connsiteX16" fmla="*/ 85526 w 147767"/>
                <a:gd name="connsiteY16" fmla="*/ 90023 h 147767"/>
                <a:gd name="connsiteX17" fmla="*/ 85974 w 147767"/>
                <a:gd name="connsiteY17" fmla="*/ 78828 h 147767"/>
                <a:gd name="connsiteX18" fmla="*/ 128513 w 147767"/>
                <a:gd name="connsiteY18" fmla="*/ 36289 h 147767"/>
                <a:gd name="connsiteX19" fmla="*/ 138364 w 147767"/>
                <a:gd name="connsiteY19" fmla="*/ 32706 h 147767"/>
                <a:gd name="connsiteX20" fmla="*/ 140603 w 147767"/>
                <a:gd name="connsiteY20" fmla="*/ 30915 h 147767"/>
                <a:gd name="connsiteX21" fmla="*/ 150455 w 147767"/>
                <a:gd name="connsiteY21" fmla="*/ 13900 h 147767"/>
                <a:gd name="connsiteX22" fmla="*/ 150007 w 147767"/>
                <a:gd name="connsiteY22" fmla="*/ 8974 h 147767"/>
                <a:gd name="connsiteX23" fmla="*/ 77018 w 147767"/>
                <a:gd name="connsiteY23" fmla="*/ 99426 h 147767"/>
                <a:gd name="connsiteX24" fmla="*/ 34031 w 147767"/>
                <a:gd name="connsiteY24" fmla="*/ 142413 h 147767"/>
                <a:gd name="connsiteX25" fmla="*/ 13881 w 147767"/>
                <a:gd name="connsiteY25" fmla="*/ 142413 h 147767"/>
                <a:gd name="connsiteX26" fmla="*/ 8956 w 147767"/>
                <a:gd name="connsiteY26" fmla="*/ 137487 h 147767"/>
                <a:gd name="connsiteX27" fmla="*/ 4925 w 147767"/>
                <a:gd name="connsiteY27" fmla="*/ 127188 h 147767"/>
                <a:gd name="connsiteX28" fmla="*/ 8956 w 147767"/>
                <a:gd name="connsiteY28" fmla="*/ 116889 h 147767"/>
                <a:gd name="connsiteX29" fmla="*/ 51943 w 147767"/>
                <a:gd name="connsiteY29" fmla="*/ 73902 h 147767"/>
                <a:gd name="connsiteX30" fmla="*/ 61794 w 147767"/>
                <a:gd name="connsiteY30" fmla="*/ 69872 h 147767"/>
                <a:gd name="connsiteX31" fmla="*/ 72988 w 147767"/>
                <a:gd name="connsiteY31" fmla="*/ 69424 h 147767"/>
                <a:gd name="connsiteX32" fmla="*/ 82392 w 147767"/>
                <a:gd name="connsiteY32" fmla="*/ 78828 h 147767"/>
                <a:gd name="connsiteX33" fmla="*/ 81944 w 147767"/>
                <a:gd name="connsiteY33" fmla="*/ 90023 h 147767"/>
                <a:gd name="connsiteX34" fmla="*/ 77018 w 147767"/>
                <a:gd name="connsiteY34" fmla="*/ 99426 h 147767"/>
                <a:gd name="connsiteX35" fmla="*/ 137021 w 147767"/>
                <a:gd name="connsiteY35" fmla="*/ 28676 h 147767"/>
                <a:gd name="connsiteX36" fmla="*/ 126722 w 147767"/>
                <a:gd name="connsiteY36" fmla="*/ 32259 h 147767"/>
                <a:gd name="connsiteX37" fmla="*/ 125827 w 147767"/>
                <a:gd name="connsiteY37" fmla="*/ 32706 h 147767"/>
                <a:gd name="connsiteX38" fmla="*/ 83735 w 147767"/>
                <a:gd name="connsiteY38" fmla="*/ 74798 h 147767"/>
                <a:gd name="connsiteX39" fmla="*/ 76123 w 147767"/>
                <a:gd name="connsiteY39" fmla="*/ 67185 h 147767"/>
                <a:gd name="connsiteX40" fmla="*/ 118214 w 147767"/>
                <a:gd name="connsiteY40" fmla="*/ 25094 h 147767"/>
                <a:gd name="connsiteX41" fmla="*/ 118662 w 147767"/>
                <a:gd name="connsiteY41" fmla="*/ 24198 h 147767"/>
                <a:gd name="connsiteX42" fmla="*/ 122244 w 147767"/>
                <a:gd name="connsiteY42" fmla="*/ 13900 h 147767"/>
                <a:gd name="connsiteX43" fmla="*/ 139260 w 147767"/>
                <a:gd name="connsiteY43" fmla="*/ 4048 h 147767"/>
                <a:gd name="connsiteX44" fmla="*/ 146872 w 147767"/>
                <a:gd name="connsiteY44" fmla="*/ 11661 h 147767"/>
                <a:gd name="connsiteX45" fmla="*/ 137021 w 147767"/>
                <a:gd name="connsiteY45" fmla="*/ 28676 h 14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7767" h="147767">
                  <a:moveTo>
                    <a:pt x="150007" y="8974"/>
                  </a:moveTo>
                  <a:lnTo>
                    <a:pt x="142395" y="1362"/>
                  </a:lnTo>
                  <a:cubicBezTo>
                    <a:pt x="141051" y="18"/>
                    <a:pt x="138812" y="-430"/>
                    <a:pt x="137021" y="466"/>
                  </a:cubicBezTo>
                  <a:lnTo>
                    <a:pt x="120005" y="10317"/>
                  </a:lnTo>
                  <a:cubicBezTo>
                    <a:pt x="119110" y="10765"/>
                    <a:pt x="118214" y="11661"/>
                    <a:pt x="118214" y="12556"/>
                  </a:cubicBezTo>
                  <a:lnTo>
                    <a:pt x="114632" y="22407"/>
                  </a:lnTo>
                  <a:lnTo>
                    <a:pt x="72093" y="64946"/>
                  </a:lnTo>
                  <a:lnTo>
                    <a:pt x="60898" y="65395"/>
                  </a:lnTo>
                  <a:cubicBezTo>
                    <a:pt x="55973" y="65395"/>
                    <a:pt x="51495" y="67633"/>
                    <a:pt x="48360" y="70768"/>
                  </a:cubicBezTo>
                  <a:lnTo>
                    <a:pt x="5373" y="113755"/>
                  </a:lnTo>
                  <a:cubicBezTo>
                    <a:pt x="1791" y="117337"/>
                    <a:pt x="0" y="121815"/>
                    <a:pt x="0" y="127188"/>
                  </a:cubicBezTo>
                  <a:cubicBezTo>
                    <a:pt x="0" y="132114"/>
                    <a:pt x="1791" y="137040"/>
                    <a:pt x="5373" y="140622"/>
                  </a:cubicBezTo>
                  <a:lnTo>
                    <a:pt x="10299" y="145547"/>
                  </a:lnTo>
                  <a:cubicBezTo>
                    <a:pt x="13881" y="149130"/>
                    <a:pt x="18359" y="150921"/>
                    <a:pt x="23732" y="150921"/>
                  </a:cubicBezTo>
                  <a:cubicBezTo>
                    <a:pt x="28658" y="150921"/>
                    <a:pt x="33584" y="149130"/>
                    <a:pt x="37166" y="145547"/>
                  </a:cubicBezTo>
                  <a:lnTo>
                    <a:pt x="80153" y="102560"/>
                  </a:lnTo>
                  <a:cubicBezTo>
                    <a:pt x="83735" y="98978"/>
                    <a:pt x="85526" y="94500"/>
                    <a:pt x="85526" y="90023"/>
                  </a:cubicBezTo>
                  <a:lnTo>
                    <a:pt x="85974" y="78828"/>
                  </a:lnTo>
                  <a:lnTo>
                    <a:pt x="128513" y="36289"/>
                  </a:lnTo>
                  <a:lnTo>
                    <a:pt x="138364" y="32706"/>
                  </a:lnTo>
                  <a:cubicBezTo>
                    <a:pt x="139260" y="32259"/>
                    <a:pt x="140156" y="31811"/>
                    <a:pt x="140603" y="30915"/>
                  </a:cubicBezTo>
                  <a:lnTo>
                    <a:pt x="150455" y="13900"/>
                  </a:lnTo>
                  <a:cubicBezTo>
                    <a:pt x="151350" y="12108"/>
                    <a:pt x="151350" y="10317"/>
                    <a:pt x="150007" y="8974"/>
                  </a:cubicBezTo>
                  <a:close/>
                  <a:moveTo>
                    <a:pt x="77018" y="99426"/>
                  </a:moveTo>
                  <a:lnTo>
                    <a:pt x="34031" y="142413"/>
                  </a:lnTo>
                  <a:cubicBezTo>
                    <a:pt x="28658" y="147786"/>
                    <a:pt x="19255" y="147786"/>
                    <a:pt x="13881" y="142413"/>
                  </a:cubicBezTo>
                  <a:lnTo>
                    <a:pt x="8956" y="137487"/>
                  </a:lnTo>
                  <a:cubicBezTo>
                    <a:pt x="6269" y="134801"/>
                    <a:pt x="4925" y="131218"/>
                    <a:pt x="4925" y="127188"/>
                  </a:cubicBezTo>
                  <a:cubicBezTo>
                    <a:pt x="4925" y="123158"/>
                    <a:pt x="6269" y="119576"/>
                    <a:pt x="8956" y="116889"/>
                  </a:cubicBezTo>
                  <a:lnTo>
                    <a:pt x="51943" y="73902"/>
                  </a:lnTo>
                  <a:cubicBezTo>
                    <a:pt x="54629" y="71215"/>
                    <a:pt x="57764" y="69872"/>
                    <a:pt x="61794" y="69872"/>
                  </a:cubicBezTo>
                  <a:lnTo>
                    <a:pt x="72988" y="69424"/>
                  </a:lnTo>
                  <a:lnTo>
                    <a:pt x="82392" y="78828"/>
                  </a:lnTo>
                  <a:lnTo>
                    <a:pt x="81944" y="90023"/>
                  </a:lnTo>
                  <a:cubicBezTo>
                    <a:pt x="81048" y="93604"/>
                    <a:pt x="79705" y="96739"/>
                    <a:pt x="77018" y="99426"/>
                  </a:cubicBezTo>
                  <a:close/>
                  <a:moveTo>
                    <a:pt x="137021" y="28676"/>
                  </a:moveTo>
                  <a:lnTo>
                    <a:pt x="126722" y="32259"/>
                  </a:lnTo>
                  <a:cubicBezTo>
                    <a:pt x="126274" y="32259"/>
                    <a:pt x="126274" y="32706"/>
                    <a:pt x="125827" y="32706"/>
                  </a:cubicBezTo>
                  <a:lnTo>
                    <a:pt x="83735" y="74798"/>
                  </a:lnTo>
                  <a:lnTo>
                    <a:pt x="76123" y="67185"/>
                  </a:lnTo>
                  <a:lnTo>
                    <a:pt x="118214" y="25094"/>
                  </a:lnTo>
                  <a:cubicBezTo>
                    <a:pt x="118662" y="24646"/>
                    <a:pt x="118662" y="24646"/>
                    <a:pt x="118662" y="24198"/>
                  </a:cubicBezTo>
                  <a:lnTo>
                    <a:pt x="122244" y="13900"/>
                  </a:lnTo>
                  <a:lnTo>
                    <a:pt x="139260" y="4048"/>
                  </a:lnTo>
                  <a:lnTo>
                    <a:pt x="146872" y="11661"/>
                  </a:lnTo>
                  <a:lnTo>
                    <a:pt x="137021" y="28676"/>
                  </a:lnTo>
                  <a:close/>
                </a:path>
              </a:pathLst>
            </a:custGeom>
            <a:solidFill>
              <a:srgbClr val="231F20"/>
            </a:solidFill>
            <a:ln w="4474" cap="flat">
              <a:noFill/>
              <a:prstDash val="solid"/>
              <a:miter/>
            </a:ln>
          </p:spPr>
          <p:txBody>
            <a:bodyPr rtlCol="0" anchor="ctr"/>
            <a:lstStyle/>
            <a:p>
              <a:endParaRPr lang="en-US"/>
            </a:p>
          </p:txBody>
        </p:sp>
        <p:sp>
          <p:nvSpPr>
            <p:cNvPr id="4879" name="Freeform: Shape 4878">
              <a:extLst>
                <a:ext uri="{FF2B5EF4-FFF2-40B4-BE49-F238E27FC236}">
                  <a16:creationId xmlns:a16="http://schemas.microsoft.com/office/drawing/2014/main" id="{996EFEC9-A8C8-4EBD-80E9-EC650EFD668C}"/>
                </a:ext>
              </a:extLst>
            </p:cNvPr>
            <p:cNvSpPr/>
            <p:nvPr/>
          </p:nvSpPr>
          <p:spPr>
            <a:xfrm>
              <a:off x="4553681" y="6318958"/>
              <a:ext cx="44778" cy="44778"/>
            </a:xfrm>
            <a:custGeom>
              <a:avLst/>
              <a:gdLst>
                <a:gd name="connsiteX0" fmla="*/ 46346 w 44778"/>
                <a:gd name="connsiteY0" fmla="*/ 672 h 44778"/>
                <a:gd name="connsiteX1" fmla="*/ 43211 w 44778"/>
                <a:gd name="connsiteY1" fmla="*/ 672 h 44778"/>
                <a:gd name="connsiteX2" fmla="*/ 672 w 44778"/>
                <a:gd name="connsiteY2" fmla="*/ 42315 h 44778"/>
                <a:gd name="connsiteX3" fmla="*/ 672 w 44778"/>
                <a:gd name="connsiteY3" fmla="*/ 45450 h 44778"/>
                <a:gd name="connsiteX4" fmla="*/ 2463 w 44778"/>
                <a:gd name="connsiteY4" fmla="*/ 46345 h 44778"/>
                <a:gd name="connsiteX5" fmla="*/ 3806 w 44778"/>
                <a:gd name="connsiteY5" fmla="*/ 45898 h 44778"/>
                <a:gd name="connsiteX6" fmla="*/ 46346 w 44778"/>
                <a:gd name="connsiteY6" fmla="*/ 4254 h 44778"/>
                <a:gd name="connsiteX7" fmla="*/ 46346 w 44778"/>
                <a:gd name="connsiteY7" fmla="*/ 672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4778">
                  <a:moveTo>
                    <a:pt x="46346" y="672"/>
                  </a:moveTo>
                  <a:cubicBezTo>
                    <a:pt x="45450" y="-224"/>
                    <a:pt x="44107" y="-224"/>
                    <a:pt x="43211" y="672"/>
                  </a:cubicBezTo>
                  <a:lnTo>
                    <a:pt x="672" y="42315"/>
                  </a:lnTo>
                  <a:cubicBezTo>
                    <a:pt x="-224" y="43211"/>
                    <a:pt x="-224" y="44554"/>
                    <a:pt x="672" y="45450"/>
                  </a:cubicBezTo>
                  <a:cubicBezTo>
                    <a:pt x="1119" y="45898"/>
                    <a:pt x="1567" y="46345"/>
                    <a:pt x="2463" y="46345"/>
                  </a:cubicBezTo>
                  <a:cubicBezTo>
                    <a:pt x="2911" y="46345"/>
                    <a:pt x="3806" y="46345"/>
                    <a:pt x="3806" y="45898"/>
                  </a:cubicBezTo>
                  <a:lnTo>
                    <a:pt x="46346" y="4254"/>
                  </a:lnTo>
                  <a:cubicBezTo>
                    <a:pt x="47241" y="2911"/>
                    <a:pt x="47241" y="1567"/>
                    <a:pt x="46346" y="672"/>
                  </a:cubicBezTo>
                  <a:close/>
                </a:path>
              </a:pathLst>
            </a:custGeom>
            <a:solidFill>
              <a:srgbClr val="231F20"/>
            </a:solidFill>
            <a:ln w="4474" cap="flat">
              <a:noFill/>
              <a:prstDash val="solid"/>
              <a:miter/>
            </a:ln>
          </p:spPr>
          <p:txBody>
            <a:bodyPr rtlCol="0" anchor="ctr"/>
            <a:lstStyle/>
            <a:p>
              <a:endParaRPr lang="en-US"/>
            </a:p>
          </p:txBody>
        </p:sp>
        <p:sp>
          <p:nvSpPr>
            <p:cNvPr id="4880" name="Freeform: Shape 4879">
              <a:extLst>
                <a:ext uri="{FF2B5EF4-FFF2-40B4-BE49-F238E27FC236}">
                  <a16:creationId xmlns:a16="http://schemas.microsoft.com/office/drawing/2014/main" id="{A886E792-018D-456F-88BC-EA097E4FA899}"/>
                </a:ext>
              </a:extLst>
            </p:cNvPr>
            <p:cNvSpPr/>
            <p:nvPr/>
          </p:nvSpPr>
          <p:spPr>
            <a:xfrm>
              <a:off x="4562637" y="6327961"/>
              <a:ext cx="44778" cy="44778"/>
            </a:xfrm>
            <a:custGeom>
              <a:avLst/>
              <a:gdLst>
                <a:gd name="connsiteX0" fmla="*/ 43211 w 44778"/>
                <a:gd name="connsiteY0" fmla="*/ 624 h 44778"/>
                <a:gd name="connsiteX1" fmla="*/ 672 w 44778"/>
                <a:gd name="connsiteY1" fmla="*/ 42268 h 44778"/>
                <a:gd name="connsiteX2" fmla="*/ 672 w 44778"/>
                <a:gd name="connsiteY2" fmla="*/ 45403 h 44778"/>
                <a:gd name="connsiteX3" fmla="*/ 2463 w 44778"/>
                <a:gd name="connsiteY3" fmla="*/ 46298 h 44778"/>
                <a:gd name="connsiteX4" fmla="*/ 3806 w 44778"/>
                <a:gd name="connsiteY4" fmla="*/ 45850 h 44778"/>
                <a:gd name="connsiteX5" fmla="*/ 46346 w 44778"/>
                <a:gd name="connsiteY5" fmla="*/ 4206 h 44778"/>
                <a:gd name="connsiteX6" fmla="*/ 46346 w 44778"/>
                <a:gd name="connsiteY6" fmla="*/ 1072 h 44778"/>
                <a:gd name="connsiteX7" fmla="*/ 43211 w 44778"/>
                <a:gd name="connsiteY7" fmla="*/ 624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4778">
                  <a:moveTo>
                    <a:pt x="43211" y="624"/>
                  </a:moveTo>
                  <a:lnTo>
                    <a:pt x="672" y="42268"/>
                  </a:lnTo>
                  <a:cubicBezTo>
                    <a:pt x="-224" y="43164"/>
                    <a:pt x="-224" y="44507"/>
                    <a:pt x="672" y="45403"/>
                  </a:cubicBezTo>
                  <a:cubicBezTo>
                    <a:pt x="1119" y="45850"/>
                    <a:pt x="1567" y="46298"/>
                    <a:pt x="2463" y="46298"/>
                  </a:cubicBezTo>
                  <a:cubicBezTo>
                    <a:pt x="2911" y="46298"/>
                    <a:pt x="3806" y="46298"/>
                    <a:pt x="3806" y="45850"/>
                  </a:cubicBezTo>
                  <a:lnTo>
                    <a:pt x="46346" y="4206"/>
                  </a:lnTo>
                  <a:cubicBezTo>
                    <a:pt x="47241" y="3311"/>
                    <a:pt x="47241" y="1967"/>
                    <a:pt x="46346" y="1072"/>
                  </a:cubicBezTo>
                  <a:cubicBezTo>
                    <a:pt x="45450" y="-271"/>
                    <a:pt x="44107" y="-271"/>
                    <a:pt x="43211" y="624"/>
                  </a:cubicBezTo>
                  <a:close/>
                </a:path>
              </a:pathLst>
            </a:custGeom>
            <a:solidFill>
              <a:srgbClr val="231F20"/>
            </a:solidFill>
            <a:ln w="4474" cap="flat">
              <a:noFill/>
              <a:prstDash val="solid"/>
              <a:miter/>
            </a:ln>
          </p:spPr>
          <p:txBody>
            <a:bodyPr rtlCol="0" anchor="ctr"/>
            <a:lstStyle/>
            <a:p>
              <a:endParaRPr lang="en-US"/>
            </a:p>
          </p:txBody>
        </p:sp>
      </p:grpSp>
      <p:sp>
        <p:nvSpPr>
          <p:cNvPr id="4881" name="Freeform: Shape 4880">
            <a:extLst>
              <a:ext uri="{FF2B5EF4-FFF2-40B4-BE49-F238E27FC236}">
                <a16:creationId xmlns:a16="http://schemas.microsoft.com/office/drawing/2014/main" id="{97176403-B892-4F9F-80E9-4575CDA77400}"/>
              </a:ext>
              <a:ext uri="{C183D7F6-B498-43B3-948B-1728B52AA6E4}">
                <adec:decorative xmlns:adec="http://schemas.microsoft.com/office/drawing/2017/decorative" val="1"/>
              </a:ext>
            </a:extLst>
          </p:cNvPr>
          <p:cNvSpPr>
            <a:spLocks noChangeAspect="1"/>
          </p:cNvSpPr>
          <p:nvPr/>
        </p:nvSpPr>
        <p:spPr>
          <a:xfrm>
            <a:off x="11094486" y="2784992"/>
            <a:ext cx="138812" cy="138812"/>
          </a:xfrm>
          <a:custGeom>
            <a:avLst/>
            <a:gdLst>
              <a:gd name="connsiteX0" fmla="*/ 141905 w 138812"/>
              <a:gd name="connsiteY0" fmla="*/ 52614 h 138812"/>
              <a:gd name="connsiteX1" fmla="*/ 133845 w 138812"/>
              <a:gd name="connsiteY1" fmla="*/ 44554 h 138812"/>
              <a:gd name="connsiteX2" fmla="*/ 89962 w 138812"/>
              <a:gd name="connsiteY2" fmla="*/ 672 h 138812"/>
              <a:gd name="connsiteX3" fmla="*/ 86828 w 138812"/>
              <a:gd name="connsiteY3" fmla="*/ 672 h 138812"/>
              <a:gd name="connsiteX4" fmla="*/ 53692 w 138812"/>
              <a:gd name="connsiteY4" fmla="*/ 33807 h 138812"/>
              <a:gd name="connsiteX5" fmla="*/ 37572 w 138812"/>
              <a:gd name="connsiteY5" fmla="*/ 49927 h 138812"/>
              <a:gd name="connsiteX6" fmla="*/ 37572 w 138812"/>
              <a:gd name="connsiteY6" fmla="*/ 49927 h 138812"/>
              <a:gd name="connsiteX7" fmla="*/ 34885 w 138812"/>
              <a:gd name="connsiteY7" fmla="*/ 52614 h 138812"/>
              <a:gd name="connsiteX8" fmla="*/ 31751 w 138812"/>
              <a:gd name="connsiteY8" fmla="*/ 63361 h 138812"/>
              <a:gd name="connsiteX9" fmla="*/ 36676 w 138812"/>
              <a:gd name="connsiteY9" fmla="*/ 87541 h 138812"/>
              <a:gd name="connsiteX10" fmla="*/ 7571 w 138812"/>
              <a:gd name="connsiteY10" fmla="*/ 111722 h 138812"/>
              <a:gd name="connsiteX11" fmla="*/ 3540 w 138812"/>
              <a:gd name="connsiteY11" fmla="*/ 139932 h 138812"/>
              <a:gd name="connsiteX12" fmla="*/ 12496 w 138812"/>
              <a:gd name="connsiteY12" fmla="*/ 143066 h 138812"/>
              <a:gd name="connsiteX13" fmla="*/ 31303 w 138812"/>
              <a:gd name="connsiteY13" fmla="*/ 135006 h 138812"/>
              <a:gd name="connsiteX14" fmla="*/ 55483 w 138812"/>
              <a:gd name="connsiteY14" fmla="*/ 105900 h 138812"/>
              <a:gd name="connsiteX15" fmla="*/ 79663 w 138812"/>
              <a:gd name="connsiteY15" fmla="*/ 110826 h 138812"/>
              <a:gd name="connsiteX16" fmla="*/ 90410 w 138812"/>
              <a:gd name="connsiteY16" fmla="*/ 107691 h 138812"/>
              <a:gd name="connsiteX17" fmla="*/ 93097 w 138812"/>
              <a:gd name="connsiteY17" fmla="*/ 105005 h 138812"/>
              <a:gd name="connsiteX18" fmla="*/ 109217 w 138812"/>
              <a:gd name="connsiteY18" fmla="*/ 88885 h 138812"/>
              <a:gd name="connsiteX19" fmla="*/ 142353 w 138812"/>
              <a:gd name="connsiteY19" fmla="*/ 55749 h 138812"/>
              <a:gd name="connsiteX20" fmla="*/ 141905 w 138812"/>
              <a:gd name="connsiteY20" fmla="*/ 52614 h 138812"/>
              <a:gd name="connsiteX21" fmla="*/ 91305 w 138812"/>
              <a:gd name="connsiteY21" fmla="*/ 100079 h 138812"/>
              <a:gd name="connsiteX22" fmla="*/ 42945 w 138812"/>
              <a:gd name="connsiteY22" fmla="*/ 51719 h 138812"/>
              <a:gd name="connsiteX23" fmla="*/ 55931 w 138812"/>
              <a:gd name="connsiteY23" fmla="*/ 38733 h 138812"/>
              <a:gd name="connsiteX24" fmla="*/ 104291 w 138812"/>
              <a:gd name="connsiteY24" fmla="*/ 87094 h 138812"/>
              <a:gd name="connsiteX25" fmla="*/ 91305 w 138812"/>
              <a:gd name="connsiteY25" fmla="*/ 100079 h 138812"/>
              <a:gd name="connsiteX26" fmla="*/ 86828 w 138812"/>
              <a:gd name="connsiteY26" fmla="*/ 104557 h 138812"/>
              <a:gd name="connsiteX27" fmla="*/ 80111 w 138812"/>
              <a:gd name="connsiteY27" fmla="*/ 106796 h 138812"/>
              <a:gd name="connsiteX28" fmla="*/ 55931 w 138812"/>
              <a:gd name="connsiteY28" fmla="*/ 101870 h 138812"/>
              <a:gd name="connsiteX29" fmla="*/ 51453 w 138812"/>
              <a:gd name="connsiteY29" fmla="*/ 103661 h 138812"/>
              <a:gd name="connsiteX30" fmla="*/ 27721 w 138812"/>
              <a:gd name="connsiteY30" fmla="*/ 132319 h 138812"/>
              <a:gd name="connsiteX31" fmla="*/ 12048 w 138812"/>
              <a:gd name="connsiteY31" fmla="*/ 139036 h 138812"/>
              <a:gd name="connsiteX32" fmla="*/ 6227 w 138812"/>
              <a:gd name="connsiteY32" fmla="*/ 137245 h 138812"/>
              <a:gd name="connsiteX33" fmla="*/ 10705 w 138812"/>
              <a:gd name="connsiteY33" fmla="*/ 115304 h 138812"/>
              <a:gd name="connsiteX34" fmla="*/ 39363 w 138812"/>
              <a:gd name="connsiteY34" fmla="*/ 91571 h 138812"/>
              <a:gd name="connsiteX35" fmla="*/ 41154 w 138812"/>
              <a:gd name="connsiteY35" fmla="*/ 87094 h 138812"/>
              <a:gd name="connsiteX36" fmla="*/ 36229 w 138812"/>
              <a:gd name="connsiteY36" fmla="*/ 62913 h 138812"/>
              <a:gd name="connsiteX37" fmla="*/ 38468 w 138812"/>
              <a:gd name="connsiteY37" fmla="*/ 56197 h 138812"/>
              <a:gd name="connsiteX38" fmla="*/ 39811 w 138812"/>
              <a:gd name="connsiteY38" fmla="*/ 54853 h 138812"/>
              <a:gd name="connsiteX39" fmla="*/ 88171 w 138812"/>
              <a:gd name="connsiteY39" fmla="*/ 103214 h 138812"/>
              <a:gd name="connsiteX40" fmla="*/ 86828 w 138812"/>
              <a:gd name="connsiteY40" fmla="*/ 104557 h 138812"/>
              <a:gd name="connsiteX41" fmla="*/ 107426 w 138812"/>
              <a:gd name="connsiteY41" fmla="*/ 83959 h 138812"/>
              <a:gd name="connsiteX42" fmla="*/ 59065 w 138812"/>
              <a:gd name="connsiteY42" fmla="*/ 35599 h 138812"/>
              <a:gd name="connsiteX43" fmla="*/ 88619 w 138812"/>
              <a:gd name="connsiteY43" fmla="*/ 6045 h 138812"/>
              <a:gd name="connsiteX44" fmla="*/ 95336 w 138812"/>
              <a:gd name="connsiteY44" fmla="*/ 12762 h 138812"/>
              <a:gd name="connsiteX45" fmla="*/ 77424 w 138812"/>
              <a:gd name="connsiteY45" fmla="*/ 29777 h 138812"/>
              <a:gd name="connsiteX46" fmla="*/ 77424 w 138812"/>
              <a:gd name="connsiteY46" fmla="*/ 32912 h 138812"/>
              <a:gd name="connsiteX47" fmla="*/ 79216 w 138812"/>
              <a:gd name="connsiteY47" fmla="*/ 33807 h 138812"/>
              <a:gd name="connsiteX48" fmla="*/ 80559 w 138812"/>
              <a:gd name="connsiteY48" fmla="*/ 33360 h 138812"/>
              <a:gd name="connsiteX49" fmla="*/ 98470 w 138812"/>
              <a:gd name="connsiteY49" fmla="*/ 16344 h 138812"/>
              <a:gd name="connsiteX50" fmla="*/ 105187 w 138812"/>
              <a:gd name="connsiteY50" fmla="*/ 23061 h 138812"/>
              <a:gd name="connsiteX51" fmla="*/ 94440 w 138812"/>
              <a:gd name="connsiteY51" fmla="*/ 33360 h 138812"/>
              <a:gd name="connsiteX52" fmla="*/ 94440 w 138812"/>
              <a:gd name="connsiteY52" fmla="*/ 36494 h 138812"/>
              <a:gd name="connsiteX53" fmla="*/ 96232 w 138812"/>
              <a:gd name="connsiteY53" fmla="*/ 37390 h 138812"/>
              <a:gd name="connsiteX54" fmla="*/ 97575 w 138812"/>
              <a:gd name="connsiteY54" fmla="*/ 36942 h 138812"/>
              <a:gd name="connsiteX55" fmla="*/ 108769 w 138812"/>
              <a:gd name="connsiteY55" fmla="*/ 26643 h 138812"/>
              <a:gd name="connsiteX56" fmla="*/ 116382 w 138812"/>
              <a:gd name="connsiteY56" fmla="*/ 34255 h 138812"/>
              <a:gd name="connsiteX57" fmla="*/ 93544 w 138812"/>
              <a:gd name="connsiteY57" fmla="*/ 55749 h 138812"/>
              <a:gd name="connsiteX58" fmla="*/ 93544 w 138812"/>
              <a:gd name="connsiteY58" fmla="*/ 58883 h 138812"/>
              <a:gd name="connsiteX59" fmla="*/ 95336 w 138812"/>
              <a:gd name="connsiteY59" fmla="*/ 59779 h 138812"/>
              <a:gd name="connsiteX60" fmla="*/ 96679 w 138812"/>
              <a:gd name="connsiteY60" fmla="*/ 59331 h 138812"/>
              <a:gd name="connsiteX61" fmla="*/ 119516 w 138812"/>
              <a:gd name="connsiteY61" fmla="*/ 37838 h 138812"/>
              <a:gd name="connsiteX62" fmla="*/ 126233 w 138812"/>
              <a:gd name="connsiteY62" fmla="*/ 44554 h 138812"/>
              <a:gd name="connsiteX63" fmla="*/ 114590 w 138812"/>
              <a:gd name="connsiteY63" fmla="*/ 55301 h 138812"/>
              <a:gd name="connsiteX64" fmla="*/ 114590 w 138812"/>
              <a:gd name="connsiteY64" fmla="*/ 58435 h 138812"/>
              <a:gd name="connsiteX65" fmla="*/ 116382 w 138812"/>
              <a:gd name="connsiteY65" fmla="*/ 59331 h 138812"/>
              <a:gd name="connsiteX66" fmla="*/ 117725 w 138812"/>
              <a:gd name="connsiteY66" fmla="*/ 58883 h 138812"/>
              <a:gd name="connsiteX67" fmla="*/ 129367 w 138812"/>
              <a:gd name="connsiteY67" fmla="*/ 47689 h 138812"/>
              <a:gd name="connsiteX68" fmla="*/ 137427 w 138812"/>
              <a:gd name="connsiteY68" fmla="*/ 55749 h 138812"/>
              <a:gd name="connsiteX69" fmla="*/ 107426 w 138812"/>
              <a:gd name="connsiteY69" fmla="*/ 83959 h 13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8812" h="138812">
                <a:moveTo>
                  <a:pt x="141905" y="52614"/>
                </a:moveTo>
                <a:lnTo>
                  <a:pt x="133845" y="44554"/>
                </a:lnTo>
                <a:lnTo>
                  <a:pt x="89962" y="672"/>
                </a:lnTo>
                <a:cubicBezTo>
                  <a:pt x="89067" y="-224"/>
                  <a:pt x="87724" y="-224"/>
                  <a:pt x="86828" y="672"/>
                </a:cubicBezTo>
                <a:lnTo>
                  <a:pt x="53692" y="33807"/>
                </a:lnTo>
                <a:lnTo>
                  <a:pt x="37572" y="49927"/>
                </a:lnTo>
                <a:cubicBezTo>
                  <a:pt x="37572" y="49927"/>
                  <a:pt x="37572" y="49927"/>
                  <a:pt x="37572" y="49927"/>
                </a:cubicBezTo>
                <a:lnTo>
                  <a:pt x="34885" y="52614"/>
                </a:lnTo>
                <a:cubicBezTo>
                  <a:pt x="32199" y="55301"/>
                  <a:pt x="30855" y="59331"/>
                  <a:pt x="31751" y="63361"/>
                </a:cubicBezTo>
                <a:lnTo>
                  <a:pt x="36676" y="87541"/>
                </a:lnTo>
                <a:cubicBezTo>
                  <a:pt x="36229" y="87541"/>
                  <a:pt x="11601" y="106796"/>
                  <a:pt x="7571" y="111722"/>
                </a:cubicBezTo>
                <a:cubicBezTo>
                  <a:pt x="1301" y="118438"/>
                  <a:pt x="-3624" y="133215"/>
                  <a:pt x="3540" y="139932"/>
                </a:cubicBezTo>
                <a:cubicBezTo>
                  <a:pt x="5779" y="142170"/>
                  <a:pt x="8466" y="143066"/>
                  <a:pt x="12496" y="143066"/>
                </a:cubicBezTo>
                <a:cubicBezTo>
                  <a:pt x="18765" y="143066"/>
                  <a:pt x="26377" y="139932"/>
                  <a:pt x="31303" y="135006"/>
                </a:cubicBezTo>
                <a:cubicBezTo>
                  <a:pt x="35781" y="130976"/>
                  <a:pt x="53244" y="108139"/>
                  <a:pt x="55483" y="105900"/>
                </a:cubicBezTo>
                <a:lnTo>
                  <a:pt x="79663" y="110826"/>
                </a:lnTo>
                <a:cubicBezTo>
                  <a:pt x="83693" y="111722"/>
                  <a:pt x="87724" y="110378"/>
                  <a:pt x="90410" y="107691"/>
                </a:cubicBezTo>
                <a:lnTo>
                  <a:pt x="93097" y="105005"/>
                </a:lnTo>
                <a:lnTo>
                  <a:pt x="109217" y="88885"/>
                </a:lnTo>
                <a:lnTo>
                  <a:pt x="142353" y="55749"/>
                </a:lnTo>
                <a:cubicBezTo>
                  <a:pt x="142800" y="54853"/>
                  <a:pt x="142800" y="53510"/>
                  <a:pt x="141905" y="52614"/>
                </a:cubicBezTo>
                <a:close/>
                <a:moveTo>
                  <a:pt x="91305" y="100079"/>
                </a:moveTo>
                <a:lnTo>
                  <a:pt x="42945" y="51719"/>
                </a:lnTo>
                <a:lnTo>
                  <a:pt x="55931" y="38733"/>
                </a:lnTo>
                <a:lnTo>
                  <a:pt x="104291" y="87094"/>
                </a:lnTo>
                <a:lnTo>
                  <a:pt x="91305" y="100079"/>
                </a:lnTo>
                <a:close/>
                <a:moveTo>
                  <a:pt x="86828" y="104557"/>
                </a:moveTo>
                <a:cubicBezTo>
                  <a:pt x="85037" y="106348"/>
                  <a:pt x="82350" y="107244"/>
                  <a:pt x="80111" y="106796"/>
                </a:cubicBezTo>
                <a:lnTo>
                  <a:pt x="55931" y="101870"/>
                </a:lnTo>
                <a:cubicBezTo>
                  <a:pt x="54140" y="101422"/>
                  <a:pt x="52349" y="102318"/>
                  <a:pt x="51453" y="103661"/>
                </a:cubicBezTo>
                <a:cubicBezTo>
                  <a:pt x="44288" y="112617"/>
                  <a:pt x="31303" y="129185"/>
                  <a:pt x="27721" y="132319"/>
                </a:cubicBezTo>
                <a:cubicBezTo>
                  <a:pt x="23691" y="136350"/>
                  <a:pt x="16974" y="139036"/>
                  <a:pt x="12048" y="139036"/>
                </a:cubicBezTo>
                <a:cubicBezTo>
                  <a:pt x="9809" y="139036"/>
                  <a:pt x="7571" y="138589"/>
                  <a:pt x="6227" y="137245"/>
                </a:cubicBezTo>
                <a:cubicBezTo>
                  <a:pt x="1301" y="132319"/>
                  <a:pt x="5332" y="120677"/>
                  <a:pt x="10705" y="115304"/>
                </a:cubicBezTo>
                <a:cubicBezTo>
                  <a:pt x="14735" y="110826"/>
                  <a:pt x="39363" y="92019"/>
                  <a:pt x="39363" y="91571"/>
                </a:cubicBezTo>
                <a:cubicBezTo>
                  <a:pt x="40706" y="90676"/>
                  <a:pt x="41154" y="88885"/>
                  <a:pt x="41154" y="87094"/>
                </a:cubicBezTo>
                <a:lnTo>
                  <a:pt x="36229" y="62913"/>
                </a:lnTo>
                <a:cubicBezTo>
                  <a:pt x="35781" y="60674"/>
                  <a:pt x="36676" y="57988"/>
                  <a:pt x="38468" y="56197"/>
                </a:cubicBezTo>
                <a:lnTo>
                  <a:pt x="39811" y="54853"/>
                </a:lnTo>
                <a:lnTo>
                  <a:pt x="88171" y="103214"/>
                </a:lnTo>
                <a:lnTo>
                  <a:pt x="86828" y="104557"/>
                </a:lnTo>
                <a:close/>
                <a:moveTo>
                  <a:pt x="107426" y="83959"/>
                </a:moveTo>
                <a:lnTo>
                  <a:pt x="59065" y="35599"/>
                </a:lnTo>
                <a:lnTo>
                  <a:pt x="88619" y="6045"/>
                </a:lnTo>
                <a:lnTo>
                  <a:pt x="95336" y="12762"/>
                </a:lnTo>
                <a:lnTo>
                  <a:pt x="77424" y="29777"/>
                </a:lnTo>
                <a:cubicBezTo>
                  <a:pt x="76529" y="30673"/>
                  <a:pt x="76529" y="32016"/>
                  <a:pt x="77424" y="32912"/>
                </a:cubicBezTo>
                <a:cubicBezTo>
                  <a:pt x="77872" y="33360"/>
                  <a:pt x="78320" y="33807"/>
                  <a:pt x="79216" y="33807"/>
                </a:cubicBezTo>
                <a:cubicBezTo>
                  <a:pt x="79663" y="33807"/>
                  <a:pt x="80111" y="33807"/>
                  <a:pt x="80559" y="33360"/>
                </a:cubicBezTo>
                <a:lnTo>
                  <a:pt x="98470" y="16344"/>
                </a:lnTo>
                <a:lnTo>
                  <a:pt x="105187" y="23061"/>
                </a:lnTo>
                <a:lnTo>
                  <a:pt x="94440" y="33360"/>
                </a:lnTo>
                <a:cubicBezTo>
                  <a:pt x="93544" y="34255"/>
                  <a:pt x="93544" y="35599"/>
                  <a:pt x="94440" y="36494"/>
                </a:cubicBezTo>
                <a:cubicBezTo>
                  <a:pt x="94888" y="36942"/>
                  <a:pt x="95336" y="37390"/>
                  <a:pt x="96232" y="37390"/>
                </a:cubicBezTo>
                <a:cubicBezTo>
                  <a:pt x="96679" y="37390"/>
                  <a:pt x="97127" y="37390"/>
                  <a:pt x="97575" y="36942"/>
                </a:cubicBezTo>
                <a:lnTo>
                  <a:pt x="108769" y="26643"/>
                </a:lnTo>
                <a:lnTo>
                  <a:pt x="116382" y="34255"/>
                </a:lnTo>
                <a:lnTo>
                  <a:pt x="93544" y="55749"/>
                </a:lnTo>
                <a:cubicBezTo>
                  <a:pt x="92649" y="56644"/>
                  <a:pt x="92649" y="57988"/>
                  <a:pt x="93544" y="58883"/>
                </a:cubicBezTo>
                <a:cubicBezTo>
                  <a:pt x="93993" y="59331"/>
                  <a:pt x="94440" y="59779"/>
                  <a:pt x="95336" y="59779"/>
                </a:cubicBezTo>
                <a:cubicBezTo>
                  <a:pt x="95783" y="59779"/>
                  <a:pt x="96232" y="59779"/>
                  <a:pt x="96679" y="59331"/>
                </a:cubicBezTo>
                <a:lnTo>
                  <a:pt x="119516" y="37838"/>
                </a:lnTo>
                <a:lnTo>
                  <a:pt x="126233" y="44554"/>
                </a:lnTo>
                <a:lnTo>
                  <a:pt x="114590" y="55301"/>
                </a:lnTo>
                <a:cubicBezTo>
                  <a:pt x="113695" y="56197"/>
                  <a:pt x="113695" y="57540"/>
                  <a:pt x="114590" y="58435"/>
                </a:cubicBezTo>
                <a:cubicBezTo>
                  <a:pt x="115038" y="58883"/>
                  <a:pt x="115486" y="59331"/>
                  <a:pt x="116382" y="59331"/>
                </a:cubicBezTo>
                <a:cubicBezTo>
                  <a:pt x="116829" y="59331"/>
                  <a:pt x="117277" y="59331"/>
                  <a:pt x="117725" y="58883"/>
                </a:cubicBezTo>
                <a:lnTo>
                  <a:pt x="129367" y="47689"/>
                </a:lnTo>
                <a:lnTo>
                  <a:pt x="137427" y="55749"/>
                </a:lnTo>
                <a:lnTo>
                  <a:pt x="107426" y="83959"/>
                </a:lnTo>
                <a:close/>
              </a:path>
            </a:pathLst>
          </a:custGeom>
          <a:solidFill>
            <a:srgbClr val="231F20"/>
          </a:solidFill>
          <a:ln w="4474" cap="flat">
            <a:noFill/>
            <a:prstDash val="solid"/>
            <a:miter/>
          </a:ln>
        </p:spPr>
        <p:txBody>
          <a:bodyPr rtlCol="0" anchor="ctr"/>
          <a:lstStyle/>
          <a:p>
            <a:endParaRPr lang="en-US"/>
          </a:p>
        </p:txBody>
      </p:sp>
      <p:sp>
        <p:nvSpPr>
          <p:cNvPr id="4882" name="Freeform: Shape 4881">
            <a:extLst>
              <a:ext uri="{FF2B5EF4-FFF2-40B4-BE49-F238E27FC236}">
                <a16:creationId xmlns:a16="http://schemas.microsoft.com/office/drawing/2014/main" id="{45D3BC69-A009-4D87-A311-66E174F91F70}"/>
              </a:ext>
              <a:ext uri="{C183D7F6-B498-43B3-948B-1728B52AA6E4}">
                <adec:decorative xmlns:adec="http://schemas.microsoft.com/office/drawing/2017/decorative" val="1"/>
              </a:ext>
            </a:extLst>
          </p:cNvPr>
          <p:cNvSpPr>
            <a:spLocks noChangeAspect="1"/>
          </p:cNvSpPr>
          <p:nvPr/>
        </p:nvSpPr>
        <p:spPr>
          <a:xfrm>
            <a:off x="11355053" y="2763051"/>
            <a:ext cx="165679" cy="161201"/>
          </a:xfrm>
          <a:custGeom>
            <a:avLst/>
            <a:gdLst>
              <a:gd name="connsiteX0" fmla="*/ 164784 w 165679"/>
              <a:gd name="connsiteY0" fmla="*/ 137245 h 161201"/>
              <a:gd name="connsiteX1" fmla="*/ 109259 w 165679"/>
              <a:gd name="connsiteY1" fmla="*/ 82616 h 161201"/>
              <a:gd name="connsiteX2" fmla="*/ 147768 w 165679"/>
              <a:gd name="connsiteY2" fmla="*/ 44107 h 161201"/>
              <a:gd name="connsiteX3" fmla="*/ 157171 w 165679"/>
              <a:gd name="connsiteY3" fmla="*/ 34703 h 161201"/>
              <a:gd name="connsiteX4" fmla="*/ 157171 w 165679"/>
              <a:gd name="connsiteY4" fmla="*/ 28434 h 161201"/>
              <a:gd name="connsiteX5" fmla="*/ 143290 w 165679"/>
              <a:gd name="connsiteY5" fmla="*/ 14553 h 161201"/>
              <a:gd name="connsiteX6" fmla="*/ 137021 w 165679"/>
              <a:gd name="connsiteY6" fmla="*/ 14553 h 161201"/>
              <a:gd name="connsiteX7" fmla="*/ 127618 w 165679"/>
              <a:gd name="connsiteY7" fmla="*/ 23956 h 161201"/>
              <a:gd name="connsiteX8" fmla="*/ 88661 w 165679"/>
              <a:gd name="connsiteY8" fmla="*/ 62913 h 161201"/>
              <a:gd name="connsiteX9" fmla="*/ 25523 w 165679"/>
              <a:gd name="connsiteY9" fmla="*/ 672 h 161201"/>
              <a:gd name="connsiteX10" fmla="*/ 22389 w 165679"/>
              <a:gd name="connsiteY10" fmla="*/ 672 h 161201"/>
              <a:gd name="connsiteX11" fmla="*/ 448 w 165679"/>
              <a:gd name="connsiteY11" fmla="*/ 23061 h 161201"/>
              <a:gd name="connsiteX12" fmla="*/ 0 w 165679"/>
              <a:gd name="connsiteY12" fmla="*/ 23956 h 161201"/>
              <a:gd name="connsiteX13" fmla="*/ 0 w 165679"/>
              <a:gd name="connsiteY13" fmla="*/ 24404 h 161201"/>
              <a:gd name="connsiteX14" fmla="*/ 0 w 165679"/>
              <a:gd name="connsiteY14" fmla="*/ 24852 h 161201"/>
              <a:gd name="connsiteX15" fmla="*/ 0 w 165679"/>
              <a:gd name="connsiteY15" fmla="*/ 25300 h 161201"/>
              <a:gd name="connsiteX16" fmla="*/ 0 w 165679"/>
              <a:gd name="connsiteY16" fmla="*/ 25748 h 161201"/>
              <a:gd name="connsiteX17" fmla="*/ 448 w 165679"/>
              <a:gd name="connsiteY17" fmla="*/ 26643 h 161201"/>
              <a:gd name="connsiteX18" fmla="*/ 448 w 165679"/>
              <a:gd name="connsiteY18" fmla="*/ 26643 h 161201"/>
              <a:gd name="connsiteX19" fmla="*/ 448 w 165679"/>
              <a:gd name="connsiteY19" fmla="*/ 26643 h 161201"/>
              <a:gd name="connsiteX20" fmla="*/ 448 w 165679"/>
              <a:gd name="connsiteY20" fmla="*/ 26643 h 161201"/>
              <a:gd name="connsiteX21" fmla="*/ 9851 w 165679"/>
              <a:gd name="connsiteY21" fmla="*/ 35599 h 161201"/>
              <a:gd name="connsiteX22" fmla="*/ 9851 w 165679"/>
              <a:gd name="connsiteY22" fmla="*/ 35599 h 161201"/>
              <a:gd name="connsiteX23" fmla="*/ 9851 w 165679"/>
              <a:gd name="connsiteY23" fmla="*/ 35599 h 161201"/>
              <a:gd name="connsiteX24" fmla="*/ 17911 w 165679"/>
              <a:gd name="connsiteY24" fmla="*/ 43659 h 161201"/>
              <a:gd name="connsiteX25" fmla="*/ 17911 w 165679"/>
              <a:gd name="connsiteY25" fmla="*/ 43659 h 161201"/>
              <a:gd name="connsiteX26" fmla="*/ 17911 w 165679"/>
              <a:gd name="connsiteY26" fmla="*/ 43659 h 161201"/>
              <a:gd name="connsiteX27" fmla="*/ 27315 w 165679"/>
              <a:gd name="connsiteY27" fmla="*/ 52615 h 161201"/>
              <a:gd name="connsiteX28" fmla="*/ 27315 w 165679"/>
              <a:gd name="connsiteY28" fmla="*/ 52615 h 161201"/>
              <a:gd name="connsiteX29" fmla="*/ 27315 w 165679"/>
              <a:gd name="connsiteY29" fmla="*/ 52615 h 161201"/>
              <a:gd name="connsiteX30" fmla="*/ 44778 w 165679"/>
              <a:gd name="connsiteY30" fmla="*/ 69630 h 161201"/>
              <a:gd name="connsiteX31" fmla="*/ 44778 w 165679"/>
              <a:gd name="connsiteY31" fmla="*/ 69630 h 161201"/>
              <a:gd name="connsiteX32" fmla="*/ 44778 w 165679"/>
              <a:gd name="connsiteY32" fmla="*/ 69630 h 161201"/>
              <a:gd name="connsiteX33" fmla="*/ 62242 w 165679"/>
              <a:gd name="connsiteY33" fmla="*/ 86646 h 161201"/>
              <a:gd name="connsiteX34" fmla="*/ 62242 w 165679"/>
              <a:gd name="connsiteY34" fmla="*/ 86646 h 161201"/>
              <a:gd name="connsiteX35" fmla="*/ 62242 w 165679"/>
              <a:gd name="connsiteY35" fmla="*/ 86646 h 161201"/>
              <a:gd name="connsiteX36" fmla="*/ 64033 w 165679"/>
              <a:gd name="connsiteY36" fmla="*/ 88437 h 161201"/>
              <a:gd name="connsiteX37" fmla="*/ 18807 w 165679"/>
              <a:gd name="connsiteY37" fmla="*/ 133663 h 161201"/>
              <a:gd name="connsiteX38" fmla="*/ 18359 w 165679"/>
              <a:gd name="connsiteY38" fmla="*/ 134558 h 161201"/>
              <a:gd name="connsiteX39" fmla="*/ 18359 w 165679"/>
              <a:gd name="connsiteY39" fmla="*/ 134558 h 161201"/>
              <a:gd name="connsiteX40" fmla="*/ 7164 w 165679"/>
              <a:gd name="connsiteY40" fmla="*/ 162769 h 161201"/>
              <a:gd name="connsiteX41" fmla="*/ 7612 w 165679"/>
              <a:gd name="connsiteY41" fmla="*/ 165008 h 161201"/>
              <a:gd name="connsiteX42" fmla="*/ 9403 w 165679"/>
              <a:gd name="connsiteY42" fmla="*/ 165455 h 161201"/>
              <a:gd name="connsiteX43" fmla="*/ 10299 w 165679"/>
              <a:gd name="connsiteY43" fmla="*/ 165455 h 161201"/>
              <a:gd name="connsiteX44" fmla="*/ 38509 w 165679"/>
              <a:gd name="connsiteY44" fmla="*/ 154261 h 161201"/>
              <a:gd name="connsiteX45" fmla="*/ 38509 w 165679"/>
              <a:gd name="connsiteY45" fmla="*/ 154261 h 161201"/>
              <a:gd name="connsiteX46" fmla="*/ 39405 w 165679"/>
              <a:gd name="connsiteY46" fmla="*/ 153813 h 161201"/>
              <a:gd name="connsiteX47" fmla="*/ 85079 w 165679"/>
              <a:gd name="connsiteY47" fmla="*/ 108139 h 161201"/>
              <a:gd name="connsiteX48" fmla="*/ 97617 w 165679"/>
              <a:gd name="connsiteY48" fmla="*/ 120677 h 161201"/>
              <a:gd name="connsiteX49" fmla="*/ 97617 w 165679"/>
              <a:gd name="connsiteY49" fmla="*/ 120677 h 161201"/>
              <a:gd name="connsiteX50" fmla="*/ 97617 w 165679"/>
              <a:gd name="connsiteY50" fmla="*/ 120677 h 161201"/>
              <a:gd name="connsiteX51" fmla="*/ 115080 w 165679"/>
              <a:gd name="connsiteY51" fmla="*/ 137693 h 161201"/>
              <a:gd name="connsiteX52" fmla="*/ 115080 w 165679"/>
              <a:gd name="connsiteY52" fmla="*/ 137693 h 161201"/>
              <a:gd name="connsiteX53" fmla="*/ 115080 w 165679"/>
              <a:gd name="connsiteY53" fmla="*/ 137693 h 161201"/>
              <a:gd name="connsiteX54" fmla="*/ 123140 w 165679"/>
              <a:gd name="connsiteY54" fmla="*/ 145753 h 161201"/>
              <a:gd name="connsiteX55" fmla="*/ 123140 w 165679"/>
              <a:gd name="connsiteY55" fmla="*/ 145753 h 161201"/>
              <a:gd name="connsiteX56" fmla="*/ 123140 w 165679"/>
              <a:gd name="connsiteY56" fmla="*/ 145753 h 161201"/>
              <a:gd name="connsiteX57" fmla="*/ 132543 w 165679"/>
              <a:gd name="connsiteY57" fmla="*/ 154709 h 161201"/>
              <a:gd name="connsiteX58" fmla="*/ 132543 w 165679"/>
              <a:gd name="connsiteY58" fmla="*/ 154709 h 161201"/>
              <a:gd name="connsiteX59" fmla="*/ 132543 w 165679"/>
              <a:gd name="connsiteY59" fmla="*/ 154709 h 161201"/>
              <a:gd name="connsiteX60" fmla="*/ 140604 w 165679"/>
              <a:gd name="connsiteY60" fmla="*/ 162769 h 161201"/>
              <a:gd name="connsiteX61" fmla="*/ 141499 w 165679"/>
              <a:gd name="connsiteY61" fmla="*/ 163216 h 161201"/>
              <a:gd name="connsiteX62" fmla="*/ 142395 w 165679"/>
              <a:gd name="connsiteY62" fmla="*/ 163216 h 161201"/>
              <a:gd name="connsiteX63" fmla="*/ 144186 w 165679"/>
              <a:gd name="connsiteY63" fmla="*/ 162769 h 161201"/>
              <a:gd name="connsiteX64" fmla="*/ 155380 w 165679"/>
              <a:gd name="connsiteY64" fmla="*/ 151574 h 161201"/>
              <a:gd name="connsiteX65" fmla="*/ 155380 w 165679"/>
              <a:gd name="connsiteY65" fmla="*/ 151574 h 161201"/>
              <a:gd name="connsiteX66" fmla="*/ 166575 w 165679"/>
              <a:gd name="connsiteY66" fmla="*/ 140380 h 161201"/>
              <a:gd name="connsiteX67" fmla="*/ 164784 w 165679"/>
              <a:gd name="connsiteY67" fmla="*/ 137245 h 161201"/>
              <a:gd name="connsiteX68" fmla="*/ 100751 w 165679"/>
              <a:gd name="connsiteY68" fmla="*/ 74555 h 161201"/>
              <a:gd name="connsiteX69" fmla="*/ 137917 w 165679"/>
              <a:gd name="connsiteY69" fmla="*/ 37390 h 161201"/>
              <a:gd name="connsiteX70" fmla="*/ 143290 w 165679"/>
              <a:gd name="connsiteY70" fmla="*/ 42763 h 161201"/>
              <a:gd name="connsiteX71" fmla="*/ 106124 w 165679"/>
              <a:gd name="connsiteY71" fmla="*/ 79929 h 161201"/>
              <a:gd name="connsiteX72" fmla="*/ 100751 w 165679"/>
              <a:gd name="connsiteY72" fmla="*/ 74555 h 161201"/>
              <a:gd name="connsiteX73" fmla="*/ 140604 w 165679"/>
              <a:gd name="connsiteY73" fmla="*/ 17687 h 161201"/>
              <a:gd name="connsiteX74" fmla="*/ 154485 w 165679"/>
              <a:gd name="connsiteY74" fmla="*/ 31569 h 161201"/>
              <a:gd name="connsiteX75" fmla="*/ 146424 w 165679"/>
              <a:gd name="connsiteY75" fmla="*/ 39629 h 161201"/>
              <a:gd name="connsiteX76" fmla="*/ 139708 w 165679"/>
              <a:gd name="connsiteY76" fmla="*/ 32912 h 161201"/>
              <a:gd name="connsiteX77" fmla="*/ 132991 w 165679"/>
              <a:gd name="connsiteY77" fmla="*/ 26195 h 161201"/>
              <a:gd name="connsiteX78" fmla="*/ 140604 w 165679"/>
              <a:gd name="connsiteY78" fmla="*/ 17687 h 161201"/>
              <a:gd name="connsiteX79" fmla="*/ 129409 w 165679"/>
              <a:gd name="connsiteY79" fmla="*/ 28882 h 161201"/>
              <a:gd name="connsiteX80" fmla="*/ 134782 w 165679"/>
              <a:gd name="connsiteY80" fmla="*/ 34255 h 161201"/>
              <a:gd name="connsiteX81" fmla="*/ 97617 w 165679"/>
              <a:gd name="connsiteY81" fmla="*/ 71421 h 161201"/>
              <a:gd name="connsiteX82" fmla="*/ 92243 w 165679"/>
              <a:gd name="connsiteY82" fmla="*/ 66048 h 161201"/>
              <a:gd name="connsiteX83" fmla="*/ 129409 w 165679"/>
              <a:gd name="connsiteY83" fmla="*/ 28882 h 161201"/>
              <a:gd name="connsiteX84" fmla="*/ 72540 w 165679"/>
              <a:gd name="connsiteY84" fmla="*/ 96497 h 161201"/>
              <a:gd name="connsiteX85" fmla="*/ 28658 w 165679"/>
              <a:gd name="connsiteY85" fmla="*/ 140380 h 161201"/>
              <a:gd name="connsiteX86" fmla="*/ 23284 w 165679"/>
              <a:gd name="connsiteY86" fmla="*/ 135006 h 161201"/>
              <a:gd name="connsiteX87" fmla="*/ 67167 w 165679"/>
              <a:gd name="connsiteY87" fmla="*/ 91124 h 161201"/>
              <a:gd name="connsiteX88" fmla="*/ 72540 w 165679"/>
              <a:gd name="connsiteY88" fmla="*/ 96497 h 161201"/>
              <a:gd name="connsiteX89" fmla="*/ 20150 w 165679"/>
              <a:gd name="connsiteY89" fmla="*/ 156500 h 161201"/>
              <a:gd name="connsiteX90" fmla="*/ 15672 w 165679"/>
              <a:gd name="connsiteY90" fmla="*/ 152022 h 161201"/>
              <a:gd name="connsiteX91" fmla="*/ 20598 w 165679"/>
              <a:gd name="connsiteY91" fmla="*/ 139036 h 161201"/>
              <a:gd name="connsiteX92" fmla="*/ 32688 w 165679"/>
              <a:gd name="connsiteY92" fmla="*/ 151127 h 161201"/>
              <a:gd name="connsiteX93" fmla="*/ 20150 w 165679"/>
              <a:gd name="connsiteY93" fmla="*/ 156500 h 161201"/>
              <a:gd name="connsiteX94" fmla="*/ 13881 w 165679"/>
              <a:gd name="connsiteY94" fmla="*/ 156500 h 161201"/>
              <a:gd name="connsiteX95" fmla="*/ 15225 w 165679"/>
              <a:gd name="connsiteY95" fmla="*/ 157843 h 161201"/>
              <a:gd name="connsiteX96" fmla="*/ 12538 w 165679"/>
              <a:gd name="connsiteY96" fmla="*/ 158739 h 161201"/>
              <a:gd name="connsiteX97" fmla="*/ 13881 w 165679"/>
              <a:gd name="connsiteY97" fmla="*/ 156500 h 161201"/>
              <a:gd name="connsiteX98" fmla="*/ 37166 w 165679"/>
              <a:gd name="connsiteY98" fmla="*/ 148888 h 161201"/>
              <a:gd name="connsiteX99" fmla="*/ 31792 w 165679"/>
              <a:gd name="connsiteY99" fmla="*/ 143514 h 161201"/>
              <a:gd name="connsiteX100" fmla="*/ 75675 w 165679"/>
              <a:gd name="connsiteY100" fmla="*/ 99632 h 161201"/>
              <a:gd name="connsiteX101" fmla="*/ 79705 w 165679"/>
              <a:gd name="connsiteY101" fmla="*/ 103661 h 161201"/>
              <a:gd name="connsiteX102" fmla="*/ 79705 w 165679"/>
              <a:gd name="connsiteY102" fmla="*/ 103661 h 161201"/>
              <a:gd name="connsiteX103" fmla="*/ 79705 w 165679"/>
              <a:gd name="connsiteY103" fmla="*/ 103661 h 161201"/>
              <a:gd name="connsiteX104" fmla="*/ 81048 w 165679"/>
              <a:gd name="connsiteY104" fmla="*/ 105005 h 161201"/>
              <a:gd name="connsiteX105" fmla="*/ 37166 w 165679"/>
              <a:gd name="connsiteY105" fmla="*/ 148888 h 161201"/>
              <a:gd name="connsiteX106" fmla="*/ 150007 w 165679"/>
              <a:gd name="connsiteY106" fmla="*/ 149335 h 161201"/>
              <a:gd name="connsiteX107" fmla="*/ 141051 w 165679"/>
              <a:gd name="connsiteY107" fmla="*/ 158291 h 161201"/>
              <a:gd name="connsiteX108" fmla="*/ 136126 w 165679"/>
              <a:gd name="connsiteY108" fmla="*/ 153366 h 161201"/>
              <a:gd name="connsiteX109" fmla="*/ 140156 w 165679"/>
              <a:gd name="connsiteY109" fmla="*/ 149335 h 161201"/>
              <a:gd name="connsiteX110" fmla="*/ 140156 w 165679"/>
              <a:gd name="connsiteY110" fmla="*/ 146201 h 161201"/>
              <a:gd name="connsiteX111" fmla="*/ 137021 w 165679"/>
              <a:gd name="connsiteY111" fmla="*/ 146201 h 161201"/>
              <a:gd name="connsiteX112" fmla="*/ 132991 w 165679"/>
              <a:gd name="connsiteY112" fmla="*/ 150231 h 161201"/>
              <a:gd name="connsiteX113" fmla="*/ 126722 w 165679"/>
              <a:gd name="connsiteY113" fmla="*/ 144410 h 161201"/>
              <a:gd name="connsiteX114" fmla="*/ 136126 w 165679"/>
              <a:gd name="connsiteY114" fmla="*/ 135006 h 161201"/>
              <a:gd name="connsiteX115" fmla="*/ 136126 w 165679"/>
              <a:gd name="connsiteY115" fmla="*/ 131872 h 161201"/>
              <a:gd name="connsiteX116" fmla="*/ 132991 w 165679"/>
              <a:gd name="connsiteY116" fmla="*/ 131872 h 161201"/>
              <a:gd name="connsiteX117" fmla="*/ 123588 w 165679"/>
              <a:gd name="connsiteY117" fmla="*/ 141275 h 161201"/>
              <a:gd name="connsiteX118" fmla="*/ 118662 w 165679"/>
              <a:gd name="connsiteY118" fmla="*/ 136350 h 161201"/>
              <a:gd name="connsiteX119" fmla="*/ 122692 w 165679"/>
              <a:gd name="connsiteY119" fmla="*/ 132319 h 161201"/>
              <a:gd name="connsiteX120" fmla="*/ 122692 w 165679"/>
              <a:gd name="connsiteY120" fmla="*/ 129185 h 161201"/>
              <a:gd name="connsiteX121" fmla="*/ 119558 w 165679"/>
              <a:gd name="connsiteY121" fmla="*/ 129185 h 161201"/>
              <a:gd name="connsiteX122" fmla="*/ 115528 w 165679"/>
              <a:gd name="connsiteY122" fmla="*/ 133215 h 161201"/>
              <a:gd name="connsiteX123" fmla="*/ 109259 w 165679"/>
              <a:gd name="connsiteY123" fmla="*/ 127394 h 161201"/>
              <a:gd name="connsiteX124" fmla="*/ 118662 w 165679"/>
              <a:gd name="connsiteY124" fmla="*/ 117991 h 161201"/>
              <a:gd name="connsiteX125" fmla="*/ 118662 w 165679"/>
              <a:gd name="connsiteY125" fmla="*/ 114856 h 161201"/>
              <a:gd name="connsiteX126" fmla="*/ 115528 w 165679"/>
              <a:gd name="connsiteY126" fmla="*/ 114856 h 161201"/>
              <a:gd name="connsiteX127" fmla="*/ 106124 w 165679"/>
              <a:gd name="connsiteY127" fmla="*/ 124260 h 161201"/>
              <a:gd name="connsiteX128" fmla="*/ 101199 w 165679"/>
              <a:gd name="connsiteY128" fmla="*/ 119334 h 161201"/>
              <a:gd name="connsiteX129" fmla="*/ 105229 w 165679"/>
              <a:gd name="connsiteY129" fmla="*/ 115304 h 161201"/>
              <a:gd name="connsiteX130" fmla="*/ 105229 w 165679"/>
              <a:gd name="connsiteY130" fmla="*/ 112169 h 161201"/>
              <a:gd name="connsiteX131" fmla="*/ 102094 w 165679"/>
              <a:gd name="connsiteY131" fmla="*/ 112169 h 161201"/>
              <a:gd name="connsiteX132" fmla="*/ 98064 w 165679"/>
              <a:gd name="connsiteY132" fmla="*/ 116199 h 161201"/>
              <a:gd name="connsiteX133" fmla="*/ 91795 w 165679"/>
              <a:gd name="connsiteY133" fmla="*/ 110378 h 161201"/>
              <a:gd name="connsiteX134" fmla="*/ 101199 w 165679"/>
              <a:gd name="connsiteY134" fmla="*/ 100975 h 161201"/>
              <a:gd name="connsiteX135" fmla="*/ 101199 w 165679"/>
              <a:gd name="connsiteY135" fmla="*/ 97840 h 161201"/>
              <a:gd name="connsiteX136" fmla="*/ 98064 w 165679"/>
              <a:gd name="connsiteY136" fmla="*/ 97840 h 161201"/>
              <a:gd name="connsiteX137" fmla="*/ 88661 w 165679"/>
              <a:gd name="connsiteY137" fmla="*/ 107244 h 161201"/>
              <a:gd name="connsiteX138" fmla="*/ 83735 w 165679"/>
              <a:gd name="connsiteY138" fmla="*/ 102318 h 161201"/>
              <a:gd name="connsiteX139" fmla="*/ 87765 w 165679"/>
              <a:gd name="connsiteY139" fmla="*/ 98288 h 161201"/>
              <a:gd name="connsiteX140" fmla="*/ 87765 w 165679"/>
              <a:gd name="connsiteY140" fmla="*/ 95154 h 161201"/>
              <a:gd name="connsiteX141" fmla="*/ 84631 w 165679"/>
              <a:gd name="connsiteY141" fmla="*/ 95154 h 161201"/>
              <a:gd name="connsiteX142" fmla="*/ 80601 w 165679"/>
              <a:gd name="connsiteY142" fmla="*/ 99183 h 161201"/>
              <a:gd name="connsiteX143" fmla="*/ 76571 w 165679"/>
              <a:gd name="connsiteY143" fmla="*/ 95154 h 161201"/>
              <a:gd name="connsiteX144" fmla="*/ 76571 w 165679"/>
              <a:gd name="connsiteY144" fmla="*/ 95154 h 161201"/>
              <a:gd name="connsiteX145" fmla="*/ 76571 w 165679"/>
              <a:gd name="connsiteY145" fmla="*/ 95154 h 161201"/>
              <a:gd name="connsiteX146" fmla="*/ 74332 w 165679"/>
              <a:gd name="connsiteY146" fmla="*/ 92915 h 161201"/>
              <a:gd name="connsiteX147" fmla="*/ 83735 w 165679"/>
              <a:gd name="connsiteY147" fmla="*/ 83511 h 161201"/>
              <a:gd name="connsiteX148" fmla="*/ 83735 w 165679"/>
              <a:gd name="connsiteY148" fmla="*/ 80377 h 161201"/>
              <a:gd name="connsiteX149" fmla="*/ 80601 w 165679"/>
              <a:gd name="connsiteY149" fmla="*/ 80377 h 161201"/>
              <a:gd name="connsiteX150" fmla="*/ 71197 w 165679"/>
              <a:gd name="connsiteY150" fmla="*/ 89780 h 161201"/>
              <a:gd name="connsiteX151" fmla="*/ 66272 w 165679"/>
              <a:gd name="connsiteY151" fmla="*/ 84855 h 161201"/>
              <a:gd name="connsiteX152" fmla="*/ 70302 w 165679"/>
              <a:gd name="connsiteY152" fmla="*/ 80825 h 161201"/>
              <a:gd name="connsiteX153" fmla="*/ 70302 w 165679"/>
              <a:gd name="connsiteY153" fmla="*/ 77690 h 161201"/>
              <a:gd name="connsiteX154" fmla="*/ 67167 w 165679"/>
              <a:gd name="connsiteY154" fmla="*/ 77690 h 161201"/>
              <a:gd name="connsiteX155" fmla="*/ 63137 w 165679"/>
              <a:gd name="connsiteY155" fmla="*/ 81720 h 161201"/>
              <a:gd name="connsiteX156" fmla="*/ 56868 w 165679"/>
              <a:gd name="connsiteY156" fmla="*/ 75899 h 161201"/>
              <a:gd name="connsiteX157" fmla="*/ 66272 w 165679"/>
              <a:gd name="connsiteY157" fmla="*/ 66496 h 161201"/>
              <a:gd name="connsiteX158" fmla="*/ 66272 w 165679"/>
              <a:gd name="connsiteY158" fmla="*/ 63361 h 161201"/>
              <a:gd name="connsiteX159" fmla="*/ 63137 w 165679"/>
              <a:gd name="connsiteY159" fmla="*/ 63361 h 161201"/>
              <a:gd name="connsiteX160" fmla="*/ 53734 w 165679"/>
              <a:gd name="connsiteY160" fmla="*/ 72765 h 161201"/>
              <a:gd name="connsiteX161" fmla="*/ 48808 w 165679"/>
              <a:gd name="connsiteY161" fmla="*/ 67839 h 161201"/>
              <a:gd name="connsiteX162" fmla="*/ 52838 w 165679"/>
              <a:gd name="connsiteY162" fmla="*/ 63809 h 161201"/>
              <a:gd name="connsiteX163" fmla="*/ 52838 w 165679"/>
              <a:gd name="connsiteY163" fmla="*/ 60674 h 161201"/>
              <a:gd name="connsiteX164" fmla="*/ 49704 w 165679"/>
              <a:gd name="connsiteY164" fmla="*/ 60674 h 161201"/>
              <a:gd name="connsiteX165" fmla="*/ 45674 w 165679"/>
              <a:gd name="connsiteY165" fmla="*/ 64705 h 161201"/>
              <a:gd name="connsiteX166" fmla="*/ 39405 w 165679"/>
              <a:gd name="connsiteY166" fmla="*/ 58883 h 161201"/>
              <a:gd name="connsiteX167" fmla="*/ 48808 w 165679"/>
              <a:gd name="connsiteY167" fmla="*/ 49480 h 161201"/>
              <a:gd name="connsiteX168" fmla="*/ 48808 w 165679"/>
              <a:gd name="connsiteY168" fmla="*/ 46346 h 161201"/>
              <a:gd name="connsiteX169" fmla="*/ 45674 w 165679"/>
              <a:gd name="connsiteY169" fmla="*/ 46346 h 161201"/>
              <a:gd name="connsiteX170" fmla="*/ 36270 w 165679"/>
              <a:gd name="connsiteY170" fmla="*/ 55749 h 161201"/>
              <a:gd name="connsiteX171" fmla="*/ 31345 w 165679"/>
              <a:gd name="connsiteY171" fmla="*/ 50823 h 161201"/>
              <a:gd name="connsiteX172" fmla="*/ 35375 w 165679"/>
              <a:gd name="connsiteY172" fmla="*/ 46793 h 161201"/>
              <a:gd name="connsiteX173" fmla="*/ 35375 w 165679"/>
              <a:gd name="connsiteY173" fmla="*/ 43659 h 161201"/>
              <a:gd name="connsiteX174" fmla="*/ 32240 w 165679"/>
              <a:gd name="connsiteY174" fmla="*/ 43659 h 161201"/>
              <a:gd name="connsiteX175" fmla="*/ 28210 w 165679"/>
              <a:gd name="connsiteY175" fmla="*/ 47689 h 161201"/>
              <a:gd name="connsiteX176" fmla="*/ 21941 w 165679"/>
              <a:gd name="connsiteY176" fmla="*/ 41868 h 161201"/>
              <a:gd name="connsiteX177" fmla="*/ 31345 w 165679"/>
              <a:gd name="connsiteY177" fmla="*/ 32464 h 161201"/>
              <a:gd name="connsiteX178" fmla="*/ 31345 w 165679"/>
              <a:gd name="connsiteY178" fmla="*/ 29330 h 161201"/>
              <a:gd name="connsiteX179" fmla="*/ 28210 w 165679"/>
              <a:gd name="connsiteY179" fmla="*/ 29330 h 161201"/>
              <a:gd name="connsiteX180" fmla="*/ 18807 w 165679"/>
              <a:gd name="connsiteY180" fmla="*/ 38733 h 161201"/>
              <a:gd name="connsiteX181" fmla="*/ 13881 w 165679"/>
              <a:gd name="connsiteY181" fmla="*/ 33807 h 161201"/>
              <a:gd name="connsiteX182" fmla="*/ 17911 w 165679"/>
              <a:gd name="connsiteY182" fmla="*/ 29777 h 161201"/>
              <a:gd name="connsiteX183" fmla="*/ 17911 w 165679"/>
              <a:gd name="connsiteY183" fmla="*/ 26643 h 161201"/>
              <a:gd name="connsiteX184" fmla="*/ 14777 w 165679"/>
              <a:gd name="connsiteY184" fmla="*/ 26643 h 161201"/>
              <a:gd name="connsiteX185" fmla="*/ 10747 w 165679"/>
              <a:gd name="connsiteY185" fmla="*/ 30673 h 161201"/>
              <a:gd name="connsiteX186" fmla="*/ 4478 w 165679"/>
              <a:gd name="connsiteY186" fmla="*/ 24852 h 161201"/>
              <a:gd name="connsiteX187" fmla="*/ 13881 w 165679"/>
              <a:gd name="connsiteY187" fmla="*/ 15449 h 161201"/>
              <a:gd name="connsiteX188" fmla="*/ 13881 w 165679"/>
              <a:gd name="connsiteY188" fmla="*/ 15449 h 161201"/>
              <a:gd name="connsiteX189" fmla="*/ 23284 w 165679"/>
              <a:gd name="connsiteY189" fmla="*/ 6045 h 161201"/>
              <a:gd name="connsiteX190" fmla="*/ 158963 w 165679"/>
              <a:gd name="connsiteY190" fmla="*/ 139932 h 161201"/>
              <a:gd name="connsiteX191" fmla="*/ 150007 w 165679"/>
              <a:gd name="connsiteY191" fmla="*/ 149335 h 16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65679" h="161201">
                <a:moveTo>
                  <a:pt x="164784" y="137245"/>
                </a:moveTo>
                <a:lnTo>
                  <a:pt x="109259" y="82616"/>
                </a:lnTo>
                <a:lnTo>
                  <a:pt x="147768" y="44107"/>
                </a:lnTo>
                <a:lnTo>
                  <a:pt x="157171" y="34703"/>
                </a:lnTo>
                <a:cubicBezTo>
                  <a:pt x="158963" y="32912"/>
                  <a:pt x="158963" y="30226"/>
                  <a:pt x="157171" y="28434"/>
                </a:cubicBezTo>
                <a:lnTo>
                  <a:pt x="143290" y="14553"/>
                </a:lnTo>
                <a:cubicBezTo>
                  <a:pt x="141499" y="12762"/>
                  <a:pt x="138812" y="12762"/>
                  <a:pt x="137021" y="14553"/>
                </a:cubicBezTo>
                <a:lnTo>
                  <a:pt x="127618" y="23956"/>
                </a:lnTo>
                <a:lnTo>
                  <a:pt x="88661" y="62913"/>
                </a:lnTo>
                <a:lnTo>
                  <a:pt x="25523" y="672"/>
                </a:lnTo>
                <a:cubicBezTo>
                  <a:pt x="24628" y="-224"/>
                  <a:pt x="23284" y="-224"/>
                  <a:pt x="22389" y="672"/>
                </a:cubicBezTo>
                <a:lnTo>
                  <a:pt x="448" y="23061"/>
                </a:lnTo>
                <a:cubicBezTo>
                  <a:pt x="448" y="23061"/>
                  <a:pt x="0" y="23509"/>
                  <a:pt x="0" y="23956"/>
                </a:cubicBezTo>
                <a:cubicBezTo>
                  <a:pt x="0" y="23956"/>
                  <a:pt x="0" y="24404"/>
                  <a:pt x="0" y="24404"/>
                </a:cubicBezTo>
                <a:cubicBezTo>
                  <a:pt x="0" y="24404"/>
                  <a:pt x="0" y="24404"/>
                  <a:pt x="0" y="24852"/>
                </a:cubicBezTo>
                <a:cubicBezTo>
                  <a:pt x="0" y="24852"/>
                  <a:pt x="0" y="24852"/>
                  <a:pt x="0" y="25300"/>
                </a:cubicBezTo>
                <a:cubicBezTo>
                  <a:pt x="0" y="25300"/>
                  <a:pt x="0" y="25748"/>
                  <a:pt x="0" y="25748"/>
                </a:cubicBezTo>
                <a:cubicBezTo>
                  <a:pt x="0" y="26195"/>
                  <a:pt x="448" y="26195"/>
                  <a:pt x="448" y="26643"/>
                </a:cubicBezTo>
                <a:lnTo>
                  <a:pt x="448" y="26643"/>
                </a:lnTo>
                <a:lnTo>
                  <a:pt x="448" y="26643"/>
                </a:lnTo>
                <a:lnTo>
                  <a:pt x="448" y="26643"/>
                </a:lnTo>
                <a:lnTo>
                  <a:pt x="9851" y="35599"/>
                </a:lnTo>
                <a:cubicBezTo>
                  <a:pt x="9851" y="35599"/>
                  <a:pt x="9851" y="35599"/>
                  <a:pt x="9851" y="35599"/>
                </a:cubicBezTo>
                <a:cubicBezTo>
                  <a:pt x="9851" y="35599"/>
                  <a:pt x="9851" y="35599"/>
                  <a:pt x="9851" y="35599"/>
                </a:cubicBezTo>
                <a:lnTo>
                  <a:pt x="17911" y="43659"/>
                </a:lnTo>
                <a:cubicBezTo>
                  <a:pt x="17911" y="43659"/>
                  <a:pt x="17911" y="43659"/>
                  <a:pt x="17911" y="43659"/>
                </a:cubicBezTo>
                <a:cubicBezTo>
                  <a:pt x="17911" y="43659"/>
                  <a:pt x="17911" y="43659"/>
                  <a:pt x="17911" y="43659"/>
                </a:cubicBezTo>
                <a:lnTo>
                  <a:pt x="27315" y="52615"/>
                </a:lnTo>
                <a:cubicBezTo>
                  <a:pt x="27315" y="52615"/>
                  <a:pt x="27315" y="52615"/>
                  <a:pt x="27315" y="52615"/>
                </a:cubicBezTo>
                <a:cubicBezTo>
                  <a:pt x="27315" y="52615"/>
                  <a:pt x="27315" y="52615"/>
                  <a:pt x="27315" y="52615"/>
                </a:cubicBezTo>
                <a:lnTo>
                  <a:pt x="44778" y="69630"/>
                </a:lnTo>
                <a:cubicBezTo>
                  <a:pt x="44778" y="69630"/>
                  <a:pt x="44778" y="69630"/>
                  <a:pt x="44778" y="69630"/>
                </a:cubicBezTo>
                <a:cubicBezTo>
                  <a:pt x="44778" y="69630"/>
                  <a:pt x="44778" y="69630"/>
                  <a:pt x="44778" y="69630"/>
                </a:cubicBezTo>
                <a:lnTo>
                  <a:pt x="62242" y="86646"/>
                </a:lnTo>
                <a:cubicBezTo>
                  <a:pt x="62242" y="86646"/>
                  <a:pt x="62242" y="86646"/>
                  <a:pt x="62242" y="86646"/>
                </a:cubicBezTo>
                <a:cubicBezTo>
                  <a:pt x="62242" y="86646"/>
                  <a:pt x="62242" y="86646"/>
                  <a:pt x="62242" y="86646"/>
                </a:cubicBezTo>
                <a:lnTo>
                  <a:pt x="64033" y="88437"/>
                </a:lnTo>
                <a:lnTo>
                  <a:pt x="18807" y="133663"/>
                </a:lnTo>
                <a:cubicBezTo>
                  <a:pt x="18807" y="133663"/>
                  <a:pt x="18359" y="134111"/>
                  <a:pt x="18359" y="134558"/>
                </a:cubicBezTo>
                <a:cubicBezTo>
                  <a:pt x="18359" y="134558"/>
                  <a:pt x="18359" y="134558"/>
                  <a:pt x="18359" y="134558"/>
                </a:cubicBezTo>
                <a:lnTo>
                  <a:pt x="7164" y="162769"/>
                </a:lnTo>
                <a:cubicBezTo>
                  <a:pt x="6717" y="163664"/>
                  <a:pt x="7164" y="164560"/>
                  <a:pt x="7612" y="165008"/>
                </a:cubicBezTo>
                <a:cubicBezTo>
                  <a:pt x="8060" y="165455"/>
                  <a:pt x="8508" y="165455"/>
                  <a:pt x="9403" y="165455"/>
                </a:cubicBezTo>
                <a:cubicBezTo>
                  <a:pt x="9851" y="165455"/>
                  <a:pt x="9851" y="165455"/>
                  <a:pt x="10299" y="165455"/>
                </a:cubicBezTo>
                <a:lnTo>
                  <a:pt x="38509" y="154261"/>
                </a:lnTo>
                <a:cubicBezTo>
                  <a:pt x="38509" y="154261"/>
                  <a:pt x="38509" y="154261"/>
                  <a:pt x="38509" y="154261"/>
                </a:cubicBezTo>
                <a:cubicBezTo>
                  <a:pt x="38957" y="154261"/>
                  <a:pt x="38957" y="153813"/>
                  <a:pt x="39405" y="153813"/>
                </a:cubicBezTo>
                <a:lnTo>
                  <a:pt x="85079" y="108139"/>
                </a:lnTo>
                <a:lnTo>
                  <a:pt x="97617" y="120677"/>
                </a:lnTo>
                <a:cubicBezTo>
                  <a:pt x="97617" y="120677"/>
                  <a:pt x="97617" y="120677"/>
                  <a:pt x="97617" y="120677"/>
                </a:cubicBezTo>
                <a:cubicBezTo>
                  <a:pt x="97617" y="120677"/>
                  <a:pt x="97617" y="120677"/>
                  <a:pt x="97617" y="120677"/>
                </a:cubicBezTo>
                <a:lnTo>
                  <a:pt x="115080" y="137693"/>
                </a:lnTo>
                <a:cubicBezTo>
                  <a:pt x="115080" y="137693"/>
                  <a:pt x="115080" y="137693"/>
                  <a:pt x="115080" y="137693"/>
                </a:cubicBezTo>
                <a:cubicBezTo>
                  <a:pt x="115080" y="137693"/>
                  <a:pt x="115080" y="137693"/>
                  <a:pt x="115080" y="137693"/>
                </a:cubicBezTo>
                <a:lnTo>
                  <a:pt x="123140" y="145753"/>
                </a:lnTo>
                <a:cubicBezTo>
                  <a:pt x="123140" y="145753"/>
                  <a:pt x="123140" y="145753"/>
                  <a:pt x="123140" y="145753"/>
                </a:cubicBezTo>
                <a:cubicBezTo>
                  <a:pt x="123140" y="145753"/>
                  <a:pt x="123140" y="145753"/>
                  <a:pt x="123140" y="145753"/>
                </a:cubicBezTo>
                <a:lnTo>
                  <a:pt x="132543" y="154709"/>
                </a:lnTo>
                <a:cubicBezTo>
                  <a:pt x="132543" y="154709"/>
                  <a:pt x="132543" y="154709"/>
                  <a:pt x="132543" y="154709"/>
                </a:cubicBezTo>
                <a:cubicBezTo>
                  <a:pt x="132543" y="154709"/>
                  <a:pt x="132543" y="154709"/>
                  <a:pt x="132543" y="154709"/>
                </a:cubicBezTo>
                <a:lnTo>
                  <a:pt x="140604" y="162769"/>
                </a:lnTo>
                <a:cubicBezTo>
                  <a:pt x="140604" y="162769"/>
                  <a:pt x="141051" y="163216"/>
                  <a:pt x="141499" y="163216"/>
                </a:cubicBezTo>
                <a:cubicBezTo>
                  <a:pt x="141947" y="163216"/>
                  <a:pt x="141947" y="163216"/>
                  <a:pt x="142395" y="163216"/>
                </a:cubicBezTo>
                <a:cubicBezTo>
                  <a:pt x="142843" y="163216"/>
                  <a:pt x="143738" y="162769"/>
                  <a:pt x="144186" y="162769"/>
                </a:cubicBezTo>
                <a:lnTo>
                  <a:pt x="155380" y="151574"/>
                </a:lnTo>
                <a:lnTo>
                  <a:pt x="155380" y="151574"/>
                </a:lnTo>
                <a:lnTo>
                  <a:pt x="166575" y="140380"/>
                </a:lnTo>
                <a:cubicBezTo>
                  <a:pt x="165679" y="139484"/>
                  <a:pt x="165679" y="138141"/>
                  <a:pt x="164784" y="137245"/>
                </a:cubicBezTo>
                <a:close/>
                <a:moveTo>
                  <a:pt x="100751" y="74555"/>
                </a:moveTo>
                <a:lnTo>
                  <a:pt x="137917" y="37390"/>
                </a:lnTo>
                <a:lnTo>
                  <a:pt x="143290" y="42763"/>
                </a:lnTo>
                <a:lnTo>
                  <a:pt x="106124" y="79929"/>
                </a:lnTo>
                <a:lnTo>
                  <a:pt x="100751" y="74555"/>
                </a:lnTo>
                <a:close/>
                <a:moveTo>
                  <a:pt x="140604" y="17687"/>
                </a:moveTo>
                <a:lnTo>
                  <a:pt x="154485" y="31569"/>
                </a:lnTo>
                <a:lnTo>
                  <a:pt x="146424" y="39629"/>
                </a:lnTo>
                <a:lnTo>
                  <a:pt x="139708" y="32912"/>
                </a:lnTo>
                <a:lnTo>
                  <a:pt x="132991" y="26195"/>
                </a:lnTo>
                <a:lnTo>
                  <a:pt x="140604" y="17687"/>
                </a:lnTo>
                <a:close/>
                <a:moveTo>
                  <a:pt x="129409" y="28882"/>
                </a:moveTo>
                <a:lnTo>
                  <a:pt x="134782" y="34255"/>
                </a:lnTo>
                <a:lnTo>
                  <a:pt x="97617" y="71421"/>
                </a:lnTo>
                <a:lnTo>
                  <a:pt x="92243" y="66048"/>
                </a:lnTo>
                <a:lnTo>
                  <a:pt x="129409" y="28882"/>
                </a:lnTo>
                <a:close/>
                <a:moveTo>
                  <a:pt x="72540" y="96497"/>
                </a:moveTo>
                <a:lnTo>
                  <a:pt x="28658" y="140380"/>
                </a:lnTo>
                <a:lnTo>
                  <a:pt x="23284" y="135006"/>
                </a:lnTo>
                <a:lnTo>
                  <a:pt x="67167" y="91124"/>
                </a:lnTo>
                <a:lnTo>
                  <a:pt x="72540" y="96497"/>
                </a:lnTo>
                <a:close/>
                <a:moveTo>
                  <a:pt x="20150" y="156500"/>
                </a:moveTo>
                <a:lnTo>
                  <a:pt x="15672" y="152022"/>
                </a:lnTo>
                <a:lnTo>
                  <a:pt x="20598" y="139036"/>
                </a:lnTo>
                <a:lnTo>
                  <a:pt x="32688" y="151127"/>
                </a:lnTo>
                <a:lnTo>
                  <a:pt x="20150" y="156500"/>
                </a:lnTo>
                <a:close/>
                <a:moveTo>
                  <a:pt x="13881" y="156500"/>
                </a:moveTo>
                <a:lnTo>
                  <a:pt x="15225" y="157843"/>
                </a:lnTo>
                <a:lnTo>
                  <a:pt x="12538" y="158739"/>
                </a:lnTo>
                <a:lnTo>
                  <a:pt x="13881" y="156500"/>
                </a:lnTo>
                <a:close/>
                <a:moveTo>
                  <a:pt x="37166" y="148888"/>
                </a:moveTo>
                <a:lnTo>
                  <a:pt x="31792" y="143514"/>
                </a:lnTo>
                <a:lnTo>
                  <a:pt x="75675" y="99632"/>
                </a:lnTo>
                <a:lnTo>
                  <a:pt x="79705" y="103661"/>
                </a:lnTo>
                <a:cubicBezTo>
                  <a:pt x="79705" y="103661"/>
                  <a:pt x="79705" y="103661"/>
                  <a:pt x="79705" y="103661"/>
                </a:cubicBezTo>
                <a:cubicBezTo>
                  <a:pt x="79705" y="103661"/>
                  <a:pt x="79705" y="103661"/>
                  <a:pt x="79705" y="103661"/>
                </a:cubicBezTo>
                <a:lnTo>
                  <a:pt x="81048" y="105005"/>
                </a:lnTo>
                <a:lnTo>
                  <a:pt x="37166" y="148888"/>
                </a:lnTo>
                <a:close/>
                <a:moveTo>
                  <a:pt x="150007" y="149335"/>
                </a:moveTo>
                <a:lnTo>
                  <a:pt x="141051" y="158291"/>
                </a:lnTo>
                <a:lnTo>
                  <a:pt x="136126" y="153366"/>
                </a:lnTo>
                <a:lnTo>
                  <a:pt x="140156" y="149335"/>
                </a:lnTo>
                <a:cubicBezTo>
                  <a:pt x="141051" y="148439"/>
                  <a:pt x="141051" y="147096"/>
                  <a:pt x="140156" y="146201"/>
                </a:cubicBezTo>
                <a:cubicBezTo>
                  <a:pt x="139260" y="145305"/>
                  <a:pt x="137917" y="145305"/>
                  <a:pt x="137021" y="146201"/>
                </a:cubicBezTo>
                <a:lnTo>
                  <a:pt x="132991" y="150231"/>
                </a:lnTo>
                <a:lnTo>
                  <a:pt x="126722" y="144410"/>
                </a:lnTo>
                <a:lnTo>
                  <a:pt x="136126" y="135006"/>
                </a:lnTo>
                <a:cubicBezTo>
                  <a:pt x="137021" y="134111"/>
                  <a:pt x="137021" y="132767"/>
                  <a:pt x="136126" y="131872"/>
                </a:cubicBezTo>
                <a:cubicBezTo>
                  <a:pt x="135230" y="130976"/>
                  <a:pt x="133887" y="130976"/>
                  <a:pt x="132991" y="131872"/>
                </a:cubicBezTo>
                <a:lnTo>
                  <a:pt x="123588" y="141275"/>
                </a:lnTo>
                <a:lnTo>
                  <a:pt x="118662" y="136350"/>
                </a:lnTo>
                <a:lnTo>
                  <a:pt x="122692" y="132319"/>
                </a:lnTo>
                <a:cubicBezTo>
                  <a:pt x="123588" y="131424"/>
                  <a:pt x="123588" y="130081"/>
                  <a:pt x="122692" y="129185"/>
                </a:cubicBezTo>
                <a:cubicBezTo>
                  <a:pt x="121796" y="128289"/>
                  <a:pt x="120453" y="128289"/>
                  <a:pt x="119558" y="129185"/>
                </a:cubicBezTo>
                <a:lnTo>
                  <a:pt x="115528" y="133215"/>
                </a:lnTo>
                <a:lnTo>
                  <a:pt x="109259" y="127394"/>
                </a:lnTo>
                <a:lnTo>
                  <a:pt x="118662" y="117991"/>
                </a:lnTo>
                <a:cubicBezTo>
                  <a:pt x="119558" y="117095"/>
                  <a:pt x="119558" y="115752"/>
                  <a:pt x="118662" y="114856"/>
                </a:cubicBezTo>
                <a:cubicBezTo>
                  <a:pt x="117767" y="113961"/>
                  <a:pt x="116423" y="113961"/>
                  <a:pt x="115528" y="114856"/>
                </a:cubicBezTo>
                <a:lnTo>
                  <a:pt x="106124" y="124260"/>
                </a:lnTo>
                <a:lnTo>
                  <a:pt x="101199" y="119334"/>
                </a:lnTo>
                <a:lnTo>
                  <a:pt x="105229" y="115304"/>
                </a:lnTo>
                <a:cubicBezTo>
                  <a:pt x="106124" y="114408"/>
                  <a:pt x="106124" y="113065"/>
                  <a:pt x="105229" y="112169"/>
                </a:cubicBezTo>
                <a:cubicBezTo>
                  <a:pt x="104333" y="111274"/>
                  <a:pt x="102990" y="111274"/>
                  <a:pt x="102094" y="112169"/>
                </a:cubicBezTo>
                <a:lnTo>
                  <a:pt x="98064" y="116199"/>
                </a:lnTo>
                <a:lnTo>
                  <a:pt x="91795" y="110378"/>
                </a:lnTo>
                <a:lnTo>
                  <a:pt x="101199" y="100975"/>
                </a:lnTo>
                <a:cubicBezTo>
                  <a:pt x="102094" y="100079"/>
                  <a:pt x="102094" y="98736"/>
                  <a:pt x="101199" y="97840"/>
                </a:cubicBezTo>
                <a:cubicBezTo>
                  <a:pt x="100303" y="96945"/>
                  <a:pt x="98960" y="96945"/>
                  <a:pt x="98064" y="97840"/>
                </a:cubicBezTo>
                <a:lnTo>
                  <a:pt x="88661" y="107244"/>
                </a:lnTo>
                <a:lnTo>
                  <a:pt x="83735" y="102318"/>
                </a:lnTo>
                <a:lnTo>
                  <a:pt x="87765" y="98288"/>
                </a:lnTo>
                <a:cubicBezTo>
                  <a:pt x="88661" y="97393"/>
                  <a:pt x="88661" y="96049"/>
                  <a:pt x="87765" y="95154"/>
                </a:cubicBezTo>
                <a:cubicBezTo>
                  <a:pt x="86870" y="94258"/>
                  <a:pt x="85526" y="94258"/>
                  <a:pt x="84631" y="95154"/>
                </a:cubicBezTo>
                <a:lnTo>
                  <a:pt x="80601" y="99183"/>
                </a:lnTo>
                <a:lnTo>
                  <a:pt x="76571" y="95154"/>
                </a:lnTo>
                <a:lnTo>
                  <a:pt x="76571" y="95154"/>
                </a:lnTo>
                <a:lnTo>
                  <a:pt x="76571" y="95154"/>
                </a:lnTo>
                <a:lnTo>
                  <a:pt x="74332" y="92915"/>
                </a:lnTo>
                <a:lnTo>
                  <a:pt x="83735" y="83511"/>
                </a:lnTo>
                <a:cubicBezTo>
                  <a:pt x="84631" y="82616"/>
                  <a:pt x="84631" y="81272"/>
                  <a:pt x="83735" y="80377"/>
                </a:cubicBezTo>
                <a:cubicBezTo>
                  <a:pt x="82840" y="79482"/>
                  <a:pt x="81496" y="79482"/>
                  <a:pt x="80601" y="80377"/>
                </a:cubicBezTo>
                <a:lnTo>
                  <a:pt x="71197" y="89780"/>
                </a:lnTo>
                <a:lnTo>
                  <a:pt x="66272" y="84855"/>
                </a:lnTo>
                <a:lnTo>
                  <a:pt x="70302" y="80825"/>
                </a:lnTo>
                <a:cubicBezTo>
                  <a:pt x="71197" y="79929"/>
                  <a:pt x="71197" y="78586"/>
                  <a:pt x="70302" y="77690"/>
                </a:cubicBezTo>
                <a:cubicBezTo>
                  <a:pt x="69406" y="76794"/>
                  <a:pt x="68063" y="76794"/>
                  <a:pt x="67167" y="77690"/>
                </a:cubicBezTo>
                <a:lnTo>
                  <a:pt x="63137" y="81720"/>
                </a:lnTo>
                <a:lnTo>
                  <a:pt x="56868" y="75899"/>
                </a:lnTo>
                <a:lnTo>
                  <a:pt x="66272" y="66496"/>
                </a:lnTo>
                <a:cubicBezTo>
                  <a:pt x="67167" y="65600"/>
                  <a:pt x="67167" y="64257"/>
                  <a:pt x="66272" y="63361"/>
                </a:cubicBezTo>
                <a:cubicBezTo>
                  <a:pt x="65376" y="62466"/>
                  <a:pt x="64033" y="62466"/>
                  <a:pt x="63137" y="63361"/>
                </a:cubicBezTo>
                <a:lnTo>
                  <a:pt x="53734" y="72765"/>
                </a:lnTo>
                <a:lnTo>
                  <a:pt x="48808" y="67839"/>
                </a:lnTo>
                <a:lnTo>
                  <a:pt x="52838" y="63809"/>
                </a:lnTo>
                <a:cubicBezTo>
                  <a:pt x="53734" y="62913"/>
                  <a:pt x="53734" y="61570"/>
                  <a:pt x="52838" y="60674"/>
                </a:cubicBezTo>
                <a:cubicBezTo>
                  <a:pt x="51943" y="59779"/>
                  <a:pt x="50600" y="59779"/>
                  <a:pt x="49704" y="60674"/>
                </a:cubicBezTo>
                <a:lnTo>
                  <a:pt x="45674" y="64705"/>
                </a:lnTo>
                <a:lnTo>
                  <a:pt x="39405" y="58883"/>
                </a:lnTo>
                <a:lnTo>
                  <a:pt x="48808" y="49480"/>
                </a:lnTo>
                <a:cubicBezTo>
                  <a:pt x="49704" y="48584"/>
                  <a:pt x="49704" y="47241"/>
                  <a:pt x="48808" y="46346"/>
                </a:cubicBezTo>
                <a:cubicBezTo>
                  <a:pt x="47912" y="45450"/>
                  <a:pt x="46569" y="45450"/>
                  <a:pt x="45674" y="46346"/>
                </a:cubicBezTo>
                <a:lnTo>
                  <a:pt x="36270" y="55749"/>
                </a:lnTo>
                <a:lnTo>
                  <a:pt x="31345" y="50823"/>
                </a:lnTo>
                <a:lnTo>
                  <a:pt x="35375" y="46793"/>
                </a:lnTo>
                <a:cubicBezTo>
                  <a:pt x="36270" y="45898"/>
                  <a:pt x="36270" y="44554"/>
                  <a:pt x="35375" y="43659"/>
                </a:cubicBezTo>
                <a:cubicBezTo>
                  <a:pt x="34479" y="42763"/>
                  <a:pt x="33136" y="42763"/>
                  <a:pt x="32240" y="43659"/>
                </a:cubicBezTo>
                <a:lnTo>
                  <a:pt x="28210" y="47689"/>
                </a:lnTo>
                <a:lnTo>
                  <a:pt x="21941" y="41868"/>
                </a:lnTo>
                <a:lnTo>
                  <a:pt x="31345" y="32464"/>
                </a:lnTo>
                <a:cubicBezTo>
                  <a:pt x="32240" y="31569"/>
                  <a:pt x="32240" y="30226"/>
                  <a:pt x="31345" y="29330"/>
                </a:cubicBezTo>
                <a:cubicBezTo>
                  <a:pt x="30449" y="28434"/>
                  <a:pt x="29106" y="28434"/>
                  <a:pt x="28210" y="29330"/>
                </a:cubicBezTo>
                <a:lnTo>
                  <a:pt x="18807" y="38733"/>
                </a:lnTo>
                <a:lnTo>
                  <a:pt x="13881" y="33807"/>
                </a:lnTo>
                <a:lnTo>
                  <a:pt x="17911" y="29777"/>
                </a:lnTo>
                <a:cubicBezTo>
                  <a:pt x="18807" y="28882"/>
                  <a:pt x="18807" y="27538"/>
                  <a:pt x="17911" y="26643"/>
                </a:cubicBezTo>
                <a:cubicBezTo>
                  <a:pt x="17016" y="25748"/>
                  <a:pt x="15672" y="25748"/>
                  <a:pt x="14777" y="26643"/>
                </a:cubicBezTo>
                <a:lnTo>
                  <a:pt x="10747" y="30673"/>
                </a:lnTo>
                <a:lnTo>
                  <a:pt x="4478" y="24852"/>
                </a:lnTo>
                <a:lnTo>
                  <a:pt x="13881" y="15449"/>
                </a:lnTo>
                <a:cubicBezTo>
                  <a:pt x="13881" y="15449"/>
                  <a:pt x="13881" y="15449"/>
                  <a:pt x="13881" y="15449"/>
                </a:cubicBezTo>
                <a:lnTo>
                  <a:pt x="23284" y="6045"/>
                </a:lnTo>
                <a:lnTo>
                  <a:pt x="158963" y="139932"/>
                </a:lnTo>
                <a:lnTo>
                  <a:pt x="150007" y="149335"/>
                </a:lnTo>
                <a:close/>
              </a:path>
            </a:pathLst>
          </a:custGeom>
          <a:solidFill>
            <a:srgbClr val="231F20"/>
          </a:solidFill>
          <a:ln w="4474" cap="flat">
            <a:noFill/>
            <a:prstDash val="solid"/>
            <a:miter/>
          </a:ln>
        </p:spPr>
        <p:txBody>
          <a:bodyPr rtlCol="0" anchor="ctr"/>
          <a:lstStyle/>
          <a:p>
            <a:endParaRPr lang="en-US"/>
          </a:p>
        </p:txBody>
      </p:sp>
      <p:grpSp>
        <p:nvGrpSpPr>
          <p:cNvPr id="4883" name="Group 4882">
            <a:extLst>
              <a:ext uri="{FF2B5EF4-FFF2-40B4-BE49-F238E27FC236}">
                <a16:creationId xmlns:a16="http://schemas.microsoft.com/office/drawing/2014/main" id="{48E954FF-F444-4C87-8E71-B4509768DEF1}"/>
              </a:ext>
              <a:ext uri="{C183D7F6-B498-43B3-948B-1728B52AA6E4}">
                <adec:decorative xmlns:adec="http://schemas.microsoft.com/office/drawing/2017/decorative" val="1"/>
              </a:ext>
            </a:extLst>
          </p:cNvPr>
          <p:cNvGrpSpPr>
            <a:grpSpLocks noChangeAspect="1"/>
          </p:cNvGrpSpPr>
          <p:nvPr/>
        </p:nvGrpSpPr>
        <p:grpSpPr>
          <a:xfrm>
            <a:off x="2127818" y="1729600"/>
            <a:ext cx="152246" cy="111945"/>
            <a:chOff x="2168572" y="994161"/>
            <a:chExt cx="152246" cy="111945"/>
          </a:xfrm>
        </p:grpSpPr>
        <p:sp>
          <p:nvSpPr>
            <p:cNvPr id="4884" name="Freeform: Shape 4883">
              <a:extLst>
                <a:ext uri="{FF2B5EF4-FFF2-40B4-BE49-F238E27FC236}">
                  <a16:creationId xmlns:a16="http://schemas.microsoft.com/office/drawing/2014/main" id="{E9D84106-0AA3-47AC-B8B2-39B55B36DD42}"/>
                </a:ext>
              </a:extLst>
            </p:cNvPr>
            <p:cNvSpPr/>
            <p:nvPr/>
          </p:nvSpPr>
          <p:spPr>
            <a:xfrm>
              <a:off x="2168572"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5" y="111945"/>
                    <a:pt x="0" y="104781"/>
                    <a:pt x="0" y="96273"/>
                  </a:cubicBezTo>
                  <a:lnTo>
                    <a:pt x="0" y="15672"/>
                  </a:lnTo>
                  <a:cubicBezTo>
                    <a:pt x="0" y="7165"/>
                    <a:pt x="7165"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529"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885" name="Freeform: Shape 4884">
              <a:extLst>
                <a:ext uri="{FF2B5EF4-FFF2-40B4-BE49-F238E27FC236}">
                  <a16:creationId xmlns:a16="http://schemas.microsoft.com/office/drawing/2014/main" id="{5758DC77-756F-49BB-B284-295B1300E1F9}"/>
                </a:ext>
              </a:extLst>
            </p:cNvPr>
            <p:cNvSpPr/>
            <p:nvPr/>
          </p:nvSpPr>
          <p:spPr>
            <a:xfrm>
              <a:off x="2208984" y="1026738"/>
              <a:ext cx="67167" cy="58212"/>
            </a:xfrm>
            <a:custGeom>
              <a:avLst/>
              <a:gdLst>
                <a:gd name="connsiteX0" fmla="*/ 69294 w 67167"/>
                <a:gd name="connsiteY0" fmla="*/ 58324 h 58211"/>
                <a:gd name="connsiteX1" fmla="*/ 2127 w 67167"/>
                <a:gd name="connsiteY1" fmla="*/ 58324 h 58211"/>
                <a:gd name="connsiteX2" fmla="*/ 336 w 67167"/>
                <a:gd name="connsiteY2" fmla="*/ 56980 h 58211"/>
                <a:gd name="connsiteX3" fmla="*/ 336 w 67167"/>
                <a:gd name="connsiteY3" fmla="*/ 54741 h 58211"/>
                <a:gd name="connsiteX4" fmla="*/ 33919 w 67167"/>
                <a:gd name="connsiteY4" fmla="*/ 1008 h 58211"/>
                <a:gd name="connsiteX5" fmla="*/ 37502 w 67167"/>
                <a:gd name="connsiteY5" fmla="*/ 1008 h 58211"/>
                <a:gd name="connsiteX6" fmla="*/ 71085 w 67167"/>
                <a:gd name="connsiteY6" fmla="*/ 54741 h 58211"/>
                <a:gd name="connsiteX7" fmla="*/ 71085 w 67167"/>
                <a:gd name="connsiteY7" fmla="*/ 56980 h 58211"/>
                <a:gd name="connsiteX8" fmla="*/ 69294 w 67167"/>
                <a:gd name="connsiteY8" fmla="*/ 58324 h 58211"/>
                <a:gd name="connsiteX9" fmla="*/ 6157 w 67167"/>
                <a:gd name="connsiteY9" fmla="*/ 53846 h 58211"/>
                <a:gd name="connsiteX10" fmla="*/ 65264 w 67167"/>
                <a:gd name="connsiteY10" fmla="*/ 53846 h 58211"/>
                <a:gd name="connsiteX11" fmla="*/ 35711 w 67167"/>
                <a:gd name="connsiteY11" fmla="*/ 6829 h 58211"/>
                <a:gd name="connsiteX12" fmla="*/ 6157 w 67167"/>
                <a:gd name="connsiteY12" fmla="*/ 53846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167" h="58211">
                  <a:moveTo>
                    <a:pt x="69294" y="58324"/>
                  </a:moveTo>
                  <a:lnTo>
                    <a:pt x="2127" y="58324"/>
                  </a:lnTo>
                  <a:cubicBezTo>
                    <a:pt x="1231" y="58324"/>
                    <a:pt x="784" y="57876"/>
                    <a:pt x="336" y="56980"/>
                  </a:cubicBezTo>
                  <a:cubicBezTo>
                    <a:pt x="-112" y="56085"/>
                    <a:pt x="-112" y="55189"/>
                    <a:pt x="336" y="54741"/>
                  </a:cubicBezTo>
                  <a:lnTo>
                    <a:pt x="33919" y="1008"/>
                  </a:lnTo>
                  <a:cubicBezTo>
                    <a:pt x="34815" y="-336"/>
                    <a:pt x="37054" y="-336"/>
                    <a:pt x="37502" y="1008"/>
                  </a:cubicBezTo>
                  <a:lnTo>
                    <a:pt x="71085" y="54741"/>
                  </a:lnTo>
                  <a:cubicBezTo>
                    <a:pt x="71533" y="55637"/>
                    <a:pt x="71533" y="56085"/>
                    <a:pt x="71085" y="56980"/>
                  </a:cubicBezTo>
                  <a:cubicBezTo>
                    <a:pt x="71085" y="57876"/>
                    <a:pt x="70190" y="58324"/>
                    <a:pt x="69294" y="58324"/>
                  </a:cubicBezTo>
                  <a:close/>
                  <a:moveTo>
                    <a:pt x="6157" y="53846"/>
                  </a:moveTo>
                  <a:lnTo>
                    <a:pt x="65264" y="53846"/>
                  </a:lnTo>
                  <a:lnTo>
                    <a:pt x="35711" y="6829"/>
                  </a:lnTo>
                  <a:lnTo>
                    <a:pt x="6157" y="53846"/>
                  </a:lnTo>
                  <a:close/>
                </a:path>
              </a:pathLst>
            </a:custGeom>
            <a:solidFill>
              <a:srgbClr val="231F20"/>
            </a:solidFill>
            <a:ln w="4474" cap="flat">
              <a:noFill/>
              <a:prstDash val="solid"/>
              <a:miter/>
            </a:ln>
          </p:spPr>
          <p:txBody>
            <a:bodyPr rtlCol="0" anchor="ctr"/>
            <a:lstStyle/>
            <a:p>
              <a:endParaRPr lang="en-US"/>
            </a:p>
          </p:txBody>
        </p:sp>
        <p:sp>
          <p:nvSpPr>
            <p:cNvPr id="4886" name="Freeform: Shape 4885">
              <a:extLst>
                <a:ext uri="{FF2B5EF4-FFF2-40B4-BE49-F238E27FC236}">
                  <a16:creationId xmlns:a16="http://schemas.microsoft.com/office/drawing/2014/main" id="{A6660915-29EB-48B7-A3F3-DD2CB85B2080}"/>
                </a:ext>
              </a:extLst>
            </p:cNvPr>
            <p:cNvSpPr/>
            <p:nvPr/>
          </p:nvSpPr>
          <p:spPr>
            <a:xfrm>
              <a:off x="2242456" y="1047000"/>
              <a:ext cx="4478" cy="17911"/>
            </a:xfrm>
            <a:custGeom>
              <a:avLst/>
              <a:gdLst>
                <a:gd name="connsiteX0" fmla="*/ 2239 w 4477"/>
                <a:gd name="connsiteY0" fmla="*/ 21046 h 17911"/>
                <a:gd name="connsiteX1" fmla="*/ 0 w 4477"/>
                <a:gd name="connsiteY1" fmla="*/ 18807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8807 h 17911"/>
                <a:gd name="connsiteX6" fmla="*/ 2239 w 4477"/>
                <a:gd name="connsiteY6" fmla="*/ 2104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21046"/>
                  </a:moveTo>
                  <a:cubicBezTo>
                    <a:pt x="896" y="21046"/>
                    <a:pt x="0" y="20150"/>
                    <a:pt x="0" y="18807"/>
                  </a:cubicBezTo>
                  <a:lnTo>
                    <a:pt x="0" y="2239"/>
                  </a:lnTo>
                  <a:cubicBezTo>
                    <a:pt x="0" y="896"/>
                    <a:pt x="896" y="0"/>
                    <a:pt x="2239" y="0"/>
                  </a:cubicBezTo>
                  <a:cubicBezTo>
                    <a:pt x="3582" y="0"/>
                    <a:pt x="4478" y="896"/>
                    <a:pt x="4478" y="2239"/>
                  </a:cubicBezTo>
                  <a:lnTo>
                    <a:pt x="4478" y="18807"/>
                  </a:lnTo>
                  <a:cubicBezTo>
                    <a:pt x="4478" y="20150"/>
                    <a:pt x="3582" y="21046"/>
                    <a:pt x="2239" y="21046"/>
                  </a:cubicBezTo>
                  <a:close/>
                </a:path>
              </a:pathLst>
            </a:custGeom>
            <a:solidFill>
              <a:srgbClr val="231F20"/>
            </a:solidFill>
            <a:ln w="4474" cap="flat">
              <a:noFill/>
              <a:prstDash val="solid"/>
              <a:miter/>
            </a:ln>
          </p:spPr>
          <p:txBody>
            <a:bodyPr rtlCol="0" anchor="ctr"/>
            <a:lstStyle/>
            <a:p>
              <a:endParaRPr lang="en-US"/>
            </a:p>
          </p:txBody>
        </p:sp>
        <p:sp>
          <p:nvSpPr>
            <p:cNvPr id="4887" name="Freeform: Shape 4886">
              <a:extLst>
                <a:ext uri="{FF2B5EF4-FFF2-40B4-BE49-F238E27FC236}">
                  <a16:creationId xmlns:a16="http://schemas.microsoft.com/office/drawing/2014/main" id="{71A0F7E0-261B-465E-AD3A-34C6D99F7CC9}"/>
                </a:ext>
              </a:extLst>
            </p:cNvPr>
            <p:cNvSpPr/>
            <p:nvPr/>
          </p:nvSpPr>
          <p:spPr>
            <a:xfrm>
              <a:off x="2242456" y="1071628"/>
              <a:ext cx="4478" cy="4478"/>
            </a:xfrm>
            <a:custGeom>
              <a:avLst/>
              <a:gdLst>
                <a:gd name="connsiteX0" fmla="*/ 4478 w 4477"/>
                <a:gd name="connsiteY0" fmla="*/ 2239 h 4477"/>
                <a:gd name="connsiteX1" fmla="*/ 2239 w 4477"/>
                <a:gd name="connsiteY1" fmla="*/ 4478 h 4477"/>
                <a:gd name="connsiteX2" fmla="*/ 0 w 4477"/>
                <a:gd name="connsiteY2" fmla="*/ 2239 h 4477"/>
                <a:gd name="connsiteX3" fmla="*/ 2239 w 4477"/>
                <a:gd name="connsiteY3" fmla="*/ 0 h 4477"/>
                <a:gd name="connsiteX4" fmla="*/ 4478 w 4477"/>
                <a:gd name="connsiteY4" fmla="*/ 2239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4478" y="2239"/>
                  </a:moveTo>
                  <a:cubicBezTo>
                    <a:pt x="4478" y="3475"/>
                    <a:pt x="3475" y="4478"/>
                    <a:pt x="2239" y="4478"/>
                  </a:cubicBezTo>
                  <a:cubicBezTo>
                    <a:pt x="1002" y="4478"/>
                    <a:pt x="0" y="3475"/>
                    <a:pt x="0" y="2239"/>
                  </a:cubicBezTo>
                  <a:cubicBezTo>
                    <a:pt x="0" y="1002"/>
                    <a:pt x="1002" y="0"/>
                    <a:pt x="2239" y="0"/>
                  </a:cubicBezTo>
                  <a:cubicBezTo>
                    <a:pt x="3475" y="0"/>
                    <a:pt x="4478" y="1002"/>
                    <a:pt x="4478" y="2239"/>
                  </a:cubicBezTo>
                  <a:close/>
                </a:path>
              </a:pathLst>
            </a:custGeom>
            <a:solidFill>
              <a:srgbClr val="231F20"/>
            </a:solidFill>
            <a:ln w="4474" cap="flat">
              <a:noFill/>
              <a:prstDash val="solid"/>
              <a:miter/>
            </a:ln>
          </p:spPr>
          <p:txBody>
            <a:bodyPr rtlCol="0" anchor="ctr"/>
            <a:lstStyle/>
            <a:p>
              <a:endParaRPr lang="en-US"/>
            </a:p>
          </p:txBody>
        </p:sp>
      </p:grpSp>
      <p:grpSp>
        <p:nvGrpSpPr>
          <p:cNvPr id="4888" name="Group 4887">
            <a:extLst>
              <a:ext uri="{FF2B5EF4-FFF2-40B4-BE49-F238E27FC236}">
                <a16:creationId xmlns:a16="http://schemas.microsoft.com/office/drawing/2014/main" id="{61543CA5-BE7D-456A-979B-BE44826B2DC8}"/>
              </a:ext>
              <a:ext uri="{C183D7F6-B498-43B3-948B-1728B52AA6E4}">
                <adec:decorative xmlns:adec="http://schemas.microsoft.com/office/drawing/2017/decorative" val="1"/>
              </a:ext>
            </a:extLst>
          </p:cNvPr>
          <p:cNvGrpSpPr>
            <a:grpSpLocks noChangeAspect="1"/>
          </p:cNvGrpSpPr>
          <p:nvPr/>
        </p:nvGrpSpPr>
        <p:grpSpPr>
          <a:xfrm>
            <a:off x="578940" y="2427244"/>
            <a:ext cx="71645" cy="125379"/>
            <a:chOff x="619694" y="1691805"/>
            <a:chExt cx="71645" cy="125379"/>
          </a:xfrm>
        </p:grpSpPr>
        <p:sp>
          <p:nvSpPr>
            <p:cNvPr id="4889" name="Freeform: Shape 4888">
              <a:extLst>
                <a:ext uri="{FF2B5EF4-FFF2-40B4-BE49-F238E27FC236}">
                  <a16:creationId xmlns:a16="http://schemas.microsoft.com/office/drawing/2014/main" id="{DED50D88-AABF-4B9D-B039-14DDAA845391}"/>
                </a:ext>
              </a:extLst>
            </p:cNvPr>
            <p:cNvSpPr/>
            <p:nvPr/>
          </p:nvSpPr>
          <p:spPr>
            <a:xfrm>
              <a:off x="619694" y="1691805"/>
              <a:ext cx="71645" cy="125379"/>
            </a:xfrm>
            <a:custGeom>
              <a:avLst/>
              <a:gdLst>
                <a:gd name="connsiteX0" fmla="*/ 55973 w 71645"/>
                <a:gd name="connsiteY0" fmla="*/ 125379 h 125378"/>
                <a:gd name="connsiteX1" fmla="*/ 15672 w 71645"/>
                <a:gd name="connsiteY1" fmla="*/ 125379 h 125378"/>
                <a:gd name="connsiteX2" fmla="*/ 0 w 71645"/>
                <a:gd name="connsiteY2" fmla="*/ 109707 h 125378"/>
                <a:gd name="connsiteX3" fmla="*/ 0 w 71645"/>
                <a:gd name="connsiteY3" fmla="*/ 15672 h 125378"/>
                <a:gd name="connsiteX4" fmla="*/ 15672 w 71645"/>
                <a:gd name="connsiteY4" fmla="*/ 0 h 125378"/>
                <a:gd name="connsiteX5" fmla="*/ 55973 w 71645"/>
                <a:gd name="connsiteY5" fmla="*/ 0 h 125378"/>
                <a:gd name="connsiteX6" fmla="*/ 71645 w 71645"/>
                <a:gd name="connsiteY6" fmla="*/ 15672 h 125378"/>
                <a:gd name="connsiteX7" fmla="*/ 71645 w 71645"/>
                <a:gd name="connsiteY7" fmla="*/ 109707 h 125378"/>
                <a:gd name="connsiteX8" fmla="*/ 55973 w 71645"/>
                <a:gd name="connsiteY8" fmla="*/ 125379 h 125378"/>
                <a:gd name="connsiteX9" fmla="*/ 15672 w 71645"/>
                <a:gd name="connsiteY9" fmla="*/ 4478 h 125378"/>
                <a:gd name="connsiteX10" fmla="*/ 4478 w 71645"/>
                <a:gd name="connsiteY10" fmla="*/ 15672 h 125378"/>
                <a:gd name="connsiteX11" fmla="*/ 4478 w 71645"/>
                <a:gd name="connsiteY11" fmla="*/ 109707 h 125378"/>
                <a:gd name="connsiteX12" fmla="*/ 15672 w 71645"/>
                <a:gd name="connsiteY12" fmla="*/ 120901 h 125378"/>
                <a:gd name="connsiteX13" fmla="*/ 55973 w 71645"/>
                <a:gd name="connsiteY13" fmla="*/ 120901 h 125378"/>
                <a:gd name="connsiteX14" fmla="*/ 67167 w 71645"/>
                <a:gd name="connsiteY14" fmla="*/ 109707 h 125378"/>
                <a:gd name="connsiteX15" fmla="*/ 67167 w 71645"/>
                <a:gd name="connsiteY15" fmla="*/ 15672 h 125378"/>
                <a:gd name="connsiteX16" fmla="*/ 55973 w 71645"/>
                <a:gd name="connsiteY16" fmla="*/ 4478 h 125378"/>
                <a:gd name="connsiteX17" fmla="*/ 15672 w 71645"/>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645" h="125378">
                  <a:moveTo>
                    <a:pt x="55973" y="125379"/>
                  </a:moveTo>
                  <a:lnTo>
                    <a:pt x="15672" y="125379"/>
                  </a:lnTo>
                  <a:cubicBezTo>
                    <a:pt x="7165" y="125379"/>
                    <a:pt x="0" y="118214"/>
                    <a:pt x="0" y="109707"/>
                  </a:cubicBezTo>
                  <a:lnTo>
                    <a:pt x="0" y="15672"/>
                  </a:lnTo>
                  <a:cubicBezTo>
                    <a:pt x="0" y="7164"/>
                    <a:pt x="7165" y="0"/>
                    <a:pt x="15672" y="0"/>
                  </a:cubicBezTo>
                  <a:lnTo>
                    <a:pt x="55973" y="0"/>
                  </a:lnTo>
                  <a:cubicBezTo>
                    <a:pt x="64481" y="0"/>
                    <a:pt x="71645" y="7164"/>
                    <a:pt x="71645" y="15672"/>
                  </a:cubicBezTo>
                  <a:lnTo>
                    <a:pt x="71645" y="109707"/>
                  </a:lnTo>
                  <a:cubicBezTo>
                    <a:pt x="71645" y="118214"/>
                    <a:pt x="64481" y="125379"/>
                    <a:pt x="55973" y="125379"/>
                  </a:cubicBezTo>
                  <a:close/>
                  <a:moveTo>
                    <a:pt x="15672" y="4478"/>
                  </a:moveTo>
                  <a:cubicBezTo>
                    <a:pt x="9403" y="4478"/>
                    <a:pt x="4478" y="9403"/>
                    <a:pt x="4478" y="15672"/>
                  </a:cubicBezTo>
                  <a:lnTo>
                    <a:pt x="4478" y="109707"/>
                  </a:lnTo>
                  <a:cubicBezTo>
                    <a:pt x="4478" y="115975"/>
                    <a:pt x="9403" y="120901"/>
                    <a:pt x="15672" y="120901"/>
                  </a:cubicBezTo>
                  <a:lnTo>
                    <a:pt x="55973" y="120901"/>
                  </a:lnTo>
                  <a:cubicBezTo>
                    <a:pt x="62242" y="120901"/>
                    <a:pt x="67167" y="115975"/>
                    <a:pt x="67167" y="109707"/>
                  </a:cubicBezTo>
                  <a:lnTo>
                    <a:pt x="67167" y="15672"/>
                  </a:lnTo>
                  <a:cubicBezTo>
                    <a:pt x="67167" y="9403"/>
                    <a:pt x="62242" y="4478"/>
                    <a:pt x="55973"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890" name="Freeform: Shape 4889">
              <a:extLst>
                <a:ext uri="{FF2B5EF4-FFF2-40B4-BE49-F238E27FC236}">
                  <a16:creationId xmlns:a16="http://schemas.microsoft.com/office/drawing/2014/main" id="{068780A5-9A9F-4FB8-981B-F3AD08576608}"/>
                </a:ext>
              </a:extLst>
            </p:cNvPr>
            <p:cNvSpPr/>
            <p:nvPr/>
          </p:nvSpPr>
          <p:spPr>
            <a:xfrm>
              <a:off x="646561" y="1699865"/>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891" name="Freeform: Shape 4890">
              <a:extLst>
                <a:ext uri="{FF2B5EF4-FFF2-40B4-BE49-F238E27FC236}">
                  <a16:creationId xmlns:a16="http://schemas.microsoft.com/office/drawing/2014/main" id="{AC0B4D71-0718-47C1-A35F-9C05972382A8}"/>
                </a:ext>
              </a:extLst>
            </p:cNvPr>
            <p:cNvSpPr/>
            <p:nvPr/>
          </p:nvSpPr>
          <p:spPr>
            <a:xfrm>
              <a:off x="648800" y="179479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892" name="Freeform: Shape 4891">
              <a:extLst>
                <a:ext uri="{FF2B5EF4-FFF2-40B4-BE49-F238E27FC236}">
                  <a16:creationId xmlns:a16="http://schemas.microsoft.com/office/drawing/2014/main" id="{1E466DAF-3720-4833-92E5-DF7090FF1268}"/>
                </a:ext>
              </a:extLst>
            </p:cNvPr>
            <p:cNvSpPr/>
            <p:nvPr/>
          </p:nvSpPr>
          <p:spPr>
            <a:xfrm>
              <a:off x="633128" y="1721807"/>
              <a:ext cx="44778" cy="53734"/>
            </a:xfrm>
            <a:custGeom>
              <a:avLst/>
              <a:gdLst>
                <a:gd name="connsiteX0" fmla="*/ 42539 w 44778"/>
                <a:gd name="connsiteY0" fmla="*/ 20150 h 53733"/>
                <a:gd name="connsiteX1" fmla="*/ 39853 w 44778"/>
                <a:gd name="connsiteY1" fmla="*/ 20150 h 53733"/>
                <a:gd name="connsiteX2" fmla="*/ 39853 w 44778"/>
                <a:gd name="connsiteY2" fmla="*/ 17463 h 53733"/>
                <a:gd name="connsiteX3" fmla="*/ 22389 w 44778"/>
                <a:gd name="connsiteY3" fmla="*/ 0 h 53733"/>
                <a:gd name="connsiteX4" fmla="*/ 4926 w 44778"/>
                <a:gd name="connsiteY4" fmla="*/ 17463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3 h 53733"/>
                <a:gd name="connsiteX15" fmla="*/ 22389 w 44778"/>
                <a:gd name="connsiteY15" fmla="*/ 4478 h 53733"/>
                <a:gd name="connsiteX16" fmla="*/ 35375 w 44778"/>
                <a:gd name="connsiteY16" fmla="*/ 17463 h 53733"/>
                <a:gd name="connsiteX17" fmla="*/ 35375 w 44778"/>
                <a:gd name="connsiteY17" fmla="*/ 20150 h 53733"/>
                <a:gd name="connsiteX18" fmla="*/ 9851 w 44778"/>
                <a:gd name="connsiteY18" fmla="*/ 20150 h 53733"/>
                <a:gd name="connsiteX19" fmla="*/ 9851 w 44778"/>
                <a:gd name="connsiteY19" fmla="*/ 17463 h 53733"/>
                <a:gd name="connsiteX20" fmla="*/ 40300 w 44778"/>
                <a:gd name="connsiteY20" fmla="*/ 50599 h 53733"/>
                <a:gd name="connsiteX21" fmla="*/ 4478 w 44778"/>
                <a:gd name="connsiteY21" fmla="*/ 50599 h 53733"/>
                <a:gd name="connsiteX22" fmla="*/ 4478 w 44778"/>
                <a:gd name="connsiteY22" fmla="*/ 24628 h 53733"/>
                <a:gd name="connsiteX23" fmla="*/ 7165 w 44778"/>
                <a:gd name="connsiteY23" fmla="*/ 24628 h 53733"/>
                <a:gd name="connsiteX24" fmla="*/ 37166 w 44778"/>
                <a:gd name="connsiteY24" fmla="*/ 24628 h 53733"/>
                <a:gd name="connsiteX25" fmla="*/ 40300 w 44778"/>
                <a:gd name="connsiteY25" fmla="*/ 24628 h 53733"/>
                <a:gd name="connsiteX26" fmla="*/ 40300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3"/>
                  </a:lnTo>
                  <a:cubicBezTo>
                    <a:pt x="39853" y="8060"/>
                    <a:pt x="32240" y="0"/>
                    <a:pt x="22389" y="0"/>
                  </a:cubicBezTo>
                  <a:cubicBezTo>
                    <a:pt x="12538" y="0"/>
                    <a:pt x="4926" y="7612"/>
                    <a:pt x="4926" y="17463"/>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494"/>
                    <a:pt x="43883" y="20150"/>
                    <a:pt x="42539" y="20150"/>
                  </a:cubicBezTo>
                  <a:close/>
                  <a:moveTo>
                    <a:pt x="9403" y="17463"/>
                  </a:moveTo>
                  <a:cubicBezTo>
                    <a:pt x="9403" y="10299"/>
                    <a:pt x="15225" y="4478"/>
                    <a:pt x="22389" y="4478"/>
                  </a:cubicBezTo>
                  <a:cubicBezTo>
                    <a:pt x="29554" y="4478"/>
                    <a:pt x="35375" y="10299"/>
                    <a:pt x="35375" y="17463"/>
                  </a:cubicBezTo>
                  <a:lnTo>
                    <a:pt x="35375" y="20150"/>
                  </a:lnTo>
                  <a:lnTo>
                    <a:pt x="9851" y="20150"/>
                  </a:lnTo>
                  <a:lnTo>
                    <a:pt x="9851" y="17463"/>
                  </a:lnTo>
                  <a:close/>
                  <a:moveTo>
                    <a:pt x="40300" y="50599"/>
                  </a:moveTo>
                  <a:lnTo>
                    <a:pt x="4478" y="50599"/>
                  </a:lnTo>
                  <a:lnTo>
                    <a:pt x="4478" y="24628"/>
                  </a:lnTo>
                  <a:lnTo>
                    <a:pt x="7165" y="24628"/>
                  </a:lnTo>
                  <a:lnTo>
                    <a:pt x="37166" y="24628"/>
                  </a:lnTo>
                  <a:lnTo>
                    <a:pt x="40300" y="24628"/>
                  </a:lnTo>
                  <a:lnTo>
                    <a:pt x="40300" y="50599"/>
                  </a:lnTo>
                  <a:close/>
                </a:path>
              </a:pathLst>
            </a:custGeom>
            <a:solidFill>
              <a:srgbClr val="231F20"/>
            </a:solidFill>
            <a:ln w="4474" cap="flat">
              <a:noFill/>
              <a:prstDash val="solid"/>
              <a:miter/>
            </a:ln>
          </p:spPr>
          <p:txBody>
            <a:bodyPr rtlCol="0" anchor="ctr"/>
            <a:lstStyle/>
            <a:p>
              <a:endParaRPr lang="en-US"/>
            </a:p>
          </p:txBody>
        </p:sp>
        <p:sp>
          <p:nvSpPr>
            <p:cNvPr id="4893" name="Freeform: Shape 4892">
              <a:extLst>
                <a:ext uri="{FF2B5EF4-FFF2-40B4-BE49-F238E27FC236}">
                  <a16:creationId xmlns:a16="http://schemas.microsoft.com/office/drawing/2014/main" id="{07FEF374-2C27-4BF7-804E-8D4ACB938842}"/>
                </a:ext>
              </a:extLst>
            </p:cNvPr>
            <p:cNvSpPr/>
            <p:nvPr/>
          </p:nvSpPr>
          <p:spPr>
            <a:xfrm>
              <a:off x="650591" y="1754495"/>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4"/>
                    <a:pt x="1343" y="8956"/>
                    <a:pt x="3582" y="9851"/>
                  </a:cubicBezTo>
                  <a:lnTo>
                    <a:pt x="3582" y="15225"/>
                  </a:lnTo>
                  <a:lnTo>
                    <a:pt x="6717" y="15225"/>
                  </a:lnTo>
                  <a:lnTo>
                    <a:pt x="6717" y="9851"/>
                  </a:lnTo>
                  <a:cubicBezTo>
                    <a:pt x="8508" y="8956"/>
                    <a:pt x="9851" y="7164"/>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894" name="Group 4893">
            <a:extLst>
              <a:ext uri="{FF2B5EF4-FFF2-40B4-BE49-F238E27FC236}">
                <a16:creationId xmlns:a16="http://schemas.microsoft.com/office/drawing/2014/main" id="{19215E01-D1C9-4D52-AB51-0E17C5A2E444}"/>
              </a:ext>
              <a:ext uri="{C183D7F6-B498-43B3-948B-1728B52AA6E4}">
                <adec:decorative xmlns:adec="http://schemas.microsoft.com/office/drawing/2017/decorative" val="1"/>
              </a:ext>
            </a:extLst>
          </p:cNvPr>
          <p:cNvGrpSpPr>
            <a:grpSpLocks noChangeAspect="1"/>
          </p:cNvGrpSpPr>
          <p:nvPr/>
        </p:nvGrpSpPr>
        <p:grpSpPr>
          <a:xfrm>
            <a:off x="552073" y="2753229"/>
            <a:ext cx="138812" cy="107916"/>
            <a:chOff x="592827" y="2017790"/>
            <a:chExt cx="138812" cy="107916"/>
          </a:xfrm>
        </p:grpSpPr>
        <p:sp>
          <p:nvSpPr>
            <p:cNvPr id="4895" name="Freeform: Shape 4894">
              <a:extLst>
                <a:ext uri="{FF2B5EF4-FFF2-40B4-BE49-F238E27FC236}">
                  <a16:creationId xmlns:a16="http://schemas.microsoft.com/office/drawing/2014/main" id="{4C814CFC-81FE-4079-BC04-F8F5C3FE7829}"/>
                </a:ext>
              </a:extLst>
            </p:cNvPr>
            <p:cNvSpPr/>
            <p:nvPr/>
          </p:nvSpPr>
          <p:spPr>
            <a:xfrm>
              <a:off x="592827" y="2017790"/>
              <a:ext cx="138812" cy="94034"/>
            </a:xfrm>
            <a:custGeom>
              <a:avLst/>
              <a:gdLst>
                <a:gd name="connsiteX0" fmla="*/ 69406 w 138812"/>
                <a:gd name="connsiteY0" fmla="*/ 95825 h 94034"/>
                <a:gd name="connsiteX1" fmla="*/ 29106 w 138812"/>
                <a:gd name="connsiteY1" fmla="*/ 95825 h 94034"/>
                <a:gd name="connsiteX2" fmla="*/ 0 w 138812"/>
                <a:gd name="connsiteY2" fmla="*/ 66719 h 94034"/>
                <a:gd name="connsiteX3" fmla="*/ 13433 w 138812"/>
                <a:gd name="connsiteY3" fmla="*/ 42091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36573 w 138812"/>
                <a:gd name="connsiteY8" fmla="*/ 62242 h 94034"/>
                <a:gd name="connsiteX9" fmla="*/ 134335 w 138812"/>
                <a:gd name="connsiteY9" fmla="*/ 60003 h 94034"/>
                <a:gd name="connsiteX10" fmla="*/ 102990 w 138812"/>
                <a:gd name="connsiteY10" fmla="*/ 28658 h 94034"/>
                <a:gd name="connsiteX11" fmla="*/ 94034 w 138812"/>
                <a:gd name="connsiteY11" fmla="*/ 30001 h 94034"/>
                <a:gd name="connsiteX12" fmla="*/ 91347 w 138812"/>
                <a:gd name="connsiteY12" fmla="*/ 28658 h 94034"/>
                <a:gd name="connsiteX13" fmla="*/ 55973 w 138812"/>
                <a:gd name="connsiteY13" fmla="*/ 4478 h 94034"/>
                <a:gd name="connsiteX14" fmla="*/ 17911 w 138812"/>
                <a:gd name="connsiteY14" fmla="*/ 42539 h 94034"/>
                <a:gd name="connsiteX15" fmla="*/ 17911 w 138812"/>
                <a:gd name="connsiteY15" fmla="*/ 43435 h 94034"/>
                <a:gd name="connsiteX16" fmla="*/ 17016 w 138812"/>
                <a:gd name="connsiteY16" fmla="*/ 45226 h 94034"/>
                <a:gd name="connsiteX17" fmla="*/ 4478 w 138812"/>
                <a:gd name="connsiteY17" fmla="*/ 66719 h 94034"/>
                <a:gd name="connsiteX18" fmla="*/ 29106 w 138812"/>
                <a:gd name="connsiteY18" fmla="*/ 91347 h 94034"/>
                <a:gd name="connsiteX19" fmla="*/ 69406 w 138812"/>
                <a:gd name="connsiteY19" fmla="*/ 91347 h 94034"/>
                <a:gd name="connsiteX20" fmla="*/ 71645 w 138812"/>
                <a:gd name="connsiteY20" fmla="*/ 93586 h 94034"/>
                <a:gd name="connsiteX21" fmla="*/ 69406 w 138812"/>
                <a:gd name="connsiteY21"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812" h="94034">
                  <a:moveTo>
                    <a:pt x="69406" y="95825"/>
                  </a:moveTo>
                  <a:lnTo>
                    <a:pt x="29106" y="95825"/>
                  </a:lnTo>
                  <a:cubicBezTo>
                    <a:pt x="12986" y="95825"/>
                    <a:pt x="0" y="82840"/>
                    <a:pt x="0" y="66719"/>
                  </a:cubicBezTo>
                  <a:cubicBezTo>
                    <a:pt x="0" y="56868"/>
                    <a:pt x="4926" y="47465"/>
                    <a:pt x="13433" y="42091"/>
                  </a:cubicBezTo>
                  <a:cubicBezTo>
                    <a:pt x="13433" y="18807"/>
                    <a:pt x="32688" y="0"/>
                    <a:pt x="55973" y="0"/>
                  </a:cubicBezTo>
                  <a:cubicBezTo>
                    <a:pt x="72541" y="0"/>
                    <a:pt x="88213" y="9851"/>
                    <a:pt x="94930" y="25076"/>
                  </a:cubicBezTo>
                  <a:cubicBezTo>
                    <a:pt x="97616" y="24628"/>
                    <a:pt x="100303" y="24180"/>
                    <a:pt x="102990" y="24180"/>
                  </a:cubicBezTo>
                  <a:cubicBezTo>
                    <a:pt x="122692" y="24180"/>
                    <a:pt x="138812" y="40300"/>
                    <a:pt x="138812" y="60003"/>
                  </a:cubicBezTo>
                  <a:cubicBezTo>
                    <a:pt x="138812" y="61346"/>
                    <a:pt x="137917" y="62242"/>
                    <a:pt x="136573" y="62242"/>
                  </a:cubicBezTo>
                  <a:cubicBezTo>
                    <a:pt x="135230" y="62242"/>
                    <a:pt x="134335" y="60898"/>
                    <a:pt x="134335" y="60003"/>
                  </a:cubicBezTo>
                  <a:cubicBezTo>
                    <a:pt x="134335" y="42539"/>
                    <a:pt x="120453" y="28658"/>
                    <a:pt x="102990" y="28658"/>
                  </a:cubicBezTo>
                  <a:cubicBezTo>
                    <a:pt x="99855" y="28658"/>
                    <a:pt x="97169" y="29106"/>
                    <a:pt x="94034" y="30001"/>
                  </a:cubicBezTo>
                  <a:cubicBezTo>
                    <a:pt x="93139" y="30449"/>
                    <a:pt x="91795" y="29554"/>
                    <a:pt x="91347" y="28658"/>
                  </a:cubicBezTo>
                  <a:cubicBezTo>
                    <a:pt x="85526" y="14329"/>
                    <a:pt x="71645" y="4478"/>
                    <a:pt x="55973" y="4478"/>
                  </a:cubicBezTo>
                  <a:cubicBezTo>
                    <a:pt x="34927" y="4478"/>
                    <a:pt x="17911" y="21493"/>
                    <a:pt x="17911" y="42539"/>
                  </a:cubicBezTo>
                  <a:lnTo>
                    <a:pt x="17911" y="43435"/>
                  </a:lnTo>
                  <a:cubicBezTo>
                    <a:pt x="17911" y="44330"/>
                    <a:pt x="17463" y="44778"/>
                    <a:pt x="17016" y="45226"/>
                  </a:cubicBezTo>
                  <a:cubicBezTo>
                    <a:pt x="9403" y="49704"/>
                    <a:pt x="4478" y="57764"/>
                    <a:pt x="4478" y="66719"/>
                  </a:cubicBezTo>
                  <a:cubicBezTo>
                    <a:pt x="4478" y="80153"/>
                    <a:pt x="15672" y="91347"/>
                    <a:pt x="29106" y="91347"/>
                  </a:cubicBezTo>
                  <a:lnTo>
                    <a:pt x="69406" y="91347"/>
                  </a:lnTo>
                  <a:cubicBezTo>
                    <a:pt x="70750" y="91347"/>
                    <a:pt x="71645" y="92243"/>
                    <a:pt x="71645" y="93586"/>
                  </a:cubicBezTo>
                  <a:cubicBezTo>
                    <a:pt x="71645" y="94930"/>
                    <a:pt x="70750" y="95825"/>
                    <a:pt x="69406" y="95825"/>
                  </a:cubicBezTo>
                  <a:close/>
                </a:path>
              </a:pathLst>
            </a:custGeom>
            <a:solidFill>
              <a:srgbClr val="231F20"/>
            </a:solidFill>
            <a:ln w="4474" cap="flat">
              <a:noFill/>
              <a:prstDash val="solid"/>
              <a:miter/>
            </a:ln>
          </p:spPr>
          <p:txBody>
            <a:bodyPr rtlCol="0" anchor="ctr"/>
            <a:lstStyle/>
            <a:p>
              <a:endParaRPr lang="en-US"/>
            </a:p>
          </p:txBody>
        </p:sp>
        <p:sp>
          <p:nvSpPr>
            <p:cNvPr id="4896" name="Freeform: Shape 4895">
              <a:extLst>
                <a:ext uri="{FF2B5EF4-FFF2-40B4-BE49-F238E27FC236}">
                  <a16:creationId xmlns:a16="http://schemas.microsoft.com/office/drawing/2014/main" id="{2B711A44-F2E9-4604-A815-D2C096817475}"/>
                </a:ext>
              </a:extLst>
            </p:cNvPr>
            <p:cNvSpPr/>
            <p:nvPr/>
          </p:nvSpPr>
          <p:spPr>
            <a:xfrm>
              <a:off x="673428" y="2071972"/>
              <a:ext cx="44778" cy="53734"/>
            </a:xfrm>
            <a:custGeom>
              <a:avLst/>
              <a:gdLst>
                <a:gd name="connsiteX0" fmla="*/ 42539 w 44778"/>
                <a:gd name="connsiteY0" fmla="*/ 20150 h 53733"/>
                <a:gd name="connsiteX1" fmla="*/ 39853 w 44778"/>
                <a:gd name="connsiteY1" fmla="*/ 20150 h 53733"/>
                <a:gd name="connsiteX2" fmla="*/ 39853 w 44778"/>
                <a:gd name="connsiteY2" fmla="*/ 17464 h 53733"/>
                <a:gd name="connsiteX3" fmla="*/ 22389 w 44778"/>
                <a:gd name="connsiteY3" fmla="*/ 0 h 53733"/>
                <a:gd name="connsiteX4" fmla="*/ 4926 w 44778"/>
                <a:gd name="connsiteY4" fmla="*/ 17464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4 h 53733"/>
                <a:gd name="connsiteX15" fmla="*/ 22389 w 44778"/>
                <a:gd name="connsiteY15" fmla="*/ 4478 h 53733"/>
                <a:gd name="connsiteX16" fmla="*/ 35375 w 44778"/>
                <a:gd name="connsiteY16" fmla="*/ 17464 h 53733"/>
                <a:gd name="connsiteX17" fmla="*/ 35375 w 44778"/>
                <a:gd name="connsiteY17" fmla="*/ 20150 h 53733"/>
                <a:gd name="connsiteX18" fmla="*/ 9851 w 44778"/>
                <a:gd name="connsiteY18" fmla="*/ 20150 h 53733"/>
                <a:gd name="connsiteX19" fmla="*/ 9851 w 44778"/>
                <a:gd name="connsiteY19" fmla="*/ 17464 h 53733"/>
                <a:gd name="connsiteX20" fmla="*/ 40300 w 44778"/>
                <a:gd name="connsiteY20" fmla="*/ 50599 h 53733"/>
                <a:gd name="connsiteX21" fmla="*/ 4478 w 44778"/>
                <a:gd name="connsiteY21" fmla="*/ 50599 h 53733"/>
                <a:gd name="connsiteX22" fmla="*/ 4478 w 44778"/>
                <a:gd name="connsiteY22" fmla="*/ 25076 h 53733"/>
                <a:gd name="connsiteX23" fmla="*/ 7165 w 44778"/>
                <a:gd name="connsiteY23" fmla="*/ 25076 h 53733"/>
                <a:gd name="connsiteX24" fmla="*/ 37166 w 44778"/>
                <a:gd name="connsiteY24" fmla="*/ 25076 h 53733"/>
                <a:gd name="connsiteX25" fmla="*/ 40300 w 44778"/>
                <a:gd name="connsiteY25" fmla="*/ 25076 h 53733"/>
                <a:gd name="connsiteX26" fmla="*/ 40300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4"/>
                  </a:lnTo>
                  <a:cubicBezTo>
                    <a:pt x="39853" y="8060"/>
                    <a:pt x="32240" y="0"/>
                    <a:pt x="22389" y="0"/>
                  </a:cubicBezTo>
                  <a:cubicBezTo>
                    <a:pt x="12538" y="0"/>
                    <a:pt x="4926" y="7612"/>
                    <a:pt x="4926" y="17464"/>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046"/>
                    <a:pt x="43883" y="20150"/>
                    <a:pt x="42539" y="20150"/>
                  </a:cubicBezTo>
                  <a:close/>
                  <a:moveTo>
                    <a:pt x="9403" y="17464"/>
                  </a:moveTo>
                  <a:cubicBezTo>
                    <a:pt x="9403" y="10299"/>
                    <a:pt x="15225" y="4478"/>
                    <a:pt x="22389" y="4478"/>
                  </a:cubicBezTo>
                  <a:cubicBezTo>
                    <a:pt x="29554" y="4478"/>
                    <a:pt x="35375" y="10299"/>
                    <a:pt x="35375" y="17464"/>
                  </a:cubicBezTo>
                  <a:lnTo>
                    <a:pt x="35375" y="20150"/>
                  </a:lnTo>
                  <a:lnTo>
                    <a:pt x="9851" y="20150"/>
                  </a:lnTo>
                  <a:lnTo>
                    <a:pt x="9851" y="17464"/>
                  </a:lnTo>
                  <a:close/>
                  <a:moveTo>
                    <a:pt x="40300" y="50599"/>
                  </a:moveTo>
                  <a:lnTo>
                    <a:pt x="4478" y="50599"/>
                  </a:lnTo>
                  <a:lnTo>
                    <a:pt x="4478" y="25076"/>
                  </a:lnTo>
                  <a:lnTo>
                    <a:pt x="7165" y="25076"/>
                  </a:lnTo>
                  <a:lnTo>
                    <a:pt x="37166" y="25076"/>
                  </a:lnTo>
                  <a:lnTo>
                    <a:pt x="40300" y="25076"/>
                  </a:lnTo>
                  <a:lnTo>
                    <a:pt x="40300" y="50599"/>
                  </a:lnTo>
                  <a:close/>
                </a:path>
              </a:pathLst>
            </a:custGeom>
            <a:solidFill>
              <a:srgbClr val="231F20"/>
            </a:solidFill>
            <a:ln w="4474" cap="flat">
              <a:noFill/>
              <a:prstDash val="solid"/>
              <a:miter/>
            </a:ln>
          </p:spPr>
          <p:txBody>
            <a:bodyPr rtlCol="0" anchor="ctr"/>
            <a:lstStyle/>
            <a:p>
              <a:endParaRPr lang="en-US"/>
            </a:p>
          </p:txBody>
        </p:sp>
        <p:sp>
          <p:nvSpPr>
            <p:cNvPr id="4897" name="Freeform: Shape 4896">
              <a:extLst>
                <a:ext uri="{FF2B5EF4-FFF2-40B4-BE49-F238E27FC236}">
                  <a16:creationId xmlns:a16="http://schemas.microsoft.com/office/drawing/2014/main" id="{3E06300A-0CBA-4CCC-BD7A-34615FFE15FF}"/>
                </a:ext>
              </a:extLst>
            </p:cNvPr>
            <p:cNvSpPr/>
            <p:nvPr/>
          </p:nvSpPr>
          <p:spPr>
            <a:xfrm>
              <a:off x="690892" y="2104660"/>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5"/>
                    <a:pt x="1343" y="8956"/>
                    <a:pt x="3582" y="9851"/>
                  </a:cubicBezTo>
                  <a:lnTo>
                    <a:pt x="3582" y="15225"/>
                  </a:lnTo>
                  <a:lnTo>
                    <a:pt x="6717" y="15225"/>
                  </a:lnTo>
                  <a:lnTo>
                    <a:pt x="6717" y="9851"/>
                  </a:lnTo>
                  <a:cubicBezTo>
                    <a:pt x="8508" y="8956"/>
                    <a:pt x="9851" y="7165"/>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898" name="Group 4897">
            <a:extLst>
              <a:ext uri="{FF2B5EF4-FFF2-40B4-BE49-F238E27FC236}">
                <a16:creationId xmlns:a16="http://schemas.microsoft.com/office/drawing/2014/main" id="{A2E76399-7033-44B7-8825-48BCC6371F75}"/>
              </a:ext>
              <a:ext uri="{C183D7F6-B498-43B3-948B-1728B52AA6E4}">
                <adec:decorative xmlns:adec="http://schemas.microsoft.com/office/drawing/2017/decorative" val="1"/>
              </a:ext>
            </a:extLst>
          </p:cNvPr>
          <p:cNvGrpSpPr>
            <a:grpSpLocks noChangeAspect="1"/>
          </p:cNvGrpSpPr>
          <p:nvPr/>
        </p:nvGrpSpPr>
        <p:grpSpPr>
          <a:xfrm>
            <a:off x="798353" y="2440678"/>
            <a:ext cx="152246" cy="98512"/>
            <a:chOff x="839107" y="1705239"/>
            <a:chExt cx="152246" cy="98512"/>
          </a:xfrm>
        </p:grpSpPr>
        <p:sp>
          <p:nvSpPr>
            <p:cNvPr id="4899" name="Freeform: Shape 4898">
              <a:extLst>
                <a:ext uri="{FF2B5EF4-FFF2-40B4-BE49-F238E27FC236}">
                  <a16:creationId xmlns:a16="http://schemas.microsoft.com/office/drawing/2014/main" id="{7B5B0E61-2116-43EF-9446-65FAA94473D2}"/>
                </a:ext>
              </a:extLst>
            </p:cNvPr>
            <p:cNvSpPr/>
            <p:nvPr/>
          </p:nvSpPr>
          <p:spPr>
            <a:xfrm>
              <a:off x="839107" y="1705239"/>
              <a:ext cx="152246" cy="98512"/>
            </a:xfrm>
            <a:custGeom>
              <a:avLst/>
              <a:gdLst>
                <a:gd name="connsiteX0" fmla="*/ 150007 w 152245"/>
                <a:gd name="connsiteY0" fmla="*/ 80601 h 98511"/>
                <a:gd name="connsiteX1" fmla="*/ 138812 w 152245"/>
                <a:gd name="connsiteY1" fmla="*/ 80601 h 98511"/>
                <a:gd name="connsiteX2" fmla="*/ 138812 w 152245"/>
                <a:gd name="connsiteY2" fmla="*/ 15672 h 98511"/>
                <a:gd name="connsiteX3" fmla="*/ 123140 w 152245"/>
                <a:gd name="connsiteY3" fmla="*/ 0 h 98511"/>
                <a:gd name="connsiteX4" fmla="*/ 29106 w 152245"/>
                <a:gd name="connsiteY4" fmla="*/ 0 h 98511"/>
                <a:gd name="connsiteX5" fmla="*/ 13433 w 152245"/>
                <a:gd name="connsiteY5" fmla="*/ 15672 h 98511"/>
                <a:gd name="connsiteX6" fmla="*/ 13433 w 152245"/>
                <a:gd name="connsiteY6" fmla="*/ 80601 h 98511"/>
                <a:gd name="connsiteX7" fmla="*/ 2239 w 152245"/>
                <a:gd name="connsiteY7" fmla="*/ 80601 h 98511"/>
                <a:gd name="connsiteX8" fmla="*/ 0 w 152245"/>
                <a:gd name="connsiteY8" fmla="*/ 82840 h 98511"/>
                <a:gd name="connsiteX9" fmla="*/ 15672 w 152245"/>
                <a:gd name="connsiteY9" fmla="*/ 98512 h 98511"/>
                <a:gd name="connsiteX10" fmla="*/ 136573 w 152245"/>
                <a:gd name="connsiteY10" fmla="*/ 98512 h 98511"/>
                <a:gd name="connsiteX11" fmla="*/ 152246 w 152245"/>
                <a:gd name="connsiteY11" fmla="*/ 82840 h 98511"/>
                <a:gd name="connsiteX12" fmla="*/ 152246 w 152245"/>
                <a:gd name="connsiteY12" fmla="*/ 82840 h 98511"/>
                <a:gd name="connsiteX13" fmla="*/ 150007 w 152245"/>
                <a:gd name="connsiteY13" fmla="*/ 80601 h 98511"/>
                <a:gd name="connsiteX14" fmla="*/ 17911 w 152245"/>
                <a:gd name="connsiteY14" fmla="*/ 15672 h 98511"/>
                <a:gd name="connsiteX15" fmla="*/ 29106 w 152245"/>
                <a:gd name="connsiteY15" fmla="*/ 4478 h 98511"/>
                <a:gd name="connsiteX16" fmla="*/ 123140 w 152245"/>
                <a:gd name="connsiteY16" fmla="*/ 4478 h 98511"/>
                <a:gd name="connsiteX17" fmla="*/ 134335 w 152245"/>
                <a:gd name="connsiteY17" fmla="*/ 15672 h 98511"/>
                <a:gd name="connsiteX18" fmla="*/ 134335 w 152245"/>
                <a:gd name="connsiteY18" fmla="*/ 80601 h 98511"/>
                <a:gd name="connsiteX19" fmla="*/ 17911 w 152245"/>
                <a:gd name="connsiteY19" fmla="*/ 80601 h 98511"/>
                <a:gd name="connsiteX20" fmla="*/ 17911 w 152245"/>
                <a:gd name="connsiteY20" fmla="*/ 15672 h 98511"/>
                <a:gd name="connsiteX21" fmla="*/ 136573 w 152245"/>
                <a:gd name="connsiteY21" fmla="*/ 94034 h 98511"/>
                <a:gd name="connsiteX22" fmla="*/ 15672 w 152245"/>
                <a:gd name="connsiteY22" fmla="*/ 94034 h 98511"/>
                <a:gd name="connsiteX23" fmla="*/ 4478 w 152245"/>
                <a:gd name="connsiteY23" fmla="*/ 85079 h 98511"/>
                <a:gd name="connsiteX24" fmla="*/ 147320 w 152245"/>
                <a:gd name="connsiteY24" fmla="*/ 85079 h 98511"/>
                <a:gd name="connsiteX25" fmla="*/ 136573 w 152245"/>
                <a:gd name="connsiteY25" fmla="*/ 94034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45" h="98511">
                  <a:moveTo>
                    <a:pt x="150007" y="80601"/>
                  </a:moveTo>
                  <a:lnTo>
                    <a:pt x="138812" y="80601"/>
                  </a:lnTo>
                  <a:lnTo>
                    <a:pt x="138812" y="15672"/>
                  </a:lnTo>
                  <a:cubicBezTo>
                    <a:pt x="138812" y="7164"/>
                    <a:pt x="131648" y="0"/>
                    <a:pt x="123140" y="0"/>
                  </a:cubicBezTo>
                  <a:lnTo>
                    <a:pt x="29106" y="0"/>
                  </a:lnTo>
                  <a:cubicBezTo>
                    <a:pt x="20598" y="0"/>
                    <a:pt x="13433" y="7164"/>
                    <a:pt x="13433" y="15672"/>
                  </a:cubicBezTo>
                  <a:lnTo>
                    <a:pt x="13433" y="80601"/>
                  </a:lnTo>
                  <a:lnTo>
                    <a:pt x="2239" y="80601"/>
                  </a:lnTo>
                  <a:cubicBezTo>
                    <a:pt x="896" y="80601"/>
                    <a:pt x="0" y="81496"/>
                    <a:pt x="0" y="82840"/>
                  </a:cubicBezTo>
                  <a:cubicBezTo>
                    <a:pt x="0" y="91347"/>
                    <a:pt x="7165" y="98512"/>
                    <a:pt x="15672" y="98512"/>
                  </a:cubicBezTo>
                  <a:lnTo>
                    <a:pt x="136573" y="98512"/>
                  </a:lnTo>
                  <a:cubicBezTo>
                    <a:pt x="145081" y="98512"/>
                    <a:pt x="152246" y="91347"/>
                    <a:pt x="152246" y="82840"/>
                  </a:cubicBezTo>
                  <a:lnTo>
                    <a:pt x="152246" y="82840"/>
                  </a:lnTo>
                  <a:cubicBezTo>
                    <a:pt x="152246" y="81496"/>
                    <a:pt x="151350" y="80601"/>
                    <a:pt x="150007" y="80601"/>
                  </a:cubicBezTo>
                  <a:close/>
                  <a:moveTo>
                    <a:pt x="17911" y="15672"/>
                  </a:moveTo>
                  <a:cubicBezTo>
                    <a:pt x="17911" y="9403"/>
                    <a:pt x="22837" y="4478"/>
                    <a:pt x="29106" y="4478"/>
                  </a:cubicBezTo>
                  <a:lnTo>
                    <a:pt x="123140" y="4478"/>
                  </a:lnTo>
                  <a:cubicBezTo>
                    <a:pt x="129409" y="4478"/>
                    <a:pt x="134335" y="9403"/>
                    <a:pt x="134335" y="15672"/>
                  </a:cubicBezTo>
                  <a:lnTo>
                    <a:pt x="134335" y="80601"/>
                  </a:lnTo>
                  <a:lnTo>
                    <a:pt x="17911" y="80601"/>
                  </a:lnTo>
                  <a:lnTo>
                    <a:pt x="17911" y="15672"/>
                  </a:lnTo>
                  <a:close/>
                  <a:moveTo>
                    <a:pt x="136573" y="94034"/>
                  </a:moveTo>
                  <a:lnTo>
                    <a:pt x="15672" y="94034"/>
                  </a:lnTo>
                  <a:cubicBezTo>
                    <a:pt x="10299" y="94034"/>
                    <a:pt x="5821" y="90004"/>
                    <a:pt x="4478" y="85079"/>
                  </a:cubicBezTo>
                  <a:lnTo>
                    <a:pt x="147320" y="85079"/>
                  </a:lnTo>
                  <a:cubicBezTo>
                    <a:pt x="146425" y="90004"/>
                    <a:pt x="141947" y="94034"/>
                    <a:pt x="136573" y="94034"/>
                  </a:cubicBezTo>
                  <a:close/>
                </a:path>
              </a:pathLst>
            </a:custGeom>
            <a:solidFill>
              <a:srgbClr val="231F20"/>
            </a:solidFill>
            <a:ln w="4474" cap="flat">
              <a:noFill/>
              <a:prstDash val="solid"/>
              <a:miter/>
            </a:ln>
          </p:spPr>
          <p:txBody>
            <a:bodyPr rtlCol="0" anchor="ctr"/>
            <a:lstStyle/>
            <a:p>
              <a:endParaRPr lang="en-US"/>
            </a:p>
          </p:txBody>
        </p:sp>
        <p:sp>
          <p:nvSpPr>
            <p:cNvPr id="4900" name="Freeform: Shape 4899">
              <a:extLst>
                <a:ext uri="{FF2B5EF4-FFF2-40B4-BE49-F238E27FC236}">
                  <a16:creationId xmlns:a16="http://schemas.microsoft.com/office/drawing/2014/main" id="{90D048ED-80C9-4252-AD23-DC5AB41698E7}"/>
                </a:ext>
              </a:extLst>
            </p:cNvPr>
            <p:cNvSpPr/>
            <p:nvPr/>
          </p:nvSpPr>
          <p:spPr>
            <a:xfrm>
              <a:off x="892841" y="1721807"/>
              <a:ext cx="44778" cy="53734"/>
            </a:xfrm>
            <a:custGeom>
              <a:avLst/>
              <a:gdLst>
                <a:gd name="connsiteX0" fmla="*/ 42539 w 44778"/>
                <a:gd name="connsiteY0" fmla="*/ 20150 h 53733"/>
                <a:gd name="connsiteX1" fmla="*/ 39853 w 44778"/>
                <a:gd name="connsiteY1" fmla="*/ 20150 h 53733"/>
                <a:gd name="connsiteX2" fmla="*/ 39853 w 44778"/>
                <a:gd name="connsiteY2" fmla="*/ 17463 h 53733"/>
                <a:gd name="connsiteX3" fmla="*/ 22389 w 44778"/>
                <a:gd name="connsiteY3" fmla="*/ 0 h 53733"/>
                <a:gd name="connsiteX4" fmla="*/ 4926 w 44778"/>
                <a:gd name="connsiteY4" fmla="*/ 17463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3 h 53733"/>
                <a:gd name="connsiteX15" fmla="*/ 22389 w 44778"/>
                <a:gd name="connsiteY15" fmla="*/ 4478 h 53733"/>
                <a:gd name="connsiteX16" fmla="*/ 35375 w 44778"/>
                <a:gd name="connsiteY16" fmla="*/ 17463 h 53733"/>
                <a:gd name="connsiteX17" fmla="*/ 35375 w 44778"/>
                <a:gd name="connsiteY17" fmla="*/ 20150 h 53733"/>
                <a:gd name="connsiteX18" fmla="*/ 9851 w 44778"/>
                <a:gd name="connsiteY18" fmla="*/ 20150 h 53733"/>
                <a:gd name="connsiteX19" fmla="*/ 9851 w 44778"/>
                <a:gd name="connsiteY19" fmla="*/ 17463 h 53733"/>
                <a:gd name="connsiteX20" fmla="*/ 40300 w 44778"/>
                <a:gd name="connsiteY20" fmla="*/ 50599 h 53733"/>
                <a:gd name="connsiteX21" fmla="*/ 4478 w 44778"/>
                <a:gd name="connsiteY21" fmla="*/ 50599 h 53733"/>
                <a:gd name="connsiteX22" fmla="*/ 4478 w 44778"/>
                <a:gd name="connsiteY22" fmla="*/ 24628 h 53733"/>
                <a:gd name="connsiteX23" fmla="*/ 7165 w 44778"/>
                <a:gd name="connsiteY23" fmla="*/ 24628 h 53733"/>
                <a:gd name="connsiteX24" fmla="*/ 37166 w 44778"/>
                <a:gd name="connsiteY24" fmla="*/ 24628 h 53733"/>
                <a:gd name="connsiteX25" fmla="*/ 40300 w 44778"/>
                <a:gd name="connsiteY25" fmla="*/ 24628 h 53733"/>
                <a:gd name="connsiteX26" fmla="*/ 40300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3"/>
                  </a:lnTo>
                  <a:cubicBezTo>
                    <a:pt x="39853" y="8060"/>
                    <a:pt x="32240" y="0"/>
                    <a:pt x="22389" y="0"/>
                  </a:cubicBezTo>
                  <a:cubicBezTo>
                    <a:pt x="12986" y="0"/>
                    <a:pt x="4926" y="7612"/>
                    <a:pt x="4926" y="17463"/>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494"/>
                    <a:pt x="43883" y="20150"/>
                    <a:pt x="42539" y="20150"/>
                  </a:cubicBezTo>
                  <a:close/>
                  <a:moveTo>
                    <a:pt x="9403" y="17463"/>
                  </a:moveTo>
                  <a:cubicBezTo>
                    <a:pt x="9403" y="10299"/>
                    <a:pt x="15225" y="4478"/>
                    <a:pt x="22389" y="4478"/>
                  </a:cubicBezTo>
                  <a:cubicBezTo>
                    <a:pt x="29554" y="4478"/>
                    <a:pt x="35375" y="10299"/>
                    <a:pt x="35375" y="17463"/>
                  </a:cubicBezTo>
                  <a:lnTo>
                    <a:pt x="35375" y="20150"/>
                  </a:lnTo>
                  <a:lnTo>
                    <a:pt x="9851" y="20150"/>
                  </a:lnTo>
                  <a:lnTo>
                    <a:pt x="9851" y="17463"/>
                  </a:lnTo>
                  <a:close/>
                  <a:moveTo>
                    <a:pt x="40300" y="50599"/>
                  </a:moveTo>
                  <a:lnTo>
                    <a:pt x="4478" y="50599"/>
                  </a:lnTo>
                  <a:lnTo>
                    <a:pt x="4478" y="24628"/>
                  </a:lnTo>
                  <a:lnTo>
                    <a:pt x="7165" y="24628"/>
                  </a:lnTo>
                  <a:lnTo>
                    <a:pt x="37166" y="24628"/>
                  </a:lnTo>
                  <a:lnTo>
                    <a:pt x="40300" y="24628"/>
                  </a:lnTo>
                  <a:lnTo>
                    <a:pt x="40300" y="50599"/>
                  </a:lnTo>
                  <a:close/>
                </a:path>
              </a:pathLst>
            </a:custGeom>
            <a:solidFill>
              <a:srgbClr val="231F20"/>
            </a:solidFill>
            <a:ln w="4474" cap="flat">
              <a:noFill/>
              <a:prstDash val="solid"/>
              <a:miter/>
            </a:ln>
          </p:spPr>
          <p:txBody>
            <a:bodyPr rtlCol="0" anchor="ctr"/>
            <a:lstStyle/>
            <a:p>
              <a:endParaRPr lang="en-US"/>
            </a:p>
          </p:txBody>
        </p:sp>
        <p:sp>
          <p:nvSpPr>
            <p:cNvPr id="4901" name="Freeform: Shape 4900">
              <a:extLst>
                <a:ext uri="{FF2B5EF4-FFF2-40B4-BE49-F238E27FC236}">
                  <a16:creationId xmlns:a16="http://schemas.microsoft.com/office/drawing/2014/main" id="{3C325011-70EC-40F8-93EB-A58D1BB3DEC3}"/>
                </a:ext>
              </a:extLst>
            </p:cNvPr>
            <p:cNvSpPr/>
            <p:nvPr/>
          </p:nvSpPr>
          <p:spPr>
            <a:xfrm>
              <a:off x="910305" y="1754495"/>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4"/>
                    <a:pt x="1343" y="8956"/>
                    <a:pt x="3582" y="9851"/>
                  </a:cubicBezTo>
                  <a:lnTo>
                    <a:pt x="3582" y="15225"/>
                  </a:lnTo>
                  <a:lnTo>
                    <a:pt x="6717" y="15225"/>
                  </a:lnTo>
                  <a:lnTo>
                    <a:pt x="6717" y="9851"/>
                  </a:lnTo>
                  <a:cubicBezTo>
                    <a:pt x="8508" y="8956"/>
                    <a:pt x="9851" y="7164"/>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902" name="Group 4901">
            <a:extLst>
              <a:ext uri="{FF2B5EF4-FFF2-40B4-BE49-F238E27FC236}">
                <a16:creationId xmlns:a16="http://schemas.microsoft.com/office/drawing/2014/main" id="{F19CAF3B-A6F3-4640-977C-D4287A5F6111}"/>
              </a:ext>
              <a:ext uri="{C183D7F6-B498-43B3-948B-1728B52AA6E4}">
                <adec:decorative xmlns:adec="http://schemas.microsoft.com/office/drawing/2017/decorative" val="1"/>
              </a:ext>
            </a:extLst>
          </p:cNvPr>
          <p:cNvGrpSpPr>
            <a:grpSpLocks noChangeAspect="1"/>
          </p:cNvGrpSpPr>
          <p:nvPr/>
        </p:nvGrpSpPr>
        <p:grpSpPr>
          <a:xfrm>
            <a:off x="1095233" y="2427244"/>
            <a:ext cx="98512" cy="125379"/>
            <a:chOff x="1135987" y="1691805"/>
            <a:chExt cx="98512" cy="125379"/>
          </a:xfrm>
        </p:grpSpPr>
        <p:sp>
          <p:nvSpPr>
            <p:cNvPr id="4903" name="Freeform: Shape 4902">
              <a:extLst>
                <a:ext uri="{FF2B5EF4-FFF2-40B4-BE49-F238E27FC236}">
                  <a16:creationId xmlns:a16="http://schemas.microsoft.com/office/drawing/2014/main" id="{3454D095-883C-431B-9E08-49BB14DB990F}"/>
                </a:ext>
              </a:extLst>
            </p:cNvPr>
            <p:cNvSpPr/>
            <p:nvPr/>
          </p:nvSpPr>
          <p:spPr>
            <a:xfrm>
              <a:off x="1135987" y="1691805"/>
              <a:ext cx="98512" cy="125379"/>
            </a:xfrm>
            <a:custGeom>
              <a:avLst/>
              <a:gdLst>
                <a:gd name="connsiteX0" fmla="*/ 82840 w 98511"/>
                <a:gd name="connsiteY0" fmla="*/ 125379 h 125378"/>
                <a:gd name="connsiteX1" fmla="*/ 15672 w 98511"/>
                <a:gd name="connsiteY1" fmla="*/ 125379 h 125378"/>
                <a:gd name="connsiteX2" fmla="*/ 0 w 98511"/>
                <a:gd name="connsiteY2" fmla="*/ 109707 h 125378"/>
                <a:gd name="connsiteX3" fmla="*/ 0 w 98511"/>
                <a:gd name="connsiteY3" fmla="*/ 15672 h 125378"/>
                <a:gd name="connsiteX4" fmla="*/ 15672 w 98511"/>
                <a:gd name="connsiteY4" fmla="*/ 0 h 125378"/>
                <a:gd name="connsiteX5" fmla="*/ 82840 w 98511"/>
                <a:gd name="connsiteY5" fmla="*/ 0 h 125378"/>
                <a:gd name="connsiteX6" fmla="*/ 98512 w 98511"/>
                <a:gd name="connsiteY6" fmla="*/ 15672 h 125378"/>
                <a:gd name="connsiteX7" fmla="*/ 98512 w 98511"/>
                <a:gd name="connsiteY7" fmla="*/ 109707 h 125378"/>
                <a:gd name="connsiteX8" fmla="*/ 82840 w 98511"/>
                <a:gd name="connsiteY8" fmla="*/ 125379 h 125378"/>
                <a:gd name="connsiteX9" fmla="*/ 15672 w 98511"/>
                <a:gd name="connsiteY9" fmla="*/ 4478 h 125378"/>
                <a:gd name="connsiteX10" fmla="*/ 4478 w 98511"/>
                <a:gd name="connsiteY10" fmla="*/ 15672 h 125378"/>
                <a:gd name="connsiteX11" fmla="*/ 4478 w 98511"/>
                <a:gd name="connsiteY11" fmla="*/ 109707 h 125378"/>
                <a:gd name="connsiteX12" fmla="*/ 15672 w 98511"/>
                <a:gd name="connsiteY12" fmla="*/ 120901 h 125378"/>
                <a:gd name="connsiteX13" fmla="*/ 82840 w 98511"/>
                <a:gd name="connsiteY13" fmla="*/ 120901 h 125378"/>
                <a:gd name="connsiteX14" fmla="*/ 94034 w 98511"/>
                <a:gd name="connsiteY14" fmla="*/ 109707 h 125378"/>
                <a:gd name="connsiteX15" fmla="*/ 94034 w 98511"/>
                <a:gd name="connsiteY15" fmla="*/ 15672 h 125378"/>
                <a:gd name="connsiteX16" fmla="*/ 82840 w 98511"/>
                <a:gd name="connsiteY16" fmla="*/ 4478 h 125378"/>
                <a:gd name="connsiteX17" fmla="*/ 15672 w 98511"/>
                <a:gd name="connsiteY17" fmla="*/ 4478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511" h="125378">
                  <a:moveTo>
                    <a:pt x="82840" y="125379"/>
                  </a:moveTo>
                  <a:lnTo>
                    <a:pt x="15672" y="125379"/>
                  </a:lnTo>
                  <a:cubicBezTo>
                    <a:pt x="7165" y="125379"/>
                    <a:pt x="0" y="118214"/>
                    <a:pt x="0" y="109707"/>
                  </a:cubicBezTo>
                  <a:lnTo>
                    <a:pt x="0" y="15672"/>
                  </a:lnTo>
                  <a:cubicBezTo>
                    <a:pt x="0" y="7164"/>
                    <a:pt x="7165" y="0"/>
                    <a:pt x="15672" y="0"/>
                  </a:cubicBezTo>
                  <a:lnTo>
                    <a:pt x="82840" y="0"/>
                  </a:lnTo>
                  <a:cubicBezTo>
                    <a:pt x="91347" y="0"/>
                    <a:pt x="98512" y="7164"/>
                    <a:pt x="98512" y="15672"/>
                  </a:cubicBezTo>
                  <a:lnTo>
                    <a:pt x="98512" y="109707"/>
                  </a:lnTo>
                  <a:cubicBezTo>
                    <a:pt x="98512" y="118214"/>
                    <a:pt x="91347" y="125379"/>
                    <a:pt x="82840" y="125379"/>
                  </a:cubicBezTo>
                  <a:close/>
                  <a:moveTo>
                    <a:pt x="15672" y="4478"/>
                  </a:moveTo>
                  <a:cubicBezTo>
                    <a:pt x="9403" y="4478"/>
                    <a:pt x="4478" y="9403"/>
                    <a:pt x="4478" y="15672"/>
                  </a:cubicBezTo>
                  <a:lnTo>
                    <a:pt x="4478" y="109707"/>
                  </a:lnTo>
                  <a:cubicBezTo>
                    <a:pt x="4478" y="115975"/>
                    <a:pt x="9403" y="120901"/>
                    <a:pt x="15672" y="120901"/>
                  </a:cubicBezTo>
                  <a:lnTo>
                    <a:pt x="82840" y="120901"/>
                  </a:lnTo>
                  <a:cubicBezTo>
                    <a:pt x="89109" y="120901"/>
                    <a:pt x="94034" y="115975"/>
                    <a:pt x="94034" y="109707"/>
                  </a:cubicBezTo>
                  <a:lnTo>
                    <a:pt x="94034" y="15672"/>
                  </a:lnTo>
                  <a:cubicBezTo>
                    <a:pt x="94034" y="9403"/>
                    <a:pt x="89109" y="4478"/>
                    <a:pt x="82840"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904" name="Freeform: Shape 4903">
              <a:extLst>
                <a:ext uri="{FF2B5EF4-FFF2-40B4-BE49-F238E27FC236}">
                  <a16:creationId xmlns:a16="http://schemas.microsoft.com/office/drawing/2014/main" id="{3F752213-7016-4C85-8279-BADB16896C78}"/>
                </a:ext>
              </a:extLst>
            </p:cNvPr>
            <p:cNvSpPr/>
            <p:nvPr/>
          </p:nvSpPr>
          <p:spPr>
            <a:xfrm>
              <a:off x="1176287" y="1699865"/>
              <a:ext cx="17911" cy="4478"/>
            </a:xfrm>
            <a:custGeom>
              <a:avLst/>
              <a:gdLst>
                <a:gd name="connsiteX0" fmla="*/ 15672 w 17911"/>
                <a:gd name="connsiteY0" fmla="*/ 4478 h 4477"/>
                <a:gd name="connsiteX1" fmla="*/ 2239 w 17911"/>
                <a:gd name="connsiteY1" fmla="*/ 4478 h 4477"/>
                <a:gd name="connsiteX2" fmla="*/ 0 w 17911"/>
                <a:gd name="connsiteY2" fmla="*/ 2239 h 4477"/>
                <a:gd name="connsiteX3" fmla="*/ 2239 w 17911"/>
                <a:gd name="connsiteY3" fmla="*/ 0 h 4477"/>
                <a:gd name="connsiteX4" fmla="*/ 15672 w 17911"/>
                <a:gd name="connsiteY4" fmla="*/ 0 h 4477"/>
                <a:gd name="connsiteX5" fmla="*/ 17911 w 17911"/>
                <a:gd name="connsiteY5" fmla="*/ 2239 h 4477"/>
                <a:gd name="connsiteX6" fmla="*/ 15672 w 17911"/>
                <a:gd name="connsiteY6" fmla="*/ 4478 h 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1" h="4477">
                  <a:moveTo>
                    <a:pt x="15672" y="4478"/>
                  </a:moveTo>
                  <a:lnTo>
                    <a:pt x="2239" y="4478"/>
                  </a:lnTo>
                  <a:cubicBezTo>
                    <a:pt x="896" y="4478"/>
                    <a:pt x="0" y="3582"/>
                    <a:pt x="0" y="2239"/>
                  </a:cubicBezTo>
                  <a:cubicBezTo>
                    <a:pt x="0" y="896"/>
                    <a:pt x="896" y="0"/>
                    <a:pt x="2239" y="0"/>
                  </a:cubicBezTo>
                  <a:lnTo>
                    <a:pt x="15672" y="0"/>
                  </a:lnTo>
                  <a:cubicBezTo>
                    <a:pt x="17016" y="0"/>
                    <a:pt x="17911" y="896"/>
                    <a:pt x="17911" y="2239"/>
                  </a:cubicBezTo>
                  <a:cubicBezTo>
                    <a:pt x="17911" y="3582"/>
                    <a:pt x="17016" y="4478"/>
                    <a:pt x="15672" y="4478"/>
                  </a:cubicBezTo>
                  <a:close/>
                </a:path>
              </a:pathLst>
            </a:custGeom>
            <a:solidFill>
              <a:srgbClr val="231F20"/>
            </a:solidFill>
            <a:ln w="4474" cap="flat">
              <a:noFill/>
              <a:prstDash val="solid"/>
              <a:miter/>
            </a:ln>
          </p:spPr>
          <p:txBody>
            <a:bodyPr rtlCol="0" anchor="ctr"/>
            <a:lstStyle/>
            <a:p>
              <a:endParaRPr lang="en-US"/>
            </a:p>
          </p:txBody>
        </p:sp>
        <p:sp>
          <p:nvSpPr>
            <p:cNvPr id="4905" name="Freeform: Shape 4904">
              <a:extLst>
                <a:ext uri="{FF2B5EF4-FFF2-40B4-BE49-F238E27FC236}">
                  <a16:creationId xmlns:a16="http://schemas.microsoft.com/office/drawing/2014/main" id="{3194EA15-5BAF-4990-85EF-7CBD880A432C}"/>
                </a:ext>
              </a:extLst>
            </p:cNvPr>
            <p:cNvSpPr/>
            <p:nvPr/>
          </p:nvSpPr>
          <p:spPr>
            <a:xfrm>
              <a:off x="1178526" y="1794795"/>
              <a:ext cx="13433" cy="13433"/>
            </a:xfrm>
            <a:custGeom>
              <a:avLst/>
              <a:gdLst>
                <a:gd name="connsiteX0" fmla="*/ 13433 w 13433"/>
                <a:gd name="connsiteY0" fmla="*/ 6717 h 13433"/>
                <a:gd name="connsiteX1" fmla="*/ 6717 w 13433"/>
                <a:gd name="connsiteY1" fmla="*/ 13433 h 13433"/>
                <a:gd name="connsiteX2" fmla="*/ 0 w 13433"/>
                <a:gd name="connsiteY2" fmla="*/ 6717 h 13433"/>
                <a:gd name="connsiteX3" fmla="*/ 6717 w 13433"/>
                <a:gd name="connsiteY3" fmla="*/ 0 h 13433"/>
                <a:gd name="connsiteX4" fmla="*/ 13433 w 13433"/>
                <a:gd name="connsiteY4" fmla="*/ 6717 h 1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3" h="13433">
                  <a:moveTo>
                    <a:pt x="13433" y="6717"/>
                  </a:moveTo>
                  <a:cubicBezTo>
                    <a:pt x="13433" y="10426"/>
                    <a:pt x="10426" y="13433"/>
                    <a:pt x="6717" y="13433"/>
                  </a:cubicBezTo>
                  <a:cubicBezTo>
                    <a:pt x="3007" y="13433"/>
                    <a:pt x="0" y="10426"/>
                    <a:pt x="0" y="6717"/>
                  </a:cubicBezTo>
                  <a:cubicBezTo>
                    <a:pt x="0" y="3007"/>
                    <a:pt x="3007" y="0"/>
                    <a:pt x="6717" y="0"/>
                  </a:cubicBezTo>
                  <a:cubicBezTo>
                    <a:pt x="10426" y="0"/>
                    <a:pt x="13433" y="3007"/>
                    <a:pt x="13433" y="6717"/>
                  </a:cubicBezTo>
                  <a:close/>
                </a:path>
              </a:pathLst>
            </a:custGeom>
            <a:solidFill>
              <a:srgbClr val="231F20"/>
            </a:solidFill>
            <a:ln w="4474" cap="flat">
              <a:noFill/>
              <a:prstDash val="solid"/>
              <a:miter/>
            </a:ln>
          </p:spPr>
          <p:txBody>
            <a:bodyPr rtlCol="0" anchor="ctr"/>
            <a:lstStyle/>
            <a:p>
              <a:endParaRPr lang="en-US"/>
            </a:p>
          </p:txBody>
        </p:sp>
        <p:sp>
          <p:nvSpPr>
            <p:cNvPr id="4906" name="Freeform: Shape 4905">
              <a:extLst>
                <a:ext uri="{FF2B5EF4-FFF2-40B4-BE49-F238E27FC236}">
                  <a16:creationId xmlns:a16="http://schemas.microsoft.com/office/drawing/2014/main" id="{F77B9400-8840-4FA4-B989-89F2951E3BC5}"/>
                </a:ext>
              </a:extLst>
            </p:cNvPr>
            <p:cNvSpPr/>
            <p:nvPr/>
          </p:nvSpPr>
          <p:spPr>
            <a:xfrm>
              <a:off x="1162854" y="1721807"/>
              <a:ext cx="44778" cy="53734"/>
            </a:xfrm>
            <a:custGeom>
              <a:avLst/>
              <a:gdLst>
                <a:gd name="connsiteX0" fmla="*/ 42539 w 44778"/>
                <a:gd name="connsiteY0" fmla="*/ 20150 h 53733"/>
                <a:gd name="connsiteX1" fmla="*/ 39853 w 44778"/>
                <a:gd name="connsiteY1" fmla="*/ 20150 h 53733"/>
                <a:gd name="connsiteX2" fmla="*/ 39853 w 44778"/>
                <a:gd name="connsiteY2" fmla="*/ 17463 h 53733"/>
                <a:gd name="connsiteX3" fmla="*/ 22389 w 44778"/>
                <a:gd name="connsiteY3" fmla="*/ 0 h 53733"/>
                <a:gd name="connsiteX4" fmla="*/ 4926 w 44778"/>
                <a:gd name="connsiteY4" fmla="*/ 17463 h 53733"/>
                <a:gd name="connsiteX5" fmla="*/ 4926 w 44778"/>
                <a:gd name="connsiteY5" fmla="*/ 20150 h 53733"/>
                <a:gd name="connsiteX6" fmla="*/ 2239 w 44778"/>
                <a:gd name="connsiteY6" fmla="*/ 20150 h 53733"/>
                <a:gd name="connsiteX7" fmla="*/ 0 w 44778"/>
                <a:gd name="connsiteY7" fmla="*/ 22389 h 53733"/>
                <a:gd name="connsiteX8" fmla="*/ 0 w 44778"/>
                <a:gd name="connsiteY8" fmla="*/ 52390 h 53733"/>
                <a:gd name="connsiteX9" fmla="*/ 2239 w 44778"/>
                <a:gd name="connsiteY9" fmla="*/ 54629 h 53733"/>
                <a:gd name="connsiteX10" fmla="*/ 42539 w 44778"/>
                <a:gd name="connsiteY10" fmla="*/ 54629 h 53733"/>
                <a:gd name="connsiteX11" fmla="*/ 44778 w 44778"/>
                <a:gd name="connsiteY11" fmla="*/ 52390 h 53733"/>
                <a:gd name="connsiteX12" fmla="*/ 44778 w 44778"/>
                <a:gd name="connsiteY12" fmla="*/ 22389 h 53733"/>
                <a:gd name="connsiteX13" fmla="*/ 42539 w 44778"/>
                <a:gd name="connsiteY13" fmla="*/ 20150 h 53733"/>
                <a:gd name="connsiteX14" fmla="*/ 9403 w 44778"/>
                <a:gd name="connsiteY14" fmla="*/ 17463 h 53733"/>
                <a:gd name="connsiteX15" fmla="*/ 22389 w 44778"/>
                <a:gd name="connsiteY15" fmla="*/ 4478 h 53733"/>
                <a:gd name="connsiteX16" fmla="*/ 35375 w 44778"/>
                <a:gd name="connsiteY16" fmla="*/ 17463 h 53733"/>
                <a:gd name="connsiteX17" fmla="*/ 35375 w 44778"/>
                <a:gd name="connsiteY17" fmla="*/ 20150 h 53733"/>
                <a:gd name="connsiteX18" fmla="*/ 9851 w 44778"/>
                <a:gd name="connsiteY18" fmla="*/ 20150 h 53733"/>
                <a:gd name="connsiteX19" fmla="*/ 9851 w 44778"/>
                <a:gd name="connsiteY19" fmla="*/ 17463 h 53733"/>
                <a:gd name="connsiteX20" fmla="*/ 40300 w 44778"/>
                <a:gd name="connsiteY20" fmla="*/ 50599 h 53733"/>
                <a:gd name="connsiteX21" fmla="*/ 4478 w 44778"/>
                <a:gd name="connsiteY21" fmla="*/ 50599 h 53733"/>
                <a:gd name="connsiteX22" fmla="*/ 4478 w 44778"/>
                <a:gd name="connsiteY22" fmla="*/ 24628 h 53733"/>
                <a:gd name="connsiteX23" fmla="*/ 7164 w 44778"/>
                <a:gd name="connsiteY23" fmla="*/ 24628 h 53733"/>
                <a:gd name="connsiteX24" fmla="*/ 37166 w 44778"/>
                <a:gd name="connsiteY24" fmla="*/ 24628 h 53733"/>
                <a:gd name="connsiteX25" fmla="*/ 39853 w 44778"/>
                <a:gd name="connsiteY25" fmla="*/ 24628 h 53733"/>
                <a:gd name="connsiteX26" fmla="*/ 39853 w 44778"/>
                <a:gd name="connsiteY26" fmla="*/ 50599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778" h="53733">
                  <a:moveTo>
                    <a:pt x="42539" y="20150"/>
                  </a:moveTo>
                  <a:lnTo>
                    <a:pt x="39853" y="20150"/>
                  </a:lnTo>
                  <a:lnTo>
                    <a:pt x="39853" y="17463"/>
                  </a:lnTo>
                  <a:cubicBezTo>
                    <a:pt x="39853" y="8060"/>
                    <a:pt x="32240" y="0"/>
                    <a:pt x="22389" y="0"/>
                  </a:cubicBezTo>
                  <a:cubicBezTo>
                    <a:pt x="12986" y="0"/>
                    <a:pt x="4926" y="7612"/>
                    <a:pt x="4926" y="17463"/>
                  </a:cubicBezTo>
                  <a:lnTo>
                    <a:pt x="4926" y="20150"/>
                  </a:lnTo>
                  <a:lnTo>
                    <a:pt x="2239" y="20150"/>
                  </a:lnTo>
                  <a:cubicBezTo>
                    <a:pt x="896" y="20150"/>
                    <a:pt x="0" y="21046"/>
                    <a:pt x="0" y="22389"/>
                  </a:cubicBezTo>
                  <a:lnTo>
                    <a:pt x="0" y="52390"/>
                  </a:lnTo>
                  <a:cubicBezTo>
                    <a:pt x="0" y="53734"/>
                    <a:pt x="896" y="54629"/>
                    <a:pt x="2239" y="54629"/>
                  </a:cubicBezTo>
                  <a:lnTo>
                    <a:pt x="42539" y="54629"/>
                  </a:lnTo>
                  <a:cubicBezTo>
                    <a:pt x="43883" y="54629"/>
                    <a:pt x="44778" y="53734"/>
                    <a:pt x="44778" y="52390"/>
                  </a:cubicBezTo>
                  <a:lnTo>
                    <a:pt x="44778" y="22389"/>
                  </a:lnTo>
                  <a:cubicBezTo>
                    <a:pt x="44778" y="21494"/>
                    <a:pt x="43883" y="20150"/>
                    <a:pt x="42539" y="20150"/>
                  </a:cubicBezTo>
                  <a:close/>
                  <a:moveTo>
                    <a:pt x="9403" y="17463"/>
                  </a:moveTo>
                  <a:cubicBezTo>
                    <a:pt x="9403" y="10299"/>
                    <a:pt x="15225" y="4478"/>
                    <a:pt x="22389" y="4478"/>
                  </a:cubicBezTo>
                  <a:cubicBezTo>
                    <a:pt x="29554" y="4478"/>
                    <a:pt x="35375" y="10299"/>
                    <a:pt x="35375" y="17463"/>
                  </a:cubicBezTo>
                  <a:lnTo>
                    <a:pt x="35375" y="20150"/>
                  </a:lnTo>
                  <a:lnTo>
                    <a:pt x="9851" y="20150"/>
                  </a:lnTo>
                  <a:lnTo>
                    <a:pt x="9851" y="17463"/>
                  </a:lnTo>
                  <a:close/>
                  <a:moveTo>
                    <a:pt x="40300" y="50599"/>
                  </a:moveTo>
                  <a:lnTo>
                    <a:pt x="4478" y="50599"/>
                  </a:lnTo>
                  <a:lnTo>
                    <a:pt x="4478" y="24628"/>
                  </a:lnTo>
                  <a:lnTo>
                    <a:pt x="7164" y="24628"/>
                  </a:lnTo>
                  <a:lnTo>
                    <a:pt x="37166" y="24628"/>
                  </a:lnTo>
                  <a:lnTo>
                    <a:pt x="39853" y="24628"/>
                  </a:lnTo>
                  <a:lnTo>
                    <a:pt x="39853" y="50599"/>
                  </a:lnTo>
                  <a:close/>
                </a:path>
              </a:pathLst>
            </a:custGeom>
            <a:solidFill>
              <a:srgbClr val="231F20"/>
            </a:solidFill>
            <a:ln w="4474" cap="flat">
              <a:noFill/>
              <a:prstDash val="solid"/>
              <a:miter/>
            </a:ln>
          </p:spPr>
          <p:txBody>
            <a:bodyPr rtlCol="0" anchor="ctr"/>
            <a:lstStyle/>
            <a:p>
              <a:endParaRPr lang="en-US"/>
            </a:p>
          </p:txBody>
        </p:sp>
        <p:sp>
          <p:nvSpPr>
            <p:cNvPr id="4907" name="Freeform: Shape 4906">
              <a:extLst>
                <a:ext uri="{FF2B5EF4-FFF2-40B4-BE49-F238E27FC236}">
                  <a16:creationId xmlns:a16="http://schemas.microsoft.com/office/drawing/2014/main" id="{CB882E66-9085-473B-8800-1E3F8A771054}"/>
                </a:ext>
              </a:extLst>
            </p:cNvPr>
            <p:cNvSpPr/>
            <p:nvPr/>
          </p:nvSpPr>
          <p:spPr>
            <a:xfrm>
              <a:off x="1180317" y="1754495"/>
              <a:ext cx="8956" cy="13433"/>
            </a:xfrm>
            <a:custGeom>
              <a:avLst/>
              <a:gdLst>
                <a:gd name="connsiteX0" fmla="*/ 9851 w 8955"/>
                <a:gd name="connsiteY0" fmla="*/ 4926 h 13433"/>
                <a:gd name="connsiteX1" fmla="*/ 4926 w 8955"/>
                <a:gd name="connsiteY1" fmla="*/ 0 h 13433"/>
                <a:gd name="connsiteX2" fmla="*/ 0 w 8955"/>
                <a:gd name="connsiteY2" fmla="*/ 4926 h 13433"/>
                <a:gd name="connsiteX3" fmla="*/ 3582 w 8955"/>
                <a:gd name="connsiteY3" fmla="*/ 9851 h 13433"/>
                <a:gd name="connsiteX4" fmla="*/ 3582 w 8955"/>
                <a:gd name="connsiteY4" fmla="*/ 15225 h 13433"/>
                <a:gd name="connsiteX5" fmla="*/ 6717 w 8955"/>
                <a:gd name="connsiteY5" fmla="*/ 15225 h 13433"/>
                <a:gd name="connsiteX6" fmla="*/ 6717 w 8955"/>
                <a:gd name="connsiteY6" fmla="*/ 9851 h 13433"/>
                <a:gd name="connsiteX7" fmla="*/ 9851 w 8955"/>
                <a:gd name="connsiteY7" fmla="*/ 4926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9851" y="4926"/>
                  </a:moveTo>
                  <a:cubicBezTo>
                    <a:pt x="9851" y="2239"/>
                    <a:pt x="7612" y="0"/>
                    <a:pt x="4926" y="0"/>
                  </a:cubicBezTo>
                  <a:cubicBezTo>
                    <a:pt x="2239" y="0"/>
                    <a:pt x="0" y="2239"/>
                    <a:pt x="0" y="4926"/>
                  </a:cubicBezTo>
                  <a:cubicBezTo>
                    <a:pt x="0" y="7164"/>
                    <a:pt x="1343" y="8956"/>
                    <a:pt x="3582" y="9851"/>
                  </a:cubicBezTo>
                  <a:lnTo>
                    <a:pt x="3582" y="15225"/>
                  </a:lnTo>
                  <a:lnTo>
                    <a:pt x="6717" y="15225"/>
                  </a:lnTo>
                  <a:lnTo>
                    <a:pt x="6717" y="9851"/>
                  </a:lnTo>
                  <a:cubicBezTo>
                    <a:pt x="8508" y="8956"/>
                    <a:pt x="9851" y="7164"/>
                    <a:pt x="9851" y="4926"/>
                  </a:cubicBezTo>
                  <a:close/>
                </a:path>
              </a:pathLst>
            </a:custGeom>
            <a:solidFill>
              <a:srgbClr val="231F20"/>
            </a:solidFill>
            <a:ln w="4474" cap="flat">
              <a:noFill/>
              <a:prstDash val="solid"/>
              <a:miter/>
            </a:ln>
          </p:spPr>
          <p:txBody>
            <a:bodyPr rtlCol="0" anchor="ctr"/>
            <a:lstStyle/>
            <a:p>
              <a:endParaRPr lang="en-US"/>
            </a:p>
          </p:txBody>
        </p:sp>
      </p:grpSp>
      <p:sp>
        <p:nvSpPr>
          <p:cNvPr id="4908" name="Freeform: Shape 4907">
            <a:extLst>
              <a:ext uri="{FF2B5EF4-FFF2-40B4-BE49-F238E27FC236}">
                <a16:creationId xmlns:a16="http://schemas.microsoft.com/office/drawing/2014/main" id="{BF6F12D0-8BF6-4E9F-9214-173BD926911F}"/>
              </a:ext>
              <a:ext uri="{C183D7F6-B498-43B3-948B-1728B52AA6E4}">
                <adec:decorative xmlns:adec="http://schemas.microsoft.com/office/drawing/2017/decorative" val="1"/>
              </a:ext>
            </a:extLst>
          </p:cNvPr>
          <p:cNvSpPr>
            <a:spLocks noChangeAspect="1"/>
          </p:cNvSpPr>
          <p:nvPr/>
        </p:nvSpPr>
        <p:spPr>
          <a:xfrm>
            <a:off x="3730877" y="2723676"/>
            <a:ext cx="125379" cy="152246"/>
          </a:xfrm>
          <a:custGeom>
            <a:avLst/>
            <a:gdLst>
              <a:gd name="connsiteX0" fmla="*/ 122692 w 125378"/>
              <a:gd name="connsiteY0" fmla="*/ 127618 h 152245"/>
              <a:gd name="connsiteX1" fmla="*/ 84183 w 125378"/>
              <a:gd name="connsiteY1" fmla="*/ 127618 h 152245"/>
              <a:gd name="connsiteX2" fmla="*/ 64480 w 125378"/>
              <a:gd name="connsiteY2" fmla="*/ 107915 h 152245"/>
              <a:gd name="connsiteX3" fmla="*/ 64480 w 125378"/>
              <a:gd name="connsiteY3" fmla="*/ 98512 h 152245"/>
              <a:gd name="connsiteX4" fmla="*/ 111498 w 125378"/>
              <a:gd name="connsiteY4" fmla="*/ 49256 h 152245"/>
              <a:gd name="connsiteX5" fmla="*/ 62242 w 125378"/>
              <a:gd name="connsiteY5" fmla="*/ 0 h 152245"/>
              <a:gd name="connsiteX6" fmla="*/ 28210 w 125378"/>
              <a:gd name="connsiteY6" fmla="*/ 13881 h 152245"/>
              <a:gd name="connsiteX7" fmla="*/ 27762 w 125378"/>
              <a:gd name="connsiteY7" fmla="*/ 14329 h 152245"/>
              <a:gd name="connsiteX8" fmla="*/ 27762 w 125378"/>
              <a:gd name="connsiteY8" fmla="*/ 14777 h 152245"/>
              <a:gd name="connsiteX9" fmla="*/ 13433 w 125378"/>
              <a:gd name="connsiteY9" fmla="*/ 49704 h 152245"/>
              <a:gd name="connsiteX10" fmla="*/ 27762 w 125378"/>
              <a:gd name="connsiteY10" fmla="*/ 84183 h 152245"/>
              <a:gd name="connsiteX11" fmla="*/ 28210 w 125378"/>
              <a:gd name="connsiteY11" fmla="*/ 84631 h 152245"/>
              <a:gd name="connsiteX12" fmla="*/ 29106 w 125378"/>
              <a:gd name="connsiteY12" fmla="*/ 85079 h 152245"/>
              <a:gd name="connsiteX13" fmla="*/ 60451 w 125378"/>
              <a:gd name="connsiteY13" fmla="*/ 98512 h 152245"/>
              <a:gd name="connsiteX14" fmla="*/ 60451 w 125378"/>
              <a:gd name="connsiteY14" fmla="*/ 107915 h 152245"/>
              <a:gd name="connsiteX15" fmla="*/ 40748 w 125378"/>
              <a:gd name="connsiteY15" fmla="*/ 127618 h 152245"/>
              <a:gd name="connsiteX16" fmla="*/ 2239 w 125378"/>
              <a:gd name="connsiteY16" fmla="*/ 127618 h 152245"/>
              <a:gd name="connsiteX17" fmla="*/ 0 w 125378"/>
              <a:gd name="connsiteY17" fmla="*/ 129857 h 152245"/>
              <a:gd name="connsiteX18" fmla="*/ 2239 w 125378"/>
              <a:gd name="connsiteY18" fmla="*/ 132096 h 152245"/>
              <a:gd name="connsiteX19" fmla="*/ 40748 w 125378"/>
              <a:gd name="connsiteY19" fmla="*/ 132096 h 152245"/>
              <a:gd name="connsiteX20" fmla="*/ 62689 w 125378"/>
              <a:gd name="connsiteY20" fmla="*/ 152246 h 152245"/>
              <a:gd name="connsiteX21" fmla="*/ 84631 w 125378"/>
              <a:gd name="connsiteY21" fmla="*/ 132096 h 152245"/>
              <a:gd name="connsiteX22" fmla="*/ 123140 w 125378"/>
              <a:gd name="connsiteY22" fmla="*/ 132096 h 152245"/>
              <a:gd name="connsiteX23" fmla="*/ 125379 w 125378"/>
              <a:gd name="connsiteY23" fmla="*/ 129857 h 152245"/>
              <a:gd name="connsiteX24" fmla="*/ 122692 w 125378"/>
              <a:gd name="connsiteY24" fmla="*/ 127618 h 152245"/>
              <a:gd name="connsiteX25" fmla="*/ 17911 w 125378"/>
              <a:gd name="connsiteY25" fmla="*/ 51495 h 152245"/>
              <a:gd name="connsiteX26" fmla="*/ 40300 w 125378"/>
              <a:gd name="connsiteY26" fmla="*/ 51495 h 152245"/>
              <a:gd name="connsiteX27" fmla="*/ 43435 w 125378"/>
              <a:gd name="connsiteY27" fmla="*/ 71197 h 152245"/>
              <a:gd name="connsiteX28" fmla="*/ 30001 w 125378"/>
              <a:gd name="connsiteY28" fmla="*/ 79705 h 152245"/>
              <a:gd name="connsiteX29" fmla="*/ 17911 w 125378"/>
              <a:gd name="connsiteY29" fmla="*/ 51495 h 152245"/>
              <a:gd name="connsiteX30" fmla="*/ 29553 w 125378"/>
              <a:gd name="connsiteY30" fmla="*/ 18807 h 152245"/>
              <a:gd name="connsiteX31" fmla="*/ 43435 w 125378"/>
              <a:gd name="connsiteY31" fmla="*/ 27315 h 152245"/>
              <a:gd name="connsiteX32" fmla="*/ 40300 w 125378"/>
              <a:gd name="connsiteY32" fmla="*/ 47017 h 152245"/>
              <a:gd name="connsiteX33" fmla="*/ 17911 w 125378"/>
              <a:gd name="connsiteY33" fmla="*/ 47017 h 152245"/>
              <a:gd name="connsiteX34" fmla="*/ 29553 w 125378"/>
              <a:gd name="connsiteY34" fmla="*/ 18807 h 152245"/>
              <a:gd name="connsiteX35" fmla="*/ 32688 w 125378"/>
              <a:gd name="connsiteY35" fmla="*/ 15672 h 152245"/>
              <a:gd name="connsiteX36" fmla="*/ 54181 w 125378"/>
              <a:gd name="connsiteY36" fmla="*/ 5373 h 152245"/>
              <a:gd name="connsiteX37" fmla="*/ 44778 w 125378"/>
              <a:gd name="connsiteY37" fmla="*/ 23285 h 152245"/>
              <a:gd name="connsiteX38" fmla="*/ 32688 w 125378"/>
              <a:gd name="connsiteY38" fmla="*/ 15672 h 152245"/>
              <a:gd name="connsiteX39" fmla="*/ 95377 w 125378"/>
              <a:gd name="connsiteY39" fmla="*/ 18807 h 152245"/>
              <a:gd name="connsiteX40" fmla="*/ 107468 w 125378"/>
              <a:gd name="connsiteY40" fmla="*/ 47017 h 152245"/>
              <a:gd name="connsiteX41" fmla="*/ 85526 w 125378"/>
              <a:gd name="connsiteY41" fmla="*/ 47017 h 152245"/>
              <a:gd name="connsiteX42" fmla="*/ 82392 w 125378"/>
              <a:gd name="connsiteY42" fmla="*/ 27315 h 152245"/>
              <a:gd name="connsiteX43" fmla="*/ 95377 w 125378"/>
              <a:gd name="connsiteY43" fmla="*/ 18807 h 152245"/>
              <a:gd name="connsiteX44" fmla="*/ 80601 w 125378"/>
              <a:gd name="connsiteY44" fmla="*/ 22837 h 152245"/>
              <a:gd name="connsiteX45" fmla="*/ 71197 w 125378"/>
              <a:gd name="connsiteY45" fmla="*/ 5373 h 152245"/>
              <a:gd name="connsiteX46" fmla="*/ 91795 w 125378"/>
              <a:gd name="connsiteY46" fmla="*/ 15672 h 152245"/>
              <a:gd name="connsiteX47" fmla="*/ 80601 w 125378"/>
              <a:gd name="connsiteY47" fmla="*/ 22837 h 152245"/>
              <a:gd name="connsiteX48" fmla="*/ 95377 w 125378"/>
              <a:gd name="connsiteY48" fmla="*/ 79705 h 152245"/>
              <a:gd name="connsiteX49" fmla="*/ 82392 w 125378"/>
              <a:gd name="connsiteY49" fmla="*/ 71197 h 152245"/>
              <a:gd name="connsiteX50" fmla="*/ 85526 w 125378"/>
              <a:gd name="connsiteY50" fmla="*/ 51495 h 152245"/>
              <a:gd name="connsiteX51" fmla="*/ 107468 w 125378"/>
              <a:gd name="connsiteY51" fmla="*/ 51495 h 152245"/>
              <a:gd name="connsiteX52" fmla="*/ 95377 w 125378"/>
              <a:gd name="connsiteY52" fmla="*/ 79705 h 152245"/>
              <a:gd name="connsiteX53" fmla="*/ 91795 w 125378"/>
              <a:gd name="connsiteY53" fmla="*/ 82840 h 152245"/>
              <a:gd name="connsiteX54" fmla="*/ 71197 w 125378"/>
              <a:gd name="connsiteY54" fmla="*/ 93139 h 152245"/>
              <a:gd name="connsiteX55" fmla="*/ 80601 w 125378"/>
              <a:gd name="connsiteY55" fmla="*/ 75675 h 152245"/>
              <a:gd name="connsiteX56" fmla="*/ 91795 w 125378"/>
              <a:gd name="connsiteY56" fmla="*/ 82840 h 152245"/>
              <a:gd name="connsiteX57" fmla="*/ 77914 w 125378"/>
              <a:gd name="connsiteY57" fmla="*/ 69406 h 152245"/>
              <a:gd name="connsiteX58" fmla="*/ 62689 w 125378"/>
              <a:gd name="connsiteY58" fmla="*/ 66719 h 152245"/>
              <a:gd name="connsiteX59" fmla="*/ 47912 w 125378"/>
              <a:gd name="connsiteY59" fmla="*/ 68958 h 152245"/>
              <a:gd name="connsiteX60" fmla="*/ 45226 w 125378"/>
              <a:gd name="connsiteY60" fmla="*/ 51047 h 152245"/>
              <a:gd name="connsiteX61" fmla="*/ 81496 w 125378"/>
              <a:gd name="connsiteY61" fmla="*/ 51047 h 152245"/>
              <a:gd name="connsiteX62" fmla="*/ 77914 w 125378"/>
              <a:gd name="connsiteY62" fmla="*/ 69406 h 152245"/>
              <a:gd name="connsiteX63" fmla="*/ 80601 w 125378"/>
              <a:gd name="connsiteY63" fmla="*/ 47017 h 152245"/>
              <a:gd name="connsiteX64" fmla="*/ 44330 w 125378"/>
              <a:gd name="connsiteY64" fmla="*/ 47017 h 152245"/>
              <a:gd name="connsiteX65" fmla="*/ 47017 w 125378"/>
              <a:gd name="connsiteY65" fmla="*/ 29106 h 152245"/>
              <a:gd name="connsiteX66" fmla="*/ 61794 w 125378"/>
              <a:gd name="connsiteY66" fmla="*/ 31345 h 152245"/>
              <a:gd name="connsiteX67" fmla="*/ 77018 w 125378"/>
              <a:gd name="connsiteY67" fmla="*/ 28658 h 152245"/>
              <a:gd name="connsiteX68" fmla="*/ 80601 w 125378"/>
              <a:gd name="connsiteY68" fmla="*/ 47017 h 152245"/>
              <a:gd name="connsiteX69" fmla="*/ 44778 w 125378"/>
              <a:gd name="connsiteY69" fmla="*/ 75227 h 152245"/>
              <a:gd name="connsiteX70" fmla="*/ 54181 w 125378"/>
              <a:gd name="connsiteY70" fmla="*/ 93139 h 152245"/>
              <a:gd name="connsiteX71" fmla="*/ 33136 w 125378"/>
              <a:gd name="connsiteY71" fmla="*/ 82840 h 152245"/>
              <a:gd name="connsiteX72" fmla="*/ 44778 w 125378"/>
              <a:gd name="connsiteY72" fmla="*/ 75227 h 152245"/>
              <a:gd name="connsiteX73" fmla="*/ 48808 w 125378"/>
              <a:gd name="connsiteY73" fmla="*/ 73436 h 152245"/>
              <a:gd name="connsiteX74" fmla="*/ 62242 w 125378"/>
              <a:gd name="connsiteY74" fmla="*/ 71197 h 152245"/>
              <a:gd name="connsiteX75" fmla="*/ 76123 w 125378"/>
              <a:gd name="connsiteY75" fmla="*/ 73436 h 152245"/>
              <a:gd name="connsiteX76" fmla="*/ 64928 w 125378"/>
              <a:gd name="connsiteY76" fmla="*/ 93586 h 152245"/>
              <a:gd name="connsiteX77" fmla="*/ 62242 w 125378"/>
              <a:gd name="connsiteY77" fmla="*/ 93586 h 152245"/>
              <a:gd name="connsiteX78" fmla="*/ 60003 w 125378"/>
              <a:gd name="connsiteY78" fmla="*/ 93586 h 152245"/>
              <a:gd name="connsiteX79" fmla="*/ 48808 w 125378"/>
              <a:gd name="connsiteY79" fmla="*/ 73436 h 152245"/>
              <a:gd name="connsiteX80" fmla="*/ 64928 w 125378"/>
              <a:gd name="connsiteY80" fmla="*/ 4478 h 152245"/>
              <a:gd name="connsiteX81" fmla="*/ 76123 w 125378"/>
              <a:gd name="connsiteY81" fmla="*/ 24628 h 152245"/>
              <a:gd name="connsiteX82" fmla="*/ 62242 w 125378"/>
              <a:gd name="connsiteY82" fmla="*/ 26867 h 152245"/>
              <a:gd name="connsiteX83" fmla="*/ 48808 w 125378"/>
              <a:gd name="connsiteY83" fmla="*/ 24628 h 152245"/>
              <a:gd name="connsiteX84" fmla="*/ 60003 w 125378"/>
              <a:gd name="connsiteY84" fmla="*/ 4478 h 152245"/>
              <a:gd name="connsiteX85" fmla="*/ 62242 w 125378"/>
              <a:gd name="connsiteY85" fmla="*/ 4478 h 152245"/>
              <a:gd name="connsiteX86" fmla="*/ 64928 w 125378"/>
              <a:gd name="connsiteY86" fmla="*/ 4478 h 152245"/>
              <a:gd name="connsiteX87" fmla="*/ 62242 w 125378"/>
              <a:gd name="connsiteY87" fmla="*/ 147768 h 152245"/>
              <a:gd name="connsiteX88" fmla="*/ 44330 w 125378"/>
              <a:gd name="connsiteY88" fmla="*/ 129857 h 152245"/>
              <a:gd name="connsiteX89" fmla="*/ 44330 w 125378"/>
              <a:gd name="connsiteY89" fmla="*/ 129857 h 152245"/>
              <a:gd name="connsiteX90" fmla="*/ 44330 w 125378"/>
              <a:gd name="connsiteY90" fmla="*/ 129857 h 152245"/>
              <a:gd name="connsiteX91" fmla="*/ 62242 w 125378"/>
              <a:gd name="connsiteY91" fmla="*/ 111945 h 152245"/>
              <a:gd name="connsiteX92" fmla="*/ 80153 w 125378"/>
              <a:gd name="connsiteY92" fmla="*/ 129857 h 152245"/>
              <a:gd name="connsiteX93" fmla="*/ 62242 w 125378"/>
              <a:gd name="connsiteY93" fmla="*/ 14776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25378" h="152245">
                <a:moveTo>
                  <a:pt x="122692" y="127618"/>
                </a:moveTo>
                <a:lnTo>
                  <a:pt x="84183" y="127618"/>
                </a:lnTo>
                <a:cubicBezTo>
                  <a:pt x="83287" y="116871"/>
                  <a:pt x="74779" y="108811"/>
                  <a:pt x="64480" y="107915"/>
                </a:cubicBezTo>
                <a:lnTo>
                  <a:pt x="64480" y="98512"/>
                </a:lnTo>
                <a:cubicBezTo>
                  <a:pt x="90452" y="97169"/>
                  <a:pt x="111498" y="75675"/>
                  <a:pt x="111498" y="49256"/>
                </a:cubicBezTo>
                <a:cubicBezTo>
                  <a:pt x="111498" y="21941"/>
                  <a:pt x="89556" y="0"/>
                  <a:pt x="62242" y="0"/>
                </a:cubicBezTo>
                <a:cubicBezTo>
                  <a:pt x="48808" y="0"/>
                  <a:pt x="37166" y="5373"/>
                  <a:pt x="28210" y="13881"/>
                </a:cubicBezTo>
                <a:cubicBezTo>
                  <a:pt x="28210" y="13881"/>
                  <a:pt x="27762" y="13881"/>
                  <a:pt x="27762" y="14329"/>
                </a:cubicBezTo>
                <a:cubicBezTo>
                  <a:pt x="27762" y="14329"/>
                  <a:pt x="27762" y="14329"/>
                  <a:pt x="27762" y="14777"/>
                </a:cubicBezTo>
                <a:cubicBezTo>
                  <a:pt x="18807" y="23732"/>
                  <a:pt x="13433" y="35823"/>
                  <a:pt x="13433" y="49704"/>
                </a:cubicBezTo>
                <a:cubicBezTo>
                  <a:pt x="13433" y="63137"/>
                  <a:pt x="18807" y="75227"/>
                  <a:pt x="27762" y="84183"/>
                </a:cubicBezTo>
                <a:cubicBezTo>
                  <a:pt x="27762" y="84183"/>
                  <a:pt x="27762" y="84631"/>
                  <a:pt x="28210" y="84631"/>
                </a:cubicBezTo>
                <a:cubicBezTo>
                  <a:pt x="28658" y="85079"/>
                  <a:pt x="28658" y="85079"/>
                  <a:pt x="29106" y="85079"/>
                </a:cubicBezTo>
                <a:cubicBezTo>
                  <a:pt x="37614" y="93139"/>
                  <a:pt x="48360" y="98064"/>
                  <a:pt x="60451" y="98512"/>
                </a:cubicBezTo>
                <a:lnTo>
                  <a:pt x="60451" y="107915"/>
                </a:lnTo>
                <a:cubicBezTo>
                  <a:pt x="49704" y="108811"/>
                  <a:pt x="41644" y="117319"/>
                  <a:pt x="40748" y="127618"/>
                </a:cubicBezTo>
                <a:lnTo>
                  <a:pt x="2239" y="127618"/>
                </a:lnTo>
                <a:cubicBezTo>
                  <a:pt x="895" y="127618"/>
                  <a:pt x="0" y="128513"/>
                  <a:pt x="0" y="129857"/>
                </a:cubicBezTo>
                <a:cubicBezTo>
                  <a:pt x="0" y="131200"/>
                  <a:pt x="895" y="132096"/>
                  <a:pt x="2239" y="132096"/>
                </a:cubicBezTo>
                <a:lnTo>
                  <a:pt x="40748" y="132096"/>
                </a:lnTo>
                <a:cubicBezTo>
                  <a:pt x="42091" y="143290"/>
                  <a:pt x="51495" y="152246"/>
                  <a:pt x="62689" y="152246"/>
                </a:cubicBezTo>
                <a:cubicBezTo>
                  <a:pt x="73884" y="152246"/>
                  <a:pt x="83735" y="143290"/>
                  <a:pt x="84631" y="132096"/>
                </a:cubicBezTo>
                <a:lnTo>
                  <a:pt x="123140" y="132096"/>
                </a:lnTo>
                <a:cubicBezTo>
                  <a:pt x="124483" y="132096"/>
                  <a:pt x="125379" y="131200"/>
                  <a:pt x="125379" y="129857"/>
                </a:cubicBezTo>
                <a:cubicBezTo>
                  <a:pt x="124931" y="128513"/>
                  <a:pt x="124035" y="127618"/>
                  <a:pt x="122692" y="127618"/>
                </a:cubicBezTo>
                <a:close/>
                <a:moveTo>
                  <a:pt x="17911" y="51495"/>
                </a:moveTo>
                <a:lnTo>
                  <a:pt x="40300" y="51495"/>
                </a:lnTo>
                <a:cubicBezTo>
                  <a:pt x="40300" y="58212"/>
                  <a:pt x="41644" y="64481"/>
                  <a:pt x="43435" y="71197"/>
                </a:cubicBezTo>
                <a:cubicBezTo>
                  <a:pt x="38509" y="73436"/>
                  <a:pt x="34031" y="76123"/>
                  <a:pt x="30001" y="79705"/>
                </a:cubicBezTo>
                <a:cubicBezTo>
                  <a:pt x="22837" y="72093"/>
                  <a:pt x="18359" y="62242"/>
                  <a:pt x="17911" y="51495"/>
                </a:cubicBezTo>
                <a:close/>
                <a:moveTo>
                  <a:pt x="29553" y="18807"/>
                </a:moveTo>
                <a:cubicBezTo>
                  <a:pt x="33584" y="22389"/>
                  <a:pt x="38061" y="25524"/>
                  <a:pt x="43435" y="27315"/>
                </a:cubicBezTo>
                <a:cubicBezTo>
                  <a:pt x="41644" y="33584"/>
                  <a:pt x="40300" y="40300"/>
                  <a:pt x="40300" y="47017"/>
                </a:cubicBezTo>
                <a:lnTo>
                  <a:pt x="17911" y="47017"/>
                </a:lnTo>
                <a:cubicBezTo>
                  <a:pt x="18359" y="35823"/>
                  <a:pt x="22837" y="25971"/>
                  <a:pt x="29553" y="18807"/>
                </a:cubicBezTo>
                <a:close/>
                <a:moveTo>
                  <a:pt x="32688" y="15672"/>
                </a:moveTo>
                <a:cubicBezTo>
                  <a:pt x="38509" y="10299"/>
                  <a:pt x="46121" y="6717"/>
                  <a:pt x="54181" y="5373"/>
                </a:cubicBezTo>
                <a:cubicBezTo>
                  <a:pt x="50151" y="10747"/>
                  <a:pt x="47017" y="17016"/>
                  <a:pt x="44778" y="23285"/>
                </a:cubicBezTo>
                <a:cubicBezTo>
                  <a:pt x="40300" y="21046"/>
                  <a:pt x="36270" y="18807"/>
                  <a:pt x="32688" y="15672"/>
                </a:cubicBezTo>
                <a:close/>
                <a:moveTo>
                  <a:pt x="95377" y="18807"/>
                </a:moveTo>
                <a:cubicBezTo>
                  <a:pt x="102542" y="26419"/>
                  <a:pt x="107020" y="36270"/>
                  <a:pt x="107468" y="47017"/>
                </a:cubicBezTo>
                <a:lnTo>
                  <a:pt x="85526" y="47017"/>
                </a:lnTo>
                <a:cubicBezTo>
                  <a:pt x="85526" y="40300"/>
                  <a:pt x="84183" y="33584"/>
                  <a:pt x="82392" y="27315"/>
                </a:cubicBezTo>
                <a:cubicBezTo>
                  <a:pt x="86870" y="25076"/>
                  <a:pt x="91347" y="21941"/>
                  <a:pt x="95377" y="18807"/>
                </a:cubicBezTo>
                <a:close/>
                <a:moveTo>
                  <a:pt x="80601" y="22837"/>
                </a:moveTo>
                <a:cubicBezTo>
                  <a:pt x="78362" y="16568"/>
                  <a:pt x="75227" y="10747"/>
                  <a:pt x="71197" y="5373"/>
                </a:cubicBezTo>
                <a:cubicBezTo>
                  <a:pt x="79257" y="6717"/>
                  <a:pt x="85974" y="10747"/>
                  <a:pt x="91795" y="15672"/>
                </a:cubicBezTo>
                <a:cubicBezTo>
                  <a:pt x="88661" y="18359"/>
                  <a:pt x="84631" y="21046"/>
                  <a:pt x="80601" y="22837"/>
                </a:cubicBezTo>
                <a:close/>
                <a:moveTo>
                  <a:pt x="95377" y="79705"/>
                </a:moveTo>
                <a:cubicBezTo>
                  <a:pt x="91347" y="76123"/>
                  <a:pt x="86870" y="73436"/>
                  <a:pt x="82392" y="71197"/>
                </a:cubicBezTo>
                <a:cubicBezTo>
                  <a:pt x="84183" y="64928"/>
                  <a:pt x="85526" y="58212"/>
                  <a:pt x="85526" y="51495"/>
                </a:cubicBezTo>
                <a:lnTo>
                  <a:pt x="107468" y="51495"/>
                </a:lnTo>
                <a:cubicBezTo>
                  <a:pt x="106572" y="62242"/>
                  <a:pt x="102094" y="72093"/>
                  <a:pt x="95377" y="79705"/>
                </a:cubicBezTo>
                <a:close/>
                <a:moveTo>
                  <a:pt x="91795" y="82840"/>
                </a:moveTo>
                <a:cubicBezTo>
                  <a:pt x="85974" y="87765"/>
                  <a:pt x="78809" y="91347"/>
                  <a:pt x="71197" y="93139"/>
                </a:cubicBezTo>
                <a:cubicBezTo>
                  <a:pt x="75227" y="87765"/>
                  <a:pt x="78362" y="81944"/>
                  <a:pt x="80601" y="75675"/>
                </a:cubicBezTo>
                <a:cubicBezTo>
                  <a:pt x="84631" y="77466"/>
                  <a:pt x="88661" y="79705"/>
                  <a:pt x="91795" y="82840"/>
                </a:cubicBezTo>
                <a:close/>
                <a:moveTo>
                  <a:pt x="77914" y="69406"/>
                </a:moveTo>
                <a:cubicBezTo>
                  <a:pt x="72988" y="67615"/>
                  <a:pt x="67615" y="66719"/>
                  <a:pt x="62689" y="66719"/>
                </a:cubicBezTo>
                <a:cubicBezTo>
                  <a:pt x="57764" y="66719"/>
                  <a:pt x="52390" y="67615"/>
                  <a:pt x="47912" y="68958"/>
                </a:cubicBezTo>
                <a:cubicBezTo>
                  <a:pt x="46121" y="63137"/>
                  <a:pt x="45226" y="57316"/>
                  <a:pt x="45226" y="51047"/>
                </a:cubicBezTo>
                <a:lnTo>
                  <a:pt x="81496" y="51047"/>
                </a:lnTo>
                <a:cubicBezTo>
                  <a:pt x="80601" y="57764"/>
                  <a:pt x="79705" y="63585"/>
                  <a:pt x="77914" y="69406"/>
                </a:cubicBezTo>
                <a:close/>
                <a:moveTo>
                  <a:pt x="80601" y="47017"/>
                </a:moveTo>
                <a:lnTo>
                  <a:pt x="44330" y="47017"/>
                </a:lnTo>
                <a:cubicBezTo>
                  <a:pt x="44330" y="40748"/>
                  <a:pt x="45674" y="34927"/>
                  <a:pt x="47017" y="29106"/>
                </a:cubicBezTo>
                <a:cubicBezTo>
                  <a:pt x="51943" y="30449"/>
                  <a:pt x="56868" y="31345"/>
                  <a:pt x="61794" y="31345"/>
                </a:cubicBezTo>
                <a:cubicBezTo>
                  <a:pt x="67167" y="31345"/>
                  <a:pt x="72093" y="30449"/>
                  <a:pt x="77018" y="28658"/>
                </a:cubicBezTo>
                <a:cubicBezTo>
                  <a:pt x="79705" y="34479"/>
                  <a:pt x="80601" y="40748"/>
                  <a:pt x="80601" y="47017"/>
                </a:cubicBezTo>
                <a:close/>
                <a:moveTo>
                  <a:pt x="44778" y="75227"/>
                </a:moveTo>
                <a:cubicBezTo>
                  <a:pt x="47017" y="81496"/>
                  <a:pt x="50151" y="87765"/>
                  <a:pt x="54181" y="93139"/>
                </a:cubicBezTo>
                <a:cubicBezTo>
                  <a:pt x="46121" y="91795"/>
                  <a:pt x="38957" y="87765"/>
                  <a:pt x="33136" y="82840"/>
                </a:cubicBezTo>
                <a:cubicBezTo>
                  <a:pt x="36270" y="79705"/>
                  <a:pt x="40300" y="77018"/>
                  <a:pt x="44778" y="75227"/>
                </a:cubicBezTo>
                <a:close/>
                <a:moveTo>
                  <a:pt x="48808" y="73436"/>
                </a:moveTo>
                <a:cubicBezTo>
                  <a:pt x="53286" y="72093"/>
                  <a:pt x="57764" y="71197"/>
                  <a:pt x="62242" y="71197"/>
                </a:cubicBezTo>
                <a:cubicBezTo>
                  <a:pt x="67167" y="71197"/>
                  <a:pt x="71645" y="72093"/>
                  <a:pt x="76123" y="73436"/>
                </a:cubicBezTo>
                <a:cubicBezTo>
                  <a:pt x="73436" y="80601"/>
                  <a:pt x="69854" y="87317"/>
                  <a:pt x="64928" y="93586"/>
                </a:cubicBezTo>
                <a:cubicBezTo>
                  <a:pt x="64033" y="93586"/>
                  <a:pt x="63137" y="93586"/>
                  <a:pt x="62242" y="93586"/>
                </a:cubicBezTo>
                <a:cubicBezTo>
                  <a:pt x="61346" y="93586"/>
                  <a:pt x="60898" y="93586"/>
                  <a:pt x="60003" y="93586"/>
                </a:cubicBezTo>
                <a:cubicBezTo>
                  <a:pt x="55525" y="87765"/>
                  <a:pt x="51495" y="81049"/>
                  <a:pt x="48808" y="73436"/>
                </a:cubicBezTo>
                <a:close/>
                <a:moveTo>
                  <a:pt x="64928" y="4478"/>
                </a:moveTo>
                <a:cubicBezTo>
                  <a:pt x="69854" y="10299"/>
                  <a:pt x="73436" y="17463"/>
                  <a:pt x="76123" y="24628"/>
                </a:cubicBezTo>
                <a:cubicBezTo>
                  <a:pt x="71645" y="25971"/>
                  <a:pt x="66719" y="26867"/>
                  <a:pt x="62242" y="26867"/>
                </a:cubicBezTo>
                <a:cubicBezTo>
                  <a:pt x="57764" y="26867"/>
                  <a:pt x="53286" y="25971"/>
                  <a:pt x="48808" y="24628"/>
                </a:cubicBezTo>
                <a:cubicBezTo>
                  <a:pt x="51495" y="17463"/>
                  <a:pt x="55077" y="10299"/>
                  <a:pt x="60003" y="4478"/>
                </a:cubicBezTo>
                <a:cubicBezTo>
                  <a:pt x="60898" y="4478"/>
                  <a:pt x="61346" y="4478"/>
                  <a:pt x="62242" y="4478"/>
                </a:cubicBezTo>
                <a:cubicBezTo>
                  <a:pt x="63585" y="4478"/>
                  <a:pt x="64033" y="4478"/>
                  <a:pt x="64928" y="4478"/>
                </a:cubicBezTo>
                <a:close/>
                <a:moveTo>
                  <a:pt x="62242" y="147768"/>
                </a:moveTo>
                <a:cubicBezTo>
                  <a:pt x="52390" y="147768"/>
                  <a:pt x="44330" y="139708"/>
                  <a:pt x="44330" y="129857"/>
                </a:cubicBezTo>
                <a:cubicBezTo>
                  <a:pt x="44330" y="129857"/>
                  <a:pt x="44330" y="129857"/>
                  <a:pt x="44330" y="129857"/>
                </a:cubicBezTo>
                <a:cubicBezTo>
                  <a:pt x="44330" y="129857"/>
                  <a:pt x="44330" y="129857"/>
                  <a:pt x="44330" y="129857"/>
                </a:cubicBezTo>
                <a:cubicBezTo>
                  <a:pt x="44330" y="120006"/>
                  <a:pt x="52390" y="111945"/>
                  <a:pt x="62242" y="111945"/>
                </a:cubicBezTo>
                <a:cubicBezTo>
                  <a:pt x="72093" y="111945"/>
                  <a:pt x="80153" y="120006"/>
                  <a:pt x="80153" y="129857"/>
                </a:cubicBezTo>
                <a:cubicBezTo>
                  <a:pt x="80153" y="139708"/>
                  <a:pt x="72093" y="147768"/>
                  <a:pt x="62242" y="147768"/>
                </a:cubicBezTo>
                <a:close/>
              </a:path>
            </a:pathLst>
          </a:custGeom>
          <a:solidFill>
            <a:srgbClr val="231F20"/>
          </a:solidFill>
          <a:ln w="4474" cap="flat">
            <a:noFill/>
            <a:prstDash val="solid"/>
            <a:miter/>
          </a:ln>
        </p:spPr>
        <p:txBody>
          <a:bodyPr rtlCol="0" anchor="ctr"/>
          <a:lstStyle/>
          <a:p>
            <a:endParaRPr lang="en-US"/>
          </a:p>
        </p:txBody>
      </p:sp>
      <p:grpSp>
        <p:nvGrpSpPr>
          <p:cNvPr id="4909" name="Group 4908">
            <a:extLst>
              <a:ext uri="{FF2B5EF4-FFF2-40B4-BE49-F238E27FC236}">
                <a16:creationId xmlns:a16="http://schemas.microsoft.com/office/drawing/2014/main" id="{573A7069-4049-4FAC-8005-F5A2495D1D5F}"/>
              </a:ext>
              <a:ext uri="{C183D7F6-B498-43B3-948B-1728B52AA6E4}">
                <adec:decorative xmlns:adec="http://schemas.microsoft.com/office/drawing/2017/decorative" val="1"/>
              </a:ext>
            </a:extLst>
          </p:cNvPr>
          <p:cNvGrpSpPr>
            <a:grpSpLocks noChangeAspect="1"/>
          </p:cNvGrpSpPr>
          <p:nvPr/>
        </p:nvGrpSpPr>
        <p:grpSpPr>
          <a:xfrm>
            <a:off x="4803762" y="2737109"/>
            <a:ext cx="109706" cy="111946"/>
            <a:chOff x="4844516" y="2001670"/>
            <a:chExt cx="109706" cy="111946"/>
          </a:xfrm>
        </p:grpSpPr>
        <p:sp>
          <p:nvSpPr>
            <p:cNvPr id="4910" name="Freeform: Shape 4909">
              <a:extLst>
                <a:ext uri="{FF2B5EF4-FFF2-40B4-BE49-F238E27FC236}">
                  <a16:creationId xmlns:a16="http://schemas.microsoft.com/office/drawing/2014/main" id="{E1874450-3779-4581-AF53-433D3E3D641C}"/>
                </a:ext>
              </a:extLst>
            </p:cNvPr>
            <p:cNvSpPr/>
            <p:nvPr/>
          </p:nvSpPr>
          <p:spPr>
            <a:xfrm>
              <a:off x="4844516" y="2068838"/>
              <a:ext cx="44778" cy="44778"/>
            </a:xfrm>
            <a:custGeom>
              <a:avLst/>
              <a:gdLst>
                <a:gd name="connsiteX0" fmla="*/ 22389 w 44778"/>
                <a:gd name="connsiteY0" fmla="*/ 44778 h 44778"/>
                <a:gd name="connsiteX1" fmla="*/ 0 w 44778"/>
                <a:gd name="connsiteY1" fmla="*/ 22389 h 44778"/>
                <a:gd name="connsiteX2" fmla="*/ 22389 w 44778"/>
                <a:gd name="connsiteY2" fmla="*/ 0 h 44778"/>
                <a:gd name="connsiteX3" fmla="*/ 44778 w 44778"/>
                <a:gd name="connsiteY3" fmla="*/ 22389 h 44778"/>
                <a:gd name="connsiteX4" fmla="*/ 22389 w 44778"/>
                <a:gd name="connsiteY4" fmla="*/ 44778 h 44778"/>
                <a:gd name="connsiteX5" fmla="*/ 22389 w 44778"/>
                <a:gd name="connsiteY5" fmla="*/ 4478 h 44778"/>
                <a:gd name="connsiteX6" fmla="*/ 4478 w 44778"/>
                <a:gd name="connsiteY6" fmla="*/ 22389 h 44778"/>
                <a:gd name="connsiteX7" fmla="*/ 22389 w 44778"/>
                <a:gd name="connsiteY7" fmla="*/ 40300 h 44778"/>
                <a:gd name="connsiteX8" fmla="*/ 40300 w 44778"/>
                <a:gd name="connsiteY8" fmla="*/ 22389 h 44778"/>
                <a:gd name="connsiteX9" fmla="*/ 22389 w 44778"/>
                <a:gd name="connsiteY9" fmla="*/ 447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78" h="44778">
                  <a:moveTo>
                    <a:pt x="22389" y="44778"/>
                  </a:moveTo>
                  <a:cubicBezTo>
                    <a:pt x="9851" y="44778"/>
                    <a:pt x="0" y="34927"/>
                    <a:pt x="0" y="22389"/>
                  </a:cubicBezTo>
                  <a:cubicBezTo>
                    <a:pt x="0" y="9851"/>
                    <a:pt x="9851" y="0"/>
                    <a:pt x="22389" y="0"/>
                  </a:cubicBezTo>
                  <a:cubicBezTo>
                    <a:pt x="34927" y="0"/>
                    <a:pt x="44778" y="9851"/>
                    <a:pt x="44778" y="22389"/>
                  </a:cubicBezTo>
                  <a:cubicBezTo>
                    <a:pt x="44778" y="34927"/>
                    <a:pt x="34479" y="44778"/>
                    <a:pt x="22389" y="44778"/>
                  </a:cubicBezTo>
                  <a:close/>
                  <a:moveTo>
                    <a:pt x="22389" y="4478"/>
                  </a:moveTo>
                  <a:cubicBezTo>
                    <a:pt x="12538" y="4478"/>
                    <a:pt x="4478" y="12538"/>
                    <a:pt x="4478" y="22389"/>
                  </a:cubicBezTo>
                  <a:cubicBezTo>
                    <a:pt x="4478" y="32240"/>
                    <a:pt x="12538" y="40300"/>
                    <a:pt x="22389" y="40300"/>
                  </a:cubicBezTo>
                  <a:cubicBezTo>
                    <a:pt x="32240" y="40300"/>
                    <a:pt x="40300" y="32240"/>
                    <a:pt x="40300" y="22389"/>
                  </a:cubicBezTo>
                  <a:cubicBezTo>
                    <a:pt x="40300" y="12538"/>
                    <a:pt x="32240" y="4478"/>
                    <a:pt x="22389" y="4478"/>
                  </a:cubicBezTo>
                  <a:close/>
                </a:path>
              </a:pathLst>
            </a:custGeom>
            <a:solidFill>
              <a:srgbClr val="231F20"/>
            </a:solidFill>
            <a:ln w="4474" cap="flat">
              <a:noFill/>
              <a:prstDash val="solid"/>
              <a:miter/>
            </a:ln>
          </p:spPr>
          <p:txBody>
            <a:bodyPr rtlCol="0" anchor="ctr"/>
            <a:lstStyle/>
            <a:p>
              <a:endParaRPr lang="en-US"/>
            </a:p>
          </p:txBody>
        </p:sp>
        <p:sp>
          <p:nvSpPr>
            <p:cNvPr id="4911" name="Freeform: Shape 4910">
              <a:extLst>
                <a:ext uri="{FF2B5EF4-FFF2-40B4-BE49-F238E27FC236}">
                  <a16:creationId xmlns:a16="http://schemas.microsoft.com/office/drawing/2014/main" id="{DE474C5E-2885-457A-B2C3-148317B44E02}"/>
                </a:ext>
              </a:extLst>
            </p:cNvPr>
            <p:cNvSpPr/>
            <p:nvPr/>
          </p:nvSpPr>
          <p:spPr>
            <a:xfrm>
              <a:off x="4864218" y="2037941"/>
              <a:ext cx="53734" cy="53734"/>
            </a:xfrm>
            <a:custGeom>
              <a:avLst/>
              <a:gdLst>
                <a:gd name="connsiteX0" fmla="*/ 53286 w 53733"/>
                <a:gd name="connsiteY0" fmla="*/ 55525 h 53733"/>
                <a:gd name="connsiteX1" fmla="*/ 51047 w 53733"/>
                <a:gd name="connsiteY1" fmla="*/ 53286 h 53733"/>
                <a:gd name="connsiteX2" fmla="*/ 2239 w 53733"/>
                <a:gd name="connsiteY2" fmla="*/ 4478 h 53733"/>
                <a:gd name="connsiteX3" fmla="*/ 0 w 53733"/>
                <a:gd name="connsiteY3" fmla="*/ 2239 h 53733"/>
                <a:gd name="connsiteX4" fmla="*/ 2239 w 53733"/>
                <a:gd name="connsiteY4" fmla="*/ 0 h 53733"/>
                <a:gd name="connsiteX5" fmla="*/ 55525 w 53733"/>
                <a:gd name="connsiteY5" fmla="*/ 53286 h 53733"/>
                <a:gd name="connsiteX6" fmla="*/ 53286 w 53733"/>
                <a:gd name="connsiteY6" fmla="*/ 55525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33" h="53733">
                  <a:moveTo>
                    <a:pt x="53286" y="55525"/>
                  </a:moveTo>
                  <a:cubicBezTo>
                    <a:pt x="51943" y="55525"/>
                    <a:pt x="51047" y="54629"/>
                    <a:pt x="51047" y="53286"/>
                  </a:cubicBezTo>
                  <a:cubicBezTo>
                    <a:pt x="51047" y="26419"/>
                    <a:pt x="29106" y="4478"/>
                    <a:pt x="2239" y="4478"/>
                  </a:cubicBezTo>
                  <a:cubicBezTo>
                    <a:pt x="895" y="4478"/>
                    <a:pt x="0" y="3582"/>
                    <a:pt x="0" y="2239"/>
                  </a:cubicBezTo>
                  <a:cubicBezTo>
                    <a:pt x="0" y="896"/>
                    <a:pt x="895" y="0"/>
                    <a:pt x="2239" y="0"/>
                  </a:cubicBezTo>
                  <a:cubicBezTo>
                    <a:pt x="31345" y="0"/>
                    <a:pt x="55525" y="23732"/>
                    <a:pt x="55525" y="53286"/>
                  </a:cubicBezTo>
                  <a:cubicBezTo>
                    <a:pt x="55525" y="54182"/>
                    <a:pt x="54629" y="55525"/>
                    <a:pt x="53286" y="55525"/>
                  </a:cubicBezTo>
                  <a:close/>
                </a:path>
              </a:pathLst>
            </a:custGeom>
            <a:solidFill>
              <a:srgbClr val="231F20"/>
            </a:solidFill>
            <a:ln w="4474" cap="flat">
              <a:noFill/>
              <a:prstDash val="solid"/>
              <a:miter/>
            </a:ln>
          </p:spPr>
          <p:txBody>
            <a:bodyPr rtlCol="0" anchor="ctr"/>
            <a:lstStyle/>
            <a:p>
              <a:endParaRPr lang="en-US"/>
            </a:p>
          </p:txBody>
        </p:sp>
        <p:sp>
          <p:nvSpPr>
            <p:cNvPr id="4912" name="Freeform: Shape 4911">
              <a:extLst>
                <a:ext uri="{FF2B5EF4-FFF2-40B4-BE49-F238E27FC236}">
                  <a16:creationId xmlns:a16="http://schemas.microsoft.com/office/drawing/2014/main" id="{5B4E04DD-3016-4E95-B98D-824E0DEC80AF}"/>
                </a:ext>
              </a:extLst>
            </p:cNvPr>
            <p:cNvSpPr/>
            <p:nvPr/>
          </p:nvSpPr>
          <p:spPr>
            <a:xfrm>
              <a:off x="4864666" y="2001670"/>
              <a:ext cx="89556" cy="89556"/>
            </a:xfrm>
            <a:custGeom>
              <a:avLst/>
              <a:gdLst>
                <a:gd name="connsiteX0" fmla="*/ 89556 w 89556"/>
                <a:gd name="connsiteY0" fmla="*/ 91795 h 89556"/>
                <a:gd name="connsiteX1" fmla="*/ 87317 w 89556"/>
                <a:gd name="connsiteY1" fmla="*/ 89556 h 89556"/>
                <a:gd name="connsiteX2" fmla="*/ 2239 w 89556"/>
                <a:gd name="connsiteY2" fmla="*/ 4478 h 89556"/>
                <a:gd name="connsiteX3" fmla="*/ 0 w 89556"/>
                <a:gd name="connsiteY3" fmla="*/ 2239 h 89556"/>
                <a:gd name="connsiteX4" fmla="*/ 2239 w 89556"/>
                <a:gd name="connsiteY4" fmla="*/ 0 h 89556"/>
                <a:gd name="connsiteX5" fmla="*/ 91795 w 89556"/>
                <a:gd name="connsiteY5" fmla="*/ 89556 h 89556"/>
                <a:gd name="connsiteX6" fmla="*/ 89556 w 89556"/>
                <a:gd name="connsiteY6" fmla="*/ 91795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56" h="89556">
                  <a:moveTo>
                    <a:pt x="89556" y="91795"/>
                  </a:moveTo>
                  <a:cubicBezTo>
                    <a:pt x="88213" y="91795"/>
                    <a:pt x="87317" y="90900"/>
                    <a:pt x="87317" y="89556"/>
                  </a:cubicBezTo>
                  <a:cubicBezTo>
                    <a:pt x="87317" y="42539"/>
                    <a:pt x="49256" y="4478"/>
                    <a:pt x="2239" y="4478"/>
                  </a:cubicBezTo>
                  <a:cubicBezTo>
                    <a:pt x="896" y="4478"/>
                    <a:pt x="0" y="3582"/>
                    <a:pt x="0" y="2239"/>
                  </a:cubicBezTo>
                  <a:cubicBezTo>
                    <a:pt x="0" y="896"/>
                    <a:pt x="896" y="0"/>
                    <a:pt x="2239" y="0"/>
                  </a:cubicBezTo>
                  <a:cubicBezTo>
                    <a:pt x="51495" y="0"/>
                    <a:pt x="91795" y="40300"/>
                    <a:pt x="91795" y="89556"/>
                  </a:cubicBezTo>
                  <a:cubicBezTo>
                    <a:pt x="91795" y="90452"/>
                    <a:pt x="90452" y="91795"/>
                    <a:pt x="89556" y="91795"/>
                  </a:cubicBezTo>
                  <a:close/>
                </a:path>
              </a:pathLst>
            </a:custGeom>
            <a:solidFill>
              <a:srgbClr val="231F20"/>
            </a:solidFill>
            <a:ln w="4474" cap="flat">
              <a:noFill/>
              <a:prstDash val="solid"/>
              <a:miter/>
            </a:ln>
          </p:spPr>
          <p:txBody>
            <a:bodyPr rtlCol="0" anchor="ctr"/>
            <a:lstStyle/>
            <a:p>
              <a:endParaRPr lang="en-US"/>
            </a:p>
          </p:txBody>
        </p:sp>
      </p:grpSp>
      <p:grpSp>
        <p:nvGrpSpPr>
          <p:cNvPr id="4913" name="Group 4912">
            <a:extLst>
              <a:ext uri="{FF2B5EF4-FFF2-40B4-BE49-F238E27FC236}">
                <a16:creationId xmlns:a16="http://schemas.microsoft.com/office/drawing/2014/main" id="{D5455E5F-4987-4AC1-9617-97352BD6738C}"/>
              </a:ext>
              <a:ext uri="{C183D7F6-B498-43B3-948B-1728B52AA6E4}">
                <adec:decorative xmlns:adec="http://schemas.microsoft.com/office/drawing/2017/decorative" val="1"/>
              </a:ext>
            </a:extLst>
          </p:cNvPr>
          <p:cNvGrpSpPr>
            <a:grpSpLocks noChangeAspect="1"/>
          </p:cNvGrpSpPr>
          <p:nvPr/>
        </p:nvGrpSpPr>
        <p:grpSpPr>
          <a:xfrm>
            <a:off x="4498934" y="4258560"/>
            <a:ext cx="152246" cy="125379"/>
            <a:chOff x="4539688" y="3523121"/>
            <a:chExt cx="152246" cy="125379"/>
          </a:xfrm>
        </p:grpSpPr>
        <p:sp>
          <p:nvSpPr>
            <p:cNvPr id="4914" name="Freeform: Shape 4913">
              <a:extLst>
                <a:ext uri="{FF2B5EF4-FFF2-40B4-BE49-F238E27FC236}">
                  <a16:creationId xmlns:a16="http://schemas.microsoft.com/office/drawing/2014/main" id="{EEA42C25-A9CD-4092-8D9F-55C1D099BEB6}"/>
                </a:ext>
              </a:extLst>
            </p:cNvPr>
            <p:cNvSpPr/>
            <p:nvPr/>
          </p:nvSpPr>
          <p:spPr>
            <a:xfrm>
              <a:off x="4539688" y="3523121"/>
              <a:ext cx="152246" cy="125379"/>
            </a:xfrm>
            <a:custGeom>
              <a:avLst/>
              <a:gdLst>
                <a:gd name="connsiteX0" fmla="*/ 149895 w 152245"/>
                <a:gd name="connsiteY0" fmla="*/ 125491 h 125378"/>
                <a:gd name="connsiteX1" fmla="*/ 2127 w 152245"/>
                <a:gd name="connsiteY1" fmla="*/ 125491 h 125378"/>
                <a:gd name="connsiteX2" fmla="*/ 336 w 152245"/>
                <a:gd name="connsiteY2" fmla="*/ 124147 h 125378"/>
                <a:gd name="connsiteX3" fmla="*/ 336 w 152245"/>
                <a:gd name="connsiteY3" fmla="*/ 121909 h 125378"/>
                <a:gd name="connsiteX4" fmla="*/ 74220 w 152245"/>
                <a:gd name="connsiteY4" fmla="*/ 1007 h 125378"/>
                <a:gd name="connsiteX5" fmla="*/ 78250 w 152245"/>
                <a:gd name="connsiteY5" fmla="*/ 1007 h 125378"/>
                <a:gd name="connsiteX6" fmla="*/ 152134 w 152245"/>
                <a:gd name="connsiteY6" fmla="*/ 121909 h 125378"/>
                <a:gd name="connsiteX7" fmla="*/ 152134 w 152245"/>
                <a:gd name="connsiteY7" fmla="*/ 124147 h 125378"/>
                <a:gd name="connsiteX8" fmla="*/ 149895 w 152245"/>
                <a:gd name="connsiteY8" fmla="*/ 125491 h 125378"/>
                <a:gd name="connsiteX9" fmla="*/ 6157 w 152245"/>
                <a:gd name="connsiteY9" fmla="*/ 121013 h 125378"/>
                <a:gd name="connsiteX10" fmla="*/ 145865 w 152245"/>
                <a:gd name="connsiteY10" fmla="*/ 121013 h 125378"/>
                <a:gd name="connsiteX11" fmla="*/ 76011 w 152245"/>
                <a:gd name="connsiteY11" fmla="*/ 6829 h 125378"/>
                <a:gd name="connsiteX12" fmla="*/ 6157 w 152245"/>
                <a:gd name="connsiteY12" fmla="*/ 121013 h 12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45" h="125378">
                  <a:moveTo>
                    <a:pt x="149895" y="125491"/>
                  </a:moveTo>
                  <a:lnTo>
                    <a:pt x="2127" y="125491"/>
                  </a:lnTo>
                  <a:cubicBezTo>
                    <a:pt x="1231" y="125491"/>
                    <a:pt x="783" y="125043"/>
                    <a:pt x="336" y="124147"/>
                  </a:cubicBezTo>
                  <a:cubicBezTo>
                    <a:pt x="-112" y="123252"/>
                    <a:pt x="-112" y="122356"/>
                    <a:pt x="336" y="121909"/>
                  </a:cubicBezTo>
                  <a:lnTo>
                    <a:pt x="74220" y="1007"/>
                  </a:lnTo>
                  <a:cubicBezTo>
                    <a:pt x="75115" y="-336"/>
                    <a:pt x="77354" y="-336"/>
                    <a:pt x="78250" y="1007"/>
                  </a:cubicBezTo>
                  <a:lnTo>
                    <a:pt x="152134" y="121909"/>
                  </a:lnTo>
                  <a:cubicBezTo>
                    <a:pt x="152582" y="122804"/>
                    <a:pt x="152582" y="123252"/>
                    <a:pt x="152134" y="124147"/>
                  </a:cubicBezTo>
                  <a:cubicBezTo>
                    <a:pt x="151238" y="125043"/>
                    <a:pt x="150790" y="125491"/>
                    <a:pt x="149895" y="125491"/>
                  </a:cubicBezTo>
                  <a:close/>
                  <a:moveTo>
                    <a:pt x="6157" y="121013"/>
                  </a:moveTo>
                  <a:lnTo>
                    <a:pt x="145865" y="121013"/>
                  </a:lnTo>
                  <a:lnTo>
                    <a:pt x="76011" y="6829"/>
                  </a:lnTo>
                  <a:lnTo>
                    <a:pt x="6157" y="121013"/>
                  </a:lnTo>
                  <a:close/>
                </a:path>
              </a:pathLst>
            </a:custGeom>
            <a:solidFill>
              <a:srgbClr val="231F20"/>
            </a:solidFill>
            <a:ln w="4474" cap="flat">
              <a:noFill/>
              <a:prstDash val="solid"/>
              <a:miter/>
            </a:ln>
          </p:spPr>
          <p:txBody>
            <a:bodyPr rtlCol="0" anchor="ctr"/>
            <a:lstStyle/>
            <a:p>
              <a:endParaRPr lang="en-US"/>
            </a:p>
          </p:txBody>
        </p:sp>
        <p:sp>
          <p:nvSpPr>
            <p:cNvPr id="4915" name="Freeform: Shape 4914">
              <a:extLst>
                <a:ext uri="{FF2B5EF4-FFF2-40B4-BE49-F238E27FC236}">
                  <a16:creationId xmlns:a16="http://schemas.microsoft.com/office/drawing/2014/main" id="{10E38342-4531-41DC-863E-D5B8C1C1A48C}"/>
                </a:ext>
              </a:extLst>
            </p:cNvPr>
            <p:cNvSpPr/>
            <p:nvPr/>
          </p:nvSpPr>
          <p:spPr>
            <a:xfrm>
              <a:off x="4613012" y="3570697"/>
              <a:ext cx="4478" cy="40300"/>
            </a:xfrm>
            <a:custGeom>
              <a:avLst/>
              <a:gdLst>
                <a:gd name="connsiteX0" fmla="*/ 2239 w 4477"/>
                <a:gd name="connsiteY0" fmla="*/ 40300 h 40300"/>
                <a:gd name="connsiteX1" fmla="*/ 0 w 4477"/>
                <a:gd name="connsiteY1" fmla="*/ 38061 h 40300"/>
                <a:gd name="connsiteX2" fmla="*/ 0 w 4477"/>
                <a:gd name="connsiteY2" fmla="*/ 2239 h 40300"/>
                <a:gd name="connsiteX3" fmla="*/ 2239 w 4477"/>
                <a:gd name="connsiteY3" fmla="*/ 0 h 40300"/>
                <a:gd name="connsiteX4" fmla="*/ 4478 w 4477"/>
                <a:gd name="connsiteY4" fmla="*/ 2239 h 40300"/>
                <a:gd name="connsiteX5" fmla="*/ 4478 w 4477"/>
                <a:gd name="connsiteY5" fmla="*/ 38061 h 40300"/>
                <a:gd name="connsiteX6" fmla="*/ 2239 w 4477"/>
                <a:gd name="connsiteY6"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0300">
                  <a:moveTo>
                    <a:pt x="2239" y="40300"/>
                  </a:moveTo>
                  <a:cubicBezTo>
                    <a:pt x="896" y="40300"/>
                    <a:pt x="0" y="39405"/>
                    <a:pt x="0" y="38061"/>
                  </a:cubicBezTo>
                  <a:lnTo>
                    <a:pt x="0" y="2239"/>
                  </a:lnTo>
                  <a:cubicBezTo>
                    <a:pt x="0" y="895"/>
                    <a:pt x="896" y="0"/>
                    <a:pt x="2239" y="0"/>
                  </a:cubicBezTo>
                  <a:cubicBezTo>
                    <a:pt x="3582" y="0"/>
                    <a:pt x="4478" y="895"/>
                    <a:pt x="4478" y="2239"/>
                  </a:cubicBezTo>
                  <a:lnTo>
                    <a:pt x="4478" y="38061"/>
                  </a:lnTo>
                  <a:cubicBezTo>
                    <a:pt x="4478" y="38957"/>
                    <a:pt x="3582" y="40300"/>
                    <a:pt x="2239" y="40300"/>
                  </a:cubicBezTo>
                  <a:close/>
                </a:path>
              </a:pathLst>
            </a:custGeom>
            <a:solidFill>
              <a:srgbClr val="231F20"/>
            </a:solidFill>
            <a:ln w="4474" cap="flat">
              <a:noFill/>
              <a:prstDash val="solid"/>
              <a:miter/>
            </a:ln>
          </p:spPr>
          <p:txBody>
            <a:bodyPr rtlCol="0" anchor="ctr"/>
            <a:lstStyle/>
            <a:p>
              <a:endParaRPr lang="en-US"/>
            </a:p>
          </p:txBody>
        </p:sp>
        <p:sp>
          <p:nvSpPr>
            <p:cNvPr id="4916" name="Freeform: Shape 4915">
              <a:extLst>
                <a:ext uri="{FF2B5EF4-FFF2-40B4-BE49-F238E27FC236}">
                  <a16:creationId xmlns:a16="http://schemas.microsoft.com/office/drawing/2014/main" id="{86EFE0B6-5360-4D67-98F3-2483BD35FD3E}"/>
                </a:ext>
              </a:extLst>
            </p:cNvPr>
            <p:cNvSpPr/>
            <p:nvPr/>
          </p:nvSpPr>
          <p:spPr>
            <a:xfrm>
              <a:off x="4610774" y="3621744"/>
              <a:ext cx="8956" cy="8956"/>
            </a:xfrm>
            <a:custGeom>
              <a:avLst/>
              <a:gdLst>
                <a:gd name="connsiteX0" fmla="*/ 9851 w 8955"/>
                <a:gd name="connsiteY0" fmla="*/ 4926 h 8955"/>
                <a:gd name="connsiteX1" fmla="*/ 4926 w 8955"/>
                <a:gd name="connsiteY1" fmla="*/ 9851 h 8955"/>
                <a:gd name="connsiteX2" fmla="*/ 0 w 8955"/>
                <a:gd name="connsiteY2" fmla="*/ 4926 h 8955"/>
                <a:gd name="connsiteX3" fmla="*/ 4926 w 8955"/>
                <a:gd name="connsiteY3" fmla="*/ 0 h 8955"/>
                <a:gd name="connsiteX4" fmla="*/ 9851 w 8955"/>
                <a:gd name="connsiteY4" fmla="*/ 4926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9851" y="4926"/>
                  </a:moveTo>
                  <a:cubicBezTo>
                    <a:pt x="9851" y="7646"/>
                    <a:pt x="7646" y="9851"/>
                    <a:pt x="4926" y="9851"/>
                  </a:cubicBezTo>
                  <a:cubicBezTo>
                    <a:pt x="2206" y="9851"/>
                    <a:pt x="0" y="7646"/>
                    <a:pt x="0" y="4926"/>
                  </a:cubicBezTo>
                  <a:cubicBezTo>
                    <a:pt x="0" y="2206"/>
                    <a:pt x="2206" y="0"/>
                    <a:pt x="4926" y="0"/>
                  </a:cubicBezTo>
                  <a:cubicBezTo>
                    <a:pt x="7646" y="0"/>
                    <a:pt x="9851" y="2206"/>
                    <a:pt x="9851" y="4926"/>
                  </a:cubicBezTo>
                  <a:close/>
                </a:path>
              </a:pathLst>
            </a:custGeom>
            <a:solidFill>
              <a:srgbClr val="231F20"/>
            </a:solidFill>
            <a:ln w="4474" cap="flat">
              <a:noFill/>
              <a:prstDash val="solid"/>
              <a:miter/>
            </a:ln>
          </p:spPr>
          <p:txBody>
            <a:bodyPr rtlCol="0" anchor="ctr"/>
            <a:lstStyle/>
            <a:p>
              <a:endParaRPr lang="en-US"/>
            </a:p>
          </p:txBody>
        </p:sp>
      </p:grpSp>
      <p:grpSp>
        <p:nvGrpSpPr>
          <p:cNvPr id="4917" name="Group 4916">
            <a:extLst>
              <a:ext uri="{FF2B5EF4-FFF2-40B4-BE49-F238E27FC236}">
                <a16:creationId xmlns:a16="http://schemas.microsoft.com/office/drawing/2014/main" id="{186E5170-71F2-4A65-916D-AB4DE93590CC}"/>
              </a:ext>
              <a:ext uri="{C183D7F6-B498-43B3-948B-1728B52AA6E4}">
                <adec:decorative xmlns:adec="http://schemas.microsoft.com/office/drawing/2017/decorative" val="1"/>
              </a:ext>
            </a:extLst>
          </p:cNvPr>
          <p:cNvGrpSpPr>
            <a:grpSpLocks noChangeAspect="1"/>
          </p:cNvGrpSpPr>
          <p:nvPr/>
        </p:nvGrpSpPr>
        <p:grpSpPr>
          <a:xfrm>
            <a:off x="5569021" y="2443364"/>
            <a:ext cx="138812" cy="94483"/>
            <a:chOff x="5609775" y="1707925"/>
            <a:chExt cx="138812" cy="94483"/>
          </a:xfrm>
        </p:grpSpPr>
        <p:sp>
          <p:nvSpPr>
            <p:cNvPr id="4918" name="Freeform: Shape 4917">
              <a:extLst>
                <a:ext uri="{FF2B5EF4-FFF2-40B4-BE49-F238E27FC236}">
                  <a16:creationId xmlns:a16="http://schemas.microsoft.com/office/drawing/2014/main" id="{407CB560-9038-4162-86DD-9687829E16D7}"/>
                </a:ext>
              </a:extLst>
            </p:cNvPr>
            <p:cNvSpPr/>
            <p:nvPr/>
          </p:nvSpPr>
          <p:spPr>
            <a:xfrm>
              <a:off x="5609775" y="1707925"/>
              <a:ext cx="138812" cy="94034"/>
            </a:xfrm>
            <a:custGeom>
              <a:avLst/>
              <a:gdLst>
                <a:gd name="connsiteX0" fmla="*/ 96273 w 138812"/>
                <a:gd name="connsiteY0" fmla="*/ 95825 h 94034"/>
                <a:gd name="connsiteX1" fmla="*/ 29106 w 138812"/>
                <a:gd name="connsiteY1" fmla="*/ 95825 h 94034"/>
                <a:gd name="connsiteX2" fmla="*/ 0 w 138812"/>
                <a:gd name="connsiteY2" fmla="*/ 66720 h 94034"/>
                <a:gd name="connsiteX3" fmla="*/ 13433 w 138812"/>
                <a:gd name="connsiteY3" fmla="*/ 42092 h 94034"/>
                <a:gd name="connsiteX4" fmla="*/ 55973 w 138812"/>
                <a:gd name="connsiteY4" fmla="*/ 0 h 94034"/>
                <a:gd name="connsiteX5" fmla="*/ 94930 w 138812"/>
                <a:gd name="connsiteY5" fmla="*/ 25076 h 94034"/>
                <a:gd name="connsiteX6" fmla="*/ 102990 w 138812"/>
                <a:gd name="connsiteY6" fmla="*/ 24180 h 94034"/>
                <a:gd name="connsiteX7" fmla="*/ 138812 w 138812"/>
                <a:gd name="connsiteY7" fmla="*/ 60003 h 94034"/>
                <a:gd name="connsiteX8" fmla="*/ 135678 w 138812"/>
                <a:gd name="connsiteY8" fmla="*/ 74332 h 94034"/>
                <a:gd name="connsiteX9" fmla="*/ 132543 w 138812"/>
                <a:gd name="connsiteY9" fmla="*/ 75227 h 94034"/>
                <a:gd name="connsiteX10" fmla="*/ 131648 w 138812"/>
                <a:gd name="connsiteY10" fmla="*/ 72093 h 94034"/>
                <a:gd name="connsiteX11" fmla="*/ 134335 w 138812"/>
                <a:gd name="connsiteY11" fmla="*/ 60003 h 94034"/>
                <a:gd name="connsiteX12" fmla="*/ 102990 w 138812"/>
                <a:gd name="connsiteY12" fmla="*/ 28658 h 94034"/>
                <a:gd name="connsiteX13" fmla="*/ 94034 w 138812"/>
                <a:gd name="connsiteY13" fmla="*/ 30001 h 94034"/>
                <a:gd name="connsiteX14" fmla="*/ 91348 w 138812"/>
                <a:gd name="connsiteY14" fmla="*/ 28658 h 94034"/>
                <a:gd name="connsiteX15" fmla="*/ 55973 w 138812"/>
                <a:gd name="connsiteY15" fmla="*/ 4478 h 94034"/>
                <a:gd name="connsiteX16" fmla="*/ 17911 w 138812"/>
                <a:gd name="connsiteY16" fmla="*/ 42539 h 94034"/>
                <a:gd name="connsiteX17" fmla="*/ 17911 w 138812"/>
                <a:gd name="connsiteY17" fmla="*/ 43435 h 94034"/>
                <a:gd name="connsiteX18" fmla="*/ 17015 w 138812"/>
                <a:gd name="connsiteY18" fmla="*/ 45226 h 94034"/>
                <a:gd name="connsiteX19" fmla="*/ 4478 w 138812"/>
                <a:gd name="connsiteY19" fmla="*/ 66720 h 94034"/>
                <a:gd name="connsiteX20" fmla="*/ 29106 w 138812"/>
                <a:gd name="connsiteY20" fmla="*/ 91348 h 94034"/>
                <a:gd name="connsiteX21" fmla="*/ 96273 w 138812"/>
                <a:gd name="connsiteY21" fmla="*/ 91348 h 94034"/>
                <a:gd name="connsiteX22" fmla="*/ 98512 w 138812"/>
                <a:gd name="connsiteY22" fmla="*/ 93586 h 94034"/>
                <a:gd name="connsiteX23" fmla="*/ 96273 w 138812"/>
                <a:gd name="connsiteY23" fmla="*/ 95825 h 9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8812" h="94034">
                  <a:moveTo>
                    <a:pt x="96273" y="95825"/>
                  </a:moveTo>
                  <a:lnTo>
                    <a:pt x="29106" y="95825"/>
                  </a:lnTo>
                  <a:cubicBezTo>
                    <a:pt x="12986" y="95825"/>
                    <a:pt x="0" y="82840"/>
                    <a:pt x="0" y="66720"/>
                  </a:cubicBezTo>
                  <a:cubicBezTo>
                    <a:pt x="0" y="56868"/>
                    <a:pt x="4925" y="47465"/>
                    <a:pt x="13433" y="42092"/>
                  </a:cubicBezTo>
                  <a:cubicBezTo>
                    <a:pt x="13433" y="18807"/>
                    <a:pt x="32688" y="0"/>
                    <a:pt x="55973" y="0"/>
                  </a:cubicBezTo>
                  <a:cubicBezTo>
                    <a:pt x="72540" y="0"/>
                    <a:pt x="88213" y="9851"/>
                    <a:pt x="94930" y="25076"/>
                  </a:cubicBezTo>
                  <a:cubicBezTo>
                    <a:pt x="97616" y="24628"/>
                    <a:pt x="100303" y="24180"/>
                    <a:pt x="102990" y="24180"/>
                  </a:cubicBezTo>
                  <a:cubicBezTo>
                    <a:pt x="122692" y="24180"/>
                    <a:pt x="138812" y="40300"/>
                    <a:pt x="138812" y="60003"/>
                  </a:cubicBezTo>
                  <a:cubicBezTo>
                    <a:pt x="138812" y="60451"/>
                    <a:pt x="139260" y="68511"/>
                    <a:pt x="135678" y="74332"/>
                  </a:cubicBezTo>
                  <a:cubicBezTo>
                    <a:pt x="135230" y="75227"/>
                    <a:pt x="133887" y="75675"/>
                    <a:pt x="132543" y="75227"/>
                  </a:cubicBezTo>
                  <a:cubicBezTo>
                    <a:pt x="131648" y="74780"/>
                    <a:pt x="131200" y="73436"/>
                    <a:pt x="131648" y="72093"/>
                  </a:cubicBezTo>
                  <a:cubicBezTo>
                    <a:pt x="134335" y="67167"/>
                    <a:pt x="134335" y="60003"/>
                    <a:pt x="134335" y="60003"/>
                  </a:cubicBezTo>
                  <a:cubicBezTo>
                    <a:pt x="134335" y="42539"/>
                    <a:pt x="120453" y="28658"/>
                    <a:pt x="102990" y="28658"/>
                  </a:cubicBezTo>
                  <a:cubicBezTo>
                    <a:pt x="99855" y="28658"/>
                    <a:pt x="97168" y="29106"/>
                    <a:pt x="94034" y="30001"/>
                  </a:cubicBezTo>
                  <a:cubicBezTo>
                    <a:pt x="92691" y="30449"/>
                    <a:pt x="91795" y="29554"/>
                    <a:pt x="91348" y="28658"/>
                  </a:cubicBezTo>
                  <a:cubicBezTo>
                    <a:pt x="85526" y="14329"/>
                    <a:pt x="71645" y="4478"/>
                    <a:pt x="55973" y="4478"/>
                  </a:cubicBezTo>
                  <a:cubicBezTo>
                    <a:pt x="34927" y="4478"/>
                    <a:pt x="17911" y="21494"/>
                    <a:pt x="17911" y="42539"/>
                  </a:cubicBezTo>
                  <a:lnTo>
                    <a:pt x="17911" y="43435"/>
                  </a:lnTo>
                  <a:cubicBezTo>
                    <a:pt x="17911" y="44330"/>
                    <a:pt x="17464" y="44778"/>
                    <a:pt x="17015" y="45226"/>
                  </a:cubicBezTo>
                  <a:cubicBezTo>
                    <a:pt x="9403" y="49704"/>
                    <a:pt x="4478" y="57764"/>
                    <a:pt x="4478" y="66720"/>
                  </a:cubicBezTo>
                  <a:cubicBezTo>
                    <a:pt x="4478" y="80153"/>
                    <a:pt x="15672" y="91348"/>
                    <a:pt x="29106" y="91348"/>
                  </a:cubicBezTo>
                  <a:lnTo>
                    <a:pt x="96273" y="91348"/>
                  </a:lnTo>
                  <a:cubicBezTo>
                    <a:pt x="97616" y="91348"/>
                    <a:pt x="98512" y="92243"/>
                    <a:pt x="98512" y="93586"/>
                  </a:cubicBezTo>
                  <a:cubicBezTo>
                    <a:pt x="98512" y="94930"/>
                    <a:pt x="97616" y="95825"/>
                    <a:pt x="96273" y="95825"/>
                  </a:cubicBezTo>
                  <a:close/>
                </a:path>
              </a:pathLst>
            </a:custGeom>
            <a:solidFill>
              <a:srgbClr val="231F20"/>
            </a:solidFill>
            <a:ln w="4474" cap="flat">
              <a:noFill/>
              <a:prstDash val="solid"/>
              <a:miter/>
            </a:ln>
          </p:spPr>
          <p:txBody>
            <a:bodyPr rtlCol="0" anchor="ctr"/>
            <a:lstStyle/>
            <a:p>
              <a:endParaRPr lang="en-US"/>
            </a:p>
          </p:txBody>
        </p:sp>
        <p:sp>
          <p:nvSpPr>
            <p:cNvPr id="4919" name="Freeform: Shape 4918">
              <a:extLst>
                <a:ext uri="{FF2B5EF4-FFF2-40B4-BE49-F238E27FC236}">
                  <a16:creationId xmlns:a16="http://schemas.microsoft.com/office/drawing/2014/main" id="{A034F8FC-660A-40AC-BDBA-ACA133E272F6}"/>
                </a:ext>
              </a:extLst>
            </p:cNvPr>
            <p:cNvSpPr/>
            <p:nvPr/>
          </p:nvSpPr>
          <p:spPr>
            <a:xfrm>
              <a:off x="5723959" y="1758077"/>
              <a:ext cx="4478" cy="31345"/>
            </a:xfrm>
            <a:custGeom>
              <a:avLst/>
              <a:gdLst>
                <a:gd name="connsiteX0" fmla="*/ 2239 w 4477"/>
                <a:gd name="connsiteY0" fmla="*/ 33136 h 31344"/>
                <a:gd name="connsiteX1" fmla="*/ 0 w 4477"/>
                <a:gd name="connsiteY1" fmla="*/ 30897 h 31344"/>
                <a:gd name="connsiteX2" fmla="*/ 0 w 4477"/>
                <a:gd name="connsiteY2" fmla="*/ 2239 h 31344"/>
                <a:gd name="connsiteX3" fmla="*/ 2239 w 4477"/>
                <a:gd name="connsiteY3" fmla="*/ 0 h 31344"/>
                <a:gd name="connsiteX4" fmla="*/ 4478 w 4477"/>
                <a:gd name="connsiteY4" fmla="*/ 2239 h 31344"/>
                <a:gd name="connsiteX5" fmla="*/ 4478 w 4477"/>
                <a:gd name="connsiteY5" fmla="*/ 30897 h 31344"/>
                <a:gd name="connsiteX6" fmla="*/ 2239 w 4477"/>
                <a:gd name="connsiteY6" fmla="*/ 33136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31344">
                  <a:moveTo>
                    <a:pt x="2239" y="33136"/>
                  </a:moveTo>
                  <a:cubicBezTo>
                    <a:pt x="895" y="33136"/>
                    <a:pt x="0" y="32240"/>
                    <a:pt x="0" y="30897"/>
                  </a:cubicBezTo>
                  <a:lnTo>
                    <a:pt x="0" y="2239"/>
                  </a:lnTo>
                  <a:cubicBezTo>
                    <a:pt x="0" y="896"/>
                    <a:pt x="895" y="0"/>
                    <a:pt x="2239" y="0"/>
                  </a:cubicBezTo>
                  <a:cubicBezTo>
                    <a:pt x="3582" y="0"/>
                    <a:pt x="4478" y="896"/>
                    <a:pt x="4478" y="2239"/>
                  </a:cubicBezTo>
                  <a:lnTo>
                    <a:pt x="4478" y="30897"/>
                  </a:lnTo>
                  <a:cubicBezTo>
                    <a:pt x="4478" y="32240"/>
                    <a:pt x="3134" y="33136"/>
                    <a:pt x="2239" y="33136"/>
                  </a:cubicBezTo>
                  <a:close/>
                </a:path>
              </a:pathLst>
            </a:custGeom>
            <a:solidFill>
              <a:srgbClr val="231F20"/>
            </a:solidFill>
            <a:ln w="4474" cap="flat">
              <a:noFill/>
              <a:prstDash val="solid"/>
              <a:miter/>
            </a:ln>
          </p:spPr>
          <p:txBody>
            <a:bodyPr rtlCol="0" anchor="ctr"/>
            <a:lstStyle/>
            <a:p>
              <a:endParaRPr lang="en-US"/>
            </a:p>
          </p:txBody>
        </p:sp>
        <p:sp>
          <p:nvSpPr>
            <p:cNvPr id="4920" name="Freeform: Shape 4919">
              <a:extLst>
                <a:ext uri="{FF2B5EF4-FFF2-40B4-BE49-F238E27FC236}">
                  <a16:creationId xmlns:a16="http://schemas.microsoft.com/office/drawing/2014/main" id="{D6DF5774-E9FF-4E38-A419-FDEF28C64D57}"/>
                </a:ext>
              </a:extLst>
            </p:cNvPr>
            <p:cNvSpPr/>
            <p:nvPr/>
          </p:nvSpPr>
          <p:spPr>
            <a:xfrm>
              <a:off x="5722616" y="1797930"/>
              <a:ext cx="4478" cy="4478"/>
            </a:xfrm>
            <a:custGeom>
              <a:avLst/>
              <a:gdLst>
                <a:gd name="connsiteX0" fmla="*/ 7164 w 4477"/>
                <a:gd name="connsiteY0" fmla="*/ 3582 h 4477"/>
                <a:gd name="connsiteX1" fmla="*/ 3582 w 4477"/>
                <a:gd name="connsiteY1" fmla="*/ 7165 h 4477"/>
                <a:gd name="connsiteX2" fmla="*/ -1 w 4477"/>
                <a:gd name="connsiteY2" fmla="*/ 3582 h 4477"/>
                <a:gd name="connsiteX3" fmla="*/ 3582 w 4477"/>
                <a:gd name="connsiteY3" fmla="*/ 0 h 4477"/>
                <a:gd name="connsiteX4" fmla="*/ 7164 w 4477"/>
                <a:gd name="connsiteY4" fmla="*/ 3582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7164" y="3582"/>
                  </a:moveTo>
                  <a:cubicBezTo>
                    <a:pt x="7164" y="5561"/>
                    <a:pt x="5561" y="7165"/>
                    <a:pt x="3582" y="7165"/>
                  </a:cubicBezTo>
                  <a:cubicBezTo>
                    <a:pt x="1604" y="7165"/>
                    <a:pt x="-1" y="5561"/>
                    <a:pt x="-1" y="3582"/>
                  </a:cubicBezTo>
                  <a:cubicBezTo>
                    <a:pt x="-1" y="1604"/>
                    <a:pt x="1603" y="0"/>
                    <a:pt x="3582" y="0"/>
                  </a:cubicBezTo>
                  <a:cubicBezTo>
                    <a:pt x="5560" y="0"/>
                    <a:pt x="7164" y="1604"/>
                    <a:pt x="7164" y="3582"/>
                  </a:cubicBezTo>
                  <a:close/>
                </a:path>
              </a:pathLst>
            </a:custGeom>
            <a:solidFill>
              <a:srgbClr val="231F20"/>
            </a:solidFill>
            <a:ln w="4474" cap="flat">
              <a:noFill/>
              <a:prstDash val="solid"/>
              <a:miter/>
            </a:ln>
          </p:spPr>
          <p:txBody>
            <a:bodyPr rtlCol="0" anchor="ctr"/>
            <a:lstStyle/>
            <a:p>
              <a:endParaRPr lang="en-US"/>
            </a:p>
          </p:txBody>
        </p:sp>
      </p:grpSp>
      <p:grpSp>
        <p:nvGrpSpPr>
          <p:cNvPr id="4921" name="Group 4920">
            <a:extLst>
              <a:ext uri="{FF2B5EF4-FFF2-40B4-BE49-F238E27FC236}">
                <a16:creationId xmlns:a16="http://schemas.microsoft.com/office/drawing/2014/main" id="{083B8EBE-37D2-46BA-B7C8-3F49C6461C93}"/>
              </a:ext>
              <a:ext uri="{C183D7F6-B498-43B3-948B-1728B52AA6E4}">
                <adec:decorative xmlns:adec="http://schemas.microsoft.com/office/drawing/2017/decorative" val="1"/>
              </a:ext>
            </a:extLst>
          </p:cNvPr>
          <p:cNvGrpSpPr>
            <a:grpSpLocks noChangeAspect="1"/>
          </p:cNvGrpSpPr>
          <p:nvPr/>
        </p:nvGrpSpPr>
        <p:grpSpPr>
          <a:xfrm>
            <a:off x="5555587" y="2737109"/>
            <a:ext cx="125379" cy="135455"/>
            <a:chOff x="5596341" y="2001670"/>
            <a:chExt cx="125379" cy="135455"/>
          </a:xfrm>
        </p:grpSpPr>
        <p:sp>
          <p:nvSpPr>
            <p:cNvPr id="4922" name="Freeform: Shape 4921">
              <a:extLst>
                <a:ext uri="{FF2B5EF4-FFF2-40B4-BE49-F238E27FC236}">
                  <a16:creationId xmlns:a16="http://schemas.microsoft.com/office/drawing/2014/main" id="{A16BFE9E-DEE6-4FAE-9646-C513CCE639D1}"/>
                </a:ext>
              </a:extLst>
            </p:cNvPr>
            <p:cNvSpPr/>
            <p:nvPr/>
          </p:nvSpPr>
          <p:spPr>
            <a:xfrm>
              <a:off x="5596341" y="2007268"/>
              <a:ext cx="125379" cy="129857"/>
            </a:xfrm>
            <a:custGeom>
              <a:avLst/>
              <a:gdLst>
                <a:gd name="connsiteX0" fmla="*/ 123140 w 125378"/>
                <a:gd name="connsiteY0" fmla="*/ 128737 h 129856"/>
                <a:gd name="connsiteX1" fmla="*/ 31345 w 125378"/>
                <a:gd name="connsiteY1" fmla="*/ 128737 h 129856"/>
                <a:gd name="connsiteX2" fmla="*/ 31345 w 125378"/>
                <a:gd name="connsiteY2" fmla="*/ 108139 h 129856"/>
                <a:gd name="connsiteX3" fmla="*/ 69406 w 125378"/>
                <a:gd name="connsiteY3" fmla="*/ 119782 h 129856"/>
                <a:gd name="connsiteX4" fmla="*/ 124931 w 125378"/>
                <a:gd name="connsiteY4" fmla="*/ 92019 h 129856"/>
                <a:gd name="connsiteX5" fmla="*/ 124483 w 125378"/>
                <a:gd name="connsiteY5" fmla="*/ 88885 h 129856"/>
                <a:gd name="connsiteX6" fmla="*/ 76123 w 125378"/>
                <a:gd name="connsiteY6" fmla="*/ 46793 h 129856"/>
                <a:gd name="connsiteX7" fmla="*/ 85079 w 125378"/>
                <a:gd name="connsiteY7" fmla="*/ 37838 h 129856"/>
                <a:gd name="connsiteX8" fmla="*/ 89556 w 125378"/>
                <a:gd name="connsiteY8" fmla="*/ 39181 h 129856"/>
                <a:gd name="connsiteX9" fmla="*/ 98512 w 125378"/>
                <a:gd name="connsiteY9" fmla="*/ 30225 h 129856"/>
                <a:gd name="connsiteX10" fmla="*/ 89556 w 125378"/>
                <a:gd name="connsiteY10" fmla="*/ 21270 h 129856"/>
                <a:gd name="connsiteX11" fmla="*/ 80601 w 125378"/>
                <a:gd name="connsiteY11" fmla="*/ 30225 h 129856"/>
                <a:gd name="connsiteX12" fmla="*/ 81944 w 125378"/>
                <a:gd name="connsiteY12" fmla="*/ 34703 h 129856"/>
                <a:gd name="connsiteX13" fmla="*/ 72988 w 125378"/>
                <a:gd name="connsiteY13" fmla="*/ 43659 h 129856"/>
                <a:gd name="connsiteX14" fmla="*/ 24180 w 125378"/>
                <a:gd name="connsiteY14" fmla="*/ 672 h 129856"/>
                <a:gd name="connsiteX15" fmla="*/ 21046 w 125378"/>
                <a:gd name="connsiteY15" fmla="*/ 672 h 129856"/>
                <a:gd name="connsiteX16" fmla="*/ 0 w 125378"/>
                <a:gd name="connsiteY16" fmla="*/ 50375 h 129856"/>
                <a:gd name="connsiteX17" fmla="*/ 26867 w 125378"/>
                <a:gd name="connsiteY17" fmla="*/ 105005 h 129856"/>
                <a:gd name="connsiteX18" fmla="*/ 26867 w 125378"/>
                <a:gd name="connsiteY18" fmla="*/ 128737 h 129856"/>
                <a:gd name="connsiteX19" fmla="*/ 2239 w 125378"/>
                <a:gd name="connsiteY19" fmla="*/ 128737 h 129856"/>
                <a:gd name="connsiteX20" fmla="*/ 0 w 125378"/>
                <a:gd name="connsiteY20" fmla="*/ 130976 h 129856"/>
                <a:gd name="connsiteX21" fmla="*/ 2239 w 125378"/>
                <a:gd name="connsiteY21" fmla="*/ 133215 h 129856"/>
                <a:gd name="connsiteX22" fmla="*/ 123140 w 125378"/>
                <a:gd name="connsiteY22" fmla="*/ 133215 h 129856"/>
                <a:gd name="connsiteX23" fmla="*/ 125379 w 125378"/>
                <a:gd name="connsiteY23" fmla="*/ 130976 h 129856"/>
                <a:gd name="connsiteX24" fmla="*/ 123140 w 125378"/>
                <a:gd name="connsiteY24" fmla="*/ 128737 h 129856"/>
                <a:gd name="connsiteX25" fmla="*/ 89556 w 125378"/>
                <a:gd name="connsiteY25" fmla="*/ 25747 h 129856"/>
                <a:gd name="connsiteX26" fmla="*/ 94034 w 125378"/>
                <a:gd name="connsiteY26" fmla="*/ 30225 h 129856"/>
                <a:gd name="connsiteX27" fmla="*/ 89556 w 125378"/>
                <a:gd name="connsiteY27" fmla="*/ 34703 h 129856"/>
                <a:gd name="connsiteX28" fmla="*/ 86422 w 125378"/>
                <a:gd name="connsiteY28" fmla="*/ 33360 h 129856"/>
                <a:gd name="connsiteX29" fmla="*/ 86422 w 125378"/>
                <a:gd name="connsiteY29" fmla="*/ 33360 h 129856"/>
                <a:gd name="connsiteX30" fmla="*/ 86422 w 125378"/>
                <a:gd name="connsiteY30" fmla="*/ 33360 h 129856"/>
                <a:gd name="connsiteX31" fmla="*/ 85079 w 125378"/>
                <a:gd name="connsiteY31" fmla="*/ 30225 h 129856"/>
                <a:gd name="connsiteX32" fmla="*/ 89556 w 125378"/>
                <a:gd name="connsiteY32" fmla="*/ 25747 h 129856"/>
                <a:gd name="connsiteX33" fmla="*/ 4478 w 125378"/>
                <a:gd name="connsiteY33" fmla="*/ 50375 h 129856"/>
                <a:gd name="connsiteX34" fmla="*/ 22389 w 125378"/>
                <a:gd name="connsiteY34" fmla="*/ 5597 h 129856"/>
                <a:gd name="connsiteX35" fmla="*/ 120005 w 125378"/>
                <a:gd name="connsiteY35" fmla="*/ 91124 h 129856"/>
                <a:gd name="connsiteX36" fmla="*/ 69406 w 125378"/>
                <a:gd name="connsiteY36" fmla="*/ 115304 h 129856"/>
                <a:gd name="connsiteX37" fmla="*/ 4478 w 125378"/>
                <a:gd name="connsiteY37" fmla="*/ 50375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378" h="129856">
                  <a:moveTo>
                    <a:pt x="123140" y="128737"/>
                  </a:moveTo>
                  <a:lnTo>
                    <a:pt x="31345" y="128737"/>
                  </a:lnTo>
                  <a:lnTo>
                    <a:pt x="31345" y="108139"/>
                  </a:lnTo>
                  <a:cubicBezTo>
                    <a:pt x="42092" y="115304"/>
                    <a:pt x="55525" y="119782"/>
                    <a:pt x="69406" y="119782"/>
                  </a:cubicBezTo>
                  <a:cubicBezTo>
                    <a:pt x="91348" y="119782"/>
                    <a:pt x="111498" y="109483"/>
                    <a:pt x="124931" y="92019"/>
                  </a:cubicBezTo>
                  <a:cubicBezTo>
                    <a:pt x="125827" y="91124"/>
                    <a:pt x="125379" y="89780"/>
                    <a:pt x="124483" y="88885"/>
                  </a:cubicBezTo>
                  <a:lnTo>
                    <a:pt x="76123" y="46793"/>
                  </a:lnTo>
                  <a:lnTo>
                    <a:pt x="85079" y="37838"/>
                  </a:lnTo>
                  <a:cubicBezTo>
                    <a:pt x="86422" y="38733"/>
                    <a:pt x="87765" y="39181"/>
                    <a:pt x="89556" y="39181"/>
                  </a:cubicBezTo>
                  <a:cubicBezTo>
                    <a:pt x="94482" y="39181"/>
                    <a:pt x="98512" y="35151"/>
                    <a:pt x="98512" y="30225"/>
                  </a:cubicBezTo>
                  <a:cubicBezTo>
                    <a:pt x="98512" y="25300"/>
                    <a:pt x="94482" y="21270"/>
                    <a:pt x="89556" y="21270"/>
                  </a:cubicBezTo>
                  <a:cubicBezTo>
                    <a:pt x="84631" y="21270"/>
                    <a:pt x="80601" y="25300"/>
                    <a:pt x="80601" y="30225"/>
                  </a:cubicBezTo>
                  <a:cubicBezTo>
                    <a:pt x="80601" y="32016"/>
                    <a:pt x="81048" y="33360"/>
                    <a:pt x="81944" y="34703"/>
                  </a:cubicBezTo>
                  <a:lnTo>
                    <a:pt x="72988" y="43659"/>
                  </a:lnTo>
                  <a:lnTo>
                    <a:pt x="24180" y="672"/>
                  </a:lnTo>
                  <a:cubicBezTo>
                    <a:pt x="23284" y="-224"/>
                    <a:pt x="21941" y="-224"/>
                    <a:pt x="21046" y="672"/>
                  </a:cubicBezTo>
                  <a:cubicBezTo>
                    <a:pt x="7612" y="13657"/>
                    <a:pt x="0" y="31569"/>
                    <a:pt x="0" y="50375"/>
                  </a:cubicBezTo>
                  <a:cubicBezTo>
                    <a:pt x="0" y="72765"/>
                    <a:pt x="10747" y="92467"/>
                    <a:pt x="26867" y="105005"/>
                  </a:cubicBezTo>
                  <a:lnTo>
                    <a:pt x="26867" y="128737"/>
                  </a:lnTo>
                  <a:lnTo>
                    <a:pt x="2239" y="128737"/>
                  </a:lnTo>
                  <a:cubicBezTo>
                    <a:pt x="895" y="128737"/>
                    <a:pt x="0" y="129633"/>
                    <a:pt x="0" y="130976"/>
                  </a:cubicBezTo>
                  <a:cubicBezTo>
                    <a:pt x="0" y="132319"/>
                    <a:pt x="895" y="133215"/>
                    <a:pt x="2239" y="133215"/>
                  </a:cubicBezTo>
                  <a:lnTo>
                    <a:pt x="123140" y="133215"/>
                  </a:lnTo>
                  <a:cubicBezTo>
                    <a:pt x="124483" y="133215"/>
                    <a:pt x="125379" y="132319"/>
                    <a:pt x="125379" y="130976"/>
                  </a:cubicBezTo>
                  <a:cubicBezTo>
                    <a:pt x="125379" y="129633"/>
                    <a:pt x="124483" y="128737"/>
                    <a:pt x="123140" y="128737"/>
                  </a:cubicBezTo>
                  <a:close/>
                  <a:moveTo>
                    <a:pt x="89556" y="25747"/>
                  </a:moveTo>
                  <a:cubicBezTo>
                    <a:pt x="92243" y="25747"/>
                    <a:pt x="94034" y="27539"/>
                    <a:pt x="94034" y="30225"/>
                  </a:cubicBezTo>
                  <a:cubicBezTo>
                    <a:pt x="94034" y="32912"/>
                    <a:pt x="92243" y="34703"/>
                    <a:pt x="89556" y="34703"/>
                  </a:cubicBezTo>
                  <a:cubicBezTo>
                    <a:pt x="88213" y="34703"/>
                    <a:pt x="87317" y="34255"/>
                    <a:pt x="86422" y="33360"/>
                  </a:cubicBezTo>
                  <a:cubicBezTo>
                    <a:pt x="86422" y="33360"/>
                    <a:pt x="86422" y="33360"/>
                    <a:pt x="86422" y="33360"/>
                  </a:cubicBezTo>
                  <a:cubicBezTo>
                    <a:pt x="86422" y="33360"/>
                    <a:pt x="86422" y="33360"/>
                    <a:pt x="86422" y="33360"/>
                  </a:cubicBezTo>
                  <a:cubicBezTo>
                    <a:pt x="85526" y="32464"/>
                    <a:pt x="85079" y="31569"/>
                    <a:pt x="85079" y="30225"/>
                  </a:cubicBezTo>
                  <a:cubicBezTo>
                    <a:pt x="85079" y="27539"/>
                    <a:pt x="87317" y="25747"/>
                    <a:pt x="89556" y="25747"/>
                  </a:cubicBezTo>
                  <a:close/>
                  <a:moveTo>
                    <a:pt x="4478" y="50375"/>
                  </a:moveTo>
                  <a:cubicBezTo>
                    <a:pt x="4478" y="33360"/>
                    <a:pt x="10747" y="17687"/>
                    <a:pt x="22389" y="5597"/>
                  </a:cubicBezTo>
                  <a:lnTo>
                    <a:pt x="120005" y="91124"/>
                  </a:lnTo>
                  <a:cubicBezTo>
                    <a:pt x="107468" y="106796"/>
                    <a:pt x="89109" y="115304"/>
                    <a:pt x="69406" y="115304"/>
                  </a:cubicBezTo>
                  <a:cubicBezTo>
                    <a:pt x="33584" y="115304"/>
                    <a:pt x="4478" y="86198"/>
                    <a:pt x="4478" y="50375"/>
                  </a:cubicBezTo>
                  <a:close/>
                </a:path>
              </a:pathLst>
            </a:custGeom>
            <a:solidFill>
              <a:srgbClr val="231F20"/>
            </a:solidFill>
            <a:ln w="4474" cap="flat">
              <a:noFill/>
              <a:prstDash val="solid"/>
              <a:miter/>
            </a:ln>
          </p:spPr>
          <p:txBody>
            <a:bodyPr rtlCol="0" anchor="ctr"/>
            <a:lstStyle/>
            <a:p>
              <a:endParaRPr lang="en-US"/>
            </a:p>
          </p:txBody>
        </p:sp>
        <p:sp>
          <p:nvSpPr>
            <p:cNvPr id="4923" name="Freeform: Shape 4922">
              <a:extLst>
                <a:ext uri="{FF2B5EF4-FFF2-40B4-BE49-F238E27FC236}">
                  <a16:creationId xmlns:a16="http://schemas.microsoft.com/office/drawing/2014/main" id="{C5ABCF0B-E82B-4B06-9AF4-932EDC93934B}"/>
                </a:ext>
              </a:extLst>
            </p:cNvPr>
            <p:cNvSpPr/>
            <p:nvPr/>
          </p:nvSpPr>
          <p:spPr>
            <a:xfrm>
              <a:off x="5684107" y="2014656"/>
              <a:ext cx="22389" cy="22389"/>
            </a:xfrm>
            <a:custGeom>
              <a:avLst/>
              <a:gdLst>
                <a:gd name="connsiteX0" fmla="*/ 21941 w 22389"/>
                <a:gd name="connsiteY0" fmla="*/ 24180 h 22389"/>
                <a:gd name="connsiteX1" fmla="*/ 19703 w 22389"/>
                <a:gd name="connsiteY1" fmla="*/ 21941 h 22389"/>
                <a:gd name="connsiteX2" fmla="*/ 2239 w 22389"/>
                <a:gd name="connsiteY2" fmla="*/ 4478 h 22389"/>
                <a:gd name="connsiteX3" fmla="*/ 0 w 22389"/>
                <a:gd name="connsiteY3" fmla="*/ 2239 h 22389"/>
                <a:gd name="connsiteX4" fmla="*/ 2239 w 22389"/>
                <a:gd name="connsiteY4" fmla="*/ 0 h 22389"/>
                <a:gd name="connsiteX5" fmla="*/ 24180 w 22389"/>
                <a:gd name="connsiteY5" fmla="*/ 21941 h 22389"/>
                <a:gd name="connsiteX6" fmla="*/ 21941 w 22389"/>
                <a:gd name="connsiteY6" fmla="*/ 24180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89" h="22389">
                  <a:moveTo>
                    <a:pt x="21941" y="24180"/>
                  </a:moveTo>
                  <a:cubicBezTo>
                    <a:pt x="20598" y="24180"/>
                    <a:pt x="19703" y="23285"/>
                    <a:pt x="19703" y="21941"/>
                  </a:cubicBezTo>
                  <a:cubicBezTo>
                    <a:pt x="19703" y="12538"/>
                    <a:pt x="12090" y="4478"/>
                    <a:pt x="2239" y="4478"/>
                  </a:cubicBezTo>
                  <a:cubicBezTo>
                    <a:pt x="895" y="4478"/>
                    <a:pt x="0" y="3582"/>
                    <a:pt x="0" y="2239"/>
                  </a:cubicBezTo>
                  <a:cubicBezTo>
                    <a:pt x="0" y="896"/>
                    <a:pt x="895" y="0"/>
                    <a:pt x="2239" y="0"/>
                  </a:cubicBezTo>
                  <a:cubicBezTo>
                    <a:pt x="14329" y="0"/>
                    <a:pt x="24180" y="9851"/>
                    <a:pt x="24180" y="21941"/>
                  </a:cubicBezTo>
                  <a:cubicBezTo>
                    <a:pt x="24180" y="23285"/>
                    <a:pt x="23284" y="24180"/>
                    <a:pt x="21941" y="24180"/>
                  </a:cubicBezTo>
                  <a:close/>
                </a:path>
              </a:pathLst>
            </a:custGeom>
            <a:solidFill>
              <a:srgbClr val="231F20"/>
            </a:solidFill>
            <a:ln w="4474" cap="flat">
              <a:noFill/>
              <a:prstDash val="solid"/>
              <a:miter/>
            </a:ln>
          </p:spPr>
          <p:txBody>
            <a:bodyPr rtlCol="0" anchor="ctr"/>
            <a:lstStyle/>
            <a:p>
              <a:endParaRPr lang="en-US"/>
            </a:p>
          </p:txBody>
        </p:sp>
        <p:sp>
          <p:nvSpPr>
            <p:cNvPr id="4924" name="Freeform: Shape 4923">
              <a:extLst>
                <a:ext uri="{FF2B5EF4-FFF2-40B4-BE49-F238E27FC236}">
                  <a16:creationId xmlns:a16="http://schemas.microsoft.com/office/drawing/2014/main" id="{1635EF32-81E8-4D96-9A6F-09B58BD14CD6}"/>
                </a:ext>
              </a:extLst>
            </p:cNvPr>
            <p:cNvSpPr/>
            <p:nvPr/>
          </p:nvSpPr>
          <p:spPr>
            <a:xfrm>
              <a:off x="5684554" y="2001670"/>
              <a:ext cx="35823" cy="35823"/>
            </a:xfrm>
            <a:custGeom>
              <a:avLst/>
              <a:gdLst>
                <a:gd name="connsiteX0" fmla="*/ 34927 w 35822"/>
                <a:gd name="connsiteY0" fmla="*/ 37166 h 35822"/>
                <a:gd name="connsiteX1" fmla="*/ 32688 w 35822"/>
                <a:gd name="connsiteY1" fmla="*/ 34927 h 35822"/>
                <a:gd name="connsiteX2" fmla="*/ 2239 w 35822"/>
                <a:gd name="connsiteY2" fmla="*/ 4478 h 35822"/>
                <a:gd name="connsiteX3" fmla="*/ 0 w 35822"/>
                <a:gd name="connsiteY3" fmla="*/ 2239 h 35822"/>
                <a:gd name="connsiteX4" fmla="*/ 2239 w 35822"/>
                <a:gd name="connsiteY4" fmla="*/ 0 h 35822"/>
                <a:gd name="connsiteX5" fmla="*/ 37166 w 35822"/>
                <a:gd name="connsiteY5" fmla="*/ 34927 h 35822"/>
                <a:gd name="connsiteX6" fmla="*/ 34927 w 35822"/>
                <a:gd name="connsiteY6" fmla="*/ 3716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2" h="35822">
                  <a:moveTo>
                    <a:pt x="34927" y="37166"/>
                  </a:moveTo>
                  <a:cubicBezTo>
                    <a:pt x="33584" y="37166"/>
                    <a:pt x="32688" y="36270"/>
                    <a:pt x="32688" y="34927"/>
                  </a:cubicBezTo>
                  <a:cubicBezTo>
                    <a:pt x="32688" y="17911"/>
                    <a:pt x="18807" y="4478"/>
                    <a:pt x="2239" y="4478"/>
                  </a:cubicBezTo>
                  <a:cubicBezTo>
                    <a:pt x="896" y="4478"/>
                    <a:pt x="0" y="3582"/>
                    <a:pt x="0" y="2239"/>
                  </a:cubicBezTo>
                  <a:cubicBezTo>
                    <a:pt x="0" y="896"/>
                    <a:pt x="896" y="0"/>
                    <a:pt x="2239" y="0"/>
                  </a:cubicBezTo>
                  <a:cubicBezTo>
                    <a:pt x="21494" y="0"/>
                    <a:pt x="37166" y="15672"/>
                    <a:pt x="37166" y="34927"/>
                  </a:cubicBezTo>
                  <a:cubicBezTo>
                    <a:pt x="37166" y="36270"/>
                    <a:pt x="36270" y="37166"/>
                    <a:pt x="34927" y="37166"/>
                  </a:cubicBezTo>
                  <a:close/>
                </a:path>
              </a:pathLst>
            </a:custGeom>
            <a:solidFill>
              <a:srgbClr val="231F20"/>
            </a:solidFill>
            <a:ln w="4474" cap="flat">
              <a:noFill/>
              <a:prstDash val="solid"/>
              <a:miter/>
            </a:ln>
          </p:spPr>
          <p:txBody>
            <a:bodyPr rtlCol="0" anchor="ctr"/>
            <a:lstStyle/>
            <a:p>
              <a:endParaRPr lang="en-US"/>
            </a:p>
          </p:txBody>
        </p:sp>
      </p:grpSp>
      <p:grpSp>
        <p:nvGrpSpPr>
          <p:cNvPr id="4925" name="Group 4924">
            <a:extLst>
              <a:ext uri="{FF2B5EF4-FFF2-40B4-BE49-F238E27FC236}">
                <a16:creationId xmlns:a16="http://schemas.microsoft.com/office/drawing/2014/main" id="{03BA8C93-FB90-4D96-B9BF-048D02F6188E}"/>
              </a:ext>
              <a:ext uri="{C183D7F6-B498-43B3-948B-1728B52AA6E4}">
                <adec:decorative xmlns:adec="http://schemas.microsoft.com/office/drawing/2017/decorative" val="1"/>
              </a:ext>
            </a:extLst>
          </p:cNvPr>
          <p:cNvGrpSpPr>
            <a:grpSpLocks noChangeAspect="1"/>
          </p:cNvGrpSpPr>
          <p:nvPr/>
        </p:nvGrpSpPr>
        <p:grpSpPr>
          <a:xfrm>
            <a:off x="2149939" y="4892433"/>
            <a:ext cx="98512" cy="116423"/>
            <a:chOff x="2201260" y="4161321"/>
            <a:chExt cx="98512" cy="116423"/>
          </a:xfrm>
        </p:grpSpPr>
        <p:sp>
          <p:nvSpPr>
            <p:cNvPr id="4926" name="Freeform: Shape 4925">
              <a:extLst>
                <a:ext uri="{FF2B5EF4-FFF2-40B4-BE49-F238E27FC236}">
                  <a16:creationId xmlns:a16="http://schemas.microsoft.com/office/drawing/2014/main" id="{50B41B40-1CED-4B5C-9E82-CC299054CD43}"/>
                </a:ext>
              </a:extLst>
            </p:cNvPr>
            <p:cNvSpPr/>
            <p:nvPr/>
          </p:nvSpPr>
          <p:spPr>
            <a:xfrm>
              <a:off x="2201260" y="4161321"/>
              <a:ext cx="98512" cy="116423"/>
            </a:xfrm>
            <a:custGeom>
              <a:avLst/>
              <a:gdLst>
                <a:gd name="connsiteX0" fmla="*/ 96273 w 98511"/>
                <a:gd name="connsiteY0" fmla="*/ 47017 h 116423"/>
                <a:gd name="connsiteX1" fmla="*/ 85079 w 98511"/>
                <a:gd name="connsiteY1" fmla="*/ 47017 h 116423"/>
                <a:gd name="connsiteX2" fmla="*/ 85079 w 98511"/>
                <a:gd name="connsiteY2" fmla="*/ 35375 h 116423"/>
                <a:gd name="connsiteX3" fmla="*/ 49704 w 98511"/>
                <a:gd name="connsiteY3" fmla="*/ 0 h 116423"/>
                <a:gd name="connsiteX4" fmla="*/ 48808 w 98511"/>
                <a:gd name="connsiteY4" fmla="*/ 0 h 116423"/>
                <a:gd name="connsiteX5" fmla="*/ 13433 w 98511"/>
                <a:gd name="connsiteY5" fmla="*/ 35375 h 116423"/>
                <a:gd name="connsiteX6" fmla="*/ 13433 w 98511"/>
                <a:gd name="connsiteY6" fmla="*/ 47017 h 116423"/>
                <a:gd name="connsiteX7" fmla="*/ 2239 w 98511"/>
                <a:gd name="connsiteY7" fmla="*/ 47017 h 116423"/>
                <a:gd name="connsiteX8" fmla="*/ 0 w 98511"/>
                <a:gd name="connsiteY8" fmla="*/ 49256 h 116423"/>
                <a:gd name="connsiteX9" fmla="*/ 0 w 98511"/>
                <a:gd name="connsiteY9" fmla="*/ 116423 h 116423"/>
                <a:gd name="connsiteX10" fmla="*/ 2239 w 98511"/>
                <a:gd name="connsiteY10" fmla="*/ 118662 h 116423"/>
                <a:gd name="connsiteX11" fmla="*/ 96273 w 98511"/>
                <a:gd name="connsiteY11" fmla="*/ 118662 h 116423"/>
                <a:gd name="connsiteX12" fmla="*/ 98512 w 98511"/>
                <a:gd name="connsiteY12" fmla="*/ 116423 h 116423"/>
                <a:gd name="connsiteX13" fmla="*/ 98512 w 98511"/>
                <a:gd name="connsiteY13" fmla="*/ 49256 h 116423"/>
                <a:gd name="connsiteX14" fmla="*/ 96273 w 98511"/>
                <a:gd name="connsiteY14" fmla="*/ 47017 h 116423"/>
                <a:gd name="connsiteX15" fmla="*/ 17911 w 98511"/>
                <a:gd name="connsiteY15" fmla="*/ 35375 h 116423"/>
                <a:gd name="connsiteX16" fmla="*/ 48808 w 98511"/>
                <a:gd name="connsiteY16" fmla="*/ 4478 h 116423"/>
                <a:gd name="connsiteX17" fmla="*/ 49704 w 98511"/>
                <a:gd name="connsiteY17" fmla="*/ 4478 h 116423"/>
                <a:gd name="connsiteX18" fmla="*/ 80601 w 98511"/>
                <a:gd name="connsiteY18" fmla="*/ 35375 h 116423"/>
                <a:gd name="connsiteX19" fmla="*/ 80601 w 98511"/>
                <a:gd name="connsiteY19" fmla="*/ 47017 h 116423"/>
                <a:gd name="connsiteX20" fmla="*/ 17911 w 98511"/>
                <a:gd name="connsiteY20" fmla="*/ 47017 h 116423"/>
                <a:gd name="connsiteX21" fmla="*/ 17911 w 98511"/>
                <a:gd name="connsiteY21" fmla="*/ 35375 h 116423"/>
                <a:gd name="connsiteX22" fmla="*/ 94034 w 98511"/>
                <a:gd name="connsiteY22" fmla="*/ 114184 h 116423"/>
                <a:gd name="connsiteX23" fmla="*/ 4478 w 98511"/>
                <a:gd name="connsiteY23" fmla="*/ 114184 h 116423"/>
                <a:gd name="connsiteX24" fmla="*/ 4478 w 98511"/>
                <a:gd name="connsiteY24" fmla="*/ 51495 h 116423"/>
                <a:gd name="connsiteX25" fmla="*/ 15672 w 98511"/>
                <a:gd name="connsiteY25" fmla="*/ 51495 h 116423"/>
                <a:gd name="connsiteX26" fmla="*/ 82840 w 98511"/>
                <a:gd name="connsiteY26" fmla="*/ 51495 h 116423"/>
                <a:gd name="connsiteX27" fmla="*/ 94034 w 98511"/>
                <a:gd name="connsiteY27" fmla="*/ 51495 h 116423"/>
                <a:gd name="connsiteX28" fmla="*/ 94034 w 98511"/>
                <a:gd name="connsiteY28" fmla="*/ 114184 h 11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8511" h="116423">
                  <a:moveTo>
                    <a:pt x="96273" y="47017"/>
                  </a:moveTo>
                  <a:lnTo>
                    <a:pt x="85079" y="47017"/>
                  </a:lnTo>
                  <a:lnTo>
                    <a:pt x="85079" y="35375"/>
                  </a:lnTo>
                  <a:cubicBezTo>
                    <a:pt x="85079" y="15672"/>
                    <a:pt x="68958" y="0"/>
                    <a:pt x="49704" y="0"/>
                  </a:cubicBezTo>
                  <a:lnTo>
                    <a:pt x="48808" y="0"/>
                  </a:lnTo>
                  <a:cubicBezTo>
                    <a:pt x="29106" y="0"/>
                    <a:pt x="13433" y="16120"/>
                    <a:pt x="13433" y="35375"/>
                  </a:cubicBezTo>
                  <a:lnTo>
                    <a:pt x="13433" y="47017"/>
                  </a:lnTo>
                  <a:lnTo>
                    <a:pt x="2239" y="47017"/>
                  </a:lnTo>
                  <a:cubicBezTo>
                    <a:pt x="895" y="47017"/>
                    <a:pt x="0" y="47913"/>
                    <a:pt x="0" y="49256"/>
                  </a:cubicBezTo>
                  <a:lnTo>
                    <a:pt x="0" y="116423"/>
                  </a:lnTo>
                  <a:cubicBezTo>
                    <a:pt x="0" y="117767"/>
                    <a:pt x="895" y="118662"/>
                    <a:pt x="2239" y="118662"/>
                  </a:cubicBezTo>
                  <a:lnTo>
                    <a:pt x="96273" y="118662"/>
                  </a:lnTo>
                  <a:cubicBezTo>
                    <a:pt x="97616" y="118662"/>
                    <a:pt x="98512" y="117767"/>
                    <a:pt x="98512" y="116423"/>
                  </a:cubicBezTo>
                  <a:lnTo>
                    <a:pt x="98512" y="49256"/>
                  </a:lnTo>
                  <a:cubicBezTo>
                    <a:pt x="98512" y="47913"/>
                    <a:pt x="97616" y="47017"/>
                    <a:pt x="96273" y="47017"/>
                  </a:cubicBezTo>
                  <a:close/>
                  <a:moveTo>
                    <a:pt x="17911" y="35375"/>
                  </a:moveTo>
                  <a:cubicBezTo>
                    <a:pt x="17911" y="18359"/>
                    <a:pt x="31792" y="4478"/>
                    <a:pt x="48808" y="4478"/>
                  </a:cubicBezTo>
                  <a:lnTo>
                    <a:pt x="49704" y="4478"/>
                  </a:lnTo>
                  <a:cubicBezTo>
                    <a:pt x="66719" y="4478"/>
                    <a:pt x="80601" y="18359"/>
                    <a:pt x="80601" y="35375"/>
                  </a:cubicBezTo>
                  <a:lnTo>
                    <a:pt x="80601" y="47017"/>
                  </a:lnTo>
                  <a:lnTo>
                    <a:pt x="17911" y="47017"/>
                  </a:lnTo>
                  <a:lnTo>
                    <a:pt x="17911" y="35375"/>
                  </a:lnTo>
                  <a:close/>
                  <a:moveTo>
                    <a:pt x="94034" y="114184"/>
                  </a:moveTo>
                  <a:lnTo>
                    <a:pt x="4478" y="114184"/>
                  </a:lnTo>
                  <a:lnTo>
                    <a:pt x="4478" y="51495"/>
                  </a:lnTo>
                  <a:lnTo>
                    <a:pt x="15672" y="51495"/>
                  </a:lnTo>
                  <a:lnTo>
                    <a:pt x="82840" y="51495"/>
                  </a:lnTo>
                  <a:lnTo>
                    <a:pt x="94034" y="51495"/>
                  </a:lnTo>
                  <a:lnTo>
                    <a:pt x="94034" y="114184"/>
                  </a:lnTo>
                  <a:close/>
                </a:path>
              </a:pathLst>
            </a:custGeom>
            <a:solidFill>
              <a:srgbClr val="231F20"/>
            </a:solidFill>
            <a:ln w="4474" cap="flat">
              <a:noFill/>
              <a:prstDash val="solid"/>
              <a:miter/>
            </a:ln>
          </p:spPr>
          <p:txBody>
            <a:bodyPr rtlCol="0" anchor="ctr"/>
            <a:lstStyle/>
            <a:p>
              <a:endParaRPr lang="en-US"/>
            </a:p>
          </p:txBody>
        </p:sp>
        <p:sp>
          <p:nvSpPr>
            <p:cNvPr id="4927" name="Freeform: Shape 4926">
              <a:extLst>
                <a:ext uri="{FF2B5EF4-FFF2-40B4-BE49-F238E27FC236}">
                  <a16:creationId xmlns:a16="http://schemas.microsoft.com/office/drawing/2014/main" id="{AFBBF4DD-3115-4BB2-ACDD-6F27C0B6D864}"/>
                </a:ext>
              </a:extLst>
            </p:cNvPr>
            <p:cNvSpPr/>
            <p:nvPr/>
          </p:nvSpPr>
          <p:spPr>
            <a:xfrm>
              <a:off x="2239769" y="4224011"/>
              <a:ext cx="17911" cy="31345"/>
            </a:xfrm>
            <a:custGeom>
              <a:avLst/>
              <a:gdLst>
                <a:gd name="connsiteX0" fmla="*/ 21494 w 17911"/>
                <a:gd name="connsiteY0" fmla="*/ 10747 h 31344"/>
                <a:gd name="connsiteX1" fmla="*/ 10747 w 17911"/>
                <a:gd name="connsiteY1" fmla="*/ 0 h 31344"/>
                <a:gd name="connsiteX2" fmla="*/ 0 w 17911"/>
                <a:gd name="connsiteY2" fmla="*/ 10747 h 31344"/>
                <a:gd name="connsiteX3" fmla="*/ 7165 w 17911"/>
                <a:gd name="connsiteY3" fmla="*/ 20598 h 31344"/>
                <a:gd name="connsiteX4" fmla="*/ 7165 w 17911"/>
                <a:gd name="connsiteY4" fmla="*/ 34479 h 31344"/>
                <a:gd name="connsiteX5" fmla="*/ 13881 w 17911"/>
                <a:gd name="connsiteY5" fmla="*/ 34479 h 31344"/>
                <a:gd name="connsiteX6" fmla="*/ 13881 w 17911"/>
                <a:gd name="connsiteY6" fmla="*/ 20598 h 31344"/>
                <a:gd name="connsiteX7" fmla="*/ 21494 w 17911"/>
                <a:gd name="connsiteY7" fmla="*/ 10747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1" h="31344">
                  <a:moveTo>
                    <a:pt x="21494" y="10747"/>
                  </a:moveTo>
                  <a:cubicBezTo>
                    <a:pt x="21494" y="4926"/>
                    <a:pt x="16568" y="0"/>
                    <a:pt x="10747" y="0"/>
                  </a:cubicBezTo>
                  <a:cubicBezTo>
                    <a:pt x="4926" y="0"/>
                    <a:pt x="0" y="4926"/>
                    <a:pt x="0" y="10747"/>
                  </a:cubicBezTo>
                  <a:cubicBezTo>
                    <a:pt x="0" y="15225"/>
                    <a:pt x="3135" y="19255"/>
                    <a:pt x="7165" y="20598"/>
                  </a:cubicBezTo>
                  <a:lnTo>
                    <a:pt x="7165" y="34479"/>
                  </a:lnTo>
                  <a:lnTo>
                    <a:pt x="13881" y="34479"/>
                  </a:lnTo>
                  <a:lnTo>
                    <a:pt x="13881" y="20598"/>
                  </a:lnTo>
                  <a:cubicBezTo>
                    <a:pt x="18359" y="19255"/>
                    <a:pt x="21494" y="15225"/>
                    <a:pt x="21494" y="10747"/>
                  </a:cubicBezTo>
                  <a:close/>
                </a:path>
              </a:pathLst>
            </a:custGeom>
            <a:solidFill>
              <a:srgbClr val="231F20"/>
            </a:solidFill>
            <a:ln w="4474" cap="flat">
              <a:noFill/>
              <a:prstDash val="solid"/>
              <a:miter/>
            </a:ln>
          </p:spPr>
          <p:txBody>
            <a:bodyPr rtlCol="0" anchor="ctr"/>
            <a:lstStyle/>
            <a:p>
              <a:endParaRPr lang="en-US"/>
            </a:p>
          </p:txBody>
        </p:sp>
      </p:grpSp>
      <p:grpSp>
        <p:nvGrpSpPr>
          <p:cNvPr id="4928" name="Group 4927">
            <a:extLst>
              <a:ext uri="{FF2B5EF4-FFF2-40B4-BE49-F238E27FC236}">
                <a16:creationId xmlns:a16="http://schemas.microsoft.com/office/drawing/2014/main" id="{5035EA62-7A36-46A1-AFE2-835F9322B80B}"/>
              </a:ext>
              <a:ext uri="{C183D7F6-B498-43B3-948B-1728B52AA6E4}">
                <adec:decorative xmlns:adec="http://schemas.microsoft.com/office/drawing/2017/decorative" val="1"/>
              </a:ext>
            </a:extLst>
          </p:cNvPr>
          <p:cNvGrpSpPr>
            <a:grpSpLocks noChangeAspect="1"/>
          </p:cNvGrpSpPr>
          <p:nvPr/>
        </p:nvGrpSpPr>
        <p:grpSpPr>
          <a:xfrm>
            <a:off x="533894" y="5222896"/>
            <a:ext cx="147768" cy="152246"/>
            <a:chOff x="585215" y="4491784"/>
            <a:chExt cx="147768" cy="152246"/>
          </a:xfrm>
        </p:grpSpPr>
        <p:sp>
          <p:nvSpPr>
            <p:cNvPr id="4929" name="Freeform: Shape 4928">
              <a:extLst>
                <a:ext uri="{FF2B5EF4-FFF2-40B4-BE49-F238E27FC236}">
                  <a16:creationId xmlns:a16="http://schemas.microsoft.com/office/drawing/2014/main" id="{96865644-C389-464D-8261-1DFD9A52D334}"/>
                </a:ext>
              </a:extLst>
            </p:cNvPr>
            <p:cNvSpPr/>
            <p:nvPr/>
          </p:nvSpPr>
          <p:spPr>
            <a:xfrm>
              <a:off x="585215" y="4491784"/>
              <a:ext cx="147768" cy="152246"/>
            </a:xfrm>
            <a:custGeom>
              <a:avLst/>
              <a:gdLst>
                <a:gd name="connsiteX0" fmla="*/ 76123 w 147767"/>
                <a:gd name="connsiteY0" fmla="*/ 152246 h 152245"/>
                <a:gd name="connsiteX1" fmla="*/ 22389 w 147767"/>
                <a:gd name="connsiteY1" fmla="*/ 129857 h 152245"/>
                <a:gd name="connsiteX2" fmla="*/ 0 w 147767"/>
                <a:gd name="connsiteY2" fmla="*/ 76123 h 152245"/>
                <a:gd name="connsiteX3" fmla="*/ 22389 w 147767"/>
                <a:gd name="connsiteY3" fmla="*/ 22389 h 152245"/>
                <a:gd name="connsiteX4" fmla="*/ 76123 w 147767"/>
                <a:gd name="connsiteY4" fmla="*/ 0 h 152245"/>
                <a:gd name="connsiteX5" fmla="*/ 129857 w 147767"/>
                <a:gd name="connsiteY5" fmla="*/ 22389 h 152245"/>
                <a:gd name="connsiteX6" fmla="*/ 129857 w 147767"/>
                <a:gd name="connsiteY6" fmla="*/ 22389 h 152245"/>
                <a:gd name="connsiteX7" fmla="*/ 152246 w 147767"/>
                <a:gd name="connsiteY7" fmla="*/ 76123 h 152245"/>
                <a:gd name="connsiteX8" fmla="*/ 129857 w 147767"/>
                <a:gd name="connsiteY8" fmla="*/ 129857 h 152245"/>
                <a:gd name="connsiteX9" fmla="*/ 76123 w 147767"/>
                <a:gd name="connsiteY9" fmla="*/ 152246 h 152245"/>
                <a:gd name="connsiteX10" fmla="*/ 76123 w 147767"/>
                <a:gd name="connsiteY10" fmla="*/ 4478 h 152245"/>
                <a:gd name="connsiteX11" fmla="*/ 25524 w 147767"/>
                <a:gd name="connsiteY11" fmla="*/ 25524 h 152245"/>
                <a:gd name="connsiteX12" fmla="*/ 4478 w 147767"/>
                <a:gd name="connsiteY12" fmla="*/ 76123 h 152245"/>
                <a:gd name="connsiteX13" fmla="*/ 25524 w 147767"/>
                <a:gd name="connsiteY13" fmla="*/ 126722 h 152245"/>
                <a:gd name="connsiteX14" fmla="*/ 76123 w 147767"/>
                <a:gd name="connsiteY14" fmla="*/ 147768 h 152245"/>
                <a:gd name="connsiteX15" fmla="*/ 126722 w 147767"/>
                <a:gd name="connsiteY15" fmla="*/ 126722 h 152245"/>
                <a:gd name="connsiteX16" fmla="*/ 147768 w 147767"/>
                <a:gd name="connsiteY16" fmla="*/ 76123 h 152245"/>
                <a:gd name="connsiteX17" fmla="*/ 126722 w 147767"/>
                <a:gd name="connsiteY17" fmla="*/ 25524 h 152245"/>
                <a:gd name="connsiteX18" fmla="*/ 76123 w 147767"/>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7767"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cubicBezTo>
                    <a:pt x="129857" y="22389"/>
                    <a:pt x="129857" y="22389"/>
                    <a:pt x="129857" y="22389"/>
                  </a:cubicBez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8"/>
                    <a:pt x="12090" y="113289"/>
                    <a:pt x="25524" y="126722"/>
                  </a:cubicBezTo>
                  <a:cubicBezTo>
                    <a:pt x="38957" y="140156"/>
                    <a:pt x="56868" y="147768"/>
                    <a:pt x="76123" y="147768"/>
                  </a:cubicBezTo>
                  <a:cubicBezTo>
                    <a:pt x="95378" y="147768"/>
                    <a:pt x="113289" y="140156"/>
                    <a:pt x="126722" y="126722"/>
                  </a:cubicBezTo>
                  <a:cubicBezTo>
                    <a:pt x="140156" y="113289"/>
                    <a:pt x="147768" y="95378"/>
                    <a:pt x="147768" y="76123"/>
                  </a:cubicBezTo>
                  <a:cubicBezTo>
                    <a:pt x="147768" y="56868"/>
                    <a:pt x="140156" y="38957"/>
                    <a:pt x="126722" y="25524"/>
                  </a:cubicBezTo>
                  <a:cubicBezTo>
                    <a:pt x="113289" y="11642"/>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930" name="Freeform: Shape 4929">
              <a:extLst>
                <a:ext uri="{FF2B5EF4-FFF2-40B4-BE49-F238E27FC236}">
                  <a16:creationId xmlns:a16="http://schemas.microsoft.com/office/drawing/2014/main" id="{2A7DD87D-545D-4E6A-92B0-C224A9C908A8}"/>
                </a:ext>
              </a:extLst>
            </p:cNvPr>
            <p:cNvSpPr/>
            <p:nvPr/>
          </p:nvSpPr>
          <p:spPr>
            <a:xfrm>
              <a:off x="659099" y="4561638"/>
              <a:ext cx="4478" cy="44778"/>
            </a:xfrm>
            <a:custGeom>
              <a:avLst/>
              <a:gdLst>
                <a:gd name="connsiteX0" fmla="*/ 2239 w 4477"/>
                <a:gd name="connsiteY0" fmla="*/ 48808 h 44778"/>
                <a:gd name="connsiteX1" fmla="*/ 0 w 4477"/>
                <a:gd name="connsiteY1" fmla="*/ 46569 h 44778"/>
                <a:gd name="connsiteX2" fmla="*/ 0 w 4477"/>
                <a:gd name="connsiteY2" fmla="*/ 2239 h 44778"/>
                <a:gd name="connsiteX3" fmla="*/ 2239 w 4477"/>
                <a:gd name="connsiteY3" fmla="*/ 0 h 44778"/>
                <a:gd name="connsiteX4" fmla="*/ 4478 w 4477"/>
                <a:gd name="connsiteY4" fmla="*/ 2239 h 44778"/>
                <a:gd name="connsiteX5" fmla="*/ 4478 w 4477"/>
                <a:gd name="connsiteY5" fmla="*/ 46569 h 44778"/>
                <a:gd name="connsiteX6" fmla="*/ 2239 w 4477"/>
                <a:gd name="connsiteY6" fmla="*/ 4880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8">
                  <a:moveTo>
                    <a:pt x="2239" y="48808"/>
                  </a:moveTo>
                  <a:cubicBezTo>
                    <a:pt x="896" y="48808"/>
                    <a:pt x="0" y="47913"/>
                    <a:pt x="0" y="46569"/>
                  </a:cubicBezTo>
                  <a:lnTo>
                    <a:pt x="0" y="2239"/>
                  </a:lnTo>
                  <a:cubicBezTo>
                    <a:pt x="0" y="896"/>
                    <a:pt x="896" y="0"/>
                    <a:pt x="2239" y="0"/>
                  </a:cubicBezTo>
                  <a:cubicBezTo>
                    <a:pt x="3582" y="0"/>
                    <a:pt x="4478" y="896"/>
                    <a:pt x="4478" y="2239"/>
                  </a:cubicBezTo>
                  <a:lnTo>
                    <a:pt x="4478" y="46569"/>
                  </a:lnTo>
                  <a:cubicBezTo>
                    <a:pt x="4478" y="47465"/>
                    <a:pt x="3582" y="48808"/>
                    <a:pt x="2239" y="48808"/>
                  </a:cubicBezTo>
                  <a:close/>
                </a:path>
              </a:pathLst>
            </a:custGeom>
            <a:solidFill>
              <a:srgbClr val="231F20"/>
            </a:solidFill>
            <a:ln w="4474" cap="flat">
              <a:noFill/>
              <a:prstDash val="solid"/>
              <a:miter/>
            </a:ln>
          </p:spPr>
          <p:txBody>
            <a:bodyPr rtlCol="0" anchor="ctr"/>
            <a:lstStyle/>
            <a:p>
              <a:endParaRPr lang="en-US"/>
            </a:p>
          </p:txBody>
        </p:sp>
        <p:sp>
          <p:nvSpPr>
            <p:cNvPr id="4931" name="Freeform: Shape 4930">
              <a:extLst>
                <a:ext uri="{FF2B5EF4-FFF2-40B4-BE49-F238E27FC236}">
                  <a16:creationId xmlns:a16="http://schemas.microsoft.com/office/drawing/2014/main" id="{88726288-818F-47A0-B62E-9C80249240E9}"/>
                </a:ext>
              </a:extLst>
            </p:cNvPr>
            <p:cNvSpPr/>
            <p:nvPr/>
          </p:nvSpPr>
          <p:spPr>
            <a:xfrm>
              <a:off x="655069" y="4535219"/>
              <a:ext cx="8956" cy="8956"/>
            </a:xfrm>
            <a:custGeom>
              <a:avLst/>
              <a:gdLst>
                <a:gd name="connsiteX0" fmla="*/ 12538 w 8955"/>
                <a:gd name="connsiteY0" fmla="*/ 6269 h 8955"/>
                <a:gd name="connsiteX1" fmla="*/ 6269 w 8955"/>
                <a:gd name="connsiteY1" fmla="*/ 12538 h 8955"/>
                <a:gd name="connsiteX2" fmla="*/ 0 w 8955"/>
                <a:gd name="connsiteY2" fmla="*/ 6269 h 8955"/>
                <a:gd name="connsiteX3" fmla="*/ 6269 w 8955"/>
                <a:gd name="connsiteY3" fmla="*/ 0 h 8955"/>
                <a:gd name="connsiteX4" fmla="*/ 12538 w 8955"/>
                <a:gd name="connsiteY4" fmla="*/ 6269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2538" y="6269"/>
                  </a:moveTo>
                  <a:cubicBezTo>
                    <a:pt x="12538" y="9731"/>
                    <a:pt x="9731" y="12538"/>
                    <a:pt x="6269" y="12538"/>
                  </a:cubicBezTo>
                  <a:cubicBezTo>
                    <a:pt x="2807" y="12538"/>
                    <a:pt x="0" y="9731"/>
                    <a:pt x="0" y="6269"/>
                  </a:cubicBezTo>
                  <a:cubicBezTo>
                    <a:pt x="0" y="2807"/>
                    <a:pt x="2807" y="0"/>
                    <a:pt x="6269" y="0"/>
                  </a:cubicBezTo>
                  <a:cubicBezTo>
                    <a:pt x="9731" y="0"/>
                    <a:pt x="12538" y="2807"/>
                    <a:pt x="12538" y="6269"/>
                  </a:cubicBezTo>
                  <a:close/>
                </a:path>
              </a:pathLst>
            </a:custGeom>
            <a:solidFill>
              <a:srgbClr val="231F20"/>
            </a:solidFill>
            <a:ln w="4474" cap="flat">
              <a:noFill/>
              <a:prstDash val="solid"/>
              <a:miter/>
            </a:ln>
          </p:spPr>
          <p:txBody>
            <a:bodyPr rtlCol="0" anchor="ctr"/>
            <a:lstStyle/>
            <a:p>
              <a:endParaRPr lang="en-US"/>
            </a:p>
          </p:txBody>
        </p:sp>
      </p:grpSp>
      <p:grpSp>
        <p:nvGrpSpPr>
          <p:cNvPr id="4932" name="Group 4931">
            <a:extLst>
              <a:ext uri="{FF2B5EF4-FFF2-40B4-BE49-F238E27FC236}">
                <a16:creationId xmlns:a16="http://schemas.microsoft.com/office/drawing/2014/main" id="{2C2B8737-B85F-4B24-B02B-4289727C2EB1}"/>
              </a:ext>
              <a:ext uri="{C183D7F6-B498-43B3-948B-1728B52AA6E4}">
                <adec:decorative xmlns:adec="http://schemas.microsoft.com/office/drawing/2017/decorative" val="1"/>
              </a:ext>
            </a:extLst>
          </p:cNvPr>
          <p:cNvGrpSpPr>
            <a:grpSpLocks noChangeAspect="1"/>
          </p:cNvGrpSpPr>
          <p:nvPr/>
        </p:nvGrpSpPr>
        <p:grpSpPr>
          <a:xfrm>
            <a:off x="793608" y="5222896"/>
            <a:ext cx="152246" cy="152246"/>
            <a:chOff x="844929" y="4491784"/>
            <a:chExt cx="152246" cy="152246"/>
          </a:xfrm>
        </p:grpSpPr>
        <p:sp>
          <p:nvSpPr>
            <p:cNvPr id="4933" name="Freeform: Shape 4932">
              <a:extLst>
                <a:ext uri="{FF2B5EF4-FFF2-40B4-BE49-F238E27FC236}">
                  <a16:creationId xmlns:a16="http://schemas.microsoft.com/office/drawing/2014/main" id="{8E7D0D65-60F1-4F1F-8ECB-C567B1E58CBE}"/>
                </a:ext>
              </a:extLst>
            </p:cNvPr>
            <p:cNvSpPr/>
            <p:nvPr/>
          </p:nvSpPr>
          <p:spPr>
            <a:xfrm>
              <a:off x="844929" y="4491784"/>
              <a:ext cx="152246" cy="152246"/>
            </a:xfrm>
            <a:custGeom>
              <a:avLst/>
              <a:gdLst>
                <a:gd name="connsiteX0" fmla="*/ 76123 w 152245"/>
                <a:gd name="connsiteY0" fmla="*/ 152246 h 152245"/>
                <a:gd name="connsiteX1" fmla="*/ 22389 w 152245"/>
                <a:gd name="connsiteY1" fmla="*/ 129857 h 152245"/>
                <a:gd name="connsiteX2" fmla="*/ 0 w 152245"/>
                <a:gd name="connsiteY2" fmla="*/ 76123 h 152245"/>
                <a:gd name="connsiteX3" fmla="*/ 22389 w 152245"/>
                <a:gd name="connsiteY3" fmla="*/ 22389 h 152245"/>
                <a:gd name="connsiteX4" fmla="*/ 76123 w 152245"/>
                <a:gd name="connsiteY4" fmla="*/ 0 h 152245"/>
                <a:gd name="connsiteX5" fmla="*/ 129857 w 152245"/>
                <a:gd name="connsiteY5" fmla="*/ 22389 h 152245"/>
                <a:gd name="connsiteX6" fmla="*/ 129857 w 152245"/>
                <a:gd name="connsiteY6" fmla="*/ 22389 h 152245"/>
                <a:gd name="connsiteX7" fmla="*/ 152246 w 152245"/>
                <a:gd name="connsiteY7" fmla="*/ 76123 h 152245"/>
                <a:gd name="connsiteX8" fmla="*/ 129857 w 152245"/>
                <a:gd name="connsiteY8" fmla="*/ 129857 h 152245"/>
                <a:gd name="connsiteX9" fmla="*/ 76123 w 152245"/>
                <a:gd name="connsiteY9" fmla="*/ 152246 h 152245"/>
                <a:gd name="connsiteX10" fmla="*/ 76123 w 152245"/>
                <a:gd name="connsiteY10" fmla="*/ 4478 h 152245"/>
                <a:gd name="connsiteX11" fmla="*/ 25524 w 152245"/>
                <a:gd name="connsiteY11" fmla="*/ 25524 h 152245"/>
                <a:gd name="connsiteX12" fmla="*/ 4478 w 152245"/>
                <a:gd name="connsiteY12" fmla="*/ 76123 h 152245"/>
                <a:gd name="connsiteX13" fmla="*/ 25524 w 152245"/>
                <a:gd name="connsiteY13" fmla="*/ 126722 h 152245"/>
                <a:gd name="connsiteX14" fmla="*/ 76123 w 152245"/>
                <a:gd name="connsiteY14" fmla="*/ 147768 h 152245"/>
                <a:gd name="connsiteX15" fmla="*/ 126722 w 152245"/>
                <a:gd name="connsiteY15" fmla="*/ 126722 h 152245"/>
                <a:gd name="connsiteX16" fmla="*/ 147768 w 152245"/>
                <a:gd name="connsiteY16" fmla="*/ 76123 h 152245"/>
                <a:gd name="connsiteX17" fmla="*/ 126722 w 152245"/>
                <a:gd name="connsiteY17" fmla="*/ 25524 h 152245"/>
                <a:gd name="connsiteX18" fmla="*/ 76123 w 152245"/>
                <a:gd name="connsiteY18" fmla="*/ 4478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245" h="152245">
                  <a:moveTo>
                    <a:pt x="76123" y="152246"/>
                  </a:moveTo>
                  <a:cubicBezTo>
                    <a:pt x="55973" y="152246"/>
                    <a:pt x="36718" y="144186"/>
                    <a:pt x="22389" y="129857"/>
                  </a:cubicBezTo>
                  <a:cubicBezTo>
                    <a:pt x="8060" y="115528"/>
                    <a:pt x="0" y="96273"/>
                    <a:pt x="0" y="76123"/>
                  </a:cubicBezTo>
                  <a:cubicBezTo>
                    <a:pt x="0" y="55973"/>
                    <a:pt x="8060" y="36718"/>
                    <a:pt x="22389" y="22389"/>
                  </a:cubicBezTo>
                  <a:cubicBezTo>
                    <a:pt x="36718" y="8060"/>
                    <a:pt x="55973" y="0"/>
                    <a:pt x="76123" y="0"/>
                  </a:cubicBezTo>
                  <a:cubicBezTo>
                    <a:pt x="96273" y="0"/>
                    <a:pt x="115528" y="8060"/>
                    <a:pt x="129857" y="22389"/>
                  </a:cubicBezTo>
                  <a:cubicBezTo>
                    <a:pt x="129857" y="22389"/>
                    <a:pt x="129857" y="22389"/>
                    <a:pt x="129857" y="22389"/>
                  </a:cubicBezTo>
                  <a:cubicBezTo>
                    <a:pt x="144186" y="36718"/>
                    <a:pt x="152246" y="55973"/>
                    <a:pt x="152246" y="76123"/>
                  </a:cubicBezTo>
                  <a:cubicBezTo>
                    <a:pt x="152246" y="96273"/>
                    <a:pt x="144186" y="115528"/>
                    <a:pt x="129857" y="129857"/>
                  </a:cubicBezTo>
                  <a:cubicBezTo>
                    <a:pt x="115528" y="144186"/>
                    <a:pt x="96273" y="152246"/>
                    <a:pt x="76123" y="152246"/>
                  </a:cubicBezTo>
                  <a:close/>
                  <a:moveTo>
                    <a:pt x="76123" y="4478"/>
                  </a:moveTo>
                  <a:cubicBezTo>
                    <a:pt x="56868" y="4478"/>
                    <a:pt x="38957" y="12090"/>
                    <a:pt x="25524" y="25524"/>
                  </a:cubicBezTo>
                  <a:cubicBezTo>
                    <a:pt x="12090" y="38957"/>
                    <a:pt x="4478" y="56868"/>
                    <a:pt x="4478" y="76123"/>
                  </a:cubicBezTo>
                  <a:cubicBezTo>
                    <a:pt x="4478" y="95378"/>
                    <a:pt x="12090" y="113289"/>
                    <a:pt x="25524" y="126722"/>
                  </a:cubicBezTo>
                  <a:cubicBezTo>
                    <a:pt x="38957" y="140156"/>
                    <a:pt x="56868" y="147768"/>
                    <a:pt x="76123" y="147768"/>
                  </a:cubicBezTo>
                  <a:cubicBezTo>
                    <a:pt x="95378" y="147768"/>
                    <a:pt x="113289" y="140156"/>
                    <a:pt x="126722" y="126722"/>
                  </a:cubicBezTo>
                  <a:cubicBezTo>
                    <a:pt x="140156" y="113289"/>
                    <a:pt x="147768" y="95378"/>
                    <a:pt x="147768" y="76123"/>
                  </a:cubicBezTo>
                  <a:cubicBezTo>
                    <a:pt x="147768" y="56868"/>
                    <a:pt x="140156" y="38957"/>
                    <a:pt x="126722" y="25524"/>
                  </a:cubicBezTo>
                  <a:cubicBezTo>
                    <a:pt x="112841" y="11642"/>
                    <a:pt x="94930" y="4478"/>
                    <a:pt x="76123" y="4478"/>
                  </a:cubicBezTo>
                  <a:close/>
                </a:path>
              </a:pathLst>
            </a:custGeom>
            <a:solidFill>
              <a:srgbClr val="231F20"/>
            </a:solidFill>
            <a:ln w="4474" cap="flat">
              <a:noFill/>
              <a:prstDash val="solid"/>
              <a:miter/>
            </a:ln>
          </p:spPr>
          <p:txBody>
            <a:bodyPr rtlCol="0" anchor="ctr"/>
            <a:lstStyle/>
            <a:p>
              <a:endParaRPr lang="en-US"/>
            </a:p>
          </p:txBody>
        </p:sp>
        <p:sp>
          <p:nvSpPr>
            <p:cNvPr id="4934" name="Freeform: Shape 4933">
              <a:extLst>
                <a:ext uri="{FF2B5EF4-FFF2-40B4-BE49-F238E27FC236}">
                  <a16:creationId xmlns:a16="http://schemas.microsoft.com/office/drawing/2014/main" id="{45330641-4CF9-4ABD-BEA9-340DEAE6E08B}"/>
                </a:ext>
              </a:extLst>
            </p:cNvPr>
            <p:cNvSpPr/>
            <p:nvPr/>
          </p:nvSpPr>
          <p:spPr>
            <a:xfrm>
              <a:off x="918365" y="4528950"/>
              <a:ext cx="4478" cy="44778"/>
            </a:xfrm>
            <a:custGeom>
              <a:avLst/>
              <a:gdLst>
                <a:gd name="connsiteX0" fmla="*/ 2239 w 4477"/>
                <a:gd name="connsiteY0" fmla="*/ 48808 h 44778"/>
                <a:gd name="connsiteX1" fmla="*/ 0 w 4477"/>
                <a:gd name="connsiteY1" fmla="*/ 46569 h 44778"/>
                <a:gd name="connsiteX2" fmla="*/ 0 w 4477"/>
                <a:gd name="connsiteY2" fmla="*/ 2239 h 44778"/>
                <a:gd name="connsiteX3" fmla="*/ 2239 w 4477"/>
                <a:gd name="connsiteY3" fmla="*/ 0 h 44778"/>
                <a:gd name="connsiteX4" fmla="*/ 4478 w 4477"/>
                <a:gd name="connsiteY4" fmla="*/ 2239 h 44778"/>
                <a:gd name="connsiteX5" fmla="*/ 4478 w 4477"/>
                <a:gd name="connsiteY5" fmla="*/ 46569 h 44778"/>
                <a:gd name="connsiteX6" fmla="*/ 2239 w 4477"/>
                <a:gd name="connsiteY6" fmla="*/ 48808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44778">
                  <a:moveTo>
                    <a:pt x="2239" y="48808"/>
                  </a:moveTo>
                  <a:cubicBezTo>
                    <a:pt x="896" y="48808"/>
                    <a:pt x="0" y="47912"/>
                    <a:pt x="0" y="46569"/>
                  </a:cubicBezTo>
                  <a:lnTo>
                    <a:pt x="0" y="2239"/>
                  </a:lnTo>
                  <a:cubicBezTo>
                    <a:pt x="0" y="895"/>
                    <a:pt x="896" y="0"/>
                    <a:pt x="2239" y="0"/>
                  </a:cubicBezTo>
                  <a:cubicBezTo>
                    <a:pt x="3582" y="0"/>
                    <a:pt x="4478" y="895"/>
                    <a:pt x="4478" y="2239"/>
                  </a:cubicBezTo>
                  <a:lnTo>
                    <a:pt x="4478" y="46569"/>
                  </a:lnTo>
                  <a:cubicBezTo>
                    <a:pt x="4478" y="47912"/>
                    <a:pt x="3582" y="48808"/>
                    <a:pt x="2239" y="48808"/>
                  </a:cubicBezTo>
                  <a:close/>
                </a:path>
              </a:pathLst>
            </a:custGeom>
            <a:solidFill>
              <a:srgbClr val="231F20"/>
            </a:solidFill>
            <a:ln w="4474" cap="flat">
              <a:noFill/>
              <a:prstDash val="solid"/>
              <a:miter/>
            </a:ln>
          </p:spPr>
          <p:txBody>
            <a:bodyPr rtlCol="0" anchor="ctr"/>
            <a:lstStyle/>
            <a:p>
              <a:endParaRPr lang="en-US"/>
            </a:p>
          </p:txBody>
        </p:sp>
        <p:sp>
          <p:nvSpPr>
            <p:cNvPr id="4935" name="Freeform: Shape 4934">
              <a:extLst>
                <a:ext uri="{FF2B5EF4-FFF2-40B4-BE49-F238E27FC236}">
                  <a16:creationId xmlns:a16="http://schemas.microsoft.com/office/drawing/2014/main" id="{6FD1C567-8D30-428C-A00E-9C21F0BE0CCF}"/>
                </a:ext>
              </a:extLst>
            </p:cNvPr>
            <p:cNvSpPr/>
            <p:nvPr/>
          </p:nvSpPr>
          <p:spPr>
            <a:xfrm>
              <a:off x="914783" y="4591640"/>
              <a:ext cx="8956" cy="8956"/>
            </a:xfrm>
            <a:custGeom>
              <a:avLst/>
              <a:gdLst>
                <a:gd name="connsiteX0" fmla="*/ 12538 w 8955"/>
                <a:gd name="connsiteY0" fmla="*/ 6269 h 8955"/>
                <a:gd name="connsiteX1" fmla="*/ 6269 w 8955"/>
                <a:gd name="connsiteY1" fmla="*/ 12538 h 8955"/>
                <a:gd name="connsiteX2" fmla="*/ 0 w 8955"/>
                <a:gd name="connsiteY2" fmla="*/ 6269 h 8955"/>
                <a:gd name="connsiteX3" fmla="*/ 6269 w 8955"/>
                <a:gd name="connsiteY3" fmla="*/ 0 h 8955"/>
                <a:gd name="connsiteX4" fmla="*/ 12538 w 8955"/>
                <a:gd name="connsiteY4" fmla="*/ 6269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2538" y="6269"/>
                  </a:moveTo>
                  <a:cubicBezTo>
                    <a:pt x="12538" y="9731"/>
                    <a:pt x="9731" y="12538"/>
                    <a:pt x="6269" y="12538"/>
                  </a:cubicBezTo>
                  <a:cubicBezTo>
                    <a:pt x="2807" y="12538"/>
                    <a:pt x="0" y="9731"/>
                    <a:pt x="0" y="6269"/>
                  </a:cubicBezTo>
                  <a:cubicBezTo>
                    <a:pt x="0" y="2807"/>
                    <a:pt x="2807" y="0"/>
                    <a:pt x="6269" y="0"/>
                  </a:cubicBezTo>
                  <a:cubicBezTo>
                    <a:pt x="9731" y="0"/>
                    <a:pt x="12538" y="2807"/>
                    <a:pt x="12538" y="6269"/>
                  </a:cubicBezTo>
                  <a:close/>
                </a:path>
              </a:pathLst>
            </a:custGeom>
            <a:solidFill>
              <a:srgbClr val="231F20"/>
            </a:solidFill>
            <a:ln w="4474" cap="flat">
              <a:noFill/>
              <a:prstDash val="solid"/>
              <a:miter/>
            </a:ln>
          </p:spPr>
          <p:txBody>
            <a:bodyPr rtlCol="0" anchor="ctr"/>
            <a:lstStyle/>
            <a:p>
              <a:endParaRPr lang="en-US"/>
            </a:p>
          </p:txBody>
        </p:sp>
      </p:grpSp>
      <p:sp>
        <p:nvSpPr>
          <p:cNvPr id="4936" name="Freeform: Shape 4935">
            <a:extLst>
              <a:ext uri="{FF2B5EF4-FFF2-40B4-BE49-F238E27FC236}">
                <a16:creationId xmlns:a16="http://schemas.microsoft.com/office/drawing/2014/main" id="{3500DAB2-91E2-4EC0-A74D-0BABFE112D55}"/>
              </a:ext>
              <a:ext uri="{C183D7F6-B498-43B3-948B-1728B52AA6E4}">
                <adec:decorative xmlns:adec="http://schemas.microsoft.com/office/drawing/2017/decorative" val="1"/>
              </a:ext>
            </a:extLst>
          </p:cNvPr>
          <p:cNvSpPr>
            <a:spLocks noChangeAspect="1"/>
          </p:cNvSpPr>
          <p:nvPr/>
        </p:nvSpPr>
        <p:spPr>
          <a:xfrm>
            <a:off x="11093996" y="2446245"/>
            <a:ext cx="143290" cy="129857"/>
          </a:xfrm>
          <a:custGeom>
            <a:avLst/>
            <a:gdLst>
              <a:gd name="connsiteX0" fmla="*/ 146425 w 143290"/>
              <a:gd name="connsiteY0" fmla="*/ 51943 h 129856"/>
              <a:gd name="connsiteX1" fmla="*/ 125379 w 143290"/>
              <a:gd name="connsiteY1" fmla="*/ 25076 h 129856"/>
              <a:gd name="connsiteX2" fmla="*/ 125379 w 143290"/>
              <a:gd name="connsiteY2" fmla="*/ 2239 h 129856"/>
              <a:gd name="connsiteX3" fmla="*/ 124484 w 143290"/>
              <a:gd name="connsiteY3" fmla="*/ 448 h 129856"/>
              <a:gd name="connsiteX4" fmla="*/ 122245 w 143290"/>
              <a:gd name="connsiteY4" fmla="*/ 0 h 129856"/>
              <a:gd name="connsiteX5" fmla="*/ 75228 w 143290"/>
              <a:gd name="connsiteY5" fmla="*/ 28210 h 129856"/>
              <a:gd name="connsiteX6" fmla="*/ 15672 w 143290"/>
              <a:gd name="connsiteY6" fmla="*/ 28210 h 129856"/>
              <a:gd name="connsiteX7" fmla="*/ 0 w 143290"/>
              <a:gd name="connsiteY7" fmla="*/ 43882 h 129856"/>
              <a:gd name="connsiteX8" fmla="*/ 0 w 143290"/>
              <a:gd name="connsiteY8" fmla="*/ 64032 h 129856"/>
              <a:gd name="connsiteX9" fmla="*/ 15672 w 143290"/>
              <a:gd name="connsiteY9" fmla="*/ 79705 h 129856"/>
              <a:gd name="connsiteX10" fmla="*/ 24180 w 143290"/>
              <a:gd name="connsiteY10" fmla="*/ 79705 h 129856"/>
              <a:gd name="connsiteX11" fmla="*/ 36271 w 143290"/>
              <a:gd name="connsiteY11" fmla="*/ 126274 h 129856"/>
              <a:gd name="connsiteX12" fmla="*/ 45226 w 143290"/>
              <a:gd name="connsiteY12" fmla="*/ 133439 h 129856"/>
              <a:gd name="connsiteX13" fmla="*/ 55973 w 143290"/>
              <a:gd name="connsiteY13" fmla="*/ 133439 h 129856"/>
              <a:gd name="connsiteX14" fmla="*/ 65377 w 143290"/>
              <a:gd name="connsiteY14" fmla="*/ 124035 h 129856"/>
              <a:gd name="connsiteX15" fmla="*/ 64928 w 143290"/>
              <a:gd name="connsiteY15" fmla="*/ 121796 h 129856"/>
              <a:gd name="connsiteX16" fmla="*/ 53734 w 143290"/>
              <a:gd name="connsiteY16" fmla="*/ 79705 h 129856"/>
              <a:gd name="connsiteX17" fmla="*/ 75228 w 143290"/>
              <a:gd name="connsiteY17" fmla="*/ 79705 h 129856"/>
              <a:gd name="connsiteX18" fmla="*/ 122245 w 143290"/>
              <a:gd name="connsiteY18" fmla="*/ 107915 h 129856"/>
              <a:gd name="connsiteX19" fmla="*/ 123140 w 143290"/>
              <a:gd name="connsiteY19" fmla="*/ 107915 h 129856"/>
              <a:gd name="connsiteX20" fmla="*/ 124484 w 143290"/>
              <a:gd name="connsiteY20" fmla="*/ 107468 h 129856"/>
              <a:gd name="connsiteX21" fmla="*/ 125379 w 143290"/>
              <a:gd name="connsiteY21" fmla="*/ 105676 h 129856"/>
              <a:gd name="connsiteX22" fmla="*/ 125379 w 143290"/>
              <a:gd name="connsiteY22" fmla="*/ 78809 h 129856"/>
              <a:gd name="connsiteX23" fmla="*/ 146425 w 143290"/>
              <a:gd name="connsiteY23" fmla="*/ 51943 h 129856"/>
              <a:gd name="connsiteX24" fmla="*/ 60899 w 143290"/>
              <a:gd name="connsiteY24" fmla="*/ 122692 h 129856"/>
              <a:gd name="connsiteX25" fmla="*/ 60899 w 143290"/>
              <a:gd name="connsiteY25" fmla="*/ 124035 h 129856"/>
              <a:gd name="connsiteX26" fmla="*/ 55973 w 143290"/>
              <a:gd name="connsiteY26" fmla="*/ 128961 h 129856"/>
              <a:gd name="connsiteX27" fmla="*/ 45226 w 143290"/>
              <a:gd name="connsiteY27" fmla="*/ 128961 h 129856"/>
              <a:gd name="connsiteX28" fmla="*/ 40300 w 143290"/>
              <a:gd name="connsiteY28" fmla="*/ 125379 h 129856"/>
              <a:gd name="connsiteX29" fmla="*/ 28658 w 143290"/>
              <a:gd name="connsiteY29" fmla="*/ 79705 h 129856"/>
              <a:gd name="connsiteX30" fmla="*/ 49256 w 143290"/>
              <a:gd name="connsiteY30" fmla="*/ 79705 h 129856"/>
              <a:gd name="connsiteX31" fmla="*/ 60899 w 143290"/>
              <a:gd name="connsiteY31" fmla="*/ 122692 h 129856"/>
              <a:gd name="connsiteX32" fmla="*/ 120901 w 143290"/>
              <a:gd name="connsiteY32" fmla="*/ 102542 h 129856"/>
              <a:gd name="connsiteX33" fmla="*/ 77914 w 143290"/>
              <a:gd name="connsiteY33" fmla="*/ 75675 h 129856"/>
              <a:gd name="connsiteX34" fmla="*/ 77019 w 143290"/>
              <a:gd name="connsiteY34" fmla="*/ 75227 h 129856"/>
              <a:gd name="connsiteX35" fmla="*/ 76571 w 143290"/>
              <a:gd name="connsiteY35" fmla="*/ 75227 h 129856"/>
              <a:gd name="connsiteX36" fmla="*/ 76123 w 143290"/>
              <a:gd name="connsiteY36" fmla="*/ 75227 h 129856"/>
              <a:gd name="connsiteX37" fmla="*/ 15672 w 143290"/>
              <a:gd name="connsiteY37" fmla="*/ 75227 h 129856"/>
              <a:gd name="connsiteX38" fmla="*/ 4478 w 143290"/>
              <a:gd name="connsiteY38" fmla="*/ 64032 h 129856"/>
              <a:gd name="connsiteX39" fmla="*/ 4478 w 143290"/>
              <a:gd name="connsiteY39" fmla="*/ 43882 h 129856"/>
              <a:gd name="connsiteX40" fmla="*/ 15672 w 143290"/>
              <a:gd name="connsiteY40" fmla="*/ 32688 h 129856"/>
              <a:gd name="connsiteX41" fmla="*/ 76123 w 143290"/>
              <a:gd name="connsiteY41" fmla="*/ 32688 h 129856"/>
              <a:gd name="connsiteX42" fmla="*/ 77914 w 143290"/>
              <a:gd name="connsiteY42" fmla="*/ 31792 h 129856"/>
              <a:gd name="connsiteX43" fmla="*/ 120901 w 143290"/>
              <a:gd name="connsiteY43" fmla="*/ 4925 h 129856"/>
              <a:gd name="connsiteX44" fmla="*/ 120901 w 143290"/>
              <a:gd name="connsiteY44" fmla="*/ 102542 h 129856"/>
              <a:gd name="connsiteX45" fmla="*/ 125379 w 143290"/>
              <a:gd name="connsiteY45" fmla="*/ 74332 h 129856"/>
              <a:gd name="connsiteX46" fmla="*/ 125379 w 143290"/>
              <a:gd name="connsiteY46" fmla="*/ 29553 h 129856"/>
              <a:gd name="connsiteX47" fmla="*/ 141947 w 143290"/>
              <a:gd name="connsiteY47" fmla="*/ 51943 h 129856"/>
              <a:gd name="connsiteX48" fmla="*/ 125379 w 143290"/>
              <a:gd name="connsiteY48" fmla="*/ 74332 h 12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3290" h="129856">
                <a:moveTo>
                  <a:pt x="146425" y="51943"/>
                </a:moveTo>
                <a:cubicBezTo>
                  <a:pt x="146425" y="39852"/>
                  <a:pt x="137917" y="29106"/>
                  <a:pt x="125379" y="25076"/>
                </a:cubicBezTo>
                <a:lnTo>
                  <a:pt x="125379" y="2239"/>
                </a:lnTo>
                <a:cubicBezTo>
                  <a:pt x="125379" y="1343"/>
                  <a:pt x="124931" y="895"/>
                  <a:pt x="124484" y="448"/>
                </a:cubicBezTo>
                <a:cubicBezTo>
                  <a:pt x="124036" y="0"/>
                  <a:pt x="123140" y="0"/>
                  <a:pt x="122245" y="0"/>
                </a:cubicBezTo>
                <a:cubicBezTo>
                  <a:pt x="104333" y="5821"/>
                  <a:pt x="88661" y="15224"/>
                  <a:pt x="75228" y="28210"/>
                </a:cubicBezTo>
                <a:lnTo>
                  <a:pt x="15672" y="28210"/>
                </a:lnTo>
                <a:cubicBezTo>
                  <a:pt x="7165" y="28210"/>
                  <a:pt x="0" y="35374"/>
                  <a:pt x="0" y="43882"/>
                </a:cubicBezTo>
                <a:lnTo>
                  <a:pt x="0" y="64032"/>
                </a:lnTo>
                <a:cubicBezTo>
                  <a:pt x="0" y="72540"/>
                  <a:pt x="7165" y="79705"/>
                  <a:pt x="15672" y="79705"/>
                </a:cubicBezTo>
                <a:lnTo>
                  <a:pt x="24180" y="79705"/>
                </a:lnTo>
                <a:lnTo>
                  <a:pt x="36271" y="126274"/>
                </a:lnTo>
                <a:cubicBezTo>
                  <a:pt x="37166" y="130304"/>
                  <a:pt x="41196" y="133439"/>
                  <a:pt x="45226" y="133439"/>
                </a:cubicBezTo>
                <a:lnTo>
                  <a:pt x="55973" y="133439"/>
                </a:lnTo>
                <a:cubicBezTo>
                  <a:pt x="61346" y="133439"/>
                  <a:pt x="65377" y="129408"/>
                  <a:pt x="65377" y="124035"/>
                </a:cubicBezTo>
                <a:cubicBezTo>
                  <a:pt x="65377" y="123140"/>
                  <a:pt x="65377" y="122692"/>
                  <a:pt x="64928" y="121796"/>
                </a:cubicBezTo>
                <a:lnTo>
                  <a:pt x="53734" y="79705"/>
                </a:lnTo>
                <a:lnTo>
                  <a:pt x="75228" y="79705"/>
                </a:lnTo>
                <a:cubicBezTo>
                  <a:pt x="88661" y="92243"/>
                  <a:pt x="104781" y="102094"/>
                  <a:pt x="122245" y="107915"/>
                </a:cubicBezTo>
                <a:cubicBezTo>
                  <a:pt x="122692" y="107915"/>
                  <a:pt x="122692" y="107915"/>
                  <a:pt x="123140" y="107915"/>
                </a:cubicBezTo>
                <a:cubicBezTo>
                  <a:pt x="123588" y="107915"/>
                  <a:pt x="124036" y="107915"/>
                  <a:pt x="124484" y="107468"/>
                </a:cubicBezTo>
                <a:cubicBezTo>
                  <a:pt x="124931" y="107019"/>
                  <a:pt x="125379" y="106572"/>
                  <a:pt x="125379" y="105676"/>
                </a:cubicBezTo>
                <a:lnTo>
                  <a:pt x="125379" y="78809"/>
                </a:lnTo>
                <a:cubicBezTo>
                  <a:pt x="137917" y="75227"/>
                  <a:pt x="146425" y="64032"/>
                  <a:pt x="146425" y="51943"/>
                </a:cubicBezTo>
                <a:close/>
                <a:moveTo>
                  <a:pt x="60899" y="122692"/>
                </a:moveTo>
                <a:cubicBezTo>
                  <a:pt x="60899" y="123140"/>
                  <a:pt x="60899" y="123588"/>
                  <a:pt x="60899" y="124035"/>
                </a:cubicBezTo>
                <a:cubicBezTo>
                  <a:pt x="60899" y="126722"/>
                  <a:pt x="58660" y="128961"/>
                  <a:pt x="55973" y="128961"/>
                </a:cubicBezTo>
                <a:lnTo>
                  <a:pt x="45226" y="128961"/>
                </a:lnTo>
                <a:cubicBezTo>
                  <a:pt x="42987" y="128961"/>
                  <a:pt x="41196" y="127618"/>
                  <a:pt x="40300" y="125379"/>
                </a:cubicBezTo>
                <a:lnTo>
                  <a:pt x="28658" y="79705"/>
                </a:lnTo>
                <a:lnTo>
                  <a:pt x="49256" y="79705"/>
                </a:lnTo>
                <a:lnTo>
                  <a:pt x="60899" y="122692"/>
                </a:lnTo>
                <a:close/>
                <a:moveTo>
                  <a:pt x="120901" y="102542"/>
                </a:moveTo>
                <a:cubicBezTo>
                  <a:pt x="104781" y="96721"/>
                  <a:pt x="90452" y="87765"/>
                  <a:pt x="77914" y="75675"/>
                </a:cubicBezTo>
                <a:cubicBezTo>
                  <a:pt x="77466" y="75227"/>
                  <a:pt x="77466" y="75227"/>
                  <a:pt x="77019" y="75227"/>
                </a:cubicBezTo>
                <a:cubicBezTo>
                  <a:pt x="77019" y="75227"/>
                  <a:pt x="76571" y="75227"/>
                  <a:pt x="76571" y="75227"/>
                </a:cubicBezTo>
                <a:cubicBezTo>
                  <a:pt x="76571" y="75227"/>
                  <a:pt x="76123" y="75227"/>
                  <a:pt x="76123" y="75227"/>
                </a:cubicBezTo>
                <a:lnTo>
                  <a:pt x="15672" y="75227"/>
                </a:lnTo>
                <a:cubicBezTo>
                  <a:pt x="9404" y="75227"/>
                  <a:pt x="4478" y="70302"/>
                  <a:pt x="4478" y="64032"/>
                </a:cubicBezTo>
                <a:lnTo>
                  <a:pt x="4478" y="43882"/>
                </a:lnTo>
                <a:cubicBezTo>
                  <a:pt x="4478" y="37613"/>
                  <a:pt x="9404" y="32688"/>
                  <a:pt x="15672" y="32688"/>
                </a:cubicBezTo>
                <a:lnTo>
                  <a:pt x="76123" y="32688"/>
                </a:lnTo>
                <a:cubicBezTo>
                  <a:pt x="76571" y="32688"/>
                  <a:pt x="77466" y="32240"/>
                  <a:pt x="77914" y="31792"/>
                </a:cubicBezTo>
                <a:cubicBezTo>
                  <a:pt x="90452" y="20150"/>
                  <a:pt x="104781" y="10746"/>
                  <a:pt x="120901" y="4925"/>
                </a:cubicBezTo>
                <a:lnTo>
                  <a:pt x="120901" y="102542"/>
                </a:lnTo>
                <a:close/>
                <a:moveTo>
                  <a:pt x="125379" y="74332"/>
                </a:moveTo>
                <a:lnTo>
                  <a:pt x="125379" y="29553"/>
                </a:lnTo>
                <a:cubicBezTo>
                  <a:pt x="135230" y="33135"/>
                  <a:pt x="141947" y="42091"/>
                  <a:pt x="141947" y="51943"/>
                </a:cubicBezTo>
                <a:cubicBezTo>
                  <a:pt x="141947" y="61794"/>
                  <a:pt x="135230" y="70749"/>
                  <a:pt x="125379" y="74332"/>
                </a:cubicBezTo>
                <a:close/>
              </a:path>
            </a:pathLst>
          </a:custGeom>
          <a:solidFill>
            <a:srgbClr val="231F20"/>
          </a:solidFill>
          <a:ln w="4474" cap="flat">
            <a:noFill/>
            <a:prstDash val="solid"/>
            <a:miter/>
          </a:ln>
        </p:spPr>
        <p:txBody>
          <a:bodyPr rtlCol="0" anchor="ctr"/>
          <a:lstStyle/>
          <a:p>
            <a:endParaRPr lang="en-US"/>
          </a:p>
        </p:txBody>
      </p:sp>
      <p:sp>
        <p:nvSpPr>
          <p:cNvPr id="4937" name="Freeform: Shape 4936">
            <a:extLst>
              <a:ext uri="{FF2B5EF4-FFF2-40B4-BE49-F238E27FC236}">
                <a16:creationId xmlns:a16="http://schemas.microsoft.com/office/drawing/2014/main" id="{0E77FDDE-7078-48F7-A76E-D4FD5A2DFFF3}"/>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sp>
        <p:nvSpPr>
          <p:cNvPr id="4938" name="Freeform: Shape 4937">
            <a:extLst>
              <a:ext uri="{FF2B5EF4-FFF2-40B4-BE49-F238E27FC236}">
                <a16:creationId xmlns:a16="http://schemas.microsoft.com/office/drawing/2014/main" id="{0FF7D4B4-071E-409F-B6EE-730C4400DFBE}"/>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sp>
        <p:nvSpPr>
          <p:cNvPr id="4939" name="Freeform: Shape 4938">
            <a:extLst>
              <a:ext uri="{FF2B5EF4-FFF2-40B4-BE49-F238E27FC236}">
                <a16:creationId xmlns:a16="http://schemas.microsoft.com/office/drawing/2014/main" id="{C7096DAB-9273-47F2-B355-681ECDEBA64A}"/>
              </a:ext>
              <a:ext uri="{C183D7F6-B498-43B3-948B-1728B52AA6E4}">
                <adec:decorative xmlns:adec="http://schemas.microsoft.com/office/drawing/2017/decorative" val="1"/>
              </a:ext>
            </a:extLst>
          </p:cNvPr>
          <p:cNvSpPr>
            <a:spLocks noChangeAspect="1"/>
          </p:cNvSpPr>
          <p:nvPr/>
        </p:nvSpPr>
        <p:spPr>
          <a:xfrm>
            <a:off x="538640" y="1716167"/>
            <a:ext cx="4478" cy="4478"/>
          </a:xfrm>
          <a:custGeom>
            <a:avLst/>
            <a:gdLst/>
            <a:ahLst/>
            <a:cxnLst/>
            <a:rect l="l" t="t" r="r" b="b"/>
            <a:pathLst>
              <a:path/>
            </a:pathLst>
          </a:custGeom>
          <a:solidFill>
            <a:srgbClr val="231F20"/>
          </a:solidFill>
          <a:ln w="4474" cap="flat">
            <a:noFill/>
            <a:prstDash val="solid"/>
            <a:miter/>
          </a:ln>
        </p:spPr>
        <p:txBody>
          <a:bodyPr rtlCol="0" anchor="ctr"/>
          <a:lstStyle/>
          <a:p>
            <a:endParaRPr lang="en-US"/>
          </a:p>
        </p:txBody>
      </p:sp>
      <p:grpSp>
        <p:nvGrpSpPr>
          <p:cNvPr id="4940" name="Group 4939">
            <a:extLst>
              <a:ext uri="{FF2B5EF4-FFF2-40B4-BE49-F238E27FC236}">
                <a16:creationId xmlns:a16="http://schemas.microsoft.com/office/drawing/2014/main" id="{6359F643-164C-460E-BBB5-84034039945F}"/>
              </a:ext>
              <a:ext uri="{C183D7F6-B498-43B3-948B-1728B52AA6E4}">
                <adec:decorative xmlns:adec="http://schemas.microsoft.com/office/drawing/2017/decorative" val="1"/>
              </a:ext>
            </a:extLst>
          </p:cNvPr>
          <p:cNvGrpSpPr>
            <a:grpSpLocks noChangeAspect="1"/>
          </p:cNvGrpSpPr>
          <p:nvPr/>
        </p:nvGrpSpPr>
        <p:grpSpPr>
          <a:xfrm>
            <a:off x="3461760" y="3326838"/>
            <a:ext cx="107748" cy="135637"/>
            <a:chOff x="3502514" y="2591399"/>
            <a:chExt cx="107748" cy="135637"/>
          </a:xfrm>
        </p:grpSpPr>
        <p:sp>
          <p:nvSpPr>
            <p:cNvPr id="4941" name="Freeform: Shape 4940">
              <a:extLst>
                <a:ext uri="{FF2B5EF4-FFF2-40B4-BE49-F238E27FC236}">
                  <a16:creationId xmlns:a16="http://schemas.microsoft.com/office/drawing/2014/main" id="{179D7BEC-3EDF-4188-AA4A-03D8B91618F0}"/>
                </a:ext>
              </a:extLst>
            </p:cNvPr>
            <p:cNvSpPr/>
            <p:nvPr/>
          </p:nvSpPr>
          <p:spPr>
            <a:xfrm>
              <a:off x="3502514" y="2649610"/>
              <a:ext cx="4478" cy="17911"/>
            </a:xfrm>
            <a:custGeom>
              <a:avLst/>
              <a:gdLst>
                <a:gd name="connsiteX0" fmla="*/ 2239 w 4477"/>
                <a:gd name="connsiteY0" fmla="*/ 21046 h 17911"/>
                <a:gd name="connsiteX1" fmla="*/ 0 w 4477"/>
                <a:gd name="connsiteY1" fmla="*/ 18807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8807 h 17911"/>
                <a:gd name="connsiteX6" fmla="*/ 2239 w 4477"/>
                <a:gd name="connsiteY6" fmla="*/ 2104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21046"/>
                  </a:moveTo>
                  <a:cubicBezTo>
                    <a:pt x="896" y="21046"/>
                    <a:pt x="0" y="20150"/>
                    <a:pt x="0" y="18807"/>
                  </a:cubicBezTo>
                  <a:lnTo>
                    <a:pt x="0" y="2239"/>
                  </a:lnTo>
                  <a:cubicBezTo>
                    <a:pt x="0" y="895"/>
                    <a:pt x="896" y="0"/>
                    <a:pt x="2239" y="0"/>
                  </a:cubicBezTo>
                  <a:cubicBezTo>
                    <a:pt x="3582" y="0"/>
                    <a:pt x="4478" y="895"/>
                    <a:pt x="4478" y="2239"/>
                  </a:cubicBezTo>
                  <a:lnTo>
                    <a:pt x="4478" y="18807"/>
                  </a:lnTo>
                  <a:cubicBezTo>
                    <a:pt x="4478" y="20150"/>
                    <a:pt x="3135" y="21046"/>
                    <a:pt x="2239" y="21046"/>
                  </a:cubicBezTo>
                  <a:close/>
                </a:path>
              </a:pathLst>
            </a:custGeom>
            <a:solidFill>
              <a:srgbClr val="231F20"/>
            </a:solidFill>
            <a:ln w="4474" cap="flat">
              <a:noFill/>
              <a:prstDash val="solid"/>
              <a:miter/>
            </a:ln>
          </p:spPr>
          <p:txBody>
            <a:bodyPr rtlCol="0" anchor="ctr"/>
            <a:lstStyle/>
            <a:p>
              <a:endParaRPr lang="en-US"/>
            </a:p>
          </p:txBody>
        </p:sp>
        <p:sp>
          <p:nvSpPr>
            <p:cNvPr id="4942" name="Freeform: Shape 4941">
              <a:extLst>
                <a:ext uri="{FF2B5EF4-FFF2-40B4-BE49-F238E27FC236}">
                  <a16:creationId xmlns:a16="http://schemas.microsoft.com/office/drawing/2014/main" id="{68F52D9D-55C3-41CD-8D1C-8E6B45242881}"/>
                </a:ext>
              </a:extLst>
            </p:cNvPr>
            <p:cNvSpPr/>
            <p:nvPr/>
          </p:nvSpPr>
          <p:spPr>
            <a:xfrm>
              <a:off x="3502514" y="2591399"/>
              <a:ext cx="89556" cy="49256"/>
            </a:xfrm>
            <a:custGeom>
              <a:avLst/>
              <a:gdLst>
                <a:gd name="connsiteX0" fmla="*/ 2239 w 89556"/>
                <a:gd name="connsiteY0" fmla="*/ 51495 h 49255"/>
                <a:gd name="connsiteX1" fmla="*/ 2239 w 89556"/>
                <a:gd name="connsiteY1" fmla="*/ 51495 h 49255"/>
                <a:gd name="connsiteX2" fmla="*/ 0 w 89556"/>
                <a:gd name="connsiteY2" fmla="*/ 49256 h 49255"/>
                <a:gd name="connsiteX3" fmla="*/ 17016 w 89556"/>
                <a:gd name="connsiteY3" fmla="*/ 14329 h 49255"/>
                <a:gd name="connsiteX4" fmla="*/ 53286 w 89556"/>
                <a:gd name="connsiteY4" fmla="*/ 0 h 49255"/>
                <a:gd name="connsiteX5" fmla="*/ 92243 w 89556"/>
                <a:gd name="connsiteY5" fmla="*/ 17016 h 49255"/>
                <a:gd name="connsiteX6" fmla="*/ 92243 w 89556"/>
                <a:gd name="connsiteY6" fmla="*/ 20150 h 49255"/>
                <a:gd name="connsiteX7" fmla="*/ 89109 w 89556"/>
                <a:gd name="connsiteY7" fmla="*/ 20150 h 49255"/>
                <a:gd name="connsiteX8" fmla="*/ 53286 w 89556"/>
                <a:gd name="connsiteY8" fmla="*/ 4925 h 49255"/>
                <a:gd name="connsiteX9" fmla="*/ 20150 w 89556"/>
                <a:gd name="connsiteY9" fmla="*/ 17911 h 49255"/>
                <a:gd name="connsiteX10" fmla="*/ 4478 w 89556"/>
                <a:gd name="connsiteY10" fmla="*/ 49704 h 49255"/>
                <a:gd name="connsiteX11" fmla="*/ 2239 w 89556"/>
                <a:gd name="connsiteY11" fmla="*/ 51495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556" h="49255">
                  <a:moveTo>
                    <a:pt x="2239" y="51495"/>
                  </a:moveTo>
                  <a:cubicBezTo>
                    <a:pt x="2239" y="51495"/>
                    <a:pt x="2239" y="51495"/>
                    <a:pt x="2239" y="51495"/>
                  </a:cubicBezTo>
                  <a:cubicBezTo>
                    <a:pt x="896" y="51495"/>
                    <a:pt x="0" y="50151"/>
                    <a:pt x="0" y="49256"/>
                  </a:cubicBezTo>
                  <a:cubicBezTo>
                    <a:pt x="1343" y="35823"/>
                    <a:pt x="7165" y="23732"/>
                    <a:pt x="17016" y="14329"/>
                  </a:cubicBezTo>
                  <a:cubicBezTo>
                    <a:pt x="26867" y="5373"/>
                    <a:pt x="39853" y="0"/>
                    <a:pt x="53286" y="0"/>
                  </a:cubicBezTo>
                  <a:cubicBezTo>
                    <a:pt x="68063" y="0"/>
                    <a:pt x="81944" y="6269"/>
                    <a:pt x="92243" y="17016"/>
                  </a:cubicBezTo>
                  <a:cubicBezTo>
                    <a:pt x="93139" y="17911"/>
                    <a:pt x="93139" y="19255"/>
                    <a:pt x="92243" y="20150"/>
                  </a:cubicBezTo>
                  <a:cubicBezTo>
                    <a:pt x="91348" y="21046"/>
                    <a:pt x="90004" y="21046"/>
                    <a:pt x="89109" y="20150"/>
                  </a:cubicBezTo>
                  <a:cubicBezTo>
                    <a:pt x="79705" y="10299"/>
                    <a:pt x="66720" y="4925"/>
                    <a:pt x="53286" y="4925"/>
                  </a:cubicBezTo>
                  <a:cubicBezTo>
                    <a:pt x="40748" y="4925"/>
                    <a:pt x="29106" y="9403"/>
                    <a:pt x="20150" y="17911"/>
                  </a:cubicBezTo>
                  <a:cubicBezTo>
                    <a:pt x="11195" y="26419"/>
                    <a:pt x="5373" y="37614"/>
                    <a:pt x="4478" y="49704"/>
                  </a:cubicBezTo>
                  <a:cubicBezTo>
                    <a:pt x="4478" y="50599"/>
                    <a:pt x="3582" y="51495"/>
                    <a:pt x="2239" y="51495"/>
                  </a:cubicBezTo>
                  <a:close/>
                </a:path>
              </a:pathLst>
            </a:custGeom>
            <a:solidFill>
              <a:srgbClr val="231F20"/>
            </a:solidFill>
            <a:ln w="4474" cap="flat">
              <a:noFill/>
              <a:prstDash val="solid"/>
              <a:miter/>
            </a:ln>
          </p:spPr>
          <p:txBody>
            <a:bodyPr rtlCol="0" anchor="ctr"/>
            <a:lstStyle/>
            <a:p>
              <a:endParaRPr lang="en-US"/>
            </a:p>
          </p:txBody>
        </p:sp>
        <p:sp>
          <p:nvSpPr>
            <p:cNvPr id="4943" name="Freeform: Shape 4942">
              <a:extLst>
                <a:ext uri="{FF2B5EF4-FFF2-40B4-BE49-F238E27FC236}">
                  <a16:creationId xmlns:a16="http://schemas.microsoft.com/office/drawing/2014/main" id="{14B5630F-289B-4649-A7DB-AA928898B4CE}"/>
                </a:ext>
              </a:extLst>
            </p:cNvPr>
            <p:cNvSpPr/>
            <p:nvPr/>
          </p:nvSpPr>
          <p:spPr>
            <a:xfrm>
              <a:off x="3601306" y="2622128"/>
              <a:ext cx="8956" cy="62689"/>
            </a:xfrm>
            <a:custGeom>
              <a:avLst/>
              <a:gdLst>
                <a:gd name="connsiteX0" fmla="*/ 5989 w 8955"/>
                <a:gd name="connsiteY0" fmla="*/ 62857 h 62689"/>
                <a:gd name="connsiteX1" fmla="*/ 5989 w 8955"/>
                <a:gd name="connsiteY1" fmla="*/ 62857 h 62689"/>
                <a:gd name="connsiteX2" fmla="*/ 3750 w 8955"/>
                <a:gd name="connsiteY2" fmla="*/ 60171 h 62689"/>
                <a:gd name="connsiteX3" fmla="*/ 4198 w 8955"/>
                <a:gd name="connsiteY3" fmla="*/ 54350 h 62689"/>
                <a:gd name="connsiteX4" fmla="*/ 4198 w 8955"/>
                <a:gd name="connsiteY4" fmla="*/ 53902 h 62689"/>
                <a:gd name="connsiteX5" fmla="*/ 4198 w 8955"/>
                <a:gd name="connsiteY5" fmla="*/ 23005 h 62689"/>
                <a:gd name="connsiteX6" fmla="*/ 168 w 8955"/>
                <a:gd name="connsiteY6" fmla="*/ 3302 h 62689"/>
                <a:gd name="connsiteX7" fmla="*/ 1511 w 8955"/>
                <a:gd name="connsiteY7" fmla="*/ 168 h 62689"/>
                <a:gd name="connsiteX8" fmla="*/ 4646 w 8955"/>
                <a:gd name="connsiteY8" fmla="*/ 1511 h 62689"/>
                <a:gd name="connsiteX9" fmla="*/ 9124 w 8955"/>
                <a:gd name="connsiteY9" fmla="*/ 23005 h 62689"/>
                <a:gd name="connsiteX10" fmla="*/ 9124 w 8955"/>
                <a:gd name="connsiteY10" fmla="*/ 54350 h 62689"/>
                <a:gd name="connsiteX11" fmla="*/ 8676 w 8955"/>
                <a:gd name="connsiteY11" fmla="*/ 61066 h 62689"/>
                <a:gd name="connsiteX12" fmla="*/ 5989 w 8955"/>
                <a:gd name="connsiteY12" fmla="*/ 62857 h 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55" h="62689">
                  <a:moveTo>
                    <a:pt x="5989" y="62857"/>
                  </a:moveTo>
                  <a:cubicBezTo>
                    <a:pt x="5989" y="62857"/>
                    <a:pt x="5541" y="62857"/>
                    <a:pt x="5989" y="62857"/>
                  </a:cubicBezTo>
                  <a:cubicBezTo>
                    <a:pt x="4646" y="62857"/>
                    <a:pt x="3750" y="61514"/>
                    <a:pt x="3750" y="60171"/>
                  </a:cubicBezTo>
                  <a:cubicBezTo>
                    <a:pt x="4198" y="58380"/>
                    <a:pt x="4198" y="56141"/>
                    <a:pt x="4198" y="54350"/>
                  </a:cubicBezTo>
                  <a:lnTo>
                    <a:pt x="4198" y="53902"/>
                  </a:lnTo>
                  <a:lnTo>
                    <a:pt x="4198" y="23005"/>
                  </a:lnTo>
                  <a:cubicBezTo>
                    <a:pt x="4198" y="16288"/>
                    <a:pt x="2855" y="9571"/>
                    <a:pt x="168" y="3302"/>
                  </a:cubicBezTo>
                  <a:cubicBezTo>
                    <a:pt x="-280" y="1959"/>
                    <a:pt x="168" y="1063"/>
                    <a:pt x="1511" y="168"/>
                  </a:cubicBezTo>
                  <a:cubicBezTo>
                    <a:pt x="2855" y="-280"/>
                    <a:pt x="3750" y="168"/>
                    <a:pt x="4646" y="1511"/>
                  </a:cubicBezTo>
                  <a:cubicBezTo>
                    <a:pt x="7780" y="8228"/>
                    <a:pt x="9124" y="15392"/>
                    <a:pt x="9124" y="23005"/>
                  </a:cubicBezTo>
                  <a:lnTo>
                    <a:pt x="9124" y="54350"/>
                  </a:lnTo>
                  <a:cubicBezTo>
                    <a:pt x="9124" y="56588"/>
                    <a:pt x="9124" y="58827"/>
                    <a:pt x="8676" y="61066"/>
                  </a:cubicBezTo>
                  <a:cubicBezTo>
                    <a:pt x="7780" y="61962"/>
                    <a:pt x="6885" y="62857"/>
                    <a:pt x="5989" y="62857"/>
                  </a:cubicBezTo>
                  <a:close/>
                </a:path>
              </a:pathLst>
            </a:custGeom>
            <a:solidFill>
              <a:srgbClr val="231F20"/>
            </a:solidFill>
            <a:ln w="4474" cap="flat">
              <a:noFill/>
              <a:prstDash val="solid"/>
              <a:miter/>
            </a:ln>
          </p:spPr>
          <p:txBody>
            <a:bodyPr rtlCol="0" anchor="ctr"/>
            <a:lstStyle/>
            <a:p>
              <a:endParaRPr lang="en-US"/>
            </a:p>
          </p:txBody>
        </p:sp>
        <p:sp>
          <p:nvSpPr>
            <p:cNvPr id="4944" name="Freeform: Shape 4943">
              <a:extLst>
                <a:ext uri="{FF2B5EF4-FFF2-40B4-BE49-F238E27FC236}">
                  <a16:creationId xmlns:a16="http://schemas.microsoft.com/office/drawing/2014/main" id="{7C6CB9A9-1F94-4CAF-8FA2-305BEDD907BD}"/>
                </a:ext>
              </a:extLst>
            </p:cNvPr>
            <p:cNvSpPr/>
            <p:nvPr/>
          </p:nvSpPr>
          <p:spPr>
            <a:xfrm>
              <a:off x="3505200" y="2607699"/>
              <a:ext cx="31345" cy="76123"/>
            </a:xfrm>
            <a:custGeom>
              <a:avLst/>
              <a:gdLst>
                <a:gd name="connsiteX0" fmla="*/ 2239 w 31344"/>
                <a:gd name="connsiteY0" fmla="*/ 79077 h 76122"/>
                <a:gd name="connsiteX1" fmla="*/ 0 w 31344"/>
                <a:gd name="connsiteY1" fmla="*/ 77286 h 76122"/>
                <a:gd name="connsiteX2" fmla="*/ 1791 w 31344"/>
                <a:gd name="connsiteY2" fmla="*/ 74600 h 76122"/>
                <a:gd name="connsiteX3" fmla="*/ 2239 w 31344"/>
                <a:gd name="connsiteY3" fmla="*/ 74600 h 76122"/>
                <a:gd name="connsiteX4" fmla="*/ 6717 w 31344"/>
                <a:gd name="connsiteY4" fmla="*/ 69226 h 76122"/>
                <a:gd name="connsiteX5" fmla="*/ 6717 w 31344"/>
                <a:gd name="connsiteY5" fmla="*/ 37881 h 76122"/>
                <a:gd name="connsiteX6" fmla="*/ 27762 w 31344"/>
                <a:gd name="connsiteY6" fmla="*/ 268 h 76122"/>
                <a:gd name="connsiteX7" fmla="*/ 30897 w 31344"/>
                <a:gd name="connsiteY7" fmla="*/ 1163 h 76122"/>
                <a:gd name="connsiteX8" fmla="*/ 30001 w 31344"/>
                <a:gd name="connsiteY8" fmla="*/ 4298 h 76122"/>
                <a:gd name="connsiteX9" fmla="*/ 11195 w 31344"/>
                <a:gd name="connsiteY9" fmla="*/ 37881 h 76122"/>
                <a:gd name="connsiteX10" fmla="*/ 11195 w 31344"/>
                <a:gd name="connsiteY10" fmla="*/ 69226 h 76122"/>
                <a:gd name="connsiteX11" fmla="*/ 3134 w 31344"/>
                <a:gd name="connsiteY11" fmla="*/ 79077 h 76122"/>
                <a:gd name="connsiteX12" fmla="*/ 2239 w 31344"/>
                <a:gd name="connsiteY12" fmla="*/ 79077 h 76122"/>
                <a:gd name="connsiteX13" fmla="*/ 2239 w 31344"/>
                <a:gd name="connsiteY13" fmla="*/ 79077 h 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4" h="76122">
                  <a:moveTo>
                    <a:pt x="2239" y="79077"/>
                  </a:moveTo>
                  <a:cubicBezTo>
                    <a:pt x="895" y="79077"/>
                    <a:pt x="0" y="78182"/>
                    <a:pt x="0" y="77286"/>
                  </a:cubicBezTo>
                  <a:cubicBezTo>
                    <a:pt x="0" y="75943"/>
                    <a:pt x="895" y="75047"/>
                    <a:pt x="1791" y="74600"/>
                  </a:cubicBezTo>
                  <a:cubicBezTo>
                    <a:pt x="1791" y="74600"/>
                    <a:pt x="2239" y="74600"/>
                    <a:pt x="2239" y="74600"/>
                  </a:cubicBezTo>
                  <a:cubicBezTo>
                    <a:pt x="4925" y="74152"/>
                    <a:pt x="6717" y="71465"/>
                    <a:pt x="6717" y="69226"/>
                  </a:cubicBezTo>
                  <a:lnTo>
                    <a:pt x="6717" y="37881"/>
                  </a:lnTo>
                  <a:cubicBezTo>
                    <a:pt x="6717" y="22657"/>
                    <a:pt x="14777" y="8328"/>
                    <a:pt x="27762" y="268"/>
                  </a:cubicBezTo>
                  <a:cubicBezTo>
                    <a:pt x="28658" y="-180"/>
                    <a:pt x="30001" y="-180"/>
                    <a:pt x="30897" y="1163"/>
                  </a:cubicBezTo>
                  <a:cubicBezTo>
                    <a:pt x="31792" y="2507"/>
                    <a:pt x="31345" y="3402"/>
                    <a:pt x="30001" y="4298"/>
                  </a:cubicBezTo>
                  <a:cubicBezTo>
                    <a:pt x="18359" y="11462"/>
                    <a:pt x="11195" y="24000"/>
                    <a:pt x="11195" y="37881"/>
                  </a:cubicBezTo>
                  <a:lnTo>
                    <a:pt x="11195" y="69226"/>
                  </a:lnTo>
                  <a:cubicBezTo>
                    <a:pt x="11195" y="74152"/>
                    <a:pt x="7612" y="78182"/>
                    <a:pt x="3134" y="79077"/>
                  </a:cubicBezTo>
                  <a:cubicBezTo>
                    <a:pt x="3134" y="79077"/>
                    <a:pt x="2687" y="79077"/>
                    <a:pt x="2239" y="79077"/>
                  </a:cubicBezTo>
                  <a:cubicBezTo>
                    <a:pt x="2239" y="79077"/>
                    <a:pt x="2239" y="79077"/>
                    <a:pt x="2239" y="79077"/>
                  </a:cubicBezTo>
                  <a:close/>
                </a:path>
              </a:pathLst>
            </a:custGeom>
            <a:solidFill>
              <a:srgbClr val="231F20"/>
            </a:solidFill>
            <a:ln w="4474" cap="flat">
              <a:noFill/>
              <a:prstDash val="solid"/>
              <a:miter/>
            </a:ln>
          </p:spPr>
          <p:txBody>
            <a:bodyPr rtlCol="0" anchor="ctr"/>
            <a:lstStyle/>
            <a:p>
              <a:endParaRPr lang="en-US"/>
            </a:p>
          </p:txBody>
        </p:sp>
        <p:sp>
          <p:nvSpPr>
            <p:cNvPr id="4945" name="Freeform: Shape 4944">
              <a:extLst>
                <a:ext uri="{FF2B5EF4-FFF2-40B4-BE49-F238E27FC236}">
                  <a16:creationId xmlns:a16="http://schemas.microsoft.com/office/drawing/2014/main" id="{C9FAC323-AF41-45C0-AC19-162A20D7EA11}"/>
                </a:ext>
              </a:extLst>
            </p:cNvPr>
            <p:cNvSpPr/>
            <p:nvPr/>
          </p:nvSpPr>
          <p:spPr>
            <a:xfrm>
              <a:off x="3587416" y="2700658"/>
              <a:ext cx="8956" cy="13433"/>
            </a:xfrm>
            <a:custGeom>
              <a:avLst/>
              <a:gdLst>
                <a:gd name="connsiteX0" fmla="*/ 2415 w 8955"/>
                <a:gd name="connsiteY0" fmla="*/ 17463 h 13433"/>
                <a:gd name="connsiteX1" fmla="*/ 1071 w 8955"/>
                <a:gd name="connsiteY1" fmla="*/ 17016 h 13433"/>
                <a:gd name="connsiteX2" fmla="*/ 176 w 8955"/>
                <a:gd name="connsiteY2" fmla="*/ 13881 h 13433"/>
                <a:gd name="connsiteX3" fmla="*/ 5101 w 8955"/>
                <a:gd name="connsiteY3" fmla="*/ 1791 h 13433"/>
                <a:gd name="connsiteX4" fmla="*/ 7788 w 8955"/>
                <a:gd name="connsiteY4" fmla="*/ 0 h 13433"/>
                <a:gd name="connsiteX5" fmla="*/ 9579 w 8955"/>
                <a:gd name="connsiteY5" fmla="*/ 2687 h 13433"/>
                <a:gd name="connsiteX6" fmla="*/ 4206 w 8955"/>
                <a:gd name="connsiteY6" fmla="*/ 16120 h 13433"/>
                <a:gd name="connsiteX7" fmla="*/ 2415 w 8955"/>
                <a:gd name="connsiteY7" fmla="*/ 17463 h 1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 h="13433">
                  <a:moveTo>
                    <a:pt x="2415" y="17463"/>
                  </a:moveTo>
                  <a:cubicBezTo>
                    <a:pt x="1967" y="17463"/>
                    <a:pt x="1519" y="17463"/>
                    <a:pt x="1071" y="17016"/>
                  </a:cubicBezTo>
                  <a:cubicBezTo>
                    <a:pt x="176" y="16568"/>
                    <a:pt x="-272" y="14777"/>
                    <a:pt x="176" y="13881"/>
                  </a:cubicBezTo>
                  <a:cubicBezTo>
                    <a:pt x="1967" y="10747"/>
                    <a:pt x="4206" y="4926"/>
                    <a:pt x="5101" y="1791"/>
                  </a:cubicBezTo>
                  <a:cubicBezTo>
                    <a:pt x="5549" y="448"/>
                    <a:pt x="6445" y="0"/>
                    <a:pt x="7788" y="0"/>
                  </a:cubicBezTo>
                  <a:cubicBezTo>
                    <a:pt x="9131" y="448"/>
                    <a:pt x="9579" y="1343"/>
                    <a:pt x="9579" y="2687"/>
                  </a:cubicBezTo>
                  <a:cubicBezTo>
                    <a:pt x="8684" y="6269"/>
                    <a:pt x="6445" y="12538"/>
                    <a:pt x="4206" y="16120"/>
                  </a:cubicBezTo>
                  <a:cubicBezTo>
                    <a:pt x="3758" y="17016"/>
                    <a:pt x="2862" y="17463"/>
                    <a:pt x="2415" y="17463"/>
                  </a:cubicBezTo>
                  <a:close/>
                </a:path>
              </a:pathLst>
            </a:custGeom>
            <a:solidFill>
              <a:srgbClr val="231F20"/>
            </a:solidFill>
            <a:ln w="4474" cap="flat">
              <a:noFill/>
              <a:prstDash val="solid"/>
              <a:miter/>
            </a:ln>
          </p:spPr>
          <p:txBody>
            <a:bodyPr rtlCol="0" anchor="ctr"/>
            <a:lstStyle/>
            <a:p>
              <a:endParaRPr lang="en-US"/>
            </a:p>
          </p:txBody>
        </p:sp>
        <p:sp>
          <p:nvSpPr>
            <p:cNvPr id="4946" name="Freeform: Shape 4945">
              <a:extLst>
                <a:ext uri="{FF2B5EF4-FFF2-40B4-BE49-F238E27FC236}">
                  <a16:creationId xmlns:a16="http://schemas.microsoft.com/office/drawing/2014/main" id="{67982CBC-B7E3-4F48-8CBD-6AF998340266}"/>
                </a:ext>
              </a:extLst>
            </p:cNvPr>
            <p:cNvSpPr/>
            <p:nvPr/>
          </p:nvSpPr>
          <p:spPr>
            <a:xfrm>
              <a:off x="3547292" y="2600802"/>
              <a:ext cx="49256" cy="85079"/>
            </a:xfrm>
            <a:custGeom>
              <a:avLst/>
              <a:gdLst>
                <a:gd name="connsiteX0" fmla="*/ 49704 w 49255"/>
                <a:gd name="connsiteY0" fmla="*/ 88661 h 85078"/>
                <a:gd name="connsiteX1" fmla="*/ 49704 w 49255"/>
                <a:gd name="connsiteY1" fmla="*/ 88661 h 85078"/>
                <a:gd name="connsiteX2" fmla="*/ 47465 w 49255"/>
                <a:gd name="connsiteY2" fmla="*/ 85974 h 85078"/>
                <a:gd name="connsiteX3" fmla="*/ 47913 w 49255"/>
                <a:gd name="connsiteY3" fmla="*/ 75227 h 85078"/>
                <a:gd name="connsiteX4" fmla="*/ 47913 w 49255"/>
                <a:gd name="connsiteY4" fmla="*/ 43883 h 85078"/>
                <a:gd name="connsiteX5" fmla="*/ 36270 w 49255"/>
                <a:gd name="connsiteY5" fmla="*/ 16120 h 85078"/>
                <a:gd name="connsiteX6" fmla="*/ 2687 w 49255"/>
                <a:gd name="connsiteY6" fmla="*/ 4926 h 85078"/>
                <a:gd name="connsiteX7" fmla="*/ 0 w 49255"/>
                <a:gd name="connsiteY7" fmla="*/ 3135 h 85078"/>
                <a:gd name="connsiteX8" fmla="*/ 1791 w 49255"/>
                <a:gd name="connsiteY8" fmla="*/ 448 h 85078"/>
                <a:gd name="connsiteX9" fmla="*/ 8060 w 49255"/>
                <a:gd name="connsiteY9" fmla="*/ 0 h 85078"/>
                <a:gd name="connsiteX10" fmla="*/ 38957 w 49255"/>
                <a:gd name="connsiteY10" fmla="*/ 12986 h 85078"/>
                <a:gd name="connsiteX11" fmla="*/ 51943 w 49255"/>
                <a:gd name="connsiteY11" fmla="*/ 43883 h 85078"/>
                <a:gd name="connsiteX12" fmla="*/ 51943 w 49255"/>
                <a:gd name="connsiteY12" fmla="*/ 75227 h 85078"/>
                <a:gd name="connsiteX13" fmla="*/ 51495 w 49255"/>
                <a:gd name="connsiteY13" fmla="*/ 86422 h 85078"/>
                <a:gd name="connsiteX14" fmla="*/ 49704 w 49255"/>
                <a:gd name="connsiteY14" fmla="*/ 88661 h 8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55" h="85078">
                  <a:moveTo>
                    <a:pt x="49704" y="88661"/>
                  </a:moveTo>
                  <a:cubicBezTo>
                    <a:pt x="49704" y="88661"/>
                    <a:pt x="49704" y="88661"/>
                    <a:pt x="49704" y="88661"/>
                  </a:cubicBezTo>
                  <a:cubicBezTo>
                    <a:pt x="48360" y="88661"/>
                    <a:pt x="47465" y="87317"/>
                    <a:pt x="47465" y="85974"/>
                  </a:cubicBezTo>
                  <a:cubicBezTo>
                    <a:pt x="47913" y="82392"/>
                    <a:pt x="47913" y="78810"/>
                    <a:pt x="47913" y="75227"/>
                  </a:cubicBezTo>
                  <a:lnTo>
                    <a:pt x="47913" y="43883"/>
                  </a:lnTo>
                  <a:cubicBezTo>
                    <a:pt x="47913" y="33584"/>
                    <a:pt x="43883" y="23733"/>
                    <a:pt x="36270" y="16120"/>
                  </a:cubicBezTo>
                  <a:cubicBezTo>
                    <a:pt x="27315" y="7165"/>
                    <a:pt x="15225" y="3135"/>
                    <a:pt x="2687" y="4926"/>
                  </a:cubicBezTo>
                  <a:cubicBezTo>
                    <a:pt x="1343" y="4926"/>
                    <a:pt x="448" y="4030"/>
                    <a:pt x="0" y="3135"/>
                  </a:cubicBezTo>
                  <a:cubicBezTo>
                    <a:pt x="0" y="1791"/>
                    <a:pt x="896" y="896"/>
                    <a:pt x="1791" y="448"/>
                  </a:cubicBezTo>
                  <a:cubicBezTo>
                    <a:pt x="4030" y="0"/>
                    <a:pt x="5821" y="0"/>
                    <a:pt x="8060" y="0"/>
                  </a:cubicBezTo>
                  <a:cubicBezTo>
                    <a:pt x="19703" y="0"/>
                    <a:pt x="30897" y="4478"/>
                    <a:pt x="38957" y="12986"/>
                  </a:cubicBezTo>
                  <a:cubicBezTo>
                    <a:pt x="47465" y="21046"/>
                    <a:pt x="51943" y="32240"/>
                    <a:pt x="51943" y="43883"/>
                  </a:cubicBezTo>
                  <a:lnTo>
                    <a:pt x="51943" y="75227"/>
                  </a:lnTo>
                  <a:cubicBezTo>
                    <a:pt x="51943" y="78810"/>
                    <a:pt x="51943" y="82840"/>
                    <a:pt x="51495" y="86422"/>
                  </a:cubicBezTo>
                  <a:cubicBezTo>
                    <a:pt x="51943" y="88213"/>
                    <a:pt x="50599" y="88661"/>
                    <a:pt x="49704" y="88661"/>
                  </a:cubicBezTo>
                  <a:close/>
                </a:path>
              </a:pathLst>
            </a:custGeom>
            <a:solidFill>
              <a:srgbClr val="231F20"/>
            </a:solidFill>
            <a:ln w="4474" cap="flat">
              <a:noFill/>
              <a:prstDash val="solid"/>
              <a:miter/>
            </a:ln>
          </p:spPr>
          <p:txBody>
            <a:bodyPr rtlCol="0" anchor="ctr"/>
            <a:lstStyle/>
            <a:p>
              <a:endParaRPr lang="en-US"/>
            </a:p>
          </p:txBody>
        </p:sp>
        <p:sp>
          <p:nvSpPr>
            <p:cNvPr id="4947" name="Freeform: Shape 4946">
              <a:extLst>
                <a:ext uri="{FF2B5EF4-FFF2-40B4-BE49-F238E27FC236}">
                  <a16:creationId xmlns:a16="http://schemas.microsoft.com/office/drawing/2014/main" id="{CE3B4137-443F-4267-9C89-41CAB1F738BB}"/>
                </a:ext>
              </a:extLst>
            </p:cNvPr>
            <p:cNvSpPr/>
            <p:nvPr/>
          </p:nvSpPr>
          <p:spPr>
            <a:xfrm>
              <a:off x="3540982" y="2709125"/>
              <a:ext cx="17911" cy="17911"/>
            </a:xfrm>
            <a:custGeom>
              <a:avLst/>
              <a:gdLst>
                <a:gd name="connsiteX0" fmla="*/ 2279 w 17911"/>
                <a:gd name="connsiteY0" fmla="*/ 18847 h 17911"/>
                <a:gd name="connsiteX1" fmla="*/ 488 w 17911"/>
                <a:gd name="connsiteY1" fmla="*/ 17952 h 17911"/>
                <a:gd name="connsiteX2" fmla="*/ 936 w 17911"/>
                <a:gd name="connsiteY2" fmla="*/ 14817 h 17911"/>
                <a:gd name="connsiteX3" fmla="*/ 2727 w 17911"/>
                <a:gd name="connsiteY3" fmla="*/ 13474 h 17911"/>
                <a:gd name="connsiteX4" fmla="*/ 14369 w 17911"/>
                <a:gd name="connsiteY4" fmla="*/ 936 h 17911"/>
                <a:gd name="connsiteX5" fmla="*/ 17504 w 17911"/>
                <a:gd name="connsiteY5" fmla="*/ 488 h 17911"/>
                <a:gd name="connsiteX6" fmla="*/ 17952 w 17911"/>
                <a:gd name="connsiteY6" fmla="*/ 3623 h 17911"/>
                <a:gd name="connsiteX7" fmla="*/ 5414 w 17911"/>
                <a:gd name="connsiteY7" fmla="*/ 17056 h 17911"/>
                <a:gd name="connsiteX8" fmla="*/ 3623 w 17911"/>
                <a:gd name="connsiteY8" fmla="*/ 18399 h 17911"/>
                <a:gd name="connsiteX9" fmla="*/ 2279 w 17911"/>
                <a:gd name="connsiteY9" fmla="*/ 18847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1" h="17911">
                  <a:moveTo>
                    <a:pt x="2279" y="18847"/>
                  </a:moveTo>
                  <a:cubicBezTo>
                    <a:pt x="1384" y="18847"/>
                    <a:pt x="936" y="18399"/>
                    <a:pt x="488" y="17952"/>
                  </a:cubicBezTo>
                  <a:cubicBezTo>
                    <a:pt x="-407" y="17056"/>
                    <a:pt x="40" y="15713"/>
                    <a:pt x="936" y="14817"/>
                  </a:cubicBezTo>
                  <a:cubicBezTo>
                    <a:pt x="1384" y="14369"/>
                    <a:pt x="2279" y="13922"/>
                    <a:pt x="2727" y="13474"/>
                  </a:cubicBezTo>
                  <a:cubicBezTo>
                    <a:pt x="7205" y="9892"/>
                    <a:pt x="11235" y="5861"/>
                    <a:pt x="14369" y="936"/>
                  </a:cubicBezTo>
                  <a:cubicBezTo>
                    <a:pt x="15265" y="40"/>
                    <a:pt x="16608" y="-407"/>
                    <a:pt x="17504" y="488"/>
                  </a:cubicBezTo>
                  <a:cubicBezTo>
                    <a:pt x="18399" y="1384"/>
                    <a:pt x="18847" y="2727"/>
                    <a:pt x="17952" y="3623"/>
                  </a:cubicBezTo>
                  <a:cubicBezTo>
                    <a:pt x="14369" y="8548"/>
                    <a:pt x="10339" y="13026"/>
                    <a:pt x="5414" y="17056"/>
                  </a:cubicBezTo>
                  <a:cubicBezTo>
                    <a:pt x="4518" y="17504"/>
                    <a:pt x="4070" y="17952"/>
                    <a:pt x="3623" y="18399"/>
                  </a:cubicBezTo>
                  <a:cubicBezTo>
                    <a:pt x="3175" y="18399"/>
                    <a:pt x="2727" y="18847"/>
                    <a:pt x="2279" y="18847"/>
                  </a:cubicBezTo>
                  <a:close/>
                </a:path>
              </a:pathLst>
            </a:custGeom>
            <a:solidFill>
              <a:srgbClr val="231F20"/>
            </a:solidFill>
            <a:ln w="4474" cap="flat">
              <a:noFill/>
              <a:prstDash val="solid"/>
              <a:miter/>
            </a:ln>
          </p:spPr>
          <p:txBody>
            <a:bodyPr rtlCol="0" anchor="ctr"/>
            <a:lstStyle/>
            <a:p>
              <a:endParaRPr lang="en-US"/>
            </a:p>
          </p:txBody>
        </p:sp>
        <p:sp>
          <p:nvSpPr>
            <p:cNvPr id="4948" name="Freeform: Shape 4947">
              <a:extLst>
                <a:ext uri="{FF2B5EF4-FFF2-40B4-BE49-F238E27FC236}">
                  <a16:creationId xmlns:a16="http://schemas.microsoft.com/office/drawing/2014/main" id="{DDE43CFE-9355-474A-AEA5-AA523FAEDBA1}"/>
                </a:ext>
              </a:extLst>
            </p:cNvPr>
            <p:cNvSpPr/>
            <p:nvPr/>
          </p:nvSpPr>
          <p:spPr>
            <a:xfrm>
              <a:off x="3519361" y="2630356"/>
              <a:ext cx="49256" cy="80601"/>
            </a:xfrm>
            <a:custGeom>
              <a:avLst/>
              <a:gdLst>
                <a:gd name="connsiteX0" fmla="*/ 2407 w 49255"/>
                <a:gd name="connsiteY0" fmla="*/ 82840 h 80600"/>
                <a:gd name="connsiteX1" fmla="*/ 168 w 49255"/>
                <a:gd name="connsiteY1" fmla="*/ 81496 h 80600"/>
                <a:gd name="connsiteX2" fmla="*/ 1511 w 49255"/>
                <a:gd name="connsiteY2" fmla="*/ 78362 h 80600"/>
                <a:gd name="connsiteX3" fmla="*/ 1959 w 49255"/>
                <a:gd name="connsiteY3" fmla="*/ 77914 h 80600"/>
                <a:gd name="connsiteX4" fmla="*/ 22557 w 49255"/>
                <a:gd name="connsiteY4" fmla="*/ 45674 h 80600"/>
                <a:gd name="connsiteX5" fmla="*/ 22557 w 49255"/>
                <a:gd name="connsiteY5" fmla="*/ 13881 h 80600"/>
                <a:gd name="connsiteX6" fmla="*/ 36438 w 49255"/>
                <a:gd name="connsiteY6" fmla="*/ 0 h 80600"/>
                <a:gd name="connsiteX7" fmla="*/ 50319 w 49255"/>
                <a:gd name="connsiteY7" fmla="*/ 13881 h 80600"/>
                <a:gd name="connsiteX8" fmla="*/ 50319 w 49255"/>
                <a:gd name="connsiteY8" fmla="*/ 45226 h 80600"/>
                <a:gd name="connsiteX9" fmla="*/ 47185 w 49255"/>
                <a:gd name="connsiteY9" fmla="*/ 64928 h 80600"/>
                <a:gd name="connsiteX10" fmla="*/ 44498 w 49255"/>
                <a:gd name="connsiteY10" fmla="*/ 66272 h 80600"/>
                <a:gd name="connsiteX11" fmla="*/ 43155 w 49255"/>
                <a:gd name="connsiteY11" fmla="*/ 63585 h 80600"/>
                <a:gd name="connsiteX12" fmla="*/ 45842 w 49255"/>
                <a:gd name="connsiteY12" fmla="*/ 45226 h 80600"/>
                <a:gd name="connsiteX13" fmla="*/ 45842 w 49255"/>
                <a:gd name="connsiteY13" fmla="*/ 44778 h 80600"/>
                <a:gd name="connsiteX14" fmla="*/ 45842 w 49255"/>
                <a:gd name="connsiteY14" fmla="*/ 13881 h 80600"/>
                <a:gd name="connsiteX15" fmla="*/ 36438 w 49255"/>
                <a:gd name="connsiteY15" fmla="*/ 4478 h 80600"/>
                <a:gd name="connsiteX16" fmla="*/ 27035 w 49255"/>
                <a:gd name="connsiteY16" fmla="*/ 13881 h 80600"/>
                <a:gd name="connsiteX17" fmla="*/ 27035 w 49255"/>
                <a:gd name="connsiteY17" fmla="*/ 45674 h 80600"/>
                <a:gd name="connsiteX18" fmla="*/ 3750 w 49255"/>
                <a:gd name="connsiteY18" fmla="*/ 81944 h 80600"/>
                <a:gd name="connsiteX19" fmla="*/ 3302 w 49255"/>
                <a:gd name="connsiteY19" fmla="*/ 82392 h 80600"/>
                <a:gd name="connsiteX20" fmla="*/ 2407 w 49255"/>
                <a:gd name="connsiteY20" fmla="*/ 82840 h 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255" h="80600">
                  <a:moveTo>
                    <a:pt x="2407" y="82840"/>
                  </a:moveTo>
                  <a:cubicBezTo>
                    <a:pt x="1511" y="82840"/>
                    <a:pt x="616" y="82392"/>
                    <a:pt x="168" y="81496"/>
                  </a:cubicBezTo>
                  <a:cubicBezTo>
                    <a:pt x="-280" y="80153"/>
                    <a:pt x="168" y="79257"/>
                    <a:pt x="1511" y="78362"/>
                  </a:cubicBezTo>
                  <a:lnTo>
                    <a:pt x="1959" y="77914"/>
                  </a:lnTo>
                  <a:cubicBezTo>
                    <a:pt x="14497" y="72093"/>
                    <a:pt x="22557" y="59555"/>
                    <a:pt x="22557" y="45674"/>
                  </a:cubicBezTo>
                  <a:lnTo>
                    <a:pt x="22557" y="13881"/>
                  </a:lnTo>
                  <a:cubicBezTo>
                    <a:pt x="22557" y="6269"/>
                    <a:pt x="28826" y="0"/>
                    <a:pt x="36438" y="0"/>
                  </a:cubicBezTo>
                  <a:cubicBezTo>
                    <a:pt x="44051" y="0"/>
                    <a:pt x="50319" y="6269"/>
                    <a:pt x="50319" y="13881"/>
                  </a:cubicBezTo>
                  <a:lnTo>
                    <a:pt x="50319" y="45226"/>
                  </a:lnTo>
                  <a:cubicBezTo>
                    <a:pt x="50319" y="51943"/>
                    <a:pt x="49424" y="58659"/>
                    <a:pt x="47185" y="64928"/>
                  </a:cubicBezTo>
                  <a:cubicBezTo>
                    <a:pt x="46737" y="66272"/>
                    <a:pt x="45394" y="66719"/>
                    <a:pt x="44498" y="66272"/>
                  </a:cubicBezTo>
                  <a:cubicBezTo>
                    <a:pt x="43155" y="65824"/>
                    <a:pt x="42707" y="64481"/>
                    <a:pt x="43155" y="63585"/>
                  </a:cubicBezTo>
                  <a:cubicBezTo>
                    <a:pt x="44946" y="57764"/>
                    <a:pt x="45842" y="51495"/>
                    <a:pt x="45842" y="45226"/>
                  </a:cubicBezTo>
                  <a:lnTo>
                    <a:pt x="45842" y="44778"/>
                  </a:lnTo>
                  <a:lnTo>
                    <a:pt x="45842" y="13881"/>
                  </a:lnTo>
                  <a:cubicBezTo>
                    <a:pt x="45842" y="8508"/>
                    <a:pt x="41364" y="4478"/>
                    <a:pt x="36438" y="4478"/>
                  </a:cubicBezTo>
                  <a:cubicBezTo>
                    <a:pt x="31513" y="4478"/>
                    <a:pt x="27035" y="8956"/>
                    <a:pt x="27035" y="13881"/>
                  </a:cubicBezTo>
                  <a:lnTo>
                    <a:pt x="27035" y="45674"/>
                  </a:lnTo>
                  <a:cubicBezTo>
                    <a:pt x="27035" y="61346"/>
                    <a:pt x="17631" y="75227"/>
                    <a:pt x="3750" y="81944"/>
                  </a:cubicBezTo>
                  <a:lnTo>
                    <a:pt x="3302" y="82392"/>
                  </a:lnTo>
                  <a:cubicBezTo>
                    <a:pt x="2855" y="82840"/>
                    <a:pt x="2407" y="82840"/>
                    <a:pt x="2407" y="82840"/>
                  </a:cubicBezTo>
                  <a:close/>
                </a:path>
              </a:pathLst>
            </a:custGeom>
            <a:solidFill>
              <a:srgbClr val="231F20"/>
            </a:solidFill>
            <a:ln w="4474" cap="flat">
              <a:noFill/>
              <a:prstDash val="solid"/>
              <a:miter/>
            </a:ln>
          </p:spPr>
          <p:txBody>
            <a:bodyPr rtlCol="0" anchor="ctr"/>
            <a:lstStyle/>
            <a:p>
              <a:endParaRPr lang="en-US"/>
            </a:p>
          </p:txBody>
        </p:sp>
        <p:sp>
          <p:nvSpPr>
            <p:cNvPr id="4949" name="Freeform: Shape 4948">
              <a:extLst>
                <a:ext uri="{FF2B5EF4-FFF2-40B4-BE49-F238E27FC236}">
                  <a16:creationId xmlns:a16="http://schemas.microsoft.com/office/drawing/2014/main" id="{F1D0D006-4DE3-4007-84BD-83E31646131B}"/>
                </a:ext>
              </a:extLst>
            </p:cNvPr>
            <p:cNvSpPr/>
            <p:nvPr/>
          </p:nvSpPr>
          <p:spPr>
            <a:xfrm>
              <a:off x="3554456" y="2644237"/>
              <a:ext cx="4478" cy="8956"/>
            </a:xfrm>
            <a:custGeom>
              <a:avLst/>
              <a:gdLst>
                <a:gd name="connsiteX0" fmla="*/ 2239 w 4477"/>
                <a:gd name="connsiteY0" fmla="*/ 11642 h 8955"/>
                <a:gd name="connsiteX1" fmla="*/ 0 w 4477"/>
                <a:gd name="connsiteY1" fmla="*/ 9403 h 8955"/>
                <a:gd name="connsiteX2" fmla="*/ 0 w 4477"/>
                <a:gd name="connsiteY2" fmla="*/ 2239 h 8955"/>
                <a:gd name="connsiteX3" fmla="*/ 2239 w 4477"/>
                <a:gd name="connsiteY3" fmla="*/ 0 h 8955"/>
                <a:gd name="connsiteX4" fmla="*/ 4478 w 4477"/>
                <a:gd name="connsiteY4" fmla="*/ 2239 h 8955"/>
                <a:gd name="connsiteX5" fmla="*/ 4478 w 4477"/>
                <a:gd name="connsiteY5" fmla="*/ 9403 h 8955"/>
                <a:gd name="connsiteX6" fmla="*/ 2239 w 4477"/>
                <a:gd name="connsiteY6" fmla="*/ 11642 h 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8955">
                  <a:moveTo>
                    <a:pt x="2239" y="11642"/>
                  </a:moveTo>
                  <a:cubicBezTo>
                    <a:pt x="895" y="11642"/>
                    <a:pt x="0" y="10747"/>
                    <a:pt x="0" y="9403"/>
                  </a:cubicBezTo>
                  <a:lnTo>
                    <a:pt x="0" y="2239"/>
                  </a:lnTo>
                  <a:cubicBezTo>
                    <a:pt x="0" y="896"/>
                    <a:pt x="895" y="0"/>
                    <a:pt x="2239" y="0"/>
                  </a:cubicBezTo>
                  <a:cubicBezTo>
                    <a:pt x="3582" y="0"/>
                    <a:pt x="4478" y="896"/>
                    <a:pt x="4478" y="2239"/>
                  </a:cubicBezTo>
                  <a:lnTo>
                    <a:pt x="4478" y="9403"/>
                  </a:lnTo>
                  <a:cubicBezTo>
                    <a:pt x="4478" y="10747"/>
                    <a:pt x="3134" y="11642"/>
                    <a:pt x="2239" y="11642"/>
                  </a:cubicBezTo>
                  <a:close/>
                </a:path>
              </a:pathLst>
            </a:custGeom>
            <a:solidFill>
              <a:srgbClr val="231F20"/>
            </a:solidFill>
            <a:ln w="4474" cap="flat">
              <a:noFill/>
              <a:prstDash val="solid"/>
              <a:miter/>
            </a:ln>
          </p:spPr>
          <p:txBody>
            <a:bodyPr rtlCol="0" anchor="ctr"/>
            <a:lstStyle/>
            <a:p>
              <a:endParaRPr lang="en-US"/>
            </a:p>
          </p:txBody>
        </p:sp>
        <p:sp>
          <p:nvSpPr>
            <p:cNvPr id="4950" name="Freeform: Shape 4949">
              <a:extLst>
                <a:ext uri="{FF2B5EF4-FFF2-40B4-BE49-F238E27FC236}">
                  <a16:creationId xmlns:a16="http://schemas.microsoft.com/office/drawing/2014/main" id="{6DAAA9E1-615F-4D98-8E48-823C1CA60964}"/>
                </a:ext>
              </a:extLst>
            </p:cNvPr>
            <p:cNvSpPr/>
            <p:nvPr/>
          </p:nvSpPr>
          <p:spPr>
            <a:xfrm>
              <a:off x="3529560" y="2662148"/>
              <a:ext cx="26867" cy="58212"/>
            </a:xfrm>
            <a:custGeom>
              <a:avLst/>
              <a:gdLst>
                <a:gd name="connsiteX0" fmla="*/ 2059 w 26866"/>
                <a:gd name="connsiteY0" fmla="*/ 58659 h 58211"/>
                <a:gd name="connsiteX1" fmla="*/ 268 w 26866"/>
                <a:gd name="connsiteY1" fmla="*/ 57316 h 58211"/>
                <a:gd name="connsiteX2" fmla="*/ 1163 w 26866"/>
                <a:gd name="connsiteY2" fmla="*/ 54182 h 58211"/>
                <a:gd name="connsiteX3" fmla="*/ 2955 w 26866"/>
                <a:gd name="connsiteY3" fmla="*/ 53286 h 58211"/>
                <a:gd name="connsiteX4" fmla="*/ 25344 w 26866"/>
                <a:gd name="connsiteY4" fmla="*/ 11642 h 58211"/>
                <a:gd name="connsiteX5" fmla="*/ 25344 w 26866"/>
                <a:gd name="connsiteY5" fmla="*/ 2239 h 58211"/>
                <a:gd name="connsiteX6" fmla="*/ 27583 w 26866"/>
                <a:gd name="connsiteY6" fmla="*/ 0 h 58211"/>
                <a:gd name="connsiteX7" fmla="*/ 29821 w 26866"/>
                <a:gd name="connsiteY7" fmla="*/ 2239 h 58211"/>
                <a:gd name="connsiteX8" fmla="*/ 29821 w 26866"/>
                <a:gd name="connsiteY8" fmla="*/ 11642 h 58211"/>
                <a:gd name="connsiteX9" fmla="*/ 5641 w 26866"/>
                <a:gd name="connsiteY9" fmla="*/ 57316 h 58211"/>
                <a:gd name="connsiteX10" fmla="*/ 3850 w 26866"/>
                <a:gd name="connsiteY10" fmla="*/ 58659 h 58211"/>
                <a:gd name="connsiteX11" fmla="*/ 2059 w 26866"/>
                <a:gd name="connsiteY11" fmla="*/ 58659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866" h="58211">
                  <a:moveTo>
                    <a:pt x="2059" y="58659"/>
                  </a:moveTo>
                  <a:cubicBezTo>
                    <a:pt x="1163" y="58659"/>
                    <a:pt x="716" y="58212"/>
                    <a:pt x="268" y="57316"/>
                  </a:cubicBezTo>
                  <a:cubicBezTo>
                    <a:pt x="-180" y="56421"/>
                    <a:pt x="-180" y="55077"/>
                    <a:pt x="1163" y="54182"/>
                  </a:cubicBezTo>
                  <a:cubicBezTo>
                    <a:pt x="1611" y="53734"/>
                    <a:pt x="2507" y="53286"/>
                    <a:pt x="2955" y="53286"/>
                  </a:cubicBezTo>
                  <a:cubicBezTo>
                    <a:pt x="16836" y="44330"/>
                    <a:pt x="25344" y="28658"/>
                    <a:pt x="25344" y="11642"/>
                  </a:cubicBezTo>
                  <a:lnTo>
                    <a:pt x="25344" y="2239"/>
                  </a:lnTo>
                  <a:cubicBezTo>
                    <a:pt x="25344" y="896"/>
                    <a:pt x="26239" y="0"/>
                    <a:pt x="27583" y="0"/>
                  </a:cubicBezTo>
                  <a:cubicBezTo>
                    <a:pt x="28926" y="0"/>
                    <a:pt x="29821" y="896"/>
                    <a:pt x="29821" y="2239"/>
                  </a:cubicBezTo>
                  <a:lnTo>
                    <a:pt x="29821" y="11642"/>
                  </a:lnTo>
                  <a:cubicBezTo>
                    <a:pt x="29821" y="30449"/>
                    <a:pt x="20866" y="47465"/>
                    <a:pt x="5641" y="57316"/>
                  </a:cubicBezTo>
                  <a:cubicBezTo>
                    <a:pt x="5193" y="57764"/>
                    <a:pt x="4298" y="58212"/>
                    <a:pt x="3850" y="58659"/>
                  </a:cubicBezTo>
                  <a:cubicBezTo>
                    <a:pt x="2955" y="58659"/>
                    <a:pt x="2507" y="58659"/>
                    <a:pt x="2059" y="58659"/>
                  </a:cubicBezTo>
                  <a:close/>
                </a:path>
              </a:pathLst>
            </a:custGeom>
            <a:solidFill>
              <a:srgbClr val="231F20"/>
            </a:solidFill>
            <a:ln w="4474" cap="flat">
              <a:noFill/>
              <a:prstDash val="solid"/>
              <a:miter/>
            </a:ln>
          </p:spPr>
          <p:txBody>
            <a:bodyPr rtlCol="0" anchor="ctr"/>
            <a:lstStyle/>
            <a:p>
              <a:endParaRPr lang="en-US"/>
            </a:p>
          </p:txBody>
        </p:sp>
        <p:sp>
          <p:nvSpPr>
            <p:cNvPr id="4951" name="Freeform: Shape 4950">
              <a:extLst>
                <a:ext uri="{FF2B5EF4-FFF2-40B4-BE49-F238E27FC236}">
                  <a16:creationId xmlns:a16="http://schemas.microsoft.com/office/drawing/2014/main" id="{8CE648AB-98CC-456A-8587-6D9C4C92D750}"/>
                </a:ext>
              </a:extLst>
            </p:cNvPr>
            <p:cNvSpPr/>
            <p:nvPr/>
          </p:nvSpPr>
          <p:spPr>
            <a:xfrm>
              <a:off x="3512246" y="2682131"/>
              <a:ext cx="22389" cy="22389"/>
            </a:xfrm>
            <a:custGeom>
              <a:avLst/>
              <a:gdLst>
                <a:gd name="connsiteX0" fmla="*/ 2358 w 22389"/>
                <a:gd name="connsiteY0" fmla="*/ 23005 h 22389"/>
                <a:gd name="connsiteX1" fmla="*/ 119 w 22389"/>
                <a:gd name="connsiteY1" fmla="*/ 21661 h 22389"/>
                <a:gd name="connsiteX2" fmla="*/ 1462 w 22389"/>
                <a:gd name="connsiteY2" fmla="*/ 18975 h 22389"/>
                <a:gd name="connsiteX3" fmla="*/ 2358 w 22389"/>
                <a:gd name="connsiteY3" fmla="*/ 18527 h 22389"/>
                <a:gd name="connsiteX4" fmla="*/ 18478 w 22389"/>
                <a:gd name="connsiteY4" fmla="*/ 1511 h 22389"/>
                <a:gd name="connsiteX5" fmla="*/ 21165 w 22389"/>
                <a:gd name="connsiteY5" fmla="*/ 168 h 22389"/>
                <a:gd name="connsiteX6" fmla="*/ 22508 w 22389"/>
                <a:gd name="connsiteY6" fmla="*/ 2855 h 22389"/>
                <a:gd name="connsiteX7" fmla="*/ 3701 w 22389"/>
                <a:gd name="connsiteY7" fmla="*/ 22557 h 22389"/>
                <a:gd name="connsiteX8" fmla="*/ 2806 w 22389"/>
                <a:gd name="connsiteY8" fmla="*/ 23005 h 22389"/>
                <a:gd name="connsiteX9" fmla="*/ 2358 w 22389"/>
                <a:gd name="connsiteY9" fmla="*/ 23005 h 2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89" h="22389">
                  <a:moveTo>
                    <a:pt x="2358" y="23005"/>
                  </a:moveTo>
                  <a:cubicBezTo>
                    <a:pt x="1462" y="23005"/>
                    <a:pt x="567" y="22557"/>
                    <a:pt x="119" y="21661"/>
                  </a:cubicBezTo>
                  <a:cubicBezTo>
                    <a:pt x="-329" y="20318"/>
                    <a:pt x="567" y="19422"/>
                    <a:pt x="1462" y="18975"/>
                  </a:cubicBezTo>
                  <a:lnTo>
                    <a:pt x="2358" y="18527"/>
                  </a:lnTo>
                  <a:cubicBezTo>
                    <a:pt x="9970" y="15840"/>
                    <a:pt x="16239" y="9571"/>
                    <a:pt x="18478" y="1511"/>
                  </a:cubicBezTo>
                  <a:cubicBezTo>
                    <a:pt x="18926" y="168"/>
                    <a:pt x="20269" y="-280"/>
                    <a:pt x="21165" y="168"/>
                  </a:cubicBezTo>
                  <a:cubicBezTo>
                    <a:pt x="22508" y="616"/>
                    <a:pt x="22956" y="1959"/>
                    <a:pt x="22508" y="2855"/>
                  </a:cubicBezTo>
                  <a:cubicBezTo>
                    <a:pt x="19822" y="12258"/>
                    <a:pt x="12657" y="19422"/>
                    <a:pt x="3701" y="22557"/>
                  </a:cubicBezTo>
                  <a:lnTo>
                    <a:pt x="2806" y="23005"/>
                  </a:lnTo>
                  <a:cubicBezTo>
                    <a:pt x="2806" y="23005"/>
                    <a:pt x="2806" y="23005"/>
                    <a:pt x="2358" y="23005"/>
                  </a:cubicBezTo>
                  <a:close/>
                </a:path>
              </a:pathLst>
            </a:custGeom>
            <a:solidFill>
              <a:srgbClr val="231F20"/>
            </a:solidFill>
            <a:ln w="4474" cap="flat">
              <a:noFill/>
              <a:prstDash val="solid"/>
              <a:miter/>
            </a:ln>
          </p:spPr>
          <p:txBody>
            <a:bodyPr rtlCol="0" anchor="ctr"/>
            <a:lstStyle/>
            <a:p>
              <a:endParaRPr lang="en-US"/>
            </a:p>
          </p:txBody>
        </p:sp>
        <p:sp>
          <p:nvSpPr>
            <p:cNvPr id="4952" name="Freeform: Shape 4951">
              <a:extLst>
                <a:ext uri="{FF2B5EF4-FFF2-40B4-BE49-F238E27FC236}">
                  <a16:creationId xmlns:a16="http://schemas.microsoft.com/office/drawing/2014/main" id="{906E6FBC-EB73-4390-9C83-88FFC1E76309}"/>
                </a:ext>
              </a:extLst>
            </p:cNvPr>
            <p:cNvSpPr/>
            <p:nvPr/>
          </p:nvSpPr>
          <p:spPr>
            <a:xfrm>
              <a:off x="3532067" y="2620952"/>
              <a:ext cx="22389" cy="44778"/>
            </a:xfrm>
            <a:custGeom>
              <a:avLst/>
              <a:gdLst>
                <a:gd name="connsiteX0" fmla="*/ 2239 w 22389"/>
                <a:gd name="connsiteY0" fmla="*/ 48361 h 44778"/>
                <a:gd name="connsiteX1" fmla="*/ 0 w 22389"/>
                <a:gd name="connsiteY1" fmla="*/ 46122 h 44778"/>
                <a:gd name="connsiteX2" fmla="*/ 0 w 22389"/>
                <a:gd name="connsiteY2" fmla="*/ 23733 h 44778"/>
                <a:gd name="connsiteX3" fmla="*/ 23732 w 22389"/>
                <a:gd name="connsiteY3" fmla="*/ 0 h 44778"/>
                <a:gd name="connsiteX4" fmla="*/ 25971 w 22389"/>
                <a:gd name="connsiteY4" fmla="*/ 2239 h 44778"/>
                <a:gd name="connsiteX5" fmla="*/ 23732 w 22389"/>
                <a:gd name="connsiteY5" fmla="*/ 4478 h 44778"/>
                <a:gd name="connsiteX6" fmla="*/ 4478 w 22389"/>
                <a:gd name="connsiteY6" fmla="*/ 23733 h 44778"/>
                <a:gd name="connsiteX7" fmla="*/ 4478 w 22389"/>
                <a:gd name="connsiteY7" fmla="*/ 46122 h 44778"/>
                <a:gd name="connsiteX8" fmla="*/ 2239 w 22389"/>
                <a:gd name="connsiteY8" fmla="*/ 48361 h 4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9" h="44778">
                  <a:moveTo>
                    <a:pt x="2239" y="48361"/>
                  </a:moveTo>
                  <a:cubicBezTo>
                    <a:pt x="895" y="48361"/>
                    <a:pt x="0" y="47465"/>
                    <a:pt x="0" y="46122"/>
                  </a:cubicBezTo>
                  <a:lnTo>
                    <a:pt x="0" y="23733"/>
                  </a:lnTo>
                  <a:cubicBezTo>
                    <a:pt x="0" y="10747"/>
                    <a:pt x="10747" y="0"/>
                    <a:pt x="23732" y="0"/>
                  </a:cubicBezTo>
                  <a:cubicBezTo>
                    <a:pt x="25076" y="0"/>
                    <a:pt x="25971" y="896"/>
                    <a:pt x="25971" y="2239"/>
                  </a:cubicBezTo>
                  <a:cubicBezTo>
                    <a:pt x="25971" y="3582"/>
                    <a:pt x="25076" y="4478"/>
                    <a:pt x="23732" y="4478"/>
                  </a:cubicBezTo>
                  <a:cubicBezTo>
                    <a:pt x="12986" y="4478"/>
                    <a:pt x="4478" y="12986"/>
                    <a:pt x="4478" y="23733"/>
                  </a:cubicBezTo>
                  <a:lnTo>
                    <a:pt x="4478" y="46122"/>
                  </a:lnTo>
                  <a:cubicBezTo>
                    <a:pt x="4478" y="47465"/>
                    <a:pt x="3582" y="48361"/>
                    <a:pt x="2239" y="48361"/>
                  </a:cubicBezTo>
                  <a:close/>
                </a:path>
              </a:pathLst>
            </a:custGeom>
            <a:solidFill>
              <a:srgbClr val="231F20"/>
            </a:solidFill>
            <a:ln w="4474" cap="flat">
              <a:noFill/>
              <a:prstDash val="solid"/>
              <a:miter/>
            </a:ln>
          </p:spPr>
          <p:txBody>
            <a:bodyPr rtlCol="0" anchor="ctr"/>
            <a:lstStyle/>
            <a:p>
              <a:endParaRPr lang="en-US"/>
            </a:p>
          </p:txBody>
        </p:sp>
        <p:sp>
          <p:nvSpPr>
            <p:cNvPr id="4953" name="Freeform: Shape 4952">
              <a:extLst>
                <a:ext uri="{FF2B5EF4-FFF2-40B4-BE49-F238E27FC236}">
                  <a16:creationId xmlns:a16="http://schemas.microsoft.com/office/drawing/2014/main" id="{4A1BE93C-4508-4590-ABFE-CA673BFE9BE0}"/>
                </a:ext>
              </a:extLst>
            </p:cNvPr>
            <p:cNvSpPr/>
            <p:nvPr/>
          </p:nvSpPr>
          <p:spPr>
            <a:xfrm>
              <a:off x="3553785" y="2627893"/>
              <a:ext cx="22389" cy="98512"/>
            </a:xfrm>
            <a:custGeom>
              <a:avLst/>
              <a:gdLst>
                <a:gd name="connsiteX0" fmla="*/ 2463 w 22389"/>
                <a:gd name="connsiteY0" fmla="*/ 101870 h 98511"/>
                <a:gd name="connsiteX1" fmla="*/ 672 w 22389"/>
                <a:gd name="connsiteY1" fmla="*/ 101423 h 98511"/>
                <a:gd name="connsiteX2" fmla="*/ 672 w 22389"/>
                <a:gd name="connsiteY2" fmla="*/ 98288 h 98511"/>
                <a:gd name="connsiteX3" fmla="*/ 1119 w 22389"/>
                <a:gd name="connsiteY3" fmla="*/ 97840 h 98511"/>
                <a:gd name="connsiteX4" fmla="*/ 2463 w 22389"/>
                <a:gd name="connsiteY4" fmla="*/ 96497 h 98511"/>
                <a:gd name="connsiteX5" fmla="*/ 21270 w 22389"/>
                <a:gd name="connsiteY5" fmla="*/ 49032 h 98511"/>
                <a:gd name="connsiteX6" fmla="*/ 21270 w 22389"/>
                <a:gd name="connsiteY6" fmla="*/ 17687 h 98511"/>
                <a:gd name="connsiteX7" fmla="*/ 15448 w 22389"/>
                <a:gd name="connsiteY7" fmla="*/ 3806 h 98511"/>
                <a:gd name="connsiteX8" fmla="*/ 15448 w 22389"/>
                <a:gd name="connsiteY8" fmla="*/ 672 h 98511"/>
                <a:gd name="connsiteX9" fmla="*/ 18583 w 22389"/>
                <a:gd name="connsiteY9" fmla="*/ 672 h 98511"/>
                <a:gd name="connsiteX10" fmla="*/ 25747 w 22389"/>
                <a:gd name="connsiteY10" fmla="*/ 17687 h 98511"/>
                <a:gd name="connsiteX11" fmla="*/ 25747 w 22389"/>
                <a:gd name="connsiteY11" fmla="*/ 49032 h 98511"/>
                <a:gd name="connsiteX12" fmla="*/ 5597 w 22389"/>
                <a:gd name="connsiteY12" fmla="*/ 99632 h 98511"/>
                <a:gd name="connsiteX13" fmla="*/ 4254 w 22389"/>
                <a:gd name="connsiteY13" fmla="*/ 100975 h 98511"/>
                <a:gd name="connsiteX14" fmla="*/ 3806 w 22389"/>
                <a:gd name="connsiteY14" fmla="*/ 101423 h 98511"/>
                <a:gd name="connsiteX15" fmla="*/ 2463 w 22389"/>
                <a:gd name="connsiteY15" fmla="*/ 101870 h 9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389" h="98511">
                  <a:moveTo>
                    <a:pt x="2463" y="101870"/>
                  </a:moveTo>
                  <a:cubicBezTo>
                    <a:pt x="2015" y="101870"/>
                    <a:pt x="1119" y="101870"/>
                    <a:pt x="672" y="101423"/>
                  </a:cubicBezTo>
                  <a:cubicBezTo>
                    <a:pt x="-224" y="100527"/>
                    <a:pt x="-224" y="99184"/>
                    <a:pt x="672" y="98288"/>
                  </a:cubicBezTo>
                  <a:lnTo>
                    <a:pt x="1119" y="97840"/>
                  </a:lnTo>
                  <a:cubicBezTo>
                    <a:pt x="1567" y="97393"/>
                    <a:pt x="2015" y="96945"/>
                    <a:pt x="2463" y="96497"/>
                  </a:cubicBezTo>
                  <a:cubicBezTo>
                    <a:pt x="14553" y="83511"/>
                    <a:pt x="21270" y="66943"/>
                    <a:pt x="21270" y="49032"/>
                  </a:cubicBezTo>
                  <a:lnTo>
                    <a:pt x="21270" y="17687"/>
                  </a:lnTo>
                  <a:cubicBezTo>
                    <a:pt x="21270" y="12314"/>
                    <a:pt x="19031" y="7836"/>
                    <a:pt x="15448" y="3806"/>
                  </a:cubicBezTo>
                  <a:cubicBezTo>
                    <a:pt x="14553" y="2911"/>
                    <a:pt x="14553" y="1567"/>
                    <a:pt x="15448" y="672"/>
                  </a:cubicBezTo>
                  <a:cubicBezTo>
                    <a:pt x="16344" y="-224"/>
                    <a:pt x="17687" y="-224"/>
                    <a:pt x="18583" y="672"/>
                  </a:cubicBezTo>
                  <a:cubicBezTo>
                    <a:pt x="23061" y="5150"/>
                    <a:pt x="25747" y="11418"/>
                    <a:pt x="25747" y="17687"/>
                  </a:cubicBezTo>
                  <a:lnTo>
                    <a:pt x="25747" y="49032"/>
                  </a:lnTo>
                  <a:cubicBezTo>
                    <a:pt x="25747" y="67839"/>
                    <a:pt x="18583" y="85750"/>
                    <a:pt x="5597" y="99632"/>
                  </a:cubicBezTo>
                  <a:cubicBezTo>
                    <a:pt x="5150" y="100079"/>
                    <a:pt x="4702" y="100527"/>
                    <a:pt x="4254" y="100975"/>
                  </a:cubicBezTo>
                  <a:lnTo>
                    <a:pt x="3806" y="101423"/>
                  </a:lnTo>
                  <a:cubicBezTo>
                    <a:pt x="3806" y="101423"/>
                    <a:pt x="3358" y="101870"/>
                    <a:pt x="2463" y="101870"/>
                  </a:cubicBezTo>
                  <a:close/>
                </a:path>
              </a:pathLst>
            </a:custGeom>
            <a:solidFill>
              <a:srgbClr val="231F20"/>
            </a:solidFill>
            <a:ln w="4474" cap="flat">
              <a:noFill/>
              <a:prstDash val="solid"/>
              <a:miter/>
            </a:ln>
          </p:spPr>
          <p:txBody>
            <a:bodyPr rtlCol="0" anchor="ctr"/>
            <a:lstStyle/>
            <a:p>
              <a:endParaRPr lang="en-US"/>
            </a:p>
          </p:txBody>
        </p:sp>
        <p:sp>
          <p:nvSpPr>
            <p:cNvPr id="4954" name="Freeform: Shape 4953">
              <a:extLst>
                <a:ext uri="{FF2B5EF4-FFF2-40B4-BE49-F238E27FC236}">
                  <a16:creationId xmlns:a16="http://schemas.microsoft.com/office/drawing/2014/main" id="{0027495B-66D2-4E7A-9EFA-1AF352EC5A63}"/>
                </a:ext>
              </a:extLst>
            </p:cNvPr>
            <p:cNvSpPr/>
            <p:nvPr/>
          </p:nvSpPr>
          <p:spPr>
            <a:xfrm>
              <a:off x="3507771" y="2642446"/>
              <a:ext cx="17911" cy="53734"/>
            </a:xfrm>
            <a:custGeom>
              <a:avLst/>
              <a:gdLst>
                <a:gd name="connsiteX0" fmla="*/ 2355 w 17911"/>
                <a:gd name="connsiteY0" fmla="*/ 53734 h 53733"/>
                <a:gd name="connsiteX1" fmla="*/ 116 w 17911"/>
                <a:gd name="connsiteY1" fmla="*/ 51943 h 53733"/>
                <a:gd name="connsiteX2" fmla="*/ 1908 w 17911"/>
                <a:gd name="connsiteY2" fmla="*/ 49256 h 53733"/>
                <a:gd name="connsiteX3" fmla="*/ 2803 w 17911"/>
                <a:gd name="connsiteY3" fmla="*/ 49256 h 53733"/>
                <a:gd name="connsiteX4" fmla="*/ 14446 w 17911"/>
                <a:gd name="connsiteY4" fmla="*/ 34031 h 53733"/>
                <a:gd name="connsiteX5" fmla="*/ 14446 w 17911"/>
                <a:gd name="connsiteY5" fmla="*/ 2239 h 53733"/>
                <a:gd name="connsiteX6" fmla="*/ 16684 w 17911"/>
                <a:gd name="connsiteY6" fmla="*/ 0 h 53733"/>
                <a:gd name="connsiteX7" fmla="*/ 18923 w 17911"/>
                <a:gd name="connsiteY7" fmla="*/ 2239 h 53733"/>
                <a:gd name="connsiteX8" fmla="*/ 18923 w 17911"/>
                <a:gd name="connsiteY8" fmla="*/ 34031 h 53733"/>
                <a:gd name="connsiteX9" fmla="*/ 3699 w 17911"/>
                <a:gd name="connsiteY9" fmla="*/ 53286 h 53733"/>
                <a:gd name="connsiteX10" fmla="*/ 2355 w 17911"/>
                <a:gd name="connsiteY10" fmla="*/ 53734 h 53733"/>
                <a:gd name="connsiteX11" fmla="*/ 2355 w 17911"/>
                <a:gd name="connsiteY11" fmla="*/ 53734 h 5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1" h="53733">
                  <a:moveTo>
                    <a:pt x="2355" y="53734"/>
                  </a:moveTo>
                  <a:cubicBezTo>
                    <a:pt x="1460" y="53734"/>
                    <a:pt x="564" y="52838"/>
                    <a:pt x="116" y="51943"/>
                  </a:cubicBezTo>
                  <a:cubicBezTo>
                    <a:pt x="-331" y="50599"/>
                    <a:pt x="564" y="49704"/>
                    <a:pt x="1908" y="49256"/>
                  </a:cubicBezTo>
                  <a:cubicBezTo>
                    <a:pt x="2355" y="49256"/>
                    <a:pt x="2355" y="49256"/>
                    <a:pt x="2803" y="49256"/>
                  </a:cubicBezTo>
                  <a:cubicBezTo>
                    <a:pt x="9520" y="47465"/>
                    <a:pt x="14446" y="41196"/>
                    <a:pt x="14446" y="34031"/>
                  </a:cubicBezTo>
                  <a:lnTo>
                    <a:pt x="14446" y="2239"/>
                  </a:lnTo>
                  <a:cubicBezTo>
                    <a:pt x="14446" y="895"/>
                    <a:pt x="15341" y="0"/>
                    <a:pt x="16684" y="0"/>
                  </a:cubicBezTo>
                  <a:cubicBezTo>
                    <a:pt x="18028" y="0"/>
                    <a:pt x="18923" y="895"/>
                    <a:pt x="18923" y="2239"/>
                  </a:cubicBezTo>
                  <a:lnTo>
                    <a:pt x="18923" y="34031"/>
                  </a:lnTo>
                  <a:cubicBezTo>
                    <a:pt x="18923" y="42987"/>
                    <a:pt x="12654" y="51047"/>
                    <a:pt x="3699" y="53286"/>
                  </a:cubicBezTo>
                  <a:cubicBezTo>
                    <a:pt x="3251" y="53734"/>
                    <a:pt x="2803" y="53734"/>
                    <a:pt x="2355" y="53734"/>
                  </a:cubicBezTo>
                  <a:cubicBezTo>
                    <a:pt x="2355" y="53734"/>
                    <a:pt x="2355" y="53734"/>
                    <a:pt x="2355" y="53734"/>
                  </a:cubicBezTo>
                  <a:close/>
                </a:path>
              </a:pathLst>
            </a:custGeom>
            <a:solidFill>
              <a:srgbClr val="231F20"/>
            </a:solidFill>
            <a:ln w="4474" cap="flat">
              <a:noFill/>
              <a:prstDash val="solid"/>
              <a:miter/>
            </a:ln>
          </p:spPr>
          <p:txBody>
            <a:bodyPr rtlCol="0" anchor="ctr"/>
            <a:lstStyle/>
            <a:p>
              <a:endParaRPr lang="en-US"/>
            </a:p>
          </p:txBody>
        </p:sp>
        <p:sp>
          <p:nvSpPr>
            <p:cNvPr id="4955" name="Freeform: Shape 4954">
              <a:extLst>
                <a:ext uri="{FF2B5EF4-FFF2-40B4-BE49-F238E27FC236}">
                  <a16:creationId xmlns:a16="http://schemas.microsoft.com/office/drawing/2014/main" id="{89DB7C0D-2F5E-43ED-8594-5303E4C905D5}"/>
                </a:ext>
              </a:extLst>
            </p:cNvPr>
            <p:cNvSpPr/>
            <p:nvPr/>
          </p:nvSpPr>
          <p:spPr>
            <a:xfrm>
              <a:off x="3528892" y="2611101"/>
              <a:ext cx="58212" cy="31345"/>
            </a:xfrm>
            <a:custGeom>
              <a:avLst/>
              <a:gdLst>
                <a:gd name="connsiteX0" fmla="*/ 58700 w 58211"/>
                <a:gd name="connsiteY0" fmla="*/ 33584 h 31344"/>
                <a:gd name="connsiteX1" fmla="*/ 56461 w 58211"/>
                <a:gd name="connsiteY1" fmla="*/ 31345 h 31344"/>
                <a:gd name="connsiteX2" fmla="*/ 47953 w 58211"/>
                <a:gd name="connsiteY2" fmla="*/ 12986 h 31344"/>
                <a:gd name="connsiteX3" fmla="*/ 27355 w 58211"/>
                <a:gd name="connsiteY3" fmla="*/ 4478 h 31344"/>
                <a:gd name="connsiteX4" fmla="*/ 4070 w 58211"/>
                <a:gd name="connsiteY4" fmla="*/ 16120 h 31344"/>
                <a:gd name="connsiteX5" fmla="*/ 936 w 58211"/>
                <a:gd name="connsiteY5" fmla="*/ 16568 h 31344"/>
                <a:gd name="connsiteX6" fmla="*/ 488 w 58211"/>
                <a:gd name="connsiteY6" fmla="*/ 13433 h 31344"/>
                <a:gd name="connsiteX7" fmla="*/ 27355 w 58211"/>
                <a:gd name="connsiteY7" fmla="*/ 0 h 31344"/>
                <a:gd name="connsiteX8" fmla="*/ 51087 w 58211"/>
                <a:gd name="connsiteY8" fmla="*/ 9851 h 31344"/>
                <a:gd name="connsiteX9" fmla="*/ 60939 w 58211"/>
                <a:gd name="connsiteY9" fmla="*/ 30897 h 31344"/>
                <a:gd name="connsiteX10" fmla="*/ 58700 w 58211"/>
                <a:gd name="connsiteY10" fmla="*/ 33584 h 31344"/>
                <a:gd name="connsiteX11" fmla="*/ 58700 w 58211"/>
                <a:gd name="connsiteY11" fmla="*/ 3358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211" h="31344">
                  <a:moveTo>
                    <a:pt x="58700" y="33584"/>
                  </a:moveTo>
                  <a:cubicBezTo>
                    <a:pt x="57356" y="33584"/>
                    <a:pt x="56461" y="32688"/>
                    <a:pt x="56461" y="31345"/>
                  </a:cubicBezTo>
                  <a:cubicBezTo>
                    <a:pt x="56013" y="24628"/>
                    <a:pt x="52879" y="17911"/>
                    <a:pt x="47953" y="12986"/>
                  </a:cubicBezTo>
                  <a:cubicBezTo>
                    <a:pt x="42580" y="7612"/>
                    <a:pt x="34967" y="4478"/>
                    <a:pt x="27355" y="4478"/>
                  </a:cubicBezTo>
                  <a:cubicBezTo>
                    <a:pt x="17952" y="4478"/>
                    <a:pt x="9444" y="8956"/>
                    <a:pt x="4070" y="16120"/>
                  </a:cubicBezTo>
                  <a:cubicBezTo>
                    <a:pt x="3175" y="17016"/>
                    <a:pt x="1831" y="17463"/>
                    <a:pt x="936" y="16568"/>
                  </a:cubicBezTo>
                  <a:cubicBezTo>
                    <a:pt x="40" y="15672"/>
                    <a:pt x="-407" y="14329"/>
                    <a:pt x="488" y="13433"/>
                  </a:cubicBezTo>
                  <a:cubicBezTo>
                    <a:pt x="6757" y="4926"/>
                    <a:pt x="17056" y="0"/>
                    <a:pt x="27355" y="0"/>
                  </a:cubicBezTo>
                  <a:cubicBezTo>
                    <a:pt x="36311" y="0"/>
                    <a:pt x="44819" y="3582"/>
                    <a:pt x="51087" y="9851"/>
                  </a:cubicBezTo>
                  <a:cubicBezTo>
                    <a:pt x="56909" y="15672"/>
                    <a:pt x="60043" y="23285"/>
                    <a:pt x="60939" y="30897"/>
                  </a:cubicBezTo>
                  <a:cubicBezTo>
                    <a:pt x="60939" y="32240"/>
                    <a:pt x="60043" y="33584"/>
                    <a:pt x="58700" y="33584"/>
                  </a:cubicBezTo>
                  <a:cubicBezTo>
                    <a:pt x="58700" y="33584"/>
                    <a:pt x="58700" y="33584"/>
                    <a:pt x="58700" y="33584"/>
                  </a:cubicBezTo>
                  <a:close/>
                </a:path>
              </a:pathLst>
            </a:custGeom>
            <a:solidFill>
              <a:srgbClr val="231F20"/>
            </a:solidFill>
            <a:ln w="4474" cap="flat">
              <a:noFill/>
              <a:prstDash val="solid"/>
              <a:miter/>
            </a:ln>
          </p:spPr>
          <p:txBody>
            <a:bodyPr rtlCol="0" anchor="ctr"/>
            <a:lstStyle/>
            <a:p>
              <a:endParaRPr lang="en-US"/>
            </a:p>
          </p:txBody>
        </p:sp>
        <p:sp>
          <p:nvSpPr>
            <p:cNvPr id="4956" name="Freeform: Shape 4955">
              <a:extLst>
                <a:ext uri="{FF2B5EF4-FFF2-40B4-BE49-F238E27FC236}">
                  <a16:creationId xmlns:a16="http://schemas.microsoft.com/office/drawing/2014/main" id="{6A48DED7-641C-4CE0-B69B-5C256419659D}"/>
                </a:ext>
              </a:extLst>
            </p:cNvPr>
            <p:cNvSpPr/>
            <p:nvPr/>
          </p:nvSpPr>
          <p:spPr>
            <a:xfrm>
              <a:off x="3569193" y="2651849"/>
              <a:ext cx="17911" cy="71645"/>
            </a:xfrm>
            <a:custGeom>
              <a:avLst/>
              <a:gdLst>
                <a:gd name="connsiteX0" fmla="*/ 2279 w 17911"/>
                <a:gd name="connsiteY0" fmla="*/ 75675 h 71645"/>
                <a:gd name="connsiteX1" fmla="*/ 936 w 17911"/>
                <a:gd name="connsiteY1" fmla="*/ 75227 h 71645"/>
                <a:gd name="connsiteX2" fmla="*/ 488 w 17911"/>
                <a:gd name="connsiteY2" fmla="*/ 72093 h 71645"/>
                <a:gd name="connsiteX3" fmla="*/ 2727 w 17911"/>
                <a:gd name="connsiteY3" fmla="*/ 69406 h 71645"/>
                <a:gd name="connsiteX4" fmla="*/ 16608 w 17911"/>
                <a:gd name="connsiteY4" fmla="*/ 24628 h 71645"/>
                <a:gd name="connsiteX5" fmla="*/ 16608 w 17911"/>
                <a:gd name="connsiteY5" fmla="*/ 2239 h 71645"/>
                <a:gd name="connsiteX6" fmla="*/ 18847 w 17911"/>
                <a:gd name="connsiteY6" fmla="*/ 0 h 71645"/>
                <a:gd name="connsiteX7" fmla="*/ 21086 w 17911"/>
                <a:gd name="connsiteY7" fmla="*/ 2239 h 71645"/>
                <a:gd name="connsiteX8" fmla="*/ 21086 w 17911"/>
                <a:gd name="connsiteY8" fmla="*/ 24628 h 71645"/>
                <a:gd name="connsiteX9" fmla="*/ 6757 w 17911"/>
                <a:gd name="connsiteY9" fmla="*/ 71645 h 71645"/>
                <a:gd name="connsiteX10" fmla="*/ 4518 w 17911"/>
                <a:gd name="connsiteY10" fmla="*/ 74779 h 71645"/>
                <a:gd name="connsiteX11" fmla="*/ 2279 w 17911"/>
                <a:gd name="connsiteY11" fmla="*/ 75675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1" h="71645">
                  <a:moveTo>
                    <a:pt x="2279" y="75675"/>
                  </a:moveTo>
                  <a:cubicBezTo>
                    <a:pt x="1831" y="75675"/>
                    <a:pt x="1384" y="75675"/>
                    <a:pt x="936" y="75227"/>
                  </a:cubicBezTo>
                  <a:cubicBezTo>
                    <a:pt x="40" y="74332"/>
                    <a:pt x="-407" y="72988"/>
                    <a:pt x="488" y="72093"/>
                  </a:cubicBezTo>
                  <a:cubicBezTo>
                    <a:pt x="1384" y="71197"/>
                    <a:pt x="1831" y="70302"/>
                    <a:pt x="2727" y="69406"/>
                  </a:cubicBezTo>
                  <a:cubicBezTo>
                    <a:pt x="11683" y="56420"/>
                    <a:pt x="16608" y="40748"/>
                    <a:pt x="16608" y="24628"/>
                  </a:cubicBezTo>
                  <a:lnTo>
                    <a:pt x="16608" y="2239"/>
                  </a:lnTo>
                  <a:cubicBezTo>
                    <a:pt x="16608" y="895"/>
                    <a:pt x="17504" y="0"/>
                    <a:pt x="18847" y="0"/>
                  </a:cubicBezTo>
                  <a:cubicBezTo>
                    <a:pt x="20191" y="0"/>
                    <a:pt x="21086" y="895"/>
                    <a:pt x="21086" y="2239"/>
                  </a:cubicBezTo>
                  <a:lnTo>
                    <a:pt x="21086" y="24628"/>
                  </a:lnTo>
                  <a:cubicBezTo>
                    <a:pt x="21086" y="41644"/>
                    <a:pt x="16161" y="57764"/>
                    <a:pt x="6757" y="71645"/>
                  </a:cubicBezTo>
                  <a:cubicBezTo>
                    <a:pt x="5862" y="72541"/>
                    <a:pt x="5414" y="73436"/>
                    <a:pt x="4518" y="74779"/>
                  </a:cubicBezTo>
                  <a:cubicBezTo>
                    <a:pt x="3623" y="75227"/>
                    <a:pt x="3175" y="75675"/>
                    <a:pt x="2279" y="75675"/>
                  </a:cubicBezTo>
                  <a:close/>
                </a:path>
              </a:pathLst>
            </a:custGeom>
            <a:solidFill>
              <a:srgbClr val="231F20"/>
            </a:solidFill>
            <a:ln w="4474" cap="flat">
              <a:noFill/>
              <a:prstDash val="solid"/>
              <a:miter/>
            </a:ln>
          </p:spPr>
          <p:txBody>
            <a:bodyPr rtlCol="0" anchor="ctr"/>
            <a:lstStyle/>
            <a:p>
              <a:endParaRPr lang="en-US"/>
            </a:p>
          </p:txBody>
        </p:sp>
      </p:grpSp>
      <p:grpSp>
        <p:nvGrpSpPr>
          <p:cNvPr id="4957" name="Group 4956">
            <a:extLst>
              <a:ext uri="{FF2B5EF4-FFF2-40B4-BE49-F238E27FC236}">
                <a16:creationId xmlns:a16="http://schemas.microsoft.com/office/drawing/2014/main" id="{30113147-CD71-4524-9125-7B105FD9E26C}"/>
              </a:ext>
              <a:ext uri="{C183D7F6-B498-43B3-948B-1728B52AA6E4}">
                <adec:decorative xmlns:adec="http://schemas.microsoft.com/office/drawing/2017/decorative" val="1"/>
              </a:ext>
            </a:extLst>
          </p:cNvPr>
          <p:cNvGrpSpPr>
            <a:grpSpLocks noChangeAspect="1"/>
          </p:cNvGrpSpPr>
          <p:nvPr/>
        </p:nvGrpSpPr>
        <p:grpSpPr>
          <a:xfrm>
            <a:off x="3187269" y="2440678"/>
            <a:ext cx="152246" cy="111945"/>
            <a:chOff x="3228023" y="1705239"/>
            <a:chExt cx="152246" cy="111945"/>
          </a:xfrm>
        </p:grpSpPr>
        <p:sp>
          <p:nvSpPr>
            <p:cNvPr id="4958" name="Freeform: Shape 4957">
              <a:extLst>
                <a:ext uri="{FF2B5EF4-FFF2-40B4-BE49-F238E27FC236}">
                  <a16:creationId xmlns:a16="http://schemas.microsoft.com/office/drawing/2014/main" id="{8915972E-B8E5-43A5-9154-CA34F2432ED3}"/>
                </a:ext>
              </a:extLst>
            </p:cNvPr>
            <p:cNvSpPr/>
            <p:nvPr/>
          </p:nvSpPr>
          <p:spPr>
            <a:xfrm>
              <a:off x="3228023" y="1705239"/>
              <a:ext cx="152246" cy="111945"/>
            </a:xfrm>
            <a:custGeom>
              <a:avLst/>
              <a:gdLst>
                <a:gd name="connsiteX0" fmla="*/ 145529 w 152245"/>
                <a:gd name="connsiteY0" fmla="*/ 0 h 111945"/>
                <a:gd name="connsiteX1" fmla="*/ 6717 w 152245"/>
                <a:gd name="connsiteY1" fmla="*/ 0 h 111945"/>
                <a:gd name="connsiteX2" fmla="*/ 0 w 152245"/>
                <a:gd name="connsiteY2" fmla="*/ 6717 h 111945"/>
                <a:gd name="connsiteX3" fmla="*/ 0 w 152245"/>
                <a:gd name="connsiteY3" fmla="*/ 91795 h 111945"/>
                <a:gd name="connsiteX4" fmla="*/ 6717 w 152245"/>
                <a:gd name="connsiteY4" fmla="*/ 98512 h 111945"/>
                <a:gd name="connsiteX5" fmla="*/ 73884 w 152245"/>
                <a:gd name="connsiteY5" fmla="*/ 98512 h 111945"/>
                <a:gd name="connsiteX6" fmla="*/ 73884 w 152245"/>
                <a:gd name="connsiteY6" fmla="*/ 107468 h 111945"/>
                <a:gd name="connsiteX7" fmla="*/ 42539 w 152245"/>
                <a:gd name="connsiteY7" fmla="*/ 107468 h 111945"/>
                <a:gd name="connsiteX8" fmla="*/ 40300 w 152245"/>
                <a:gd name="connsiteY8" fmla="*/ 109707 h 111945"/>
                <a:gd name="connsiteX9" fmla="*/ 42539 w 152245"/>
                <a:gd name="connsiteY9" fmla="*/ 111945 h 111945"/>
                <a:gd name="connsiteX10" fmla="*/ 109707 w 152245"/>
                <a:gd name="connsiteY10" fmla="*/ 111945 h 111945"/>
                <a:gd name="connsiteX11" fmla="*/ 111945 w 152245"/>
                <a:gd name="connsiteY11" fmla="*/ 109707 h 111945"/>
                <a:gd name="connsiteX12" fmla="*/ 109707 w 152245"/>
                <a:gd name="connsiteY12" fmla="*/ 107468 h 111945"/>
                <a:gd name="connsiteX13" fmla="*/ 78362 w 152245"/>
                <a:gd name="connsiteY13" fmla="*/ 107468 h 111945"/>
                <a:gd name="connsiteX14" fmla="*/ 78362 w 152245"/>
                <a:gd name="connsiteY14" fmla="*/ 98512 h 111945"/>
                <a:gd name="connsiteX15" fmla="*/ 145529 w 152245"/>
                <a:gd name="connsiteY15" fmla="*/ 98512 h 111945"/>
                <a:gd name="connsiteX16" fmla="*/ 152246 w 152245"/>
                <a:gd name="connsiteY16" fmla="*/ 91795 h 111945"/>
                <a:gd name="connsiteX17" fmla="*/ 152246 w 152245"/>
                <a:gd name="connsiteY17" fmla="*/ 6717 h 111945"/>
                <a:gd name="connsiteX18" fmla="*/ 145529 w 152245"/>
                <a:gd name="connsiteY18" fmla="*/ 0 h 111945"/>
                <a:gd name="connsiteX19" fmla="*/ 147768 w 152245"/>
                <a:gd name="connsiteY19" fmla="*/ 91795 h 111945"/>
                <a:gd name="connsiteX20" fmla="*/ 145529 w 152245"/>
                <a:gd name="connsiteY20" fmla="*/ 94034 h 111945"/>
                <a:gd name="connsiteX21" fmla="*/ 6717 w 152245"/>
                <a:gd name="connsiteY21" fmla="*/ 94034 h 111945"/>
                <a:gd name="connsiteX22" fmla="*/ 4478 w 152245"/>
                <a:gd name="connsiteY22" fmla="*/ 91795 h 111945"/>
                <a:gd name="connsiteX23" fmla="*/ 4478 w 152245"/>
                <a:gd name="connsiteY23" fmla="*/ 6717 h 111945"/>
                <a:gd name="connsiteX24" fmla="*/ 6717 w 152245"/>
                <a:gd name="connsiteY24" fmla="*/ 4478 h 111945"/>
                <a:gd name="connsiteX25" fmla="*/ 145529 w 152245"/>
                <a:gd name="connsiteY25" fmla="*/ 4478 h 111945"/>
                <a:gd name="connsiteX26" fmla="*/ 147768 w 152245"/>
                <a:gd name="connsiteY26" fmla="*/ 6717 h 111945"/>
                <a:gd name="connsiteX27" fmla="*/ 147768 w 152245"/>
                <a:gd name="connsiteY27" fmla="*/ 91795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245" h="111945">
                  <a:moveTo>
                    <a:pt x="145529" y="0"/>
                  </a:moveTo>
                  <a:lnTo>
                    <a:pt x="6717" y="0"/>
                  </a:lnTo>
                  <a:cubicBezTo>
                    <a:pt x="3135" y="0"/>
                    <a:pt x="0" y="3134"/>
                    <a:pt x="0" y="6717"/>
                  </a:cubicBezTo>
                  <a:lnTo>
                    <a:pt x="0" y="91795"/>
                  </a:lnTo>
                  <a:cubicBezTo>
                    <a:pt x="0" y="95378"/>
                    <a:pt x="3135" y="98512"/>
                    <a:pt x="6717" y="98512"/>
                  </a:cubicBezTo>
                  <a:lnTo>
                    <a:pt x="73884" y="98512"/>
                  </a:lnTo>
                  <a:lnTo>
                    <a:pt x="73884" y="107468"/>
                  </a:lnTo>
                  <a:lnTo>
                    <a:pt x="42539" y="107468"/>
                  </a:lnTo>
                  <a:cubicBezTo>
                    <a:pt x="41196" y="107468"/>
                    <a:pt x="40300" y="108363"/>
                    <a:pt x="40300" y="109707"/>
                  </a:cubicBezTo>
                  <a:cubicBezTo>
                    <a:pt x="40300" y="111050"/>
                    <a:pt x="41196" y="111945"/>
                    <a:pt x="42539" y="111945"/>
                  </a:cubicBezTo>
                  <a:lnTo>
                    <a:pt x="109707" y="111945"/>
                  </a:lnTo>
                  <a:cubicBezTo>
                    <a:pt x="111050" y="111945"/>
                    <a:pt x="111945" y="111050"/>
                    <a:pt x="111945" y="109707"/>
                  </a:cubicBezTo>
                  <a:cubicBezTo>
                    <a:pt x="111945" y="108363"/>
                    <a:pt x="111050" y="107468"/>
                    <a:pt x="109707" y="107468"/>
                  </a:cubicBezTo>
                  <a:lnTo>
                    <a:pt x="78362" y="107468"/>
                  </a:lnTo>
                  <a:lnTo>
                    <a:pt x="78362" y="98512"/>
                  </a:lnTo>
                  <a:lnTo>
                    <a:pt x="145529" y="98512"/>
                  </a:lnTo>
                  <a:cubicBezTo>
                    <a:pt x="149111" y="98512"/>
                    <a:pt x="152246" y="95378"/>
                    <a:pt x="152246" y="91795"/>
                  </a:cubicBezTo>
                  <a:lnTo>
                    <a:pt x="152246" y="6717"/>
                  </a:lnTo>
                  <a:cubicBezTo>
                    <a:pt x="152246" y="2687"/>
                    <a:pt x="149559" y="0"/>
                    <a:pt x="145529" y="0"/>
                  </a:cubicBezTo>
                  <a:close/>
                  <a:moveTo>
                    <a:pt x="147768" y="91795"/>
                  </a:moveTo>
                  <a:cubicBezTo>
                    <a:pt x="147768" y="93139"/>
                    <a:pt x="146872" y="94034"/>
                    <a:pt x="145529" y="94034"/>
                  </a:cubicBezTo>
                  <a:lnTo>
                    <a:pt x="6717" y="94034"/>
                  </a:lnTo>
                  <a:cubicBezTo>
                    <a:pt x="5373" y="94034"/>
                    <a:pt x="4478" y="93139"/>
                    <a:pt x="4478" y="91795"/>
                  </a:cubicBezTo>
                  <a:lnTo>
                    <a:pt x="4478" y="6717"/>
                  </a:lnTo>
                  <a:cubicBezTo>
                    <a:pt x="4478" y="5373"/>
                    <a:pt x="5373" y="4478"/>
                    <a:pt x="6717" y="4478"/>
                  </a:cubicBezTo>
                  <a:lnTo>
                    <a:pt x="145529" y="4478"/>
                  </a:lnTo>
                  <a:cubicBezTo>
                    <a:pt x="146872" y="4478"/>
                    <a:pt x="147768" y="5373"/>
                    <a:pt x="147768" y="6717"/>
                  </a:cubicBezTo>
                  <a:lnTo>
                    <a:pt x="147768" y="91795"/>
                  </a:lnTo>
                  <a:close/>
                </a:path>
              </a:pathLst>
            </a:custGeom>
            <a:solidFill>
              <a:srgbClr val="231F20"/>
            </a:solidFill>
            <a:ln w="4474" cap="flat">
              <a:noFill/>
              <a:prstDash val="solid"/>
              <a:miter/>
            </a:ln>
          </p:spPr>
          <p:txBody>
            <a:bodyPr rtlCol="0" anchor="ctr"/>
            <a:lstStyle/>
            <a:p>
              <a:endParaRPr lang="en-US"/>
            </a:p>
          </p:txBody>
        </p:sp>
        <p:sp>
          <p:nvSpPr>
            <p:cNvPr id="4959" name="Freeform: Shape 4958">
              <a:extLst>
                <a:ext uri="{FF2B5EF4-FFF2-40B4-BE49-F238E27FC236}">
                  <a16:creationId xmlns:a16="http://schemas.microsoft.com/office/drawing/2014/main" id="{7CD9EB8F-C43F-4764-8B2F-FBD92E837DF8}"/>
                </a:ext>
              </a:extLst>
            </p:cNvPr>
            <p:cNvSpPr/>
            <p:nvPr/>
          </p:nvSpPr>
          <p:spPr>
            <a:xfrm>
              <a:off x="3268324" y="1718672"/>
              <a:ext cx="71645" cy="71645"/>
            </a:xfrm>
            <a:custGeom>
              <a:avLst/>
              <a:gdLst>
                <a:gd name="connsiteX0" fmla="*/ 35823 w 71645"/>
                <a:gd name="connsiteY0" fmla="*/ 0 h 71645"/>
                <a:gd name="connsiteX1" fmla="*/ 0 w 71645"/>
                <a:gd name="connsiteY1" fmla="*/ 35823 h 71645"/>
                <a:gd name="connsiteX2" fmla="*/ 35823 w 71645"/>
                <a:gd name="connsiteY2" fmla="*/ 71645 h 71645"/>
                <a:gd name="connsiteX3" fmla="*/ 71645 w 71645"/>
                <a:gd name="connsiteY3" fmla="*/ 35823 h 71645"/>
                <a:gd name="connsiteX4" fmla="*/ 35823 w 71645"/>
                <a:gd name="connsiteY4" fmla="*/ 0 h 71645"/>
                <a:gd name="connsiteX5" fmla="*/ 67167 w 71645"/>
                <a:gd name="connsiteY5" fmla="*/ 33584 h 71645"/>
                <a:gd name="connsiteX6" fmla="*/ 38061 w 71645"/>
                <a:gd name="connsiteY6" fmla="*/ 33584 h 71645"/>
                <a:gd name="connsiteX7" fmla="*/ 38061 w 71645"/>
                <a:gd name="connsiteY7" fmla="*/ 4926 h 71645"/>
                <a:gd name="connsiteX8" fmla="*/ 67167 w 71645"/>
                <a:gd name="connsiteY8" fmla="*/ 33584 h 71645"/>
                <a:gd name="connsiteX9" fmla="*/ 35823 w 71645"/>
                <a:gd name="connsiteY9" fmla="*/ 66719 h 71645"/>
                <a:gd name="connsiteX10" fmla="*/ 4478 w 71645"/>
                <a:gd name="connsiteY10" fmla="*/ 35375 h 71645"/>
                <a:gd name="connsiteX11" fmla="*/ 33584 w 71645"/>
                <a:gd name="connsiteY11" fmla="*/ 4478 h 71645"/>
                <a:gd name="connsiteX12" fmla="*/ 33584 w 71645"/>
                <a:gd name="connsiteY12" fmla="*/ 35375 h 71645"/>
                <a:gd name="connsiteX13" fmla="*/ 35823 w 71645"/>
                <a:gd name="connsiteY13" fmla="*/ 37614 h 71645"/>
                <a:gd name="connsiteX14" fmla="*/ 66720 w 71645"/>
                <a:gd name="connsiteY14" fmla="*/ 37614 h 71645"/>
                <a:gd name="connsiteX15" fmla="*/ 35823 w 71645"/>
                <a:gd name="connsiteY15" fmla="*/ 66719 h 7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645" h="71645">
                  <a:moveTo>
                    <a:pt x="35823" y="0"/>
                  </a:moveTo>
                  <a:cubicBezTo>
                    <a:pt x="16120" y="0"/>
                    <a:pt x="0" y="16120"/>
                    <a:pt x="0" y="35823"/>
                  </a:cubicBezTo>
                  <a:cubicBezTo>
                    <a:pt x="0" y="55525"/>
                    <a:pt x="16120" y="71645"/>
                    <a:pt x="35823" y="71645"/>
                  </a:cubicBezTo>
                  <a:cubicBezTo>
                    <a:pt x="55525" y="71645"/>
                    <a:pt x="71645" y="55525"/>
                    <a:pt x="71645" y="35823"/>
                  </a:cubicBezTo>
                  <a:cubicBezTo>
                    <a:pt x="71645" y="16120"/>
                    <a:pt x="55525" y="0"/>
                    <a:pt x="35823" y="0"/>
                  </a:cubicBezTo>
                  <a:close/>
                  <a:moveTo>
                    <a:pt x="67167" y="33584"/>
                  </a:moveTo>
                  <a:lnTo>
                    <a:pt x="38061" y="33584"/>
                  </a:lnTo>
                  <a:lnTo>
                    <a:pt x="38061" y="4926"/>
                  </a:lnTo>
                  <a:cubicBezTo>
                    <a:pt x="53734" y="5821"/>
                    <a:pt x="65824" y="17911"/>
                    <a:pt x="67167" y="33584"/>
                  </a:cubicBezTo>
                  <a:close/>
                  <a:moveTo>
                    <a:pt x="35823" y="66719"/>
                  </a:moveTo>
                  <a:cubicBezTo>
                    <a:pt x="18807" y="66719"/>
                    <a:pt x="4478" y="52838"/>
                    <a:pt x="4478" y="35375"/>
                  </a:cubicBezTo>
                  <a:cubicBezTo>
                    <a:pt x="4478" y="18807"/>
                    <a:pt x="17464" y="5373"/>
                    <a:pt x="33584" y="4478"/>
                  </a:cubicBezTo>
                  <a:lnTo>
                    <a:pt x="33584" y="35375"/>
                  </a:lnTo>
                  <a:cubicBezTo>
                    <a:pt x="33584" y="36718"/>
                    <a:pt x="34479" y="37614"/>
                    <a:pt x="35823" y="37614"/>
                  </a:cubicBezTo>
                  <a:lnTo>
                    <a:pt x="66720" y="37614"/>
                  </a:lnTo>
                  <a:cubicBezTo>
                    <a:pt x="65824" y="54182"/>
                    <a:pt x="52391" y="66719"/>
                    <a:pt x="35823" y="66719"/>
                  </a:cubicBezTo>
                  <a:close/>
                </a:path>
              </a:pathLst>
            </a:custGeom>
            <a:solidFill>
              <a:srgbClr val="231F20"/>
            </a:solidFill>
            <a:ln w="4474" cap="flat">
              <a:noFill/>
              <a:prstDash val="solid"/>
              <a:miter/>
            </a:ln>
          </p:spPr>
          <p:txBody>
            <a:bodyPr rtlCol="0" anchor="ctr"/>
            <a:lstStyle/>
            <a:p>
              <a:endParaRPr lang="en-US"/>
            </a:p>
          </p:txBody>
        </p:sp>
      </p:grpSp>
      <p:grpSp>
        <p:nvGrpSpPr>
          <p:cNvPr id="4960" name="Group 4959">
            <a:extLst>
              <a:ext uri="{FF2B5EF4-FFF2-40B4-BE49-F238E27FC236}">
                <a16:creationId xmlns:a16="http://schemas.microsoft.com/office/drawing/2014/main" id="{3A10109C-72A2-419D-80DF-936A65BF767A}"/>
              </a:ext>
              <a:ext uri="{C183D7F6-B498-43B3-948B-1728B52AA6E4}">
                <adec:decorative xmlns:adec="http://schemas.microsoft.com/office/drawing/2017/decorative" val="1"/>
              </a:ext>
            </a:extLst>
          </p:cNvPr>
          <p:cNvGrpSpPr>
            <a:grpSpLocks noChangeAspect="1"/>
          </p:cNvGrpSpPr>
          <p:nvPr/>
        </p:nvGrpSpPr>
        <p:grpSpPr>
          <a:xfrm>
            <a:off x="1603465" y="3326390"/>
            <a:ext cx="152246" cy="152246"/>
            <a:chOff x="1644219" y="2590951"/>
            <a:chExt cx="152246" cy="152246"/>
          </a:xfrm>
        </p:grpSpPr>
        <p:sp>
          <p:nvSpPr>
            <p:cNvPr id="4961" name="Freeform: Shape 4960">
              <a:extLst>
                <a:ext uri="{FF2B5EF4-FFF2-40B4-BE49-F238E27FC236}">
                  <a16:creationId xmlns:a16="http://schemas.microsoft.com/office/drawing/2014/main" id="{B49B1D6D-2CD9-4588-BFE1-9E19CF861BC8}"/>
                </a:ext>
              </a:extLst>
            </p:cNvPr>
            <p:cNvSpPr/>
            <p:nvPr/>
          </p:nvSpPr>
          <p:spPr>
            <a:xfrm>
              <a:off x="1678698" y="2653640"/>
              <a:ext cx="17911" cy="35823"/>
            </a:xfrm>
            <a:custGeom>
              <a:avLst/>
              <a:gdLst>
                <a:gd name="connsiteX0" fmla="*/ 17911 w 17911"/>
                <a:gd name="connsiteY0" fmla="*/ 0 h 35822"/>
                <a:gd name="connsiteX1" fmla="*/ 2239 w 17911"/>
                <a:gd name="connsiteY1" fmla="*/ 0 h 35822"/>
                <a:gd name="connsiteX2" fmla="*/ 0 w 17911"/>
                <a:gd name="connsiteY2" fmla="*/ 2239 h 35822"/>
                <a:gd name="connsiteX3" fmla="*/ 2239 w 17911"/>
                <a:gd name="connsiteY3" fmla="*/ 4478 h 35822"/>
                <a:gd name="connsiteX4" fmla="*/ 15672 w 17911"/>
                <a:gd name="connsiteY4" fmla="*/ 4478 h 35822"/>
                <a:gd name="connsiteX5" fmla="*/ 15672 w 17911"/>
                <a:gd name="connsiteY5" fmla="*/ 17911 h 35822"/>
                <a:gd name="connsiteX6" fmla="*/ 2239 w 17911"/>
                <a:gd name="connsiteY6" fmla="*/ 17911 h 35822"/>
                <a:gd name="connsiteX7" fmla="*/ 0 w 17911"/>
                <a:gd name="connsiteY7" fmla="*/ 20150 h 35822"/>
                <a:gd name="connsiteX8" fmla="*/ 2239 w 17911"/>
                <a:gd name="connsiteY8" fmla="*/ 22389 h 35822"/>
                <a:gd name="connsiteX9" fmla="*/ 15672 w 17911"/>
                <a:gd name="connsiteY9" fmla="*/ 22389 h 35822"/>
                <a:gd name="connsiteX10" fmla="*/ 15672 w 17911"/>
                <a:gd name="connsiteY10" fmla="*/ 33584 h 35822"/>
                <a:gd name="connsiteX11" fmla="*/ 2239 w 17911"/>
                <a:gd name="connsiteY11" fmla="*/ 33584 h 35822"/>
                <a:gd name="connsiteX12" fmla="*/ 0 w 17911"/>
                <a:gd name="connsiteY12" fmla="*/ 35823 h 35822"/>
                <a:gd name="connsiteX13" fmla="*/ 2239 w 17911"/>
                <a:gd name="connsiteY13" fmla="*/ 38061 h 35822"/>
                <a:gd name="connsiteX14" fmla="*/ 17911 w 17911"/>
                <a:gd name="connsiteY14" fmla="*/ 38061 h 35822"/>
                <a:gd name="connsiteX15" fmla="*/ 20150 w 17911"/>
                <a:gd name="connsiteY15" fmla="*/ 35823 h 35822"/>
                <a:gd name="connsiteX16" fmla="*/ 20150 w 17911"/>
                <a:gd name="connsiteY16" fmla="*/ 20150 h 35822"/>
                <a:gd name="connsiteX17" fmla="*/ 20150 w 17911"/>
                <a:gd name="connsiteY17" fmla="*/ 2239 h 35822"/>
                <a:gd name="connsiteX18" fmla="*/ 17911 w 17911"/>
                <a:gd name="connsiteY18" fmla="*/ 0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11" h="35822">
                  <a:moveTo>
                    <a:pt x="17911" y="0"/>
                  </a:moveTo>
                  <a:lnTo>
                    <a:pt x="2239" y="0"/>
                  </a:lnTo>
                  <a:cubicBezTo>
                    <a:pt x="896" y="0"/>
                    <a:pt x="0" y="895"/>
                    <a:pt x="0" y="2239"/>
                  </a:cubicBezTo>
                  <a:cubicBezTo>
                    <a:pt x="0" y="3582"/>
                    <a:pt x="896" y="4478"/>
                    <a:pt x="2239" y="4478"/>
                  </a:cubicBezTo>
                  <a:lnTo>
                    <a:pt x="15672" y="4478"/>
                  </a:lnTo>
                  <a:lnTo>
                    <a:pt x="15672" y="17911"/>
                  </a:lnTo>
                  <a:lnTo>
                    <a:pt x="2239" y="17911"/>
                  </a:lnTo>
                  <a:cubicBezTo>
                    <a:pt x="896" y="17911"/>
                    <a:pt x="0" y="18807"/>
                    <a:pt x="0" y="20150"/>
                  </a:cubicBezTo>
                  <a:cubicBezTo>
                    <a:pt x="0" y="21493"/>
                    <a:pt x="896" y="22389"/>
                    <a:pt x="2239" y="22389"/>
                  </a:cubicBezTo>
                  <a:lnTo>
                    <a:pt x="15672" y="22389"/>
                  </a:lnTo>
                  <a:lnTo>
                    <a:pt x="15672" y="33584"/>
                  </a:lnTo>
                  <a:lnTo>
                    <a:pt x="2239" y="33584"/>
                  </a:lnTo>
                  <a:cubicBezTo>
                    <a:pt x="896" y="33584"/>
                    <a:pt x="0" y="34479"/>
                    <a:pt x="0" y="35823"/>
                  </a:cubicBezTo>
                  <a:cubicBezTo>
                    <a:pt x="0" y="37166"/>
                    <a:pt x="896" y="38061"/>
                    <a:pt x="2239" y="38061"/>
                  </a:cubicBezTo>
                  <a:lnTo>
                    <a:pt x="17911" y="38061"/>
                  </a:lnTo>
                  <a:cubicBezTo>
                    <a:pt x="19255" y="38061"/>
                    <a:pt x="20150" y="37166"/>
                    <a:pt x="20150" y="35823"/>
                  </a:cubicBezTo>
                  <a:lnTo>
                    <a:pt x="20150" y="20150"/>
                  </a:lnTo>
                  <a:lnTo>
                    <a:pt x="20150" y="2239"/>
                  </a:lnTo>
                  <a:cubicBezTo>
                    <a:pt x="20150" y="1343"/>
                    <a:pt x="19255" y="0"/>
                    <a:pt x="17911" y="0"/>
                  </a:cubicBezTo>
                  <a:close/>
                </a:path>
              </a:pathLst>
            </a:custGeom>
            <a:solidFill>
              <a:srgbClr val="231F20"/>
            </a:solidFill>
            <a:ln w="4474" cap="flat">
              <a:noFill/>
              <a:prstDash val="solid"/>
              <a:miter/>
            </a:ln>
          </p:spPr>
          <p:txBody>
            <a:bodyPr rtlCol="0" anchor="ctr"/>
            <a:lstStyle/>
            <a:p>
              <a:endParaRPr lang="en-US"/>
            </a:p>
          </p:txBody>
        </p:sp>
        <p:sp>
          <p:nvSpPr>
            <p:cNvPr id="4962" name="Freeform: Shape 4961">
              <a:extLst>
                <a:ext uri="{FF2B5EF4-FFF2-40B4-BE49-F238E27FC236}">
                  <a16:creationId xmlns:a16="http://schemas.microsoft.com/office/drawing/2014/main" id="{DCAAA443-870C-4A0E-BBD1-FD046FB7A01E}"/>
                </a:ext>
              </a:extLst>
            </p:cNvPr>
            <p:cNvSpPr/>
            <p:nvPr/>
          </p:nvSpPr>
          <p:spPr>
            <a:xfrm>
              <a:off x="1707356" y="2654088"/>
              <a:ext cx="22389" cy="35823"/>
            </a:xfrm>
            <a:custGeom>
              <a:avLst/>
              <a:gdLst>
                <a:gd name="connsiteX0" fmla="*/ 20598 w 22389"/>
                <a:gd name="connsiteY0" fmla="*/ 37614 h 35822"/>
                <a:gd name="connsiteX1" fmla="*/ 2239 w 22389"/>
                <a:gd name="connsiteY1" fmla="*/ 37614 h 35822"/>
                <a:gd name="connsiteX2" fmla="*/ 0 w 22389"/>
                <a:gd name="connsiteY2" fmla="*/ 35375 h 35822"/>
                <a:gd name="connsiteX3" fmla="*/ 0 w 22389"/>
                <a:gd name="connsiteY3" fmla="*/ 2239 h 35822"/>
                <a:gd name="connsiteX4" fmla="*/ 2239 w 22389"/>
                <a:gd name="connsiteY4" fmla="*/ 0 h 35822"/>
                <a:gd name="connsiteX5" fmla="*/ 20598 w 22389"/>
                <a:gd name="connsiteY5" fmla="*/ 0 h 35822"/>
                <a:gd name="connsiteX6" fmla="*/ 22837 w 22389"/>
                <a:gd name="connsiteY6" fmla="*/ 2239 h 35822"/>
                <a:gd name="connsiteX7" fmla="*/ 20598 w 22389"/>
                <a:gd name="connsiteY7" fmla="*/ 4478 h 35822"/>
                <a:gd name="connsiteX8" fmla="*/ 4478 w 22389"/>
                <a:gd name="connsiteY8" fmla="*/ 4478 h 35822"/>
                <a:gd name="connsiteX9" fmla="*/ 4478 w 22389"/>
                <a:gd name="connsiteY9" fmla="*/ 17911 h 35822"/>
                <a:gd name="connsiteX10" fmla="*/ 20598 w 22389"/>
                <a:gd name="connsiteY10" fmla="*/ 17911 h 35822"/>
                <a:gd name="connsiteX11" fmla="*/ 22837 w 22389"/>
                <a:gd name="connsiteY11" fmla="*/ 20150 h 35822"/>
                <a:gd name="connsiteX12" fmla="*/ 22837 w 22389"/>
                <a:gd name="connsiteY12" fmla="*/ 35823 h 35822"/>
                <a:gd name="connsiteX13" fmla="*/ 20598 w 22389"/>
                <a:gd name="connsiteY13" fmla="*/ 37614 h 35822"/>
                <a:gd name="connsiteX14" fmla="*/ 4478 w 22389"/>
                <a:gd name="connsiteY14" fmla="*/ 33136 h 35822"/>
                <a:gd name="connsiteX15" fmla="*/ 18359 w 22389"/>
                <a:gd name="connsiteY15" fmla="*/ 33136 h 35822"/>
                <a:gd name="connsiteX16" fmla="*/ 18359 w 22389"/>
                <a:gd name="connsiteY16" fmla="*/ 21941 h 35822"/>
                <a:gd name="connsiteX17" fmla="*/ 4478 w 22389"/>
                <a:gd name="connsiteY17" fmla="*/ 21941 h 35822"/>
                <a:gd name="connsiteX18" fmla="*/ 4478 w 22389"/>
                <a:gd name="connsiteY18" fmla="*/ 3313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9" h="35822">
                  <a:moveTo>
                    <a:pt x="20598" y="37614"/>
                  </a:moveTo>
                  <a:lnTo>
                    <a:pt x="2239" y="37614"/>
                  </a:lnTo>
                  <a:cubicBezTo>
                    <a:pt x="896" y="37614"/>
                    <a:pt x="0" y="36718"/>
                    <a:pt x="0" y="35375"/>
                  </a:cubicBezTo>
                  <a:lnTo>
                    <a:pt x="0" y="2239"/>
                  </a:lnTo>
                  <a:cubicBezTo>
                    <a:pt x="0" y="895"/>
                    <a:pt x="896" y="0"/>
                    <a:pt x="2239" y="0"/>
                  </a:cubicBezTo>
                  <a:lnTo>
                    <a:pt x="20598" y="0"/>
                  </a:lnTo>
                  <a:cubicBezTo>
                    <a:pt x="21941" y="0"/>
                    <a:pt x="22837" y="895"/>
                    <a:pt x="22837" y="2239"/>
                  </a:cubicBezTo>
                  <a:cubicBezTo>
                    <a:pt x="22837" y="3582"/>
                    <a:pt x="21941" y="4478"/>
                    <a:pt x="20598" y="4478"/>
                  </a:cubicBezTo>
                  <a:lnTo>
                    <a:pt x="4478" y="4478"/>
                  </a:lnTo>
                  <a:lnTo>
                    <a:pt x="4478" y="17911"/>
                  </a:lnTo>
                  <a:lnTo>
                    <a:pt x="20598" y="17911"/>
                  </a:lnTo>
                  <a:cubicBezTo>
                    <a:pt x="21941" y="17911"/>
                    <a:pt x="22837" y="18807"/>
                    <a:pt x="22837" y="20150"/>
                  </a:cubicBezTo>
                  <a:lnTo>
                    <a:pt x="22837" y="35823"/>
                  </a:lnTo>
                  <a:cubicBezTo>
                    <a:pt x="22837" y="36270"/>
                    <a:pt x="21941" y="37614"/>
                    <a:pt x="20598" y="37614"/>
                  </a:cubicBezTo>
                  <a:close/>
                  <a:moveTo>
                    <a:pt x="4478" y="33136"/>
                  </a:moveTo>
                  <a:lnTo>
                    <a:pt x="18359" y="33136"/>
                  </a:lnTo>
                  <a:lnTo>
                    <a:pt x="18359" y="21941"/>
                  </a:lnTo>
                  <a:lnTo>
                    <a:pt x="4478" y="21941"/>
                  </a:lnTo>
                  <a:lnTo>
                    <a:pt x="4478" y="33136"/>
                  </a:lnTo>
                  <a:close/>
                </a:path>
              </a:pathLst>
            </a:custGeom>
            <a:solidFill>
              <a:srgbClr val="231F20"/>
            </a:solidFill>
            <a:ln w="4474" cap="flat">
              <a:noFill/>
              <a:prstDash val="solid"/>
              <a:miter/>
            </a:ln>
          </p:spPr>
          <p:txBody>
            <a:bodyPr rtlCol="0" anchor="ctr"/>
            <a:lstStyle/>
            <a:p>
              <a:endParaRPr lang="en-US"/>
            </a:p>
          </p:txBody>
        </p:sp>
        <p:sp>
          <p:nvSpPr>
            <p:cNvPr id="4963" name="Freeform: Shape 4962">
              <a:extLst>
                <a:ext uri="{FF2B5EF4-FFF2-40B4-BE49-F238E27FC236}">
                  <a16:creationId xmlns:a16="http://schemas.microsoft.com/office/drawing/2014/main" id="{76B2DEB2-5E8F-4D78-ACBC-39BC5E9D154B}"/>
                </a:ext>
              </a:extLst>
            </p:cNvPr>
            <p:cNvSpPr/>
            <p:nvPr/>
          </p:nvSpPr>
          <p:spPr>
            <a:xfrm>
              <a:off x="1739149" y="2654088"/>
              <a:ext cx="17911" cy="35823"/>
            </a:xfrm>
            <a:custGeom>
              <a:avLst/>
              <a:gdLst>
                <a:gd name="connsiteX0" fmla="*/ 19702 w 17911"/>
                <a:gd name="connsiteY0" fmla="*/ 37614 h 35822"/>
                <a:gd name="connsiteX1" fmla="*/ 2239 w 17911"/>
                <a:gd name="connsiteY1" fmla="*/ 37614 h 35822"/>
                <a:gd name="connsiteX2" fmla="*/ 0 w 17911"/>
                <a:gd name="connsiteY2" fmla="*/ 35375 h 35822"/>
                <a:gd name="connsiteX3" fmla="*/ 0 w 17911"/>
                <a:gd name="connsiteY3" fmla="*/ 2239 h 35822"/>
                <a:gd name="connsiteX4" fmla="*/ 2239 w 17911"/>
                <a:gd name="connsiteY4" fmla="*/ 0 h 35822"/>
                <a:gd name="connsiteX5" fmla="*/ 19702 w 17911"/>
                <a:gd name="connsiteY5" fmla="*/ 0 h 35822"/>
                <a:gd name="connsiteX6" fmla="*/ 21941 w 17911"/>
                <a:gd name="connsiteY6" fmla="*/ 2239 h 35822"/>
                <a:gd name="connsiteX7" fmla="*/ 21941 w 17911"/>
                <a:gd name="connsiteY7" fmla="*/ 35375 h 35822"/>
                <a:gd name="connsiteX8" fmla="*/ 19702 w 17911"/>
                <a:gd name="connsiteY8" fmla="*/ 37614 h 35822"/>
                <a:gd name="connsiteX9" fmla="*/ 4478 w 17911"/>
                <a:gd name="connsiteY9" fmla="*/ 33136 h 35822"/>
                <a:gd name="connsiteX10" fmla="*/ 17463 w 17911"/>
                <a:gd name="connsiteY10" fmla="*/ 33136 h 35822"/>
                <a:gd name="connsiteX11" fmla="*/ 17463 w 17911"/>
                <a:gd name="connsiteY11" fmla="*/ 4478 h 35822"/>
                <a:gd name="connsiteX12" fmla="*/ 4478 w 17911"/>
                <a:gd name="connsiteY12" fmla="*/ 4478 h 35822"/>
                <a:gd name="connsiteX13" fmla="*/ 4478 w 17911"/>
                <a:gd name="connsiteY13" fmla="*/ 33136 h 3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11" h="35822">
                  <a:moveTo>
                    <a:pt x="19702" y="37614"/>
                  </a:moveTo>
                  <a:lnTo>
                    <a:pt x="2239" y="37614"/>
                  </a:lnTo>
                  <a:cubicBezTo>
                    <a:pt x="896" y="37614"/>
                    <a:pt x="0" y="36718"/>
                    <a:pt x="0" y="35375"/>
                  </a:cubicBezTo>
                  <a:lnTo>
                    <a:pt x="0" y="2239"/>
                  </a:lnTo>
                  <a:cubicBezTo>
                    <a:pt x="0" y="895"/>
                    <a:pt x="896" y="0"/>
                    <a:pt x="2239" y="0"/>
                  </a:cubicBezTo>
                  <a:lnTo>
                    <a:pt x="19702" y="0"/>
                  </a:lnTo>
                  <a:cubicBezTo>
                    <a:pt x="21046" y="0"/>
                    <a:pt x="21941" y="895"/>
                    <a:pt x="21941" y="2239"/>
                  </a:cubicBezTo>
                  <a:lnTo>
                    <a:pt x="21941" y="35375"/>
                  </a:lnTo>
                  <a:cubicBezTo>
                    <a:pt x="21941" y="36270"/>
                    <a:pt x="21046" y="37614"/>
                    <a:pt x="19702" y="37614"/>
                  </a:cubicBezTo>
                  <a:close/>
                  <a:moveTo>
                    <a:pt x="4478" y="33136"/>
                  </a:moveTo>
                  <a:lnTo>
                    <a:pt x="17463" y="33136"/>
                  </a:lnTo>
                  <a:lnTo>
                    <a:pt x="17463" y="4478"/>
                  </a:lnTo>
                  <a:lnTo>
                    <a:pt x="4478" y="4478"/>
                  </a:lnTo>
                  <a:lnTo>
                    <a:pt x="4478" y="33136"/>
                  </a:lnTo>
                  <a:close/>
                </a:path>
              </a:pathLst>
            </a:custGeom>
            <a:solidFill>
              <a:srgbClr val="231F20"/>
            </a:solidFill>
            <a:ln w="4474" cap="flat">
              <a:noFill/>
              <a:prstDash val="solid"/>
              <a:miter/>
            </a:ln>
          </p:spPr>
          <p:txBody>
            <a:bodyPr rtlCol="0" anchor="ctr"/>
            <a:lstStyle/>
            <a:p>
              <a:endParaRPr lang="en-US"/>
            </a:p>
          </p:txBody>
        </p:sp>
        <p:sp>
          <p:nvSpPr>
            <p:cNvPr id="4964" name="Freeform: Shape 4963">
              <a:extLst>
                <a:ext uri="{FF2B5EF4-FFF2-40B4-BE49-F238E27FC236}">
                  <a16:creationId xmlns:a16="http://schemas.microsoft.com/office/drawing/2014/main" id="{EE4BBB88-953A-4324-B55F-436D9AF1B2D1}"/>
                </a:ext>
              </a:extLst>
            </p:cNvPr>
            <p:cNvSpPr/>
            <p:nvPr/>
          </p:nvSpPr>
          <p:spPr>
            <a:xfrm>
              <a:off x="1644219" y="2590951"/>
              <a:ext cx="152246" cy="152246"/>
            </a:xfrm>
            <a:custGeom>
              <a:avLst/>
              <a:gdLst>
                <a:gd name="connsiteX0" fmla="*/ 76571 w 152245"/>
                <a:gd name="connsiteY0" fmla="*/ 0 h 152245"/>
                <a:gd name="connsiteX1" fmla="*/ 74332 w 152245"/>
                <a:gd name="connsiteY1" fmla="*/ 2239 h 152245"/>
                <a:gd name="connsiteX2" fmla="*/ 76571 w 152245"/>
                <a:gd name="connsiteY2" fmla="*/ 4478 h 152245"/>
                <a:gd name="connsiteX3" fmla="*/ 148216 w 152245"/>
                <a:gd name="connsiteY3" fmla="*/ 76123 h 152245"/>
                <a:gd name="connsiteX4" fmla="*/ 76571 w 152245"/>
                <a:gd name="connsiteY4" fmla="*/ 147768 h 152245"/>
                <a:gd name="connsiteX5" fmla="*/ 4926 w 152245"/>
                <a:gd name="connsiteY5" fmla="*/ 76123 h 152245"/>
                <a:gd name="connsiteX6" fmla="*/ 35823 w 152245"/>
                <a:gd name="connsiteY6" fmla="*/ 17016 h 152245"/>
                <a:gd name="connsiteX7" fmla="*/ 32688 w 152245"/>
                <a:gd name="connsiteY7" fmla="*/ 38509 h 152245"/>
                <a:gd name="connsiteX8" fmla="*/ 34479 w 152245"/>
                <a:gd name="connsiteY8" fmla="*/ 41196 h 152245"/>
                <a:gd name="connsiteX9" fmla="*/ 34927 w 152245"/>
                <a:gd name="connsiteY9" fmla="*/ 41196 h 152245"/>
                <a:gd name="connsiteX10" fmla="*/ 37166 w 152245"/>
                <a:gd name="connsiteY10" fmla="*/ 39405 h 152245"/>
                <a:gd name="connsiteX11" fmla="*/ 40748 w 152245"/>
                <a:gd name="connsiteY11" fmla="*/ 12986 h 152245"/>
                <a:gd name="connsiteX12" fmla="*/ 40300 w 152245"/>
                <a:gd name="connsiteY12" fmla="*/ 11195 h 152245"/>
                <a:gd name="connsiteX13" fmla="*/ 38957 w 152245"/>
                <a:gd name="connsiteY13" fmla="*/ 10299 h 152245"/>
                <a:gd name="connsiteX14" fmla="*/ 12090 w 152245"/>
                <a:gd name="connsiteY14" fmla="*/ 6717 h 152245"/>
                <a:gd name="connsiteX15" fmla="*/ 9403 w 152245"/>
                <a:gd name="connsiteY15" fmla="*/ 8508 h 152245"/>
                <a:gd name="connsiteX16" fmla="*/ 11195 w 152245"/>
                <a:gd name="connsiteY16" fmla="*/ 11195 h 152245"/>
                <a:gd name="connsiteX17" fmla="*/ 32240 w 152245"/>
                <a:gd name="connsiteY17" fmla="*/ 13881 h 152245"/>
                <a:gd name="connsiteX18" fmla="*/ 0 w 152245"/>
                <a:gd name="connsiteY18" fmla="*/ 76123 h 152245"/>
                <a:gd name="connsiteX19" fmla="*/ 76123 w 152245"/>
                <a:gd name="connsiteY19" fmla="*/ 152246 h 152245"/>
                <a:gd name="connsiteX20" fmla="*/ 152246 w 152245"/>
                <a:gd name="connsiteY20" fmla="*/ 76123 h 152245"/>
                <a:gd name="connsiteX21" fmla="*/ 76571 w 152245"/>
                <a:gd name="connsiteY21" fmla="*/ 0 h 1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245" h="152245">
                  <a:moveTo>
                    <a:pt x="76571" y="0"/>
                  </a:moveTo>
                  <a:cubicBezTo>
                    <a:pt x="75227" y="0"/>
                    <a:pt x="74332" y="895"/>
                    <a:pt x="74332" y="2239"/>
                  </a:cubicBezTo>
                  <a:cubicBezTo>
                    <a:pt x="74332" y="3582"/>
                    <a:pt x="75227" y="4478"/>
                    <a:pt x="76571" y="4478"/>
                  </a:cubicBezTo>
                  <a:cubicBezTo>
                    <a:pt x="115976" y="4478"/>
                    <a:pt x="148216" y="36718"/>
                    <a:pt x="148216" y="76123"/>
                  </a:cubicBezTo>
                  <a:cubicBezTo>
                    <a:pt x="148216" y="115528"/>
                    <a:pt x="115976" y="147768"/>
                    <a:pt x="76571" y="147768"/>
                  </a:cubicBezTo>
                  <a:cubicBezTo>
                    <a:pt x="37166" y="147768"/>
                    <a:pt x="4926" y="115528"/>
                    <a:pt x="4926" y="76123"/>
                  </a:cubicBezTo>
                  <a:cubicBezTo>
                    <a:pt x="4926" y="52390"/>
                    <a:pt x="16568" y="30449"/>
                    <a:pt x="35823" y="17016"/>
                  </a:cubicBezTo>
                  <a:lnTo>
                    <a:pt x="32688" y="38509"/>
                  </a:lnTo>
                  <a:cubicBezTo>
                    <a:pt x="32688" y="39853"/>
                    <a:pt x="33584" y="40748"/>
                    <a:pt x="34479" y="41196"/>
                  </a:cubicBezTo>
                  <a:cubicBezTo>
                    <a:pt x="34479" y="41196"/>
                    <a:pt x="34479" y="41196"/>
                    <a:pt x="34927" y="41196"/>
                  </a:cubicBezTo>
                  <a:cubicBezTo>
                    <a:pt x="35823" y="41196"/>
                    <a:pt x="37166" y="40300"/>
                    <a:pt x="37166" y="39405"/>
                  </a:cubicBezTo>
                  <a:lnTo>
                    <a:pt x="40748" y="12986"/>
                  </a:lnTo>
                  <a:cubicBezTo>
                    <a:pt x="40748" y="12538"/>
                    <a:pt x="40748" y="11642"/>
                    <a:pt x="40300" y="11195"/>
                  </a:cubicBezTo>
                  <a:cubicBezTo>
                    <a:pt x="39853" y="10747"/>
                    <a:pt x="39405" y="10299"/>
                    <a:pt x="38957" y="10299"/>
                  </a:cubicBezTo>
                  <a:lnTo>
                    <a:pt x="12090" y="6717"/>
                  </a:lnTo>
                  <a:cubicBezTo>
                    <a:pt x="10747" y="6717"/>
                    <a:pt x="9851" y="7612"/>
                    <a:pt x="9403" y="8508"/>
                  </a:cubicBezTo>
                  <a:cubicBezTo>
                    <a:pt x="9403" y="9851"/>
                    <a:pt x="10299" y="10747"/>
                    <a:pt x="11195" y="11195"/>
                  </a:cubicBezTo>
                  <a:lnTo>
                    <a:pt x="32240" y="13881"/>
                  </a:lnTo>
                  <a:cubicBezTo>
                    <a:pt x="12090" y="28210"/>
                    <a:pt x="0" y="51047"/>
                    <a:pt x="0" y="76123"/>
                  </a:cubicBezTo>
                  <a:cubicBezTo>
                    <a:pt x="0" y="118214"/>
                    <a:pt x="34031" y="152246"/>
                    <a:pt x="76123" y="152246"/>
                  </a:cubicBezTo>
                  <a:cubicBezTo>
                    <a:pt x="118214" y="152246"/>
                    <a:pt x="152246" y="118214"/>
                    <a:pt x="152246" y="76123"/>
                  </a:cubicBezTo>
                  <a:cubicBezTo>
                    <a:pt x="152694" y="34031"/>
                    <a:pt x="118662" y="0"/>
                    <a:pt x="76571" y="0"/>
                  </a:cubicBezTo>
                  <a:close/>
                </a:path>
              </a:pathLst>
            </a:custGeom>
            <a:solidFill>
              <a:srgbClr val="231F20"/>
            </a:solidFill>
            <a:ln w="4474" cap="flat">
              <a:noFill/>
              <a:prstDash val="solid"/>
              <a:miter/>
            </a:ln>
          </p:spPr>
          <p:txBody>
            <a:bodyPr rtlCol="0" anchor="ctr"/>
            <a:lstStyle/>
            <a:p>
              <a:endParaRPr lang="en-US"/>
            </a:p>
          </p:txBody>
        </p:sp>
        <p:sp>
          <p:nvSpPr>
            <p:cNvPr id="4965" name="Freeform: Shape 4964">
              <a:extLst>
                <a:ext uri="{FF2B5EF4-FFF2-40B4-BE49-F238E27FC236}">
                  <a16:creationId xmlns:a16="http://schemas.microsoft.com/office/drawing/2014/main" id="{60DA418C-45AF-487A-ACDE-1475CC1B9F96}"/>
                </a:ext>
              </a:extLst>
            </p:cNvPr>
            <p:cNvSpPr/>
            <p:nvPr/>
          </p:nvSpPr>
          <p:spPr>
            <a:xfrm>
              <a:off x="1763777" y="2644685"/>
              <a:ext cx="8956" cy="8956"/>
            </a:xfrm>
            <a:custGeom>
              <a:avLst/>
              <a:gdLst>
                <a:gd name="connsiteX0" fmla="*/ 10747 w 8955"/>
                <a:gd name="connsiteY0" fmla="*/ 5373 h 8955"/>
                <a:gd name="connsiteX1" fmla="*/ 5373 w 8955"/>
                <a:gd name="connsiteY1" fmla="*/ 10747 h 8955"/>
                <a:gd name="connsiteX2" fmla="*/ 0 w 8955"/>
                <a:gd name="connsiteY2" fmla="*/ 5373 h 8955"/>
                <a:gd name="connsiteX3" fmla="*/ 5373 w 8955"/>
                <a:gd name="connsiteY3" fmla="*/ 0 h 8955"/>
                <a:gd name="connsiteX4" fmla="*/ 10747 w 8955"/>
                <a:gd name="connsiteY4" fmla="*/ 5373 h 8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5" h="8955">
                  <a:moveTo>
                    <a:pt x="10747" y="5373"/>
                  </a:moveTo>
                  <a:cubicBezTo>
                    <a:pt x="10747" y="8341"/>
                    <a:pt x="8341" y="10747"/>
                    <a:pt x="5373" y="10747"/>
                  </a:cubicBezTo>
                  <a:cubicBezTo>
                    <a:pt x="2406" y="10747"/>
                    <a:pt x="0" y="8341"/>
                    <a:pt x="0" y="5373"/>
                  </a:cubicBezTo>
                  <a:cubicBezTo>
                    <a:pt x="0" y="2406"/>
                    <a:pt x="2406" y="0"/>
                    <a:pt x="5373" y="0"/>
                  </a:cubicBezTo>
                  <a:cubicBezTo>
                    <a:pt x="8341" y="0"/>
                    <a:pt x="10747" y="2406"/>
                    <a:pt x="10747" y="5373"/>
                  </a:cubicBezTo>
                  <a:close/>
                </a:path>
              </a:pathLst>
            </a:custGeom>
            <a:solidFill>
              <a:srgbClr val="231F20"/>
            </a:solidFill>
            <a:ln w="4474" cap="flat">
              <a:noFill/>
              <a:prstDash val="solid"/>
              <a:miter/>
            </a:ln>
          </p:spPr>
          <p:txBody>
            <a:bodyPr rtlCol="0" anchor="ctr"/>
            <a:lstStyle/>
            <a:p>
              <a:endParaRPr lang="en-US"/>
            </a:p>
          </p:txBody>
        </p:sp>
      </p:grpSp>
      <p:grpSp>
        <p:nvGrpSpPr>
          <p:cNvPr id="4966" name="Group 4965">
            <a:extLst>
              <a:ext uri="{FF2B5EF4-FFF2-40B4-BE49-F238E27FC236}">
                <a16:creationId xmlns:a16="http://schemas.microsoft.com/office/drawing/2014/main" id="{1FFB411A-5CF8-47A4-ADA6-C010D970934D}"/>
              </a:ext>
              <a:ext uri="{C183D7F6-B498-43B3-948B-1728B52AA6E4}">
                <adec:decorative xmlns:adec="http://schemas.microsoft.com/office/drawing/2017/decorative" val="1"/>
              </a:ext>
            </a:extLst>
          </p:cNvPr>
          <p:cNvGrpSpPr>
            <a:grpSpLocks noChangeAspect="1"/>
          </p:cNvGrpSpPr>
          <p:nvPr/>
        </p:nvGrpSpPr>
        <p:grpSpPr>
          <a:xfrm>
            <a:off x="1328079" y="1729600"/>
            <a:ext cx="152246" cy="111945"/>
            <a:chOff x="1368833" y="994161"/>
            <a:chExt cx="152246" cy="111945"/>
          </a:xfrm>
        </p:grpSpPr>
        <p:sp>
          <p:nvSpPr>
            <p:cNvPr id="4967" name="Freeform: Shape 4966">
              <a:extLst>
                <a:ext uri="{FF2B5EF4-FFF2-40B4-BE49-F238E27FC236}">
                  <a16:creationId xmlns:a16="http://schemas.microsoft.com/office/drawing/2014/main" id="{90818F85-8F5D-4013-9373-15FA004046B8}"/>
                </a:ext>
              </a:extLst>
            </p:cNvPr>
            <p:cNvSpPr/>
            <p:nvPr/>
          </p:nvSpPr>
          <p:spPr>
            <a:xfrm>
              <a:off x="1368833" y="994161"/>
              <a:ext cx="152246" cy="111945"/>
            </a:xfrm>
            <a:custGeom>
              <a:avLst/>
              <a:gdLst>
                <a:gd name="connsiteX0" fmla="*/ 136573 w 152245"/>
                <a:gd name="connsiteY0" fmla="*/ 111945 h 111945"/>
                <a:gd name="connsiteX1" fmla="*/ 15672 w 152245"/>
                <a:gd name="connsiteY1" fmla="*/ 111945 h 111945"/>
                <a:gd name="connsiteX2" fmla="*/ 0 w 152245"/>
                <a:gd name="connsiteY2" fmla="*/ 96273 h 111945"/>
                <a:gd name="connsiteX3" fmla="*/ 0 w 152245"/>
                <a:gd name="connsiteY3" fmla="*/ 15672 h 111945"/>
                <a:gd name="connsiteX4" fmla="*/ 15672 w 152245"/>
                <a:gd name="connsiteY4" fmla="*/ 0 h 111945"/>
                <a:gd name="connsiteX5" fmla="*/ 62689 w 152245"/>
                <a:gd name="connsiteY5" fmla="*/ 0 h 111945"/>
                <a:gd name="connsiteX6" fmla="*/ 71645 w 152245"/>
                <a:gd name="connsiteY6" fmla="*/ 8956 h 111945"/>
                <a:gd name="connsiteX7" fmla="*/ 76123 w 152245"/>
                <a:gd name="connsiteY7" fmla="*/ 13433 h 111945"/>
                <a:gd name="connsiteX8" fmla="*/ 136573 w 152245"/>
                <a:gd name="connsiteY8" fmla="*/ 13433 h 111945"/>
                <a:gd name="connsiteX9" fmla="*/ 152246 w 152245"/>
                <a:gd name="connsiteY9" fmla="*/ 29106 h 111945"/>
                <a:gd name="connsiteX10" fmla="*/ 152246 w 152245"/>
                <a:gd name="connsiteY10" fmla="*/ 96273 h 111945"/>
                <a:gd name="connsiteX11" fmla="*/ 136573 w 152245"/>
                <a:gd name="connsiteY11" fmla="*/ 111945 h 111945"/>
                <a:gd name="connsiteX12" fmla="*/ 15672 w 152245"/>
                <a:gd name="connsiteY12" fmla="*/ 4478 h 111945"/>
                <a:gd name="connsiteX13" fmla="*/ 4478 w 152245"/>
                <a:gd name="connsiteY13" fmla="*/ 15672 h 111945"/>
                <a:gd name="connsiteX14" fmla="*/ 4478 w 152245"/>
                <a:gd name="connsiteY14" fmla="*/ 96273 h 111945"/>
                <a:gd name="connsiteX15" fmla="*/ 15672 w 152245"/>
                <a:gd name="connsiteY15" fmla="*/ 107468 h 111945"/>
                <a:gd name="connsiteX16" fmla="*/ 136573 w 152245"/>
                <a:gd name="connsiteY16" fmla="*/ 107468 h 111945"/>
                <a:gd name="connsiteX17" fmla="*/ 147768 w 152245"/>
                <a:gd name="connsiteY17" fmla="*/ 96273 h 111945"/>
                <a:gd name="connsiteX18" fmla="*/ 147768 w 152245"/>
                <a:gd name="connsiteY18" fmla="*/ 29106 h 111945"/>
                <a:gd name="connsiteX19" fmla="*/ 136573 w 152245"/>
                <a:gd name="connsiteY19" fmla="*/ 17911 h 111945"/>
                <a:gd name="connsiteX20" fmla="*/ 76123 w 152245"/>
                <a:gd name="connsiteY20" fmla="*/ 17911 h 111945"/>
                <a:gd name="connsiteX21" fmla="*/ 67167 w 152245"/>
                <a:gd name="connsiteY21" fmla="*/ 8956 h 111945"/>
                <a:gd name="connsiteX22" fmla="*/ 62689 w 152245"/>
                <a:gd name="connsiteY22" fmla="*/ 4478 h 111945"/>
                <a:gd name="connsiteX23" fmla="*/ 15672 w 152245"/>
                <a:gd name="connsiteY23" fmla="*/ 4478 h 11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45" h="111945">
                  <a:moveTo>
                    <a:pt x="136573" y="111945"/>
                  </a:moveTo>
                  <a:lnTo>
                    <a:pt x="15672" y="111945"/>
                  </a:lnTo>
                  <a:cubicBezTo>
                    <a:pt x="7164" y="111945"/>
                    <a:pt x="0" y="104781"/>
                    <a:pt x="0" y="96273"/>
                  </a:cubicBezTo>
                  <a:lnTo>
                    <a:pt x="0" y="15672"/>
                  </a:lnTo>
                  <a:cubicBezTo>
                    <a:pt x="0" y="7165"/>
                    <a:pt x="7164" y="0"/>
                    <a:pt x="15672" y="0"/>
                  </a:cubicBezTo>
                  <a:lnTo>
                    <a:pt x="62689" y="0"/>
                  </a:lnTo>
                  <a:cubicBezTo>
                    <a:pt x="67615" y="0"/>
                    <a:pt x="71645" y="4030"/>
                    <a:pt x="71645" y="8956"/>
                  </a:cubicBezTo>
                  <a:cubicBezTo>
                    <a:pt x="71645" y="11642"/>
                    <a:pt x="73436" y="13433"/>
                    <a:pt x="76123" y="13433"/>
                  </a:cubicBezTo>
                  <a:lnTo>
                    <a:pt x="136573" y="13433"/>
                  </a:lnTo>
                  <a:cubicBezTo>
                    <a:pt x="145081" y="13433"/>
                    <a:pt x="152246" y="20598"/>
                    <a:pt x="152246" y="29106"/>
                  </a:cubicBezTo>
                  <a:lnTo>
                    <a:pt x="152246" y="96273"/>
                  </a:lnTo>
                  <a:cubicBezTo>
                    <a:pt x="152246" y="104781"/>
                    <a:pt x="145081" y="111945"/>
                    <a:pt x="136573" y="111945"/>
                  </a:cubicBezTo>
                  <a:close/>
                  <a:moveTo>
                    <a:pt x="15672" y="4478"/>
                  </a:moveTo>
                  <a:cubicBezTo>
                    <a:pt x="9403" y="4478"/>
                    <a:pt x="4478" y="9403"/>
                    <a:pt x="4478" y="15672"/>
                  </a:cubicBezTo>
                  <a:lnTo>
                    <a:pt x="4478" y="96273"/>
                  </a:lnTo>
                  <a:cubicBezTo>
                    <a:pt x="4478" y="102542"/>
                    <a:pt x="9403" y="107468"/>
                    <a:pt x="15672" y="107468"/>
                  </a:cubicBezTo>
                  <a:lnTo>
                    <a:pt x="136573" y="107468"/>
                  </a:lnTo>
                  <a:cubicBezTo>
                    <a:pt x="142842" y="107468"/>
                    <a:pt x="147768" y="102542"/>
                    <a:pt x="147768" y="96273"/>
                  </a:cubicBezTo>
                  <a:lnTo>
                    <a:pt x="147768" y="29106"/>
                  </a:lnTo>
                  <a:cubicBezTo>
                    <a:pt x="147768" y="22837"/>
                    <a:pt x="142842" y="17911"/>
                    <a:pt x="136573" y="17911"/>
                  </a:cubicBezTo>
                  <a:lnTo>
                    <a:pt x="76123" y="17911"/>
                  </a:lnTo>
                  <a:cubicBezTo>
                    <a:pt x="71197" y="17911"/>
                    <a:pt x="67167" y="13881"/>
                    <a:pt x="67167" y="8956"/>
                  </a:cubicBezTo>
                  <a:cubicBezTo>
                    <a:pt x="67167" y="6269"/>
                    <a:pt x="65376" y="4478"/>
                    <a:pt x="62689" y="4478"/>
                  </a:cubicBezTo>
                  <a:lnTo>
                    <a:pt x="15672" y="4478"/>
                  </a:lnTo>
                  <a:close/>
                </a:path>
              </a:pathLst>
            </a:custGeom>
            <a:solidFill>
              <a:srgbClr val="231F20"/>
            </a:solidFill>
            <a:ln w="4474" cap="flat">
              <a:noFill/>
              <a:prstDash val="solid"/>
              <a:miter/>
            </a:ln>
          </p:spPr>
          <p:txBody>
            <a:bodyPr rtlCol="0" anchor="ctr"/>
            <a:lstStyle/>
            <a:p>
              <a:endParaRPr lang="en-US"/>
            </a:p>
          </p:txBody>
        </p:sp>
        <p:sp>
          <p:nvSpPr>
            <p:cNvPr id="4968" name="Freeform: Shape 4967">
              <a:extLst>
                <a:ext uri="{FF2B5EF4-FFF2-40B4-BE49-F238E27FC236}">
                  <a16:creationId xmlns:a16="http://schemas.microsoft.com/office/drawing/2014/main" id="{2320E493-DB4F-44D9-8223-7ADE5CFA22F6}"/>
                </a:ext>
              </a:extLst>
            </p:cNvPr>
            <p:cNvSpPr/>
            <p:nvPr/>
          </p:nvSpPr>
          <p:spPr>
            <a:xfrm>
              <a:off x="1422343" y="1034686"/>
              <a:ext cx="44778" cy="40300"/>
            </a:xfrm>
            <a:custGeom>
              <a:avLst/>
              <a:gdLst>
                <a:gd name="connsiteX0" fmla="*/ 2463 w 44778"/>
                <a:gd name="connsiteY0" fmla="*/ 44554 h 40300"/>
                <a:gd name="connsiteX1" fmla="*/ 672 w 44778"/>
                <a:gd name="connsiteY1" fmla="*/ 44106 h 40300"/>
                <a:gd name="connsiteX2" fmla="*/ 672 w 44778"/>
                <a:gd name="connsiteY2" fmla="*/ 40972 h 40300"/>
                <a:gd name="connsiteX3" fmla="*/ 40972 w 44778"/>
                <a:gd name="connsiteY3" fmla="*/ 672 h 40300"/>
                <a:gd name="connsiteX4" fmla="*/ 44107 w 44778"/>
                <a:gd name="connsiteY4" fmla="*/ 672 h 40300"/>
                <a:gd name="connsiteX5" fmla="*/ 44107 w 44778"/>
                <a:gd name="connsiteY5" fmla="*/ 3806 h 40300"/>
                <a:gd name="connsiteX6" fmla="*/ 3806 w 44778"/>
                <a:gd name="connsiteY6" fmla="*/ 44106 h 40300"/>
                <a:gd name="connsiteX7" fmla="*/ 2463 w 44778"/>
                <a:gd name="connsiteY7" fmla="*/ 44554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0300">
                  <a:moveTo>
                    <a:pt x="2463" y="44554"/>
                  </a:moveTo>
                  <a:cubicBezTo>
                    <a:pt x="2015" y="44554"/>
                    <a:pt x="1119" y="44554"/>
                    <a:pt x="672" y="44106"/>
                  </a:cubicBezTo>
                  <a:cubicBezTo>
                    <a:pt x="-224" y="43211"/>
                    <a:pt x="-224" y="41868"/>
                    <a:pt x="672" y="40972"/>
                  </a:cubicBezTo>
                  <a:lnTo>
                    <a:pt x="40972" y="672"/>
                  </a:lnTo>
                  <a:cubicBezTo>
                    <a:pt x="41868" y="-224"/>
                    <a:pt x="43211" y="-224"/>
                    <a:pt x="44107" y="672"/>
                  </a:cubicBezTo>
                  <a:cubicBezTo>
                    <a:pt x="45002" y="1567"/>
                    <a:pt x="45002" y="2911"/>
                    <a:pt x="44107" y="3806"/>
                  </a:cubicBezTo>
                  <a:lnTo>
                    <a:pt x="3806" y="44106"/>
                  </a:lnTo>
                  <a:cubicBezTo>
                    <a:pt x="3806" y="44554"/>
                    <a:pt x="2911" y="44554"/>
                    <a:pt x="2463" y="44554"/>
                  </a:cubicBezTo>
                  <a:close/>
                </a:path>
              </a:pathLst>
            </a:custGeom>
            <a:solidFill>
              <a:srgbClr val="231F20"/>
            </a:solidFill>
            <a:ln w="4474" cap="flat">
              <a:noFill/>
              <a:prstDash val="solid"/>
              <a:miter/>
            </a:ln>
          </p:spPr>
          <p:txBody>
            <a:bodyPr rtlCol="0" anchor="ctr"/>
            <a:lstStyle/>
            <a:p>
              <a:endParaRPr lang="en-US"/>
            </a:p>
          </p:txBody>
        </p:sp>
        <p:sp>
          <p:nvSpPr>
            <p:cNvPr id="4969" name="Freeform: Shape 4968">
              <a:extLst>
                <a:ext uri="{FF2B5EF4-FFF2-40B4-BE49-F238E27FC236}">
                  <a16:creationId xmlns:a16="http://schemas.microsoft.com/office/drawing/2014/main" id="{AC7A3A07-241E-4413-9228-9AD771DF96A1}"/>
                </a:ext>
              </a:extLst>
            </p:cNvPr>
            <p:cNvSpPr/>
            <p:nvPr/>
          </p:nvSpPr>
          <p:spPr>
            <a:xfrm>
              <a:off x="1422343" y="1034686"/>
              <a:ext cx="44778" cy="40300"/>
            </a:xfrm>
            <a:custGeom>
              <a:avLst/>
              <a:gdLst>
                <a:gd name="connsiteX0" fmla="*/ 42763 w 44778"/>
                <a:gd name="connsiteY0" fmla="*/ 44554 h 40300"/>
                <a:gd name="connsiteX1" fmla="*/ 40972 w 44778"/>
                <a:gd name="connsiteY1" fmla="*/ 44106 h 40300"/>
                <a:gd name="connsiteX2" fmla="*/ 672 w 44778"/>
                <a:gd name="connsiteY2" fmla="*/ 3806 h 40300"/>
                <a:gd name="connsiteX3" fmla="*/ 672 w 44778"/>
                <a:gd name="connsiteY3" fmla="*/ 672 h 40300"/>
                <a:gd name="connsiteX4" fmla="*/ 3806 w 44778"/>
                <a:gd name="connsiteY4" fmla="*/ 672 h 40300"/>
                <a:gd name="connsiteX5" fmla="*/ 44107 w 44778"/>
                <a:gd name="connsiteY5" fmla="*/ 40972 h 40300"/>
                <a:gd name="connsiteX6" fmla="*/ 44107 w 44778"/>
                <a:gd name="connsiteY6" fmla="*/ 44106 h 40300"/>
                <a:gd name="connsiteX7" fmla="*/ 42763 w 44778"/>
                <a:gd name="connsiteY7" fmla="*/ 44554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8" h="40300">
                  <a:moveTo>
                    <a:pt x="42763" y="44554"/>
                  </a:moveTo>
                  <a:cubicBezTo>
                    <a:pt x="42315" y="44554"/>
                    <a:pt x="41420" y="44554"/>
                    <a:pt x="40972" y="44106"/>
                  </a:cubicBezTo>
                  <a:lnTo>
                    <a:pt x="672" y="3806"/>
                  </a:lnTo>
                  <a:cubicBezTo>
                    <a:pt x="-224" y="2911"/>
                    <a:pt x="-224" y="1567"/>
                    <a:pt x="672" y="672"/>
                  </a:cubicBezTo>
                  <a:cubicBezTo>
                    <a:pt x="1567" y="-224"/>
                    <a:pt x="2911" y="-224"/>
                    <a:pt x="3806" y="672"/>
                  </a:cubicBezTo>
                  <a:lnTo>
                    <a:pt x="44107" y="40972"/>
                  </a:lnTo>
                  <a:cubicBezTo>
                    <a:pt x="45002" y="41868"/>
                    <a:pt x="45002" y="43211"/>
                    <a:pt x="44107" y="44106"/>
                  </a:cubicBezTo>
                  <a:cubicBezTo>
                    <a:pt x="44107" y="44554"/>
                    <a:pt x="43211" y="44554"/>
                    <a:pt x="42763" y="44554"/>
                  </a:cubicBezTo>
                  <a:close/>
                </a:path>
              </a:pathLst>
            </a:custGeom>
            <a:solidFill>
              <a:srgbClr val="231F20"/>
            </a:solidFill>
            <a:ln w="4474" cap="flat">
              <a:noFill/>
              <a:prstDash val="solid"/>
              <a:miter/>
            </a:ln>
          </p:spPr>
          <p:txBody>
            <a:bodyPr rtlCol="0" anchor="ctr"/>
            <a:lstStyle/>
            <a:p>
              <a:endParaRPr lang="en-US"/>
            </a:p>
          </p:txBody>
        </p:sp>
      </p:grpSp>
      <p:grpSp>
        <p:nvGrpSpPr>
          <p:cNvPr id="4970" name="Group 4969">
            <a:extLst>
              <a:ext uri="{FF2B5EF4-FFF2-40B4-BE49-F238E27FC236}">
                <a16:creationId xmlns:a16="http://schemas.microsoft.com/office/drawing/2014/main" id="{FEFF227E-0BA1-4B93-8EBF-34BEBE1848AB}"/>
              </a:ext>
              <a:ext uri="{C183D7F6-B498-43B3-948B-1728B52AA6E4}">
                <adec:decorative xmlns:adec="http://schemas.microsoft.com/office/drawing/2017/decorative" val="1"/>
              </a:ext>
            </a:extLst>
          </p:cNvPr>
          <p:cNvGrpSpPr>
            <a:grpSpLocks noChangeAspect="1"/>
          </p:cNvGrpSpPr>
          <p:nvPr/>
        </p:nvGrpSpPr>
        <p:grpSpPr>
          <a:xfrm>
            <a:off x="2930690" y="2079318"/>
            <a:ext cx="125379" cy="143290"/>
            <a:chOff x="2971444" y="1343879"/>
            <a:chExt cx="125379" cy="143290"/>
          </a:xfrm>
        </p:grpSpPr>
        <p:sp>
          <p:nvSpPr>
            <p:cNvPr id="4971" name="Freeform: Shape 4970">
              <a:extLst>
                <a:ext uri="{FF2B5EF4-FFF2-40B4-BE49-F238E27FC236}">
                  <a16:creationId xmlns:a16="http://schemas.microsoft.com/office/drawing/2014/main" id="{8D05360C-4BF1-4850-9DEB-B93B971EE4B7}"/>
                </a:ext>
              </a:extLst>
            </p:cNvPr>
            <p:cNvSpPr/>
            <p:nvPr/>
          </p:nvSpPr>
          <p:spPr>
            <a:xfrm>
              <a:off x="2971444"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13433 h 143290"/>
                <a:gd name="connsiteX18" fmla="*/ 44778 w 125378"/>
                <a:gd name="connsiteY18" fmla="*/ 13433 h 143290"/>
                <a:gd name="connsiteX19" fmla="*/ 44778 w 125378"/>
                <a:gd name="connsiteY19" fmla="*/ 4478 h 143290"/>
                <a:gd name="connsiteX20" fmla="*/ 120901 w 125378"/>
                <a:gd name="connsiteY20" fmla="*/ 136573 h 143290"/>
                <a:gd name="connsiteX21" fmla="*/ 116423 w 125378"/>
                <a:gd name="connsiteY21" fmla="*/ 141051 h 143290"/>
                <a:gd name="connsiteX22" fmla="*/ 8956 w 125378"/>
                <a:gd name="connsiteY22" fmla="*/ 141051 h 143290"/>
                <a:gd name="connsiteX23" fmla="*/ 4478 w 125378"/>
                <a:gd name="connsiteY23" fmla="*/ 136573 h 143290"/>
                <a:gd name="connsiteX24" fmla="*/ 4478 w 125378"/>
                <a:gd name="connsiteY24" fmla="*/ 15672 h 143290"/>
                <a:gd name="connsiteX25" fmla="*/ 8956 w 125378"/>
                <a:gd name="connsiteY25" fmla="*/ 11195 h 143290"/>
                <a:gd name="connsiteX26" fmla="*/ 40300 w 125378"/>
                <a:gd name="connsiteY26" fmla="*/ 11195 h 143290"/>
                <a:gd name="connsiteX27" fmla="*/ 40300 w 125378"/>
                <a:gd name="connsiteY27" fmla="*/ 15672 h 143290"/>
                <a:gd name="connsiteX28" fmla="*/ 42539 w 125378"/>
                <a:gd name="connsiteY28" fmla="*/ 17911 h 143290"/>
                <a:gd name="connsiteX29" fmla="*/ 82840 w 125378"/>
                <a:gd name="connsiteY29" fmla="*/ 17911 h 143290"/>
                <a:gd name="connsiteX30" fmla="*/ 85079 w 125378"/>
                <a:gd name="connsiteY30" fmla="*/ 15672 h 143290"/>
                <a:gd name="connsiteX31" fmla="*/ 85079 w 125378"/>
                <a:gd name="connsiteY31" fmla="*/ 11195 h 143290"/>
                <a:gd name="connsiteX32" fmla="*/ 116423 w 125378"/>
                <a:gd name="connsiteY32" fmla="*/ 11195 h 143290"/>
                <a:gd name="connsiteX33" fmla="*/ 120901 w 125378"/>
                <a:gd name="connsiteY33" fmla="*/ 15672 h 143290"/>
                <a:gd name="connsiteX34" fmla="*/ 120901 w 125378"/>
                <a:gd name="connsiteY34"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379" y="10747"/>
                    <a:pt x="121349" y="6717"/>
                    <a:pt x="116423" y="6717"/>
                  </a:cubicBezTo>
                  <a:close/>
                  <a:moveTo>
                    <a:pt x="44778" y="4478"/>
                  </a:moveTo>
                  <a:lnTo>
                    <a:pt x="80601" y="4478"/>
                  </a:lnTo>
                  <a:lnTo>
                    <a:pt x="80601" y="13433"/>
                  </a:lnTo>
                  <a:lnTo>
                    <a:pt x="44778" y="13433"/>
                  </a:lnTo>
                  <a:lnTo>
                    <a:pt x="44778" y="4478"/>
                  </a:lnTo>
                  <a:close/>
                  <a:moveTo>
                    <a:pt x="120901" y="136573"/>
                  </a:moveTo>
                  <a:cubicBezTo>
                    <a:pt x="120901" y="139260"/>
                    <a:pt x="118662" y="141051"/>
                    <a:pt x="116423" y="141051"/>
                  </a:cubicBezTo>
                  <a:lnTo>
                    <a:pt x="8956" y="141051"/>
                  </a:lnTo>
                  <a:cubicBezTo>
                    <a:pt x="6269" y="141051"/>
                    <a:pt x="4478" y="138812"/>
                    <a:pt x="4478" y="136573"/>
                  </a:cubicBezTo>
                  <a:lnTo>
                    <a:pt x="4478" y="15672"/>
                  </a:lnTo>
                  <a:cubicBezTo>
                    <a:pt x="4478" y="12986"/>
                    <a:pt x="6717" y="11195"/>
                    <a:pt x="8956" y="11195"/>
                  </a:cubicBezTo>
                  <a:lnTo>
                    <a:pt x="40300" y="11195"/>
                  </a:lnTo>
                  <a:lnTo>
                    <a:pt x="40300" y="15672"/>
                  </a:lnTo>
                  <a:cubicBezTo>
                    <a:pt x="40300" y="17016"/>
                    <a:pt x="41196" y="17911"/>
                    <a:pt x="42539" y="17911"/>
                  </a:cubicBezTo>
                  <a:lnTo>
                    <a:pt x="82840" y="17911"/>
                  </a:lnTo>
                  <a:cubicBezTo>
                    <a:pt x="84183" y="17911"/>
                    <a:pt x="85079" y="17016"/>
                    <a:pt x="85079" y="15672"/>
                  </a:cubicBezTo>
                  <a:lnTo>
                    <a:pt x="85079" y="11195"/>
                  </a:lnTo>
                  <a:lnTo>
                    <a:pt x="116423" y="11195"/>
                  </a:lnTo>
                  <a:cubicBezTo>
                    <a:pt x="119110" y="11195"/>
                    <a:pt x="120901" y="13433"/>
                    <a:pt x="120901" y="15672"/>
                  </a:cubicBezTo>
                  <a:lnTo>
                    <a:pt x="120901" y="136573"/>
                  </a:lnTo>
                  <a:close/>
                </a:path>
              </a:pathLst>
            </a:custGeom>
            <a:solidFill>
              <a:srgbClr val="231F20"/>
            </a:solidFill>
            <a:ln w="4474" cap="flat">
              <a:noFill/>
              <a:prstDash val="solid"/>
              <a:miter/>
            </a:ln>
          </p:spPr>
          <p:txBody>
            <a:bodyPr rtlCol="0" anchor="ctr"/>
            <a:lstStyle/>
            <a:p>
              <a:endParaRPr lang="en-US"/>
            </a:p>
          </p:txBody>
        </p:sp>
        <p:sp>
          <p:nvSpPr>
            <p:cNvPr id="4972" name="Freeform: Shape 4971">
              <a:extLst>
                <a:ext uri="{FF2B5EF4-FFF2-40B4-BE49-F238E27FC236}">
                  <a16:creationId xmlns:a16="http://schemas.microsoft.com/office/drawing/2014/main" id="{68B3F457-AA03-42E6-850C-5AB6E359F5FA}"/>
                </a:ext>
              </a:extLst>
            </p:cNvPr>
            <p:cNvSpPr/>
            <p:nvPr/>
          </p:nvSpPr>
          <p:spPr>
            <a:xfrm>
              <a:off x="3011969" y="1397837"/>
              <a:ext cx="44778" cy="40300"/>
            </a:xfrm>
            <a:custGeom>
              <a:avLst/>
              <a:gdLst>
                <a:gd name="connsiteX0" fmla="*/ 25300 w 44778"/>
                <a:gd name="connsiteY0" fmla="*/ 22165 h 40300"/>
                <a:gd name="connsiteX1" fmla="*/ 43659 w 44778"/>
                <a:gd name="connsiteY1" fmla="*/ 3806 h 40300"/>
                <a:gd name="connsiteX2" fmla="*/ 43659 w 44778"/>
                <a:gd name="connsiteY2" fmla="*/ 672 h 40300"/>
                <a:gd name="connsiteX3" fmla="*/ 40524 w 44778"/>
                <a:gd name="connsiteY3" fmla="*/ 672 h 40300"/>
                <a:gd name="connsiteX4" fmla="*/ 22165 w 44778"/>
                <a:gd name="connsiteY4" fmla="*/ 19031 h 40300"/>
                <a:gd name="connsiteX5" fmla="*/ 3806 w 44778"/>
                <a:gd name="connsiteY5" fmla="*/ 672 h 40300"/>
                <a:gd name="connsiteX6" fmla="*/ 672 w 44778"/>
                <a:gd name="connsiteY6" fmla="*/ 672 h 40300"/>
                <a:gd name="connsiteX7" fmla="*/ 672 w 44778"/>
                <a:gd name="connsiteY7" fmla="*/ 3806 h 40300"/>
                <a:gd name="connsiteX8" fmla="*/ 19031 w 44778"/>
                <a:gd name="connsiteY8" fmla="*/ 22165 h 40300"/>
                <a:gd name="connsiteX9" fmla="*/ 672 w 44778"/>
                <a:gd name="connsiteY9" fmla="*/ 40524 h 40300"/>
                <a:gd name="connsiteX10" fmla="*/ 672 w 44778"/>
                <a:gd name="connsiteY10" fmla="*/ 43659 h 40300"/>
                <a:gd name="connsiteX11" fmla="*/ 2463 w 44778"/>
                <a:gd name="connsiteY11" fmla="*/ 44107 h 40300"/>
                <a:gd name="connsiteX12" fmla="*/ 4254 w 44778"/>
                <a:gd name="connsiteY12" fmla="*/ 43659 h 40300"/>
                <a:gd name="connsiteX13" fmla="*/ 22613 w 44778"/>
                <a:gd name="connsiteY13" fmla="*/ 25300 h 40300"/>
                <a:gd name="connsiteX14" fmla="*/ 40972 w 44778"/>
                <a:gd name="connsiteY14" fmla="*/ 43659 h 40300"/>
                <a:gd name="connsiteX15" fmla="*/ 42763 w 44778"/>
                <a:gd name="connsiteY15" fmla="*/ 44107 h 40300"/>
                <a:gd name="connsiteX16" fmla="*/ 44554 w 44778"/>
                <a:gd name="connsiteY16" fmla="*/ 43659 h 40300"/>
                <a:gd name="connsiteX17" fmla="*/ 44554 w 44778"/>
                <a:gd name="connsiteY17" fmla="*/ 40524 h 40300"/>
                <a:gd name="connsiteX18" fmla="*/ 25300 w 44778"/>
                <a:gd name="connsiteY18" fmla="*/ 22165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78" h="40300">
                  <a:moveTo>
                    <a:pt x="25300" y="22165"/>
                  </a:moveTo>
                  <a:lnTo>
                    <a:pt x="43659" y="3806"/>
                  </a:lnTo>
                  <a:cubicBezTo>
                    <a:pt x="44554" y="2911"/>
                    <a:pt x="44554" y="1567"/>
                    <a:pt x="43659" y="672"/>
                  </a:cubicBezTo>
                  <a:cubicBezTo>
                    <a:pt x="42763" y="-224"/>
                    <a:pt x="41420" y="-224"/>
                    <a:pt x="40524" y="672"/>
                  </a:cubicBezTo>
                  <a:lnTo>
                    <a:pt x="22165" y="19031"/>
                  </a:lnTo>
                  <a:lnTo>
                    <a:pt x="3806" y="672"/>
                  </a:lnTo>
                  <a:cubicBezTo>
                    <a:pt x="2911" y="-224"/>
                    <a:pt x="1567" y="-224"/>
                    <a:pt x="672" y="672"/>
                  </a:cubicBezTo>
                  <a:cubicBezTo>
                    <a:pt x="-224" y="1567"/>
                    <a:pt x="-224" y="2911"/>
                    <a:pt x="672" y="3806"/>
                  </a:cubicBezTo>
                  <a:lnTo>
                    <a:pt x="19031" y="22165"/>
                  </a:lnTo>
                  <a:lnTo>
                    <a:pt x="672" y="40524"/>
                  </a:lnTo>
                  <a:cubicBezTo>
                    <a:pt x="-224" y="41420"/>
                    <a:pt x="-224" y="42763"/>
                    <a:pt x="672" y="43659"/>
                  </a:cubicBezTo>
                  <a:cubicBezTo>
                    <a:pt x="1119" y="44107"/>
                    <a:pt x="1567" y="44107"/>
                    <a:pt x="2463" y="44107"/>
                  </a:cubicBezTo>
                  <a:cubicBezTo>
                    <a:pt x="3358" y="44107"/>
                    <a:pt x="3806" y="44107"/>
                    <a:pt x="4254" y="43659"/>
                  </a:cubicBezTo>
                  <a:lnTo>
                    <a:pt x="22613" y="25300"/>
                  </a:lnTo>
                  <a:lnTo>
                    <a:pt x="40972" y="43659"/>
                  </a:lnTo>
                  <a:cubicBezTo>
                    <a:pt x="41420" y="44107"/>
                    <a:pt x="41867" y="44107"/>
                    <a:pt x="42763" y="44107"/>
                  </a:cubicBezTo>
                  <a:cubicBezTo>
                    <a:pt x="43659" y="44107"/>
                    <a:pt x="44106" y="44107"/>
                    <a:pt x="44554" y="43659"/>
                  </a:cubicBezTo>
                  <a:cubicBezTo>
                    <a:pt x="45450" y="42763"/>
                    <a:pt x="45450" y="41420"/>
                    <a:pt x="44554" y="40524"/>
                  </a:cubicBezTo>
                  <a:lnTo>
                    <a:pt x="25300" y="22165"/>
                  </a:lnTo>
                  <a:close/>
                </a:path>
              </a:pathLst>
            </a:custGeom>
            <a:solidFill>
              <a:srgbClr val="231F20"/>
            </a:solidFill>
            <a:ln w="4474" cap="flat">
              <a:noFill/>
              <a:prstDash val="solid"/>
              <a:miter/>
            </a:ln>
          </p:spPr>
          <p:txBody>
            <a:bodyPr rtlCol="0" anchor="ctr"/>
            <a:lstStyle/>
            <a:p>
              <a:endParaRPr lang="en-US"/>
            </a:p>
          </p:txBody>
        </p:sp>
      </p:grpSp>
      <p:grpSp>
        <p:nvGrpSpPr>
          <p:cNvPr id="4973" name="Group 4972">
            <a:extLst>
              <a:ext uri="{FF2B5EF4-FFF2-40B4-BE49-F238E27FC236}">
                <a16:creationId xmlns:a16="http://schemas.microsoft.com/office/drawing/2014/main" id="{87876E3F-FCB3-49D8-B57E-D34D29AEA2DB}"/>
              </a:ext>
              <a:ext uri="{C183D7F6-B498-43B3-948B-1728B52AA6E4}">
                <adec:decorative xmlns:adec="http://schemas.microsoft.com/office/drawing/2017/decorative" val="1"/>
              </a:ext>
            </a:extLst>
          </p:cNvPr>
          <p:cNvGrpSpPr>
            <a:grpSpLocks noChangeAspect="1"/>
          </p:cNvGrpSpPr>
          <p:nvPr/>
        </p:nvGrpSpPr>
        <p:grpSpPr>
          <a:xfrm>
            <a:off x="3730429" y="2079318"/>
            <a:ext cx="125379" cy="143290"/>
            <a:chOff x="3771183" y="1343879"/>
            <a:chExt cx="125379" cy="143290"/>
          </a:xfrm>
        </p:grpSpPr>
        <p:sp>
          <p:nvSpPr>
            <p:cNvPr id="4974" name="Freeform: Shape 4973">
              <a:extLst>
                <a:ext uri="{FF2B5EF4-FFF2-40B4-BE49-F238E27FC236}">
                  <a16:creationId xmlns:a16="http://schemas.microsoft.com/office/drawing/2014/main" id="{CFC6410C-C233-41C9-908F-73C5A2D7A866}"/>
                </a:ext>
              </a:extLst>
            </p:cNvPr>
            <p:cNvSpPr/>
            <p:nvPr/>
          </p:nvSpPr>
          <p:spPr>
            <a:xfrm>
              <a:off x="3771183" y="1343879"/>
              <a:ext cx="125379" cy="143290"/>
            </a:xfrm>
            <a:custGeom>
              <a:avLst/>
              <a:gdLst>
                <a:gd name="connsiteX0" fmla="*/ 116423 w 125378"/>
                <a:gd name="connsiteY0" fmla="*/ 6717 h 143290"/>
                <a:gd name="connsiteX1" fmla="*/ 85079 w 125378"/>
                <a:gd name="connsiteY1" fmla="*/ 6717 h 143290"/>
                <a:gd name="connsiteX2" fmla="*/ 85079 w 125378"/>
                <a:gd name="connsiteY2" fmla="*/ 2239 h 143290"/>
                <a:gd name="connsiteX3" fmla="*/ 82840 w 125378"/>
                <a:gd name="connsiteY3" fmla="*/ 0 h 143290"/>
                <a:gd name="connsiteX4" fmla="*/ 42539 w 125378"/>
                <a:gd name="connsiteY4" fmla="*/ 0 h 143290"/>
                <a:gd name="connsiteX5" fmla="*/ 40300 w 125378"/>
                <a:gd name="connsiteY5" fmla="*/ 2239 h 143290"/>
                <a:gd name="connsiteX6" fmla="*/ 40300 w 125378"/>
                <a:gd name="connsiteY6" fmla="*/ 6717 h 143290"/>
                <a:gd name="connsiteX7" fmla="*/ 8956 w 125378"/>
                <a:gd name="connsiteY7" fmla="*/ 6717 h 143290"/>
                <a:gd name="connsiteX8" fmla="*/ 0 w 125378"/>
                <a:gd name="connsiteY8" fmla="*/ 15672 h 143290"/>
                <a:gd name="connsiteX9" fmla="*/ 0 w 125378"/>
                <a:gd name="connsiteY9" fmla="*/ 136573 h 143290"/>
                <a:gd name="connsiteX10" fmla="*/ 8956 w 125378"/>
                <a:gd name="connsiteY10" fmla="*/ 145529 h 143290"/>
                <a:gd name="connsiteX11" fmla="*/ 116423 w 125378"/>
                <a:gd name="connsiteY11" fmla="*/ 145529 h 143290"/>
                <a:gd name="connsiteX12" fmla="*/ 125379 w 125378"/>
                <a:gd name="connsiteY12" fmla="*/ 136573 h 143290"/>
                <a:gd name="connsiteX13" fmla="*/ 125379 w 125378"/>
                <a:gd name="connsiteY13" fmla="*/ 15672 h 143290"/>
                <a:gd name="connsiteX14" fmla="*/ 116423 w 125378"/>
                <a:gd name="connsiteY14" fmla="*/ 6717 h 143290"/>
                <a:gd name="connsiteX15" fmla="*/ 44778 w 125378"/>
                <a:gd name="connsiteY15" fmla="*/ 4478 h 143290"/>
                <a:gd name="connsiteX16" fmla="*/ 80601 w 125378"/>
                <a:gd name="connsiteY16" fmla="*/ 4478 h 143290"/>
                <a:gd name="connsiteX17" fmla="*/ 80601 w 125378"/>
                <a:gd name="connsiteY17" fmla="*/ 8508 h 143290"/>
                <a:gd name="connsiteX18" fmla="*/ 80601 w 125378"/>
                <a:gd name="connsiteY18" fmla="*/ 8956 h 143290"/>
                <a:gd name="connsiteX19" fmla="*/ 80601 w 125378"/>
                <a:gd name="connsiteY19" fmla="*/ 9403 h 143290"/>
                <a:gd name="connsiteX20" fmla="*/ 80601 w 125378"/>
                <a:gd name="connsiteY20" fmla="*/ 13433 h 143290"/>
                <a:gd name="connsiteX21" fmla="*/ 44778 w 125378"/>
                <a:gd name="connsiteY21" fmla="*/ 13433 h 143290"/>
                <a:gd name="connsiteX22" fmla="*/ 44778 w 125378"/>
                <a:gd name="connsiteY22" fmla="*/ 4478 h 143290"/>
                <a:gd name="connsiteX23" fmla="*/ 121349 w 125378"/>
                <a:gd name="connsiteY23" fmla="*/ 136573 h 143290"/>
                <a:gd name="connsiteX24" fmla="*/ 116871 w 125378"/>
                <a:gd name="connsiteY24" fmla="*/ 141051 h 143290"/>
                <a:gd name="connsiteX25" fmla="*/ 9404 w 125378"/>
                <a:gd name="connsiteY25" fmla="*/ 141051 h 143290"/>
                <a:gd name="connsiteX26" fmla="*/ 4926 w 125378"/>
                <a:gd name="connsiteY26" fmla="*/ 136573 h 143290"/>
                <a:gd name="connsiteX27" fmla="*/ 4926 w 125378"/>
                <a:gd name="connsiteY27" fmla="*/ 15672 h 143290"/>
                <a:gd name="connsiteX28" fmla="*/ 9404 w 125378"/>
                <a:gd name="connsiteY28" fmla="*/ 11195 h 143290"/>
                <a:gd name="connsiteX29" fmla="*/ 40748 w 125378"/>
                <a:gd name="connsiteY29" fmla="*/ 11195 h 143290"/>
                <a:gd name="connsiteX30" fmla="*/ 40748 w 125378"/>
                <a:gd name="connsiteY30" fmla="*/ 15672 h 143290"/>
                <a:gd name="connsiteX31" fmla="*/ 42987 w 125378"/>
                <a:gd name="connsiteY31" fmla="*/ 17911 h 143290"/>
                <a:gd name="connsiteX32" fmla="*/ 83288 w 125378"/>
                <a:gd name="connsiteY32" fmla="*/ 17911 h 143290"/>
                <a:gd name="connsiteX33" fmla="*/ 85526 w 125378"/>
                <a:gd name="connsiteY33" fmla="*/ 15672 h 143290"/>
                <a:gd name="connsiteX34" fmla="*/ 85526 w 125378"/>
                <a:gd name="connsiteY34" fmla="*/ 11195 h 143290"/>
                <a:gd name="connsiteX35" fmla="*/ 116871 w 125378"/>
                <a:gd name="connsiteY35" fmla="*/ 11195 h 143290"/>
                <a:gd name="connsiteX36" fmla="*/ 121349 w 125378"/>
                <a:gd name="connsiteY36" fmla="*/ 15672 h 143290"/>
                <a:gd name="connsiteX37" fmla="*/ 121349 w 125378"/>
                <a:gd name="connsiteY37" fmla="*/ 136573 h 14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378" h="143290">
                  <a:moveTo>
                    <a:pt x="116423" y="6717"/>
                  </a:moveTo>
                  <a:lnTo>
                    <a:pt x="85079" y="6717"/>
                  </a:lnTo>
                  <a:lnTo>
                    <a:pt x="85079" y="2239"/>
                  </a:lnTo>
                  <a:cubicBezTo>
                    <a:pt x="85079" y="896"/>
                    <a:pt x="84183" y="0"/>
                    <a:pt x="82840" y="0"/>
                  </a:cubicBezTo>
                  <a:lnTo>
                    <a:pt x="42539" y="0"/>
                  </a:lnTo>
                  <a:cubicBezTo>
                    <a:pt x="41196" y="0"/>
                    <a:pt x="40300" y="896"/>
                    <a:pt x="40300" y="2239"/>
                  </a:cubicBezTo>
                  <a:lnTo>
                    <a:pt x="40300" y="6717"/>
                  </a:lnTo>
                  <a:lnTo>
                    <a:pt x="8956" y="6717"/>
                  </a:lnTo>
                  <a:cubicBezTo>
                    <a:pt x="4030" y="6717"/>
                    <a:pt x="0" y="10747"/>
                    <a:pt x="0" y="15672"/>
                  </a:cubicBezTo>
                  <a:lnTo>
                    <a:pt x="0" y="136573"/>
                  </a:lnTo>
                  <a:cubicBezTo>
                    <a:pt x="0" y="141499"/>
                    <a:pt x="4030" y="145529"/>
                    <a:pt x="8956" y="145529"/>
                  </a:cubicBezTo>
                  <a:lnTo>
                    <a:pt x="116423" y="145529"/>
                  </a:lnTo>
                  <a:cubicBezTo>
                    <a:pt x="121349" y="145529"/>
                    <a:pt x="125379" y="141499"/>
                    <a:pt x="125379" y="136573"/>
                  </a:cubicBezTo>
                  <a:lnTo>
                    <a:pt x="125379" y="15672"/>
                  </a:lnTo>
                  <a:cubicBezTo>
                    <a:pt x="125827" y="10747"/>
                    <a:pt x="121797" y="6717"/>
                    <a:pt x="116423" y="6717"/>
                  </a:cubicBezTo>
                  <a:close/>
                  <a:moveTo>
                    <a:pt x="44778" y="4478"/>
                  </a:moveTo>
                  <a:lnTo>
                    <a:pt x="80601" y="4478"/>
                  </a:lnTo>
                  <a:lnTo>
                    <a:pt x="80601" y="8508"/>
                  </a:lnTo>
                  <a:cubicBezTo>
                    <a:pt x="80601" y="8508"/>
                    <a:pt x="80601" y="8508"/>
                    <a:pt x="80601" y="8956"/>
                  </a:cubicBezTo>
                  <a:cubicBezTo>
                    <a:pt x="80601" y="8956"/>
                    <a:pt x="80601" y="8956"/>
                    <a:pt x="80601" y="9403"/>
                  </a:cubicBezTo>
                  <a:lnTo>
                    <a:pt x="80601" y="13433"/>
                  </a:lnTo>
                  <a:lnTo>
                    <a:pt x="44778" y="13433"/>
                  </a:lnTo>
                  <a:lnTo>
                    <a:pt x="44778" y="4478"/>
                  </a:lnTo>
                  <a:close/>
                  <a:moveTo>
                    <a:pt x="121349" y="136573"/>
                  </a:moveTo>
                  <a:cubicBezTo>
                    <a:pt x="121349" y="139260"/>
                    <a:pt x="119110" y="141051"/>
                    <a:pt x="116871" y="141051"/>
                  </a:cubicBezTo>
                  <a:lnTo>
                    <a:pt x="9404" y="141051"/>
                  </a:lnTo>
                  <a:cubicBezTo>
                    <a:pt x="6717" y="141051"/>
                    <a:pt x="4926" y="138812"/>
                    <a:pt x="4926" y="136573"/>
                  </a:cubicBezTo>
                  <a:lnTo>
                    <a:pt x="4926" y="15672"/>
                  </a:lnTo>
                  <a:cubicBezTo>
                    <a:pt x="4926" y="12986"/>
                    <a:pt x="7165" y="11195"/>
                    <a:pt x="9404" y="11195"/>
                  </a:cubicBezTo>
                  <a:lnTo>
                    <a:pt x="40748" y="11195"/>
                  </a:lnTo>
                  <a:lnTo>
                    <a:pt x="40748" y="15672"/>
                  </a:lnTo>
                  <a:cubicBezTo>
                    <a:pt x="40748" y="17016"/>
                    <a:pt x="41644" y="17911"/>
                    <a:pt x="42987" y="17911"/>
                  </a:cubicBezTo>
                  <a:lnTo>
                    <a:pt x="83288" y="17911"/>
                  </a:lnTo>
                  <a:cubicBezTo>
                    <a:pt x="84631" y="17911"/>
                    <a:pt x="85526" y="17016"/>
                    <a:pt x="85526" y="15672"/>
                  </a:cubicBezTo>
                  <a:lnTo>
                    <a:pt x="85526" y="11195"/>
                  </a:lnTo>
                  <a:lnTo>
                    <a:pt x="116871" y="11195"/>
                  </a:lnTo>
                  <a:cubicBezTo>
                    <a:pt x="119558" y="11195"/>
                    <a:pt x="121349" y="13433"/>
                    <a:pt x="121349" y="15672"/>
                  </a:cubicBezTo>
                  <a:lnTo>
                    <a:pt x="121349" y="136573"/>
                  </a:lnTo>
                  <a:close/>
                </a:path>
              </a:pathLst>
            </a:custGeom>
            <a:solidFill>
              <a:srgbClr val="231F20"/>
            </a:solidFill>
            <a:ln w="4474" cap="flat">
              <a:noFill/>
              <a:prstDash val="solid"/>
              <a:miter/>
            </a:ln>
          </p:spPr>
          <p:txBody>
            <a:bodyPr rtlCol="0" anchor="ctr"/>
            <a:lstStyle/>
            <a:p>
              <a:endParaRPr lang="en-US"/>
            </a:p>
          </p:txBody>
        </p:sp>
        <p:sp>
          <p:nvSpPr>
            <p:cNvPr id="4975" name="Freeform: Shape 4974">
              <a:extLst>
                <a:ext uri="{FF2B5EF4-FFF2-40B4-BE49-F238E27FC236}">
                  <a16:creationId xmlns:a16="http://schemas.microsoft.com/office/drawing/2014/main" id="{079FA709-A9FD-419F-8E0D-ED3D08755A8E}"/>
                </a:ext>
              </a:extLst>
            </p:cNvPr>
            <p:cNvSpPr/>
            <p:nvPr/>
          </p:nvSpPr>
          <p:spPr>
            <a:xfrm>
              <a:off x="3798609" y="1390896"/>
              <a:ext cx="67167" cy="58212"/>
            </a:xfrm>
            <a:custGeom>
              <a:avLst/>
              <a:gdLst>
                <a:gd name="connsiteX0" fmla="*/ 69294 w 67167"/>
                <a:gd name="connsiteY0" fmla="*/ 58212 h 58211"/>
                <a:gd name="connsiteX1" fmla="*/ 2127 w 67167"/>
                <a:gd name="connsiteY1" fmla="*/ 58212 h 58211"/>
                <a:gd name="connsiteX2" fmla="*/ 336 w 67167"/>
                <a:gd name="connsiteY2" fmla="*/ 56868 h 58211"/>
                <a:gd name="connsiteX3" fmla="*/ 336 w 67167"/>
                <a:gd name="connsiteY3" fmla="*/ 54629 h 58211"/>
                <a:gd name="connsiteX4" fmla="*/ 33919 w 67167"/>
                <a:gd name="connsiteY4" fmla="*/ 896 h 58211"/>
                <a:gd name="connsiteX5" fmla="*/ 35711 w 67167"/>
                <a:gd name="connsiteY5" fmla="*/ 0 h 58211"/>
                <a:gd name="connsiteX6" fmla="*/ 35711 w 67167"/>
                <a:gd name="connsiteY6" fmla="*/ 0 h 58211"/>
                <a:gd name="connsiteX7" fmla="*/ 37502 w 67167"/>
                <a:gd name="connsiteY7" fmla="*/ 896 h 58211"/>
                <a:gd name="connsiteX8" fmla="*/ 71085 w 67167"/>
                <a:gd name="connsiteY8" fmla="*/ 54629 h 58211"/>
                <a:gd name="connsiteX9" fmla="*/ 71085 w 67167"/>
                <a:gd name="connsiteY9" fmla="*/ 56868 h 58211"/>
                <a:gd name="connsiteX10" fmla="*/ 69294 w 67167"/>
                <a:gd name="connsiteY10" fmla="*/ 58212 h 58211"/>
                <a:gd name="connsiteX11" fmla="*/ 6157 w 67167"/>
                <a:gd name="connsiteY11" fmla="*/ 53734 h 58211"/>
                <a:gd name="connsiteX12" fmla="*/ 65264 w 67167"/>
                <a:gd name="connsiteY12" fmla="*/ 53734 h 58211"/>
                <a:gd name="connsiteX13" fmla="*/ 35711 w 67167"/>
                <a:gd name="connsiteY13" fmla="*/ 6717 h 58211"/>
                <a:gd name="connsiteX14" fmla="*/ 6157 w 67167"/>
                <a:gd name="connsiteY14" fmla="*/ 53734 h 5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167" h="58211">
                  <a:moveTo>
                    <a:pt x="69294" y="58212"/>
                  </a:moveTo>
                  <a:lnTo>
                    <a:pt x="2127" y="58212"/>
                  </a:lnTo>
                  <a:cubicBezTo>
                    <a:pt x="1231" y="58212"/>
                    <a:pt x="783" y="57764"/>
                    <a:pt x="336" y="56868"/>
                  </a:cubicBezTo>
                  <a:cubicBezTo>
                    <a:pt x="-112" y="55973"/>
                    <a:pt x="-112" y="55077"/>
                    <a:pt x="336" y="54629"/>
                  </a:cubicBezTo>
                  <a:lnTo>
                    <a:pt x="33919" y="896"/>
                  </a:lnTo>
                  <a:cubicBezTo>
                    <a:pt x="34367" y="448"/>
                    <a:pt x="35263" y="0"/>
                    <a:pt x="35711" y="0"/>
                  </a:cubicBezTo>
                  <a:lnTo>
                    <a:pt x="35711" y="0"/>
                  </a:lnTo>
                  <a:cubicBezTo>
                    <a:pt x="36606" y="0"/>
                    <a:pt x="37054" y="448"/>
                    <a:pt x="37502" y="896"/>
                  </a:cubicBezTo>
                  <a:lnTo>
                    <a:pt x="71085" y="54629"/>
                  </a:lnTo>
                  <a:cubicBezTo>
                    <a:pt x="71533" y="55525"/>
                    <a:pt x="71533" y="55973"/>
                    <a:pt x="71085" y="56868"/>
                  </a:cubicBezTo>
                  <a:cubicBezTo>
                    <a:pt x="70638" y="57764"/>
                    <a:pt x="69742" y="58212"/>
                    <a:pt x="69294" y="58212"/>
                  </a:cubicBezTo>
                  <a:close/>
                  <a:moveTo>
                    <a:pt x="6157" y="53734"/>
                  </a:moveTo>
                  <a:lnTo>
                    <a:pt x="65264" y="53734"/>
                  </a:lnTo>
                  <a:lnTo>
                    <a:pt x="35711" y="6717"/>
                  </a:lnTo>
                  <a:lnTo>
                    <a:pt x="6157" y="53734"/>
                  </a:lnTo>
                  <a:close/>
                </a:path>
              </a:pathLst>
            </a:custGeom>
            <a:solidFill>
              <a:srgbClr val="231F20"/>
            </a:solidFill>
            <a:ln w="4474" cap="flat">
              <a:noFill/>
              <a:prstDash val="solid"/>
              <a:miter/>
            </a:ln>
          </p:spPr>
          <p:txBody>
            <a:bodyPr rtlCol="0" anchor="ctr"/>
            <a:lstStyle/>
            <a:p>
              <a:endParaRPr lang="en-US"/>
            </a:p>
          </p:txBody>
        </p:sp>
        <p:sp>
          <p:nvSpPr>
            <p:cNvPr id="4976" name="Freeform: Shape 4975">
              <a:extLst>
                <a:ext uri="{FF2B5EF4-FFF2-40B4-BE49-F238E27FC236}">
                  <a16:creationId xmlns:a16="http://schemas.microsoft.com/office/drawing/2014/main" id="{CB32D634-F925-4B61-8908-693E3497AC4E}"/>
                </a:ext>
              </a:extLst>
            </p:cNvPr>
            <p:cNvSpPr/>
            <p:nvPr/>
          </p:nvSpPr>
          <p:spPr>
            <a:xfrm>
              <a:off x="3831633" y="1411046"/>
              <a:ext cx="4478" cy="17911"/>
            </a:xfrm>
            <a:custGeom>
              <a:avLst/>
              <a:gdLst>
                <a:gd name="connsiteX0" fmla="*/ 2239 w 4477"/>
                <a:gd name="connsiteY0" fmla="*/ 21046 h 17911"/>
                <a:gd name="connsiteX1" fmla="*/ 0 w 4477"/>
                <a:gd name="connsiteY1" fmla="*/ 18807 h 17911"/>
                <a:gd name="connsiteX2" fmla="*/ 0 w 4477"/>
                <a:gd name="connsiteY2" fmla="*/ 2239 h 17911"/>
                <a:gd name="connsiteX3" fmla="*/ 2239 w 4477"/>
                <a:gd name="connsiteY3" fmla="*/ 0 h 17911"/>
                <a:gd name="connsiteX4" fmla="*/ 4478 w 4477"/>
                <a:gd name="connsiteY4" fmla="*/ 2239 h 17911"/>
                <a:gd name="connsiteX5" fmla="*/ 4478 w 4477"/>
                <a:gd name="connsiteY5" fmla="*/ 18807 h 17911"/>
                <a:gd name="connsiteX6" fmla="*/ 2239 w 4477"/>
                <a:gd name="connsiteY6" fmla="*/ 21046 h 1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7" h="17911">
                  <a:moveTo>
                    <a:pt x="2239" y="21046"/>
                  </a:moveTo>
                  <a:cubicBezTo>
                    <a:pt x="896" y="21046"/>
                    <a:pt x="0" y="20150"/>
                    <a:pt x="0" y="18807"/>
                  </a:cubicBezTo>
                  <a:lnTo>
                    <a:pt x="0" y="2239"/>
                  </a:lnTo>
                  <a:cubicBezTo>
                    <a:pt x="0" y="896"/>
                    <a:pt x="896" y="0"/>
                    <a:pt x="2239" y="0"/>
                  </a:cubicBezTo>
                  <a:cubicBezTo>
                    <a:pt x="3582" y="0"/>
                    <a:pt x="4478" y="896"/>
                    <a:pt x="4478" y="2239"/>
                  </a:cubicBezTo>
                  <a:lnTo>
                    <a:pt x="4478" y="18807"/>
                  </a:lnTo>
                  <a:cubicBezTo>
                    <a:pt x="4478" y="19702"/>
                    <a:pt x="3582" y="21046"/>
                    <a:pt x="2239" y="21046"/>
                  </a:cubicBezTo>
                  <a:close/>
                </a:path>
              </a:pathLst>
            </a:custGeom>
            <a:solidFill>
              <a:srgbClr val="231F20"/>
            </a:solidFill>
            <a:ln w="4474" cap="flat">
              <a:noFill/>
              <a:prstDash val="solid"/>
              <a:miter/>
            </a:ln>
          </p:spPr>
          <p:txBody>
            <a:bodyPr rtlCol="0" anchor="ctr"/>
            <a:lstStyle/>
            <a:p>
              <a:endParaRPr lang="en-US"/>
            </a:p>
          </p:txBody>
        </p:sp>
        <p:sp>
          <p:nvSpPr>
            <p:cNvPr id="4977" name="Freeform: Shape 4976">
              <a:extLst>
                <a:ext uri="{FF2B5EF4-FFF2-40B4-BE49-F238E27FC236}">
                  <a16:creationId xmlns:a16="http://schemas.microsoft.com/office/drawing/2014/main" id="{2CA3AF89-6805-4944-9083-D8FC35F538E5}"/>
                </a:ext>
              </a:extLst>
            </p:cNvPr>
            <p:cNvSpPr/>
            <p:nvPr/>
          </p:nvSpPr>
          <p:spPr>
            <a:xfrm>
              <a:off x="3831633" y="1435674"/>
              <a:ext cx="4478" cy="4478"/>
            </a:xfrm>
            <a:custGeom>
              <a:avLst/>
              <a:gdLst>
                <a:gd name="connsiteX0" fmla="*/ 4478 w 4477"/>
                <a:gd name="connsiteY0" fmla="*/ 2239 h 4477"/>
                <a:gd name="connsiteX1" fmla="*/ 2239 w 4477"/>
                <a:gd name="connsiteY1" fmla="*/ 4478 h 4477"/>
                <a:gd name="connsiteX2" fmla="*/ 0 w 4477"/>
                <a:gd name="connsiteY2" fmla="*/ 2239 h 4477"/>
                <a:gd name="connsiteX3" fmla="*/ 2239 w 4477"/>
                <a:gd name="connsiteY3" fmla="*/ 0 h 4477"/>
                <a:gd name="connsiteX4" fmla="*/ 4478 w 4477"/>
                <a:gd name="connsiteY4" fmla="*/ 2239 h 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7" h="4477">
                  <a:moveTo>
                    <a:pt x="4478" y="2239"/>
                  </a:moveTo>
                  <a:cubicBezTo>
                    <a:pt x="4478" y="3475"/>
                    <a:pt x="3475" y="4478"/>
                    <a:pt x="2239" y="4478"/>
                  </a:cubicBezTo>
                  <a:cubicBezTo>
                    <a:pt x="1002" y="4478"/>
                    <a:pt x="0" y="3475"/>
                    <a:pt x="0" y="2239"/>
                  </a:cubicBezTo>
                  <a:cubicBezTo>
                    <a:pt x="0" y="1002"/>
                    <a:pt x="1002" y="0"/>
                    <a:pt x="2239" y="0"/>
                  </a:cubicBezTo>
                  <a:cubicBezTo>
                    <a:pt x="3475" y="0"/>
                    <a:pt x="4478" y="1002"/>
                    <a:pt x="4478" y="2239"/>
                  </a:cubicBezTo>
                  <a:close/>
                </a:path>
              </a:pathLst>
            </a:custGeom>
            <a:solidFill>
              <a:srgbClr val="231F20"/>
            </a:solidFill>
            <a:ln w="4474" cap="flat">
              <a:noFill/>
              <a:prstDash val="solid"/>
              <a:miter/>
            </a:ln>
          </p:spPr>
          <p:txBody>
            <a:bodyPr rtlCol="0" anchor="ctr"/>
            <a:lstStyle/>
            <a:p>
              <a:endParaRPr lang="en-US"/>
            </a:p>
          </p:txBody>
        </p:sp>
      </p:grpSp>
      <p:sp>
        <p:nvSpPr>
          <p:cNvPr id="4978" name="Graphic 24">
            <a:extLst>
              <a:ext uri="{FF2B5EF4-FFF2-40B4-BE49-F238E27FC236}">
                <a16:creationId xmlns:a16="http://schemas.microsoft.com/office/drawing/2014/main" id="{6C79801B-2457-4046-8C58-BBF8F19D6AF0}"/>
              </a:ext>
              <a:ext uri="{C183D7F6-B498-43B3-948B-1728B52AA6E4}">
                <adec:decorative xmlns:adec="http://schemas.microsoft.com/office/drawing/2017/decorative" val="1"/>
              </a:ext>
            </a:extLst>
          </p:cNvPr>
          <p:cNvSpPr>
            <a:spLocks noChangeAspect="1"/>
          </p:cNvSpPr>
          <p:nvPr/>
        </p:nvSpPr>
        <p:spPr>
          <a:xfrm>
            <a:off x="1329647" y="3015741"/>
            <a:ext cx="165679" cy="165679"/>
          </a:xfrm>
          <a:custGeom>
            <a:avLst/>
            <a:gdLst>
              <a:gd name="connsiteX0" fmla="*/ 448383 w 450988"/>
              <a:gd name="connsiteY0" fmla="*/ 232739 h 450988"/>
              <a:gd name="connsiteX1" fmla="*/ 431197 w 450988"/>
              <a:gd name="connsiteY1" fmla="*/ 215552 h 450988"/>
              <a:gd name="connsiteX2" fmla="*/ 388048 w 450988"/>
              <a:gd name="connsiteY2" fmla="*/ 215552 h 450988"/>
              <a:gd name="connsiteX3" fmla="*/ 370862 w 450988"/>
              <a:gd name="connsiteY3" fmla="*/ 232739 h 450988"/>
              <a:gd name="connsiteX4" fmla="*/ 370862 w 450988"/>
              <a:gd name="connsiteY4" fmla="*/ 275887 h 450988"/>
              <a:gd name="connsiteX5" fmla="*/ 375128 w 450988"/>
              <a:gd name="connsiteY5" fmla="*/ 280153 h 450988"/>
              <a:gd name="connsiteX6" fmla="*/ 357942 w 450988"/>
              <a:gd name="connsiteY6" fmla="*/ 297461 h 450988"/>
              <a:gd name="connsiteX7" fmla="*/ 353432 w 450988"/>
              <a:gd name="connsiteY7" fmla="*/ 292586 h 450988"/>
              <a:gd name="connsiteX8" fmla="*/ 310283 w 450988"/>
              <a:gd name="connsiteY8" fmla="*/ 292586 h 450988"/>
              <a:gd name="connsiteX9" fmla="*/ 293097 w 450988"/>
              <a:gd name="connsiteY9" fmla="*/ 309894 h 450988"/>
              <a:gd name="connsiteX10" fmla="*/ 292992 w 450988"/>
              <a:gd name="connsiteY10" fmla="*/ 352816 h 450988"/>
              <a:gd name="connsiteX11" fmla="*/ 293097 w 450988"/>
              <a:gd name="connsiteY11" fmla="*/ 352921 h 450988"/>
              <a:gd name="connsiteX12" fmla="*/ 297363 w 450988"/>
              <a:gd name="connsiteY12" fmla="*/ 357309 h 450988"/>
              <a:gd name="connsiteX13" fmla="*/ 280298 w 450988"/>
              <a:gd name="connsiteY13" fmla="*/ 374983 h 450988"/>
              <a:gd name="connsiteX14" fmla="*/ 275910 w 450988"/>
              <a:gd name="connsiteY14" fmla="*/ 370717 h 450988"/>
              <a:gd name="connsiteX15" fmla="*/ 232884 w 450988"/>
              <a:gd name="connsiteY15" fmla="*/ 370717 h 450988"/>
              <a:gd name="connsiteX16" fmla="*/ 228496 w 450988"/>
              <a:gd name="connsiteY16" fmla="*/ 374983 h 450988"/>
              <a:gd name="connsiteX17" fmla="*/ 185469 w 450988"/>
              <a:gd name="connsiteY17" fmla="*/ 331834 h 450988"/>
              <a:gd name="connsiteX18" fmla="*/ 189735 w 450988"/>
              <a:gd name="connsiteY18" fmla="*/ 327568 h 450988"/>
              <a:gd name="connsiteX19" fmla="*/ 189840 w 450988"/>
              <a:gd name="connsiteY19" fmla="*/ 284646 h 450988"/>
              <a:gd name="connsiteX20" fmla="*/ 189735 w 450988"/>
              <a:gd name="connsiteY20" fmla="*/ 284541 h 450988"/>
              <a:gd name="connsiteX21" fmla="*/ 185591 w 450988"/>
              <a:gd name="connsiteY21" fmla="*/ 280397 h 450988"/>
              <a:gd name="connsiteX22" fmla="*/ 202777 w 450988"/>
              <a:gd name="connsiteY22" fmla="*/ 263211 h 450988"/>
              <a:gd name="connsiteX23" fmla="*/ 207043 w 450988"/>
              <a:gd name="connsiteY23" fmla="*/ 267477 h 450988"/>
              <a:gd name="connsiteX24" fmla="*/ 250192 w 450988"/>
              <a:gd name="connsiteY24" fmla="*/ 267477 h 450988"/>
              <a:gd name="connsiteX25" fmla="*/ 267378 w 450988"/>
              <a:gd name="connsiteY25" fmla="*/ 250291 h 450988"/>
              <a:gd name="connsiteX26" fmla="*/ 267606 w 450988"/>
              <a:gd name="connsiteY26" fmla="*/ 207370 h 450988"/>
              <a:gd name="connsiteX27" fmla="*/ 267378 w 450988"/>
              <a:gd name="connsiteY27" fmla="*/ 207142 h 450988"/>
              <a:gd name="connsiteX28" fmla="*/ 263112 w 450988"/>
              <a:gd name="connsiteY28" fmla="*/ 202876 h 450988"/>
              <a:gd name="connsiteX29" fmla="*/ 280298 w 450988"/>
              <a:gd name="connsiteY29" fmla="*/ 185324 h 450988"/>
              <a:gd name="connsiteX30" fmla="*/ 284686 w 450988"/>
              <a:gd name="connsiteY30" fmla="*/ 189712 h 450988"/>
              <a:gd name="connsiteX31" fmla="*/ 306261 w 450988"/>
              <a:gd name="connsiteY31" fmla="*/ 198610 h 450988"/>
              <a:gd name="connsiteX32" fmla="*/ 327713 w 450988"/>
              <a:gd name="connsiteY32" fmla="*/ 189712 h 450988"/>
              <a:gd name="connsiteX33" fmla="*/ 345021 w 450988"/>
              <a:gd name="connsiteY33" fmla="*/ 172404 h 450988"/>
              <a:gd name="connsiteX34" fmla="*/ 345021 w 450988"/>
              <a:gd name="connsiteY34" fmla="*/ 129377 h 450988"/>
              <a:gd name="connsiteX35" fmla="*/ 327713 w 450988"/>
              <a:gd name="connsiteY35" fmla="*/ 112069 h 450988"/>
              <a:gd name="connsiteX36" fmla="*/ 284686 w 450988"/>
              <a:gd name="connsiteY36" fmla="*/ 112069 h 450988"/>
              <a:gd name="connsiteX37" fmla="*/ 283102 w 450988"/>
              <a:gd name="connsiteY37" fmla="*/ 113653 h 450988"/>
              <a:gd name="connsiteX38" fmla="*/ 237515 w 450988"/>
              <a:gd name="connsiteY38" fmla="*/ 73186 h 450988"/>
              <a:gd name="connsiteX39" fmla="*/ 241538 w 450988"/>
              <a:gd name="connsiteY39" fmla="*/ 69164 h 450988"/>
              <a:gd name="connsiteX40" fmla="*/ 241766 w 450988"/>
              <a:gd name="connsiteY40" fmla="*/ 26243 h 450988"/>
              <a:gd name="connsiteX41" fmla="*/ 241538 w 450988"/>
              <a:gd name="connsiteY41" fmla="*/ 26015 h 450988"/>
              <a:gd name="connsiteX42" fmla="*/ 224351 w 450988"/>
              <a:gd name="connsiteY42" fmla="*/ 8707 h 450988"/>
              <a:gd name="connsiteX43" fmla="*/ 181203 w 450988"/>
              <a:gd name="connsiteY43" fmla="*/ 8707 h 450988"/>
              <a:gd name="connsiteX44" fmla="*/ 164017 w 450988"/>
              <a:gd name="connsiteY44" fmla="*/ 25893 h 450988"/>
              <a:gd name="connsiteX45" fmla="*/ 164017 w 450988"/>
              <a:gd name="connsiteY45" fmla="*/ 69042 h 450988"/>
              <a:gd name="connsiteX46" fmla="*/ 168283 w 450988"/>
              <a:gd name="connsiteY46" fmla="*/ 73308 h 450988"/>
              <a:gd name="connsiteX47" fmla="*/ 151096 w 450988"/>
              <a:gd name="connsiteY47" fmla="*/ 90616 h 450988"/>
              <a:gd name="connsiteX48" fmla="*/ 146221 w 450988"/>
              <a:gd name="connsiteY48" fmla="*/ 86228 h 450988"/>
              <a:gd name="connsiteX49" fmla="*/ 103194 w 450988"/>
              <a:gd name="connsiteY49" fmla="*/ 86228 h 450988"/>
              <a:gd name="connsiteX50" fmla="*/ 86495 w 450988"/>
              <a:gd name="connsiteY50" fmla="*/ 103537 h 450988"/>
              <a:gd name="connsiteX51" fmla="*/ 86495 w 450988"/>
              <a:gd name="connsiteY51" fmla="*/ 146319 h 450988"/>
              <a:gd name="connsiteX52" fmla="*/ 90761 w 450988"/>
              <a:gd name="connsiteY52" fmla="*/ 150707 h 450988"/>
              <a:gd name="connsiteX53" fmla="*/ 73088 w 450988"/>
              <a:gd name="connsiteY53" fmla="*/ 168138 h 450988"/>
              <a:gd name="connsiteX54" fmla="*/ 68822 w 450988"/>
              <a:gd name="connsiteY54" fmla="*/ 163871 h 450988"/>
              <a:gd name="connsiteX55" fmla="*/ 25900 w 450988"/>
              <a:gd name="connsiteY55" fmla="*/ 163767 h 450988"/>
              <a:gd name="connsiteX56" fmla="*/ 25795 w 450988"/>
              <a:gd name="connsiteY56" fmla="*/ 163871 h 450988"/>
              <a:gd name="connsiteX57" fmla="*/ 8852 w 450988"/>
              <a:gd name="connsiteY57" fmla="*/ 181058 h 450988"/>
              <a:gd name="connsiteX58" fmla="*/ 8852 w 450988"/>
              <a:gd name="connsiteY58" fmla="*/ 224206 h 450988"/>
              <a:gd name="connsiteX59" fmla="*/ 26160 w 450988"/>
              <a:gd name="connsiteY59" fmla="*/ 241393 h 450988"/>
              <a:gd name="connsiteX60" fmla="*/ 47613 w 450988"/>
              <a:gd name="connsiteY60" fmla="*/ 250291 h 450988"/>
              <a:gd name="connsiteX61" fmla="*/ 69187 w 450988"/>
              <a:gd name="connsiteY61" fmla="*/ 241393 h 450988"/>
              <a:gd name="connsiteX62" fmla="*/ 86495 w 450988"/>
              <a:gd name="connsiteY62" fmla="*/ 224206 h 450988"/>
              <a:gd name="connsiteX63" fmla="*/ 86495 w 450988"/>
              <a:gd name="connsiteY63" fmla="*/ 181058 h 450988"/>
              <a:gd name="connsiteX64" fmla="*/ 82107 w 450988"/>
              <a:gd name="connsiteY64" fmla="*/ 176792 h 450988"/>
              <a:gd name="connsiteX65" fmla="*/ 99416 w 450988"/>
              <a:gd name="connsiteY65" fmla="*/ 159483 h 450988"/>
              <a:gd name="connsiteX66" fmla="*/ 103682 w 450988"/>
              <a:gd name="connsiteY66" fmla="*/ 163871 h 450988"/>
              <a:gd name="connsiteX67" fmla="*/ 125256 w 450988"/>
              <a:gd name="connsiteY67" fmla="*/ 172769 h 450988"/>
              <a:gd name="connsiteX68" fmla="*/ 146221 w 450988"/>
              <a:gd name="connsiteY68" fmla="*/ 163871 h 450988"/>
              <a:gd name="connsiteX69" fmla="*/ 164017 w 450988"/>
              <a:gd name="connsiteY69" fmla="*/ 146319 h 450988"/>
              <a:gd name="connsiteX70" fmla="*/ 164017 w 450988"/>
              <a:gd name="connsiteY70" fmla="*/ 103293 h 450988"/>
              <a:gd name="connsiteX71" fmla="*/ 159750 w 450988"/>
              <a:gd name="connsiteY71" fmla="*/ 98905 h 450988"/>
              <a:gd name="connsiteX72" fmla="*/ 176937 w 450988"/>
              <a:gd name="connsiteY72" fmla="*/ 81718 h 450988"/>
              <a:gd name="connsiteX73" fmla="*/ 181203 w 450988"/>
              <a:gd name="connsiteY73" fmla="*/ 85985 h 450988"/>
              <a:gd name="connsiteX74" fmla="*/ 224351 w 450988"/>
              <a:gd name="connsiteY74" fmla="*/ 85985 h 450988"/>
              <a:gd name="connsiteX75" fmla="*/ 228861 w 450988"/>
              <a:gd name="connsiteY75" fmla="*/ 81475 h 450988"/>
              <a:gd name="connsiteX76" fmla="*/ 274570 w 450988"/>
              <a:gd name="connsiteY76" fmla="*/ 121942 h 450988"/>
              <a:gd name="connsiteX77" fmla="*/ 267378 w 450988"/>
              <a:gd name="connsiteY77" fmla="*/ 129011 h 450988"/>
              <a:gd name="connsiteX78" fmla="*/ 267378 w 450988"/>
              <a:gd name="connsiteY78" fmla="*/ 172038 h 450988"/>
              <a:gd name="connsiteX79" fmla="*/ 271766 w 450988"/>
              <a:gd name="connsiteY79" fmla="*/ 176426 h 450988"/>
              <a:gd name="connsiteX80" fmla="*/ 254458 w 450988"/>
              <a:gd name="connsiteY80" fmla="*/ 193612 h 450988"/>
              <a:gd name="connsiteX81" fmla="*/ 250192 w 450988"/>
              <a:gd name="connsiteY81" fmla="*/ 189346 h 450988"/>
              <a:gd name="connsiteX82" fmla="*/ 207043 w 450988"/>
              <a:gd name="connsiteY82" fmla="*/ 189346 h 450988"/>
              <a:gd name="connsiteX83" fmla="*/ 189857 w 450988"/>
              <a:gd name="connsiteY83" fmla="*/ 207264 h 450988"/>
              <a:gd name="connsiteX84" fmla="*/ 189857 w 450988"/>
              <a:gd name="connsiteY84" fmla="*/ 250412 h 450988"/>
              <a:gd name="connsiteX85" fmla="*/ 194123 w 450988"/>
              <a:gd name="connsiteY85" fmla="*/ 254679 h 450988"/>
              <a:gd name="connsiteX86" fmla="*/ 176937 w 450988"/>
              <a:gd name="connsiteY86" fmla="*/ 271987 h 450988"/>
              <a:gd name="connsiteX87" fmla="*/ 172671 w 450988"/>
              <a:gd name="connsiteY87" fmla="*/ 267599 h 450988"/>
              <a:gd name="connsiteX88" fmla="*/ 129522 w 450988"/>
              <a:gd name="connsiteY88" fmla="*/ 267599 h 450988"/>
              <a:gd name="connsiteX89" fmla="*/ 112336 w 450988"/>
              <a:gd name="connsiteY89" fmla="*/ 284541 h 450988"/>
              <a:gd name="connsiteX90" fmla="*/ 111884 w 450988"/>
              <a:gd name="connsiteY90" fmla="*/ 327116 h 450988"/>
              <a:gd name="connsiteX91" fmla="*/ 112336 w 450988"/>
              <a:gd name="connsiteY91" fmla="*/ 327568 h 450988"/>
              <a:gd name="connsiteX92" fmla="*/ 129522 w 450988"/>
              <a:gd name="connsiteY92" fmla="*/ 344876 h 450988"/>
              <a:gd name="connsiteX93" fmla="*/ 172671 w 450988"/>
              <a:gd name="connsiteY93" fmla="*/ 344876 h 450988"/>
              <a:gd name="connsiteX94" fmla="*/ 176937 w 450988"/>
              <a:gd name="connsiteY94" fmla="*/ 340488 h 450988"/>
              <a:gd name="connsiteX95" fmla="*/ 220085 w 450988"/>
              <a:gd name="connsiteY95" fmla="*/ 383637 h 450988"/>
              <a:gd name="connsiteX96" fmla="*/ 215697 w 450988"/>
              <a:gd name="connsiteY96" fmla="*/ 387903 h 450988"/>
              <a:gd name="connsiteX97" fmla="*/ 215697 w 450988"/>
              <a:gd name="connsiteY97" fmla="*/ 431051 h 450988"/>
              <a:gd name="connsiteX98" fmla="*/ 233006 w 450988"/>
              <a:gd name="connsiteY98" fmla="*/ 448238 h 450988"/>
              <a:gd name="connsiteX99" fmla="*/ 254458 w 450988"/>
              <a:gd name="connsiteY99" fmla="*/ 457136 h 450988"/>
              <a:gd name="connsiteX100" fmla="*/ 276032 w 450988"/>
              <a:gd name="connsiteY100" fmla="*/ 448238 h 450988"/>
              <a:gd name="connsiteX101" fmla="*/ 293341 w 450988"/>
              <a:gd name="connsiteY101" fmla="*/ 431051 h 450988"/>
              <a:gd name="connsiteX102" fmla="*/ 293341 w 450988"/>
              <a:gd name="connsiteY102" fmla="*/ 387903 h 450988"/>
              <a:gd name="connsiteX103" fmla="*/ 288953 w 450988"/>
              <a:gd name="connsiteY103" fmla="*/ 383637 h 450988"/>
              <a:gd name="connsiteX104" fmla="*/ 306261 w 450988"/>
              <a:gd name="connsiteY104" fmla="*/ 366329 h 450988"/>
              <a:gd name="connsiteX105" fmla="*/ 310527 w 450988"/>
              <a:gd name="connsiteY105" fmla="*/ 370717 h 450988"/>
              <a:gd name="connsiteX106" fmla="*/ 353675 w 450988"/>
              <a:gd name="connsiteY106" fmla="*/ 370717 h 450988"/>
              <a:gd name="connsiteX107" fmla="*/ 370862 w 450988"/>
              <a:gd name="connsiteY107" fmla="*/ 353530 h 450988"/>
              <a:gd name="connsiteX108" fmla="*/ 370862 w 450988"/>
              <a:gd name="connsiteY108" fmla="*/ 353530 h 450988"/>
              <a:gd name="connsiteX109" fmla="*/ 370862 w 450988"/>
              <a:gd name="connsiteY109" fmla="*/ 310504 h 450988"/>
              <a:gd name="connsiteX110" fmla="*/ 366596 w 450988"/>
              <a:gd name="connsiteY110" fmla="*/ 306116 h 450988"/>
              <a:gd name="connsiteX111" fmla="*/ 383782 w 450988"/>
              <a:gd name="connsiteY111" fmla="*/ 288929 h 450988"/>
              <a:gd name="connsiteX112" fmla="*/ 388048 w 450988"/>
              <a:gd name="connsiteY112" fmla="*/ 293195 h 450988"/>
              <a:gd name="connsiteX113" fmla="*/ 431197 w 450988"/>
              <a:gd name="connsiteY113" fmla="*/ 293195 h 450988"/>
              <a:gd name="connsiteX114" fmla="*/ 448383 w 450988"/>
              <a:gd name="connsiteY114" fmla="*/ 276009 h 450988"/>
              <a:gd name="connsiteX115" fmla="*/ 448611 w 450988"/>
              <a:gd name="connsiteY115" fmla="*/ 233088 h 450988"/>
              <a:gd name="connsiteX116" fmla="*/ 448383 w 450988"/>
              <a:gd name="connsiteY116" fmla="*/ 232860 h 450988"/>
              <a:gd name="connsiteX117" fmla="*/ 77841 w 450988"/>
              <a:gd name="connsiteY117" fmla="*/ 215552 h 450988"/>
              <a:gd name="connsiteX118" fmla="*/ 60899 w 450988"/>
              <a:gd name="connsiteY118" fmla="*/ 232739 h 450988"/>
              <a:gd name="connsiteX119" fmla="*/ 35215 w 450988"/>
              <a:gd name="connsiteY119" fmla="*/ 232896 h 450988"/>
              <a:gd name="connsiteX120" fmla="*/ 35058 w 450988"/>
              <a:gd name="connsiteY120" fmla="*/ 232739 h 450988"/>
              <a:gd name="connsiteX121" fmla="*/ 17506 w 450988"/>
              <a:gd name="connsiteY121" fmla="*/ 215552 h 450988"/>
              <a:gd name="connsiteX122" fmla="*/ 17350 w 450988"/>
              <a:gd name="connsiteY122" fmla="*/ 189869 h 450988"/>
              <a:gd name="connsiteX123" fmla="*/ 17506 w 450988"/>
              <a:gd name="connsiteY123" fmla="*/ 189712 h 450988"/>
              <a:gd name="connsiteX124" fmla="*/ 34693 w 450988"/>
              <a:gd name="connsiteY124" fmla="*/ 172404 h 450988"/>
              <a:gd name="connsiteX125" fmla="*/ 47613 w 450988"/>
              <a:gd name="connsiteY125" fmla="*/ 167041 h 450988"/>
              <a:gd name="connsiteX126" fmla="*/ 60899 w 450988"/>
              <a:gd name="connsiteY126" fmla="*/ 172404 h 450988"/>
              <a:gd name="connsiteX127" fmla="*/ 78207 w 450988"/>
              <a:gd name="connsiteY127" fmla="*/ 189712 h 450988"/>
              <a:gd name="connsiteX128" fmla="*/ 78207 w 450988"/>
              <a:gd name="connsiteY128" fmla="*/ 215552 h 450988"/>
              <a:gd name="connsiteX129" fmla="*/ 155363 w 450988"/>
              <a:gd name="connsiteY129" fmla="*/ 137909 h 450988"/>
              <a:gd name="connsiteX130" fmla="*/ 138176 w 450988"/>
              <a:gd name="connsiteY130" fmla="*/ 155217 h 450988"/>
              <a:gd name="connsiteX131" fmla="*/ 112336 w 450988"/>
              <a:gd name="connsiteY131" fmla="*/ 155217 h 450988"/>
              <a:gd name="connsiteX132" fmla="*/ 95028 w 450988"/>
              <a:gd name="connsiteY132" fmla="*/ 137909 h 450988"/>
              <a:gd name="connsiteX133" fmla="*/ 95028 w 450988"/>
              <a:gd name="connsiteY133" fmla="*/ 112069 h 450988"/>
              <a:gd name="connsiteX134" fmla="*/ 112336 w 450988"/>
              <a:gd name="connsiteY134" fmla="*/ 94882 h 450988"/>
              <a:gd name="connsiteX135" fmla="*/ 125256 w 450988"/>
              <a:gd name="connsiteY135" fmla="*/ 89519 h 450988"/>
              <a:gd name="connsiteX136" fmla="*/ 138176 w 450988"/>
              <a:gd name="connsiteY136" fmla="*/ 94882 h 450988"/>
              <a:gd name="connsiteX137" fmla="*/ 146708 w 450988"/>
              <a:gd name="connsiteY137" fmla="*/ 103537 h 450988"/>
              <a:gd name="connsiteX138" fmla="*/ 146708 w 450988"/>
              <a:gd name="connsiteY138" fmla="*/ 103537 h 450988"/>
              <a:gd name="connsiteX139" fmla="*/ 155363 w 450988"/>
              <a:gd name="connsiteY139" fmla="*/ 112069 h 450988"/>
              <a:gd name="connsiteX140" fmla="*/ 155520 w 450988"/>
              <a:gd name="connsiteY140" fmla="*/ 137752 h 450988"/>
              <a:gd name="connsiteX141" fmla="*/ 155363 w 450988"/>
              <a:gd name="connsiteY141" fmla="*/ 137909 h 450988"/>
              <a:gd name="connsiteX142" fmla="*/ 189857 w 450988"/>
              <a:gd name="connsiteY142" fmla="*/ 77696 h 450988"/>
              <a:gd name="connsiteX143" fmla="*/ 172671 w 450988"/>
              <a:gd name="connsiteY143" fmla="*/ 60997 h 450988"/>
              <a:gd name="connsiteX144" fmla="*/ 172671 w 450988"/>
              <a:gd name="connsiteY144" fmla="*/ 35157 h 450988"/>
              <a:gd name="connsiteX145" fmla="*/ 189857 w 450988"/>
              <a:gd name="connsiteY145" fmla="*/ 17971 h 450988"/>
              <a:gd name="connsiteX146" fmla="*/ 215697 w 450988"/>
              <a:gd name="connsiteY146" fmla="*/ 17971 h 450988"/>
              <a:gd name="connsiteX147" fmla="*/ 233006 w 450988"/>
              <a:gd name="connsiteY147" fmla="*/ 35157 h 450988"/>
              <a:gd name="connsiteX148" fmla="*/ 233006 w 450988"/>
              <a:gd name="connsiteY148" fmla="*/ 60997 h 450988"/>
              <a:gd name="connsiteX149" fmla="*/ 233006 w 450988"/>
              <a:gd name="connsiteY149" fmla="*/ 60997 h 450988"/>
              <a:gd name="connsiteX150" fmla="*/ 215697 w 450988"/>
              <a:gd name="connsiteY150" fmla="*/ 77696 h 450988"/>
              <a:gd name="connsiteX151" fmla="*/ 189857 w 450988"/>
              <a:gd name="connsiteY151" fmla="*/ 77696 h 450988"/>
              <a:gd name="connsiteX152" fmla="*/ 276032 w 450988"/>
              <a:gd name="connsiteY152" fmla="*/ 137909 h 450988"/>
              <a:gd name="connsiteX153" fmla="*/ 293341 w 450988"/>
              <a:gd name="connsiteY153" fmla="*/ 120723 h 450988"/>
              <a:gd name="connsiteX154" fmla="*/ 306261 w 450988"/>
              <a:gd name="connsiteY154" fmla="*/ 115360 h 450988"/>
              <a:gd name="connsiteX155" fmla="*/ 319181 w 450988"/>
              <a:gd name="connsiteY155" fmla="*/ 120723 h 450988"/>
              <a:gd name="connsiteX156" fmla="*/ 336367 w 450988"/>
              <a:gd name="connsiteY156" fmla="*/ 137909 h 450988"/>
              <a:gd name="connsiteX157" fmla="*/ 336473 w 450988"/>
              <a:gd name="connsiteY157" fmla="*/ 163765 h 450988"/>
              <a:gd name="connsiteX158" fmla="*/ 336367 w 450988"/>
              <a:gd name="connsiteY158" fmla="*/ 163871 h 450988"/>
              <a:gd name="connsiteX159" fmla="*/ 319181 w 450988"/>
              <a:gd name="connsiteY159" fmla="*/ 181058 h 450988"/>
              <a:gd name="connsiteX160" fmla="*/ 293341 w 450988"/>
              <a:gd name="connsiteY160" fmla="*/ 181058 h 450988"/>
              <a:gd name="connsiteX161" fmla="*/ 276032 w 450988"/>
              <a:gd name="connsiteY161" fmla="*/ 163871 h 450988"/>
              <a:gd name="connsiteX162" fmla="*/ 276032 w 450988"/>
              <a:gd name="connsiteY162" fmla="*/ 137909 h 450988"/>
              <a:gd name="connsiteX163" fmla="*/ 198511 w 450988"/>
              <a:gd name="connsiteY163" fmla="*/ 215552 h 450988"/>
              <a:gd name="connsiteX164" fmla="*/ 215697 w 450988"/>
              <a:gd name="connsiteY164" fmla="*/ 198244 h 450988"/>
              <a:gd name="connsiteX165" fmla="*/ 241538 w 450988"/>
              <a:gd name="connsiteY165" fmla="*/ 198244 h 450988"/>
              <a:gd name="connsiteX166" fmla="*/ 249704 w 450988"/>
              <a:gd name="connsiteY166" fmla="*/ 206533 h 450988"/>
              <a:gd name="connsiteX167" fmla="*/ 249704 w 450988"/>
              <a:gd name="connsiteY167" fmla="*/ 206533 h 450988"/>
              <a:gd name="connsiteX168" fmla="*/ 250314 w 450988"/>
              <a:gd name="connsiteY168" fmla="*/ 206533 h 450988"/>
              <a:gd name="connsiteX169" fmla="*/ 258480 w 450988"/>
              <a:gd name="connsiteY169" fmla="*/ 214699 h 450988"/>
              <a:gd name="connsiteX170" fmla="*/ 258480 w 450988"/>
              <a:gd name="connsiteY170" fmla="*/ 240539 h 450988"/>
              <a:gd name="connsiteX171" fmla="*/ 258480 w 450988"/>
              <a:gd name="connsiteY171" fmla="*/ 240539 h 450988"/>
              <a:gd name="connsiteX172" fmla="*/ 241172 w 450988"/>
              <a:gd name="connsiteY172" fmla="*/ 257726 h 450988"/>
              <a:gd name="connsiteX173" fmla="*/ 215489 w 450988"/>
              <a:gd name="connsiteY173" fmla="*/ 257883 h 450988"/>
              <a:gd name="connsiteX174" fmla="*/ 215332 w 450988"/>
              <a:gd name="connsiteY174" fmla="*/ 257726 h 450988"/>
              <a:gd name="connsiteX175" fmla="*/ 198511 w 450988"/>
              <a:gd name="connsiteY175" fmla="*/ 241393 h 450988"/>
              <a:gd name="connsiteX176" fmla="*/ 198354 w 450988"/>
              <a:gd name="connsiteY176" fmla="*/ 215709 h 450988"/>
              <a:gd name="connsiteX177" fmla="*/ 198511 w 450988"/>
              <a:gd name="connsiteY177" fmla="*/ 215552 h 450988"/>
              <a:gd name="connsiteX178" fmla="*/ 138176 w 450988"/>
              <a:gd name="connsiteY178" fmla="*/ 336222 h 450988"/>
              <a:gd name="connsiteX179" fmla="*/ 120868 w 450988"/>
              <a:gd name="connsiteY179" fmla="*/ 318914 h 450988"/>
              <a:gd name="connsiteX180" fmla="*/ 115505 w 450988"/>
              <a:gd name="connsiteY180" fmla="*/ 305994 h 450988"/>
              <a:gd name="connsiteX181" fmla="*/ 120868 w 450988"/>
              <a:gd name="connsiteY181" fmla="*/ 292586 h 450988"/>
              <a:gd name="connsiteX182" fmla="*/ 138176 w 450988"/>
              <a:gd name="connsiteY182" fmla="*/ 275400 h 450988"/>
              <a:gd name="connsiteX183" fmla="*/ 151096 w 450988"/>
              <a:gd name="connsiteY183" fmla="*/ 270037 h 450988"/>
              <a:gd name="connsiteX184" fmla="*/ 164017 w 450988"/>
              <a:gd name="connsiteY184" fmla="*/ 275400 h 450988"/>
              <a:gd name="connsiteX185" fmla="*/ 172183 w 450988"/>
              <a:gd name="connsiteY185" fmla="*/ 283566 h 450988"/>
              <a:gd name="connsiteX186" fmla="*/ 172183 w 450988"/>
              <a:gd name="connsiteY186" fmla="*/ 283566 h 450988"/>
              <a:gd name="connsiteX187" fmla="*/ 172183 w 450988"/>
              <a:gd name="connsiteY187" fmla="*/ 283566 h 450988"/>
              <a:gd name="connsiteX188" fmla="*/ 180350 w 450988"/>
              <a:gd name="connsiteY188" fmla="*/ 291733 h 450988"/>
              <a:gd name="connsiteX189" fmla="*/ 180507 w 450988"/>
              <a:gd name="connsiteY189" fmla="*/ 317416 h 450988"/>
              <a:gd name="connsiteX190" fmla="*/ 180350 w 450988"/>
              <a:gd name="connsiteY190" fmla="*/ 317573 h 450988"/>
              <a:gd name="connsiteX191" fmla="*/ 163163 w 450988"/>
              <a:gd name="connsiteY191" fmla="*/ 334881 h 450988"/>
              <a:gd name="connsiteX192" fmla="*/ 138176 w 450988"/>
              <a:gd name="connsiteY192" fmla="*/ 336222 h 450988"/>
              <a:gd name="connsiteX193" fmla="*/ 284443 w 450988"/>
              <a:gd name="connsiteY193" fmla="*/ 422397 h 450988"/>
              <a:gd name="connsiteX194" fmla="*/ 284443 w 450988"/>
              <a:gd name="connsiteY194" fmla="*/ 422397 h 450988"/>
              <a:gd name="connsiteX195" fmla="*/ 267134 w 450988"/>
              <a:gd name="connsiteY195" fmla="*/ 439584 h 450988"/>
              <a:gd name="connsiteX196" fmla="*/ 241451 w 450988"/>
              <a:gd name="connsiteY196" fmla="*/ 439741 h 450988"/>
              <a:gd name="connsiteX197" fmla="*/ 241294 w 450988"/>
              <a:gd name="connsiteY197" fmla="*/ 439584 h 450988"/>
              <a:gd name="connsiteX198" fmla="*/ 224108 w 450988"/>
              <a:gd name="connsiteY198" fmla="*/ 422397 h 450988"/>
              <a:gd name="connsiteX199" fmla="*/ 223950 w 450988"/>
              <a:gd name="connsiteY199" fmla="*/ 396714 h 450988"/>
              <a:gd name="connsiteX200" fmla="*/ 224108 w 450988"/>
              <a:gd name="connsiteY200" fmla="*/ 396557 h 450988"/>
              <a:gd name="connsiteX201" fmla="*/ 241294 w 450988"/>
              <a:gd name="connsiteY201" fmla="*/ 379249 h 450988"/>
              <a:gd name="connsiteX202" fmla="*/ 254214 w 450988"/>
              <a:gd name="connsiteY202" fmla="*/ 373886 h 450988"/>
              <a:gd name="connsiteX203" fmla="*/ 267134 w 450988"/>
              <a:gd name="connsiteY203" fmla="*/ 379249 h 450988"/>
              <a:gd name="connsiteX204" fmla="*/ 284443 w 450988"/>
              <a:gd name="connsiteY204" fmla="*/ 396557 h 450988"/>
              <a:gd name="connsiteX205" fmla="*/ 284443 w 450988"/>
              <a:gd name="connsiteY205" fmla="*/ 422397 h 450988"/>
              <a:gd name="connsiteX206" fmla="*/ 361964 w 450988"/>
              <a:gd name="connsiteY206" fmla="*/ 344876 h 450988"/>
              <a:gd name="connsiteX207" fmla="*/ 345021 w 450988"/>
              <a:gd name="connsiteY207" fmla="*/ 362062 h 450988"/>
              <a:gd name="connsiteX208" fmla="*/ 319181 w 450988"/>
              <a:gd name="connsiteY208" fmla="*/ 362062 h 450988"/>
              <a:gd name="connsiteX209" fmla="*/ 301873 w 450988"/>
              <a:gd name="connsiteY209" fmla="*/ 344876 h 450988"/>
              <a:gd name="connsiteX210" fmla="*/ 301873 w 450988"/>
              <a:gd name="connsiteY210" fmla="*/ 318914 h 450988"/>
              <a:gd name="connsiteX211" fmla="*/ 319181 w 450988"/>
              <a:gd name="connsiteY211" fmla="*/ 301728 h 450988"/>
              <a:gd name="connsiteX212" fmla="*/ 332101 w 450988"/>
              <a:gd name="connsiteY212" fmla="*/ 296364 h 450988"/>
              <a:gd name="connsiteX213" fmla="*/ 345021 w 450988"/>
              <a:gd name="connsiteY213" fmla="*/ 301728 h 450988"/>
              <a:gd name="connsiteX214" fmla="*/ 362208 w 450988"/>
              <a:gd name="connsiteY214" fmla="*/ 318914 h 450988"/>
              <a:gd name="connsiteX215" fmla="*/ 362314 w 450988"/>
              <a:gd name="connsiteY215" fmla="*/ 344770 h 450988"/>
              <a:gd name="connsiteX216" fmla="*/ 362208 w 450988"/>
              <a:gd name="connsiteY216" fmla="*/ 344876 h 450988"/>
              <a:gd name="connsiteX217" fmla="*/ 439607 w 450988"/>
              <a:gd name="connsiteY217" fmla="*/ 267233 h 450988"/>
              <a:gd name="connsiteX218" fmla="*/ 439607 w 450988"/>
              <a:gd name="connsiteY218" fmla="*/ 267233 h 450988"/>
              <a:gd name="connsiteX219" fmla="*/ 422299 w 450988"/>
              <a:gd name="connsiteY219" fmla="*/ 284541 h 450988"/>
              <a:gd name="connsiteX220" fmla="*/ 396458 w 450988"/>
              <a:gd name="connsiteY220" fmla="*/ 284541 h 450988"/>
              <a:gd name="connsiteX221" fmla="*/ 379272 w 450988"/>
              <a:gd name="connsiteY221" fmla="*/ 267233 h 450988"/>
              <a:gd name="connsiteX222" fmla="*/ 379115 w 450988"/>
              <a:gd name="connsiteY222" fmla="*/ 241550 h 450988"/>
              <a:gd name="connsiteX223" fmla="*/ 379272 w 450988"/>
              <a:gd name="connsiteY223" fmla="*/ 241393 h 450988"/>
              <a:gd name="connsiteX224" fmla="*/ 396458 w 450988"/>
              <a:gd name="connsiteY224" fmla="*/ 224206 h 450988"/>
              <a:gd name="connsiteX225" fmla="*/ 422299 w 450988"/>
              <a:gd name="connsiteY225" fmla="*/ 224206 h 450988"/>
              <a:gd name="connsiteX226" fmla="*/ 439607 w 450988"/>
              <a:gd name="connsiteY226" fmla="*/ 241393 h 450988"/>
              <a:gd name="connsiteX227" fmla="*/ 439607 w 450988"/>
              <a:gd name="connsiteY227" fmla="*/ 267233 h 45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450988" h="450988">
                <a:moveTo>
                  <a:pt x="448383" y="232739"/>
                </a:moveTo>
                <a:lnTo>
                  <a:pt x="431197" y="215552"/>
                </a:lnTo>
                <a:cubicBezTo>
                  <a:pt x="419156" y="203942"/>
                  <a:pt x="400088" y="203942"/>
                  <a:pt x="388048" y="215552"/>
                </a:cubicBezTo>
                <a:lnTo>
                  <a:pt x="370862" y="232739"/>
                </a:lnTo>
                <a:cubicBezTo>
                  <a:pt x="359059" y="244700"/>
                  <a:pt x="359059" y="263926"/>
                  <a:pt x="370862" y="275887"/>
                </a:cubicBezTo>
                <a:lnTo>
                  <a:pt x="375128" y="280153"/>
                </a:lnTo>
                <a:lnTo>
                  <a:pt x="357942" y="297461"/>
                </a:lnTo>
                <a:lnTo>
                  <a:pt x="353432" y="292586"/>
                </a:lnTo>
                <a:cubicBezTo>
                  <a:pt x="341471" y="280783"/>
                  <a:pt x="322244" y="280783"/>
                  <a:pt x="310283" y="292586"/>
                </a:cubicBezTo>
                <a:lnTo>
                  <a:pt x="293097" y="309894"/>
                </a:lnTo>
                <a:cubicBezTo>
                  <a:pt x="281215" y="321717"/>
                  <a:pt x="281169" y="340934"/>
                  <a:pt x="292992" y="352816"/>
                </a:cubicBezTo>
                <a:cubicBezTo>
                  <a:pt x="293026" y="352851"/>
                  <a:pt x="293061" y="352885"/>
                  <a:pt x="293097" y="352921"/>
                </a:cubicBezTo>
                <a:lnTo>
                  <a:pt x="297363" y="357309"/>
                </a:lnTo>
                <a:lnTo>
                  <a:pt x="280298" y="374983"/>
                </a:lnTo>
                <a:lnTo>
                  <a:pt x="275910" y="370717"/>
                </a:lnTo>
                <a:cubicBezTo>
                  <a:pt x="263912" y="359123"/>
                  <a:pt x="244882" y="359123"/>
                  <a:pt x="232884" y="370717"/>
                </a:cubicBezTo>
                <a:lnTo>
                  <a:pt x="228496" y="374983"/>
                </a:lnTo>
                <a:lnTo>
                  <a:pt x="185469" y="331834"/>
                </a:lnTo>
                <a:lnTo>
                  <a:pt x="189735" y="327568"/>
                </a:lnTo>
                <a:cubicBezTo>
                  <a:pt x="201617" y="315745"/>
                  <a:pt x="201663" y="296528"/>
                  <a:pt x="189840" y="284646"/>
                </a:cubicBezTo>
                <a:cubicBezTo>
                  <a:pt x="189806" y="284611"/>
                  <a:pt x="189770" y="284577"/>
                  <a:pt x="189735" y="284541"/>
                </a:cubicBezTo>
                <a:lnTo>
                  <a:pt x="185591" y="280397"/>
                </a:lnTo>
                <a:lnTo>
                  <a:pt x="202777" y="263211"/>
                </a:lnTo>
                <a:lnTo>
                  <a:pt x="207043" y="267477"/>
                </a:lnTo>
                <a:cubicBezTo>
                  <a:pt x="218977" y="279346"/>
                  <a:pt x="238258" y="279346"/>
                  <a:pt x="250192" y="267477"/>
                </a:cubicBezTo>
                <a:lnTo>
                  <a:pt x="267378" y="250291"/>
                </a:lnTo>
                <a:cubicBezTo>
                  <a:pt x="279293" y="238501"/>
                  <a:pt x="279395" y="219284"/>
                  <a:pt x="267606" y="207370"/>
                </a:cubicBezTo>
                <a:cubicBezTo>
                  <a:pt x="267531" y="207293"/>
                  <a:pt x="267455" y="207218"/>
                  <a:pt x="267378" y="207142"/>
                </a:cubicBezTo>
                <a:lnTo>
                  <a:pt x="263112" y="202876"/>
                </a:lnTo>
                <a:lnTo>
                  <a:pt x="280298" y="185324"/>
                </a:lnTo>
                <a:lnTo>
                  <a:pt x="284686" y="189712"/>
                </a:lnTo>
                <a:cubicBezTo>
                  <a:pt x="290435" y="195389"/>
                  <a:pt x="298182" y="198584"/>
                  <a:pt x="306261" y="198610"/>
                </a:cubicBezTo>
                <a:cubicBezTo>
                  <a:pt x="314308" y="198605"/>
                  <a:pt x="322025" y="195405"/>
                  <a:pt x="327713" y="189712"/>
                </a:cubicBezTo>
                <a:lnTo>
                  <a:pt x="345021" y="172404"/>
                </a:lnTo>
                <a:cubicBezTo>
                  <a:pt x="356876" y="160511"/>
                  <a:pt x="356876" y="141270"/>
                  <a:pt x="345021" y="129377"/>
                </a:cubicBezTo>
                <a:lnTo>
                  <a:pt x="327713" y="112069"/>
                </a:lnTo>
                <a:cubicBezTo>
                  <a:pt x="315820" y="100214"/>
                  <a:pt x="296579" y="100214"/>
                  <a:pt x="284686" y="112069"/>
                </a:cubicBezTo>
                <a:lnTo>
                  <a:pt x="283102" y="113653"/>
                </a:lnTo>
                <a:lnTo>
                  <a:pt x="237515" y="73186"/>
                </a:lnTo>
                <a:lnTo>
                  <a:pt x="241538" y="69164"/>
                </a:lnTo>
                <a:cubicBezTo>
                  <a:pt x="253452" y="57374"/>
                  <a:pt x="253555" y="38158"/>
                  <a:pt x="241766" y="26243"/>
                </a:cubicBezTo>
                <a:cubicBezTo>
                  <a:pt x="241690" y="26167"/>
                  <a:pt x="241615" y="26091"/>
                  <a:pt x="241538" y="26015"/>
                </a:cubicBezTo>
                <a:lnTo>
                  <a:pt x="224351" y="8707"/>
                </a:lnTo>
                <a:cubicBezTo>
                  <a:pt x="212311" y="-2902"/>
                  <a:pt x="193243" y="-2902"/>
                  <a:pt x="181203" y="8707"/>
                </a:cubicBezTo>
                <a:lnTo>
                  <a:pt x="164017" y="25893"/>
                </a:lnTo>
                <a:cubicBezTo>
                  <a:pt x="152147" y="37828"/>
                  <a:pt x="152147" y="57108"/>
                  <a:pt x="164017" y="69042"/>
                </a:cubicBezTo>
                <a:lnTo>
                  <a:pt x="168283" y="73308"/>
                </a:lnTo>
                <a:lnTo>
                  <a:pt x="151096" y="90616"/>
                </a:lnTo>
                <a:lnTo>
                  <a:pt x="146221" y="86228"/>
                </a:lnTo>
                <a:cubicBezTo>
                  <a:pt x="134328" y="74373"/>
                  <a:pt x="115086" y="74373"/>
                  <a:pt x="103194" y="86228"/>
                </a:cubicBezTo>
                <a:lnTo>
                  <a:pt x="86495" y="103537"/>
                </a:lnTo>
                <a:cubicBezTo>
                  <a:pt x="74735" y="115373"/>
                  <a:pt x="74735" y="134483"/>
                  <a:pt x="86495" y="146319"/>
                </a:cubicBezTo>
                <a:lnTo>
                  <a:pt x="90761" y="150707"/>
                </a:lnTo>
                <a:lnTo>
                  <a:pt x="73088" y="168138"/>
                </a:lnTo>
                <a:lnTo>
                  <a:pt x="68822" y="163871"/>
                </a:lnTo>
                <a:cubicBezTo>
                  <a:pt x="56998" y="151990"/>
                  <a:pt x="37781" y="151943"/>
                  <a:pt x="25900" y="163767"/>
                </a:cubicBezTo>
                <a:cubicBezTo>
                  <a:pt x="25865" y="163801"/>
                  <a:pt x="25830" y="163836"/>
                  <a:pt x="25795" y="163871"/>
                </a:cubicBezTo>
                <a:lnTo>
                  <a:pt x="8852" y="181058"/>
                </a:lnTo>
                <a:cubicBezTo>
                  <a:pt x="-2951" y="193019"/>
                  <a:pt x="-2951" y="212245"/>
                  <a:pt x="8852" y="224206"/>
                </a:cubicBezTo>
                <a:lnTo>
                  <a:pt x="26160" y="241393"/>
                </a:lnTo>
                <a:cubicBezTo>
                  <a:pt x="31818" y="247131"/>
                  <a:pt x="39554" y="250341"/>
                  <a:pt x="47613" y="250291"/>
                </a:cubicBezTo>
                <a:cubicBezTo>
                  <a:pt x="55703" y="250319"/>
                  <a:pt x="63469" y="247115"/>
                  <a:pt x="69187" y="241393"/>
                </a:cubicBezTo>
                <a:lnTo>
                  <a:pt x="86495" y="224206"/>
                </a:lnTo>
                <a:cubicBezTo>
                  <a:pt x="98365" y="212272"/>
                  <a:pt x="98365" y="192992"/>
                  <a:pt x="86495" y="181058"/>
                </a:cubicBezTo>
                <a:lnTo>
                  <a:pt x="82107" y="176792"/>
                </a:lnTo>
                <a:lnTo>
                  <a:pt x="99416" y="159483"/>
                </a:lnTo>
                <a:lnTo>
                  <a:pt x="103682" y="163871"/>
                </a:lnTo>
                <a:cubicBezTo>
                  <a:pt x="109430" y="169549"/>
                  <a:pt x="117177" y="172744"/>
                  <a:pt x="125256" y="172769"/>
                </a:cubicBezTo>
                <a:cubicBezTo>
                  <a:pt x="133135" y="172638"/>
                  <a:pt x="140653" y="169447"/>
                  <a:pt x="146221" y="163871"/>
                </a:cubicBezTo>
                <a:lnTo>
                  <a:pt x="164017" y="146319"/>
                </a:lnTo>
                <a:cubicBezTo>
                  <a:pt x="175871" y="134427"/>
                  <a:pt x="175871" y="115185"/>
                  <a:pt x="164017" y="103293"/>
                </a:cubicBezTo>
                <a:lnTo>
                  <a:pt x="159750" y="98905"/>
                </a:lnTo>
                <a:lnTo>
                  <a:pt x="176937" y="81718"/>
                </a:lnTo>
                <a:lnTo>
                  <a:pt x="181203" y="85985"/>
                </a:lnTo>
                <a:cubicBezTo>
                  <a:pt x="193137" y="97854"/>
                  <a:pt x="212417" y="97854"/>
                  <a:pt x="224351" y="85985"/>
                </a:cubicBezTo>
                <a:lnTo>
                  <a:pt x="228861" y="81475"/>
                </a:lnTo>
                <a:lnTo>
                  <a:pt x="274570" y="121942"/>
                </a:lnTo>
                <a:lnTo>
                  <a:pt x="267378" y="129011"/>
                </a:lnTo>
                <a:cubicBezTo>
                  <a:pt x="255523" y="140904"/>
                  <a:pt x="255523" y="160145"/>
                  <a:pt x="267378" y="172038"/>
                </a:cubicBezTo>
                <a:lnTo>
                  <a:pt x="271766" y="176426"/>
                </a:lnTo>
                <a:lnTo>
                  <a:pt x="254458" y="193612"/>
                </a:lnTo>
                <a:lnTo>
                  <a:pt x="250192" y="189346"/>
                </a:lnTo>
                <a:cubicBezTo>
                  <a:pt x="238152" y="177736"/>
                  <a:pt x="219083" y="177736"/>
                  <a:pt x="207043" y="189346"/>
                </a:cubicBezTo>
                <a:lnTo>
                  <a:pt x="189857" y="207264"/>
                </a:lnTo>
                <a:cubicBezTo>
                  <a:pt x="178055" y="219225"/>
                  <a:pt x="178055" y="238451"/>
                  <a:pt x="189857" y="250412"/>
                </a:cubicBezTo>
                <a:lnTo>
                  <a:pt x="194123" y="254679"/>
                </a:lnTo>
                <a:lnTo>
                  <a:pt x="176937" y="271987"/>
                </a:lnTo>
                <a:lnTo>
                  <a:pt x="172671" y="267599"/>
                </a:lnTo>
                <a:cubicBezTo>
                  <a:pt x="160710" y="255796"/>
                  <a:pt x="141483" y="255796"/>
                  <a:pt x="129522" y="267599"/>
                </a:cubicBezTo>
                <a:lnTo>
                  <a:pt x="112336" y="284541"/>
                </a:lnTo>
                <a:cubicBezTo>
                  <a:pt x="100454" y="296173"/>
                  <a:pt x="100252" y="315234"/>
                  <a:pt x="111884" y="327116"/>
                </a:cubicBezTo>
                <a:cubicBezTo>
                  <a:pt x="112033" y="327268"/>
                  <a:pt x="112184" y="327419"/>
                  <a:pt x="112336" y="327568"/>
                </a:cubicBezTo>
                <a:lnTo>
                  <a:pt x="129522" y="344876"/>
                </a:lnTo>
                <a:cubicBezTo>
                  <a:pt x="141456" y="356746"/>
                  <a:pt x="160737" y="356746"/>
                  <a:pt x="172671" y="344876"/>
                </a:cubicBezTo>
                <a:lnTo>
                  <a:pt x="176937" y="340488"/>
                </a:lnTo>
                <a:lnTo>
                  <a:pt x="220085" y="383637"/>
                </a:lnTo>
                <a:lnTo>
                  <a:pt x="215697" y="387903"/>
                </a:lnTo>
                <a:cubicBezTo>
                  <a:pt x="203895" y="399864"/>
                  <a:pt x="203895" y="419091"/>
                  <a:pt x="215697" y="431051"/>
                </a:cubicBezTo>
                <a:lnTo>
                  <a:pt x="233006" y="448238"/>
                </a:lnTo>
                <a:cubicBezTo>
                  <a:pt x="238662" y="453976"/>
                  <a:pt x="246400" y="457186"/>
                  <a:pt x="254458" y="457136"/>
                </a:cubicBezTo>
                <a:cubicBezTo>
                  <a:pt x="262548" y="457164"/>
                  <a:pt x="270315" y="453960"/>
                  <a:pt x="276032" y="448238"/>
                </a:cubicBezTo>
                <a:lnTo>
                  <a:pt x="293341" y="431051"/>
                </a:lnTo>
                <a:cubicBezTo>
                  <a:pt x="305210" y="419117"/>
                  <a:pt x="305210" y="399837"/>
                  <a:pt x="293341" y="387903"/>
                </a:cubicBezTo>
                <a:lnTo>
                  <a:pt x="288953" y="383637"/>
                </a:lnTo>
                <a:lnTo>
                  <a:pt x="306261" y="366329"/>
                </a:lnTo>
                <a:lnTo>
                  <a:pt x="310527" y="370717"/>
                </a:lnTo>
                <a:cubicBezTo>
                  <a:pt x="322461" y="382586"/>
                  <a:pt x="341741" y="382586"/>
                  <a:pt x="353675" y="370717"/>
                </a:cubicBezTo>
                <a:lnTo>
                  <a:pt x="370862" y="353530"/>
                </a:lnTo>
                <a:lnTo>
                  <a:pt x="370862" y="353530"/>
                </a:lnTo>
                <a:cubicBezTo>
                  <a:pt x="382717" y="341638"/>
                  <a:pt x="382717" y="322396"/>
                  <a:pt x="370862" y="310504"/>
                </a:cubicBezTo>
                <a:lnTo>
                  <a:pt x="366596" y="306116"/>
                </a:lnTo>
                <a:lnTo>
                  <a:pt x="383782" y="288929"/>
                </a:lnTo>
                <a:lnTo>
                  <a:pt x="388048" y="293195"/>
                </a:lnTo>
                <a:cubicBezTo>
                  <a:pt x="399982" y="305065"/>
                  <a:pt x="419263" y="305065"/>
                  <a:pt x="431197" y="293195"/>
                </a:cubicBezTo>
                <a:lnTo>
                  <a:pt x="448383" y="276009"/>
                </a:lnTo>
                <a:cubicBezTo>
                  <a:pt x="460298" y="264220"/>
                  <a:pt x="460400" y="245003"/>
                  <a:pt x="448611" y="233088"/>
                </a:cubicBezTo>
                <a:cubicBezTo>
                  <a:pt x="448535" y="233012"/>
                  <a:pt x="448460" y="232936"/>
                  <a:pt x="448383" y="232860"/>
                </a:cubicBezTo>
                <a:close/>
                <a:moveTo>
                  <a:pt x="77841" y="215552"/>
                </a:moveTo>
                <a:lnTo>
                  <a:pt x="60899" y="232739"/>
                </a:lnTo>
                <a:cubicBezTo>
                  <a:pt x="53850" y="239874"/>
                  <a:pt x="42351" y="239945"/>
                  <a:pt x="35215" y="232896"/>
                </a:cubicBezTo>
                <a:cubicBezTo>
                  <a:pt x="35163" y="232843"/>
                  <a:pt x="35110" y="232791"/>
                  <a:pt x="35058" y="232739"/>
                </a:cubicBezTo>
                <a:lnTo>
                  <a:pt x="17506" y="215552"/>
                </a:lnTo>
                <a:cubicBezTo>
                  <a:pt x="10371" y="208503"/>
                  <a:pt x="10301" y="197004"/>
                  <a:pt x="17350" y="189869"/>
                </a:cubicBezTo>
                <a:cubicBezTo>
                  <a:pt x="17402" y="189815"/>
                  <a:pt x="17454" y="189764"/>
                  <a:pt x="17506" y="189712"/>
                </a:cubicBezTo>
                <a:lnTo>
                  <a:pt x="34693" y="172404"/>
                </a:lnTo>
                <a:cubicBezTo>
                  <a:pt x="38140" y="169007"/>
                  <a:pt x="42773" y="167084"/>
                  <a:pt x="47613" y="167041"/>
                </a:cubicBezTo>
                <a:cubicBezTo>
                  <a:pt x="52589" y="166932"/>
                  <a:pt x="57392" y="168871"/>
                  <a:pt x="60899" y="172404"/>
                </a:cubicBezTo>
                <a:lnTo>
                  <a:pt x="78207" y="189712"/>
                </a:lnTo>
                <a:cubicBezTo>
                  <a:pt x="85336" y="196850"/>
                  <a:pt x="85336" y="208414"/>
                  <a:pt x="78207" y="215552"/>
                </a:cubicBezTo>
                <a:close/>
                <a:moveTo>
                  <a:pt x="155363" y="137909"/>
                </a:moveTo>
                <a:lnTo>
                  <a:pt x="138176" y="155217"/>
                </a:lnTo>
                <a:cubicBezTo>
                  <a:pt x="131010" y="162281"/>
                  <a:pt x="119501" y="162281"/>
                  <a:pt x="112336" y="155217"/>
                </a:cubicBezTo>
                <a:lnTo>
                  <a:pt x="95028" y="137909"/>
                </a:lnTo>
                <a:cubicBezTo>
                  <a:pt x="87965" y="130743"/>
                  <a:pt x="87965" y="119234"/>
                  <a:pt x="95028" y="112069"/>
                </a:cubicBezTo>
                <a:lnTo>
                  <a:pt x="112336" y="94882"/>
                </a:lnTo>
                <a:cubicBezTo>
                  <a:pt x="115754" y="91441"/>
                  <a:pt x="120406" y="89510"/>
                  <a:pt x="125256" y="89519"/>
                </a:cubicBezTo>
                <a:cubicBezTo>
                  <a:pt x="130101" y="89537"/>
                  <a:pt x="134743" y="91464"/>
                  <a:pt x="138176" y="94882"/>
                </a:cubicBezTo>
                <a:lnTo>
                  <a:pt x="146708" y="103537"/>
                </a:lnTo>
                <a:lnTo>
                  <a:pt x="146708" y="103537"/>
                </a:lnTo>
                <a:lnTo>
                  <a:pt x="155363" y="112069"/>
                </a:lnTo>
                <a:cubicBezTo>
                  <a:pt x="162498" y="119118"/>
                  <a:pt x="162569" y="130617"/>
                  <a:pt x="155520" y="137752"/>
                </a:cubicBezTo>
                <a:cubicBezTo>
                  <a:pt x="155467" y="137806"/>
                  <a:pt x="155415" y="137857"/>
                  <a:pt x="155363" y="137909"/>
                </a:cubicBezTo>
                <a:close/>
                <a:moveTo>
                  <a:pt x="189857" y="77696"/>
                </a:moveTo>
                <a:lnTo>
                  <a:pt x="172671" y="60997"/>
                </a:lnTo>
                <a:cubicBezTo>
                  <a:pt x="165541" y="53859"/>
                  <a:pt x="165541" y="42295"/>
                  <a:pt x="172671" y="35157"/>
                </a:cubicBezTo>
                <a:lnTo>
                  <a:pt x="189857" y="17971"/>
                </a:lnTo>
                <a:cubicBezTo>
                  <a:pt x="196995" y="10841"/>
                  <a:pt x="208560" y="10841"/>
                  <a:pt x="215697" y="17971"/>
                </a:cubicBezTo>
                <a:lnTo>
                  <a:pt x="233006" y="35157"/>
                </a:lnTo>
                <a:cubicBezTo>
                  <a:pt x="240135" y="42295"/>
                  <a:pt x="240135" y="53859"/>
                  <a:pt x="233006" y="60997"/>
                </a:cubicBezTo>
                <a:lnTo>
                  <a:pt x="233006" y="60997"/>
                </a:lnTo>
                <a:lnTo>
                  <a:pt x="215697" y="77696"/>
                </a:lnTo>
                <a:cubicBezTo>
                  <a:pt x="208532" y="84759"/>
                  <a:pt x="197023" y="84759"/>
                  <a:pt x="189857" y="77696"/>
                </a:cubicBezTo>
                <a:close/>
                <a:moveTo>
                  <a:pt x="276032" y="137909"/>
                </a:moveTo>
                <a:lnTo>
                  <a:pt x="293341" y="120723"/>
                </a:lnTo>
                <a:cubicBezTo>
                  <a:pt x="296758" y="117282"/>
                  <a:pt x="301411" y="115350"/>
                  <a:pt x="306261" y="115360"/>
                </a:cubicBezTo>
                <a:cubicBezTo>
                  <a:pt x="311100" y="115403"/>
                  <a:pt x="315733" y="117326"/>
                  <a:pt x="319181" y="120723"/>
                </a:cubicBezTo>
                <a:lnTo>
                  <a:pt x="336367" y="137909"/>
                </a:lnTo>
                <a:cubicBezTo>
                  <a:pt x="343537" y="145020"/>
                  <a:pt x="343584" y="156596"/>
                  <a:pt x="336473" y="163765"/>
                </a:cubicBezTo>
                <a:cubicBezTo>
                  <a:pt x="336438" y="163801"/>
                  <a:pt x="336403" y="163836"/>
                  <a:pt x="336367" y="163871"/>
                </a:cubicBezTo>
                <a:lnTo>
                  <a:pt x="319181" y="181058"/>
                </a:lnTo>
                <a:cubicBezTo>
                  <a:pt x="312043" y="188187"/>
                  <a:pt x="300478" y="188187"/>
                  <a:pt x="293341" y="181058"/>
                </a:cubicBezTo>
                <a:lnTo>
                  <a:pt x="276032" y="163871"/>
                </a:lnTo>
                <a:cubicBezTo>
                  <a:pt x="268955" y="156664"/>
                  <a:pt x="268955" y="145116"/>
                  <a:pt x="276032" y="137909"/>
                </a:cubicBezTo>
                <a:close/>
                <a:moveTo>
                  <a:pt x="198511" y="215552"/>
                </a:moveTo>
                <a:lnTo>
                  <a:pt x="215697" y="198244"/>
                </a:lnTo>
                <a:cubicBezTo>
                  <a:pt x="222890" y="191246"/>
                  <a:pt x="234345" y="191246"/>
                  <a:pt x="241538" y="198244"/>
                </a:cubicBezTo>
                <a:lnTo>
                  <a:pt x="249704" y="206533"/>
                </a:lnTo>
                <a:lnTo>
                  <a:pt x="249704" y="206533"/>
                </a:lnTo>
                <a:lnTo>
                  <a:pt x="250314" y="206533"/>
                </a:lnTo>
                <a:lnTo>
                  <a:pt x="258480" y="214699"/>
                </a:lnTo>
                <a:cubicBezTo>
                  <a:pt x="265610" y="221837"/>
                  <a:pt x="265610" y="233402"/>
                  <a:pt x="258480" y="240539"/>
                </a:cubicBezTo>
                <a:lnTo>
                  <a:pt x="258480" y="240539"/>
                </a:lnTo>
                <a:lnTo>
                  <a:pt x="241172" y="257726"/>
                </a:lnTo>
                <a:cubicBezTo>
                  <a:pt x="234123" y="264861"/>
                  <a:pt x="222624" y="264932"/>
                  <a:pt x="215489" y="257883"/>
                </a:cubicBezTo>
                <a:cubicBezTo>
                  <a:pt x="215435" y="257831"/>
                  <a:pt x="215384" y="257778"/>
                  <a:pt x="215332" y="257726"/>
                </a:cubicBezTo>
                <a:lnTo>
                  <a:pt x="198511" y="241393"/>
                </a:lnTo>
                <a:cubicBezTo>
                  <a:pt x="191376" y="234344"/>
                  <a:pt x="191305" y="222845"/>
                  <a:pt x="198354" y="215709"/>
                </a:cubicBezTo>
                <a:cubicBezTo>
                  <a:pt x="198406" y="215656"/>
                  <a:pt x="198459" y="215605"/>
                  <a:pt x="198511" y="215552"/>
                </a:cubicBezTo>
                <a:close/>
                <a:moveTo>
                  <a:pt x="138176" y="336222"/>
                </a:moveTo>
                <a:lnTo>
                  <a:pt x="120868" y="318914"/>
                </a:lnTo>
                <a:cubicBezTo>
                  <a:pt x="117438" y="315489"/>
                  <a:pt x="115509" y="310841"/>
                  <a:pt x="115505" y="305994"/>
                </a:cubicBezTo>
                <a:cubicBezTo>
                  <a:pt x="115406" y="300983"/>
                  <a:pt x="117340" y="296146"/>
                  <a:pt x="120868" y="292586"/>
                </a:cubicBezTo>
                <a:lnTo>
                  <a:pt x="138176" y="275400"/>
                </a:lnTo>
                <a:cubicBezTo>
                  <a:pt x="141594" y="271959"/>
                  <a:pt x="146246" y="270027"/>
                  <a:pt x="151096" y="270037"/>
                </a:cubicBezTo>
                <a:cubicBezTo>
                  <a:pt x="155941" y="270054"/>
                  <a:pt x="160583" y="271981"/>
                  <a:pt x="164017" y="275400"/>
                </a:cubicBezTo>
                <a:lnTo>
                  <a:pt x="172183" y="283566"/>
                </a:lnTo>
                <a:lnTo>
                  <a:pt x="172183" y="283566"/>
                </a:lnTo>
                <a:cubicBezTo>
                  <a:pt x="172183" y="283566"/>
                  <a:pt x="172183" y="283566"/>
                  <a:pt x="172183" y="283566"/>
                </a:cubicBezTo>
                <a:lnTo>
                  <a:pt x="180350" y="291733"/>
                </a:lnTo>
                <a:cubicBezTo>
                  <a:pt x="187485" y="298782"/>
                  <a:pt x="187556" y="310281"/>
                  <a:pt x="180507" y="317416"/>
                </a:cubicBezTo>
                <a:cubicBezTo>
                  <a:pt x="180455" y="317469"/>
                  <a:pt x="180402" y="317521"/>
                  <a:pt x="180350" y="317573"/>
                </a:cubicBezTo>
                <a:lnTo>
                  <a:pt x="163163" y="334881"/>
                </a:lnTo>
                <a:cubicBezTo>
                  <a:pt x="156367" y="341571"/>
                  <a:pt x="145650" y="342146"/>
                  <a:pt x="138176" y="336222"/>
                </a:cubicBezTo>
                <a:close/>
                <a:moveTo>
                  <a:pt x="284443" y="422397"/>
                </a:moveTo>
                <a:lnTo>
                  <a:pt x="284443" y="422397"/>
                </a:lnTo>
                <a:lnTo>
                  <a:pt x="267134" y="439584"/>
                </a:lnTo>
                <a:cubicBezTo>
                  <a:pt x="260086" y="446719"/>
                  <a:pt x="248587" y="446790"/>
                  <a:pt x="241451" y="439741"/>
                </a:cubicBezTo>
                <a:cubicBezTo>
                  <a:pt x="241398" y="439688"/>
                  <a:pt x="241346" y="439636"/>
                  <a:pt x="241294" y="439584"/>
                </a:cubicBezTo>
                <a:lnTo>
                  <a:pt x="224108" y="422397"/>
                </a:lnTo>
                <a:cubicBezTo>
                  <a:pt x="216972" y="415349"/>
                  <a:pt x="216902" y="403850"/>
                  <a:pt x="223950" y="396714"/>
                </a:cubicBezTo>
                <a:cubicBezTo>
                  <a:pt x="224003" y="396661"/>
                  <a:pt x="224055" y="396609"/>
                  <a:pt x="224108" y="396557"/>
                </a:cubicBezTo>
                <a:lnTo>
                  <a:pt x="241294" y="379249"/>
                </a:lnTo>
                <a:cubicBezTo>
                  <a:pt x="244735" y="375842"/>
                  <a:pt x="249372" y="373916"/>
                  <a:pt x="254214" y="373886"/>
                </a:cubicBezTo>
                <a:cubicBezTo>
                  <a:pt x="259062" y="373891"/>
                  <a:pt x="263709" y="375819"/>
                  <a:pt x="267134" y="379249"/>
                </a:cubicBezTo>
                <a:lnTo>
                  <a:pt x="284443" y="396557"/>
                </a:lnTo>
                <a:cubicBezTo>
                  <a:pt x="291572" y="403695"/>
                  <a:pt x="291572" y="415260"/>
                  <a:pt x="284443" y="422397"/>
                </a:cubicBezTo>
                <a:close/>
                <a:moveTo>
                  <a:pt x="361964" y="344876"/>
                </a:moveTo>
                <a:lnTo>
                  <a:pt x="345021" y="362062"/>
                </a:lnTo>
                <a:cubicBezTo>
                  <a:pt x="337855" y="369126"/>
                  <a:pt x="326347" y="369126"/>
                  <a:pt x="319181" y="362062"/>
                </a:cubicBezTo>
                <a:lnTo>
                  <a:pt x="301873" y="344876"/>
                </a:lnTo>
                <a:cubicBezTo>
                  <a:pt x="294796" y="337669"/>
                  <a:pt x="294796" y="326121"/>
                  <a:pt x="301873" y="318914"/>
                </a:cubicBezTo>
                <a:lnTo>
                  <a:pt x="319181" y="301728"/>
                </a:lnTo>
                <a:cubicBezTo>
                  <a:pt x="322599" y="298287"/>
                  <a:pt x="327251" y="296355"/>
                  <a:pt x="332101" y="296364"/>
                </a:cubicBezTo>
                <a:cubicBezTo>
                  <a:pt x="336946" y="296382"/>
                  <a:pt x="341588" y="298309"/>
                  <a:pt x="345021" y="301728"/>
                </a:cubicBezTo>
                <a:lnTo>
                  <a:pt x="362208" y="318914"/>
                </a:lnTo>
                <a:cubicBezTo>
                  <a:pt x="369377" y="326025"/>
                  <a:pt x="369425" y="337601"/>
                  <a:pt x="362314" y="344770"/>
                </a:cubicBezTo>
                <a:cubicBezTo>
                  <a:pt x="362278" y="344805"/>
                  <a:pt x="362243" y="344841"/>
                  <a:pt x="362208" y="344876"/>
                </a:cubicBezTo>
                <a:close/>
                <a:moveTo>
                  <a:pt x="439607" y="267233"/>
                </a:moveTo>
                <a:lnTo>
                  <a:pt x="439607" y="267233"/>
                </a:lnTo>
                <a:lnTo>
                  <a:pt x="422299" y="284541"/>
                </a:lnTo>
                <a:cubicBezTo>
                  <a:pt x="415133" y="291605"/>
                  <a:pt x="403624" y="291605"/>
                  <a:pt x="396458" y="284541"/>
                </a:cubicBezTo>
                <a:lnTo>
                  <a:pt x="379272" y="267233"/>
                </a:lnTo>
                <a:cubicBezTo>
                  <a:pt x="372137" y="260184"/>
                  <a:pt x="372066" y="248685"/>
                  <a:pt x="379115" y="241550"/>
                </a:cubicBezTo>
                <a:cubicBezTo>
                  <a:pt x="379167" y="241496"/>
                  <a:pt x="379220" y="241445"/>
                  <a:pt x="379272" y="241393"/>
                </a:cubicBezTo>
                <a:lnTo>
                  <a:pt x="396458" y="224206"/>
                </a:lnTo>
                <a:cubicBezTo>
                  <a:pt x="403596" y="217077"/>
                  <a:pt x="415161" y="217077"/>
                  <a:pt x="422299" y="224206"/>
                </a:cubicBezTo>
                <a:lnTo>
                  <a:pt x="439607" y="241393"/>
                </a:lnTo>
                <a:cubicBezTo>
                  <a:pt x="446736" y="248530"/>
                  <a:pt x="446736" y="260095"/>
                  <a:pt x="439607" y="267233"/>
                </a:cubicBezTo>
                <a:close/>
              </a:path>
            </a:pathLst>
          </a:custGeom>
          <a:solidFill>
            <a:srgbClr val="231F20"/>
          </a:solidFill>
          <a:ln w="12032" cap="flat">
            <a:noFill/>
            <a:prstDash val="solid"/>
            <a:miter/>
          </a:ln>
        </p:spPr>
        <p:txBody>
          <a:bodyPr rtlCol="0" anchor="ctr"/>
          <a:lstStyle/>
          <a:p>
            <a:endParaRPr lang="en-US"/>
          </a:p>
        </p:txBody>
      </p:sp>
      <p:grpSp>
        <p:nvGrpSpPr>
          <p:cNvPr id="4979" name="Graphic 22">
            <a:extLst>
              <a:ext uri="{FF2B5EF4-FFF2-40B4-BE49-F238E27FC236}">
                <a16:creationId xmlns:a16="http://schemas.microsoft.com/office/drawing/2014/main" id="{EFFC7119-E780-48C7-8739-E31FEC09479F}"/>
              </a:ext>
              <a:ext uri="{C183D7F6-B498-43B3-948B-1728B52AA6E4}">
                <adec:decorative xmlns:adec="http://schemas.microsoft.com/office/drawing/2017/decorative" val="1"/>
              </a:ext>
            </a:extLst>
          </p:cNvPr>
          <p:cNvGrpSpPr>
            <a:grpSpLocks noChangeAspect="1"/>
          </p:cNvGrpSpPr>
          <p:nvPr/>
        </p:nvGrpSpPr>
        <p:grpSpPr>
          <a:xfrm>
            <a:off x="1604361" y="3030406"/>
            <a:ext cx="138812" cy="138812"/>
            <a:chOff x="5864412" y="3152586"/>
            <a:chExt cx="463177" cy="463177"/>
          </a:xfrm>
        </p:grpSpPr>
        <p:sp>
          <p:nvSpPr>
            <p:cNvPr id="4980" name="Freeform: Shape 4979">
              <a:extLst>
                <a:ext uri="{FF2B5EF4-FFF2-40B4-BE49-F238E27FC236}">
                  <a16:creationId xmlns:a16="http://schemas.microsoft.com/office/drawing/2014/main" id="{FE0AEFD4-3FC8-49EE-9731-A221D14C9E6E}"/>
                </a:ext>
              </a:extLst>
            </p:cNvPr>
            <p:cNvSpPr/>
            <p:nvPr/>
          </p:nvSpPr>
          <p:spPr>
            <a:xfrm>
              <a:off x="5864412" y="3331880"/>
              <a:ext cx="104588" cy="104588"/>
            </a:xfrm>
            <a:custGeom>
              <a:avLst/>
              <a:gdLst>
                <a:gd name="connsiteX0" fmla="*/ 67235 w 104588"/>
                <a:gd name="connsiteY0" fmla="*/ 104588 h 104588"/>
                <a:gd name="connsiteX1" fmla="*/ 37353 w 104588"/>
                <a:gd name="connsiteY1" fmla="*/ 104588 h 104588"/>
                <a:gd name="connsiteX2" fmla="*/ 0 w 104588"/>
                <a:gd name="connsiteY2" fmla="*/ 67235 h 104588"/>
                <a:gd name="connsiteX3" fmla="*/ 0 w 104588"/>
                <a:gd name="connsiteY3" fmla="*/ 37353 h 104588"/>
                <a:gd name="connsiteX4" fmla="*/ 37353 w 104588"/>
                <a:gd name="connsiteY4" fmla="*/ 0 h 104588"/>
                <a:gd name="connsiteX5" fmla="*/ 67235 w 104588"/>
                <a:gd name="connsiteY5" fmla="*/ 0 h 104588"/>
                <a:gd name="connsiteX6" fmla="*/ 104588 w 104588"/>
                <a:gd name="connsiteY6" fmla="*/ 37353 h 104588"/>
                <a:gd name="connsiteX7" fmla="*/ 104588 w 104588"/>
                <a:gd name="connsiteY7" fmla="*/ 67235 h 104588"/>
                <a:gd name="connsiteX8" fmla="*/ 67235 w 104588"/>
                <a:gd name="connsiteY8" fmla="*/ 104588 h 104588"/>
                <a:gd name="connsiteX9" fmla="*/ 37353 w 104588"/>
                <a:gd name="connsiteY9" fmla="*/ 14941 h 104588"/>
                <a:gd name="connsiteX10" fmla="*/ 14941 w 104588"/>
                <a:gd name="connsiteY10" fmla="*/ 37353 h 104588"/>
                <a:gd name="connsiteX11" fmla="*/ 14941 w 104588"/>
                <a:gd name="connsiteY11" fmla="*/ 67235 h 104588"/>
                <a:gd name="connsiteX12" fmla="*/ 37353 w 104588"/>
                <a:gd name="connsiteY12" fmla="*/ 89647 h 104588"/>
                <a:gd name="connsiteX13" fmla="*/ 67235 w 104588"/>
                <a:gd name="connsiteY13" fmla="*/ 89647 h 104588"/>
                <a:gd name="connsiteX14" fmla="*/ 89647 w 104588"/>
                <a:gd name="connsiteY14" fmla="*/ 67235 h 104588"/>
                <a:gd name="connsiteX15" fmla="*/ 89647 w 104588"/>
                <a:gd name="connsiteY15" fmla="*/ 37353 h 104588"/>
                <a:gd name="connsiteX16" fmla="*/ 67235 w 104588"/>
                <a:gd name="connsiteY16" fmla="*/ 14941 h 10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588" h="104588">
                  <a:moveTo>
                    <a:pt x="67235" y="104588"/>
                  </a:moveTo>
                  <a:lnTo>
                    <a:pt x="37353" y="104588"/>
                  </a:lnTo>
                  <a:cubicBezTo>
                    <a:pt x="16724" y="104588"/>
                    <a:pt x="0" y="87865"/>
                    <a:pt x="0" y="67235"/>
                  </a:cubicBezTo>
                  <a:lnTo>
                    <a:pt x="0" y="37353"/>
                  </a:lnTo>
                  <a:cubicBezTo>
                    <a:pt x="0" y="16724"/>
                    <a:pt x="16724" y="0"/>
                    <a:pt x="37353" y="0"/>
                  </a:cubicBezTo>
                  <a:lnTo>
                    <a:pt x="67235" y="0"/>
                  </a:lnTo>
                  <a:cubicBezTo>
                    <a:pt x="87865" y="0"/>
                    <a:pt x="104588" y="16724"/>
                    <a:pt x="104588" y="37353"/>
                  </a:cubicBezTo>
                  <a:lnTo>
                    <a:pt x="104588" y="67235"/>
                  </a:lnTo>
                  <a:cubicBezTo>
                    <a:pt x="104588" y="87865"/>
                    <a:pt x="87865" y="104588"/>
                    <a:pt x="67235" y="104588"/>
                  </a:cubicBezTo>
                  <a:close/>
                  <a:moveTo>
                    <a:pt x="37353" y="14941"/>
                  </a:moveTo>
                  <a:cubicBezTo>
                    <a:pt x="24975" y="14941"/>
                    <a:pt x="14941" y="24976"/>
                    <a:pt x="14941" y="37353"/>
                  </a:cubicBezTo>
                  <a:lnTo>
                    <a:pt x="14941" y="67235"/>
                  </a:lnTo>
                  <a:cubicBezTo>
                    <a:pt x="14941" y="79613"/>
                    <a:pt x="24975" y="89647"/>
                    <a:pt x="37353" y="89647"/>
                  </a:cubicBezTo>
                  <a:lnTo>
                    <a:pt x="67235" y="89647"/>
                  </a:lnTo>
                  <a:cubicBezTo>
                    <a:pt x="79613" y="89647"/>
                    <a:pt x="89647" y="79613"/>
                    <a:pt x="89647" y="67235"/>
                  </a:cubicBezTo>
                  <a:lnTo>
                    <a:pt x="89647" y="37353"/>
                  </a:lnTo>
                  <a:cubicBezTo>
                    <a:pt x="89647" y="24976"/>
                    <a:pt x="79613" y="14941"/>
                    <a:pt x="67235" y="14941"/>
                  </a:cubicBezTo>
                  <a:close/>
                </a:path>
              </a:pathLst>
            </a:custGeom>
            <a:solidFill>
              <a:srgbClr val="231F20"/>
            </a:solidFill>
            <a:ln w="14748" cap="flat">
              <a:noFill/>
              <a:prstDash val="solid"/>
              <a:miter/>
            </a:ln>
          </p:spPr>
          <p:txBody>
            <a:bodyPr rtlCol="0" anchor="ctr"/>
            <a:lstStyle/>
            <a:p>
              <a:endParaRPr lang="en-US"/>
            </a:p>
          </p:txBody>
        </p:sp>
        <p:sp>
          <p:nvSpPr>
            <p:cNvPr id="4981" name="Freeform: Shape 4980">
              <a:extLst>
                <a:ext uri="{FF2B5EF4-FFF2-40B4-BE49-F238E27FC236}">
                  <a16:creationId xmlns:a16="http://schemas.microsoft.com/office/drawing/2014/main" id="{C7C32D6E-B512-4501-98DD-53C4E994F1C9}"/>
                </a:ext>
              </a:extLst>
            </p:cNvPr>
            <p:cNvSpPr/>
            <p:nvPr/>
          </p:nvSpPr>
          <p:spPr>
            <a:xfrm>
              <a:off x="6223001" y="3331880"/>
              <a:ext cx="104588" cy="104588"/>
            </a:xfrm>
            <a:custGeom>
              <a:avLst/>
              <a:gdLst>
                <a:gd name="connsiteX0" fmla="*/ 67235 w 104588"/>
                <a:gd name="connsiteY0" fmla="*/ 104588 h 104588"/>
                <a:gd name="connsiteX1" fmla="*/ 37353 w 104588"/>
                <a:gd name="connsiteY1" fmla="*/ 104588 h 104588"/>
                <a:gd name="connsiteX2" fmla="*/ 0 w 104588"/>
                <a:gd name="connsiteY2" fmla="*/ 67235 h 104588"/>
                <a:gd name="connsiteX3" fmla="*/ 0 w 104588"/>
                <a:gd name="connsiteY3" fmla="*/ 37353 h 104588"/>
                <a:gd name="connsiteX4" fmla="*/ 37353 w 104588"/>
                <a:gd name="connsiteY4" fmla="*/ 0 h 104588"/>
                <a:gd name="connsiteX5" fmla="*/ 67235 w 104588"/>
                <a:gd name="connsiteY5" fmla="*/ 0 h 104588"/>
                <a:gd name="connsiteX6" fmla="*/ 104588 w 104588"/>
                <a:gd name="connsiteY6" fmla="*/ 37353 h 104588"/>
                <a:gd name="connsiteX7" fmla="*/ 104588 w 104588"/>
                <a:gd name="connsiteY7" fmla="*/ 67235 h 104588"/>
                <a:gd name="connsiteX8" fmla="*/ 67235 w 104588"/>
                <a:gd name="connsiteY8" fmla="*/ 104588 h 104588"/>
                <a:gd name="connsiteX9" fmla="*/ 37353 w 104588"/>
                <a:gd name="connsiteY9" fmla="*/ 14941 h 104588"/>
                <a:gd name="connsiteX10" fmla="*/ 14941 w 104588"/>
                <a:gd name="connsiteY10" fmla="*/ 37353 h 104588"/>
                <a:gd name="connsiteX11" fmla="*/ 14941 w 104588"/>
                <a:gd name="connsiteY11" fmla="*/ 67235 h 104588"/>
                <a:gd name="connsiteX12" fmla="*/ 37353 w 104588"/>
                <a:gd name="connsiteY12" fmla="*/ 89647 h 104588"/>
                <a:gd name="connsiteX13" fmla="*/ 67235 w 104588"/>
                <a:gd name="connsiteY13" fmla="*/ 89647 h 104588"/>
                <a:gd name="connsiteX14" fmla="*/ 89647 w 104588"/>
                <a:gd name="connsiteY14" fmla="*/ 67235 h 104588"/>
                <a:gd name="connsiteX15" fmla="*/ 89647 w 104588"/>
                <a:gd name="connsiteY15" fmla="*/ 37353 h 104588"/>
                <a:gd name="connsiteX16" fmla="*/ 67235 w 104588"/>
                <a:gd name="connsiteY16" fmla="*/ 14941 h 10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588" h="104588">
                  <a:moveTo>
                    <a:pt x="67235" y="104588"/>
                  </a:moveTo>
                  <a:lnTo>
                    <a:pt x="37353" y="104588"/>
                  </a:lnTo>
                  <a:cubicBezTo>
                    <a:pt x="16724" y="104588"/>
                    <a:pt x="0" y="87865"/>
                    <a:pt x="0" y="67235"/>
                  </a:cubicBezTo>
                  <a:lnTo>
                    <a:pt x="0" y="37353"/>
                  </a:lnTo>
                  <a:cubicBezTo>
                    <a:pt x="0" y="16724"/>
                    <a:pt x="16724" y="0"/>
                    <a:pt x="37353" y="0"/>
                  </a:cubicBezTo>
                  <a:lnTo>
                    <a:pt x="67235" y="0"/>
                  </a:lnTo>
                  <a:cubicBezTo>
                    <a:pt x="87865" y="0"/>
                    <a:pt x="104588" y="16724"/>
                    <a:pt x="104588" y="37353"/>
                  </a:cubicBezTo>
                  <a:lnTo>
                    <a:pt x="104588" y="67235"/>
                  </a:lnTo>
                  <a:cubicBezTo>
                    <a:pt x="104588" y="87865"/>
                    <a:pt x="87865" y="104588"/>
                    <a:pt x="67235" y="104588"/>
                  </a:cubicBezTo>
                  <a:close/>
                  <a:moveTo>
                    <a:pt x="37353" y="14941"/>
                  </a:moveTo>
                  <a:cubicBezTo>
                    <a:pt x="24976" y="14941"/>
                    <a:pt x="14941" y="24976"/>
                    <a:pt x="14941" y="37353"/>
                  </a:cubicBezTo>
                  <a:lnTo>
                    <a:pt x="14941" y="67235"/>
                  </a:lnTo>
                  <a:cubicBezTo>
                    <a:pt x="14941" y="79613"/>
                    <a:pt x="24976" y="89647"/>
                    <a:pt x="37353" y="89647"/>
                  </a:cubicBezTo>
                  <a:lnTo>
                    <a:pt x="67235" y="89647"/>
                  </a:lnTo>
                  <a:cubicBezTo>
                    <a:pt x="79613" y="89647"/>
                    <a:pt x="89647" y="79613"/>
                    <a:pt x="89647" y="67235"/>
                  </a:cubicBezTo>
                  <a:lnTo>
                    <a:pt x="89647" y="37353"/>
                  </a:lnTo>
                  <a:cubicBezTo>
                    <a:pt x="89647" y="24976"/>
                    <a:pt x="79613" y="14941"/>
                    <a:pt x="67235" y="14941"/>
                  </a:cubicBezTo>
                  <a:close/>
                </a:path>
              </a:pathLst>
            </a:custGeom>
            <a:solidFill>
              <a:srgbClr val="231F20"/>
            </a:solidFill>
            <a:ln w="14748" cap="flat">
              <a:noFill/>
              <a:prstDash val="solid"/>
              <a:miter/>
            </a:ln>
          </p:spPr>
          <p:txBody>
            <a:bodyPr rtlCol="0" anchor="ctr"/>
            <a:lstStyle/>
            <a:p>
              <a:endParaRPr lang="en-US"/>
            </a:p>
          </p:txBody>
        </p:sp>
        <p:sp>
          <p:nvSpPr>
            <p:cNvPr id="4982" name="Freeform: Shape 4981">
              <a:extLst>
                <a:ext uri="{FF2B5EF4-FFF2-40B4-BE49-F238E27FC236}">
                  <a16:creationId xmlns:a16="http://schemas.microsoft.com/office/drawing/2014/main" id="{6B22C657-768E-4DD4-92FF-C5865927857F}"/>
                </a:ext>
              </a:extLst>
            </p:cNvPr>
            <p:cNvSpPr/>
            <p:nvPr/>
          </p:nvSpPr>
          <p:spPr>
            <a:xfrm>
              <a:off x="5864412" y="3152586"/>
              <a:ext cx="463177" cy="463177"/>
            </a:xfrm>
            <a:custGeom>
              <a:avLst/>
              <a:gdLst>
                <a:gd name="connsiteX0" fmla="*/ 395942 w 463177"/>
                <a:gd name="connsiteY0" fmla="*/ 104588 h 463177"/>
                <a:gd name="connsiteX1" fmla="*/ 425824 w 463177"/>
                <a:gd name="connsiteY1" fmla="*/ 104588 h 463177"/>
                <a:gd name="connsiteX2" fmla="*/ 463177 w 463177"/>
                <a:gd name="connsiteY2" fmla="*/ 67235 h 463177"/>
                <a:gd name="connsiteX3" fmla="*/ 463177 w 463177"/>
                <a:gd name="connsiteY3" fmla="*/ 37353 h 463177"/>
                <a:gd name="connsiteX4" fmla="*/ 425824 w 463177"/>
                <a:gd name="connsiteY4" fmla="*/ 0 h 463177"/>
                <a:gd name="connsiteX5" fmla="*/ 395942 w 463177"/>
                <a:gd name="connsiteY5" fmla="*/ 0 h 463177"/>
                <a:gd name="connsiteX6" fmla="*/ 358589 w 463177"/>
                <a:gd name="connsiteY6" fmla="*/ 37353 h 463177"/>
                <a:gd name="connsiteX7" fmla="*/ 358589 w 463177"/>
                <a:gd name="connsiteY7" fmla="*/ 44824 h 463177"/>
                <a:gd name="connsiteX8" fmla="*/ 283883 w 463177"/>
                <a:gd name="connsiteY8" fmla="*/ 44824 h 463177"/>
                <a:gd name="connsiteX9" fmla="*/ 283883 w 463177"/>
                <a:gd name="connsiteY9" fmla="*/ 37353 h 463177"/>
                <a:gd name="connsiteX10" fmla="*/ 246530 w 463177"/>
                <a:gd name="connsiteY10" fmla="*/ 0 h 463177"/>
                <a:gd name="connsiteX11" fmla="*/ 216647 w 463177"/>
                <a:gd name="connsiteY11" fmla="*/ 0 h 463177"/>
                <a:gd name="connsiteX12" fmla="*/ 179294 w 463177"/>
                <a:gd name="connsiteY12" fmla="*/ 37353 h 463177"/>
                <a:gd name="connsiteX13" fmla="*/ 179294 w 463177"/>
                <a:gd name="connsiteY13" fmla="*/ 44824 h 463177"/>
                <a:gd name="connsiteX14" fmla="*/ 104588 w 463177"/>
                <a:gd name="connsiteY14" fmla="*/ 44824 h 463177"/>
                <a:gd name="connsiteX15" fmla="*/ 104588 w 463177"/>
                <a:gd name="connsiteY15" fmla="*/ 37353 h 463177"/>
                <a:gd name="connsiteX16" fmla="*/ 67235 w 463177"/>
                <a:gd name="connsiteY16" fmla="*/ 0 h 463177"/>
                <a:gd name="connsiteX17" fmla="*/ 37353 w 463177"/>
                <a:gd name="connsiteY17" fmla="*/ 0 h 463177"/>
                <a:gd name="connsiteX18" fmla="*/ 0 w 463177"/>
                <a:gd name="connsiteY18" fmla="*/ 37353 h 463177"/>
                <a:gd name="connsiteX19" fmla="*/ 0 w 463177"/>
                <a:gd name="connsiteY19" fmla="*/ 67235 h 463177"/>
                <a:gd name="connsiteX20" fmla="*/ 37353 w 463177"/>
                <a:gd name="connsiteY20" fmla="*/ 104588 h 463177"/>
                <a:gd name="connsiteX21" fmla="*/ 67235 w 463177"/>
                <a:gd name="connsiteY21" fmla="*/ 104588 h 463177"/>
                <a:gd name="connsiteX22" fmla="*/ 104588 w 463177"/>
                <a:gd name="connsiteY22" fmla="*/ 67235 h 463177"/>
                <a:gd name="connsiteX23" fmla="*/ 104588 w 463177"/>
                <a:gd name="connsiteY23" fmla="*/ 59765 h 463177"/>
                <a:gd name="connsiteX24" fmla="*/ 179294 w 463177"/>
                <a:gd name="connsiteY24" fmla="*/ 59765 h 463177"/>
                <a:gd name="connsiteX25" fmla="*/ 179294 w 463177"/>
                <a:gd name="connsiteY25" fmla="*/ 67235 h 463177"/>
                <a:gd name="connsiteX26" fmla="*/ 216647 w 463177"/>
                <a:gd name="connsiteY26" fmla="*/ 104588 h 463177"/>
                <a:gd name="connsiteX27" fmla="*/ 246530 w 463177"/>
                <a:gd name="connsiteY27" fmla="*/ 104588 h 463177"/>
                <a:gd name="connsiteX28" fmla="*/ 283883 w 463177"/>
                <a:gd name="connsiteY28" fmla="*/ 67235 h 463177"/>
                <a:gd name="connsiteX29" fmla="*/ 283883 w 463177"/>
                <a:gd name="connsiteY29" fmla="*/ 59765 h 463177"/>
                <a:gd name="connsiteX30" fmla="*/ 358589 w 463177"/>
                <a:gd name="connsiteY30" fmla="*/ 59765 h 463177"/>
                <a:gd name="connsiteX31" fmla="*/ 358589 w 463177"/>
                <a:gd name="connsiteY31" fmla="*/ 67235 h 463177"/>
                <a:gd name="connsiteX32" fmla="*/ 364565 w 463177"/>
                <a:gd name="connsiteY32" fmla="*/ 87406 h 463177"/>
                <a:gd name="connsiteX33" fmla="*/ 266700 w 463177"/>
                <a:gd name="connsiteY33" fmla="*/ 185271 h 463177"/>
                <a:gd name="connsiteX34" fmla="*/ 246530 w 463177"/>
                <a:gd name="connsiteY34" fmla="*/ 179294 h 463177"/>
                <a:gd name="connsiteX35" fmla="*/ 216647 w 463177"/>
                <a:gd name="connsiteY35" fmla="*/ 179294 h 463177"/>
                <a:gd name="connsiteX36" fmla="*/ 179294 w 463177"/>
                <a:gd name="connsiteY36" fmla="*/ 216647 h 463177"/>
                <a:gd name="connsiteX37" fmla="*/ 179294 w 463177"/>
                <a:gd name="connsiteY37" fmla="*/ 246530 h 463177"/>
                <a:gd name="connsiteX38" fmla="*/ 185271 w 463177"/>
                <a:gd name="connsiteY38" fmla="*/ 266700 h 463177"/>
                <a:gd name="connsiteX39" fmla="*/ 87406 w 463177"/>
                <a:gd name="connsiteY39" fmla="*/ 364565 h 463177"/>
                <a:gd name="connsiteX40" fmla="*/ 67235 w 463177"/>
                <a:gd name="connsiteY40" fmla="*/ 358589 h 463177"/>
                <a:gd name="connsiteX41" fmla="*/ 37353 w 463177"/>
                <a:gd name="connsiteY41" fmla="*/ 358589 h 463177"/>
                <a:gd name="connsiteX42" fmla="*/ 0 w 463177"/>
                <a:gd name="connsiteY42" fmla="*/ 395942 h 463177"/>
                <a:gd name="connsiteX43" fmla="*/ 0 w 463177"/>
                <a:gd name="connsiteY43" fmla="*/ 425824 h 463177"/>
                <a:gd name="connsiteX44" fmla="*/ 37353 w 463177"/>
                <a:gd name="connsiteY44" fmla="*/ 463177 h 463177"/>
                <a:gd name="connsiteX45" fmla="*/ 67235 w 463177"/>
                <a:gd name="connsiteY45" fmla="*/ 463177 h 463177"/>
                <a:gd name="connsiteX46" fmla="*/ 104588 w 463177"/>
                <a:gd name="connsiteY46" fmla="*/ 425824 h 463177"/>
                <a:gd name="connsiteX47" fmla="*/ 104588 w 463177"/>
                <a:gd name="connsiteY47" fmla="*/ 418353 h 463177"/>
                <a:gd name="connsiteX48" fmla="*/ 179294 w 463177"/>
                <a:gd name="connsiteY48" fmla="*/ 418353 h 463177"/>
                <a:gd name="connsiteX49" fmla="*/ 179294 w 463177"/>
                <a:gd name="connsiteY49" fmla="*/ 425824 h 463177"/>
                <a:gd name="connsiteX50" fmla="*/ 216647 w 463177"/>
                <a:gd name="connsiteY50" fmla="*/ 463177 h 463177"/>
                <a:gd name="connsiteX51" fmla="*/ 246530 w 463177"/>
                <a:gd name="connsiteY51" fmla="*/ 463177 h 463177"/>
                <a:gd name="connsiteX52" fmla="*/ 283883 w 463177"/>
                <a:gd name="connsiteY52" fmla="*/ 425824 h 463177"/>
                <a:gd name="connsiteX53" fmla="*/ 283883 w 463177"/>
                <a:gd name="connsiteY53" fmla="*/ 418353 h 463177"/>
                <a:gd name="connsiteX54" fmla="*/ 358589 w 463177"/>
                <a:gd name="connsiteY54" fmla="*/ 418353 h 463177"/>
                <a:gd name="connsiteX55" fmla="*/ 358589 w 463177"/>
                <a:gd name="connsiteY55" fmla="*/ 425824 h 463177"/>
                <a:gd name="connsiteX56" fmla="*/ 395942 w 463177"/>
                <a:gd name="connsiteY56" fmla="*/ 463177 h 463177"/>
                <a:gd name="connsiteX57" fmla="*/ 425824 w 463177"/>
                <a:gd name="connsiteY57" fmla="*/ 463177 h 463177"/>
                <a:gd name="connsiteX58" fmla="*/ 463177 w 463177"/>
                <a:gd name="connsiteY58" fmla="*/ 425824 h 463177"/>
                <a:gd name="connsiteX59" fmla="*/ 463177 w 463177"/>
                <a:gd name="connsiteY59" fmla="*/ 395942 h 463177"/>
                <a:gd name="connsiteX60" fmla="*/ 425824 w 463177"/>
                <a:gd name="connsiteY60" fmla="*/ 358589 h 463177"/>
                <a:gd name="connsiteX61" fmla="*/ 395942 w 463177"/>
                <a:gd name="connsiteY61" fmla="*/ 358589 h 463177"/>
                <a:gd name="connsiteX62" fmla="*/ 358589 w 463177"/>
                <a:gd name="connsiteY62" fmla="*/ 395942 h 463177"/>
                <a:gd name="connsiteX63" fmla="*/ 358589 w 463177"/>
                <a:gd name="connsiteY63" fmla="*/ 403412 h 463177"/>
                <a:gd name="connsiteX64" fmla="*/ 283883 w 463177"/>
                <a:gd name="connsiteY64" fmla="*/ 403412 h 463177"/>
                <a:gd name="connsiteX65" fmla="*/ 283883 w 463177"/>
                <a:gd name="connsiteY65" fmla="*/ 395942 h 463177"/>
                <a:gd name="connsiteX66" fmla="*/ 246530 w 463177"/>
                <a:gd name="connsiteY66" fmla="*/ 358589 h 463177"/>
                <a:gd name="connsiteX67" fmla="*/ 216647 w 463177"/>
                <a:gd name="connsiteY67" fmla="*/ 358589 h 463177"/>
                <a:gd name="connsiteX68" fmla="*/ 179294 w 463177"/>
                <a:gd name="connsiteY68" fmla="*/ 395942 h 463177"/>
                <a:gd name="connsiteX69" fmla="*/ 179294 w 463177"/>
                <a:gd name="connsiteY69" fmla="*/ 403412 h 463177"/>
                <a:gd name="connsiteX70" fmla="*/ 104588 w 463177"/>
                <a:gd name="connsiteY70" fmla="*/ 403412 h 463177"/>
                <a:gd name="connsiteX71" fmla="*/ 104588 w 463177"/>
                <a:gd name="connsiteY71" fmla="*/ 395942 h 463177"/>
                <a:gd name="connsiteX72" fmla="*/ 98164 w 463177"/>
                <a:gd name="connsiteY72" fmla="*/ 375024 h 463177"/>
                <a:gd name="connsiteX73" fmla="*/ 195730 w 463177"/>
                <a:gd name="connsiteY73" fmla="*/ 277458 h 463177"/>
                <a:gd name="connsiteX74" fmla="*/ 216647 w 463177"/>
                <a:gd name="connsiteY74" fmla="*/ 283883 h 463177"/>
                <a:gd name="connsiteX75" fmla="*/ 246530 w 463177"/>
                <a:gd name="connsiteY75" fmla="*/ 283883 h 463177"/>
                <a:gd name="connsiteX76" fmla="*/ 283883 w 463177"/>
                <a:gd name="connsiteY76" fmla="*/ 246530 h 463177"/>
                <a:gd name="connsiteX77" fmla="*/ 283883 w 463177"/>
                <a:gd name="connsiteY77" fmla="*/ 216647 h 463177"/>
                <a:gd name="connsiteX78" fmla="*/ 277458 w 463177"/>
                <a:gd name="connsiteY78" fmla="*/ 195730 h 463177"/>
                <a:gd name="connsiteX79" fmla="*/ 375024 w 463177"/>
                <a:gd name="connsiteY79" fmla="*/ 98164 h 463177"/>
                <a:gd name="connsiteX80" fmla="*/ 395942 w 463177"/>
                <a:gd name="connsiteY80" fmla="*/ 104588 h 463177"/>
                <a:gd name="connsiteX81" fmla="*/ 89647 w 463177"/>
                <a:gd name="connsiteY81" fmla="*/ 67235 h 463177"/>
                <a:gd name="connsiteX82" fmla="*/ 67235 w 463177"/>
                <a:gd name="connsiteY82" fmla="*/ 89647 h 463177"/>
                <a:gd name="connsiteX83" fmla="*/ 37353 w 463177"/>
                <a:gd name="connsiteY83" fmla="*/ 89647 h 463177"/>
                <a:gd name="connsiteX84" fmla="*/ 14941 w 463177"/>
                <a:gd name="connsiteY84" fmla="*/ 67235 h 463177"/>
                <a:gd name="connsiteX85" fmla="*/ 14941 w 463177"/>
                <a:gd name="connsiteY85" fmla="*/ 37353 h 463177"/>
                <a:gd name="connsiteX86" fmla="*/ 37353 w 463177"/>
                <a:gd name="connsiteY86" fmla="*/ 14941 h 463177"/>
                <a:gd name="connsiteX87" fmla="*/ 67235 w 463177"/>
                <a:gd name="connsiteY87" fmla="*/ 14941 h 463177"/>
                <a:gd name="connsiteX88" fmla="*/ 89647 w 463177"/>
                <a:gd name="connsiteY88" fmla="*/ 37353 h 463177"/>
                <a:gd name="connsiteX89" fmla="*/ 268941 w 463177"/>
                <a:gd name="connsiteY89" fmla="*/ 67235 h 463177"/>
                <a:gd name="connsiteX90" fmla="*/ 246530 w 463177"/>
                <a:gd name="connsiteY90" fmla="*/ 89647 h 463177"/>
                <a:gd name="connsiteX91" fmla="*/ 216647 w 463177"/>
                <a:gd name="connsiteY91" fmla="*/ 89647 h 463177"/>
                <a:gd name="connsiteX92" fmla="*/ 194236 w 463177"/>
                <a:gd name="connsiteY92" fmla="*/ 67235 h 463177"/>
                <a:gd name="connsiteX93" fmla="*/ 194236 w 463177"/>
                <a:gd name="connsiteY93" fmla="*/ 37353 h 463177"/>
                <a:gd name="connsiteX94" fmla="*/ 216647 w 463177"/>
                <a:gd name="connsiteY94" fmla="*/ 14941 h 463177"/>
                <a:gd name="connsiteX95" fmla="*/ 246530 w 463177"/>
                <a:gd name="connsiteY95" fmla="*/ 14941 h 463177"/>
                <a:gd name="connsiteX96" fmla="*/ 268941 w 463177"/>
                <a:gd name="connsiteY96" fmla="*/ 37353 h 463177"/>
                <a:gd name="connsiteX97" fmla="*/ 89647 w 463177"/>
                <a:gd name="connsiteY97" fmla="*/ 425824 h 463177"/>
                <a:gd name="connsiteX98" fmla="*/ 67235 w 463177"/>
                <a:gd name="connsiteY98" fmla="*/ 448236 h 463177"/>
                <a:gd name="connsiteX99" fmla="*/ 37353 w 463177"/>
                <a:gd name="connsiteY99" fmla="*/ 448236 h 463177"/>
                <a:gd name="connsiteX100" fmla="*/ 14941 w 463177"/>
                <a:gd name="connsiteY100" fmla="*/ 425824 h 463177"/>
                <a:gd name="connsiteX101" fmla="*/ 14941 w 463177"/>
                <a:gd name="connsiteY101" fmla="*/ 395942 h 463177"/>
                <a:gd name="connsiteX102" fmla="*/ 37353 w 463177"/>
                <a:gd name="connsiteY102" fmla="*/ 373530 h 463177"/>
                <a:gd name="connsiteX103" fmla="*/ 67235 w 463177"/>
                <a:gd name="connsiteY103" fmla="*/ 373530 h 463177"/>
                <a:gd name="connsiteX104" fmla="*/ 89647 w 463177"/>
                <a:gd name="connsiteY104" fmla="*/ 395942 h 463177"/>
                <a:gd name="connsiteX105" fmla="*/ 373530 w 463177"/>
                <a:gd name="connsiteY105" fmla="*/ 395942 h 463177"/>
                <a:gd name="connsiteX106" fmla="*/ 395942 w 463177"/>
                <a:gd name="connsiteY106" fmla="*/ 373530 h 463177"/>
                <a:gd name="connsiteX107" fmla="*/ 425824 w 463177"/>
                <a:gd name="connsiteY107" fmla="*/ 373530 h 463177"/>
                <a:gd name="connsiteX108" fmla="*/ 448236 w 463177"/>
                <a:gd name="connsiteY108" fmla="*/ 395942 h 463177"/>
                <a:gd name="connsiteX109" fmla="*/ 448236 w 463177"/>
                <a:gd name="connsiteY109" fmla="*/ 425824 h 463177"/>
                <a:gd name="connsiteX110" fmla="*/ 425824 w 463177"/>
                <a:gd name="connsiteY110" fmla="*/ 448236 h 463177"/>
                <a:gd name="connsiteX111" fmla="*/ 395942 w 463177"/>
                <a:gd name="connsiteY111" fmla="*/ 448236 h 463177"/>
                <a:gd name="connsiteX112" fmla="*/ 373530 w 463177"/>
                <a:gd name="connsiteY112" fmla="*/ 425824 h 463177"/>
                <a:gd name="connsiteX113" fmla="*/ 194236 w 463177"/>
                <a:gd name="connsiteY113" fmla="*/ 395942 h 463177"/>
                <a:gd name="connsiteX114" fmla="*/ 216647 w 463177"/>
                <a:gd name="connsiteY114" fmla="*/ 373530 h 463177"/>
                <a:gd name="connsiteX115" fmla="*/ 246530 w 463177"/>
                <a:gd name="connsiteY115" fmla="*/ 373530 h 463177"/>
                <a:gd name="connsiteX116" fmla="*/ 268941 w 463177"/>
                <a:gd name="connsiteY116" fmla="*/ 395942 h 463177"/>
                <a:gd name="connsiteX117" fmla="*/ 268941 w 463177"/>
                <a:gd name="connsiteY117" fmla="*/ 425824 h 463177"/>
                <a:gd name="connsiteX118" fmla="*/ 246530 w 463177"/>
                <a:gd name="connsiteY118" fmla="*/ 448236 h 463177"/>
                <a:gd name="connsiteX119" fmla="*/ 216647 w 463177"/>
                <a:gd name="connsiteY119" fmla="*/ 448236 h 463177"/>
                <a:gd name="connsiteX120" fmla="*/ 194236 w 463177"/>
                <a:gd name="connsiteY120" fmla="*/ 425824 h 463177"/>
                <a:gd name="connsiteX121" fmla="*/ 268941 w 463177"/>
                <a:gd name="connsiteY121" fmla="*/ 246530 h 463177"/>
                <a:gd name="connsiteX122" fmla="*/ 246530 w 463177"/>
                <a:gd name="connsiteY122" fmla="*/ 268941 h 463177"/>
                <a:gd name="connsiteX123" fmla="*/ 216647 w 463177"/>
                <a:gd name="connsiteY123" fmla="*/ 268941 h 463177"/>
                <a:gd name="connsiteX124" fmla="*/ 194236 w 463177"/>
                <a:gd name="connsiteY124" fmla="*/ 246530 h 463177"/>
                <a:gd name="connsiteX125" fmla="*/ 194236 w 463177"/>
                <a:gd name="connsiteY125" fmla="*/ 216647 h 463177"/>
                <a:gd name="connsiteX126" fmla="*/ 216647 w 463177"/>
                <a:gd name="connsiteY126" fmla="*/ 194236 h 463177"/>
                <a:gd name="connsiteX127" fmla="*/ 246530 w 463177"/>
                <a:gd name="connsiteY127" fmla="*/ 194236 h 463177"/>
                <a:gd name="connsiteX128" fmla="*/ 268941 w 463177"/>
                <a:gd name="connsiteY128" fmla="*/ 216647 h 463177"/>
                <a:gd name="connsiteX129" fmla="*/ 373530 w 463177"/>
                <a:gd name="connsiteY129" fmla="*/ 37353 h 463177"/>
                <a:gd name="connsiteX130" fmla="*/ 395942 w 463177"/>
                <a:gd name="connsiteY130" fmla="*/ 14941 h 463177"/>
                <a:gd name="connsiteX131" fmla="*/ 425824 w 463177"/>
                <a:gd name="connsiteY131" fmla="*/ 14941 h 463177"/>
                <a:gd name="connsiteX132" fmla="*/ 448236 w 463177"/>
                <a:gd name="connsiteY132" fmla="*/ 37353 h 463177"/>
                <a:gd name="connsiteX133" fmla="*/ 448236 w 463177"/>
                <a:gd name="connsiteY133" fmla="*/ 67235 h 463177"/>
                <a:gd name="connsiteX134" fmla="*/ 425824 w 463177"/>
                <a:gd name="connsiteY134" fmla="*/ 89647 h 463177"/>
                <a:gd name="connsiteX135" fmla="*/ 395942 w 463177"/>
                <a:gd name="connsiteY135" fmla="*/ 89647 h 463177"/>
                <a:gd name="connsiteX136" fmla="*/ 373530 w 463177"/>
                <a:gd name="connsiteY136" fmla="*/ 67235 h 46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463177" h="463177">
                  <a:moveTo>
                    <a:pt x="395942" y="104588"/>
                  </a:moveTo>
                  <a:lnTo>
                    <a:pt x="425824" y="104588"/>
                  </a:lnTo>
                  <a:cubicBezTo>
                    <a:pt x="446453" y="104588"/>
                    <a:pt x="463177" y="87865"/>
                    <a:pt x="463177" y="67235"/>
                  </a:cubicBezTo>
                  <a:lnTo>
                    <a:pt x="463177" y="37353"/>
                  </a:lnTo>
                  <a:cubicBezTo>
                    <a:pt x="463177" y="16724"/>
                    <a:pt x="446453" y="0"/>
                    <a:pt x="425824" y="0"/>
                  </a:cubicBezTo>
                  <a:lnTo>
                    <a:pt x="395942" y="0"/>
                  </a:lnTo>
                  <a:cubicBezTo>
                    <a:pt x="375312" y="0"/>
                    <a:pt x="358589" y="16724"/>
                    <a:pt x="358589" y="37353"/>
                  </a:cubicBezTo>
                  <a:lnTo>
                    <a:pt x="358589" y="44824"/>
                  </a:lnTo>
                  <a:lnTo>
                    <a:pt x="283883" y="44824"/>
                  </a:lnTo>
                  <a:lnTo>
                    <a:pt x="283883" y="37353"/>
                  </a:lnTo>
                  <a:cubicBezTo>
                    <a:pt x="283883" y="16724"/>
                    <a:pt x="267159" y="0"/>
                    <a:pt x="246530" y="0"/>
                  </a:cubicBezTo>
                  <a:lnTo>
                    <a:pt x="216647" y="0"/>
                  </a:lnTo>
                  <a:cubicBezTo>
                    <a:pt x="196018" y="0"/>
                    <a:pt x="179294" y="16724"/>
                    <a:pt x="179294" y="37353"/>
                  </a:cubicBezTo>
                  <a:lnTo>
                    <a:pt x="179294" y="44824"/>
                  </a:lnTo>
                  <a:lnTo>
                    <a:pt x="104588" y="44824"/>
                  </a:lnTo>
                  <a:lnTo>
                    <a:pt x="104588" y="37353"/>
                  </a:lnTo>
                  <a:cubicBezTo>
                    <a:pt x="104588" y="16724"/>
                    <a:pt x="87865" y="0"/>
                    <a:pt x="67235" y="0"/>
                  </a:cubicBezTo>
                  <a:lnTo>
                    <a:pt x="37353" y="0"/>
                  </a:lnTo>
                  <a:cubicBezTo>
                    <a:pt x="16724" y="0"/>
                    <a:pt x="0" y="16724"/>
                    <a:pt x="0" y="37353"/>
                  </a:cubicBezTo>
                  <a:lnTo>
                    <a:pt x="0" y="67235"/>
                  </a:lnTo>
                  <a:cubicBezTo>
                    <a:pt x="0" y="87865"/>
                    <a:pt x="16724" y="104588"/>
                    <a:pt x="37353" y="104588"/>
                  </a:cubicBezTo>
                  <a:lnTo>
                    <a:pt x="67235" y="104588"/>
                  </a:lnTo>
                  <a:cubicBezTo>
                    <a:pt x="87865" y="104588"/>
                    <a:pt x="104588" y="87865"/>
                    <a:pt x="104588" y="67235"/>
                  </a:cubicBezTo>
                  <a:lnTo>
                    <a:pt x="104588" y="59765"/>
                  </a:lnTo>
                  <a:lnTo>
                    <a:pt x="179294" y="59765"/>
                  </a:lnTo>
                  <a:lnTo>
                    <a:pt x="179294" y="67235"/>
                  </a:lnTo>
                  <a:cubicBezTo>
                    <a:pt x="179294" y="87865"/>
                    <a:pt x="196018" y="104588"/>
                    <a:pt x="216647" y="104588"/>
                  </a:cubicBezTo>
                  <a:lnTo>
                    <a:pt x="246530" y="104588"/>
                  </a:lnTo>
                  <a:cubicBezTo>
                    <a:pt x="267159" y="104588"/>
                    <a:pt x="283883" y="87865"/>
                    <a:pt x="283883" y="67235"/>
                  </a:cubicBezTo>
                  <a:lnTo>
                    <a:pt x="283883" y="59765"/>
                  </a:lnTo>
                  <a:lnTo>
                    <a:pt x="358589" y="59765"/>
                  </a:lnTo>
                  <a:lnTo>
                    <a:pt x="358589" y="67235"/>
                  </a:lnTo>
                  <a:cubicBezTo>
                    <a:pt x="358599" y="74394"/>
                    <a:pt x="360674" y="81397"/>
                    <a:pt x="364565" y="87406"/>
                  </a:cubicBezTo>
                  <a:lnTo>
                    <a:pt x="266700" y="185271"/>
                  </a:lnTo>
                  <a:cubicBezTo>
                    <a:pt x="260692" y="181380"/>
                    <a:pt x="253688" y="179305"/>
                    <a:pt x="246530" y="179294"/>
                  </a:cubicBezTo>
                  <a:lnTo>
                    <a:pt x="216647" y="179294"/>
                  </a:lnTo>
                  <a:cubicBezTo>
                    <a:pt x="196018" y="179294"/>
                    <a:pt x="179294" y="196018"/>
                    <a:pt x="179294" y="216647"/>
                  </a:cubicBezTo>
                  <a:lnTo>
                    <a:pt x="179294" y="246530"/>
                  </a:lnTo>
                  <a:cubicBezTo>
                    <a:pt x="179305" y="253688"/>
                    <a:pt x="181380" y="260692"/>
                    <a:pt x="185271" y="266700"/>
                  </a:cubicBezTo>
                  <a:lnTo>
                    <a:pt x="87406" y="364565"/>
                  </a:lnTo>
                  <a:cubicBezTo>
                    <a:pt x="81397" y="360674"/>
                    <a:pt x="74394" y="358599"/>
                    <a:pt x="67235" y="358589"/>
                  </a:cubicBezTo>
                  <a:lnTo>
                    <a:pt x="37353" y="358589"/>
                  </a:lnTo>
                  <a:cubicBezTo>
                    <a:pt x="16724" y="358589"/>
                    <a:pt x="0" y="375312"/>
                    <a:pt x="0" y="395942"/>
                  </a:cubicBezTo>
                  <a:lnTo>
                    <a:pt x="0" y="425824"/>
                  </a:lnTo>
                  <a:cubicBezTo>
                    <a:pt x="0" y="446453"/>
                    <a:pt x="16724" y="463177"/>
                    <a:pt x="37353" y="463177"/>
                  </a:cubicBezTo>
                  <a:lnTo>
                    <a:pt x="67235" y="463177"/>
                  </a:lnTo>
                  <a:cubicBezTo>
                    <a:pt x="87865" y="463177"/>
                    <a:pt x="104588" y="446453"/>
                    <a:pt x="104588" y="425824"/>
                  </a:cubicBezTo>
                  <a:lnTo>
                    <a:pt x="104588" y="418353"/>
                  </a:lnTo>
                  <a:lnTo>
                    <a:pt x="179294" y="418353"/>
                  </a:lnTo>
                  <a:lnTo>
                    <a:pt x="179294" y="425824"/>
                  </a:lnTo>
                  <a:cubicBezTo>
                    <a:pt x="179294" y="446453"/>
                    <a:pt x="196018" y="463177"/>
                    <a:pt x="216647" y="463177"/>
                  </a:cubicBezTo>
                  <a:lnTo>
                    <a:pt x="246530" y="463177"/>
                  </a:lnTo>
                  <a:cubicBezTo>
                    <a:pt x="267159" y="463177"/>
                    <a:pt x="283883" y="446453"/>
                    <a:pt x="283883" y="425824"/>
                  </a:cubicBezTo>
                  <a:lnTo>
                    <a:pt x="283883" y="418353"/>
                  </a:lnTo>
                  <a:lnTo>
                    <a:pt x="358589" y="418353"/>
                  </a:lnTo>
                  <a:lnTo>
                    <a:pt x="358589" y="425824"/>
                  </a:lnTo>
                  <a:cubicBezTo>
                    <a:pt x="358589" y="446453"/>
                    <a:pt x="375312" y="463177"/>
                    <a:pt x="395942" y="463177"/>
                  </a:cubicBezTo>
                  <a:lnTo>
                    <a:pt x="425824" y="463177"/>
                  </a:lnTo>
                  <a:cubicBezTo>
                    <a:pt x="446453" y="463177"/>
                    <a:pt x="463177" y="446453"/>
                    <a:pt x="463177" y="425824"/>
                  </a:cubicBezTo>
                  <a:lnTo>
                    <a:pt x="463177" y="395942"/>
                  </a:lnTo>
                  <a:cubicBezTo>
                    <a:pt x="463177" y="375312"/>
                    <a:pt x="446453" y="358589"/>
                    <a:pt x="425824" y="358589"/>
                  </a:cubicBezTo>
                  <a:lnTo>
                    <a:pt x="395942" y="358589"/>
                  </a:lnTo>
                  <a:cubicBezTo>
                    <a:pt x="375312" y="358589"/>
                    <a:pt x="358589" y="375312"/>
                    <a:pt x="358589" y="395942"/>
                  </a:cubicBezTo>
                  <a:lnTo>
                    <a:pt x="358589" y="403412"/>
                  </a:lnTo>
                  <a:lnTo>
                    <a:pt x="283883" y="403412"/>
                  </a:lnTo>
                  <a:lnTo>
                    <a:pt x="283883" y="395942"/>
                  </a:lnTo>
                  <a:cubicBezTo>
                    <a:pt x="283883" y="375312"/>
                    <a:pt x="267159" y="358589"/>
                    <a:pt x="246530" y="358589"/>
                  </a:cubicBezTo>
                  <a:lnTo>
                    <a:pt x="216647" y="358589"/>
                  </a:lnTo>
                  <a:cubicBezTo>
                    <a:pt x="196018" y="358589"/>
                    <a:pt x="179294" y="375312"/>
                    <a:pt x="179294" y="395942"/>
                  </a:cubicBezTo>
                  <a:lnTo>
                    <a:pt x="179294" y="403412"/>
                  </a:lnTo>
                  <a:lnTo>
                    <a:pt x="104588" y="403412"/>
                  </a:lnTo>
                  <a:lnTo>
                    <a:pt x="104588" y="395942"/>
                  </a:lnTo>
                  <a:cubicBezTo>
                    <a:pt x="104592" y="388483"/>
                    <a:pt x="102354" y="381195"/>
                    <a:pt x="98164" y="375024"/>
                  </a:cubicBezTo>
                  <a:lnTo>
                    <a:pt x="195730" y="277458"/>
                  </a:lnTo>
                  <a:cubicBezTo>
                    <a:pt x="201900" y="281648"/>
                    <a:pt x="209189" y="283886"/>
                    <a:pt x="216647" y="283883"/>
                  </a:cubicBezTo>
                  <a:lnTo>
                    <a:pt x="246530" y="283883"/>
                  </a:lnTo>
                  <a:cubicBezTo>
                    <a:pt x="267159" y="283883"/>
                    <a:pt x="283883" y="267159"/>
                    <a:pt x="283883" y="246530"/>
                  </a:cubicBezTo>
                  <a:lnTo>
                    <a:pt x="283883" y="216647"/>
                  </a:lnTo>
                  <a:cubicBezTo>
                    <a:pt x="283886" y="209189"/>
                    <a:pt x="281648" y="201900"/>
                    <a:pt x="277458" y="195730"/>
                  </a:cubicBezTo>
                  <a:lnTo>
                    <a:pt x="375024" y="98164"/>
                  </a:lnTo>
                  <a:cubicBezTo>
                    <a:pt x="381195" y="102354"/>
                    <a:pt x="388483" y="104592"/>
                    <a:pt x="395942" y="104588"/>
                  </a:cubicBezTo>
                  <a:close/>
                  <a:moveTo>
                    <a:pt x="89647" y="67235"/>
                  </a:moveTo>
                  <a:cubicBezTo>
                    <a:pt x="89647" y="79613"/>
                    <a:pt x="79613" y="89647"/>
                    <a:pt x="67235" y="89647"/>
                  </a:cubicBezTo>
                  <a:lnTo>
                    <a:pt x="37353" y="89647"/>
                  </a:lnTo>
                  <a:cubicBezTo>
                    <a:pt x="24975" y="89647"/>
                    <a:pt x="14941" y="79613"/>
                    <a:pt x="14941" y="67235"/>
                  </a:cubicBezTo>
                  <a:lnTo>
                    <a:pt x="14941" y="37353"/>
                  </a:lnTo>
                  <a:cubicBezTo>
                    <a:pt x="14941" y="24975"/>
                    <a:pt x="24975" y="14941"/>
                    <a:pt x="37353" y="14941"/>
                  </a:cubicBezTo>
                  <a:lnTo>
                    <a:pt x="67235" y="14941"/>
                  </a:lnTo>
                  <a:cubicBezTo>
                    <a:pt x="79613" y="14941"/>
                    <a:pt x="89647" y="24975"/>
                    <a:pt x="89647" y="37353"/>
                  </a:cubicBezTo>
                  <a:close/>
                  <a:moveTo>
                    <a:pt x="268941" y="67235"/>
                  </a:moveTo>
                  <a:cubicBezTo>
                    <a:pt x="268941" y="79613"/>
                    <a:pt x="258907" y="89647"/>
                    <a:pt x="246530" y="89647"/>
                  </a:cubicBezTo>
                  <a:lnTo>
                    <a:pt x="216647" y="89647"/>
                  </a:lnTo>
                  <a:cubicBezTo>
                    <a:pt x="204270" y="89647"/>
                    <a:pt x="194236" y="79613"/>
                    <a:pt x="194236" y="67235"/>
                  </a:cubicBezTo>
                  <a:lnTo>
                    <a:pt x="194236" y="37353"/>
                  </a:lnTo>
                  <a:cubicBezTo>
                    <a:pt x="194236" y="24975"/>
                    <a:pt x="204270" y="14941"/>
                    <a:pt x="216647" y="14941"/>
                  </a:cubicBezTo>
                  <a:lnTo>
                    <a:pt x="246530" y="14941"/>
                  </a:lnTo>
                  <a:cubicBezTo>
                    <a:pt x="258907" y="14941"/>
                    <a:pt x="268941" y="24975"/>
                    <a:pt x="268941" y="37353"/>
                  </a:cubicBezTo>
                  <a:close/>
                  <a:moveTo>
                    <a:pt x="89647" y="425824"/>
                  </a:moveTo>
                  <a:cubicBezTo>
                    <a:pt x="89647" y="438201"/>
                    <a:pt x="79613" y="448236"/>
                    <a:pt x="67235" y="448236"/>
                  </a:cubicBezTo>
                  <a:lnTo>
                    <a:pt x="37353" y="448236"/>
                  </a:lnTo>
                  <a:cubicBezTo>
                    <a:pt x="24975" y="448236"/>
                    <a:pt x="14941" y="438201"/>
                    <a:pt x="14941" y="425824"/>
                  </a:cubicBezTo>
                  <a:lnTo>
                    <a:pt x="14941" y="395942"/>
                  </a:lnTo>
                  <a:cubicBezTo>
                    <a:pt x="14941" y="383564"/>
                    <a:pt x="24975" y="373530"/>
                    <a:pt x="37353" y="373530"/>
                  </a:cubicBezTo>
                  <a:lnTo>
                    <a:pt x="67235" y="373530"/>
                  </a:lnTo>
                  <a:cubicBezTo>
                    <a:pt x="79613" y="373530"/>
                    <a:pt x="89647" y="383564"/>
                    <a:pt x="89647" y="395942"/>
                  </a:cubicBezTo>
                  <a:close/>
                  <a:moveTo>
                    <a:pt x="373530" y="395942"/>
                  </a:moveTo>
                  <a:cubicBezTo>
                    <a:pt x="373530" y="383564"/>
                    <a:pt x="383564" y="373530"/>
                    <a:pt x="395942" y="373530"/>
                  </a:cubicBezTo>
                  <a:lnTo>
                    <a:pt x="425824" y="373530"/>
                  </a:lnTo>
                  <a:cubicBezTo>
                    <a:pt x="438201" y="373530"/>
                    <a:pt x="448236" y="383564"/>
                    <a:pt x="448236" y="395942"/>
                  </a:cubicBezTo>
                  <a:lnTo>
                    <a:pt x="448236" y="425824"/>
                  </a:lnTo>
                  <a:cubicBezTo>
                    <a:pt x="448236" y="438201"/>
                    <a:pt x="438201" y="448236"/>
                    <a:pt x="425824" y="448236"/>
                  </a:cubicBezTo>
                  <a:lnTo>
                    <a:pt x="395942" y="448236"/>
                  </a:lnTo>
                  <a:cubicBezTo>
                    <a:pt x="383564" y="448236"/>
                    <a:pt x="373530" y="438201"/>
                    <a:pt x="373530" y="425824"/>
                  </a:cubicBezTo>
                  <a:close/>
                  <a:moveTo>
                    <a:pt x="194236" y="395942"/>
                  </a:moveTo>
                  <a:cubicBezTo>
                    <a:pt x="194236" y="383564"/>
                    <a:pt x="204270" y="373530"/>
                    <a:pt x="216647" y="373530"/>
                  </a:cubicBezTo>
                  <a:lnTo>
                    <a:pt x="246530" y="373530"/>
                  </a:lnTo>
                  <a:cubicBezTo>
                    <a:pt x="258907" y="373530"/>
                    <a:pt x="268941" y="383564"/>
                    <a:pt x="268941" y="395942"/>
                  </a:cubicBezTo>
                  <a:lnTo>
                    <a:pt x="268941" y="425824"/>
                  </a:lnTo>
                  <a:cubicBezTo>
                    <a:pt x="268941" y="438201"/>
                    <a:pt x="258907" y="448236"/>
                    <a:pt x="246530" y="448236"/>
                  </a:cubicBezTo>
                  <a:lnTo>
                    <a:pt x="216647" y="448236"/>
                  </a:lnTo>
                  <a:cubicBezTo>
                    <a:pt x="204270" y="448236"/>
                    <a:pt x="194236" y="438201"/>
                    <a:pt x="194236" y="425824"/>
                  </a:cubicBezTo>
                  <a:close/>
                  <a:moveTo>
                    <a:pt x="268941" y="246530"/>
                  </a:moveTo>
                  <a:cubicBezTo>
                    <a:pt x="268941" y="258907"/>
                    <a:pt x="258907" y="268941"/>
                    <a:pt x="246530" y="268941"/>
                  </a:cubicBezTo>
                  <a:lnTo>
                    <a:pt x="216647" y="268941"/>
                  </a:lnTo>
                  <a:cubicBezTo>
                    <a:pt x="204270" y="268941"/>
                    <a:pt x="194236" y="258907"/>
                    <a:pt x="194236" y="246530"/>
                  </a:cubicBezTo>
                  <a:lnTo>
                    <a:pt x="194236" y="216647"/>
                  </a:lnTo>
                  <a:cubicBezTo>
                    <a:pt x="194236" y="204270"/>
                    <a:pt x="204270" y="194236"/>
                    <a:pt x="216647" y="194236"/>
                  </a:cubicBezTo>
                  <a:lnTo>
                    <a:pt x="246530" y="194236"/>
                  </a:lnTo>
                  <a:cubicBezTo>
                    <a:pt x="258907" y="194236"/>
                    <a:pt x="268941" y="204270"/>
                    <a:pt x="268941" y="216647"/>
                  </a:cubicBezTo>
                  <a:close/>
                  <a:moveTo>
                    <a:pt x="373530" y="37353"/>
                  </a:moveTo>
                  <a:cubicBezTo>
                    <a:pt x="373530" y="24975"/>
                    <a:pt x="383564" y="14941"/>
                    <a:pt x="395942" y="14941"/>
                  </a:cubicBezTo>
                  <a:lnTo>
                    <a:pt x="425824" y="14941"/>
                  </a:lnTo>
                  <a:cubicBezTo>
                    <a:pt x="438201" y="14941"/>
                    <a:pt x="448236" y="24975"/>
                    <a:pt x="448236" y="37353"/>
                  </a:cubicBezTo>
                  <a:lnTo>
                    <a:pt x="448236" y="67235"/>
                  </a:lnTo>
                  <a:cubicBezTo>
                    <a:pt x="448236" y="79613"/>
                    <a:pt x="438201" y="89647"/>
                    <a:pt x="425824" y="89647"/>
                  </a:cubicBezTo>
                  <a:lnTo>
                    <a:pt x="395942" y="89647"/>
                  </a:lnTo>
                  <a:cubicBezTo>
                    <a:pt x="383564" y="89647"/>
                    <a:pt x="373530" y="79613"/>
                    <a:pt x="373530" y="67235"/>
                  </a:cubicBezTo>
                  <a:close/>
                </a:path>
              </a:pathLst>
            </a:custGeom>
            <a:solidFill>
              <a:srgbClr val="231F20"/>
            </a:solidFill>
            <a:ln w="14748" cap="flat">
              <a:noFill/>
              <a:prstDash val="solid"/>
              <a:miter/>
            </a:ln>
          </p:spPr>
          <p:txBody>
            <a:bodyPr rtlCol="0" anchor="ctr"/>
            <a:lstStyle/>
            <a:p>
              <a:endParaRPr lang="en-US"/>
            </a:p>
          </p:txBody>
        </p:sp>
      </p:grpSp>
      <p:grpSp>
        <p:nvGrpSpPr>
          <p:cNvPr id="4989" name="Group 4988">
            <a:extLst>
              <a:ext uri="{FF2B5EF4-FFF2-40B4-BE49-F238E27FC236}">
                <a16:creationId xmlns:a16="http://schemas.microsoft.com/office/drawing/2014/main" id="{A95E12E7-B308-4128-BB20-B6FDD8BB1346}"/>
              </a:ext>
              <a:ext uri="{C183D7F6-B498-43B3-948B-1728B52AA6E4}">
                <adec:decorative xmlns:adec="http://schemas.microsoft.com/office/drawing/2017/decorative" val="1"/>
              </a:ext>
            </a:extLst>
          </p:cNvPr>
          <p:cNvGrpSpPr>
            <a:grpSpLocks noChangeAspect="1"/>
          </p:cNvGrpSpPr>
          <p:nvPr/>
        </p:nvGrpSpPr>
        <p:grpSpPr>
          <a:xfrm>
            <a:off x="551850" y="3044288"/>
            <a:ext cx="89556" cy="111945"/>
            <a:chOff x="5661895" y="2914661"/>
            <a:chExt cx="822950" cy="1028678"/>
          </a:xfrm>
        </p:grpSpPr>
        <p:sp>
          <p:nvSpPr>
            <p:cNvPr id="4990" name="Freeform: Shape 4989">
              <a:extLst>
                <a:ext uri="{FF2B5EF4-FFF2-40B4-BE49-F238E27FC236}">
                  <a16:creationId xmlns:a16="http://schemas.microsoft.com/office/drawing/2014/main" id="{E0D612D3-79B6-4C7E-871E-F84F89E11692}"/>
                </a:ext>
              </a:extLst>
            </p:cNvPr>
            <p:cNvSpPr/>
            <p:nvPr/>
          </p:nvSpPr>
          <p:spPr>
            <a:xfrm>
              <a:off x="5661895" y="2914661"/>
              <a:ext cx="822950" cy="1028678"/>
            </a:xfrm>
            <a:custGeom>
              <a:avLst/>
              <a:gdLst>
                <a:gd name="connsiteX0" fmla="*/ 182404 w 190500"/>
                <a:gd name="connsiteY0" fmla="*/ 129540 h 238125"/>
                <a:gd name="connsiteX1" fmla="*/ 188119 w 190500"/>
                <a:gd name="connsiteY1" fmla="*/ 123825 h 238125"/>
                <a:gd name="connsiteX2" fmla="*/ 188119 w 190500"/>
                <a:gd name="connsiteY2" fmla="*/ 97155 h 238125"/>
                <a:gd name="connsiteX3" fmla="*/ 181451 w 190500"/>
                <a:gd name="connsiteY3" fmla="*/ 92393 h 238125"/>
                <a:gd name="connsiteX4" fmla="*/ 188119 w 190500"/>
                <a:gd name="connsiteY4" fmla="*/ 85725 h 238125"/>
                <a:gd name="connsiteX5" fmla="*/ 188119 w 190500"/>
                <a:gd name="connsiteY5" fmla="*/ 59055 h 238125"/>
                <a:gd name="connsiteX6" fmla="*/ 181451 w 190500"/>
                <a:gd name="connsiteY6" fmla="*/ 55245 h 238125"/>
                <a:gd name="connsiteX7" fmla="*/ 188119 w 190500"/>
                <a:gd name="connsiteY7" fmla="*/ 47625 h 238125"/>
                <a:gd name="connsiteX8" fmla="*/ 188119 w 190500"/>
                <a:gd name="connsiteY8" fmla="*/ 20955 h 238125"/>
                <a:gd name="connsiteX9" fmla="*/ 163354 w 190500"/>
                <a:gd name="connsiteY9" fmla="*/ 19050 h 238125"/>
                <a:gd name="connsiteX10" fmla="*/ 133826 w 190500"/>
                <a:gd name="connsiteY10" fmla="*/ 0 h 238125"/>
                <a:gd name="connsiteX11" fmla="*/ 76676 w 190500"/>
                <a:gd name="connsiteY11" fmla="*/ 0 h 238125"/>
                <a:gd name="connsiteX12" fmla="*/ 43339 w 190500"/>
                <a:gd name="connsiteY12" fmla="*/ 33338 h 238125"/>
                <a:gd name="connsiteX13" fmla="*/ 43339 w 190500"/>
                <a:gd name="connsiteY13" fmla="*/ 96203 h 238125"/>
                <a:gd name="connsiteX14" fmla="*/ 19526 w 190500"/>
                <a:gd name="connsiteY14" fmla="*/ 85725 h 238125"/>
                <a:gd name="connsiteX15" fmla="*/ 14764 w 190500"/>
                <a:gd name="connsiteY15" fmla="*/ 90488 h 238125"/>
                <a:gd name="connsiteX16" fmla="*/ 14764 w 190500"/>
                <a:gd name="connsiteY16" fmla="*/ 202883 h 238125"/>
                <a:gd name="connsiteX17" fmla="*/ 1429 w 190500"/>
                <a:gd name="connsiteY17" fmla="*/ 216218 h 238125"/>
                <a:gd name="connsiteX18" fmla="*/ 1429 w 190500"/>
                <a:gd name="connsiteY18" fmla="*/ 222885 h 238125"/>
                <a:gd name="connsiteX19" fmla="*/ 5239 w 190500"/>
                <a:gd name="connsiteY19" fmla="*/ 223838 h 238125"/>
                <a:gd name="connsiteX20" fmla="*/ 9049 w 190500"/>
                <a:gd name="connsiteY20" fmla="*/ 222885 h 238125"/>
                <a:gd name="connsiteX21" fmla="*/ 21431 w 190500"/>
                <a:gd name="connsiteY21" fmla="*/ 210503 h 238125"/>
                <a:gd name="connsiteX22" fmla="*/ 91916 w 190500"/>
                <a:gd name="connsiteY22" fmla="*/ 238125 h 238125"/>
                <a:gd name="connsiteX23" fmla="*/ 93821 w 190500"/>
                <a:gd name="connsiteY23" fmla="*/ 238125 h 238125"/>
                <a:gd name="connsiteX24" fmla="*/ 117634 w 190500"/>
                <a:gd name="connsiteY24" fmla="*/ 228600 h 238125"/>
                <a:gd name="connsiteX25" fmla="*/ 136684 w 190500"/>
                <a:gd name="connsiteY25" fmla="*/ 209550 h 238125"/>
                <a:gd name="connsiteX26" fmla="*/ 168116 w 190500"/>
                <a:gd name="connsiteY26" fmla="*/ 176213 h 238125"/>
                <a:gd name="connsiteX27" fmla="*/ 168116 w 190500"/>
                <a:gd name="connsiteY27" fmla="*/ 163830 h 238125"/>
                <a:gd name="connsiteX28" fmla="*/ 177641 w 190500"/>
                <a:gd name="connsiteY28" fmla="*/ 166688 h 238125"/>
                <a:gd name="connsiteX29" fmla="*/ 196691 w 190500"/>
                <a:gd name="connsiteY29" fmla="*/ 147638 h 238125"/>
                <a:gd name="connsiteX30" fmla="*/ 182404 w 190500"/>
                <a:gd name="connsiteY30" fmla="*/ 129540 h 238125"/>
                <a:gd name="connsiteX31" fmla="*/ 181451 w 190500"/>
                <a:gd name="connsiteY31" fmla="*/ 64770 h 238125"/>
                <a:gd name="connsiteX32" fmla="*/ 181451 w 190500"/>
                <a:gd name="connsiteY32" fmla="*/ 78105 h 238125"/>
                <a:gd name="connsiteX33" fmla="*/ 169069 w 190500"/>
                <a:gd name="connsiteY33" fmla="*/ 90488 h 238125"/>
                <a:gd name="connsiteX34" fmla="*/ 155734 w 190500"/>
                <a:gd name="connsiteY34" fmla="*/ 90488 h 238125"/>
                <a:gd name="connsiteX35" fmla="*/ 155734 w 190500"/>
                <a:gd name="connsiteY35" fmla="*/ 77153 h 238125"/>
                <a:gd name="connsiteX36" fmla="*/ 168116 w 190500"/>
                <a:gd name="connsiteY36" fmla="*/ 64770 h 238125"/>
                <a:gd name="connsiteX37" fmla="*/ 174784 w 190500"/>
                <a:gd name="connsiteY37" fmla="*/ 61913 h 238125"/>
                <a:gd name="connsiteX38" fmla="*/ 181451 w 190500"/>
                <a:gd name="connsiteY38" fmla="*/ 64770 h 238125"/>
                <a:gd name="connsiteX39" fmla="*/ 181451 w 190500"/>
                <a:gd name="connsiteY39" fmla="*/ 27623 h 238125"/>
                <a:gd name="connsiteX40" fmla="*/ 181451 w 190500"/>
                <a:gd name="connsiteY40" fmla="*/ 40958 h 238125"/>
                <a:gd name="connsiteX41" fmla="*/ 169069 w 190500"/>
                <a:gd name="connsiteY41" fmla="*/ 53340 h 238125"/>
                <a:gd name="connsiteX42" fmla="*/ 167164 w 190500"/>
                <a:gd name="connsiteY42" fmla="*/ 55245 h 238125"/>
                <a:gd name="connsiteX43" fmla="*/ 167164 w 190500"/>
                <a:gd name="connsiteY43" fmla="*/ 33338 h 238125"/>
                <a:gd name="connsiteX44" fmla="*/ 166211 w 190500"/>
                <a:gd name="connsiteY44" fmla="*/ 27623 h 238125"/>
                <a:gd name="connsiteX45" fmla="*/ 167164 w 190500"/>
                <a:gd name="connsiteY45" fmla="*/ 26670 h 238125"/>
                <a:gd name="connsiteX46" fmla="*/ 181451 w 190500"/>
                <a:gd name="connsiteY46" fmla="*/ 27623 h 238125"/>
                <a:gd name="connsiteX47" fmla="*/ 76676 w 190500"/>
                <a:gd name="connsiteY47" fmla="*/ 9525 h 238125"/>
                <a:gd name="connsiteX48" fmla="*/ 133826 w 190500"/>
                <a:gd name="connsiteY48" fmla="*/ 9525 h 238125"/>
                <a:gd name="connsiteX49" fmla="*/ 156686 w 190500"/>
                <a:gd name="connsiteY49" fmla="*/ 28575 h 238125"/>
                <a:gd name="connsiteX50" fmla="*/ 156686 w 190500"/>
                <a:gd name="connsiteY50" fmla="*/ 28575 h 238125"/>
                <a:gd name="connsiteX51" fmla="*/ 156686 w 190500"/>
                <a:gd name="connsiteY51" fmla="*/ 28575 h 238125"/>
                <a:gd name="connsiteX52" fmla="*/ 53816 w 190500"/>
                <a:gd name="connsiteY52" fmla="*/ 28575 h 238125"/>
                <a:gd name="connsiteX53" fmla="*/ 76676 w 190500"/>
                <a:gd name="connsiteY53" fmla="*/ 9525 h 238125"/>
                <a:gd name="connsiteX54" fmla="*/ 110014 w 190500"/>
                <a:gd name="connsiteY54" fmla="*/ 221933 h 238125"/>
                <a:gd name="connsiteX55" fmla="*/ 93821 w 190500"/>
                <a:gd name="connsiteY55" fmla="*/ 228600 h 238125"/>
                <a:gd name="connsiteX56" fmla="*/ 24289 w 190500"/>
                <a:gd name="connsiteY56" fmla="*/ 201930 h 238125"/>
                <a:gd name="connsiteX57" fmla="*/ 24289 w 190500"/>
                <a:gd name="connsiteY57" fmla="*/ 96203 h 238125"/>
                <a:gd name="connsiteX58" fmla="*/ 43339 w 190500"/>
                <a:gd name="connsiteY58" fmla="*/ 119063 h 238125"/>
                <a:gd name="connsiteX59" fmla="*/ 43339 w 190500"/>
                <a:gd name="connsiteY59" fmla="*/ 176213 h 238125"/>
                <a:gd name="connsiteX60" fmla="*/ 76676 w 190500"/>
                <a:gd name="connsiteY60" fmla="*/ 209550 h 238125"/>
                <a:gd name="connsiteX61" fmla="*/ 122396 w 190500"/>
                <a:gd name="connsiteY61" fmla="*/ 209550 h 238125"/>
                <a:gd name="connsiteX62" fmla="*/ 110014 w 190500"/>
                <a:gd name="connsiteY62" fmla="*/ 221933 h 238125"/>
                <a:gd name="connsiteX63" fmla="*/ 133826 w 190500"/>
                <a:gd name="connsiteY63" fmla="*/ 200025 h 238125"/>
                <a:gd name="connsiteX64" fmla="*/ 76676 w 190500"/>
                <a:gd name="connsiteY64" fmla="*/ 200025 h 238125"/>
                <a:gd name="connsiteX65" fmla="*/ 53816 w 190500"/>
                <a:gd name="connsiteY65" fmla="*/ 180975 h 238125"/>
                <a:gd name="connsiteX66" fmla="*/ 157639 w 190500"/>
                <a:gd name="connsiteY66" fmla="*/ 180975 h 238125"/>
                <a:gd name="connsiteX67" fmla="*/ 133826 w 190500"/>
                <a:gd name="connsiteY67" fmla="*/ 200025 h 238125"/>
                <a:gd name="connsiteX68" fmla="*/ 157639 w 190500"/>
                <a:gd name="connsiteY68" fmla="*/ 146685 h 238125"/>
                <a:gd name="connsiteX69" fmla="*/ 157639 w 190500"/>
                <a:gd name="connsiteY69" fmla="*/ 146685 h 238125"/>
                <a:gd name="connsiteX70" fmla="*/ 157639 w 190500"/>
                <a:gd name="connsiteY70" fmla="*/ 148590 h 238125"/>
                <a:gd name="connsiteX71" fmla="*/ 157639 w 190500"/>
                <a:gd name="connsiteY71" fmla="*/ 171450 h 238125"/>
                <a:gd name="connsiteX72" fmla="*/ 52864 w 190500"/>
                <a:gd name="connsiteY72" fmla="*/ 171450 h 238125"/>
                <a:gd name="connsiteX73" fmla="*/ 52864 w 190500"/>
                <a:gd name="connsiteY73" fmla="*/ 119063 h 238125"/>
                <a:gd name="connsiteX74" fmla="*/ 52864 w 190500"/>
                <a:gd name="connsiteY74" fmla="*/ 38100 h 238125"/>
                <a:gd name="connsiteX75" fmla="*/ 157639 w 190500"/>
                <a:gd name="connsiteY75" fmla="*/ 38100 h 238125"/>
                <a:gd name="connsiteX76" fmla="*/ 157639 w 190500"/>
                <a:gd name="connsiteY76" fmla="*/ 61913 h 238125"/>
                <a:gd name="connsiteX77" fmla="*/ 149066 w 190500"/>
                <a:gd name="connsiteY77" fmla="*/ 70485 h 238125"/>
                <a:gd name="connsiteX78" fmla="*/ 149066 w 190500"/>
                <a:gd name="connsiteY78" fmla="*/ 97155 h 238125"/>
                <a:gd name="connsiteX79" fmla="*/ 155734 w 190500"/>
                <a:gd name="connsiteY79" fmla="*/ 101918 h 238125"/>
                <a:gd name="connsiteX80" fmla="*/ 149066 w 190500"/>
                <a:gd name="connsiteY80" fmla="*/ 108585 h 238125"/>
                <a:gd name="connsiteX81" fmla="*/ 143351 w 190500"/>
                <a:gd name="connsiteY81" fmla="*/ 121920 h 238125"/>
                <a:gd name="connsiteX82" fmla="*/ 149066 w 190500"/>
                <a:gd name="connsiteY82" fmla="*/ 135255 h 238125"/>
                <a:gd name="connsiteX83" fmla="*/ 149066 w 190500"/>
                <a:gd name="connsiteY83" fmla="*/ 135255 h 238125"/>
                <a:gd name="connsiteX84" fmla="*/ 157639 w 190500"/>
                <a:gd name="connsiteY84" fmla="*/ 140018 h 238125"/>
                <a:gd name="connsiteX85" fmla="*/ 157639 w 190500"/>
                <a:gd name="connsiteY85" fmla="*/ 146685 h 238125"/>
                <a:gd name="connsiteX86" fmla="*/ 155734 w 190500"/>
                <a:gd name="connsiteY86" fmla="*/ 129540 h 238125"/>
                <a:gd name="connsiteX87" fmla="*/ 152876 w 190500"/>
                <a:gd name="connsiteY87" fmla="*/ 122873 h 238125"/>
                <a:gd name="connsiteX88" fmla="*/ 155734 w 190500"/>
                <a:gd name="connsiteY88" fmla="*/ 116205 h 238125"/>
                <a:gd name="connsiteX89" fmla="*/ 168116 w 190500"/>
                <a:gd name="connsiteY89" fmla="*/ 103823 h 238125"/>
                <a:gd name="connsiteX90" fmla="*/ 174784 w 190500"/>
                <a:gd name="connsiteY90" fmla="*/ 100965 h 238125"/>
                <a:gd name="connsiteX91" fmla="*/ 181451 w 190500"/>
                <a:gd name="connsiteY91" fmla="*/ 103823 h 238125"/>
                <a:gd name="connsiteX92" fmla="*/ 181451 w 190500"/>
                <a:gd name="connsiteY92" fmla="*/ 117158 h 238125"/>
                <a:gd name="connsiteX93" fmla="*/ 169069 w 190500"/>
                <a:gd name="connsiteY93" fmla="*/ 129540 h 238125"/>
                <a:gd name="connsiteX94" fmla="*/ 155734 w 190500"/>
                <a:gd name="connsiteY94" fmla="*/ 129540 h 238125"/>
                <a:gd name="connsiteX95" fmla="*/ 176689 w 190500"/>
                <a:gd name="connsiteY95" fmla="*/ 157163 h 238125"/>
                <a:gd name="connsiteX96" fmla="*/ 167164 w 190500"/>
                <a:gd name="connsiteY96" fmla="*/ 147638 h 238125"/>
                <a:gd name="connsiteX97" fmla="*/ 167164 w 190500"/>
                <a:gd name="connsiteY97" fmla="*/ 146685 h 238125"/>
                <a:gd name="connsiteX98" fmla="*/ 176689 w 190500"/>
                <a:gd name="connsiteY98" fmla="*/ 137160 h 238125"/>
                <a:gd name="connsiteX99" fmla="*/ 186214 w 190500"/>
                <a:gd name="connsiteY99" fmla="*/ 146685 h 238125"/>
                <a:gd name="connsiteX100" fmla="*/ 176689 w 190500"/>
                <a:gd name="connsiteY100" fmla="*/ 1571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90500" h="238125">
                  <a:moveTo>
                    <a:pt x="182404" y="129540"/>
                  </a:moveTo>
                  <a:lnTo>
                    <a:pt x="188119" y="123825"/>
                  </a:lnTo>
                  <a:cubicBezTo>
                    <a:pt x="195739" y="116205"/>
                    <a:pt x="195739" y="104775"/>
                    <a:pt x="188119" y="97155"/>
                  </a:cubicBezTo>
                  <a:cubicBezTo>
                    <a:pt x="186214" y="95250"/>
                    <a:pt x="183356" y="93345"/>
                    <a:pt x="181451" y="92393"/>
                  </a:cubicBezTo>
                  <a:lnTo>
                    <a:pt x="188119" y="85725"/>
                  </a:lnTo>
                  <a:cubicBezTo>
                    <a:pt x="195739" y="78105"/>
                    <a:pt x="195739" y="66675"/>
                    <a:pt x="188119" y="59055"/>
                  </a:cubicBezTo>
                  <a:cubicBezTo>
                    <a:pt x="186214" y="57150"/>
                    <a:pt x="183356" y="55245"/>
                    <a:pt x="181451" y="55245"/>
                  </a:cubicBezTo>
                  <a:lnTo>
                    <a:pt x="188119" y="47625"/>
                  </a:lnTo>
                  <a:cubicBezTo>
                    <a:pt x="195739" y="40005"/>
                    <a:pt x="195739" y="28575"/>
                    <a:pt x="188119" y="20955"/>
                  </a:cubicBezTo>
                  <a:cubicBezTo>
                    <a:pt x="181451" y="14288"/>
                    <a:pt x="170974" y="14288"/>
                    <a:pt x="163354" y="19050"/>
                  </a:cubicBezTo>
                  <a:cubicBezTo>
                    <a:pt x="157639" y="7620"/>
                    <a:pt x="146209" y="0"/>
                    <a:pt x="133826" y="0"/>
                  </a:cubicBezTo>
                  <a:lnTo>
                    <a:pt x="76676" y="0"/>
                  </a:lnTo>
                  <a:cubicBezTo>
                    <a:pt x="58579" y="0"/>
                    <a:pt x="43339" y="15240"/>
                    <a:pt x="43339" y="33338"/>
                  </a:cubicBezTo>
                  <a:lnTo>
                    <a:pt x="43339" y="96203"/>
                  </a:lnTo>
                  <a:cubicBezTo>
                    <a:pt x="37624" y="89535"/>
                    <a:pt x="29051" y="85725"/>
                    <a:pt x="19526" y="85725"/>
                  </a:cubicBezTo>
                  <a:cubicBezTo>
                    <a:pt x="16669" y="85725"/>
                    <a:pt x="14764" y="87630"/>
                    <a:pt x="14764" y="90488"/>
                  </a:cubicBezTo>
                  <a:lnTo>
                    <a:pt x="14764" y="202883"/>
                  </a:lnTo>
                  <a:lnTo>
                    <a:pt x="1429" y="216218"/>
                  </a:lnTo>
                  <a:cubicBezTo>
                    <a:pt x="-476" y="218123"/>
                    <a:pt x="-476" y="220980"/>
                    <a:pt x="1429" y="222885"/>
                  </a:cubicBezTo>
                  <a:cubicBezTo>
                    <a:pt x="2381" y="223838"/>
                    <a:pt x="3334" y="223838"/>
                    <a:pt x="5239" y="223838"/>
                  </a:cubicBezTo>
                  <a:cubicBezTo>
                    <a:pt x="7144" y="223838"/>
                    <a:pt x="8096" y="223838"/>
                    <a:pt x="9049" y="222885"/>
                  </a:cubicBezTo>
                  <a:lnTo>
                    <a:pt x="21431" y="210503"/>
                  </a:lnTo>
                  <a:lnTo>
                    <a:pt x="91916" y="238125"/>
                  </a:lnTo>
                  <a:cubicBezTo>
                    <a:pt x="92869" y="238125"/>
                    <a:pt x="92869" y="238125"/>
                    <a:pt x="93821" y="238125"/>
                  </a:cubicBezTo>
                  <a:cubicBezTo>
                    <a:pt x="102394" y="238125"/>
                    <a:pt x="110966" y="234315"/>
                    <a:pt x="117634" y="228600"/>
                  </a:cubicBezTo>
                  <a:lnTo>
                    <a:pt x="136684" y="209550"/>
                  </a:lnTo>
                  <a:cubicBezTo>
                    <a:pt x="153829" y="208598"/>
                    <a:pt x="168116" y="194310"/>
                    <a:pt x="168116" y="176213"/>
                  </a:cubicBezTo>
                  <a:lnTo>
                    <a:pt x="168116" y="163830"/>
                  </a:lnTo>
                  <a:cubicBezTo>
                    <a:pt x="170974" y="165735"/>
                    <a:pt x="173831" y="166688"/>
                    <a:pt x="177641" y="166688"/>
                  </a:cubicBezTo>
                  <a:cubicBezTo>
                    <a:pt x="188119" y="166688"/>
                    <a:pt x="196691" y="158115"/>
                    <a:pt x="196691" y="147638"/>
                  </a:cubicBezTo>
                  <a:cubicBezTo>
                    <a:pt x="195739" y="139065"/>
                    <a:pt x="190024" y="132398"/>
                    <a:pt x="182404" y="129540"/>
                  </a:cubicBezTo>
                  <a:close/>
                  <a:moveTo>
                    <a:pt x="181451" y="64770"/>
                  </a:moveTo>
                  <a:cubicBezTo>
                    <a:pt x="185261" y="68580"/>
                    <a:pt x="185261" y="74295"/>
                    <a:pt x="181451" y="78105"/>
                  </a:cubicBezTo>
                  <a:lnTo>
                    <a:pt x="169069" y="90488"/>
                  </a:lnTo>
                  <a:cubicBezTo>
                    <a:pt x="165259" y="94298"/>
                    <a:pt x="159544" y="94298"/>
                    <a:pt x="155734" y="90488"/>
                  </a:cubicBezTo>
                  <a:cubicBezTo>
                    <a:pt x="151924" y="86678"/>
                    <a:pt x="151924" y="80963"/>
                    <a:pt x="155734" y="77153"/>
                  </a:cubicBezTo>
                  <a:lnTo>
                    <a:pt x="168116" y="64770"/>
                  </a:lnTo>
                  <a:cubicBezTo>
                    <a:pt x="170021" y="62865"/>
                    <a:pt x="171926" y="61913"/>
                    <a:pt x="174784" y="61913"/>
                  </a:cubicBezTo>
                  <a:cubicBezTo>
                    <a:pt x="177641" y="61913"/>
                    <a:pt x="179546" y="63818"/>
                    <a:pt x="181451" y="64770"/>
                  </a:cubicBezTo>
                  <a:close/>
                  <a:moveTo>
                    <a:pt x="181451" y="27623"/>
                  </a:moveTo>
                  <a:cubicBezTo>
                    <a:pt x="185261" y="31433"/>
                    <a:pt x="185261" y="37148"/>
                    <a:pt x="181451" y="40958"/>
                  </a:cubicBezTo>
                  <a:lnTo>
                    <a:pt x="169069" y="53340"/>
                  </a:lnTo>
                  <a:cubicBezTo>
                    <a:pt x="168116" y="54293"/>
                    <a:pt x="168116" y="54293"/>
                    <a:pt x="167164" y="55245"/>
                  </a:cubicBezTo>
                  <a:lnTo>
                    <a:pt x="167164" y="33338"/>
                  </a:lnTo>
                  <a:cubicBezTo>
                    <a:pt x="167164" y="31433"/>
                    <a:pt x="167164" y="29528"/>
                    <a:pt x="166211" y="27623"/>
                  </a:cubicBezTo>
                  <a:cubicBezTo>
                    <a:pt x="166211" y="27623"/>
                    <a:pt x="167164" y="26670"/>
                    <a:pt x="167164" y="26670"/>
                  </a:cubicBezTo>
                  <a:cubicBezTo>
                    <a:pt x="171926" y="23813"/>
                    <a:pt x="177641" y="23813"/>
                    <a:pt x="181451" y="27623"/>
                  </a:cubicBezTo>
                  <a:close/>
                  <a:moveTo>
                    <a:pt x="76676" y="9525"/>
                  </a:moveTo>
                  <a:lnTo>
                    <a:pt x="133826" y="9525"/>
                  </a:lnTo>
                  <a:cubicBezTo>
                    <a:pt x="145256" y="9525"/>
                    <a:pt x="154781" y="17145"/>
                    <a:pt x="156686" y="28575"/>
                  </a:cubicBezTo>
                  <a:lnTo>
                    <a:pt x="156686" y="28575"/>
                  </a:lnTo>
                  <a:cubicBezTo>
                    <a:pt x="156686" y="28575"/>
                    <a:pt x="156686" y="28575"/>
                    <a:pt x="156686" y="28575"/>
                  </a:cubicBezTo>
                  <a:lnTo>
                    <a:pt x="53816" y="28575"/>
                  </a:lnTo>
                  <a:cubicBezTo>
                    <a:pt x="55721" y="18098"/>
                    <a:pt x="65246" y="9525"/>
                    <a:pt x="76676" y="9525"/>
                  </a:cubicBezTo>
                  <a:close/>
                  <a:moveTo>
                    <a:pt x="110014" y="221933"/>
                  </a:moveTo>
                  <a:cubicBezTo>
                    <a:pt x="106204" y="225743"/>
                    <a:pt x="100489" y="228600"/>
                    <a:pt x="93821" y="228600"/>
                  </a:cubicBezTo>
                  <a:lnTo>
                    <a:pt x="24289" y="201930"/>
                  </a:lnTo>
                  <a:lnTo>
                    <a:pt x="24289" y="96203"/>
                  </a:lnTo>
                  <a:cubicBezTo>
                    <a:pt x="34766" y="98108"/>
                    <a:pt x="43339" y="107633"/>
                    <a:pt x="43339" y="119063"/>
                  </a:cubicBezTo>
                  <a:lnTo>
                    <a:pt x="43339" y="176213"/>
                  </a:lnTo>
                  <a:cubicBezTo>
                    <a:pt x="43339" y="194310"/>
                    <a:pt x="58579" y="209550"/>
                    <a:pt x="76676" y="209550"/>
                  </a:cubicBezTo>
                  <a:lnTo>
                    <a:pt x="122396" y="209550"/>
                  </a:lnTo>
                  <a:lnTo>
                    <a:pt x="110014" y="221933"/>
                  </a:lnTo>
                  <a:close/>
                  <a:moveTo>
                    <a:pt x="133826" y="200025"/>
                  </a:moveTo>
                  <a:lnTo>
                    <a:pt x="76676" y="200025"/>
                  </a:lnTo>
                  <a:cubicBezTo>
                    <a:pt x="65246" y="200025"/>
                    <a:pt x="55721" y="191453"/>
                    <a:pt x="53816" y="180975"/>
                  </a:cubicBezTo>
                  <a:lnTo>
                    <a:pt x="157639" y="180975"/>
                  </a:lnTo>
                  <a:cubicBezTo>
                    <a:pt x="154781" y="191453"/>
                    <a:pt x="145256" y="200025"/>
                    <a:pt x="133826" y="200025"/>
                  </a:cubicBezTo>
                  <a:close/>
                  <a:moveTo>
                    <a:pt x="157639" y="146685"/>
                  </a:moveTo>
                  <a:cubicBezTo>
                    <a:pt x="157639" y="146685"/>
                    <a:pt x="157639" y="147638"/>
                    <a:pt x="157639" y="146685"/>
                  </a:cubicBezTo>
                  <a:cubicBezTo>
                    <a:pt x="157639" y="147638"/>
                    <a:pt x="157639" y="147638"/>
                    <a:pt x="157639" y="148590"/>
                  </a:cubicBezTo>
                  <a:lnTo>
                    <a:pt x="157639" y="171450"/>
                  </a:lnTo>
                  <a:lnTo>
                    <a:pt x="52864" y="171450"/>
                  </a:lnTo>
                  <a:lnTo>
                    <a:pt x="52864" y="119063"/>
                  </a:lnTo>
                  <a:lnTo>
                    <a:pt x="52864" y="38100"/>
                  </a:lnTo>
                  <a:lnTo>
                    <a:pt x="157639" y="38100"/>
                  </a:lnTo>
                  <a:lnTo>
                    <a:pt x="157639" y="61913"/>
                  </a:lnTo>
                  <a:lnTo>
                    <a:pt x="149066" y="70485"/>
                  </a:lnTo>
                  <a:cubicBezTo>
                    <a:pt x="141446" y="78105"/>
                    <a:pt x="141446" y="89535"/>
                    <a:pt x="149066" y="97155"/>
                  </a:cubicBezTo>
                  <a:cubicBezTo>
                    <a:pt x="150971" y="99060"/>
                    <a:pt x="153829" y="100965"/>
                    <a:pt x="155734" y="101918"/>
                  </a:cubicBezTo>
                  <a:lnTo>
                    <a:pt x="149066" y="108585"/>
                  </a:lnTo>
                  <a:cubicBezTo>
                    <a:pt x="145256" y="112395"/>
                    <a:pt x="143351" y="117158"/>
                    <a:pt x="143351" y="121920"/>
                  </a:cubicBezTo>
                  <a:cubicBezTo>
                    <a:pt x="143351" y="126683"/>
                    <a:pt x="145256" y="131445"/>
                    <a:pt x="149066" y="135255"/>
                  </a:cubicBezTo>
                  <a:cubicBezTo>
                    <a:pt x="149066" y="135255"/>
                    <a:pt x="149066" y="135255"/>
                    <a:pt x="149066" y="135255"/>
                  </a:cubicBezTo>
                  <a:cubicBezTo>
                    <a:pt x="151924" y="138113"/>
                    <a:pt x="154781" y="139065"/>
                    <a:pt x="157639" y="140018"/>
                  </a:cubicBezTo>
                  <a:lnTo>
                    <a:pt x="157639" y="146685"/>
                  </a:lnTo>
                  <a:close/>
                  <a:moveTo>
                    <a:pt x="155734" y="129540"/>
                  </a:moveTo>
                  <a:cubicBezTo>
                    <a:pt x="153829" y="127635"/>
                    <a:pt x="152876" y="125730"/>
                    <a:pt x="152876" y="122873"/>
                  </a:cubicBezTo>
                  <a:cubicBezTo>
                    <a:pt x="152876" y="120015"/>
                    <a:pt x="153829" y="118110"/>
                    <a:pt x="155734" y="116205"/>
                  </a:cubicBezTo>
                  <a:lnTo>
                    <a:pt x="168116" y="103823"/>
                  </a:lnTo>
                  <a:cubicBezTo>
                    <a:pt x="170021" y="101918"/>
                    <a:pt x="172879" y="100965"/>
                    <a:pt x="174784" y="100965"/>
                  </a:cubicBezTo>
                  <a:cubicBezTo>
                    <a:pt x="176689" y="100965"/>
                    <a:pt x="179546" y="101918"/>
                    <a:pt x="181451" y="103823"/>
                  </a:cubicBezTo>
                  <a:cubicBezTo>
                    <a:pt x="185261" y="107633"/>
                    <a:pt x="185261" y="113348"/>
                    <a:pt x="181451" y="117158"/>
                  </a:cubicBezTo>
                  <a:lnTo>
                    <a:pt x="169069" y="129540"/>
                  </a:lnTo>
                  <a:cubicBezTo>
                    <a:pt x="165259" y="132398"/>
                    <a:pt x="159544" y="132398"/>
                    <a:pt x="155734" y="129540"/>
                  </a:cubicBezTo>
                  <a:close/>
                  <a:moveTo>
                    <a:pt x="176689" y="157163"/>
                  </a:moveTo>
                  <a:cubicBezTo>
                    <a:pt x="171926" y="157163"/>
                    <a:pt x="167164" y="153353"/>
                    <a:pt x="167164" y="147638"/>
                  </a:cubicBezTo>
                  <a:lnTo>
                    <a:pt x="167164" y="146685"/>
                  </a:lnTo>
                  <a:cubicBezTo>
                    <a:pt x="167164" y="141923"/>
                    <a:pt x="171926" y="137160"/>
                    <a:pt x="176689" y="137160"/>
                  </a:cubicBezTo>
                  <a:cubicBezTo>
                    <a:pt x="182404" y="137160"/>
                    <a:pt x="186214" y="140970"/>
                    <a:pt x="186214" y="146685"/>
                  </a:cubicBezTo>
                  <a:cubicBezTo>
                    <a:pt x="186214" y="152400"/>
                    <a:pt x="181451" y="157163"/>
                    <a:pt x="176689" y="157163"/>
                  </a:cubicBezTo>
                  <a:close/>
                </a:path>
              </a:pathLst>
            </a:custGeom>
            <a:solidFill>
              <a:schemeClr val="tx1"/>
            </a:solidFill>
            <a:ln w="9525" cap="flat">
              <a:noFill/>
              <a:prstDash val="solid"/>
              <a:miter/>
            </a:ln>
          </p:spPr>
          <p:txBody>
            <a:bodyPr rtlCol="0" anchor="ctr"/>
            <a:lstStyle/>
            <a:p>
              <a:endParaRPr lang="en-US"/>
            </a:p>
          </p:txBody>
        </p:sp>
        <p:sp>
          <p:nvSpPr>
            <p:cNvPr id="4991" name="Rectangle 4990">
              <a:extLst>
                <a:ext uri="{FF2B5EF4-FFF2-40B4-BE49-F238E27FC236}">
                  <a16:creationId xmlns:a16="http://schemas.microsoft.com/office/drawing/2014/main" id="{651C8BC7-C9CF-4BAE-BA2C-BBFDE493BF5E}"/>
                </a:ext>
              </a:extLst>
            </p:cNvPr>
            <p:cNvSpPr/>
            <p:nvPr/>
          </p:nvSpPr>
          <p:spPr>
            <a:xfrm>
              <a:off x="5938649"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2" name="Rectangle 4991">
              <a:extLst>
                <a:ext uri="{FF2B5EF4-FFF2-40B4-BE49-F238E27FC236}">
                  <a16:creationId xmlns:a16="http://schemas.microsoft.com/office/drawing/2014/main" id="{5B08BA4B-E67D-493A-99AB-3CCFF9547C38}"/>
                </a:ext>
              </a:extLst>
            </p:cNvPr>
            <p:cNvSpPr/>
            <p:nvPr/>
          </p:nvSpPr>
          <p:spPr>
            <a:xfrm>
              <a:off x="5997171"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3" name="Rectangle 4992">
              <a:extLst>
                <a:ext uri="{FF2B5EF4-FFF2-40B4-BE49-F238E27FC236}">
                  <a16:creationId xmlns:a16="http://schemas.microsoft.com/office/drawing/2014/main" id="{C8A40C7B-2E2F-4569-AEF9-AC78D25D061B}"/>
                </a:ext>
              </a:extLst>
            </p:cNvPr>
            <p:cNvSpPr/>
            <p:nvPr/>
          </p:nvSpPr>
          <p:spPr>
            <a:xfrm>
              <a:off x="6055923"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4" name="Rectangle 4993">
              <a:extLst>
                <a:ext uri="{FF2B5EF4-FFF2-40B4-BE49-F238E27FC236}">
                  <a16:creationId xmlns:a16="http://schemas.microsoft.com/office/drawing/2014/main" id="{908C54A3-AE99-459B-85B0-A8C6E69F314C}"/>
                </a:ext>
              </a:extLst>
            </p:cNvPr>
            <p:cNvSpPr/>
            <p:nvPr/>
          </p:nvSpPr>
          <p:spPr>
            <a:xfrm>
              <a:off x="6148965"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95" name="Rectangle 4994">
              <a:extLst>
                <a:ext uri="{FF2B5EF4-FFF2-40B4-BE49-F238E27FC236}">
                  <a16:creationId xmlns:a16="http://schemas.microsoft.com/office/drawing/2014/main" id="{B991F45B-45CA-42A5-96D2-A94780C3AF7B}"/>
                </a:ext>
              </a:extLst>
            </p:cNvPr>
            <p:cNvSpPr/>
            <p:nvPr/>
          </p:nvSpPr>
          <p:spPr>
            <a:xfrm>
              <a:off x="6207717" y="3182119"/>
              <a:ext cx="39600" cy="2468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4996" name="Graphic 10">
            <a:extLst>
              <a:ext uri="{FF2B5EF4-FFF2-40B4-BE49-F238E27FC236}">
                <a16:creationId xmlns:a16="http://schemas.microsoft.com/office/drawing/2014/main" id="{8BDEA98B-25EF-4FD4-8524-EF062D091632}"/>
              </a:ext>
              <a:ext uri="{C183D7F6-B498-43B3-948B-1728B52AA6E4}">
                <adec:decorative xmlns:adec="http://schemas.microsoft.com/office/drawing/2017/decorative" val="1"/>
              </a:ext>
            </a:extLst>
          </p:cNvPr>
          <p:cNvGrpSpPr>
            <a:grpSpLocks noChangeAspect="1"/>
          </p:cNvGrpSpPr>
          <p:nvPr/>
        </p:nvGrpSpPr>
        <p:grpSpPr>
          <a:xfrm>
            <a:off x="1068366" y="1729599"/>
            <a:ext cx="152246" cy="111946"/>
            <a:chOff x="5842000" y="3242235"/>
            <a:chExt cx="507999" cy="373529"/>
          </a:xfrm>
          <a:solidFill>
            <a:schemeClr val="tx1"/>
          </a:solidFill>
        </p:grpSpPr>
        <p:sp>
          <p:nvSpPr>
            <p:cNvPr id="4997" name="Freeform: Shape 4996">
              <a:extLst>
                <a:ext uri="{FF2B5EF4-FFF2-40B4-BE49-F238E27FC236}">
                  <a16:creationId xmlns:a16="http://schemas.microsoft.com/office/drawing/2014/main" id="{5C9FE56E-D57F-4F47-B0CB-6919A3D8BAB9}"/>
                </a:ext>
              </a:extLst>
            </p:cNvPr>
            <p:cNvSpPr/>
            <p:nvPr/>
          </p:nvSpPr>
          <p:spPr>
            <a:xfrm>
              <a:off x="5842000" y="3242235"/>
              <a:ext cx="507999" cy="373529"/>
            </a:xfrm>
            <a:custGeom>
              <a:avLst/>
              <a:gdLst>
                <a:gd name="connsiteX0" fmla="*/ 455705 w 507999"/>
                <a:gd name="connsiteY0" fmla="*/ 373529 h 373529"/>
                <a:gd name="connsiteX1" fmla="*/ 52294 w 507999"/>
                <a:gd name="connsiteY1" fmla="*/ 373529 h 373529"/>
                <a:gd name="connsiteX2" fmla="*/ 0 w 507999"/>
                <a:gd name="connsiteY2" fmla="*/ 321235 h 373529"/>
                <a:gd name="connsiteX3" fmla="*/ 0 w 507999"/>
                <a:gd name="connsiteY3" fmla="*/ 52294 h 373529"/>
                <a:gd name="connsiteX4" fmla="*/ 52294 w 507999"/>
                <a:gd name="connsiteY4" fmla="*/ 0 h 373529"/>
                <a:gd name="connsiteX5" fmla="*/ 209176 w 507999"/>
                <a:gd name="connsiteY5" fmla="*/ 0 h 373529"/>
                <a:gd name="connsiteX6" fmla="*/ 239058 w 507999"/>
                <a:gd name="connsiteY6" fmla="*/ 29882 h 373529"/>
                <a:gd name="connsiteX7" fmla="*/ 254000 w 507999"/>
                <a:gd name="connsiteY7" fmla="*/ 44823 h 373529"/>
                <a:gd name="connsiteX8" fmla="*/ 455705 w 507999"/>
                <a:gd name="connsiteY8" fmla="*/ 44823 h 373529"/>
                <a:gd name="connsiteX9" fmla="*/ 507999 w 507999"/>
                <a:gd name="connsiteY9" fmla="*/ 97118 h 373529"/>
                <a:gd name="connsiteX10" fmla="*/ 507999 w 507999"/>
                <a:gd name="connsiteY10" fmla="*/ 321235 h 373529"/>
                <a:gd name="connsiteX11" fmla="*/ 455705 w 507999"/>
                <a:gd name="connsiteY11" fmla="*/ 373529 h 373529"/>
                <a:gd name="connsiteX12" fmla="*/ 52294 w 507999"/>
                <a:gd name="connsiteY12" fmla="*/ 14941 h 373529"/>
                <a:gd name="connsiteX13" fmla="*/ 14941 w 507999"/>
                <a:gd name="connsiteY13" fmla="*/ 52294 h 373529"/>
                <a:gd name="connsiteX14" fmla="*/ 14941 w 507999"/>
                <a:gd name="connsiteY14" fmla="*/ 321235 h 373529"/>
                <a:gd name="connsiteX15" fmla="*/ 52294 w 507999"/>
                <a:gd name="connsiteY15" fmla="*/ 358588 h 373529"/>
                <a:gd name="connsiteX16" fmla="*/ 455705 w 507999"/>
                <a:gd name="connsiteY16" fmla="*/ 358588 h 373529"/>
                <a:gd name="connsiteX17" fmla="*/ 493058 w 507999"/>
                <a:gd name="connsiteY17" fmla="*/ 321235 h 373529"/>
                <a:gd name="connsiteX18" fmla="*/ 493058 w 507999"/>
                <a:gd name="connsiteY18" fmla="*/ 97118 h 373529"/>
                <a:gd name="connsiteX19" fmla="*/ 455705 w 507999"/>
                <a:gd name="connsiteY19" fmla="*/ 59765 h 373529"/>
                <a:gd name="connsiteX20" fmla="*/ 254000 w 507999"/>
                <a:gd name="connsiteY20" fmla="*/ 59765 h 373529"/>
                <a:gd name="connsiteX21" fmla="*/ 224117 w 507999"/>
                <a:gd name="connsiteY21" fmla="*/ 29882 h 373529"/>
                <a:gd name="connsiteX22" fmla="*/ 209176 w 507999"/>
                <a:gd name="connsiteY22" fmla="*/ 14941 h 3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07999" h="373529">
                  <a:moveTo>
                    <a:pt x="455705" y="373529"/>
                  </a:moveTo>
                  <a:lnTo>
                    <a:pt x="52294" y="373529"/>
                  </a:lnTo>
                  <a:cubicBezTo>
                    <a:pt x="23413" y="373529"/>
                    <a:pt x="0" y="350116"/>
                    <a:pt x="0" y="321235"/>
                  </a:cubicBezTo>
                  <a:lnTo>
                    <a:pt x="0" y="52294"/>
                  </a:lnTo>
                  <a:cubicBezTo>
                    <a:pt x="0" y="23413"/>
                    <a:pt x="23413" y="0"/>
                    <a:pt x="52294" y="0"/>
                  </a:cubicBezTo>
                  <a:lnTo>
                    <a:pt x="209176" y="0"/>
                  </a:lnTo>
                  <a:cubicBezTo>
                    <a:pt x="225680" y="0"/>
                    <a:pt x="239058" y="13379"/>
                    <a:pt x="239058" y="29882"/>
                  </a:cubicBezTo>
                  <a:cubicBezTo>
                    <a:pt x="239058" y="38134"/>
                    <a:pt x="245748" y="44823"/>
                    <a:pt x="254000" y="44823"/>
                  </a:cubicBezTo>
                  <a:lnTo>
                    <a:pt x="455705" y="44823"/>
                  </a:lnTo>
                  <a:cubicBezTo>
                    <a:pt x="484586" y="44823"/>
                    <a:pt x="507999" y="68236"/>
                    <a:pt x="507999" y="97118"/>
                  </a:cubicBezTo>
                  <a:lnTo>
                    <a:pt x="507999" y="321235"/>
                  </a:lnTo>
                  <a:cubicBezTo>
                    <a:pt x="507999" y="350116"/>
                    <a:pt x="484586" y="373529"/>
                    <a:pt x="455705" y="373529"/>
                  </a:cubicBezTo>
                  <a:close/>
                  <a:moveTo>
                    <a:pt x="52294" y="14941"/>
                  </a:moveTo>
                  <a:cubicBezTo>
                    <a:pt x="31665" y="14941"/>
                    <a:pt x="14941" y="31665"/>
                    <a:pt x="14941" y="52294"/>
                  </a:cubicBezTo>
                  <a:lnTo>
                    <a:pt x="14941" y="321235"/>
                  </a:lnTo>
                  <a:cubicBezTo>
                    <a:pt x="14941" y="341864"/>
                    <a:pt x="31665" y="358588"/>
                    <a:pt x="52294" y="358588"/>
                  </a:cubicBezTo>
                  <a:lnTo>
                    <a:pt x="455705" y="358588"/>
                  </a:lnTo>
                  <a:cubicBezTo>
                    <a:pt x="476334" y="358588"/>
                    <a:pt x="493058" y="341864"/>
                    <a:pt x="493058" y="321235"/>
                  </a:cubicBezTo>
                  <a:lnTo>
                    <a:pt x="493058" y="97118"/>
                  </a:lnTo>
                  <a:cubicBezTo>
                    <a:pt x="493058" y="76488"/>
                    <a:pt x="476334" y="59765"/>
                    <a:pt x="455705" y="59765"/>
                  </a:cubicBezTo>
                  <a:lnTo>
                    <a:pt x="254000" y="59765"/>
                  </a:lnTo>
                  <a:cubicBezTo>
                    <a:pt x="237496" y="59765"/>
                    <a:pt x="224117" y="46386"/>
                    <a:pt x="224117" y="29882"/>
                  </a:cubicBezTo>
                  <a:cubicBezTo>
                    <a:pt x="224117" y="21631"/>
                    <a:pt x="217428" y="14941"/>
                    <a:pt x="209176" y="14941"/>
                  </a:cubicBezTo>
                  <a:close/>
                </a:path>
              </a:pathLst>
            </a:custGeom>
            <a:grpFill/>
            <a:ln w="14848" cap="flat">
              <a:noFill/>
              <a:prstDash val="solid"/>
              <a:miter/>
            </a:ln>
          </p:spPr>
          <p:txBody>
            <a:bodyPr rtlCol="0" anchor="ctr"/>
            <a:lstStyle/>
            <a:p>
              <a:endParaRPr lang="de-DE"/>
            </a:p>
          </p:txBody>
        </p:sp>
        <p:sp>
          <p:nvSpPr>
            <p:cNvPr id="4998" name="Freeform: Shape 4997">
              <a:extLst>
                <a:ext uri="{FF2B5EF4-FFF2-40B4-BE49-F238E27FC236}">
                  <a16:creationId xmlns:a16="http://schemas.microsoft.com/office/drawing/2014/main" id="{B161EA52-948F-48DE-9FD6-BD837FD59FBB}"/>
                </a:ext>
              </a:extLst>
            </p:cNvPr>
            <p:cNvSpPr/>
            <p:nvPr/>
          </p:nvSpPr>
          <p:spPr>
            <a:xfrm>
              <a:off x="6056715" y="3410922"/>
              <a:ext cx="74706" cy="74706"/>
            </a:xfrm>
            <a:custGeom>
              <a:avLst/>
              <a:gdLst>
                <a:gd name="connsiteX0" fmla="*/ 39285 w 74705"/>
                <a:gd name="connsiteY0" fmla="*/ 79186 h 74705"/>
                <a:gd name="connsiteX1" fmla="*/ 1 w 74705"/>
                <a:gd name="connsiteY1" fmla="*/ 39285 h 74705"/>
                <a:gd name="connsiteX2" fmla="*/ 39903 w 74705"/>
                <a:gd name="connsiteY2" fmla="*/ 1 h 74705"/>
                <a:gd name="connsiteX3" fmla="*/ 79186 w 74705"/>
                <a:gd name="connsiteY3" fmla="*/ 39903 h 74705"/>
                <a:gd name="connsiteX4" fmla="*/ 79177 w 74705"/>
                <a:gd name="connsiteY4" fmla="*/ 40489 h 74705"/>
                <a:gd name="connsiteX5" fmla="*/ 39285 w 74705"/>
                <a:gd name="connsiteY5" fmla="*/ 79186 h 74705"/>
                <a:gd name="connsiteX6" fmla="*/ 39285 w 74705"/>
                <a:gd name="connsiteY6" fmla="*/ 15089 h 74705"/>
                <a:gd name="connsiteX7" fmla="*/ 14944 w 74705"/>
                <a:gd name="connsiteY7" fmla="*/ 40050 h 74705"/>
                <a:gd name="connsiteX8" fmla="*/ 39905 w 74705"/>
                <a:gd name="connsiteY8" fmla="*/ 64390 h 74705"/>
                <a:gd name="connsiteX9" fmla="*/ 64236 w 74705"/>
                <a:gd name="connsiteY9" fmla="*/ 40489 h 74705"/>
                <a:gd name="connsiteX10" fmla="*/ 40344 w 74705"/>
                <a:gd name="connsiteY10" fmla="*/ 15098 h 74705"/>
                <a:gd name="connsiteX11" fmla="*/ 39285 w 74705"/>
                <a:gd name="connsiteY11" fmla="*/ 15089 h 7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05" h="74705">
                  <a:moveTo>
                    <a:pt x="39285" y="79186"/>
                  </a:moveTo>
                  <a:cubicBezTo>
                    <a:pt x="17418" y="79016"/>
                    <a:pt x="-171" y="61151"/>
                    <a:pt x="1" y="39285"/>
                  </a:cubicBezTo>
                  <a:cubicBezTo>
                    <a:pt x="172" y="17418"/>
                    <a:pt x="18035" y="-171"/>
                    <a:pt x="39903" y="1"/>
                  </a:cubicBezTo>
                  <a:cubicBezTo>
                    <a:pt x="61769" y="172"/>
                    <a:pt x="79357" y="18035"/>
                    <a:pt x="79186" y="39903"/>
                  </a:cubicBezTo>
                  <a:cubicBezTo>
                    <a:pt x="79185" y="40097"/>
                    <a:pt x="79182" y="40293"/>
                    <a:pt x="79177" y="40489"/>
                  </a:cubicBezTo>
                  <a:cubicBezTo>
                    <a:pt x="78689" y="62122"/>
                    <a:pt x="60922" y="79355"/>
                    <a:pt x="39285" y="79186"/>
                  </a:cubicBezTo>
                  <a:close/>
                  <a:moveTo>
                    <a:pt x="39285" y="15089"/>
                  </a:moveTo>
                  <a:cubicBezTo>
                    <a:pt x="25670" y="15261"/>
                    <a:pt x="14772" y="26435"/>
                    <a:pt x="14944" y="40050"/>
                  </a:cubicBezTo>
                  <a:cubicBezTo>
                    <a:pt x="15116" y="53664"/>
                    <a:pt x="26290" y="64562"/>
                    <a:pt x="39905" y="64390"/>
                  </a:cubicBezTo>
                  <a:cubicBezTo>
                    <a:pt x="53108" y="64224"/>
                    <a:pt x="63836" y="53686"/>
                    <a:pt x="64236" y="40489"/>
                  </a:cubicBezTo>
                  <a:cubicBezTo>
                    <a:pt x="64650" y="26880"/>
                    <a:pt x="53952" y="15512"/>
                    <a:pt x="40344" y="15098"/>
                  </a:cubicBezTo>
                  <a:cubicBezTo>
                    <a:pt x="39991" y="15087"/>
                    <a:pt x="39637" y="15084"/>
                    <a:pt x="39285" y="15089"/>
                  </a:cubicBezTo>
                  <a:close/>
                </a:path>
              </a:pathLst>
            </a:custGeom>
            <a:grpFill/>
            <a:ln w="14848" cap="flat">
              <a:noFill/>
              <a:prstDash val="solid"/>
              <a:miter/>
            </a:ln>
          </p:spPr>
          <p:txBody>
            <a:bodyPr rtlCol="0" anchor="ctr"/>
            <a:lstStyle/>
            <a:p>
              <a:endParaRPr lang="de-DE"/>
            </a:p>
          </p:txBody>
        </p:sp>
        <p:sp>
          <p:nvSpPr>
            <p:cNvPr id="4999" name="Freeform: Shape 4998">
              <a:extLst>
                <a:ext uri="{FF2B5EF4-FFF2-40B4-BE49-F238E27FC236}">
                  <a16:creationId xmlns:a16="http://schemas.microsoft.com/office/drawing/2014/main" id="{3355F30F-A930-4794-B77D-A6C53D76F0F2}"/>
                </a:ext>
              </a:extLst>
            </p:cNvPr>
            <p:cNvSpPr/>
            <p:nvPr/>
          </p:nvSpPr>
          <p:spPr>
            <a:xfrm>
              <a:off x="5976400" y="3331812"/>
              <a:ext cx="239058" cy="239059"/>
            </a:xfrm>
            <a:custGeom>
              <a:avLst/>
              <a:gdLst>
                <a:gd name="connsiteX0" fmla="*/ 130955 w 239058"/>
                <a:gd name="connsiteY0" fmla="*/ 239129 h 239058"/>
                <a:gd name="connsiteX1" fmla="*/ 108842 w 239058"/>
                <a:gd name="connsiteY1" fmla="*/ 239129 h 239058"/>
                <a:gd name="connsiteX2" fmla="*/ 101820 w 239058"/>
                <a:gd name="connsiteY2" fmla="*/ 234049 h 239058"/>
                <a:gd name="connsiteX3" fmla="*/ 92557 w 239058"/>
                <a:gd name="connsiteY3" fmla="*/ 206856 h 239058"/>
                <a:gd name="connsiteX4" fmla="*/ 77615 w 239058"/>
                <a:gd name="connsiteY4" fmla="*/ 201776 h 239058"/>
                <a:gd name="connsiteX5" fmla="*/ 49078 w 239058"/>
                <a:gd name="connsiteY5" fmla="*/ 212384 h 239058"/>
                <a:gd name="connsiteX6" fmla="*/ 41159 w 239058"/>
                <a:gd name="connsiteY6" fmla="*/ 210741 h 239058"/>
                <a:gd name="connsiteX7" fmla="*/ 29505 w 239058"/>
                <a:gd name="connsiteY7" fmla="*/ 199086 h 239058"/>
                <a:gd name="connsiteX8" fmla="*/ 27861 w 239058"/>
                <a:gd name="connsiteY8" fmla="*/ 191168 h 239058"/>
                <a:gd name="connsiteX9" fmla="*/ 38470 w 239058"/>
                <a:gd name="connsiteY9" fmla="*/ 162630 h 239058"/>
                <a:gd name="connsiteX10" fmla="*/ 33390 w 239058"/>
                <a:gd name="connsiteY10" fmla="*/ 147689 h 239058"/>
                <a:gd name="connsiteX11" fmla="*/ 6197 w 239058"/>
                <a:gd name="connsiteY11" fmla="*/ 138425 h 239058"/>
                <a:gd name="connsiteX12" fmla="*/ 71 w 239058"/>
                <a:gd name="connsiteY12" fmla="*/ 129909 h 239058"/>
                <a:gd name="connsiteX13" fmla="*/ 71 w 239058"/>
                <a:gd name="connsiteY13" fmla="*/ 107796 h 239058"/>
                <a:gd name="connsiteX14" fmla="*/ 5151 w 239058"/>
                <a:gd name="connsiteY14" fmla="*/ 100624 h 239058"/>
                <a:gd name="connsiteX15" fmla="*/ 32344 w 239058"/>
                <a:gd name="connsiteY15" fmla="*/ 91361 h 239058"/>
                <a:gd name="connsiteX16" fmla="*/ 37424 w 239058"/>
                <a:gd name="connsiteY16" fmla="*/ 76419 h 239058"/>
                <a:gd name="connsiteX17" fmla="*/ 26815 w 239058"/>
                <a:gd name="connsiteY17" fmla="*/ 47882 h 239058"/>
                <a:gd name="connsiteX18" fmla="*/ 28459 w 239058"/>
                <a:gd name="connsiteY18" fmla="*/ 40112 h 239058"/>
                <a:gd name="connsiteX19" fmla="*/ 40113 w 239058"/>
                <a:gd name="connsiteY19" fmla="*/ 28309 h 239058"/>
                <a:gd name="connsiteX20" fmla="*/ 48032 w 239058"/>
                <a:gd name="connsiteY20" fmla="*/ 26665 h 239058"/>
                <a:gd name="connsiteX21" fmla="*/ 76569 w 239058"/>
                <a:gd name="connsiteY21" fmla="*/ 37274 h 239058"/>
                <a:gd name="connsiteX22" fmla="*/ 91511 w 239058"/>
                <a:gd name="connsiteY22" fmla="*/ 32343 h 239058"/>
                <a:gd name="connsiteX23" fmla="*/ 100774 w 239058"/>
                <a:gd name="connsiteY23" fmla="*/ 5001 h 239058"/>
                <a:gd name="connsiteX24" fmla="*/ 108842 w 239058"/>
                <a:gd name="connsiteY24" fmla="*/ 70 h 239058"/>
                <a:gd name="connsiteX25" fmla="*/ 130955 w 239058"/>
                <a:gd name="connsiteY25" fmla="*/ 70 h 239058"/>
                <a:gd name="connsiteX26" fmla="*/ 138127 w 239058"/>
                <a:gd name="connsiteY26" fmla="*/ 5001 h 239058"/>
                <a:gd name="connsiteX27" fmla="*/ 147391 w 239058"/>
                <a:gd name="connsiteY27" fmla="*/ 32343 h 239058"/>
                <a:gd name="connsiteX28" fmla="*/ 163079 w 239058"/>
                <a:gd name="connsiteY28" fmla="*/ 37274 h 239058"/>
                <a:gd name="connsiteX29" fmla="*/ 191616 w 239058"/>
                <a:gd name="connsiteY29" fmla="*/ 26665 h 239058"/>
                <a:gd name="connsiteX30" fmla="*/ 199386 w 239058"/>
                <a:gd name="connsiteY30" fmla="*/ 28309 h 239058"/>
                <a:gd name="connsiteX31" fmla="*/ 211189 w 239058"/>
                <a:gd name="connsiteY31" fmla="*/ 40112 h 239058"/>
                <a:gd name="connsiteX32" fmla="*/ 212833 w 239058"/>
                <a:gd name="connsiteY32" fmla="*/ 47882 h 239058"/>
                <a:gd name="connsiteX33" fmla="*/ 202225 w 239058"/>
                <a:gd name="connsiteY33" fmla="*/ 76419 h 239058"/>
                <a:gd name="connsiteX34" fmla="*/ 207155 w 239058"/>
                <a:gd name="connsiteY34" fmla="*/ 91361 h 239058"/>
                <a:gd name="connsiteX35" fmla="*/ 234497 w 239058"/>
                <a:gd name="connsiteY35" fmla="*/ 100624 h 239058"/>
                <a:gd name="connsiteX36" fmla="*/ 239428 w 239058"/>
                <a:gd name="connsiteY36" fmla="*/ 107796 h 239058"/>
                <a:gd name="connsiteX37" fmla="*/ 239428 w 239058"/>
                <a:gd name="connsiteY37" fmla="*/ 129909 h 239058"/>
                <a:gd name="connsiteX38" fmla="*/ 234497 w 239058"/>
                <a:gd name="connsiteY38" fmla="*/ 136931 h 239058"/>
                <a:gd name="connsiteX39" fmla="*/ 207155 w 239058"/>
                <a:gd name="connsiteY39" fmla="*/ 146195 h 239058"/>
                <a:gd name="connsiteX40" fmla="*/ 202225 w 239058"/>
                <a:gd name="connsiteY40" fmla="*/ 161136 h 239058"/>
                <a:gd name="connsiteX41" fmla="*/ 212833 w 239058"/>
                <a:gd name="connsiteY41" fmla="*/ 189673 h 239058"/>
                <a:gd name="connsiteX42" fmla="*/ 211189 w 239058"/>
                <a:gd name="connsiteY42" fmla="*/ 197592 h 239058"/>
                <a:gd name="connsiteX43" fmla="*/ 199386 w 239058"/>
                <a:gd name="connsiteY43" fmla="*/ 209246 h 239058"/>
                <a:gd name="connsiteX44" fmla="*/ 191616 w 239058"/>
                <a:gd name="connsiteY44" fmla="*/ 210890 h 239058"/>
                <a:gd name="connsiteX45" fmla="*/ 163079 w 239058"/>
                <a:gd name="connsiteY45" fmla="*/ 200282 h 239058"/>
                <a:gd name="connsiteX46" fmla="*/ 147391 w 239058"/>
                <a:gd name="connsiteY46" fmla="*/ 205362 h 239058"/>
                <a:gd name="connsiteX47" fmla="*/ 138127 w 239058"/>
                <a:gd name="connsiteY47" fmla="*/ 232555 h 239058"/>
                <a:gd name="connsiteX48" fmla="*/ 130955 w 239058"/>
                <a:gd name="connsiteY48" fmla="*/ 239129 h 239058"/>
                <a:gd name="connsiteX49" fmla="*/ 114221 w 239058"/>
                <a:gd name="connsiteY49" fmla="*/ 224188 h 239058"/>
                <a:gd name="connsiteX50" fmla="*/ 125726 w 239058"/>
                <a:gd name="connsiteY50" fmla="*/ 224188 h 239058"/>
                <a:gd name="connsiteX51" fmla="*/ 134541 w 239058"/>
                <a:gd name="connsiteY51" fmla="*/ 197592 h 239058"/>
                <a:gd name="connsiteX52" fmla="*/ 139322 w 239058"/>
                <a:gd name="connsiteY52" fmla="*/ 192961 h 239058"/>
                <a:gd name="connsiteX53" fmla="*/ 160987 w 239058"/>
                <a:gd name="connsiteY53" fmla="*/ 186088 h 239058"/>
                <a:gd name="connsiteX54" fmla="*/ 165918 w 239058"/>
                <a:gd name="connsiteY54" fmla="*/ 186088 h 239058"/>
                <a:gd name="connsiteX55" fmla="*/ 192214 w 239058"/>
                <a:gd name="connsiteY55" fmla="*/ 195949 h 239058"/>
                <a:gd name="connsiteX56" fmla="*/ 197145 w 239058"/>
                <a:gd name="connsiteY56" fmla="*/ 191168 h 239058"/>
                <a:gd name="connsiteX57" fmla="*/ 187283 w 239058"/>
                <a:gd name="connsiteY57" fmla="*/ 164423 h 239058"/>
                <a:gd name="connsiteX58" fmla="*/ 187283 w 239058"/>
                <a:gd name="connsiteY58" fmla="*/ 159642 h 239058"/>
                <a:gd name="connsiteX59" fmla="*/ 194306 w 239058"/>
                <a:gd name="connsiteY59" fmla="*/ 138126 h 239058"/>
                <a:gd name="connsiteX60" fmla="*/ 198937 w 239058"/>
                <a:gd name="connsiteY60" fmla="*/ 133345 h 239058"/>
                <a:gd name="connsiteX61" fmla="*/ 224188 w 239058"/>
                <a:gd name="connsiteY61" fmla="*/ 124530 h 239058"/>
                <a:gd name="connsiteX62" fmla="*/ 224188 w 239058"/>
                <a:gd name="connsiteY62" fmla="*/ 113025 h 239058"/>
                <a:gd name="connsiteX63" fmla="*/ 198788 w 239058"/>
                <a:gd name="connsiteY63" fmla="*/ 104658 h 239058"/>
                <a:gd name="connsiteX64" fmla="*/ 194156 w 239058"/>
                <a:gd name="connsiteY64" fmla="*/ 99877 h 239058"/>
                <a:gd name="connsiteX65" fmla="*/ 187134 w 239058"/>
                <a:gd name="connsiteY65" fmla="*/ 78212 h 239058"/>
                <a:gd name="connsiteX66" fmla="*/ 187134 w 239058"/>
                <a:gd name="connsiteY66" fmla="*/ 73282 h 239058"/>
                <a:gd name="connsiteX67" fmla="*/ 196995 w 239058"/>
                <a:gd name="connsiteY67" fmla="*/ 46985 h 239058"/>
                <a:gd name="connsiteX68" fmla="*/ 192065 w 239058"/>
                <a:gd name="connsiteY68" fmla="*/ 42055 h 239058"/>
                <a:gd name="connsiteX69" fmla="*/ 165768 w 239058"/>
                <a:gd name="connsiteY69" fmla="*/ 51916 h 239058"/>
                <a:gd name="connsiteX70" fmla="*/ 160838 w 239058"/>
                <a:gd name="connsiteY70" fmla="*/ 51916 h 239058"/>
                <a:gd name="connsiteX71" fmla="*/ 139322 w 239058"/>
                <a:gd name="connsiteY71" fmla="*/ 44894 h 239058"/>
                <a:gd name="connsiteX72" fmla="*/ 134541 w 239058"/>
                <a:gd name="connsiteY72" fmla="*/ 39963 h 239058"/>
                <a:gd name="connsiteX73" fmla="*/ 125726 w 239058"/>
                <a:gd name="connsiteY73" fmla="*/ 15011 h 239058"/>
                <a:gd name="connsiteX74" fmla="*/ 114221 w 239058"/>
                <a:gd name="connsiteY74" fmla="*/ 15011 h 239058"/>
                <a:gd name="connsiteX75" fmla="*/ 105406 w 239058"/>
                <a:gd name="connsiteY75" fmla="*/ 40710 h 239058"/>
                <a:gd name="connsiteX76" fmla="*/ 100625 w 239058"/>
                <a:gd name="connsiteY76" fmla="*/ 45342 h 239058"/>
                <a:gd name="connsiteX77" fmla="*/ 78811 w 239058"/>
                <a:gd name="connsiteY77" fmla="*/ 52364 h 239058"/>
                <a:gd name="connsiteX78" fmla="*/ 74030 w 239058"/>
                <a:gd name="connsiteY78" fmla="*/ 52364 h 239058"/>
                <a:gd name="connsiteX79" fmla="*/ 47584 w 239058"/>
                <a:gd name="connsiteY79" fmla="*/ 42503 h 239058"/>
                <a:gd name="connsiteX80" fmla="*/ 42802 w 239058"/>
                <a:gd name="connsiteY80" fmla="*/ 47434 h 239058"/>
                <a:gd name="connsiteX81" fmla="*/ 52664 w 239058"/>
                <a:gd name="connsiteY81" fmla="*/ 73730 h 239058"/>
                <a:gd name="connsiteX82" fmla="*/ 52664 w 239058"/>
                <a:gd name="connsiteY82" fmla="*/ 78661 h 239058"/>
                <a:gd name="connsiteX83" fmla="*/ 45791 w 239058"/>
                <a:gd name="connsiteY83" fmla="*/ 100325 h 239058"/>
                <a:gd name="connsiteX84" fmla="*/ 41159 w 239058"/>
                <a:gd name="connsiteY84" fmla="*/ 105107 h 239058"/>
                <a:gd name="connsiteX85" fmla="*/ 15012 w 239058"/>
                <a:gd name="connsiteY85" fmla="*/ 113025 h 239058"/>
                <a:gd name="connsiteX86" fmla="*/ 15012 w 239058"/>
                <a:gd name="connsiteY86" fmla="*/ 124530 h 239058"/>
                <a:gd name="connsiteX87" fmla="*/ 40860 w 239058"/>
                <a:gd name="connsiteY87" fmla="*/ 133345 h 239058"/>
                <a:gd name="connsiteX88" fmla="*/ 45492 w 239058"/>
                <a:gd name="connsiteY88" fmla="*/ 138126 h 239058"/>
                <a:gd name="connsiteX89" fmla="*/ 52365 w 239058"/>
                <a:gd name="connsiteY89" fmla="*/ 159941 h 239058"/>
                <a:gd name="connsiteX90" fmla="*/ 52365 w 239058"/>
                <a:gd name="connsiteY90" fmla="*/ 164722 h 239058"/>
                <a:gd name="connsiteX91" fmla="*/ 42504 w 239058"/>
                <a:gd name="connsiteY91" fmla="*/ 191168 h 239058"/>
                <a:gd name="connsiteX92" fmla="*/ 47285 w 239058"/>
                <a:gd name="connsiteY92" fmla="*/ 195949 h 239058"/>
                <a:gd name="connsiteX93" fmla="*/ 74777 w 239058"/>
                <a:gd name="connsiteY93" fmla="*/ 186088 h 239058"/>
                <a:gd name="connsiteX94" fmla="*/ 79558 w 239058"/>
                <a:gd name="connsiteY94" fmla="*/ 186088 h 239058"/>
                <a:gd name="connsiteX95" fmla="*/ 101372 w 239058"/>
                <a:gd name="connsiteY95" fmla="*/ 192961 h 239058"/>
                <a:gd name="connsiteX96" fmla="*/ 106153 w 239058"/>
                <a:gd name="connsiteY96" fmla="*/ 197592 h 23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39058" h="239058">
                  <a:moveTo>
                    <a:pt x="130955" y="239129"/>
                  </a:moveTo>
                  <a:lnTo>
                    <a:pt x="108842" y="239129"/>
                  </a:lnTo>
                  <a:cubicBezTo>
                    <a:pt x="105673" y="239061"/>
                    <a:pt x="102876" y="237038"/>
                    <a:pt x="101820" y="234049"/>
                  </a:cubicBezTo>
                  <a:lnTo>
                    <a:pt x="92557" y="206856"/>
                  </a:lnTo>
                  <a:lnTo>
                    <a:pt x="77615" y="201776"/>
                  </a:lnTo>
                  <a:lnTo>
                    <a:pt x="49078" y="212384"/>
                  </a:lnTo>
                  <a:cubicBezTo>
                    <a:pt x="46344" y="213436"/>
                    <a:pt x="43248" y="212793"/>
                    <a:pt x="41159" y="210741"/>
                  </a:cubicBezTo>
                  <a:lnTo>
                    <a:pt x="29505" y="199086"/>
                  </a:lnTo>
                  <a:cubicBezTo>
                    <a:pt x="27452" y="196998"/>
                    <a:pt x="26810" y="193902"/>
                    <a:pt x="27861" y="191168"/>
                  </a:cubicBezTo>
                  <a:lnTo>
                    <a:pt x="38470" y="162630"/>
                  </a:lnTo>
                  <a:lnTo>
                    <a:pt x="33390" y="147689"/>
                  </a:lnTo>
                  <a:lnTo>
                    <a:pt x="6197" y="138425"/>
                  </a:lnTo>
                  <a:cubicBezTo>
                    <a:pt x="2215" y="137668"/>
                    <a:pt x="-478" y="133925"/>
                    <a:pt x="71" y="129909"/>
                  </a:cubicBezTo>
                  <a:lnTo>
                    <a:pt x="71" y="107796"/>
                  </a:lnTo>
                  <a:cubicBezTo>
                    <a:pt x="76" y="104572"/>
                    <a:pt x="2111" y="101698"/>
                    <a:pt x="5151" y="100624"/>
                  </a:cubicBezTo>
                  <a:lnTo>
                    <a:pt x="32344" y="91361"/>
                  </a:lnTo>
                  <a:lnTo>
                    <a:pt x="37424" y="76419"/>
                  </a:lnTo>
                  <a:lnTo>
                    <a:pt x="26815" y="47882"/>
                  </a:lnTo>
                  <a:cubicBezTo>
                    <a:pt x="25749" y="45197"/>
                    <a:pt x="26397" y="42135"/>
                    <a:pt x="28459" y="40112"/>
                  </a:cubicBezTo>
                  <a:lnTo>
                    <a:pt x="40113" y="28309"/>
                  </a:lnTo>
                  <a:cubicBezTo>
                    <a:pt x="42238" y="26322"/>
                    <a:pt x="45293" y="25688"/>
                    <a:pt x="48032" y="26665"/>
                  </a:cubicBezTo>
                  <a:lnTo>
                    <a:pt x="76569" y="37274"/>
                  </a:lnTo>
                  <a:lnTo>
                    <a:pt x="91511" y="32343"/>
                  </a:lnTo>
                  <a:lnTo>
                    <a:pt x="100774" y="5001"/>
                  </a:lnTo>
                  <a:cubicBezTo>
                    <a:pt x="101949" y="1648"/>
                    <a:pt x="105322" y="-414"/>
                    <a:pt x="108842" y="70"/>
                  </a:cubicBezTo>
                  <a:lnTo>
                    <a:pt x="130955" y="70"/>
                  </a:lnTo>
                  <a:cubicBezTo>
                    <a:pt x="134156" y="8"/>
                    <a:pt x="137039" y="1991"/>
                    <a:pt x="138127" y="5001"/>
                  </a:cubicBezTo>
                  <a:lnTo>
                    <a:pt x="147391" y="32343"/>
                  </a:lnTo>
                  <a:lnTo>
                    <a:pt x="163079" y="37274"/>
                  </a:lnTo>
                  <a:lnTo>
                    <a:pt x="191616" y="26665"/>
                  </a:lnTo>
                  <a:cubicBezTo>
                    <a:pt x="194307" y="25677"/>
                    <a:pt x="197325" y="26316"/>
                    <a:pt x="199386" y="28309"/>
                  </a:cubicBezTo>
                  <a:lnTo>
                    <a:pt x="211189" y="40112"/>
                  </a:lnTo>
                  <a:cubicBezTo>
                    <a:pt x="213182" y="42173"/>
                    <a:pt x="213820" y="45191"/>
                    <a:pt x="212833" y="47882"/>
                  </a:cubicBezTo>
                  <a:lnTo>
                    <a:pt x="202225" y="76419"/>
                  </a:lnTo>
                  <a:lnTo>
                    <a:pt x="207155" y="91361"/>
                  </a:lnTo>
                  <a:lnTo>
                    <a:pt x="234497" y="100624"/>
                  </a:lnTo>
                  <a:cubicBezTo>
                    <a:pt x="237508" y="101712"/>
                    <a:pt x="239491" y="104596"/>
                    <a:pt x="239428" y="107796"/>
                  </a:cubicBezTo>
                  <a:lnTo>
                    <a:pt x="239428" y="129909"/>
                  </a:lnTo>
                  <a:cubicBezTo>
                    <a:pt x="239427" y="133054"/>
                    <a:pt x="237456" y="135861"/>
                    <a:pt x="234497" y="136931"/>
                  </a:cubicBezTo>
                  <a:lnTo>
                    <a:pt x="207155" y="146195"/>
                  </a:lnTo>
                  <a:lnTo>
                    <a:pt x="202225" y="161136"/>
                  </a:lnTo>
                  <a:lnTo>
                    <a:pt x="212833" y="189673"/>
                  </a:lnTo>
                  <a:cubicBezTo>
                    <a:pt x="213810" y="192412"/>
                    <a:pt x="213176" y="195468"/>
                    <a:pt x="211189" y="197592"/>
                  </a:cubicBezTo>
                  <a:lnTo>
                    <a:pt x="199386" y="209246"/>
                  </a:lnTo>
                  <a:cubicBezTo>
                    <a:pt x="197363" y="211308"/>
                    <a:pt x="194301" y="211957"/>
                    <a:pt x="191616" y="210890"/>
                  </a:cubicBezTo>
                  <a:lnTo>
                    <a:pt x="163079" y="200282"/>
                  </a:lnTo>
                  <a:lnTo>
                    <a:pt x="147391" y="205362"/>
                  </a:lnTo>
                  <a:lnTo>
                    <a:pt x="138127" y="232555"/>
                  </a:lnTo>
                  <a:cubicBezTo>
                    <a:pt x="137628" y="236185"/>
                    <a:pt x="134616" y="238948"/>
                    <a:pt x="130955" y="239129"/>
                  </a:cubicBezTo>
                  <a:close/>
                  <a:moveTo>
                    <a:pt x="114221" y="224188"/>
                  </a:moveTo>
                  <a:lnTo>
                    <a:pt x="125726" y="224188"/>
                  </a:lnTo>
                  <a:lnTo>
                    <a:pt x="134541" y="197592"/>
                  </a:lnTo>
                  <a:cubicBezTo>
                    <a:pt x="135300" y="195371"/>
                    <a:pt x="137078" y="193649"/>
                    <a:pt x="139322" y="192961"/>
                  </a:cubicBezTo>
                  <a:lnTo>
                    <a:pt x="160987" y="186088"/>
                  </a:lnTo>
                  <a:cubicBezTo>
                    <a:pt x="162577" y="185491"/>
                    <a:pt x="164328" y="185491"/>
                    <a:pt x="165918" y="186088"/>
                  </a:cubicBezTo>
                  <a:lnTo>
                    <a:pt x="192214" y="195949"/>
                  </a:lnTo>
                  <a:lnTo>
                    <a:pt x="197145" y="191168"/>
                  </a:lnTo>
                  <a:lnTo>
                    <a:pt x="187283" y="164423"/>
                  </a:lnTo>
                  <a:cubicBezTo>
                    <a:pt x="186759" y="162872"/>
                    <a:pt x="186759" y="161193"/>
                    <a:pt x="187283" y="159642"/>
                  </a:cubicBezTo>
                  <a:lnTo>
                    <a:pt x="194306" y="138126"/>
                  </a:lnTo>
                  <a:cubicBezTo>
                    <a:pt x="194995" y="135882"/>
                    <a:pt x="196716" y="134104"/>
                    <a:pt x="198937" y="133345"/>
                  </a:cubicBezTo>
                  <a:lnTo>
                    <a:pt x="224188" y="124530"/>
                  </a:lnTo>
                  <a:lnTo>
                    <a:pt x="224188" y="113025"/>
                  </a:lnTo>
                  <a:lnTo>
                    <a:pt x="198788" y="104658"/>
                  </a:lnTo>
                  <a:cubicBezTo>
                    <a:pt x="196566" y="103899"/>
                    <a:pt x="194845" y="102121"/>
                    <a:pt x="194156" y="99877"/>
                  </a:cubicBezTo>
                  <a:lnTo>
                    <a:pt x="187134" y="78212"/>
                  </a:lnTo>
                  <a:cubicBezTo>
                    <a:pt x="186610" y="76611"/>
                    <a:pt x="186610" y="74884"/>
                    <a:pt x="187134" y="73282"/>
                  </a:cubicBezTo>
                  <a:lnTo>
                    <a:pt x="196995" y="46985"/>
                  </a:lnTo>
                  <a:lnTo>
                    <a:pt x="192065" y="42055"/>
                  </a:lnTo>
                  <a:lnTo>
                    <a:pt x="165768" y="51916"/>
                  </a:lnTo>
                  <a:cubicBezTo>
                    <a:pt x="164166" y="52441"/>
                    <a:pt x="162439" y="52441"/>
                    <a:pt x="160838" y="51916"/>
                  </a:cubicBezTo>
                  <a:lnTo>
                    <a:pt x="139322" y="44894"/>
                  </a:lnTo>
                  <a:cubicBezTo>
                    <a:pt x="136978" y="44195"/>
                    <a:pt x="135167" y="42327"/>
                    <a:pt x="134541" y="39963"/>
                  </a:cubicBezTo>
                  <a:lnTo>
                    <a:pt x="125726" y="15011"/>
                  </a:lnTo>
                  <a:lnTo>
                    <a:pt x="114221" y="15011"/>
                  </a:lnTo>
                  <a:lnTo>
                    <a:pt x="105406" y="40710"/>
                  </a:lnTo>
                  <a:cubicBezTo>
                    <a:pt x="104692" y="42959"/>
                    <a:pt x="102896" y="44699"/>
                    <a:pt x="100625" y="45342"/>
                  </a:cubicBezTo>
                  <a:lnTo>
                    <a:pt x="78811" y="52364"/>
                  </a:lnTo>
                  <a:cubicBezTo>
                    <a:pt x="77260" y="52888"/>
                    <a:pt x="75580" y="52888"/>
                    <a:pt x="74030" y="52364"/>
                  </a:cubicBezTo>
                  <a:lnTo>
                    <a:pt x="47584" y="42503"/>
                  </a:lnTo>
                  <a:lnTo>
                    <a:pt x="42802" y="47434"/>
                  </a:lnTo>
                  <a:lnTo>
                    <a:pt x="52664" y="73730"/>
                  </a:lnTo>
                  <a:cubicBezTo>
                    <a:pt x="53260" y="75320"/>
                    <a:pt x="53260" y="77071"/>
                    <a:pt x="52664" y="78661"/>
                  </a:cubicBezTo>
                  <a:lnTo>
                    <a:pt x="45791" y="100325"/>
                  </a:lnTo>
                  <a:cubicBezTo>
                    <a:pt x="45102" y="102570"/>
                    <a:pt x="43381" y="104348"/>
                    <a:pt x="41159" y="105107"/>
                  </a:cubicBezTo>
                  <a:lnTo>
                    <a:pt x="15012" y="113025"/>
                  </a:lnTo>
                  <a:lnTo>
                    <a:pt x="15012" y="124530"/>
                  </a:lnTo>
                  <a:lnTo>
                    <a:pt x="40860" y="133345"/>
                  </a:lnTo>
                  <a:cubicBezTo>
                    <a:pt x="43082" y="134104"/>
                    <a:pt x="44803" y="135882"/>
                    <a:pt x="45492" y="138126"/>
                  </a:cubicBezTo>
                  <a:lnTo>
                    <a:pt x="52365" y="159941"/>
                  </a:lnTo>
                  <a:cubicBezTo>
                    <a:pt x="52965" y="161478"/>
                    <a:pt x="52965" y="163184"/>
                    <a:pt x="52365" y="164722"/>
                  </a:cubicBezTo>
                  <a:lnTo>
                    <a:pt x="42504" y="191168"/>
                  </a:lnTo>
                  <a:lnTo>
                    <a:pt x="47285" y="195949"/>
                  </a:lnTo>
                  <a:lnTo>
                    <a:pt x="74777" y="186088"/>
                  </a:lnTo>
                  <a:cubicBezTo>
                    <a:pt x="76314" y="185487"/>
                    <a:pt x="78020" y="185487"/>
                    <a:pt x="79558" y="186088"/>
                  </a:cubicBezTo>
                  <a:lnTo>
                    <a:pt x="101372" y="192961"/>
                  </a:lnTo>
                  <a:cubicBezTo>
                    <a:pt x="103616" y="193649"/>
                    <a:pt x="105394" y="195371"/>
                    <a:pt x="106153" y="197592"/>
                  </a:cubicBezTo>
                  <a:close/>
                </a:path>
              </a:pathLst>
            </a:custGeom>
            <a:grpFill/>
            <a:ln w="14848" cap="flat">
              <a:noFill/>
              <a:prstDash val="solid"/>
              <a:miter/>
            </a:ln>
          </p:spPr>
          <p:txBody>
            <a:bodyPr rtlCol="0" anchor="ctr"/>
            <a:lstStyle/>
            <a:p>
              <a:endParaRPr lang="de-DE"/>
            </a:p>
          </p:txBody>
        </p:sp>
      </p:grpSp>
      <p:grpSp>
        <p:nvGrpSpPr>
          <p:cNvPr id="5000" name="Graphic 12">
            <a:extLst>
              <a:ext uri="{FF2B5EF4-FFF2-40B4-BE49-F238E27FC236}">
                <a16:creationId xmlns:a16="http://schemas.microsoft.com/office/drawing/2014/main" id="{58373C5D-12D0-43B5-ABB1-95F460870445}"/>
              </a:ext>
              <a:ext uri="{C183D7F6-B498-43B3-948B-1728B52AA6E4}">
                <adec:decorative xmlns:adec="http://schemas.microsoft.com/office/drawing/2017/decorative" val="1"/>
              </a:ext>
            </a:extLst>
          </p:cNvPr>
          <p:cNvGrpSpPr>
            <a:grpSpLocks noChangeAspect="1"/>
          </p:cNvGrpSpPr>
          <p:nvPr/>
        </p:nvGrpSpPr>
        <p:grpSpPr>
          <a:xfrm>
            <a:off x="560309" y="2082601"/>
            <a:ext cx="108908" cy="132246"/>
            <a:chOff x="5905281" y="3152587"/>
            <a:chExt cx="381439" cy="463175"/>
          </a:xfrm>
          <a:solidFill>
            <a:schemeClr val="tx1"/>
          </a:solidFill>
        </p:grpSpPr>
        <p:sp>
          <p:nvSpPr>
            <p:cNvPr id="5001" name="Freeform: Shape 5000">
              <a:extLst>
                <a:ext uri="{FF2B5EF4-FFF2-40B4-BE49-F238E27FC236}">
                  <a16:creationId xmlns:a16="http://schemas.microsoft.com/office/drawing/2014/main" id="{6A8FCC1B-D3E4-496E-B7C7-7BE79CA05038}"/>
                </a:ext>
              </a:extLst>
            </p:cNvPr>
            <p:cNvSpPr/>
            <p:nvPr/>
          </p:nvSpPr>
          <p:spPr>
            <a:xfrm>
              <a:off x="6059764" y="3419730"/>
              <a:ext cx="68114" cy="68114"/>
            </a:xfrm>
            <a:custGeom>
              <a:avLst/>
              <a:gdLst>
                <a:gd name="connsiteX0" fmla="*/ 36237 w 68114"/>
                <a:gd name="connsiteY0" fmla="*/ 72201 h 68113"/>
                <a:gd name="connsiteX1" fmla="*/ 0 w 68114"/>
                <a:gd name="connsiteY1" fmla="*/ 36237 h 68113"/>
                <a:gd name="connsiteX2" fmla="*/ 35965 w 68114"/>
                <a:gd name="connsiteY2" fmla="*/ 0 h 68113"/>
                <a:gd name="connsiteX3" fmla="*/ 72201 w 68114"/>
                <a:gd name="connsiteY3" fmla="*/ 35964 h 68113"/>
                <a:gd name="connsiteX4" fmla="*/ 72201 w 68114"/>
                <a:gd name="connsiteY4" fmla="*/ 36237 h 68113"/>
                <a:gd name="connsiteX5" fmla="*/ 36237 w 68114"/>
                <a:gd name="connsiteY5" fmla="*/ 72201 h 68113"/>
                <a:gd name="connsiteX6" fmla="*/ 36237 w 68114"/>
                <a:gd name="connsiteY6" fmla="*/ 13759 h 68113"/>
                <a:gd name="connsiteX7" fmla="*/ 13623 w 68114"/>
                <a:gd name="connsiteY7" fmla="*/ 36101 h 68113"/>
                <a:gd name="connsiteX8" fmla="*/ 35965 w 68114"/>
                <a:gd name="connsiteY8" fmla="*/ 58713 h 68113"/>
                <a:gd name="connsiteX9" fmla="*/ 58578 w 68114"/>
                <a:gd name="connsiteY9" fmla="*/ 36373 h 68113"/>
                <a:gd name="connsiteX10" fmla="*/ 58578 w 68114"/>
                <a:gd name="connsiteY10" fmla="*/ 36237 h 68113"/>
                <a:gd name="connsiteX11" fmla="*/ 36373 w 68114"/>
                <a:gd name="connsiteY11" fmla="*/ 13759 h 68113"/>
                <a:gd name="connsiteX12" fmla="*/ 36237 w 68114"/>
                <a:gd name="connsiteY12" fmla="*/ 13759 h 6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114" h="68113">
                  <a:moveTo>
                    <a:pt x="36237" y="72201"/>
                  </a:moveTo>
                  <a:cubicBezTo>
                    <a:pt x="16300" y="72276"/>
                    <a:pt x="77" y="56174"/>
                    <a:pt x="0" y="36237"/>
                  </a:cubicBezTo>
                  <a:cubicBezTo>
                    <a:pt x="-75" y="16300"/>
                    <a:pt x="16028" y="77"/>
                    <a:pt x="35965" y="0"/>
                  </a:cubicBezTo>
                  <a:cubicBezTo>
                    <a:pt x="55903" y="-75"/>
                    <a:pt x="72126" y="16027"/>
                    <a:pt x="72201" y="35964"/>
                  </a:cubicBezTo>
                  <a:cubicBezTo>
                    <a:pt x="72201" y="36056"/>
                    <a:pt x="72201" y="36146"/>
                    <a:pt x="72201" y="36237"/>
                  </a:cubicBezTo>
                  <a:cubicBezTo>
                    <a:pt x="72201" y="56099"/>
                    <a:pt x="56099" y="72201"/>
                    <a:pt x="36237" y="72201"/>
                  </a:cubicBezTo>
                  <a:close/>
                  <a:moveTo>
                    <a:pt x="36237" y="13759"/>
                  </a:moveTo>
                  <a:cubicBezTo>
                    <a:pt x="23822" y="13684"/>
                    <a:pt x="13699" y="23686"/>
                    <a:pt x="13623" y="36101"/>
                  </a:cubicBezTo>
                  <a:cubicBezTo>
                    <a:pt x="13548" y="48514"/>
                    <a:pt x="23550" y="58638"/>
                    <a:pt x="35965" y="58713"/>
                  </a:cubicBezTo>
                  <a:cubicBezTo>
                    <a:pt x="48379" y="58789"/>
                    <a:pt x="58502" y="48786"/>
                    <a:pt x="58578" y="36373"/>
                  </a:cubicBezTo>
                  <a:cubicBezTo>
                    <a:pt x="58578" y="36327"/>
                    <a:pt x="58578" y="36282"/>
                    <a:pt x="58578" y="36237"/>
                  </a:cubicBezTo>
                  <a:cubicBezTo>
                    <a:pt x="58653" y="23899"/>
                    <a:pt x="48713" y="13836"/>
                    <a:pt x="36373" y="13759"/>
                  </a:cubicBezTo>
                  <a:cubicBezTo>
                    <a:pt x="36328" y="13759"/>
                    <a:pt x="36282" y="13759"/>
                    <a:pt x="36237" y="13759"/>
                  </a:cubicBezTo>
                  <a:close/>
                </a:path>
              </a:pathLst>
            </a:custGeom>
            <a:grpFill/>
            <a:ln w="13607" cap="flat">
              <a:noFill/>
              <a:prstDash val="solid"/>
              <a:miter/>
            </a:ln>
          </p:spPr>
          <p:txBody>
            <a:bodyPr rtlCol="0" anchor="ctr"/>
            <a:lstStyle/>
            <a:p>
              <a:endParaRPr lang="de-DE"/>
            </a:p>
          </p:txBody>
        </p:sp>
        <p:sp>
          <p:nvSpPr>
            <p:cNvPr id="5002" name="Freeform: Shape 5001">
              <a:extLst>
                <a:ext uri="{FF2B5EF4-FFF2-40B4-BE49-F238E27FC236}">
                  <a16:creationId xmlns:a16="http://schemas.microsoft.com/office/drawing/2014/main" id="{0C4E9806-10F7-41AF-8B7C-B34C5AA36E59}"/>
                </a:ext>
              </a:extLst>
            </p:cNvPr>
            <p:cNvSpPr/>
            <p:nvPr/>
          </p:nvSpPr>
          <p:spPr>
            <a:xfrm>
              <a:off x="5986986" y="3347665"/>
              <a:ext cx="217965" cy="204342"/>
            </a:xfrm>
            <a:custGeom>
              <a:avLst/>
              <a:gdLst>
                <a:gd name="connsiteX0" fmla="*/ 119095 w 217965"/>
                <a:gd name="connsiteY0" fmla="*/ 217284 h 204341"/>
                <a:gd name="connsiteX1" fmla="*/ 98933 w 217965"/>
                <a:gd name="connsiteY1" fmla="*/ 217284 h 204341"/>
                <a:gd name="connsiteX2" fmla="*/ 92531 w 217965"/>
                <a:gd name="connsiteY2" fmla="*/ 212652 h 204341"/>
                <a:gd name="connsiteX3" fmla="*/ 83948 w 217965"/>
                <a:gd name="connsiteY3" fmla="*/ 187858 h 204341"/>
                <a:gd name="connsiteX4" fmla="*/ 69644 w 217965"/>
                <a:gd name="connsiteY4" fmla="*/ 183227 h 204341"/>
                <a:gd name="connsiteX5" fmla="*/ 43761 w 217965"/>
                <a:gd name="connsiteY5" fmla="*/ 192899 h 204341"/>
                <a:gd name="connsiteX6" fmla="*/ 36541 w 217965"/>
                <a:gd name="connsiteY6" fmla="*/ 191400 h 204341"/>
                <a:gd name="connsiteX7" fmla="*/ 25915 w 217965"/>
                <a:gd name="connsiteY7" fmla="*/ 180774 h 204341"/>
                <a:gd name="connsiteX8" fmla="*/ 24280 w 217965"/>
                <a:gd name="connsiteY8" fmla="*/ 173554 h 204341"/>
                <a:gd name="connsiteX9" fmla="*/ 33952 w 217965"/>
                <a:gd name="connsiteY9" fmla="*/ 147535 h 204341"/>
                <a:gd name="connsiteX10" fmla="*/ 29457 w 217965"/>
                <a:gd name="connsiteY10" fmla="*/ 133912 h 204341"/>
                <a:gd name="connsiteX11" fmla="*/ 4663 w 217965"/>
                <a:gd name="connsiteY11" fmla="*/ 125466 h 204341"/>
                <a:gd name="connsiteX12" fmla="*/ 32 w 217965"/>
                <a:gd name="connsiteY12" fmla="*/ 118246 h 204341"/>
                <a:gd name="connsiteX13" fmla="*/ 32 w 217965"/>
                <a:gd name="connsiteY13" fmla="*/ 98220 h 204341"/>
                <a:gd name="connsiteX14" fmla="*/ 4663 w 217965"/>
                <a:gd name="connsiteY14" fmla="*/ 91681 h 204341"/>
                <a:gd name="connsiteX15" fmla="*/ 29457 w 217965"/>
                <a:gd name="connsiteY15" fmla="*/ 83235 h 204341"/>
                <a:gd name="connsiteX16" fmla="*/ 33952 w 217965"/>
                <a:gd name="connsiteY16" fmla="*/ 68931 h 204341"/>
                <a:gd name="connsiteX17" fmla="*/ 24280 w 217965"/>
                <a:gd name="connsiteY17" fmla="*/ 42912 h 204341"/>
                <a:gd name="connsiteX18" fmla="*/ 25915 w 217965"/>
                <a:gd name="connsiteY18" fmla="*/ 36509 h 204341"/>
                <a:gd name="connsiteX19" fmla="*/ 36541 w 217965"/>
                <a:gd name="connsiteY19" fmla="*/ 25747 h 204341"/>
                <a:gd name="connsiteX20" fmla="*/ 43761 w 217965"/>
                <a:gd name="connsiteY20" fmla="*/ 24249 h 204341"/>
                <a:gd name="connsiteX21" fmla="*/ 69644 w 217965"/>
                <a:gd name="connsiteY21" fmla="*/ 33921 h 204341"/>
                <a:gd name="connsiteX22" fmla="*/ 83948 w 217965"/>
                <a:gd name="connsiteY22" fmla="*/ 29425 h 204341"/>
                <a:gd name="connsiteX23" fmla="*/ 92531 w 217965"/>
                <a:gd name="connsiteY23" fmla="*/ 4496 h 204341"/>
                <a:gd name="connsiteX24" fmla="*/ 98933 w 217965"/>
                <a:gd name="connsiteY24" fmla="*/ 0 h 204341"/>
                <a:gd name="connsiteX25" fmla="*/ 119095 w 217965"/>
                <a:gd name="connsiteY25" fmla="*/ 0 h 204341"/>
                <a:gd name="connsiteX26" fmla="*/ 125498 w 217965"/>
                <a:gd name="connsiteY26" fmla="*/ 4496 h 204341"/>
                <a:gd name="connsiteX27" fmla="*/ 134080 w 217965"/>
                <a:gd name="connsiteY27" fmla="*/ 29425 h 204341"/>
                <a:gd name="connsiteX28" fmla="*/ 148384 w 217965"/>
                <a:gd name="connsiteY28" fmla="*/ 33921 h 204341"/>
                <a:gd name="connsiteX29" fmla="*/ 174267 w 217965"/>
                <a:gd name="connsiteY29" fmla="*/ 24249 h 204341"/>
                <a:gd name="connsiteX30" fmla="*/ 181488 w 217965"/>
                <a:gd name="connsiteY30" fmla="*/ 25747 h 204341"/>
                <a:gd name="connsiteX31" fmla="*/ 192113 w 217965"/>
                <a:gd name="connsiteY31" fmla="*/ 36509 h 204341"/>
                <a:gd name="connsiteX32" fmla="*/ 193748 w 217965"/>
                <a:gd name="connsiteY32" fmla="*/ 43593 h 204341"/>
                <a:gd name="connsiteX33" fmla="*/ 183940 w 217965"/>
                <a:gd name="connsiteY33" fmla="*/ 69612 h 204341"/>
                <a:gd name="connsiteX34" fmla="*/ 188571 w 217965"/>
                <a:gd name="connsiteY34" fmla="*/ 83916 h 204341"/>
                <a:gd name="connsiteX35" fmla="*/ 213365 w 217965"/>
                <a:gd name="connsiteY35" fmla="*/ 92363 h 204341"/>
                <a:gd name="connsiteX36" fmla="*/ 217997 w 217965"/>
                <a:gd name="connsiteY36" fmla="*/ 98901 h 204341"/>
                <a:gd name="connsiteX37" fmla="*/ 217997 w 217965"/>
                <a:gd name="connsiteY37" fmla="*/ 118246 h 204341"/>
                <a:gd name="connsiteX38" fmla="*/ 213365 w 217965"/>
                <a:gd name="connsiteY38" fmla="*/ 124649 h 204341"/>
                <a:gd name="connsiteX39" fmla="*/ 188571 w 217965"/>
                <a:gd name="connsiteY39" fmla="*/ 133095 h 204341"/>
                <a:gd name="connsiteX40" fmla="*/ 183940 w 217965"/>
                <a:gd name="connsiteY40" fmla="*/ 146718 h 204341"/>
                <a:gd name="connsiteX41" fmla="*/ 193748 w 217965"/>
                <a:gd name="connsiteY41" fmla="*/ 172737 h 204341"/>
                <a:gd name="connsiteX42" fmla="*/ 192113 w 217965"/>
                <a:gd name="connsiteY42" fmla="*/ 179957 h 204341"/>
                <a:gd name="connsiteX43" fmla="*/ 181488 w 217965"/>
                <a:gd name="connsiteY43" fmla="*/ 190583 h 204341"/>
                <a:gd name="connsiteX44" fmla="*/ 174267 w 217965"/>
                <a:gd name="connsiteY44" fmla="*/ 192081 h 204341"/>
                <a:gd name="connsiteX45" fmla="*/ 148384 w 217965"/>
                <a:gd name="connsiteY45" fmla="*/ 182409 h 204341"/>
                <a:gd name="connsiteX46" fmla="*/ 134080 w 217965"/>
                <a:gd name="connsiteY46" fmla="*/ 187041 h 204341"/>
                <a:gd name="connsiteX47" fmla="*/ 125498 w 217965"/>
                <a:gd name="connsiteY47" fmla="*/ 211834 h 204341"/>
                <a:gd name="connsiteX48" fmla="*/ 119095 w 217965"/>
                <a:gd name="connsiteY48" fmla="*/ 217284 h 204341"/>
                <a:gd name="connsiteX49" fmla="*/ 103837 w 217965"/>
                <a:gd name="connsiteY49" fmla="*/ 203661 h 204341"/>
                <a:gd name="connsiteX50" fmla="*/ 114191 w 217965"/>
                <a:gd name="connsiteY50" fmla="*/ 203661 h 204341"/>
                <a:gd name="connsiteX51" fmla="*/ 122637 w 217965"/>
                <a:gd name="connsiteY51" fmla="*/ 180093 h 204341"/>
                <a:gd name="connsiteX52" fmla="*/ 126996 w 217965"/>
                <a:gd name="connsiteY52" fmla="*/ 175870 h 204341"/>
                <a:gd name="connsiteX53" fmla="*/ 146886 w 217965"/>
                <a:gd name="connsiteY53" fmla="*/ 169604 h 204341"/>
                <a:gd name="connsiteX54" fmla="*/ 151381 w 217965"/>
                <a:gd name="connsiteY54" fmla="*/ 169604 h 204341"/>
                <a:gd name="connsiteX55" fmla="*/ 175357 w 217965"/>
                <a:gd name="connsiteY55" fmla="*/ 178595 h 204341"/>
                <a:gd name="connsiteX56" fmla="*/ 179853 w 217965"/>
                <a:gd name="connsiteY56" fmla="*/ 174236 h 204341"/>
                <a:gd name="connsiteX57" fmla="*/ 170862 w 217965"/>
                <a:gd name="connsiteY57" fmla="*/ 150123 h 204341"/>
                <a:gd name="connsiteX58" fmla="*/ 170862 w 217965"/>
                <a:gd name="connsiteY58" fmla="*/ 145764 h 204341"/>
                <a:gd name="connsiteX59" fmla="*/ 177128 w 217965"/>
                <a:gd name="connsiteY59" fmla="*/ 125875 h 204341"/>
                <a:gd name="connsiteX60" fmla="*/ 181488 w 217965"/>
                <a:gd name="connsiteY60" fmla="*/ 121515 h 204341"/>
                <a:gd name="connsiteX61" fmla="*/ 204374 w 217965"/>
                <a:gd name="connsiteY61" fmla="*/ 113478 h 204341"/>
                <a:gd name="connsiteX62" fmla="*/ 204374 w 217965"/>
                <a:gd name="connsiteY62" fmla="*/ 102988 h 204341"/>
                <a:gd name="connsiteX63" fmla="*/ 180943 w 217965"/>
                <a:gd name="connsiteY63" fmla="*/ 94951 h 204341"/>
                <a:gd name="connsiteX64" fmla="*/ 177128 w 217965"/>
                <a:gd name="connsiteY64" fmla="*/ 91000 h 204341"/>
                <a:gd name="connsiteX65" fmla="*/ 170862 w 217965"/>
                <a:gd name="connsiteY65" fmla="*/ 71247 h 204341"/>
                <a:gd name="connsiteX66" fmla="*/ 170862 w 217965"/>
                <a:gd name="connsiteY66" fmla="*/ 66752 h 204341"/>
                <a:gd name="connsiteX67" fmla="*/ 179853 w 217965"/>
                <a:gd name="connsiteY67" fmla="*/ 42776 h 204341"/>
                <a:gd name="connsiteX68" fmla="*/ 175357 w 217965"/>
                <a:gd name="connsiteY68" fmla="*/ 38280 h 204341"/>
                <a:gd name="connsiteX69" fmla="*/ 151381 w 217965"/>
                <a:gd name="connsiteY69" fmla="*/ 47271 h 204341"/>
                <a:gd name="connsiteX70" fmla="*/ 146886 w 217965"/>
                <a:gd name="connsiteY70" fmla="*/ 47271 h 204341"/>
                <a:gd name="connsiteX71" fmla="*/ 126996 w 217965"/>
                <a:gd name="connsiteY71" fmla="*/ 40868 h 204341"/>
                <a:gd name="connsiteX72" fmla="*/ 122637 w 217965"/>
                <a:gd name="connsiteY72" fmla="*/ 36509 h 204341"/>
                <a:gd name="connsiteX73" fmla="*/ 114599 w 217965"/>
                <a:gd name="connsiteY73" fmla="*/ 13078 h 204341"/>
                <a:gd name="connsiteX74" fmla="*/ 104246 w 217965"/>
                <a:gd name="connsiteY74" fmla="*/ 13078 h 204341"/>
                <a:gd name="connsiteX75" fmla="*/ 95391 w 217965"/>
                <a:gd name="connsiteY75" fmla="*/ 36509 h 204341"/>
                <a:gd name="connsiteX76" fmla="*/ 91032 w 217965"/>
                <a:gd name="connsiteY76" fmla="*/ 40732 h 204341"/>
                <a:gd name="connsiteX77" fmla="*/ 71143 w 217965"/>
                <a:gd name="connsiteY77" fmla="*/ 47135 h 204341"/>
                <a:gd name="connsiteX78" fmla="*/ 66647 w 217965"/>
                <a:gd name="connsiteY78" fmla="*/ 47135 h 204341"/>
                <a:gd name="connsiteX79" fmla="*/ 43080 w 217965"/>
                <a:gd name="connsiteY79" fmla="*/ 37871 h 204341"/>
                <a:gd name="connsiteX80" fmla="*/ 38584 w 217965"/>
                <a:gd name="connsiteY80" fmla="*/ 42367 h 204341"/>
                <a:gd name="connsiteX81" fmla="*/ 47575 w 217965"/>
                <a:gd name="connsiteY81" fmla="*/ 66343 h 204341"/>
                <a:gd name="connsiteX82" fmla="*/ 47575 w 217965"/>
                <a:gd name="connsiteY82" fmla="*/ 70839 h 204341"/>
                <a:gd name="connsiteX83" fmla="*/ 40900 w 217965"/>
                <a:gd name="connsiteY83" fmla="*/ 91000 h 204341"/>
                <a:gd name="connsiteX84" fmla="*/ 36541 w 217965"/>
                <a:gd name="connsiteY84" fmla="*/ 95360 h 204341"/>
                <a:gd name="connsiteX85" fmla="*/ 13654 w 217965"/>
                <a:gd name="connsiteY85" fmla="*/ 102988 h 204341"/>
                <a:gd name="connsiteX86" fmla="*/ 13654 w 217965"/>
                <a:gd name="connsiteY86" fmla="*/ 113478 h 204341"/>
                <a:gd name="connsiteX87" fmla="*/ 37086 w 217965"/>
                <a:gd name="connsiteY87" fmla="*/ 121515 h 204341"/>
                <a:gd name="connsiteX88" fmla="*/ 41445 w 217965"/>
                <a:gd name="connsiteY88" fmla="*/ 125875 h 204341"/>
                <a:gd name="connsiteX89" fmla="*/ 47711 w 217965"/>
                <a:gd name="connsiteY89" fmla="*/ 145491 h 204341"/>
                <a:gd name="connsiteX90" fmla="*/ 47711 w 217965"/>
                <a:gd name="connsiteY90" fmla="*/ 149851 h 204341"/>
                <a:gd name="connsiteX91" fmla="*/ 38720 w 217965"/>
                <a:gd name="connsiteY91" fmla="*/ 173963 h 204341"/>
                <a:gd name="connsiteX92" fmla="*/ 43216 w 217965"/>
                <a:gd name="connsiteY92" fmla="*/ 178322 h 204341"/>
                <a:gd name="connsiteX93" fmla="*/ 67192 w 217965"/>
                <a:gd name="connsiteY93" fmla="*/ 169331 h 204341"/>
                <a:gd name="connsiteX94" fmla="*/ 71688 w 217965"/>
                <a:gd name="connsiteY94" fmla="*/ 169331 h 204341"/>
                <a:gd name="connsiteX95" fmla="*/ 91577 w 217965"/>
                <a:gd name="connsiteY95" fmla="*/ 175598 h 204341"/>
                <a:gd name="connsiteX96" fmla="*/ 95936 w 217965"/>
                <a:gd name="connsiteY96" fmla="*/ 179821 h 20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17965" h="204341">
                  <a:moveTo>
                    <a:pt x="119095" y="217284"/>
                  </a:moveTo>
                  <a:lnTo>
                    <a:pt x="98933" y="217284"/>
                  </a:lnTo>
                  <a:cubicBezTo>
                    <a:pt x="96044" y="217222"/>
                    <a:pt x="93494" y="215378"/>
                    <a:pt x="92531" y="212652"/>
                  </a:cubicBezTo>
                  <a:lnTo>
                    <a:pt x="83948" y="187858"/>
                  </a:lnTo>
                  <a:lnTo>
                    <a:pt x="69644" y="183227"/>
                  </a:lnTo>
                  <a:lnTo>
                    <a:pt x="43761" y="192899"/>
                  </a:lnTo>
                  <a:cubicBezTo>
                    <a:pt x="41272" y="193895"/>
                    <a:pt x="38428" y="193305"/>
                    <a:pt x="36541" y="191400"/>
                  </a:cubicBezTo>
                  <a:lnTo>
                    <a:pt x="25915" y="180774"/>
                  </a:lnTo>
                  <a:cubicBezTo>
                    <a:pt x="23996" y="178900"/>
                    <a:pt x="23356" y="176073"/>
                    <a:pt x="24280" y="173554"/>
                  </a:cubicBezTo>
                  <a:lnTo>
                    <a:pt x="33952" y="147535"/>
                  </a:lnTo>
                  <a:lnTo>
                    <a:pt x="29457" y="133912"/>
                  </a:lnTo>
                  <a:lnTo>
                    <a:pt x="4663" y="125466"/>
                  </a:lnTo>
                  <a:cubicBezTo>
                    <a:pt x="1641" y="124413"/>
                    <a:pt x="-272" y="121432"/>
                    <a:pt x="32" y="118246"/>
                  </a:cubicBezTo>
                  <a:lnTo>
                    <a:pt x="32" y="98220"/>
                  </a:lnTo>
                  <a:cubicBezTo>
                    <a:pt x="36" y="95281"/>
                    <a:pt x="1891" y="92661"/>
                    <a:pt x="4663" y="91681"/>
                  </a:cubicBezTo>
                  <a:lnTo>
                    <a:pt x="29457" y="83235"/>
                  </a:lnTo>
                  <a:lnTo>
                    <a:pt x="33952" y="68931"/>
                  </a:lnTo>
                  <a:lnTo>
                    <a:pt x="24280" y="42912"/>
                  </a:lnTo>
                  <a:cubicBezTo>
                    <a:pt x="23627" y="40640"/>
                    <a:pt x="24252" y="38190"/>
                    <a:pt x="25915" y="36509"/>
                  </a:cubicBezTo>
                  <a:lnTo>
                    <a:pt x="36541" y="25747"/>
                  </a:lnTo>
                  <a:cubicBezTo>
                    <a:pt x="38462" y="23907"/>
                    <a:pt x="41266" y="23325"/>
                    <a:pt x="43761" y="24249"/>
                  </a:cubicBezTo>
                  <a:lnTo>
                    <a:pt x="69644" y="33921"/>
                  </a:lnTo>
                  <a:lnTo>
                    <a:pt x="83948" y="29425"/>
                  </a:lnTo>
                  <a:lnTo>
                    <a:pt x="92531" y="4496"/>
                  </a:lnTo>
                  <a:cubicBezTo>
                    <a:pt x="93506" y="1798"/>
                    <a:pt x="96066" y="1"/>
                    <a:pt x="98933" y="0"/>
                  </a:cubicBezTo>
                  <a:lnTo>
                    <a:pt x="119095" y="0"/>
                  </a:lnTo>
                  <a:cubicBezTo>
                    <a:pt x="121963" y="1"/>
                    <a:pt x="124522" y="1798"/>
                    <a:pt x="125498" y="4496"/>
                  </a:cubicBezTo>
                  <a:lnTo>
                    <a:pt x="134080" y="29425"/>
                  </a:lnTo>
                  <a:lnTo>
                    <a:pt x="148384" y="33921"/>
                  </a:lnTo>
                  <a:lnTo>
                    <a:pt x="174267" y="24249"/>
                  </a:lnTo>
                  <a:cubicBezTo>
                    <a:pt x="176765" y="23358"/>
                    <a:pt x="179550" y="23935"/>
                    <a:pt x="181488" y="25747"/>
                  </a:cubicBezTo>
                  <a:lnTo>
                    <a:pt x="192113" y="36509"/>
                  </a:lnTo>
                  <a:cubicBezTo>
                    <a:pt x="193978" y="38358"/>
                    <a:pt x="194614" y="41114"/>
                    <a:pt x="193748" y="43593"/>
                  </a:cubicBezTo>
                  <a:lnTo>
                    <a:pt x="183940" y="69612"/>
                  </a:lnTo>
                  <a:lnTo>
                    <a:pt x="188571" y="83916"/>
                  </a:lnTo>
                  <a:lnTo>
                    <a:pt x="213365" y="92363"/>
                  </a:lnTo>
                  <a:cubicBezTo>
                    <a:pt x="216137" y="93342"/>
                    <a:pt x="217991" y="95962"/>
                    <a:pt x="217997" y="98901"/>
                  </a:cubicBezTo>
                  <a:lnTo>
                    <a:pt x="217997" y="118246"/>
                  </a:lnTo>
                  <a:cubicBezTo>
                    <a:pt x="217935" y="121135"/>
                    <a:pt x="216091" y="123685"/>
                    <a:pt x="213365" y="124649"/>
                  </a:cubicBezTo>
                  <a:lnTo>
                    <a:pt x="188571" y="133095"/>
                  </a:lnTo>
                  <a:lnTo>
                    <a:pt x="183940" y="146718"/>
                  </a:lnTo>
                  <a:lnTo>
                    <a:pt x="193748" y="172737"/>
                  </a:lnTo>
                  <a:cubicBezTo>
                    <a:pt x="194604" y="175260"/>
                    <a:pt x="193973" y="178049"/>
                    <a:pt x="192113" y="179957"/>
                  </a:cubicBezTo>
                  <a:lnTo>
                    <a:pt x="181488" y="190583"/>
                  </a:lnTo>
                  <a:cubicBezTo>
                    <a:pt x="179583" y="192455"/>
                    <a:pt x="176760" y="193040"/>
                    <a:pt x="174267" y="192081"/>
                  </a:cubicBezTo>
                  <a:lnTo>
                    <a:pt x="148384" y="182409"/>
                  </a:lnTo>
                  <a:lnTo>
                    <a:pt x="134080" y="187041"/>
                  </a:lnTo>
                  <a:lnTo>
                    <a:pt x="125498" y="211834"/>
                  </a:lnTo>
                  <a:cubicBezTo>
                    <a:pt x="124829" y="214883"/>
                    <a:pt x="122211" y="217111"/>
                    <a:pt x="119095" y="217284"/>
                  </a:cubicBezTo>
                  <a:close/>
                  <a:moveTo>
                    <a:pt x="103837" y="203661"/>
                  </a:moveTo>
                  <a:lnTo>
                    <a:pt x="114191" y="203661"/>
                  </a:lnTo>
                  <a:lnTo>
                    <a:pt x="122637" y="180093"/>
                  </a:lnTo>
                  <a:cubicBezTo>
                    <a:pt x="123329" y="178068"/>
                    <a:pt x="124950" y="176498"/>
                    <a:pt x="126996" y="175870"/>
                  </a:cubicBezTo>
                  <a:lnTo>
                    <a:pt x="146886" y="169604"/>
                  </a:lnTo>
                  <a:cubicBezTo>
                    <a:pt x="148335" y="169060"/>
                    <a:pt x="149932" y="169060"/>
                    <a:pt x="151381" y="169604"/>
                  </a:cubicBezTo>
                  <a:lnTo>
                    <a:pt x="175357" y="178595"/>
                  </a:lnTo>
                  <a:lnTo>
                    <a:pt x="179853" y="174236"/>
                  </a:lnTo>
                  <a:lnTo>
                    <a:pt x="170862" y="150123"/>
                  </a:lnTo>
                  <a:cubicBezTo>
                    <a:pt x="170314" y="148721"/>
                    <a:pt x="170314" y="147166"/>
                    <a:pt x="170862" y="145764"/>
                  </a:cubicBezTo>
                  <a:lnTo>
                    <a:pt x="177128" y="125875"/>
                  </a:lnTo>
                  <a:cubicBezTo>
                    <a:pt x="177822" y="123822"/>
                    <a:pt x="179435" y="122209"/>
                    <a:pt x="181488" y="121515"/>
                  </a:cubicBezTo>
                  <a:lnTo>
                    <a:pt x="204374" y="113478"/>
                  </a:lnTo>
                  <a:lnTo>
                    <a:pt x="204374" y="102988"/>
                  </a:lnTo>
                  <a:lnTo>
                    <a:pt x="180943" y="94951"/>
                  </a:lnTo>
                  <a:cubicBezTo>
                    <a:pt x="179183" y="94214"/>
                    <a:pt x="177803" y="92785"/>
                    <a:pt x="177128" y="91000"/>
                  </a:cubicBezTo>
                  <a:lnTo>
                    <a:pt x="170862" y="71247"/>
                  </a:lnTo>
                  <a:cubicBezTo>
                    <a:pt x="170318" y="69798"/>
                    <a:pt x="170318" y="68201"/>
                    <a:pt x="170862" y="66752"/>
                  </a:cubicBezTo>
                  <a:lnTo>
                    <a:pt x="179853" y="42776"/>
                  </a:lnTo>
                  <a:lnTo>
                    <a:pt x="175357" y="38280"/>
                  </a:lnTo>
                  <a:lnTo>
                    <a:pt x="151381" y="47271"/>
                  </a:lnTo>
                  <a:cubicBezTo>
                    <a:pt x="149921" y="47749"/>
                    <a:pt x="148346" y="47749"/>
                    <a:pt x="146886" y="47271"/>
                  </a:cubicBezTo>
                  <a:lnTo>
                    <a:pt x="126996" y="40868"/>
                  </a:lnTo>
                  <a:cubicBezTo>
                    <a:pt x="124919" y="40213"/>
                    <a:pt x="123292" y="38587"/>
                    <a:pt x="122637" y="36509"/>
                  </a:cubicBezTo>
                  <a:lnTo>
                    <a:pt x="114599" y="13078"/>
                  </a:lnTo>
                  <a:lnTo>
                    <a:pt x="104246" y="13078"/>
                  </a:lnTo>
                  <a:lnTo>
                    <a:pt x="95391" y="36509"/>
                  </a:lnTo>
                  <a:cubicBezTo>
                    <a:pt x="94699" y="38535"/>
                    <a:pt x="93078" y="40104"/>
                    <a:pt x="91032" y="40732"/>
                  </a:cubicBezTo>
                  <a:lnTo>
                    <a:pt x="71143" y="47135"/>
                  </a:lnTo>
                  <a:cubicBezTo>
                    <a:pt x="69682" y="47613"/>
                    <a:pt x="68108" y="47613"/>
                    <a:pt x="66647" y="47135"/>
                  </a:cubicBezTo>
                  <a:lnTo>
                    <a:pt x="43080" y="37871"/>
                  </a:lnTo>
                  <a:lnTo>
                    <a:pt x="38584" y="42367"/>
                  </a:lnTo>
                  <a:lnTo>
                    <a:pt x="47575" y="66343"/>
                  </a:lnTo>
                  <a:cubicBezTo>
                    <a:pt x="48054" y="67803"/>
                    <a:pt x="48054" y="69378"/>
                    <a:pt x="47575" y="70839"/>
                  </a:cubicBezTo>
                  <a:lnTo>
                    <a:pt x="40900" y="91000"/>
                  </a:lnTo>
                  <a:cubicBezTo>
                    <a:pt x="40206" y="93053"/>
                    <a:pt x="38594" y="94666"/>
                    <a:pt x="36541" y="95360"/>
                  </a:cubicBezTo>
                  <a:lnTo>
                    <a:pt x="13654" y="102988"/>
                  </a:lnTo>
                  <a:lnTo>
                    <a:pt x="13654" y="113478"/>
                  </a:lnTo>
                  <a:lnTo>
                    <a:pt x="37086" y="121515"/>
                  </a:lnTo>
                  <a:cubicBezTo>
                    <a:pt x="39139" y="122209"/>
                    <a:pt x="40751" y="123822"/>
                    <a:pt x="41445" y="125875"/>
                  </a:cubicBezTo>
                  <a:lnTo>
                    <a:pt x="47711" y="145491"/>
                  </a:lnTo>
                  <a:cubicBezTo>
                    <a:pt x="48189" y="146905"/>
                    <a:pt x="48189" y="148437"/>
                    <a:pt x="47711" y="149851"/>
                  </a:cubicBezTo>
                  <a:lnTo>
                    <a:pt x="38720" y="173963"/>
                  </a:lnTo>
                  <a:lnTo>
                    <a:pt x="43216" y="178322"/>
                  </a:lnTo>
                  <a:lnTo>
                    <a:pt x="67192" y="169331"/>
                  </a:lnTo>
                  <a:cubicBezTo>
                    <a:pt x="68642" y="168788"/>
                    <a:pt x="70238" y="168788"/>
                    <a:pt x="71688" y="169331"/>
                  </a:cubicBezTo>
                  <a:lnTo>
                    <a:pt x="91577" y="175598"/>
                  </a:lnTo>
                  <a:cubicBezTo>
                    <a:pt x="93623" y="176226"/>
                    <a:pt x="95244" y="177795"/>
                    <a:pt x="95936" y="179821"/>
                  </a:cubicBezTo>
                  <a:close/>
                </a:path>
              </a:pathLst>
            </a:custGeom>
            <a:grpFill/>
            <a:ln w="13607" cap="flat">
              <a:noFill/>
              <a:prstDash val="solid"/>
              <a:miter/>
            </a:ln>
          </p:spPr>
          <p:txBody>
            <a:bodyPr rtlCol="0" anchor="ctr"/>
            <a:lstStyle/>
            <a:p>
              <a:endParaRPr lang="de-DE"/>
            </a:p>
          </p:txBody>
        </p:sp>
        <p:sp>
          <p:nvSpPr>
            <p:cNvPr id="5003" name="Freeform: Shape 5002">
              <a:extLst>
                <a:ext uri="{FF2B5EF4-FFF2-40B4-BE49-F238E27FC236}">
                  <a16:creationId xmlns:a16="http://schemas.microsoft.com/office/drawing/2014/main" id="{8C481D07-F7A6-408F-AF7B-1D5492A8F69C}"/>
                </a:ext>
              </a:extLst>
            </p:cNvPr>
            <p:cNvSpPr/>
            <p:nvPr/>
          </p:nvSpPr>
          <p:spPr>
            <a:xfrm>
              <a:off x="5905281" y="3152587"/>
              <a:ext cx="381439" cy="463175"/>
            </a:xfrm>
            <a:custGeom>
              <a:avLst/>
              <a:gdLst>
                <a:gd name="connsiteX0" fmla="*/ 371631 w 381439"/>
                <a:gd name="connsiteY0" fmla="*/ 166743 h 463175"/>
                <a:gd name="connsiteX1" fmla="*/ 370405 w 381439"/>
                <a:gd name="connsiteY1" fmla="*/ 165245 h 463175"/>
                <a:gd name="connsiteX2" fmla="*/ 367135 w 381439"/>
                <a:gd name="connsiteY2" fmla="*/ 161294 h 463175"/>
                <a:gd name="connsiteX3" fmla="*/ 217965 w 381439"/>
                <a:gd name="connsiteY3" fmla="*/ 13623 h 463175"/>
                <a:gd name="connsiteX4" fmla="*/ 216194 w 381439"/>
                <a:gd name="connsiteY4" fmla="*/ 12261 h 463175"/>
                <a:gd name="connsiteX5" fmla="*/ 214287 w 381439"/>
                <a:gd name="connsiteY5" fmla="*/ 10626 h 463175"/>
                <a:gd name="connsiteX6" fmla="*/ 184589 w 381439"/>
                <a:gd name="connsiteY6" fmla="*/ 0 h 463175"/>
                <a:gd name="connsiteX7" fmla="*/ 33785 w 381439"/>
                <a:gd name="connsiteY7" fmla="*/ 0 h 463175"/>
                <a:gd name="connsiteX8" fmla="*/ 0 w 381439"/>
                <a:gd name="connsiteY8" fmla="*/ 33512 h 463175"/>
                <a:gd name="connsiteX9" fmla="*/ 0 w 381439"/>
                <a:gd name="connsiteY9" fmla="*/ 33512 h 463175"/>
                <a:gd name="connsiteX10" fmla="*/ 0 w 381439"/>
                <a:gd name="connsiteY10" fmla="*/ 429663 h 463175"/>
                <a:gd name="connsiteX11" fmla="*/ 33784 w 381439"/>
                <a:gd name="connsiteY11" fmla="*/ 463175 h 463175"/>
                <a:gd name="connsiteX12" fmla="*/ 33785 w 381439"/>
                <a:gd name="connsiteY12" fmla="*/ 463175 h 463175"/>
                <a:gd name="connsiteX13" fmla="*/ 347109 w 381439"/>
                <a:gd name="connsiteY13" fmla="*/ 463175 h 463175"/>
                <a:gd name="connsiteX14" fmla="*/ 381432 w 381439"/>
                <a:gd name="connsiteY14" fmla="*/ 430215 h 463175"/>
                <a:gd name="connsiteX15" fmla="*/ 381439 w 381439"/>
                <a:gd name="connsiteY15" fmla="*/ 429663 h 463175"/>
                <a:gd name="connsiteX16" fmla="*/ 381439 w 381439"/>
                <a:gd name="connsiteY16" fmla="*/ 195079 h 463175"/>
                <a:gd name="connsiteX17" fmla="*/ 371631 w 381439"/>
                <a:gd name="connsiteY17" fmla="*/ 166743 h 463175"/>
                <a:gd name="connsiteX18" fmla="*/ 349970 w 381439"/>
                <a:gd name="connsiteY18" fmla="*/ 163474 h 463175"/>
                <a:gd name="connsiteX19" fmla="*/ 251886 w 381439"/>
                <a:gd name="connsiteY19" fmla="*/ 163474 h 463175"/>
                <a:gd name="connsiteX20" fmla="*/ 217965 w 381439"/>
                <a:gd name="connsiteY20" fmla="*/ 129417 h 463175"/>
                <a:gd name="connsiteX21" fmla="*/ 217965 w 381439"/>
                <a:gd name="connsiteY21" fmla="*/ 32695 h 463175"/>
                <a:gd name="connsiteX22" fmla="*/ 367816 w 381439"/>
                <a:gd name="connsiteY22" fmla="*/ 429663 h 463175"/>
                <a:gd name="connsiteX23" fmla="*/ 347657 w 381439"/>
                <a:gd name="connsiteY23" fmla="*/ 449554 h 463175"/>
                <a:gd name="connsiteX24" fmla="*/ 347518 w 381439"/>
                <a:gd name="connsiteY24" fmla="*/ 449553 h 463175"/>
                <a:gd name="connsiteX25" fmla="*/ 34193 w 381439"/>
                <a:gd name="connsiteY25" fmla="*/ 449553 h 463175"/>
                <a:gd name="connsiteX26" fmla="*/ 13630 w 381439"/>
                <a:gd name="connsiteY26" fmla="*/ 430080 h 463175"/>
                <a:gd name="connsiteX27" fmla="*/ 13623 w 381439"/>
                <a:gd name="connsiteY27" fmla="*/ 429663 h 463175"/>
                <a:gd name="connsiteX28" fmla="*/ 13623 w 381439"/>
                <a:gd name="connsiteY28" fmla="*/ 33512 h 463175"/>
                <a:gd name="connsiteX29" fmla="*/ 33784 w 381439"/>
                <a:gd name="connsiteY29" fmla="*/ 13623 h 463175"/>
                <a:gd name="connsiteX30" fmla="*/ 33785 w 381439"/>
                <a:gd name="connsiteY30" fmla="*/ 13623 h 463175"/>
                <a:gd name="connsiteX31" fmla="*/ 184589 w 381439"/>
                <a:gd name="connsiteY31" fmla="*/ 13623 h 463175"/>
                <a:gd name="connsiteX32" fmla="*/ 204342 w 381439"/>
                <a:gd name="connsiteY32" fmla="*/ 19890 h 463175"/>
                <a:gd name="connsiteX33" fmla="*/ 204342 w 381439"/>
                <a:gd name="connsiteY33" fmla="*/ 128872 h 463175"/>
                <a:gd name="connsiteX34" fmla="*/ 252022 w 381439"/>
                <a:gd name="connsiteY34" fmla="*/ 176552 h 463175"/>
                <a:gd name="connsiteX35" fmla="*/ 362367 w 381439"/>
                <a:gd name="connsiteY35" fmla="*/ 176552 h 463175"/>
                <a:gd name="connsiteX36" fmla="*/ 367816 w 381439"/>
                <a:gd name="connsiteY36" fmla="*/ 195079 h 4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1439" h="463175">
                  <a:moveTo>
                    <a:pt x="371631" y="166743"/>
                  </a:moveTo>
                  <a:cubicBezTo>
                    <a:pt x="371298" y="166186"/>
                    <a:pt x="370885" y="165681"/>
                    <a:pt x="370405" y="165245"/>
                  </a:cubicBezTo>
                  <a:cubicBezTo>
                    <a:pt x="369424" y="163842"/>
                    <a:pt x="368331" y="162520"/>
                    <a:pt x="367135" y="161294"/>
                  </a:cubicBezTo>
                  <a:lnTo>
                    <a:pt x="217965" y="13623"/>
                  </a:lnTo>
                  <a:lnTo>
                    <a:pt x="216194" y="12261"/>
                  </a:lnTo>
                  <a:cubicBezTo>
                    <a:pt x="215659" y="11609"/>
                    <a:pt x="215013" y="11055"/>
                    <a:pt x="214287" y="10626"/>
                  </a:cubicBezTo>
                  <a:cubicBezTo>
                    <a:pt x="205902" y="3779"/>
                    <a:pt x="195415" y="27"/>
                    <a:pt x="184589" y="0"/>
                  </a:cubicBezTo>
                  <a:lnTo>
                    <a:pt x="33785" y="0"/>
                  </a:lnTo>
                  <a:cubicBezTo>
                    <a:pt x="15201" y="-75"/>
                    <a:pt x="75" y="14929"/>
                    <a:pt x="0" y="33512"/>
                  </a:cubicBezTo>
                  <a:cubicBezTo>
                    <a:pt x="0" y="33512"/>
                    <a:pt x="0" y="33512"/>
                    <a:pt x="0" y="33512"/>
                  </a:cubicBezTo>
                  <a:lnTo>
                    <a:pt x="0" y="429663"/>
                  </a:lnTo>
                  <a:cubicBezTo>
                    <a:pt x="75" y="448246"/>
                    <a:pt x="15201" y="463250"/>
                    <a:pt x="33784" y="463175"/>
                  </a:cubicBezTo>
                  <a:cubicBezTo>
                    <a:pt x="33784" y="463175"/>
                    <a:pt x="33784" y="463175"/>
                    <a:pt x="33785" y="463175"/>
                  </a:cubicBezTo>
                  <a:lnTo>
                    <a:pt x="347109" y="463175"/>
                  </a:lnTo>
                  <a:cubicBezTo>
                    <a:pt x="365690" y="463551"/>
                    <a:pt x="381056" y="448795"/>
                    <a:pt x="381432" y="430215"/>
                  </a:cubicBezTo>
                  <a:cubicBezTo>
                    <a:pt x="381436" y="430031"/>
                    <a:pt x="381438" y="429847"/>
                    <a:pt x="381439" y="429663"/>
                  </a:cubicBezTo>
                  <a:lnTo>
                    <a:pt x="381439" y="195079"/>
                  </a:lnTo>
                  <a:cubicBezTo>
                    <a:pt x="381322" y="184821"/>
                    <a:pt x="377879" y="174879"/>
                    <a:pt x="371631" y="166743"/>
                  </a:cubicBezTo>
                  <a:close/>
                  <a:moveTo>
                    <a:pt x="349970" y="163474"/>
                  </a:moveTo>
                  <a:lnTo>
                    <a:pt x="251886" y="163474"/>
                  </a:lnTo>
                  <a:cubicBezTo>
                    <a:pt x="233130" y="163399"/>
                    <a:pt x="217965" y="148173"/>
                    <a:pt x="217965" y="129417"/>
                  </a:cubicBezTo>
                  <a:lnTo>
                    <a:pt x="217965" y="32695"/>
                  </a:lnTo>
                  <a:close/>
                  <a:moveTo>
                    <a:pt x="367816" y="429663"/>
                  </a:moveTo>
                  <a:cubicBezTo>
                    <a:pt x="367743" y="440722"/>
                    <a:pt x="358716" y="449629"/>
                    <a:pt x="347657" y="449554"/>
                  </a:cubicBezTo>
                  <a:cubicBezTo>
                    <a:pt x="347611" y="449554"/>
                    <a:pt x="347564" y="449553"/>
                    <a:pt x="347518" y="449553"/>
                  </a:cubicBezTo>
                  <a:lnTo>
                    <a:pt x="34193" y="449553"/>
                  </a:lnTo>
                  <a:cubicBezTo>
                    <a:pt x="23138" y="449854"/>
                    <a:pt x="13931" y="441135"/>
                    <a:pt x="13630" y="430080"/>
                  </a:cubicBezTo>
                  <a:cubicBezTo>
                    <a:pt x="13626" y="429941"/>
                    <a:pt x="13624" y="429802"/>
                    <a:pt x="13623" y="429663"/>
                  </a:cubicBezTo>
                  <a:lnTo>
                    <a:pt x="13623" y="33512"/>
                  </a:lnTo>
                  <a:cubicBezTo>
                    <a:pt x="13698" y="22453"/>
                    <a:pt x="22724" y="13548"/>
                    <a:pt x="33784" y="13623"/>
                  </a:cubicBezTo>
                  <a:cubicBezTo>
                    <a:pt x="33784" y="13623"/>
                    <a:pt x="33784" y="13623"/>
                    <a:pt x="33785" y="13623"/>
                  </a:cubicBezTo>
                  <a:lnTo>
                    <a:pt x="184589" y="13623"/>
                  </a:lnTo>
                  <a:cubicBezTo>
                    <a:pt x="191662" y="13627"/>
                    <a:pt x="198561" y="15816"/>
                    <a:pt x="204342" y="19890"/>
                  </a:cubicBezTo>
                  <a:lnTo>
                    <a:pt x="204342" y="128872"/>
                  </a:lnTo>
                  <a:cubicBezTo>
                    <a:pt x="204342" y="155205"/>
                    <a:pt x="225689" y="176552"/>
                    <a:pt x="252022" y="176552"/>
                  </a:cubicBezTo>
                  <a:lnTo>
                    <a:pt x="362367" y="176552"/>
                  </a:lnTo>
                  <a:cubicBezTo>
                    <a:pt x="365947" y="182066"/>
                    <a:pt x="367841" y="188504"/>
                    <a:pt x="367816" y="195079"/>
                  </a:cubicBezTo>
                  <a:close/>
                </a:path>
              </a:pathLst>
            </a:custGeom>
            <a:grpFill/>
            <a:ln w="13607" cap="flat">
              <a:noFill/>
              <a:prstDash val="solid"/>
              <a:miter/>
            </a:ln>
          </p:spPr>
          <p:txBody>
            <a:bodyPr rtlCol="0" anchor="ctr"/>
            <a:lstStyle/>
            <a:p>
              <a:endParaRPr lang="de-DE"/>
            </a:p>
          </p:txBody>
        </p:sp>
      </p:grpSp>
      <p:grpSp>
        <p:nvGrpSpPr>
          <p:cNvPr id="5004" name="Graphic 4">
            <a:extLst>
              <a:ext uri="{FF2B5EF4-FFF2-40B4-BE49-F238E27FC236}">
                <a16:creationId xmlns:a16="http://schemas.microsoft.com/office/drawing/2014/main" id="{262CC0A4-1BA9-4909-9743-720616B6BEAF}"/>
              </a:ext>
              <a:ext uri="{C183D7F6-B498-43B3-948B-1728B52AA6E4}">
                <adec:decorative xmlns:adec="http://schemas.microsoft.com/office/drawing/2017/decorative" val="1"/>
              </a:ext>
            </a:extLst>
          </p:cNvPr>
          <p:cNvGrpSpPr>
            <a:grpSpLocks noChangeAspect="1"/>
          </p:cNvGrpSpPr>
          <p:nvPr/>
        </p:nvGrpSpPr>
        <p:grpSpPr>
          <a:xfrm>
            <a:off x="822402" y="2086035"/>
            <a:ext cx="103254" cy="125379"/>
            <a:chOff x="5905500" y="3152587"/>
            <a:chExt cx="381000" cy="462642"/>
          </a:xfrm>
          <a:solidFill>
            <a:schemeClr val="tx1"/>
          </a:solidFill>
        </p:grpSpPr>
        <p:sp>
          <p:nvSpPr>
            <p:cNvPr id="5005" name="Freeform: Shape 5004">
              <a:extLst>
                <a:ext uri="{FF2B5EF4-FFF2-40B4-BE49-F238E27FC236}">
                  <a16:creationId xmlns:a16="http://schemas.microsoft.com/office/drawing/2014/main" id="{EB2C6F85-4D27-45D1-A45D-ED37097F973A}"/>
                </a:ext>
              </a:extLst>
            </p:cNvPr>
            <p:cNvSpPr/>
            <p:nvPr/>
          </p:nvSpPr>
          <p:spPr>
            <a:xfrm>
              <a:off x="6028645" y="3356013"/>
              <a:ext cx="136071" cy="136071"/>
            </a:xfrm>
            <a:custGeom>
              <a:avLst/>
              <a:gdLst>
                <a:gd name="connsiteX0" fmla="*/ 132670 w 136071"/>
                <a:gd name="connsiteY0" fmla="*/ 2041 h 136071"/>
                <a:gd name="connsiteX1" fmla="*/ 123145 w 136071"/>
                <a:gd name="connsiteY1" fmla="*/ 2041 h 136071"/>
                <a:gd name="connsiteX2" fmla="*/ 67355 w 136071"/>
                <a:gd name="connsiteY2" fmla="*/ 59191 h 136071"/>
                <a:gd name="connsiteX3" fmla="*/ 11566 w 136071"/>
                <a:gd name="connsiteY3" fmla="*/ 3402 h 136071"/>
                <a:gd name="connsiteX4" fmla="*/ 2041 w 136071"/>
                <a:gd name="connsiteY4" fmla="*/ 3402 h 136071"/>
                <a:gd name="connsiteX5" fmla="*/ 2041 w 136071"/>
                <a:gd name="connsiteY5" fmla="*/ 12927 h 136071"/>
                <a:gd name="connsiteX6" fmla="*/ 57830 w 136071"/>
                <a:gd name="connsiteY6" fmla="*/ 68716 h 136071"/>
                <a:gd name="connsiteX7" fmla="*/ 2041 w 136071"/>
                <a:gd name="connsiteY7" fmla="*/ 124505 h 136071"/>
                <a:gd name="connsiteX8" fmla="*/ 2041 w 136071"/>
                <a:gd name="connsiteY8" fmla="*/ 134030 h 136071"/>
                <a:gd name="connsiteX9" fmla="*/ 6123 w 136071"/>
                <a:gd name="connsiteY9" fmla="*/ 136752 h 136071"/>
                <a:gd name="connsiteX10" fmla="*/ 11566 w 136071"/>
                <a:gd name="connsiteY10" fmla="*/ 135391 h 136071"/>
                <a:gd name="connsiteX11" fmla="*/ 67355 w 136071"/>
                <a:gd name="connsiteY11" fmla="*/ 79602 h 136071"/>
                <a:gd name="connsiteX12" fmla="*/ 123145 w 136071"/>
                <a:gd name="connsiteY12" fmla="*/ 135391 h 136071"/>
                <a:gd name="connsiteX13" fmla="*/ 128588 w 136071"/>
                <a:gd name="connsiteY13" fmla="*/ 136752 h 136071"/>
                <a:gd name="connsiteX14" fmla="*/ 134030 w 136071"/>
                <a:gd name="connsiteY14" fmla="*/ 135391 h 136071"/>
                <a:gd name="connsiteX15" fmla="*/ 134030 w 136071"/>
                <a:gd name="connsiteY15" fmla="*/ 125866 h 136071"/>
                <a:gd name="connsiteX16" fmla="*/ 76880 w 136071"/>
                <a:gd name="connsiteY16" fmla="*/ 68716 h 136071"/>
                <a:gd name="connsiteX17" fmla="*/ 132670 w 136071"/>
                <a:gd name="connsiteY17" fmla="*/ 12927 h 136071"/>
                <a:gd name="connsiteX18" fmla="*/ 132670 w 136071"/>
                <a:gd name="connsiteY18" fmla="*/ 2041 h 136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071" h="136071">
                  <a:moveTo>
                    <a:pt x="132670" y="2041"/>
                  </a:moveTo>
                  <a:cubicBezTo>
                    <a:pt x="129948" y="-680"/>
                    <a:pt x="125866" y="-680"/>
                    <a:pt x="123145" y="2041"/>
                  </a:cubicBezTo>
                  <a:lnTo>
                    <a:pt x="67355" y="59191"/>
                  </a:lnTo>
                  <a:lnTo>
                    <a:pt x="11566" y="3402"/>
                  </a:lnTo>
                  <a:cubicBezTo>
                    <a:pt x="8845" y="680"/>
                    <a:pt x="4762" y="680"/>
                    <a:pt x="2041" y="3402"/>
                  </a:cubicBezTo>
                  <a:cubicBezTo>
                    <a:pt x="-680" y="6123"/>
                    <a:pt x="-680" y="10205"/>
                    <a:pt x="2041" y="12927"/>
                  </a:cubicBezTo>
                  <a:lnTo>
                    <a:pt x="57830" y="68716"/>
                  </a:lnTo>
                  <a:lnTo>
                    <a:pt x="2041" y="124505"/>
                  </a:lnTo>
                  <a:cubicBezTo>
                    <a:pt x="-680" y="127227"/>
                    <a:pt x="-680" y="131309"/>
                    <a:pt x="2041" y="134030"/>
                  </a:cubicBezTo>
                  <a:cubicBezTo>
                    <a:pt x="2041" y="135391"/>
                    <a:pt x="4762" y="136752"/>
                    <a:pt x="6123" y="136752"/>
                  </a:cubicBezTo>
                  <a:cubicBezTo>
                    <a:pt x="7484" y="136752"/>
                    <a:pt x="10205" y="136752"/>
                    <a:pt x="11566" y="135391"/>
                  </a:cubicBezTo>
                  <a:lnTo>
                    <a:pt x="67355" y="79602"/>
                  </a:lnTo>
                  <a:lnTo>
                    <a:pt x="123145" y="135391"/>
                  </a:lnTo>
                  <a:cubicBezTo>
                    <a:pt x="124505" y="136752"/>
                    <a:pt x="125866" y="136752"/>
                    <a:pt x="128588" y="136752"/>
                  </a:cubicBezTo>
                  <a:cubicBezTo>
                    <a:pt x="131309" y="136752"/>
                    <a:pt x="132670" y="136752"/>
                    <a:pt x="134030" y="135391"/>
                  </a:cubicBezTo>
                  <a:cubicBezTo>
                    <a:pt x="136752" y="132669"/>
                    <a:pt x="136752" y="128587"/>
                    <a:pt x="134030" y="125866"/>
                  </a:cubicBezTo>
                  <a:lnTo>
                    <a:pt x="76880" y="68716"/>
                  </a:lnTo>
                  <a:lnTo>
                    <a:pt x="132670" y="12927"/>
                  </a:lnTo>
                  <a:cubicBezTo>
                    <a:pt x="135391" y="10205"/>
                    <a:pt x="135391" y="4762"/>
                    <a:pt x="132670" y="2041"/>
                  </a:cubicBezTo>
                  <a:close/>
                </a:path>
              </a:pathLst>
            </a:custGeom>
            <a:grpFill/>
            <a:ln w="13607" cap="flat">
              <a:noFill/>
              <a:prstDash val="solid"/>
              <a:miter/>
            </a:ln>
          </p:spPr>
          <p:txBody>
            <a:bodyPr rtlCol="0" anchor="ctr"/>
            <a:lstStyle/>
            <a:p>
              <a:endParaRPr lang="en-US"/>
            </a:p>
          </p:txBody>
        </p:sp>
        <p:sp>
          <p:nvSpPr>
            <p:cNvPr id="5006" name="Freeform: Shape 5005">
              <a:extLst>
                <a:ext uri="{FF2B5EF4-FFF2-40B4-BE49-F238E27FC236}">
                  <a16:creationId xmlns:a16="http://schemas.microsoft.com/office/drawing/2014/main" id="{0FC67592-EB35-416C-8D14-11FFDBCED834}"/>
                </a:ext>
              </a:extLst>
            </p:cNvPr>
            <p:cNvSpPr/>
            <p:nvPr/>
          </p:nvSpPr>
          <p:spPr>
            <a:xfrm>
              <a:off x="5905500" y="3152587"/>
              <a:ext cx="381000" cy="462642"/>
            </a:xfrm>
            <a:custGeom>
              <a:avLst/>
              <a:gdLst>
                <a:gd name="connsiteX0" fmla="*/ 371475 w 381000"/>
                <a:gd name="connsiteY0" fmla="*/ 166007 h 462642"/>
                <a:gd name="connsiteX1" fmla="*/ 370114 w 381000"/>
                <a:gd name="connsiteY1" fmla="*/ 164646 h 462642"/>
                <a:gd name="connsiteX2" fmla="*/ 367393 w 381000"/>
                <a:gd name="connsiteY2" fmla="*/ 160564 h 462642"/>
                <a:gd name="connsiteX3" fmla="*/ 217714 w 381000"/>
                <a:gd name="connsiteY3" fmla="*/ 13607 h 462642"/>
                <a:gd name="connsiteX4" fmla="*/ 216354 w 381000"/>
                <a:gd name="connsiteY4" fmla="*/ 12246 h 462642"/>
                <a:gd name="connsiteX5" fmla="*/ 214993 w 381000"/>
                <a:gd name="connsiteY5" fmla="*/ 10886 h 462642"/>
                <a:gd name="connsiteX6" fmla="*/ 185057 w 381000"/>
                <a:gd name="connsiteY6" fmla="*/ 0 h 462642"/>
                <a:gd name="connsiteX7" fmla="*/ 34018 w 381000"/>
                <a:gd name="connsiteY7" fmla="*/ 0 h 462642"/>
                <a:gd name="connsiteX8" fmla="*/ 0 w 381000"/>
                <a:gd name="connsiteY8" fmla="*/ 34018 h 462642"/>
                <a:gd name="connsiteX9" fmla="*/ 0 w 381000"/>
                <a:gd name="connsiteY9" fmla="*/ 429985 h 462642"/>
                <a:gd name="connsiteX10" fmla="*/ 34018 w 381000"/>
                <a:gd name="connsiteY10" fmla="*/ 462642 h 462642"/>
                <a:gd name="connsiteX11" fmla="*/ 346982 w 381000"/>
                <a:gd name="connsiteY11" fmla="*/ 462642 h 462642"/>
                <a:gd name="connsiteX12" fmla="*/ 381000 w 381000"/>
                <a:gd name="connsiteY12" fmla="*/ 428624 h 462642"/>
                <a:gd name="connsiteX13" fmla="*/ 381000 w 381000"/>
                <a:gd name="connsiteY13" fmla="*/ 194582 h 462642"/>
                <a:gd name="connsiteX14" fmla="*/ 371475 w 381000"/>
                <a:gd name="connsiteY14" fmla="*/ 166007 h 462642"/>
                <a:gd name="connsiteX15" fmla="*/ 349704 w 381000"/>
                <a:gd name="connsiteY15" fmla="*/ 163285 h 462642"/>
                <a:gd name="connsiteX16" fmla="*/ 251732 w 381000"/>
                <a:gd name="connsiteY16" fmla="*/ 163285 h 462642"/>
                <a:gd name="connsiteX17" fmla="*/ 217714 w 381000"/>
                <a:gd name="connsiteY17" fmla="*/ 129268 h 462642"/>
                <a:gd name="connsiteX18" fmla="*/ 217714 w 381000"/>
                <a:gd name="connsiteY18" fmla="*/ 32657 h 462642"/>
                <a:gd name="connsiteX19" fmla="*/ 349704 w 381000"/>
                <a:gd name="connsiteY19" fmla="*/ 163285 h 462642"/>
                <a:gd name="connsiteX20" fmla="*/ 367393 w 381000"/>
                <a:gd name="connsiteY20" fmla="*/ 428624 h 462642"/>
                <a:gd name="connsiteX21" fmla="*/ 346982 w 381000"/>
                <a:gd name="connsiteY21" fmla="*/ 449035 h 462642"/>
                <a:gd name="connsiteX22" fmla="*/ 34018 w 381000"/>
                <a:gd name="connsiteY22" fmla="*/ 449035 h 462642"/>
                <a:gd name="connsiteX23" fmla="*/ 13607 w 381000"/>
                <a:gd name="connsiteY23" fmla="*/ 428624 h 462642"/>
                <a:gd name="connsiteX24" fmla="*/ 13607 w 381000"/>
                <a:gd name="connsiteY24" fmla="*/ 34018 h 462642"/>
                <a:gd name="connsiteX25" fmla="*/ 34018 w 381000"/>
                <a:gd name="connsiteY25" fmla="*/ 13607 h 462642"/>
                <a:gd name="connsiteX26" fmla="*/ 185057 w 381000"/>
                <a:gd name="connsiteY26" fmla="*/ 13607 h 462642"/>
                <a:gd name="connsiteX27" fmla="*/ 204107 w 381000"/>
                <a:gd name="connsiteY27" fmla="*/ 20411 h 462642"/>
                <a:gd name="connsiteX28" fmla="*/ 204107 w 381000"/>
                <a:gd name="connsiteY28" fmla="*/ 129268 h 462642"/>
                <a:gd name="connsiteX29" fmla="*/ 251732 w 381000"/>
                <a:gd name="connsiteY29" fmla="*/ 176893 h 462642"/>
                <a:gd name="connsiteX30" fmla="*/ 361950 w 381000"/>
                <a:gd name="connsiteY30" fmla="*/ 176893 h 462642"/>
                <a:gd name="connsiteX31" fmla="*/ 367393 w 381000"/>
                <a:gd name="connsiteY31" fmla="*/ 194582 h 462642"/>
                <a:gd name="connsiteX32" fmla="*/ 367393 w 381000"/>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1000" h="462642">
                  <a:moveTo>
                    <a:pt x="371475" y="166007"/>
                  </a:moveTo>
                  <a:cubicBezTo>
                    <a:pt x="371475" y="166007"/>
                    <a:pt x="370114" y="164646"/>
                    <a:pt x="370114" y="164646"/>
                  </a:cubicBezTo>
                  <a:cubicBezTo>
                    <a:pt x="368754" y="163285"/>
                    <a:pt x="367393" y="161925"/>
                    <a:pt x="367393" y="160564"/>
                  </a:cubicBezTo>
                  <a:lnTo>
                    <a:pt x="217714" y="13607"/>
                  </a:lnTo>
                  <a:cubicBezTo>
                    <a:pt x="217714" y="13607"/>
                    <a:pt x="216354" y="12246"/>
                    <a:pt x="216354" y="12246"/>
                  </a:cubicBezTo>
                  <a:cubicBezTo>
                    <a:pt x="216354" y="12246"/>
                    <a:pt x="214993" y="10886"/>
                    <a:pt x="214993" y="10886"/>
                  </a:cubicBezTo>
                  <a:cubicBezTo>
                    <a:pt x="205468" y="4082"/>
                    <a:pt x="195943" y="0"/>
                    <a:pt x="185057" y="0"/>
                  </a:cubicBezTo>
                  <a:lnTo>
                    <a:pt x="34018" y="0"/>
                  </a:lnTo>
                  <a:cubicBezTo>
                    <a:pt x="14968" y="0"/>
                    <a:pt x="0" y="14968"/>
                    <a:pt x="0" y="34018"/>
                  </a:cubicBezTo>
                  <a:lnTo>
                    <a:pt x="0" y="429985"/>
                  </a:lnTo>
                  <a:cubicBezTo>
                    <a:pt x="0" y="447674"/>
                    <a:pt x="14968" y="462642"/>
                    <a:pt x="34018" y="462642"/>
                  </a:cubicBezTo>
                  <a:lnTo>
                    <a:pt x="346982" y="462642"/>
                  </a:lnTo>
                  <a:cubicBezTo>
                    <a:pt x="366032" y="462642"/>
                    <a:pt x="381000" y="447674"/>
                    <a:pt x="381000" y="428624"/>
                  </a:cubicBezTo>
                  <a:lnTo>
                    <a:pt x="381000" y="194582"/>
                  </a:lnTo>
                  <a:cubicBezTo>
                    <a:pt x="381000" y="185057"/>
                    <a:pt x="376918" y="174171"/>
                    <a:pt x="371475" y="166007"/>
                  </a:cubicBezTo>
                  <a:close/>
                  <a:moveTo>
                    <a:pt x="349704" y="163285"/>
                  </a:moveTo>
                  <a:lnTo>
                    <a:pt x="251732" y="163285"/>
                  </a:lnTo>
                  <a:cubicBezTo>
                    <a:pt x="232682" y="163285"/>
                    <a:pt x="217714" y="148318"/>
                    <a:pt x="217714" y="129268"/>
                  </a:cubicBezTo>
                  <a:lnTo>
                    <a:pt x="217714" y="32657"/>
                  </a:lnTo>
                  <a:lnTo>
                    <a:pt x="349704" y="163285"/>
                  </a:lnTo>
                  <a:close/>
                  <a:moveTo>
                    <a:pt x="367393" y="428624"/>
                  </a:moveTo>
                  <a:cubicBezTo>
                    <a:pt x="367393" y="439510"/>
                    <a:pt x="357868" y="449035"/>
                    <a:pt x="346982"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1" y="13607"/>
                    <a:pt x="198664" y="16329"/>
                    <a:pt x="204107" y="20411"/>
                  </a:cubicBezTo>
                  <a:lnTo>
                    <a:pt x="204107" y="129268"/>
                  </a:lnTo>
                  <a:cubicBezTo>
                    <a:pt x="204107" y="155121"/>
                    <a:pt x="225879" y="176893"/>
                    <a:pt x="251732" y="176893"/>
                  </a:cubicBezTo>
                  <a:lnTo>
                    <a:pt x="361950" y="176893"/>
                  </a:lnTo>
                  <a:cubicBezTo>
                    <a:pt x="364671" y="182335"/>
                    <a:pt x="367393" y="189139"/>
                    <a:pt x="367393" y="194582"/>
                  </a:cubicBezTo>
                  <a:lnTo>
                    <a:pt x="367393" y="428624"/>
                  </a:lnTo>
                  <a:close/>
                </a:path>
              </a:pathLst>
            </a:custGeom>
            <a:grpFill/>
            <a:ln w="13607" cap="flat">
              <a:noFill/>
              <a:prstDash val="solid"/>
              <a:miter/>
            </a:ln>
          </p:spPr>
          <p:txBody>
            <a:bodyPr rtlCol="0" anchor="ctr"/>
            <a:lstStyle/>
            <a:p>
              <a:endParaRPr lang="en-US"/>
            </a:p>
          </p:txBody>
        </p:sp>
      </p:grpSp>
      <p:grpSp>
        <p:nvGrpSpPr>
          <p:cNvPr id="5007" name="Graphic 4">
            <a:extLst>
              <a:ext uri="{FF2B5EF4-FFF2-40B4-BE49-F238E27FC236}">
                <a16:creationId xmlns:a16="http://schemas.microsoft.com/office/drawing/2014/main" id="{B1F7FD9A-A15D-4C05-B7DE-87401D7464A8}"/>
              </a:ext>
              <a:ext uri="{C183D7F6-B498-43B3-948B-1728B52AA6E4}">
                <adec:decorative xmlns:adec="http://schemas.microsoft.com/office/drawing/2017/decorative" val="1"/>
              </a:ext>
            </a:extLst>
          </p:cNvPr>
          <p:cNvGrpSpPr>
            <a:grpSpLocks noChangeAspect="1"/>
          </p:cNvGrpSpPr>
          <p:nvPr/>
        </p:nvGrpSpPr>
        <p:grpSpPr>
          <a:xfrm>
            <a:off x="1092862" y="2086035"/>
            <a:ext cx="103253" cy="125379"/>
            <a:chOff x="5905500" y="3152587"/>
            <a:chExt cx="380999" cy="462642"/>
          </a:xfrm>
          <a:solidFill>
            <a:schemeClr val="tx1"/>
          </a:solidFill>
        </p:grpSpPr>
        <p:sp>
          <p:nvSpPr>
            <p:cNvPr id="5008" name="Freeform: Shape 5007">
              <a:extLst>
                <a:ext uri="{FF2B5EF4-FFF2-40B4-BE49-F238E27FC236}">
                  <a16:creationId xmlns:a16="http://schemas.microsoft.com/office/drawing/2014/main" id="{C12B4B16-73ED-49AF-ACC1-BA3B689F6BB7}"/>
                </a:ext>
              </a:extLst>
            </p:cNvPr>
            <p:cNvSpPr/>
            <p:nvPr/>
          </p:nvSpPr>
          <p:spPr>
            <a:xfrm>
              <a:off x="6019119" y="3380651"/>
              <a:ext cx="163285" cy="108857"/>
            </a:xfrm>
            <a:custGeom>
              <a:avLst/>
              <a:gdLst>
                <a:gd name="connsiteX0" fmla="*/ 162605 w 163285"/>
                <a:gd name="connsiteY0" fmla="*/ 1897 h 108856"/>
                <a:gd name="connsiteX1" fmla="*/ 60552 w 163285"/>
                <a:gd name="connsiteY1" fmla="*/ 103950 h 108856"/>
                <a:gd name="connsiteX2" fmla="*/ 11566 w 163285"/>
                <a:gd name="connsiteY2" fmla="*/ 54964 h 108856"/>
                <a:gd name="connsiteX3" fmla="*/ 2041 w 163285"/>
                <a:gd name="connsiteY3" fmla="*/ 54964 h 108856"/>
                <a:gd name="connsiteX4" fmla="*/ 2041 w 163285"/>
                <a:gd name="connsiteY4" fmla="*/ 64489 h 108856"/>
                <a:gd name="connsiteX5" fmla="*/ 56469 w 163285"/>
                <a:gd name="connsiteY5" fmla="*/ 118918 h 108856"/>
                <a:gd name="connsiteX6" fmla="*/ 61912 w 163285"/>
                <a:gd name="connsiteY6" fmla="*/ 120279 h 108856"/>
                <a:gd name="connsiteX7" fmla="*/ 67355 w 163285"/>
                <a:gd name="connsiteY7" fmla="*/ 118918 h 108856"/>
                <a:gd name="connsiteX8" fmla="*/ 173491 w 163285"/>
                <a:gd name="connsiteY8" fmla="*/ 12782 h 108856"/>
                <a:gd name="connsiteX9" fmla="*/ 173491 w 163285"/>
                <a:gd name="connsiteY9" fmla="*/ 3257 h 108856"/>
                <a:gd name="connsiteX10" fmla="*/ 162605 w 163285"/>
                <a:gd name="connsiteY10" fmla="*/ 1897 h 10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85" h="108856">
                  <a:moveTo>
                    <a:pt x="162605" y="1897"/>
                  </a:moveTo>
                  <a:lnTo>
                    <a:pt x="60552" y="103950"/>
                  </a:lnTo>
                  <a:lnTo>
                    <a:pt x="11566" y="54964"/>
                  </a:lnTo>
                  <a:cubicBezTo>
                    <a:pt x="8845" y="52243"/>
                    <a:pt x="4762" y="52243"/>
                    <a:pt x="2041" y="54964"/>
                  </a:cubicBezTo>
                  <a:cubicBezTo>
                    <a:pt x="-680" y="57686"/>
                    <a:pt x="-680" y="61768"/>
                    <a:pt x="2041" y="64489"/>
                  </a:cubicBezTo>
                  <a:lnTo>
                    <a:pt x="56469" y="118918"/>
                  </a:lnTo>
                  <a:cubicBezTo>
                    <a:pt x="57830" y="120279"/>
                    <a:pt x="59191" y="120279"/>
                    <a:pt x="61912" y="120279"/>
                  </a:cubicBezTo>
                  <a:cubicBezTo>
                    <a:pt x="64634" y="120279"/>
                    <a:pt x="65994" y="120279"/>
                    <a:pt x="67355" y="118918"/>
                  </a:cubicBezTo>
                  <a:lnTo>
                    <a:pt x="173491" y="12782"/>
                  </a:lnTo>
                  <a:cubicBezTo>
                    <a:pt x="176212" y="10061"/>
                    <a:pt x="176212" y="5979"/>
                    <a:pt x="173491" y="3257"/>
                  </a:cubicBezTo>
                  <a:cubicBezTo>
                    <a:pt x="169408" y="-825"/>
                    <a:pt x="165326" y="-825"/>
                    <a:pt x="162605" y="1897"/>
                  </a:cubicBezTo>
                  <a:close/>
                </a:path>
              </a:pathLst>
            </a:custGeom>
            <a:grpFill/>
            <a:ln w="13267" cap="flat">
              <a:noFill/>
              <a:prstDash val="solid"/>
              <a:miter/>
            </a:ln>
          </p:spPr>
          <p:txBody>
            <a:bodyPr rtlCol="0" anchor="ctr"/>
            <a:lstStyle/>
            <a:p>
              <a:endParaRPr lang="en-US"/>
            </a:p>
          </p:txBody>
        </p:sp>
        <p:sp>
          <p:nvSpPr>
            <p:cNvPr id="5009" name="Freeform: Shape 5008">
              <a:extLst>
                <a:ext uri="{FF2B5EF4-FFF2-40B4-BE49-F238E27FC236}">
                  <a16:creationId xmlns:a16="http://schemas.microsoft.com/office/drawing/2014/main" id="{3BD02E2D-7594-4608-BB43-041D406C212A}"/>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grpSp>
        <p:nvGrpSpPr>
          <p:cNvPr id="5010" name="Graphic 5">
            <a:extLst>
              <a:ext uri="{FF2B5EF4-FFF2-40B4-BE49-F238E27FC236}">
                <a16:creationId xmlns:a16="http://schemas.microsoft.com/office/drawing/2014/main" id="{168F044C-2293-4288-A75C-38596A584256}"/>
              </a:ext>
              <a:ext uri="{C183D7F6-B498-43B3-948B-1728B52AA6E4}">
                <adec:decorative xmlns:adec="http://schemas.microsoft.com/office/drawing/2017/decorative" val="1"/>
              </a:ext>
            </a:extLst>
          </p:cNvPr>
          <p:cNvGrpSpPr>
            <a:grpSpLocks noChangeAspect="1"/>
          </p:cNvGrpSpPr>
          <p:nvPr/>
        </p:nvGrpSpPr>
        <p:grpSpPr>
          <a:xfrm>
            <a:off x="1352575" y="2086035"/>
            <a:ext cx="103253" cy="125379"/>
            <a:chOff x="5905500" y="3152587"/>
            <a:chExt cx="380999" cy="462642"/>
          </a:xfrm>
          <a:solidFill>
            <a:schemeClr val="tx1"/>
          </a:solidFill>
        </p:grpSpPr>
        <p:sp>
          <p:nvSpPr>
            <p:cNvPr id="5011" name="Freeform: Shape 5010">
              <a:extLst>
                <a:ext uri="{FF2B5EF4-FFF2-40B4-BE49-F238E27FC236}">
                  <a16:creationId xmlns:a16="http://schemas.microsoft.com/office/drawing/2014/main" id="{00784A2B-328E-4CB1-A7EB-B18FE4267C5E}"/>
                </a:ext>
              </a:extLst>
            </p:cNvPr>
            <p:cNvSpPr/>
            <p:nvPr/>
          </p:nvSpPr>
          <p:spPr>
            <a:xfrm>
              <a:off x="6007553" y="3336283"/>
              <a:ext cx="176892" cy="217714"/>
            </a:xfrm>
            <a:custGeom>
              <a:avLst/>
              <a:gdLst>
                <a:gd name="connsiteX0" fmla="*/ 170089 w 176892"/>
                <a:gd name="connsiteY0" fmla="*/ 81643 h 217713"/>
                <a:gd name="connsiteX1" fmla="*/ 156482 w 176892"/>
                <a:gd name="connsiteY1" fmla="*/ 81643 h 217713"/>
                <a:gd name="connsiteX2" fmla="*/ 156482 w 176892"/>
                <a:gd name="connsiteY2" fmla="*/ 68036 h 217713"/>
                <a:gd name="connsiteX3" fmla="*/ 88446 w 176892"/>
                <a:gd name="connsiteY3" fmla="*/ 0 h 217713"/>
                <a:gd name="connsiteX4" fmla="*/ 20411 w 176892"/>
                <a:gd name="connsiteY4" fmla="*/ 68036 h 217713"/>
                <a:gd name="connsiteX5" fmla="*/ 20411 w 176892"/>
                <a:gd name="connsiteY5" fmla="*/ 81643 h 217713"/>
                <a:gd name="connsiteX6" fmla="*/ 6804 w 176892"/>
                <a:gd name="connsiteY6" fmla="*/ 81643 h 217713"/>
                <a:gd name="connsiteX7" fmla="*/ 0 w 176892"/>
                <a:gd name="connsiteY7" fmla="*/ 88446 h 217713"/>
                <a:gd name="connsiteX8" fmla="*/ 0 w 176892"/>
                <a:gd name="connsiteY8" fmla="*/ 210910 h 217713"/>
                <a:gd name="connsiteX9" fmla="*/ 6804 w 176892"/>
                <a:gd name="connsiteY9" fmla="*/ 217714 h 217713"/>
                <a:gd name="connsiteX10" fmla="*/ 170089 w 176892"/>
                <a:gd name="connsiteY10" fmla="*/ 217714 h 217713"/>
                <a:gd name="connsiteX11" fmla="*/ 176892 w 176892"/>
                <a:gd name="connsiteY11" fmla="*/ 210910 h 217713"/>
                <a:gd name="connsiteX12" fmla="*/ 176892 w 176892"/>
                <a:gd name="connsiteY12" fmla="*/ 88446 h 217713"/>
                <a:gd name="connsiteX13" fmla="*/ 170089 w 176892"/>
                <a:gd name="connsiteY13" fmla="*/ 81643 h 217713"/>
                <a:gd name="connsiteX14" fmla="*/ 34018 w 176892"/>
                <a:gd name="connsiteY14" fmla="*/ 68036 h 217713"/>
                <a:gd name="connsiteX15" fmla="*/ 88446 w 176892"/>
                <a:gd name="connsiteY15" fmla="*/ 13607 h 217713"/>
                <a:gd name="connsiteX16" fmla="*/ 142875 w 176892"/>
                <a:gd name="connsiteY16" fmla="*/ 68036 h 217713"/>
                <a:gd name="connsiteX17" fmla="*/ 142875 w 176892"/>
                <a:gd name="connsiteY17" fmla="*/ 81643 h 217713"/>
                <a:gd name="connsiteX18" fmla="*/ 34018 w 176892"/>
                <a:gd name="connsiteY18" fmla="*/ 81643 h 217713"/>
                <a:gd name="connsiteX19" fmla="*/ 34018 w 176892"/>
                <a:gd name="connsiteY19" fmla="*/ 68036 h 217713"/>
                <a:gd name="connsiteX20" fmla="*/ 163285 w 176892"/>
                <a:gd name="connsiteY20" fmla="*/ 204107 h 217713"/>
                <a:gd name="connsiteX21" fmla="*/ 13607 w 176892"/>
                <a:gd name="connsiteY21" fmla="*/ 204107 h 217713"/>
                <a:gd name="connsiteX22" fmla="*/ 13607 w 176892"/>
                <a:gd name="connsiteY22" fmla="*/ 95250 h 217713"/>
                <a:gd name="connsiteX23" fmla="*/ 27214 w 176892"/>
                <a:gd name="connsiteY23" fmla="*/ 95250 h 217713"/>
                <a:gd name="connsiteX24" fmla="*/ 149678 w 176892"/>
                <a:gd name="connsiteY24" fmla="*/ 95250 h 217713"/>
                <a:gd name="connsiteX25" fmla="*/ 163285 w 176892"/>
                <a:gd name="connsiteY25" fmla="*/ 95250 h 217713"/>
                <a:gd name="connsiteX26" fmla="*/ 163285 w 176892"/>
                <a:gd name="connsiteY26" fmla="*/ 204107 h 21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6892" h="217713">
                  <a:moveTo>
                    <a:pt x="170089" y="81643"/>
                  </a:moveTo>
                  <a:lnTo>
                    <a:pt x="156482" y="81643"/>
                  </a:lnTo>
                  <a:lnTo>
                    <a:pt x="156482" y="68036"/>
                  </a:lnTo>
                  <a:cubicBezTo>
                    <a:pt x="156482" y="29936"/>
                    <a:pt x="126546" y="0"/>
                    <a:pt x="88446" y="0"/>
                  </a:cubicBezTo>
                  <a:cubicBezTo>
                    <a:pt x="50346" y="0"/>
                    <a:pt x="20411" y="29936"/>
                    <a:pt x="20411" y="68036"/>
                  </a:cubicBezTo>
                  <a:lnTo>
                    <a:pt x="20411" y="81643"/>
                  </a:lnTo>
                  <a:lnTo>
                    <a:pt x="6804" y="81643"/>
                  </a:lnTo>
                  <a:cubicBezTo>
                    <a:pt x="2721" y="81643"/>
                    <a:pt x="0" y="84364"/>
                    <a:pt x="0" y="88446"/>
                  </a:cubicBezTo>
                  <a:lnTo>
                    <a:pt x="0" y="210910"/>
                  </a:lnTo>
                  <a:cubicBezTo>
                    <a:pt x="0" y="214992"/>
                    <a:pt x="2721" y="217714"/>
                    <a:pt x="6804" y="217714"/>
                  </a:cubicBezTo>
                  <a:lnTo>
                    <a:pt x="170089" y="217714"/>
                  </a:lnTo>
                  <a:cubicBezTo>
                    <a:pt x="174171" y="217714"/>
                    <a:pt x="176892" y="214992"/>
                    <a:pt x="176892" y="210910"/>
                  </a:cubicBezTo>
                  <a:lnTo>
                    <a:pt x="176892" y="88446"/>
                  </a:lnTo>
                  <a:cubicBezTo>
                    <a:pt x="176892" y="84364"/>
                    <a:pt x="174171" y="81643"/>
                    <a:pt x="170089" y="81643"/>
                  </a:cubicBezTo>
                  <a:close/>
                  <a:moveTo>
                    <a:pt x="34018" y="68036"/>
                  </a:moveTo>
                  <a:cubicBezTo>
                    <a:pt x="34018" y="38100"/>
                    <a:pt x="58511" y="13607"/>
                    <a:pt x="88446" y="13607"/>
                  </a:cubicBezTo>
                  <a:cubicBezTo>
                    <a:pt x="118382" y="13607"/>
                    <a:pt x="142875" y="38100"/>
                    <a:pt x="142875" y="68036"/>
                  </a:cubicBezTo>
                  <a:lnTo>
                    <a:pt x="142875" y="81643"/>
                  </a:lnTo>
                  <a:lnTo>
                    <a:pt x="34018" y="81643"/>
                  </a:lnTo>
                  <a:lnTo>
                    <a:pt x="34018" y="68036"/>
                  </a:lnTo>
                  <a:close/>
                  <a:moveTo>
                    <a:pt x="163285" y="204107"/>
                  </a:moveTo>
                  <a:lnTo>
                    <a:pt x="13607" y="204107"/>
                  </a:lnTo>
                  <a:lnTo>
                    <a:pt x="13607" y="95250"/>
                  </a:lnTo>
                  <a:lnTo>
                    <a:pt x="27214" y="95250"/>
                  </a:lnTo>
                  <a:lnTo>
                    <a:pt x="149678" y="95250"/>
                  </a:lnTo>
                  <a:lnTo>
                    <a:pt x="163285" y="95250"/>
                  </a:lnTo>
                  <a:lnTo>
                    <a:pt x="163285" y="204107"/>
                  </a:lnTo>
                  <a:close/>
                </a:path>
              </a:pathLst>
            </a:custGeom>
            <a:grpFill/>
            <a:ln w="13267" cap="flat">
              <a:noFill/>
              <a:prstDash val="solid"/>
              <a:miter/>
            </a:ln>
          </p:spPr>
          <p:txBody>
            <a:bodyPr rtlCol="0" anchor="ctr"/>
            <a:lstStyle/>
            <a:p>
              <a:endParaRPr lang="en-US"/>
            </a:p>
          </p:txBody>
        </p:sp>
        <p:sp>
          <p:nvSpPr>
            <p:cNvPr id="5012" name="Freeform: Shape 5011">
              <a:extLst>
                <a:ext uri="{FF2B5EF4-FFF2-40B4-BE49-F238E27FC236}">
                  <a16:creationId xmlns:a16="http://schemas.microsoft.com/office/drawing/2014/main" id="{11B34967-1F30-4F01-9556-EBA4FF2BAA53}"/>
                </a:ext>
              </a:extLst>
            </p:cNvPr>
            <p:cNvSpPr/>
            <p:nvPr/>
          </p:nvSpPr>
          <p:spPr>
            <a:xfrm>
              <a:off x="6075589" y="3465551"/>
              <a:ext cx="40821" cy="54428"/>
            </a:xfrm>
            <a:custGeom>
              <a:avLst/>
              <a:gdLst>
                <a:gd name="connsiteX0" fmla="*/ 20411 w 40821"/>
                <a:gd name="connsiteY0" fmla="*/ 0 h 54428"/>
                <a:gd name="connsiteX1" fmla="*/ 0 w 40821"/>
                <a:gd name="connsiteY1" fmla="*/ 20411 h 54428"/>
                <a:gd name="connsiteX2" fmla="*/ 13607 w 40821"/>
                <a:gd name="connsiteY2" fmla="*/ 39461 h 54428"/>
                <a:gd name="connsiteX3" fmla="*/ 13607 w 40821"/>
                <a:gd name="connsiteY3" fmla="*/ 61232 h 54428"/>
                <a:gd name="connsiteX4" fmla="*/ 27214 w 40821"/>
                <a:gd name="connsiteY4" fmla="*/ 61232 h 54428"/>
                <a:gd name="connsiteX5" fmla="*/ 27214 w 40821"/>
                <a:gd name="connsiteY5" fmla="*/ 39461 h 54428"/>
                <a:gd name="connsiteX6" fmla="*/ 40821 w 40821"/>
                <a:gd name="connsiteY6" fmla="*/ 20411 h 54428"/>
                <a:gd name="connsiteX7" fmla="*/ 20411 w 40821"/>
                <a:gd name="connsiteY7" fmla="*/ 0 h 5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21" h="54428">
                  <a:moveTo>
                    <a:pt x="20411" y="0"/>
                  </a:moveTo>
                  <a:cubicBezTo>
                    <a:pt x="9525" y="0"/>
                    <a:pt x="0" y="9525"/>
                    <a:pt x="0" y="20411"/>
                  </a:cubicBezTo>
                  <a:cubicBezTo>
                    <a:pt x="0" y="29936"/>
                    <a:pt x="5443" y="36739"/>
                    <a:pt x="13607" y="39461"/>
                  </a:cubicBezTo>
                  <a:lnTo>
                    <a:pt x="13607" y="61232"/>
                  </a:lnTo>
                  <a:lnTo>
                    <a:pt x="27214" y="61232"/>
                  </a:lnTo>
                  <a:lnTo>
                    <a:pt x="27214" y="39461"/>
                  </a:lnTo>
                  <a:cubicBezTo>
                    <a:pt x="35378" y="36739"/>
                    <a:pt x="40821" y="28575"/>
                    <a:pt x="40821" y="20411"/>
                  </a:cubicBezTo>
                  <a:cubicBezTo>
                    <a:pt x="40821" y="9525"/>
                    <a:pt x="31296" y="0"/>
                    <a:pt x="20411" y="0"/>
                  </a:cubicBezTo>
                  <a:close/>
                </a:path>
              </a:pathLst>
            </a:custGeom>
            <a:grpFill/>
            <a:ln w="13267" cap="flat">
              <a:noFill/>
              <a:prstDash val="solid"/>
              <a:miter/>
            </a:ln>
          </p:spPr>
          <p:txBody>
            <a:bodyPr rtlCol="0" anchor="ctr"/>
            <a:lstStyle/>
            <a:p>
              <a:endParaRPr lang="en-US"/>
            </a:p>
          </p:txBody>
        </p:sp>
        <p:sp>
          <p:nvSpPr>
            <p:cNvPr id="5013" name="Freeform: Shape 5012">
              <a:extLst>
                <a:ext uri="{FF2B5EF4-FFF2-40B4-BE49-F238E27FC236}">
                  <a16:creationId xmlns:a16="http://schemas.microsoft.com/office/drawing/2014/main" id="{1793A0CE-4AE9-43E6-949A-602898B60138}"/>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grpSp>
        <p:nvGrpSpPr>
          <p:cNvPr id="5014" name="Graphic 6">
            <a:extLst>
              <a:ext uri="{FF2B5EF4-FFF2-40B4-BE49-F238E27FC236}">
                <a16:creationId xmlns:a16="http://schemas.microsoft.com/office/drawing/2014/main" id="{BA42784F-1548-4D24-8157-5BD4B82B0F07}"/>
              </a:ext>
              <a:ext uri="{C183D7F6-B498-43B3-948B-1728B52AA6E4}">
                <adec:decorative xmlns:adec="http://schemas.microsoft.com/office/drawing/2017/decorative" val="1"/>
              </a:ext>
            </a:extLst>
          </p:cNvPr>
          <p:cNvGrpSpPr>
            <a:grpSpLocks noChangeAspect="1"/>
          </p:cNvGrpSpPr>
          <p:nvPr/>
        </p:nvGrpSpPr>
        <p:grpSpPr>
          <a:xfrm>
            <a:off x="1622588" y="2086035"/>
            <a:ext cx="103253" cy="125379"/>
            <a:chOff x="5905500" y="3152587"/>
            <a:chExt cx="380999" cy="462642"/>
          </a:xfrm>
          <a:solidFill>
            <a:schemeClr val="tx1"/>
          </a:solidFill>
        </p:grpSpPr>
        <p:sp>
          <p:nvSpPr>
            <p:cNvPr id="5015" name="Freeform: Shape 5014">
              <a:extLst>
                <a:ext uri="{FF2B5EF4-FFF2-40B4-BE49-F238E27FC236}">
                  <a16:creationId xmlns:a16="http://schemas.microsoft.com/office/drawing/2014/main" id="{84EA88F5-DFD3-44F4-89CC-13E2D8384F7F}"/>
                </a:ext>
              </a:extLst>
            </p:cNvPr>
            <p:cNvSpPr/>
            <p:nvPr/>
          </p:nvSpPr>
          <p:spPr>
            <a:xfrm>
              <a:off x="5994286" y="3356694"/>
              <a:ext cx="204107" cy="176893"/>
            </a:xfrm>
            <a:custGeom>
              <a:avLst/>
              <a:gdLst>
                <a:gd name="connsiteX0" fmla="*/ 113960 w 204106"/>
                <a:gd name="connsiteY0" fmla="*/ 2721 h 176892"/>
                <a:gd name="connsiteX1" fmla="*/ 108517 w 204106"/>
                <a:gd name="connsiteY1" fmla="*/ 0 h 176892"/>
                <a:gd name="connsiteX2" fmla="*/ 103074 w 204106"/>
                <a:gd name="connsiteY2" fmla="*/ 2721 h 176892"/>
                <a:gd name="connsiteX3" fmla="*/ 1021 w 204106"/>
                <a:gd name="connsiteY3" fmla="*/ 166007 h 176892"/>
                <a:gd name="connsiteX4" fmla="*/ 1021 w 204106"/>
                <a:gd name="connsiteY4" fmla="*/ 172810 h 176892"/>
                <a:gd name="connsiteX5" fmla="*/ 6463 w 204106"/>
                <a:gd name="connsiteY5" fmla="*/ 176893 h 176892"/>
                <a:gd name="connsiteX6" fmla="*/ 210570 w 204106"/>
                <a:gd name="connsiteY6" fmla="*/ 176893 h 176892"/>
                <a:gd name="connsiteX7" fmla="*/ 216013 w 204106"/>
                <a:gd name="connsiteY7" fmla="*/ 172810 h 176892"/>
                <a:gd name="connsiteX8" fmla="*/ 216013 w 204106"/>
                <a:gd name="connsiteY8" fmla="*/ 166007 h 176892"/>
                <a:gd name="connsiteX9" fmla="*/ 113960 w 204106"/>
                <a:gd name="connsiteY9" fmla="*/ 2721 h 176892"/>
                <a:gd name="connsiteX10" fmla="*/ 18710 w 204106"/>
                <a:gd name="connsiteY10" fmla="*/ 163285 h 176892"/>
                <a:gd name="connsiteX11" fmla="*/ 108517 w 204106"/>
                <a:gd name="connsiteY11" fmla="*/ 20411 h 176892"/>
                <a:gd name="connsiteX12" fmla="*/ 198324 w 204106"/>
                <a:gd name="connsiteY12" fmla="*/ 163285 h 176892"/>
                <a:gd name="connsiteX13" fmla="*/ 18710 w 204106"/>
                <a:gd name="connsiteY13" fmla="*/ 163285 h 17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4106" h="176892">
                  <a:moveTo>
                    <a:pt x="113960" y="2721"/>
                  </a:moveTo>
                  <a:cubicBezTo>
                    <a:pt x="112599" y="1361"/>
                    <a:pt x="109877" y="0"/>
                    <a:pt x="108517" y="0"/>
                  </a:cubicBezTo>
                  <a:cubicBezTo>
                    <a:pt x="105795" y="0"/>
                    <a:pt x="104435" y="1361"/>
                    <a:pt x="103074" y="2721"/>
                  </a:cubicBezTo>
                  <a:lnTo>
                    <a:pt x="1021" y="166007"/>
                  </a:lnTo>
                  <a:cubicBezTo>
                    <a:pt x="-340" y="168728"/>
                    <a:pt x="-340" y="170089"/>
                    <a:pt x="1021" y="172810"/>
                  </a:cubicBezTo>
                  <a:cubicBezTo>
                    <a:pt x="2381" y="175532"/>
                    <a:pt x="3742" y="176893"/>
                    <a:pt x="6463" y="176893"/>
                  </a:cubicBezTo>
                  <a:lnTo>
                    <a:pt x="210570" y="176893"/>
                  </a:lnTo>
                  <a:cubicBezTo>
                    <a:pt x="213291" y="176893"/>
                    <a:pt x="214652" y="175532"/>
                    <a:pt x="216013" y="172810"/>
                  </a:cubicBezTo>
                  <a:cubicBezTo>
                    <a:pt x="217374" y="170089"/>
                    <a:pt x="217374" y="167368"/>
                    <a:pt x="216013" y="166007"/>
                  </a:cubicBezTo>
                  <a:lnTo>
                    <a:pt x="113960" y="2721"/>
                  </a:lnTo>
                  <a:close/>
                  <a:moveTo>
                    <a:pt x="18710" y="163285"/>
                  </a:moveTo>
                  <a:lnTo>
                    <a:pt x="108517" y="20411"/>
                  </a:lnTo>
                  <a:lnTo>
                    <a:pt x="198324" y="163285"/>
                  </a:lnTo>
                  <a:lnTo>
                    <a:pt x="18710" y="163285"/>
                  </a:lnTo>
                  <a:close/>
                </a:path>
              </a:pathLst>
            </a:custGeom>
            <a:grpFill/>
            <a:ln w="13267" cap="flat">
              <a:noFill/>
              <a:prstDash val="solid"/>
              <a:miter/>
            </a:ln>
          </p:spPr>
          <p:txBody>
            <a:bodyPr rtlCol="0" anchor="ctr"/>
            <a:lstStyle/>
            <a:p>
              <a:endParaRPr lang="en-US"/>
            </a:p>
          </p:txBody>
        </p:sp>
        <p:sp>
          <p:nvSpPr>
            <p:cNvPr id="5016" name="Freeform: Shape 5015">
              <a:extLst>
                <a:ext uri="{FF2B5EF4-FFF2-40B4-BE49-F238E27FC236}">
                  <a16:creationId xmlns:a16="http://schemas.microsoft.com/office/drawing/2014/main" id="{BD1C7A05-B8C1-4888-9FCB-FCDEAA792EBB}"/>
                </a:ext>
              </a:extLst>
            </p:cNvPr>
            <p:cNvSpPr/>
            <p:nvPr/>
          </p:nvSpPr>
          <p:spPr>
            <a:xfrm>
              <a:off x="6096000" y="3417926"/>
              <a:ext cx="13607" cy="54428"/>
            </a:xfrm>
            <a:custGeom>
              <a:avLst/>
              <a:gdLst>
                <a:gd name="connsiteX0" fmla="*/ 0 w 13607"/>
                <a:gd name="connsiteY0" fmla="*/ 6804 h 54428"/>
                <a:gd name="connsiteX1" fmla="*/ 0 w 13607"/>
                <a:gd name="connsiteY1" fmla="*/ 57150 h 54428"/>
                <a:gd name="connsiteX2" fmla="*/ 6804 w 13607"/>
                <a:gd name="connsiteY2" fmla="*/ 63953 h 54428"/>
                <a:gd name="connsiteX3" fmla="*/ 13607 w 13607"/>
                <a:gd name="connsiteY3" fmla="*/ 57150 h 54428"/>
                <a:gd name="connsiteX4" fmla="*/ 13607 w 13607"/>
                <a:gd name="connsiteY4" fmla="*/ 6804 h 54428"/>
                <a:gd name="connsiteX5" fmla="*/ 6804 w 13607"/>
                <a:gd name="connsiteY5" fmla="*/ 0 h 54428"/>
                <a:gd name="connsiteX6" fmla="*/ 0 w 13607"/>
                <a:gd name="connsiteY6" fmla="*/ 6804 h 5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07" h="54428">
                  <a:moveTo>
                    <a:pt x="0" y="6804"/>
                  </a:moveTo>
                  <a:lnTo>
                    <a:pt x="0" y="57150"/>
                  </a:lnTo>
                  <a:cubicBezTo>
                    <a:pt x="0" y="61232"/>
                    <a:pt x="2721" y="63953"/>
                    <a:pt x="6804" y="63953"/>
                  </a:cubicBezTo>
                  <a:cubicBezTo>
                    <a:pt x="10886" y="63953"/>
                    <a:pt x="13607" y="61232"/>
                    <a:pt x="13607" y="57150"/>
                  </a:cubicBezTo>
                  <a:lnTo>
                    <a:pt x="13607" y="6804"/>
                  </a:lnTo>
                  <a:cubicBezTo>
                    <a:pt x="13607" y="2721"/>
                    <a:pt x="10886" y="0"/>
                    <a:pt x="6804" y="0"/>
                  </a:cubicBezTo>
                  <a:cubicBezTo>
                    <a:pt x="2721" y="0"/>
                    <a:pt x="0" y="2721"/>
                    <a:pt x="0" y="6804"/>
                  </a:cubicBezTo>
                  <a:close/>
                </a:path>
              </a:pathLst>
            </a:custGeom>
            <a:grpFill/>
            <a:ln w="13267" cap="flat">
              <a:noFill/>
              <a:prstDash val="solid"/>
              <a:miter/>
            </a:ln>
          </p:spPr>
          <p:txBody>
            <a:bodyPr rtlCol="0" anchor="ctr"/>
            <a:lstStyle/>
            <a:p>
              <a:endParaRPr lang="en-US"/>
            </a:p>
          </p:txBody>
        </p:sp>
        <p:sp>
          <p:nvSpPr>
            <p:cNvPr id="5017" name="Freeform: Shape 5016">
              <a:extLst>
                <a:ext uri="{FF2B5EF4-FFF2-40B4-BE49-F238E27FC236}">
                  <a16:creationId xmlns:a16="http://schemas.microsoft.com/office/drawing/2014/main" id="{B5C04F94-5175-46F5-8995-14E18C3D956A}"/>
                </a:ext>
              </a:extLst>
            </p:cNvPr>
            <p:cNvSpPr/>
            <p:nvPr/>
          </p:nvSpPr>
          <p:spPr>
            <a:xfrm>
              <a:off x="6096000" y="3492765"/>
              <a:ext cx="13607" cy="13607"/>
            </a:xfrm>
            <a:custGeom>
              <a:avLst/>
              <a:gdLst>
                <a:gd name="connsiteX0" fmla="*/ 6804 w 13607"/>
                <a:gd name="connsiteY0" fmla="*/ 0 h 13607"/>
                <a:gd name="connsiteX1" fmla="*/ 0 w 13607"/>
                <a:gd name="connsiteY1" fmla="*/ 6804 h 13607"/>
                <a:gd name="connsiteX2" fmla="*/ 6804 w 13607"/>
                <a:gd name="connsiteY2" fmla="*/ 13607 h 13607"/>
                <a:gd name="connsiteX3" fmla="*/ 13607 w 13607"/>
                <a:gd name="connsiteY3" fmla="*/ 6804 h 13607"/>
                <a:gd name="connsiteX4" fmla="*/ 6804 w 13607"/>
                <a:gd name="connsiteY4" fmla="*/ 0 h 13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7" h="13607">
                  <a:moveTo>
                    <a:pt x="6804" y="0"/>
                  </a:moveTo>
                  <a:cubicBezTo>
                    <a:pt x="2721" y="0"/>
                    <a:pt x="0" y="2721"/>
                    <a:pt x="0" y="6804"/>
                  </a:cubicBezTo>
                  <a:cubicBezTo>
                    <a:pt x="0" y="10886"/>
                    <a:pt x="2721" y="13607"/>
                    <a:pt x="6804" y="13607"/>
                  </a:cubicBezTo>
                  <a:cubicBezTo>
                    <a:pt x="10886" y="13607"/>
                    <a:pt x="13607" y="10886"/>
                    <a:pt x="13607" y="6804"/>
                  </a:cubicBezTo>
                  <a:cubicBezTo>
                    <a:pt x="13607" y="2721"/>
                    <a:pt x="10886" y="0"/>
                    <a:pt x="6804" y="0"/>
                  </a:cubicBezTo>
                  <a:close/>
                </a:path>
              </a:pathLst>
            </a:custGeom>
            <a:grpFill/>
            <a:ln w="13267" cap="flat">
              <a:noFill/>
              <a:prstDash val="solid"/>
              <a:miter/>
            </a:ln>
          </p:spPr>
          <p:txBody>
            <a:bodyPr rtlCol="0" anchor="ctr"/>
            <a:lstStyle/>
            <a:p>
              <a:endParaRPr lang="en-US"/>
            </a:p>
          </p:txBody>
        </p:sp>
        <p:sp>
          <p:nvSpPr>
            <p:cNvPr id="5018" name="Freeform: Shape 5017">
              <a:extLst>
                <a:ext uri="{FF2B5EF4-FFF2-40B4-BE49-F238E27FC236}">
                  <a16:creationId xmlns:a16="http://schemas.microsoft.com/office/drawing/2014/main" id="{D939BA78-874C-432F-8F81-AAD0A80A0A60}"/>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grpSp>
        <p:nvGrpSpPr>
          <p:cNvPr id="5019" name="Graphic 6">
            <a:extLst>
              <a:ext uri="{FF2B5EF4-FFF2-40B4-BE49-F238E27FC236}">
                <a16:creationId xmlns:a16="http://schemas.microsoft.com/office/drawing/2014/main" id="{2238A920-A078-441E-8058-BE680F939A1B}"/>
              </a:ext>
              <a:ext uri="{C183D7F6-B498-43B3-948B-1728B52AA6E4}">
                <adec:decorative xmlns:adec="http://schemas.microsoft.com/office/drawing/2017/decorative" val="1"/>
              </a:ext>
            </a:extLst>
          </p:cNvPr>
          <p:cNvGrpSpPr>
            <a:grpSpLocks noChangeAspect="1"/>
          </p:cNvGrpSpPr>
          <p:nvPr/>
        </p:nvGrpSpPr>
        <p:grpSpPr>
          <a:xfrm>
            <a:off x="1881853" y="2085587"/>
            <a:ext cx="103253" cy="125379"/>
            <a:chOff x="5905500" y="3152587"/>
            <a:chExt cx="380999" cy="462642"/>
          </a:xfrm>
          <a:solidFill>
            <a:schemeClr val="tx1"/>
          </a:solidFill>
        </p:grpSpPr>
        <p:sp>
          <p:nvSpPr>
            <p:cNvPr id="5020" name="Freeform: Shape 5019">
              <a:extLst>
                <a:ext uri="{FF2B5EF4-FFF2-40B4-BE49-F238E27FC236}">
                  <a16:creationId xmlns:a16="http://schemas.microsoft.com/office/drawing/2014/main" id="{ADDCDAA9-F657-4867-B3B3-1AE9E5441982}"/>
                </a:ext>
              </a:extLst>
            </p:cNvPr>
            <p:cNvSpPr/>
            <p:nvPr/>
          </p:nvSpPr>
          <p:spPr>
            <a:xfrm>
              <a:off x="5993946" y="3432894"/>
              <a:ext cx="54428" cy="81643"/>
            </a:xfrm>
            <a:custGeom>
              <a:avLst/>
              <a:gdLst>
                <a:gd name="connsiteX0" fmla="*/ 25853 w 54428"/>
                <a:gd name="connsiteY0" fmla="*/ 13607 h 81642"/>
                <a:gd name="connsiteX1" fmla="*/ 47625 w 54428"/>
                <a:gd name="connsiteY1" fmla="*/ 13607 h 81642"/>
                <a:gd name="connsiteX2" fmla="*/ 54428 w 54428"/>
                <a:gd name="connsiteY2" fmla="*/ 6804 h 81642"/>
                <a:gd name="connsiteX3" fmla="*/ 47625 w 54428"/>
                <a:gd name="connsiteY3" fmla="*/ 0 h 81642"/>
                <a:gd name="connsiteX4" fmla="*/ 25853 w 54428"/>
                <a:gd name="connsiteY4" fmla="*/ 0 h 81642"/>
                <a:gd name="connsiteX5" fmla="*/ 0 w 54428"/>
                <a:gd name="connsiteY5" fmla="*/ 25854 h 81642"/>
                <a:gd name="connsiteX6" fmla="*/ 25853 w 54428"/>
                <a:gd name="connsiteY6" fmla="*/ 51707 h 81642"/>
                <a:gd name="connsiteX7" fmla="*/ 38100 w 54428"/>
                <a:gd name="connsiteY7" fmla="*/ 63953 h 81642"/>
                <a:gd name="connsiteX8" fmla="*/ 25853 w 54428"/>
                <a:gd name="connsiteY8" fmla="*/ 76200 h 81642"/>
                <a:gd name="connsiteX9" fmla="*/ 6804 w 54428"/>
                <a:gd name="connsiteY9" fmla="*/ 76200 h 81642"/>
                <a:gd name="connsiteX10" fmla="*/ 0 w 54428"/>
                <a:gd name="connsiteY10" fmla="*/ 83003 h 81642"/>
                <a:gd name="connsiteX11" fmla="*/ 6804 w 54428"/>
                <a:gd name="connsiteY11" fmla="*/ 89807 h 81642"/>
                <a:gd name="connsiteX12" fmla="*/ 25853 w 54428"/>
                <a:gd name="connsiteY12" fmla="*/ 89807 h 81642"/>
                <a:gd name="connsiteX13" fmla="*/ 51707 w 54428"/>
                <a:gd name="connsiteY13" fmla="*/ 63953 h 81642"/>
                <a:gd name="connsiteX14" fmla="*/ 25853 w 54428"/>
                <a:gd name="connsiteY14" fmla="*/ 38100 h 81642"/>
                <a:gd name="connsiteX15" fmla="*/ 13607 w 54428"/>
                <a:gd name="connsiteY15" fmla="*/ 25854 h 81642"/>
                <a:gd name="connsiteX16" fmla="*/ 25853 w 54428"/>
                <a:gd name="connsiteY16" fmla="*/ 13607 h 8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428" h="81642">
                  <a:moveTo>
                    <a:pt x="25853" y="13607"/>
                  </a:moveTo>
                  <a:lnTo>
                    <a:pt x="47625" y="13607"/>
                  </a:lnTo>
                  <a:cubicBezTo>
                    <a:pt x="51707" y="13607"/>
                    <a:pt x="54428" y="10886"/>
                    <a:pt x="54428" y="6804"/>
                  </a:cubicBezTo>
                  <a:cubicBezTo>
                    <a:pt x="54428" y="2721"/>
                    <a:pt x="51707" y="0"/>
                    <a:pt x="47625" y="0"/>
                  </a:cubicBezTo>
                  <a:lnTo>
                    <a:pt x="25853" y="0"/>
                  </a:lnTo>
                  <a:cubicBezTo>
                    <a:pt x="10886" y="0"/>
                    <a:pt x="0" y="12246"/>
                    <a:pt x="0" y="25854"/>
                  </a:cubicBezTo>
                  <a:cubicBezTo>
                    <a:pt x="0" y="39461"/>
                    <a:pt x="12246" y="51707"/>
                    <a:pt x="25853" y="51707"/>
                  </a:cubicBezTo>
                  <a:cubicBezTo>
                    <a:pt x="32657" y="51707"/>
                    <a:pt x="38100" y="57150"/>
                    <a:pt x="38100" y="63953"/>
                  </a:cubicBezTo>
                  <a:cubicBezTo>
                    <a:pt x="38100" y="70757"/>
                    <a:pt x="32657" y="76200"/>
                    <a:pt x="25853" y="76200"/>
                  </a:cubicBezTo>
                  <a:lnTo>
                    <a:pt x="6804" y="76200"/>
                  </a:lnTo>
                  <a:cubicBezTo>
                    <a:pt x="2721" y="76200"/>
                    <a:pt x="0" y="78921"/>
                    <a:pt x="0" y="83003"/>
                  </a:cubicBezTo>
                  <a:cubicBezTo>
                    <a:pt x="0" y="87086"/>
                    <a:pt x="2721" y="89807"/>
                    <a:pt x="6804" y="89807"/>
                  </a:cubicBezTo>
                  <a:lnTo>
                    <a:pt x="25853" y="89807"/>
                  </a:lnTo>
                  <a:cubicBezTo>
                    <a:pt x="40821" y="89807"/>
                    <a:pt x="51707" y="77561"/>
                    <a:pt x="51707" y="63953"/>
                  </a:cubicBezTo>
                  <a:cubicBezTo>
                    <a:pt x="51707" y="50346"/>
                    <a:pt x="39461" y="38100"/>
                    <a:pt x="25853" y="38100"/>
                  </a:cubicBezTo>
                  <a:cubicBezTo>
                    <a:pt x="19050" y="38100"/>
                    <a:pt x="13607" y="32657"/>
                    <a:pt x="13607" y="25854"/>
                  </a:cubicBezTo>
                  <a:cubicBezTo>
                    <a:pt x="13607" y="19050"/>
                    <a:pt x="19050" y="13607"/>
                    <a:pt x="25853" y="13607"/>
                  </a:cubicBezTo>
                  <a:close/>
                </a:path>
              </a:pathLst>
            </a:custGeom>
            <a:grpFill/>
            <a:ln w="13267" cap="flat">
              <a:noFill/>
              <a:prstDash val="solid"/>
              <a:miter/>
            </a:ln>
          </p:spPr>
          <p:txBody>
            <a:bodyPr rtlCol="0" anchor="ctr"/>
            <a:lstStyle/>
            <a:p>
              <a:endParaRPr lang="en-US"/>
            </a:p>
          </p:txBody>
        </p:sp>
        <p:sp>
          <p:nvSpPr>
            <p:cNvPr id="5021" name="Freeform: Shape 5020">
              <a:extLst>
                <a:ext uri="{FF2B5EF4-FFF2-40B4-BE49-F238E27FC236}">
                  <a16:creationId xmlns:a16="http://schemas.microsoft.com/office/drawing/2014/main" id="{77EDDA22-6FC7-4180-A2A8-CE89441FA6E9}"/>
                </a:ext>
              </a:extLst>
            </p:cNvPr>
            <p:cNvSpPr/>
            <p:nvPr/>
          </p:nvSpPr>
          <p:spPr>
            <a:xfrm>
              <a:off x="6157231" y="3432894"/>
              <a:ext cx="54428" cy="95250"/>
            </a:xfrm>
            <a:custGeom>
              <a:avLst/>
              <a:gdLst>
                <a:gd name="connsiteX0" fmla="*/ 47625 w 54428"/>
                <a:gd name="connsiteY0" fmla="*/ 81643 h 95249"/>
                <a:gd name="connsiteX1" fmla="*/ 13607 w 54428"/>
                <a:gd name="connsiteY1" fmla="*/ 81643 h 95249"/>
                <a:gd name="connsiteX2" fmla="*/ 13607 w 54428"/>
                <a:gd name="connsiteY2" fmla="*/ 6804 h 95249"/>
                <a:gd name="connsiteX3" fmla="*/ 6804 w 54428"/>
                <a:gd name="connsiteY3" fmla="*/ 0 h 95249"/>
                <a:gd name="connsiteX4" fmla="*/ 0 w 54428"/>
                <a:gd name="connsiteY4" fmla="*/ 6804 h 95249"/>
                <a:gd name="connsiteX5" fmla="*/ 0 w 54428"/>
                <a:gd name="connsiteY5" fmla="*/ 88446 h 95249"/>
                <a:gd name="connsiteX6" fmla="*/ 6804 w 54428"/>
                <a:gd name="connsiteY6" fmla="*/ 95250 h 95249"/>
                <a:gd name="connsiteX7" fmla="*/ 47625 w 54428"/>
                <a:gd name="connsiteY7" fmla="*/ 95250 h 95249"/>
                <a:gd name="connsiteX8" fmla="*/ 54428 w 54428"/>
                <a:gd name="connsiteY8" fmla="*/ 88446 h 95249"/>
                <a:gd name="connsiteX9" fmla="*/ 47625 w 54428"/>
                <a:gd name="connsiteY9" fmla="*/ 81643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28" h="95249">
                  <a:moveTo>
                    <a:pt x="47625" y="81643"/>
                  </a:moveTo>
                  <a:lnTo>
                    <a:pt x="13607" y="81643"/>
                  </a:lnTo>
                  <a:lnTo>
                    <a:pt x="13607" y="6804"/>
                  </a:lnTo>
                  <a:cubicBezTo>
                    <a:pt x="13607" y="2721"/>
                    <a:pt x="10886" y="0"/>
                    <a:pt x="6804" y="0"/>
                  </a:cubicBezTo>
                  <a:cubicBezTo>
                    <a:pt x="2721" y="0"/>
                    <a:pt x="0" y="2721"/>
                    <a:pt x="0" y="6804"/>
                  </a:cubicBezTo>
                  <a:lnTo>
                    <a:pt x="0" y="88446"/>
                  </a:lnTo>
                  <a:cubicBezTo>
                    <a:pt x="0" y="92528"/>
                    <a:pt x="2721" y="95250"/>
                    <a:pt x="6804" y="95250"/>
                  </a:cubicBezTo>
                  <a:lnTo>
                    <a:pt x="47625" y="95250"/>
                  </a:lnTo>
                  <a:cubicBezTo>
                    <a:pt x="51707" y="95250"/>
                    <a:pt x="54428" y="92528"/>
                    <a:pt x="54428" y="88446"/>
                  </a:cubicBezTo>
                  <a:cubicBezTo>
                    <a:pt x="54428" y="85725"/>
                    <a:pt x="51707" y="81643"/>
                    <a:pt x="47625" y="81643"/>
                  </a:cubicBezTo>
                  <a:close/>
                </a:path>
              </a:pathLst>
            </a:custGeom>
            <a:grpFill/>
            <a:ln w="13267" cap="flat">
              <a:noFill/>
              <a:prstDash val="solid"/>
              <a:miter/>
            </a:ln>
          </p:spPr>
          <p:txBody>
            <a:bodyPr rtlCol="0" anchor="ctr"/>
            <a:lstStyle/>
            <a:p>
              <a:endParaRPr lang="en-US"/>
            </a:p>
          </p:txBody>
        </p:sp>
        <p:sp>
          <p:nvSpPr>
            <p:cNvPr id="5022" name="Freeform: Shape 5021">
              <a:extLst>
                <a:ext uri="{FF2B5EF4-FFF2-40B4-BE49-F238E27FC236}">
                  <a16:creationId xmlns:a16="http://schemas.microsoft.com/office/drawing/2014/main" id="{9DB98D9F-8CE3-4556-BB87-06BD3037A88B}"/>
                </a:ext>
              </a:extLst>
            </p:cNvPr>
            <p:cNvSpPr/>
            <p:nvPr/>
          </p:nvSpPr>
          <p:spPr>
            <a:xfrm>
              <a:off x="6055178" y="3432894"/>
              <a:ext cx="95250" cy="95250"/>
            </a:xfrm>
            <a:custGeom>
              <a:avLst/>
              <a:gdLst>
                <a:gd name="connsiteX0" fmla="*/ 95250 w 95249"/>
                <a:gd name="connsiteY0" fmla="*/ 47625 h 95249"/>
                <a:gd name="connsiteX1" fmla="*/ 47625 w 95249"/>
                <a:gd name="connsiteY1" fmla="*/ 0 h 95249"/>
                <a:gd name="connsiteX2" fmla="*/ 0 w 95249"/>
                <a:gd name="connsiteY2" fmla="*/ 47625 h 95249"/>
                <a:gd name="connsiteX3" fmla="*/ 47625 w 95249"/>
                <a:gd name="connsiteY3" fmla="*/ 95250 h 95249"/>
                <a:gd name="connsiteX4" fmla="*/ 62593 w 95249"/>
                <a:gd name="connsiteY4" fmla="*/ 92528 h 95249"/>
                <a:gd name="connsiteX5" fmla="*/ 73478 w 95249"/>
                <a:gd name="connsiteY5" fmla="*/ 103414 h 95249"/>
                <a:gd name="connsiteX6" fmla="*/ 78921 w 95249"/>
                <a:gd name="connsiteY6" fmla="*/ 104775 h 95249"/>
                <a:gd name="connsiteX7" fmla="*/ 84364 w 95249"/>
                <a:gd name="connsiteY7" fmla="*/ 103414 h 95249"/>
                <a:gd name="connsiteX8" fmla="*/ 84364 w 95249"/>
                <a:gd name="connsiteY8" fmla="*/ 93889 h 95249"/>
                <a:gd name="connsiteX9" fmla="*/ 74839 w 95249"/>
                <a:gd name="connsiteY9" fmla="*/ 87086 h 95249"/>
                <a:gd name="connsiteX10" fmla="*/ 95250 w 95249"/>
                <a:gd name="connsiteY10" fmla="*/ 47625 h 95249"/>
                <a:gd name="connsiteX11" fmla="*/ 61232 w 95249"/>
                <a:gd name="connsiteY11" fmla="*/ 73478 h 95249"/>
                <a:gd name="connsiteX12" fmla="*/ 51707 w 95249"/>
                <a:gd name="connsiteY12" fmla="*/ 73478 h 95249"/>
                <a:gd name="connsiteX13" fmla="*/ 51707 w 95249"/>
                <a:gd name="connsiteY13" fmla="*/ 81643 h 95249"/>
                <a:gd name="connsiteX14" fmla="*/ 47625 w 95249"/>
                <a:gd name="connsiteY14" fmla="*/ 81643 h 95249"/>
                <a:gd name="connsiteX15" fmla="*/ 13607 w 95249"/>
                <a:gd name="connsiteY15" fmla="*/ 47625 h 95249"/>
                <a:gd name="connsiteX16" fmla="*/ 47625 w 95249"/>
                <a:gd name="connsiteY16" fmla="*/ 13607 h 95249"/>
                <a:gd name="connsiteX17" fmla="*/ 81643 w 95249"/>
                <a:gd name="connsiteY17" fmla="*/ 47625 h 95249"/>
                <a:gd name="connsiteX18" fmla="*/ 65314 w 95249"/>
                <a:gd name="connsiteY18" fmla="*/ 76200 h 95249"/>
                <a:gd name="connsiteX19" fmla="*/ 61232 w 95249"/>
                <a:gd name="connsiteY19" fmla="*/ 73478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249" h="95249">
                  <a:moveTo>
                    <a:pt x="95250" y="47625"/>
                  </a:moveTo>
                  <a:cubicBezTo>
                    <a:pt x="95250" y="21771"/>
                    <a:pt x="73478" y="0"/>
                    <a:pt x="47625" y="0"/>
                  </a:cubicBezTo>
                  <a:cubicBezTo>
                    <a:pt x="21771" y="0"/>
                    <a:pt x="0" y="21771"/>
                    <a:pt x="0" y="47625"/>
                  </a:cubicBezTo>
                  <a:cubicBezTo>
                    <a:pt x="0" y="73478"/>
                    <a:pt x="21771" y="95250"/>
                    <a:pt x="47625" y="95250"/>
                  </a:cubicBezTo>
                  <a:cubicBezTo>
                    <a:pt x="53068" y="95250"/>
                    <a:pt x="58511" y="93889"/>
                    <a:pt x="62593" y="92528"/>
                  </a:cubicBezTo>
                  <a:lnTo>
                    <a:pt x="73478" y="103414"/>
                  </a:lnTo>
                  <a:cubicBezTo>
                    <a:pt x="74839" y="104775"/>
                    <a:pt x="76200" y="104775"/>
                    <a:pt x="78921" y="104775"/>
                  </a:cubicBezTo>
                  <a:cubicBezTo>
                    <a:pt x="80282" y="104775"/>
                    <a:pt x="83003" y="104775"/>
                    <a:pt x="84364" y="103414"/>
                  </a:cubicBezTo>
                  <a:cubicBezTo>
                    <a:pt x="87085" y="100693"/>
                    <a:pt x="87085" y="96611"/>
                    <a:pt x="84364" y="93889"/>
                  </a:cubicBezTo>
                  <a:lnTo>
                    <a:pt x="74839" y="87086"/>
                  </a:lnTo>
                  <a:cubicBezTo>
                    <a:pt x="87085" y="77561"/>
                    <a:pt x="95250" y="63953"/>
                    <a:pt x="95250" y="47625"/>
                  </a:cubicBezTo>
                  <a:close/>
                  <a:moveTo>
                    <a:pt x="61232" y="73478"/>
                  </a:moveTo>
                  <a:cubicBezTo>
                    <a:pt x="58511" y="70757"/>
                    <a:pt x="54428" y="70757"/>
                    <a:pt x="51707" y="73478"/>
                  </a:cubicBezTo>
                  <a:cubicBezTo>
                    <a:pt x="48986" y="76200"/>
                    <a:pt x="48986" y="80282"/>
                    <a:pt x="51707" y="81643"/>
                  </a:cubicBezTo>
                  <a:cubicBezTo>
                    <a:pt x="50346" y="81643"/>
                    <a:pt x="48986" y="81643"/>
                    <a:pt x="47625" y="81643"/>
                  </a:cubicBezTo>
                  <a:cubicBezTo>
                    <a:pt x="28575" y="81643"/>
                    <a:pt x="13607" y="66675"/>
                    <a:pt x="13607" y="47625"/>
                  </a:cubicBezTo>
                  <a:cubicBezTo>
                    <a:pt x="13607" y="28575"/>
                    <a:pt x="28575" y="13607"/>
                    <a:pt x="47625" y="13607"/>
                  </a:cubicBezTo>
                  <a:cubicBezTo>
                    <a:pt x="66675" y="13607"/>
                    <a:pt x="81643" y="28575"/>
                    <a:pt x="81643" y="47625"/>
                  </a:cubicBezTo>
                  <a:cubicBezTo>
                    <a:pt x="81643" y="59871"/>
                    <a:pt x="74839" y="70757"/>
                    <a:pt x="65314" y="76200"/>
                  </a:cubicBezTo>
                  <a:lnTo>
                    <a:pt x="61232" y="73478"/>
                  </a:lnTo>
                  <a:close/>
                </a:path>
              </a:pathLst>
            </a:custGeom>
            <a:grpFill/>
            <a:ln w="13267" cap="flat">
              <a:noFill/>
              <a:prstDash val="solid"/>
              <a:miter/>
            </a:ln>
          </p:spPr>
          <p:txBody>
            <a:bodyPr rtlCol="0" anchor="ctr"/>
            <a:lstStyle/>
            <a:p>
              <a:endParaRPr lang="en-US"/>
            </a:p>
          </p:txBody>
        </p:sp>
        <p:sp>
          <p:nvSpPr>
            <p:cNvPr id="5023" name="Freeform: Shape 5022">
              <a:extLst>
                <a:ext uri="{FF2B5EF4-FFF2-40B4-BE49-F238E27FC236}">
                  <a16:creationId xmlns:a16="http://schemas.microsoft.com/office/drawing/2014/main" id="{AFE4B2B3-A45A-4C93-9130-56EB0CC39DE3}"/>
                </a:ext>
              </a:extLst>
            </p:cNvPr>
            <p:cNvSpPr/>
            <p:nvPr/>
          </p:nvSpPr>
          <p:spPr>
            <a:xfrm>
              <a:off x="5905500" y="3152587"/>
              <a:ext cx="380999" cy="462642"/>
            </a:xfrm>
            <a:custGeom>
              <a:avLst/>
              <a:gdLst>
                <a:gd name="connsiteX0" fmla="*/ 371474 w 380999"/>
                <a:gd name="connsiteY0" fmla="*/ 166007 h 462642"/>
                <a:gd name="connsiteX1" fmla="*/ 370113 w 380999"/>
                <a:gd name="connsiteY1" fmla="*/ 164646 h 462642"/>
                <a:gd name="connsiteX2" fmla="*/ 367392 w 380999"/>
                <a:gd name="connsiteY2" fmla="*/ 160564 h 462642"/>
                <a:gd name="connsiteX3" fmla="*/ 217714 w 380999"/>
                <a:gd name="connsiteY3" fmla="*/ 13607 h 462642"/>
                <a:gd name="connsiteX4" fmla="*/ 216353 w 380999"/>
                <a:gd name="connsiteY4" fmla="*/ 12246 h 462642"/>
                <a:gd name="connsiteX5" fmla="*/ 214992 w 380999"/>
                <a:gd name="connsiteY5" fmla="*/ 10886 h 462642"/>
                <a:gd name="connsiteX6" fmla="*/ 185057 w 380999"/>
                <a:gd name="connsiteY6" fmla="*/ 0 h 462642"/>
                <a:gd name="connsiteX7" fmla="*/ 34018 w 380999"/>
                <a:gd name="connsiteY7" fmla="*/ 0 h 462642"/>
                <a:gd name="connsiteX8" fmla="*/ 0 w 380999"/>
                <a:gd name="connsiteY8" fmla="*/ 34018 h 462642"/>
                <a:gd name="connsiteX9" fmla="*/ 0 w 380999"/>
                <a:gd name="connsiteY9" fmla="*/ 429985 h 462642"/>
                <a:gd name="connsiteX10" fmla="*/ 34018 w 380999"/>
                <a:gd name="connsiteY10" fmla="*/ 462642 h 462642"/>
                <a:gd name="connsiteX11" fmla="*/ 346981 w 380999"/>
                <a:gd name="connsiteY11" fmla="*/ 462642 h 462642"/>
                <a:gd name="connsiteX12" fmla="*/ 380999 w 380999"/>
                <a:gd name="connsiteY12" fmla="*/ 428624 h 462642"/>
                <a:gd name="connsiteX13" fmla="*/ 380999 w 380999"/>
                <a:gd name="connsiteY13" fmla="*/ 194582 h 462642"/>
                <a:gd name="connsiteX14" fmla="*/ 371474 w 380999"/>
                <a:gd name="connsiteY14" fmla="*/ 166007 h 462642"/>
                <a:gd name="connsiteX15" fmla="*/ 349703 w 380999"/>
                <a:gd name="connsiteY15" fmla="*/ 163285 h 462642"/>
                <a:gd name="connsiteX16" fmla="*/ 251731 w 380999"/>
                <a:gd name="connsiteY16" fmla="*/ 163285 h 462642"/>
                <a:gd name="connsiteX17" fmla="*/ 217714 w 380999"/>
                <a:gd name="connsiteY17" fmla="*/ 129268 h 462642"/>
                <a:gd name="connsiteX18" fmla="*/ 217714 w 380999"/>
                <a:gd name="connsiteY18" fmla="*/ 32657 h 462642"/>
                <a:gd name="connsiteX19" fmla="*/ 349703 w 380999"/>
                <a:gd name="connsiteY19" fmla="*/ 163285 h 462642"/>
                <a:gd name="connsiteX20" fmla="*/ 367392 w 380999"/>
                <a:gd name="connsiteY20" fmla="*/ 428624 h 462642"/>
                <a:gd name="connsiteX21" fmla="*/ 346981 w 380999"/>
                <a:gd name="connsiteY21" fmla="*/ 449035 h 462642"/>
                <a:gd name="connsiteX22" fmla="*/ 34018 w 380999"/>
                <a:gd name="connsiteY22" fmla="*/ 449035 h 462642"/>
                <a:gd name="connsiteX23" fmla="*/ 13607 w 380999"/>
                <a:gd name="connsiteY23" fmla="*/ 428624 h 462642"/>
                <a:gd name="connsiteX24" fmla="*/ 13607 w 380999"/>
                <a:gd name="connsiteY24" fmla="*/ 34018 h 462642"/>
                <a:gd name="connsiteX25" fmla="*/ 34018 w 380999"/>
                <a:gd name="connsiteY25" fmla="*/ 13607 h 462642"/>
                <a:gd name="connsiteX26" fmla="*/ 185057 w 380999"/>
                <a:gd name="connsiteY26" fmla="*/ 13607 h 462642"/>
                <a:gd name="connsiteX27" fmla="*/ 204107 w 380999"/>
                <a:gd name="connsiteY27" fmla="*/ 20411 h 462642"/>
                <a:gd name="connsiteX28" fmla="*/ 204107 w 380999"/>
                <a:gd name="connsiteY28" fmla="*/ 129268 h 462642"/>
                <a:gd name="connsiteX29" fmla="*/ 251731 w 380999"/>
                <a:gd name="connsiteY29" fmla="*/ 176893 h 462642"/>
                <a:gd name="connsiteX30" fmla="*/ 361949 w 380999"/>
                <a:gd name="connsiteY30" fmla="*/ 176893 h 462642"/>
                <a:gd name="connsiteX31" fmla="*/ 367392 w 380999"/>
                <a:gd name="connsiteY31" fmla="*/ 194582 h 462642"/>
                <a:gd name="connsiteX32" fmla="*/ 367392 w 380999"/>
                <a:gd name="connsiteY32" fmla="*/ 428624 h 4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0999" h="462642">
                  <a:moveTo>
                    <a:pt x="371474" y="166007"/>
                  </a:moveTo>
                  <a:cubicBezTo>
                    <a:pt x="371474" y="166007"/>
                    <a:pt x="370113" y="164646"/>
                    <a:pt x="370113" y="164646"/>
                  </a:cubicBezTo>
                  <a:cubicBezTo>
                    <a:pt x="368753" y="163285"/>
                    <a:pt x="367392" y="161925"/>
                    <a:pt x="367392" y="160564"/>
                  </a:cubicBezTo>
                  <a:lnTo>
                    <a:pt x="217714" y="13607"/>
                  </a:lnTo>
                  <a:cubicBezTo>
                    <a:pt x="217714" y="13607"/>
                    <a:pt x="216353" y="12246"/>
                    <a:pt x="216353" y="12246"/>
                  </a:cubicBezTo>
                  <a:cubicBezTo>
                    <a:pt x="216353" y="12246"/>
                    <a:pt x="214992" y="10886"/>
                    <a:pt x="214992" y="10886"/>
                  </a:cubicBezTo>
                  <a:cubicBezTo>
                    <a:pt x="205467" y="4082"/>
                    <a:pt x="195942" y="0"/>
                    <a:pt x="185057" y="0"/>
                  </a:cubicBezTo>
                  <a:lnTo>
                    <a:pt x="34018" y="0"/>
                  </a:lnTo>
                  <a:cubicBezTo>
                    <a:pt x="14968" y="0"/>
                    <a:pt x="0" y="14968"/>
                    <a:pt x="0" y="34018"/>
                  </a:cubicBezTo>
                  <a:lnTo>
                    <a:pt x="0" y="429985"/>
                  </a:lnTo>
                  <a:cubicBezTo>
                    <a:pt x="0" y="447674"/>
                    <a:pt x="14968" y="462642"/>
                    <a:pt x="34018" y="462642"/>
                  </a:cubicBezTo>
                  <a:lnTo>
                    <a:pt x="346981" y="462642"/>
                  </a:lnTo>
                  <a:cubicBezTo>
                    <a:pt x="366031" y="462642"/>
                    <a:pt x="380999" y="447674"/>
                    <a:pt x="380999" y="428624"/>
                  </a:cubicBezTo>
                  <a:lnTo>
                    <a:pt x="380999" y="194582"/>
                  </a:lnTo>
                  <a:cubicBezTo>
                    <a:pt x="380999" y="185057"/>
                    <a:pt x="376917" y="174171"/>
                    <a:pt x="371474" y="166007"/>
                  </a:cubicBezTo>
                  <a:close/>
                  <a:moveTo>
                    <a:pt x="349703" y="163285"/>
                  </a:moveTo>
                  <a:lnTo>
                    <a:pt x="251731" y="163285"/>
                  </a:lnTo>
                  <a:cubicBezTo>
                    <a:pt x="232682" y="163285"/>
                    <a:pt x="217714" y="148318"/>
                    <a:pt x="217714" y="129268"/>
                  </a:cubicBezTo>
                  <a:lnTo>
                    <a:pt x="217714" y="32657"/>
                  </a:lnTo>
                  <a:lnTo>
                    <a:pt x="349703" y="163285"/>
                  </a:lnTo>
                  <a:close/>
                  <a:moveTo>
                    <a:pt x="367392" y="428624"/>
                  </a:moveTo>
                  <a:cubicBezTo>
                    <a:pt x="367392" y="439510"/>
                    <a:pt x="357867" y="449035"/>
                    <a:pt x="346981" y="449035"/>
                  </a:cubicBezTo>
                  <a:lnTo>
                    <a:pt x="34018" y="449035"/>
                  </a:lnTo>
                  <a:cubicBezTo>
                    <a:pt x="23132" y="449035"/>
                    <a:pt x="13607" y="439510"/>
                    <a:pt x="13607" y="428624"/>
                  </a:cubicBezTo>
                  <a:lnTo>
                    <a:pt x="13607" y="34018"/>
                  </a:lnTo>
                  <a:cubicBezTo>
                    <a:pt x="13607" y="23132"/>
                    <a:pt x="23132" y="13607"/>
                    <a:pt x="34018" y="13607"/>
                  </a:cubicBezTo>
                  <a:lnTo>
                    <a:pt x="185057" y="13607"/>
                  </a:lnTo>
                  <a:cubicBezTo>
                    <a:pt x="191860" y="13607"/>
                    <a:pt x="198664" y="16329"/>
                    <a:pt x="204107" y="20411"/>
                  </a:cubicBezTo>
                  <a:lnTo>
                    <a:pt x="204107" y="129268"/>
                  </a:lnTo>
                  <a:cubicBezTo>
                    <a:pt x="204107" y="155121"/>
                    <a:pt x="225878" y="176893"/>
                    <a:pt x="251731" y="176893"/>
                  </a:cubicBezTo>
                  <a:lnTo>
                    <a:pt x="361949" y="176893"/>
                  </a:lnTo>
                  <a:cubicBezTo>
                    <a:pt x="364670" y="182335"/>
                    <a:pt x="367392" y="189139"/>
                    <a:pt x="367392" y="194582"/>
                  </a:cubicBezTo>
                  <a:lnTo>
                    <a:pt x="367392" y="428624"/>
                  </a:lnTo>
                  <a:close/>
                </a:path>
              </a:pathLst>
            </a:custGeom>
            <a:grpFill/>
            <a:ln w="13267" cap="flat">
              <a:noFill/>
              <a:prstDash val="solid"/>
              <a:miter/>
            </a:ln>
          </p:spPr>
          <p:txBody>
            <a:bodyPr rtlCol="0" anchor="ctr"/>
            <a:lstStyle/>
            <a:p>
              <a:endParaRPr lang="en-US"/>
            </a:p>
          </p:txBody>
        </p:sp>
      </p:grpSp>
      <p:sp>
        <p:nvSpPr>
          <p:cNvPr id="5024" name="Graphic 2">
            <a:extLst>
              <a:ext uri="{FF2B5EF4-FFF2-40B4-BE49-F238E27FC236}">
                <a16:creationId xmlns:a16="http://schemas.microsoft.com/office/drawing/2014/main" id="{34724439-4D6D-4242-A019-2E8EF0D23028}"/>
              </a:ext>
              <a:ext uri="{C183D7F6-B498-43B3-948B-1728B52AA6E4}">
                <adec:decorative xmlns:adec="http://schemas.microsoft.com/office/drawing/2017/decorative" val="1"/>
              </a:ext>
            </a:extLst>
          </p:cNvPr>
          <p:cNvSpPr>
            <a:spLocks noChangeAspect="1"/>
          </p:cNvSpPr>
          <p:nvPr/>
        </p:nvSpPr>
        <p:spPr>
          <a:xfrm>
            <a:off x="2143210" y="2086035"/>
            <a:ext cx="121461" cy="138812"/>
          </a:xfrm>
          <a:custGeom>
            <a:avLst/>
            <a:gdLst>
              <a:gd name="connsiteX0" fmla="*/ 371475 w 400050"/>
              <a:gd name="connsiteY0" fmla="*/ 21431 h 457198"/>
              <a:gd name="connsiteX1" fmla="*/ 271463 w 400050"/>
              <a:gd name="connsiteY1" fmla="*/ 21431 h 457198"/>
              <a:gd name="connsiteX2" fmla="*/ 271463 w 400050"/>
              <a:gd name="connsiteY2" fmla="*/ 7144 h 457198"/>
              <a:gd name="connsiteX3" fmla="*/ 264319 w 400050"/>
              <a:gd name="connsiteY3" fmla="*/ 0 h 457198"/>
              <a:gd name="connsiteX4" fmla="*/ 135731 w 400050"/>
              <a:gd name="connsiteY4" fmla="*/ 0 h 457198"/>
              <a:gd name="connsiteX5" fmla="*/ 128588 w 400050"/>
              <a:gd name="connsiteY5" fmla="*/ 7144 h 457198"/>
              <a:gd name="connsiteX6" fmla="*/ 128588 w 400050"/>
              <a:gd name="connsiteY6" fmla="*/ 21431 h 457198"/>
              <a:gd name="connsiteX7" fmla="*/ 28575 w 400050"/>
              <a:gd name="connsiteY7" fmla="*/ 21431 h 457198"/>
              <a:gd name="connsiteX8" fmla="*/ 0 w 400050"/>
              <a:gd name="connsiteY8" fmla="*/ 50006 h 457198"/>
              <a:gd name="connsiteX9" fmla="*/ 0 w 400050"/>
              <a:gd name="connsiteY9" fmla="*/ 435767 h 457198"/>
              <a:gd name="connsiteX10" fmla="*/ 28575 w 400050"/>
              <a:gd name="connsiteY10" fmla="*/ 464342 h 457198"/>
              <a:gd name="connsiteX11" fmla="*/ 371475 w 400050"/>
              <a:gd name="connsiteY11" fmla="*/ 464342 h 457198"/>
              <a:gd name="connsiteX12" fmla="*/ 400050 w 400050"/>
              <a:gd name="connsiteY12" fmla="*/ 435767 h 457198"/>
              <a:gd name="connsiteX13" fmla="*/ 400050 w 400050"/>
              <a:gd name="connsiteY13" fmla="*/ 50006 h 457198"/>
              <a:gd name="connsiteX14" fmla="*/ 371475 w 400050"/>
              <a:gd name="connsiteY14" fmla="*/ 21431 h 457198"/>
              <a:gd name="connsiteX15" fmla="*/ 142875 w 400050"/>
              <a:gd name="connsiteY15" fmla="*/ 14287 h 457198"/>
              <a:gd name="connsiteX16" fmla="*/ 257175 w 400050"/>
              <a:gd name="connsiteY16" fmla="*/ 14287 h 457198"/>
              <a:gd name="connsiteX17" fmla="*/ 257175 w 400050"/>
              <a:gd name="connsiteY17" fmla="*/ 27146 h 457198"/>
              <a:gd name="connsiteX18" fmla="*/ 257175 w 400050"/>
              <a:gd name="connsiteY18" fmla="*/ 28575 h 457198"/>
              <a:gd name="connsiteX19" fmla="*/ 257175 w 400050"/>
              <a:gd name="connsiteY19" fmla="*/ 30004 h 457198"/>
              <a:gd name="connsiteX20" fmla="*/ 257175 w 400050"/>
              <a:gd name="connsiteY20" fmla="*/ 42862 h 457198"/>
              <a:gd name="connsiteX21" fmla="*/ 142875 w 400050"/>
              <a:gd name="connsiteY21" fmla="*/ 42862 h 457198"/>
              <a:gd name="connsiteX22" fmla="*/ 142875 w 400050"/>
              <a:gd name="connsiteY22" fmla="*/ 14287 h 457198"/>
              <a:gd name="connsiteX23" fmla="*/ 385763 w 400050"/>
              <a:gd name="connsiteY23" fmla="*/ 435767 h 457198"/>
              <a:gd name="connsiteX24" fmla="*/ 371475 w 400050"/>
              <a:gd name="connsiteY24" fmla="*/ 450055 h 457198"/>
              <a:gd name="connsiteX25" fmla="*/ 28575 w 400050"/>
              <a:gd name="connsiteY25" fmla="*/ 450055 h 457198"/>
              <a:gd name="connsiteX26" fmla="*/ 14288 w 400050"/>
              <a:gd name="connsiteY26" fmla="*/ 435767 h 457198"/>
              <a:gd name="connsiteX27" fmla="*/ 14288 w 400050"/>
              <a:gd name="connsiteY27" fmla="*/ 50006 h 457198"/>
              <a:gd name="connsiteX28" fmla="*/ 28575 w 400050"/>
              <a:gd name="connsiteY28" fmla="*/ 35719 h 457198"/>
              <a:gd name="connsiteX29" fmla="*/ 128588 w 400050"/>
              <a:gd name="connsiteY29" fmla="*/ 35719 h 457198"/>
              <a:gd name="connsiteX30" fmla="*/ 128588 w 400050"/>
              <a:gd name="connsiteY30" fmla="*/ 50006 h 457198"/>
              <a:gd name="connsiteX31" fmla="*/ 135731 w 400050"/>
              <a:gd name="connsiteY31" fmla="*/ 57150 h 457198"/>
              <a:gd name="connsiteX32" fmla="*/ 264319 w 400050"/>
              <a:gd name="connsiteY32" fmla="*/ 57150 h 457198"/>
              <a:gd name="connsiteX33" fmla="*/ 271463 w 400050"/>
              <a:gd name="connsiteY33" fmla="*/ 50006 h 457198"/>
              <a:gd name="connsiteX34" fmla="*/ 271463 w 400050"/>
              <a:gd name="connsiteY34" fmla="*/ 35719 h 457198"/>
              <a:gd name="connsiteX35" fmla="*/ 371475 w 400050"/>
              <a:gd name="connsiteY35" fmla="*/ 35719 h 457198"/>
              <a:gd name="connsiteX36" fmla="*/ 385763 w 400050"/>
              <a:gd name="connsiteY36" fmla="*/ 50006 h 457198"/>
              <a:gd name="connsiteX37" fmla="*/ 385763 w 400050"/>
              <a:gd name="connsiteY37" fmla="*/ 435767 h 45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0050" h="457198">
                <a:moveTo>
                  <a:pt x="371475" y="21431"/>
                </a:moveTo>
                <a:lnTo>
                  <a:pt x="271463" y="21431"/>
                </a:lnTo>
                <a:lnTo>
                  <a:pt x="271463" y="7144"/>
                </a:lnTo>
                <a:cubicBezTo>
                  <a:pt x="271463" y="2857"/>
                  <a:pt x="268605" y="0"/>
                  <a:pt x="264319" y="0"/>
                </a:cubicBezTo>
                <a:lnTo>
                  <a:pt x="135731" y="0"/>
                </a:lnTo>
                <a:cubicBezTo>
                  <a:pt x="131445" y="0"/>
                  <a:pt x="128588" y="2857"/>
                  <a:pt x="128588" y="7144"/>
                </a:cubicBezTo>
                <a:lnTo>
                  <a:pt x="128588" y="21431"/>
                </a:lnTo>
                <a:lnTo>
                  <a:pt x="28575" y="21431"/>
                </a:lnTo>
                <a:cubicBezTo>
                  <a:pt x="12859" y="21431"/>
                  <a:pt x="0" y="34290"/>
                  <a:pt x="0" y="50006"/>
                </a:cubicBezTo>
                <a:lnTo>
                  <a:pt x="0" y="435767"/>
                </a:lnTo>
                <a:cubicBezTo>
                  <a:pt x="0" y="451484"/>
                  <a:pt x="12859" y="464342"/>
                  <a:pt x="28575" y="464342"/>
                </a:cubicBezTo>
                <a:lnTo>
                  <a:pt x="371475" y="464342"/>
                </a:lnTo>
                <a:cubicBezTo>
                  <a:pt x="387191" y="464342"/>
                  <a:pt x="400050" y="451484"/>
                  <a:pt x="400050" y="435767"/>
                </a:cubicBezTo>
                <a:lnTo>
                  <a:pt x="400050" y="50006"/>
                </a:lnTo>
                <a:cubicBezTo>
                  <a:pt x="400050" y="34290"/>
                  <a:pt x="387191" y="21431"/>
                  <a:pt x="371475" y="21431"/>
                </a:cubicBezTo>
                <a:close/>
                <a:moveTo>
                  <a:pt x="142875" y="14287"/>
                </a:moveTo>
                <a:lnTo>
                  <a:pt x="257175" y="14287"/>
                </a:lnTo>
                <a:lnTo>
                  <a:pt x="257175" y="27146"/>
                </a:lnTo>
                <a:cubicBezTo>
                  <a:pt x="257175" y="27146"/>
                  <a:pt x="257175" y="28575"/>
                  <a:pt x="257175" y="28575"/>
                </a:cubicBezTo>
                <a:cubicBezTo>
                  <a:pt x="257175" y="28575"/>
                  <a:pt x="257175" y="30004"/>
                  <a:pt x="257175" y="30004"/>
                </a:cubicBezTo>
                <a:lnTo>
                  <a:pt x="257175" y="42862"/>
                </a:lnTo>
                <a:lnTo>
                  <a:pt x="142875" y="42862"/>
                </a:lnTo>
                <a:lnTo>
                  <a:pt x="142875" y="14287"/>
                </a:lnTo>
                <a:close/>
                <a:moveTo>
                  <a:pt x="385763" y="435767"/>
                </a:moveTo>
                <a:cubicBezTo>
                  <a:pt x="385763" y="444340"/>
                  <a:pt x="378619" y="450055"/>
                  <a:pt x="371475" y="450055"/>
                </a:cubicBezTo>
                <a:lnTo>
                  <a:pt x="28575" y="450055"/>
                </a:lnTo>
                <a:cubicBezTo>
                  <a:pt x="20003" y="450055"/>
                  <a:pt x="14288" y="442911"/>
                  <a:pt x="14288" y="435767"/>
                </a:cubicBezTo>
                <a:lnTo>
                  <a:pt x="14288" y="50006"/>
                </a:lnTo>
                <a:cubicBezTo>
                  <a:pt x="14288" y="41434"/>
                  <a:pt x="21431" y="35719"/>
                  <a:pt x="28575" y="35719"/>
                </a:cubicBezTo>
                <a:lnTo>
                  <a:pt x="128588" y="35719"/>
                </a:lnTo>
                <a:lnTo>
                  <a:pt x="128588" y="50006"/>
                </a:lnTo>
                <a:cubicBezTo>
                  <a:pt x="128588" y="54292"/>
                  <a:pt x="131445" y="57150"/>
                  <a:pt x="135731" y="57150"/>
                </a:cubicBezTo>
                <a:lnTo>
                  <a:pt x="264319" y="57150"/>
                </a:lnTo>
                <a:cubicBezTo>
                  <a:pt x="268605" y="57150"/>
                  <a:pt x="271463" y="54292"/>
                  <a:pt x="271463" y="50006"/>
                </a:cubicBezTo>
                <a:lnTo>
                  <a:pt x="271463" y="35719"/>
                </a:lnTo>
                <a:lnTo>
                  <a:pt x="371475" y="35719"/>
                </a:lnTo>
                <a:cubicBezTo>
                  <a:pt x="380048" y="35719"/>
                  <a:pt x="385763" y="42862"/>
                  <a:pt x="385763" y="50006"/>
                </a:cubicBezTo>
                <a:lnTo>
                  <a:pt x="385763" y="435767"/>
                </a:lnTo>
                <a:close/>
              </a:path>
            </a:pathLst>
          </a:custGeom>
          <a:solidFill>
            <a:schemeClr val="tx1"/>
          </a:solidFill>
          <a:ln w="14288" cap="flat">
            <a:noFill/>
            <a:prstDash val="solid"/>
            <a:miter/>
          </a:ln>
        </p:spPr>
        <p:txBody>
          <a:bodyPr rtlCol="0" anchor="ctr"/>
          <a:lstStyle/>
          <a:p>
            <a:endParaRPr lang="en-US"/>
          </a:p>
        </p:txBody>
      </p:sp>
      <p:grpSp>
        <p:nvGrpSpPr>
          <p:cNvPr id="5025" name="Graphic 18">
            <a:extLst>
              <a:ext uri="{FF2B5EF4-FFF2-40B4-BE49-F238E27FC236}">
                <a16:creationId xmlns:a16="http://schemas.microsoft.com/office/drawing/2014/main" id="{6EB5B28F-F2BD-4C57-B822-9704D193A78E}"/>
              </a:ext>
              <a:ext uri="{C183D7F6-B498-43B3-948B-1728B52AA6E4}">
                <adec:decorative xmlns:adec="http://schemas.microsoft.com/office/drawing/2017/decorative" val="1"/>
              </a:ext>
            </a:extLst>
          </p:cNvPr>
          <p:cNvGrpSpPr>
            <a:grpSpLocks noChangeAspect="1"/>
          </p:cNvGrpSpPr>
          <p:nvPr/>
        </p:nvGrpSpPr>
        <p:grpSpPr>
          <a:xfrm>
            <a:off x="2672877" y="2079318"/>
            <a:ext cx="121579" cy="143290"/>
            <a:chOff x="5900737" y="3148746"/>
            <a:chExt cx="391761" cy="461718"/>
          </a:xfrm>
          <a:solidFill>
            <a:schemeClr val="tx1"/>
          </a:solidFill>
        </p:grpSpPr>
        <p:sp>
          <p:nvSpPr>
            <p:cNvPr id="5026" name="Freeform: Shape 5025">
              <a:extLst>
                <a:ext uri="{FF2B5EF4-FFF2-40B4-BE49-F238E27FC236}">
                  <a16:creationId xmlns:a16="http://schemas.microsoft.com/office/drawing/2014/main" id="{01D6FE63-DF68-4076-9359-36E86F9A24F3}"/>
                </a:ext>
              </a:extLst>
            </p:cNvPr>
            <p:cNvSpPr/>
            <p:nvPr/>
          </p:nvSpPr>
          <p:spPr>
            <a:xfrm>
              <a:off x="5900737" y="3148746"/>
              <a:ext cx="391761" cy="447727"/>
            </a:xfrm>
            <a:custGeom>
              <a:avLst/>
              <a:gdLst>
                <a:gd name="connsiteX0" fmla="*/ 363778 w 391761"/>
                <a:gd name="connsiteY0" fmla="*/ 20987 h 447726"/>
                <a:gd name="connsiteX1" fmla="*/ 265838 w 391761"/>
                <a:gd name="connsiteY1" fmla="*/ 20987 h 447726"/>
                <a:gd name="connsiteX2" fmla="*/ 265838 w 391761"/>
                <a:gd name="connsiteY2" fmla="*/ 6996 h 447726"/>
                <a:gd name="connsiteX3" fmla="*/ 258842 w 391761"/>
                <a:gd name="connsiteY3" fmla="*/ 0 h 447726"/>
                <a:gd name="connsiteX4" fmla="*/ 132919 w 391761"/>
                <a:gd name="connsiteY4" fmla="*/ 0 h 447726"/>
                <a:gd name="connsiteX5" fmla="*/ 125923 w 391761"/>
                <a:gd name="connsiteY5" fmla="*/ 6996 h 447726"/>
                <a:gd name="connsiteX6" fmla="*/ 125923 w 391761"/>
                <a:gd name="connsiteY6" fmla="*/ 20987 h 447726"/>
                <a:gd name="connsiteX7" fmla="*/ 27983 w 391761"/>
                <a:gd name="connsiteY7" fmla="*/ 20987 h 447726"/>
                <a:gd name="connsiteX8" fmla="*/ 0 w 391761"/>
                <a:gd name="connsiteY8" fmla="*/ 48970 h 447726"/>
                <a:gd name="connsiteX9" fmla="*/ 0 w 391761"/>
                <a:gd name="connsiteY9" fmla="*/ 426739 h 447726"/>
                <a:gd name="connsiteX10" fmla="*/ 27983 w 391761"/>
                <a:gd name="connsiteY10" fmla="*/ 454722 h 447726"/>
                <a:gd name="connsiteX11" fmla="*/ 363778 w 391761"/>
                <a:gd name="connsiteY11" fmla="*/ 454722 h 447726"/>
                <a:gd name="connsiteX12" fmla="*/ 391761 w 391761"/>
                <a:gd name="connsiteY12" fmla="*/ 426739 h 447726"/>
                <a:gd name="connsiteX13" fmla="*/ 391761 w 391761"/>
                <a:gd name="connsiteY13" fmla="*/ 48970 h 447726"/>
                <a:gd name="connsiteX14" fmla="*/ 363778 w 391761"/>
                <a:gd name="connsiteY14" fmla="*/ 20987 h 447726"/>
                <a:gd name="connsiteX15" fmla="*/ 139915 w 391761"/>
                <a:gd name="connsiteY15" fmla="*/ 13991 h 447726"/>
                <a:gd name="connsiteX16" fmla="*/ 251846 w 391761"/>
                <a:gd name="connsiteY16" fmla="*/ 13991 h 447726"/>
                <a:gd name="connsiteX17" fmla="*/ 251846 w 391761"/>
                <a:gd name="connsiteY17" fmla="*/ 41974 h 447726"/>
                <a:gd name="connsiteX18" fmla="*/ 139915 w 391761"/>
                <a:gd name="connsiteY18" fmla="*/ 41974 h 447726"/>
                <a:gd name="connsiteX19" fmla="*/ 139915 w 391761"/>
                <a:gd name="connsiteY19" fmla="*/ 13991 h 447726"/>
                <a:gd name="connsiteX20" fmla="*/ 377770 w 391761"/>
                <a:gd name="connsiteY20" fmla="*/ 426739 h 447726"/>
                <a:gd name="connsiteX21" fmla="*/ 363778 w 391761"/>
                <a:gd name="connsiteY21" fmla="*/ 440731 h 447726"/>
                <a:gd name="connsiteX22" fmla="*/ 27983 w 391761"/>
                <a:gd name="connsiteY22" fmla="*/ 440731 h 447726"/>
                <a:gd name="connsiteX23" fmla="*/ 13991 w 391761"/>
                <a:gd name="connsiteY23" fmla="*/ 426739 h 447726"/>
                <a:gd name="connsiteX24" fmla="*/ 13991 w 391761"/>
                <a:gd name="connsiteY24" fmla="*/ 48970 h 447726"/>
                <a:gd name="connsiteX25" fmla="*/ 27983 w 391761"/>
                <a:gd name="connsiteY25" fmla="*/ 34979 h 447726"/>
                <a:gd name="connsiteX26" fmla="*/ 125923 w 391761"/>
                <a:gd name="connsiteY26" fmla="*/ 34979 h 447726"/>
                <a:gd name="connsiteX27" fmla="*/ 125923 w 391761"/>
                <a:gd name="connsiteY27" fmla="*/ 48970 h 447726"/>
                <a:gd name="connsiteX28" fmla="*/ 132919 w 391761"/>
                <a:gd name="connsiteY28" fmla="*/ 55966 h 447726"/>
                <a:gd name="connsiteX29" fmla="*/ 258842 w 391761"/>
                <a:gd name="connsiteY29" fmla="*/ 55966 h 447726"/>
                <a:gd name="connsiteX30" fmla="*/ 265838 w 391761"/>
                <a:gd name="connsiteY30" fmla="*/ 48970 h 447726"/>
                <a:gd name="connsiteX31" fmla="*/ 265838 w 391761"/>
                <a:gd name="connsiteY31" fmla="*/ 34979 h 447726"/>
                <a:gd name="connsiteX32" fmla="*/ 363778 w 391761"/>
                <a:gd name="connsiteY32" fmla="*/ 34979 h 447726"/>
                <a:gd name="connsiteX33" fmla="*/ 377770 w 391761"/>
                <a:gd name="connsiteY33" fmla="*/ 48970 h 447726"/>
                <a:gd name="connsiteX34" fmla="*/ 377770 w 391761"/>
                <a:gd name="connsiteY34" fmla="*/ 426739 h 44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1761" h="447726">
                  <a:moveTo>
                    <a:pt x="363778" y="20987"/>
                  </a:moveTo>
                  <a:lnTo>
                    <a:pt x="265838" y="20987"/>
                  </a:lnTo>
                  <a:lnTo>
                    <a:pt x="265838" y="6996"/>
                  </a:lnTo>
                  <a:cubicBezTo>
                    <a:pt x="265838" y="2798"/>
                    <a:pt x="263040" y="0"/>
                    <a:pt x="258842" y="0"/>
                  </a:cubicBezTo>
                  <a:lnTo>
                    <a:pt x="132919" y="0"/>
                  </a:lnTo>
                  <a:cubicBezTo>
                    <a:pt x="128721" y="0"/>
                    <a:pt x="125923" y="2798"/>
                    <a:pt x="125923" y="6996"/>
                  </a:cubicBezTo>
                  <a:lnTo>
                    <a:pt x="125923" y="20987"/>
                  </a:lnTo>
                  <a:lnTo>
                    <a:pt x="27983" y="20987"/>
                  </a:lnTo>
                  <a:cubicBezTo>
                    <a:pt x="12592" y="20987"/>
                    <a:pt x="0" y="33579"/>
                    <a:pt x="0" y="48970"/>
                  </a:cubicBezTo>
                  <a:lnTo>
                    <a:pt x="0" y="426739"/>
                  </a:lnTo>
                  <a:cubicBezTo>
                    <a:pt x="0" y="442130"/>
                    <a:pt x="12592" y="454722"/>
                    <a:pt x="27983" y="454722"/>
                  </a:cubicBezTo>
                  <a:lnTo>
                    <a:pt x="363778" y="454722"/>
                  </a:lnTo>
                  <a:cubicBezTo>
                    <a:pt x="379169" y="454722"/>
                    <a:pt x="391761" y="442130"/>
                    <a:pt x="391761" y="426739"/>
                  </a:cubicBezTo>
                  <a:lnTo>
                    <a:pt x="391761" y="48970"/>
                  </a:lnTo>
                  <a:cubicBezTo>
                    <a:pt x="391761" y="33579"/>
                    <a:pt x="379169" y="20987"/>
                    <a:pt x="363778" y="20987"/>
                  </a:cubicBezTo>
                  <a:close/>
                  <a:moveTo>
                    <a:pt x="139915" y="13991"/>
                  </a:moveTo>
                  <a:lnTo>
                    <a:pt x="251846" y="13991"/>
                  </a:lnTo>
                  <a:lnTo>
                    <a:pt x="251846" y="41974"/>
                  </a:lnTo>
                  <a:lnTo>
                    <a:pt x="139915" y="41974"/>
                  </a:lnTo>
                  <a:lnTo>
                    <a:pt x="139915" y="13991"/>
                  </a:lnTo>
                  <a:close/>
                  <a:moveTo>
                    <a:pt x="377770" y="426739"/>
                  </a:moveTo>
                  <a:cubicBezTo>
                    <a:pt x="377770" y="435134"/>
                    <a:pt x="370774" y="440731"/>
                    <a:pt x="363778" y="440731"/>
                  </a:cubicBezTo>
                  <a:lnTo>
                    <a:pt x="27983" y="440731"/>
                  </a:lnTo>
                  <a:cubicBezTo>
                    <a:pt x="19588" y="440731"/>
                    <a:pt x="13991" y="433735"/>
                    <a:pt x="13991" y="426739"/>
                  </a:cubicBezTo>
                  <a:lnTo>
                    <a:pt x="13991" y="48970"/>
                  </a:lnTo>
                  <a:cubicBezTo>
                    <a:pt x="13991" y="40575"/>
                    <a:pt x="20987" y="34979"/>
                    <a:pt x="27983" y="34979"/>
                  </a:cubicBezTo>
                  <a:lnTo>
                    <a:pt x="125923" y="34979"/>
                  </a:lnTo>
                  <a:lnTo>
                    <a:pt x="125923" y="48970"/>
                  </a:lnTo>
                  <a:cubicBezTo>
                    <a:pt x="125923" y="53168"/>
                    <a:pt x="128721" y="55966"/>
                    <a:pt x="132919" y="55966"/>
                  </a:cubicBezTo>
                  <a:lnTo>
                    <a:pt x="258842" y="55966"/>
                  </a:lnTo>
                  <a:cubicBezTo>
                    <a:pt x="263040" y="55966"/>
                    <a:pt x="265838" y="53168"/>
                    <a:pt x="265838" y="48970"/>
                  </a:cubicBezTo>
                  <a:lnTo>
                    <a:pt x="265838" y="34979"/>
                  </a:lnTo>
                  <a:lnTo>
                    <a:pt x="363778" y="34979"/>
                  </a:lnTo>
                  <a:cubicBezTo>
                    <a:pt x="372173" y="34979"/>
                    <a:pt x="377770" y="41974"/>
                    <a:pt x="377770" y="48970"/>
                  </a:cubicBezTo>
                  <a:lnTo>
                    <a:pt x="377770" y="426739"/>
                  </a:lnTo>
                  <a:close/>
                </a:path>
              </a:pathLst>
            </a:custGeom>
            <a:grpFill/>
            <a:ln w="13947" cap="flat">
              <a:noFill/>
              <a:prstDash val="solid"/>
              <a:miter/>
            </a:ln>
          </p:spPr>
          <p:txBody>
            <a:bodyPr rtlCol="0" anchor="ctr"/>
            <a:lstStyle/>
            <a:p>
              <a:endParaRPr lang="en-US"/>
            </a:p>
          </p:txBody>
        </p:sp>
        <p:sp>
          <p:nvSpPr>
            <p:cNvPr id="5027" name="Freeform: Shape 5026">
              <a:extLst>
                <a:ext uri="{FF2B5EF4-FFF2-40B4-BE49-F238E27FC236}">
                  <a16:creationId xmlns:a16="http://schemas.microsoft.com/office/drawing/2014/main" id="{8632D0A0-6E5D-449A-A81E-0C156322D28A}"/>
                </a:ext>
              </a:extLst>
            </p:cNvPr>
            <p:cNvSpPr/>
            <p:nvPr/>
          </p:nvSpPr>
          <p:spPr>
            <a:xfrm>
              <a:off x="6004274" y="3441167"/>
              <a:ext cx="55966" cy="55966"/>
            </a:xfrm>
            <a:custGeom>
              <a:avLst/>
              <a:gdLst>
                <a:gd name="connsiteX0" fmla="*/ 30781 w 55965"/>
                <a:gd name="connsiteY0" fmla="*/ 0 h 55965"/>
                <a:gd name="connsiteX1" fmla="*/ 0 w 55965"/>
                <a:gd name="connsiteY1" fmla="*/ 30781 h 55965"/>
                <a:gd name="connsiteX2" fmla="*/ 30781 w 55965"/>
                <a:gd name="connsiteY2" fmla="*/ 61562 h 55965"/>
                <a:gd name="connsiteX3" fmla="*/ 61562 w 55965"/>
                <a:gd name="connsiteY3" fmla="*/ 30781 h 55965"/>
                <a:gd name="connsiteX4" fmla="*/ 30781 w 55965"/>
                <a:gd name="connsiteY4" fmla="*/ 0 h 55965"/>
                <a:gd name="connsiteX5" fmla="*/ 30781 w 55965"/>
                <a:gd name="connsiteY5" fmla="*/ 47571 h 55965"/>
                <a:gd name="connsiteX6" fmla="*/ 13991 w 55965"/>
                <a:gd name="connsiteY6" fmla="*/ 30781 h 55965"/>
                <a:gd name="connsiteX7" fmla="*/ 30781 w 55965"/>
                <a:gd name="connsiteY7" fmla="*/ 13991 h 55965"/>
                <a:gd name="connsiteX8" fmla="*/ 47571 w 55965"/>
                <a:gd name="connsiteY8" fmla="*/ 30781 h 55965"/>
                <a:gd name="connsiteX9" fmla="*/ 30781 w 55965"/>
                <a:gd name="connsiteY9" fmla="*/ 47571 h 5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65" h="55965">
                  <a:moveTo>
                    <a:pt x="30781" y="0"/>
                  </a:moveTo>
                  <a:cubicBezTo>
                    <a:pt x="13991" y="0"/>
                    <a:pt x="0" y="13991"/>
                    <a:pt x="0" y="30781"/>
                  </a:cubicBezTo>
                  <a:cubicBezTo>
                    <a:pt x="0" y="47571"/>
                    <a:pt x="13991" y="61562"/>
                    <a:pt x="30781" y="61562"/>
                  </a:cubicBezTo>
                  <a:cubicBezTo>
                    <a:pt x="47571" y="61562"/>
                    <a:pt x="61562" y="47571"/>
                    <a:pt x="61562" y="30781"/>
                  </a:cubicBezTo>
                  <a:cubicBezTo>
                    <a:pt x="61562" y="13991"/>
                    <a:pt x="47571" y="0"/>
                    <a:pt x="30781" y="0"/>
                  </a:cubicBezTo>
                  <a:close/>
                  <a:moveTo>
                    <a:pt x="30781" y="47571"/>
                  </a:moveTo>
                  <a:cubicBezTo>
                    <a:pt x="22386" y="47571"/>
                    <a:pt x="13991" y="40575"/>
                    <a:pt x="13991" y="30781"/>
                  </a:cubicBezTo>
                  <a:cubicBezTo>
                    <a:pt x="13991" y="22386"/>
                    <a:pt x="20987" y="13991"/>
                    <a:pt x="30781" y="13991"/>
                  </a:cubicBezTo>
                  <a:cubicBezTo>
                    <a:pt x="40575" y="13991"/>
                    <a:pt x="47571" y="20987"/>
                    <a:pt x="47571" y="30781"/>
                  </a:cubicBezTo>
                  <a:cubicBezTo>
                    <a:pt x="47571" y="39176"/>
                    <a:pt x="40575" y="47571"/>
                    <a:pt x="30781" y="47571"/>
                  </a:cubicBezTo>
                  <a:close/>
                </a:path>
              </a:pathLst>
            </a:custGeom>
            <a:grpFill/>
            <a:ln w="13947" cap="flat">
              <a:noFill/>
              <a:prstDash val="solid"/>
              <a:miter/>
            </a:ln>
          </p:spPr>
          <p:txBody>
            <a:bodyPr rtlCol="0" anchor="ctr"/>
            <a:lstStyle/>
            <a:p>
              <a:endParaRPr lang="en-US"/>
            </a:p>
          </p:txBody>
        </p:sp>
        <p:sp>
          <p:nvSpPr>
            <p:cNvPr id="5028" name="Freeform: Shape 5027">
              <a:extLst>
                <a:ext uri="{FF2B5EF4-FFF2-40B4-BE49-F238E27FC236}">
                  <a16:creationId xmlns:a16="http://schemas.microsoft.com/office/drawing/2014/main" id="{861F4E1D-DF01-4AF4-B598-CF571C3C75BE}"/>
                </a:ext>
              </a:extLst>
            </p:cNvPr>
            <p:cNvSpPr/>
            <p:nvPr/>
          </p:nvSpPr>
          <p:spPr>
            <a:xfrm>
              <a:off x="5946909" y="3382403"/>
              <a:ext cx="167898" cy="167897"/>
            </a:xfrm>
            <a:custGeom>
              <a:avLst/>
              <a:gdLst>
                <a:gd name="connsiteX0" fmla="*/ 173494 w 167897"/>
                <a:gd name="connsiteY0" fmla="*/ 74155 h 167897"/>
                <a:gd name="connsiteX1" fmla="*/ 153906 w 167897"/>
                <a:gd name="connsiteY1" fmla="*/ 67159 h 167897"/>
                <a:gd name="connsiteX2" fmla="*/ 151108 w 167897"/>
                <a:gd name="connsiteY2" fmla="*/ 57365 h 167897"/>
                <a:gd name="connsiteX3" fmla="*/ 158104 w 167897"/>
                <a:gd name="connsiteY3" fmla="*/ 36378 h 167897"/>
                <a:gd name="connsiteX4" fmla="*/ 156704 w 167897"/>
                <a:gd name="connsiteY4" fmla="*/ 29382 h 167897"/>
                <a:gd name="connsiteX5" fmla="*/ 148310 w 167897"/>
                <a:gd name="connsiteY5" fmla="*/ 20987 h 167897"/>
                <a:gd name="connsiteX6" fmla="*/ 141314 w 167897"/>
                <a:gd name="connsiteY6" fmla="*/ 19588 h 167897"/>
                <a:gd name="connsiteX7" fmla="*/ 120327 w 167897"/>
                <a:gd name="connsiteY7" fmla="*/ 26584 h 167897"/>
                <a:gd name="connsiteX8" fmla="*/ 110533 w 167897"/>
                <a:gd name="connsiteY8" fmla="*/ 23785 h 167897"/>
                <a:gd name="connsiteX9" fmla="*/ 103537 w 167897"/>
                <a:gd name="connsiteY9" fmla="*/ 4197 h 167897"/>
                <a:gd name="connsiteX10" fmla="*/ 96541 w 167897"/>
                <a:gd name="connsiteY10" fmla="*/ 0 h 167897"/>
                <a:gd name="connsiteX11" fmla="*/ 81151 w 167897"/>
                <a:gd name="connsiteY11" fmla="*/ 0 h 167897"/>
                <a:gd name="connsiteX12" fmla="*/ 74155 w 167897"/>
                <a:gd name="connsiteY12" fmla="*/ 4197 h 167897"/>
                <a:gd name="connsiteX13" fmla="*/ 67159 w 167897"/>
                <a:gd name="connsiteY13" fmla="*/ 23785 h 167897"/>
                <a:gd name="connsiteX14" fmla="*/ 57365 w 167897"/>
                <a:gd name="connsiteY14" fmla="*/ 26584 h 167897"/>
                <a:gd name="connsiteX15" fmla="*/ 36378 w 167897"/>
                <a:gd name="connsiteY15" fmla="*/ 19588 h 167897"/>
                <a:gd name="connsiteX16" fmla="*/ 29382 w 167897"/>
                <a:gd name="connsiteY16" fmla="*/ 20987 h 167897"/>
                <a:gd name="connsiteX17" fmla="*/ 20987 w 167897"/>
                <a:gd name="connsiteY17" fmla="*/ 29382 h 167897"/>
                <a:gd name="connsiteX18" fmla="*/ 19588 w 167897"/>
                <a:gd name="connsiteY18" fmla="*/ 36378 h 167897"/>
                <a:gd name="connsiteX19" fmla="*/ 26584 w 167897"/>
                <a:gd name="connsiteY19" fmla="*/ 57365 h 167897"/>
                <a:gd name="connsiteX20" fmla="*/ 23785 w 167897"/>
                <a:gd name="connsiteY20" fmla="*/ 68558 h 167897"/>
                <a:gd name="connsiteX21" fmla="*/ 4197 w 167897"/>
                <a:gd name="connsiteY21" fmla="*/ 74155 h 167897"/>
                <a:gd name="connsiteX22" fmla="*/ 0 w 167897"/>
                <a:gd name="connsiteY22" fmla="*/ 81150 h 167897"/>
                <a:gd name="connsiteX23" fmla="*/ 0 w 167897"/>
                <a:gd name="connsiteY23" fmla="*/ 97940 h 167897"/>
                <a:gd name="connsiteX24" fmla="*/ 4197 w 167897"/>
                <a:gd name="connsiteY24" fmla="*/ 104936 h 167897"/>
                <a:gd name="connsiteX25" fmla="*/ 23785 w 167897"/>
                <a:gd name="connsiteY25" fmla="*/ 110532 h 167897"/>
                <a:gd name="connsiteX26" fmla="*/ 26584 w 167897"/>
                <a:gd name="connsiteY26" fmla="*/ 120326 h 167897"/>
                <a:gd name="connsiteX27" fmla="*/ 19588 w 167897"/>
                <a:gd name="connsiteY27" fmla="*/ 141314 h 167897"/>
                <a:gd name="connsiteX28" fmla="*/ 20987 w 167897"/>
                <a:gd name="connsiteY28" fmla="*/ 148309 h 167897"/>
                <a:gd name="connsiteX29" fmla="*/ 29382 w 167897"/>
                <a:gd name="connsiteY29" fmla="*/ 156704 h 167897"/>
                <a:gd name="connsiteX30" fmla="*/ 36378 w 167897"/>
                <a:gd name="connsiteY30" fmla="*/ 158103 h 167897"/>
                <a:gd name="connsiteX31" fmla="*/ 57365 w 167897"/>
                <a:gd name="connsiteY31" fmla="*/ 151108 h 167897"/>
                <a:gd name="connsiteX32" fmla="*/ 67159 w 167897"/>
                <a:gd name="connsiteY32" fmla="*/ 153906 h 167897"/>
                <a:gd name="connsiteX33" fmla="*/ 74155 w 167897"/>
                <a:gd name="connsiteY33" fmla="*/ 173494 h 167897"/>
                <a:gd name="connsiteX34" fmla="*/ 81151 w 167897"/>
                <a:gd name="connsiteY34" fmla="*/ 177691 h 167897"/>
                <a:gd name="connsiteX35" fmla="*/ 97940 w 167897"/>
                <a:gd name="connsiteY35" fmla="*/ 177691 h 167897"/>
                <a:gd name="connsiteX36" fmla="*/ 104936 w 167897"/>
                <a:gd name="connsiteY36" fmla="*/ 173494 h 167897"/>
                <a:gd name="connsiteX37" fmla="*/ 111932 w 167897"/>
                <a:gd name="connsiteY37" fmla="*/ 153906 h 167897"/>
                <a:gd name="connsiteX38" fmla="*/ 121726 w 167897"/>
                <a:gd name="connsiteY38" fmla="*/ 151108 h 167897"/>
                <a:gd name="connsiteX39" fmla="*/ 142713 w 167897"/>
                <a:gd name="connsiteY39" fmla="*/ 158103 h 167897"/>
                <a:gd name="connsiteX40" fmla="*/ 149709 w 167897"/>
                <a:gd name="connsiteY40" fmla="*/ 156704 h 167897"/>
                <a:gd name="connsiteX41" fmla="*/ 158104 w 167897"/>
                <a:gd name="connsiteY41" fmla="*/ 148309 h 167897"/>
                <a:gd name="connsiteX42" fmla="*/ 159503 w 167897"/>
                <a:gd name="connsiteY42" fmla="*/ 141314 h 167897"/>
                <a:gd name="connsiteX43" fmla="*/ 152507 w 167897"/>
                <a:gd name="connsiteY43" fmla="*/ 120326 h 167897"/>
                <a:gd name="connsiteX44" fmla="*/ 155305 w 167897"/>
                <a:gd name="connsiteY44" fmla="*/ 110532 h 167897"/>
                <a:gd name="connsiteX45" fmla="*/ 174893 w 167897"/>
                <a:gd name="connsiteY45" fmla="*/ 103537 h 167897"/>
                <a:gd name="connsiteX46" fmla="*/ 179091 w 167897"/>
                <a:gd name="connsiteY46" fmla="*/ 96541 h 167897"/>
                <a:gd name="connsiteX47" fmla="*/ 179091 w 167897"/>
                <a:gd name="connsiteY47" fmla="*/ 79751 h 167897"/>
                <a:gd name="connsiteX48" fmla="*/ 173494 w 167897"/>
                <a:gd name="connsiteY48" fmla="*/ 74155 h 167897"/>
                <a:gd name="connsiteX49" fmla="*/ 163700 w 167897"/>
                <a:gd name="connsiteY49" fmla="*/ 92344 h 167897"/>
                <a:gd name="connsiteX50" fmla="*/ 145511 w 167897"/>
                <a:gd name="connsiteY50" fmla="*/ 97940 h 167897"/>
                <a:gd name="connsiteX51" fmla="*/ 141314 w 167897"/>
                <a:gd name="connsiteY51" fmla="*/ 102138 h 167897"/>
                <a:gd name="connsiteX52" fmla="*/ 135717 w 167897"/>
                <a:gd name="connsiteY52" fmla="*/ 118927 h 167897"/>
                <a:gd name="connsiteX53" fmla="*/ 135717 w 167897"/>
                <a:gd name="connsiteY53" fmla="*/ 123125 h 167897"/>
                <a:gd name="connsiteX54" fmla="*/ 142713 w 167897"/>
                <a:gd name="connsiteY54" fmla="*/ 141314 h 167897"/>
                <a:gd name="connsiteX55" fmla="*/ 141314 w 167897"/>
                <a:gd name="connsiteY55" fmla="*/ 144112 h 167897"/>
                <a:gd name="connsiteX56" fmla="*/ 123125 w 167897"/>
                <a:gd name="connsiteY56" fmla="*/ 137116 h 167897"/>
                <a:gd name="connsiteX57" fmla="*/ 118927 w 167897"/>
                <a:gd name="connsiteY57" fmla="*/ 137116 h 167897"/>
                <a:gd name="connsiteX58" fmla="*/ 103537 w 167897"/>
                <a:gd name="connsiteY58" fmla="*/ 142713 h 167897"/>
                <a:gd name="connsiteX59" fmla="*/ 99339 w 167897"/>
                <a:gd name="connsiteY59" fmla="*/ 146910 h 167897"/>
                <a:gd name="connsiteX60" fmla="*/ 93743 w 167897"/>
                <a:gd name="connsiteY60" fmla="*/ 165099 h 167897"/>
                <a:gd name="connsiteX61" fmla="*/ 85348 w 167897"/>
                <a:gd name="connsiteY61" fmla="*/ 165099 h 167897"/>
                <a:gd name="connsiteX62" fmla="*/ 79751 w 167897"/>
                <a:gd name="connsiteY62" fmla="*/ 146910 h 167897"/>
                <a:gd name="connsiteX63" fmla="*/ 75554 w 167897"/>
                <a:gd name="connsiteY63" fmla="*/ 142713 h 167897"/>
                <a:gd name="connsiteX64" fmla="*/ 60163 w 167897"/>
                <a:gd name="connsiteY64" fmla="*/ 137116 h 167897"/>
                <a:gd name="connsiteX65" fmla="*/ 55966 w 167897"/>
                <a:gd name="connsiteY65" fmla="*/ 137116 h 167897"/>
                <a:gd name="connsiteX66" fmla="*/ 36378 w 167897"/>
                <a:gd name="connsiteY66" fmla="*/ 144112 h 167897"/>
                <a:gd name="connsiteX67" fmla="*/ 33580 w 167897"/>
                <a:gd name="connsiteY67" fmla="*/ 141314 h 167897"/>
                <a:gd name="connsiteX68" fmla="*/ 40575 w 167897"/>
                <a:gd name="connsiteY68" fmla="*/ 123125 h 167897"/>
                <a:gd name="connsiteX69" fmla="*/ 40575 w 167897"/>
                <a:gd name="connsiteY69" fmla="*/ 118927 h 167897"/>
                <a:gd name="connsiteX70" fmla="*/ 34979 w 167897"/>
                <a:gd name="connsiteY70" fmla="*/ 103537 h 167897"/>
                <a:gd name="connsiteX71" fmla="*/ 30781 w 167897"/>
                <a:gd name="connsiteY71" fmla="*/ 99339 h 167897"/>
                <a:gd name="connsiteX72" fmla="*/ 12592 w 167897"/>
                <a:gd name="connsiteY72" fmla="*/ 93743 h 167897"/>
                <a:gd name="connsiteX73" fmla="*/ 12592 w 167897"/>
                <a:gd name="connsiteY73" fmla="*/ 88146 h 167897"/>
                <a:gd name="connsiteX74" fmla="*/ 30781 w 167897"/>
                <a:gd name="connsiteY74" fmla="*/ 82550 h 167897"/>
                <a:gd name="connsiteX75" fmla="*/ 34979 w 167897"/>
                <a:gd name="connsiteY75" fmla="*/ 78352 h 167897"/>
                <a:gd name="connsiteX76" fmla="*/ 40575 w 167897"/>
                <a:gd name="connsiteY76" fmla="*/ 60163 h 167897"/>
                <a:gd name="connsiteX77" fmla="*/ 40575 w 167897"/>
                <a:gd name="connsiteY77" fmla="*/ 55966 h 167897"/>
                <a:gd name="connsiteX78" fmla="*/ 33580 w 167897"/>
                <a:gd name="connsiteY78" fmla="*/ 37777 h 167897"/>
                <a:gd name="connsiteX79" fmla="*/ 36378 w 167897"/>
                <a:gd name="connsiteY79" fmla="*/ 34979 h 167897"/>
                <a:gd name="connsiteX80" fmla="*/ 54567 w 167897"/>
                <a:gd name="connsiteY80" fmla="*/ 41974 h 167897"/>
                <a:gd name="connsiteX81" fmla="*/ 58764 w 167897"/>
                <a:gd name="connsiteY81" fmla="*/ 41974 h 167897"/>
                <a:gd name="connsiteX82" fmla="*/ 74155 w 167897"/>
                <a:gd name="connsiteY82" fmla="*/ 36378 h 167897"/>
                <a:gd name="connsiteX83" fmla="*/ 78352 w 167897"/>
                <a:gd name="connsiteY83" fmla="*/ 32180 h 167897"/>
                <a:gd name="connsiteX84" fmla="*/ 83949 w 167897"/>
                <a:gd name="connsiteY84" fmla="*/ 13991 h 167897"/>
                <a:gd name="connsiteX85" fmla="*/ 89545 w 167897"/>
                <a:gd name="connsiteY85" fmla="*/ 13991 h 167897"/>
                <a:gd name="connsiteX86" fmla="*/ 95142 w 167897"/>
                <a:gd name="connsiteY86" fmla="*/ 32180 h 167897"/>
                <a:gd name="connsiteX87" fmla="*/ 99339 w 167897"/>
                <a:gd name="connsiteY87" fmla="*/ 36378 h 167897"/>
                <a:gd name="connsiteX88" fmla="*/ 114730 w 167897"/>
                <a:gd name="connsiteY88" fmla="*/ 41974 h 167897"/>
                <a:gd name="connsiteX89" fmla="*/ 118927 w 167897"/>
                <a:gd name="connsiteY89" fmla="*/ 41974 h 167897"/>
                <a:gd name="connsiteX90" fmla="*/ 137116 w 167897"/>
                <a:gd name="connsiteY90" fmla="*/ 34979 h 167897"/>
                <a:gd name="connsiteX91" fmla="*/ 139915 w 167897"/>
                <a:gd name="connsiteY91" fmla="*/ 37777 h 167897"/>
                <a:gd name="connsiteX92" fmla="*/ 132919 w 167897"/>
                <a:gd name="connsiteY92" fmla="*/ 55966 h 167897"/>
                <a:gd name="connsiteX93" fmla="*/ 132919 w 167897"/>
                <a:gd name="connsiteY93" fmla="*/ 60163 h 167897"/>
                <a:gd name="connsiteX94" fmla="*/ 138516 w 167897"/>
                <a:gd name="connsiteY94" fmla="*/ 75554 h 167897"/>
                <a:gd name="connsiteX95" fmla="*/ 142713 w 167897"/>
                <a:gd name="connsiteY95" fmla="*/ 79751 h 167897"/>
                <a:gd name="connsiteX96" fmla="*/ 160902 w 167897"/>
                <a:gd name="connsiteY96" fmla="*/ 85348 h 167897"/>
                <a:gd name="connsiteX97" fmla="*/ 160902 w 167897"/>
                <a:gd name="connsiteY97" fmla="*/ 92344 h 16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67897" h="167897">
                  <a:moveTo>
                    <a:pt x="173494" y="74155"/>
                  </a:moveTo>
                  <a:lnTo>
                    <a:pt x="153906" y="67159"/>
                  </a:lnTo>
                  <a:lnTo>
                    <a:pt x="151108" y="57365"/>
                  </a:lnTo>
                  <a:lnTo>
                    <a:pt x="158104" y="36378"/>
                  </a:lnTo>
                  <a:cubicBezTo>
                    <a:pt x="159503" y="33579"/>
                    <a:pt x="158104" y="30781"/>
                    <a:pt x="156704" y="29382"/>
                  </a:cubicBezTo>
                  <a:lnTo>
                    <a:pt x="148310" y="20987"/>
                  </a:lnTo>
                  <a:cubicBezTo>
                    <a:pt x="146910" y="19588"/>
                    <a:pt x="144112" y="18189"/>
                    <a:pt x="141314" y="19588"/>
                  </a:cubicBezTo>
                  <a:lnTo>
                    <a:pt x="120327" y="26584"/>
                  </a:lnTo>
                  <a:lnTo>
                    <a:pt x="110533" y="23785"/>
                  </a:lnTo>
                  <a:lnTo>
                    <a:pt x="103537" y="4197"/>
                  </a:lnTo>
                  <a:cubicBezTo>
                    <a:pt x="102138" y="1399"/>
                    <a:pt x="99339" y="0"/>
                    <a:pt x="96541" y="0"/>
                  </a:cubicBezTo>
                  <a:lnTo>
                    <a:pt x="81151" y="0"/>
                  </a:lnTo>
                  <a:cubicBezTo>
                    <a:pt x="78352" y="0"/>
                    <a:pt x="75554" y="1399"/>
                    <a:pt x="74155" y="4197"/>
                  </a:cubicBezTo>
                  <a:lnTo>
                    <a:pt x="67159" y="23785"/>
                  </a:lnTo>
                  <a:lnTo>
                    <a:pt x="57365" y="26584"/>
                  </a:lnTo>
                  <a:lnTo>
                    <a:pt x="36378" y="19588"/>
                  </a:lnTo>
                  <a:cubicBezTo>
                    <a:pt x="33580" y="18189"/>
                    <a:pt x="30781" y="19588"/>
                    <a:pt x="29382" y="20987"/>
                  </a:cubicBezTo>
                  <a:lnTo>
                    <a:pt x="20987" y="29382"/>
                  </a:lnTo>
                  <a:cubicBezTo>
                    <a:pt x="19588" y="30781"/>
                    <a:pt x="18189" y="33579"/>
                    <a:pt x="19588" y="36378"/>
                  </a:cubicBezTo>
                  <a:lnTo>
                    <a:pt x="26584" y="57365"/>
                  </a:lnTo>
                  <a:lnTo>
                    <a:pt x="23785" y="68558"/>
                  </a:lnTo>
                  <a:lnTo>
                    <a:pt x="4197" y="74155"/>
                  </a:lnTo>
                  <a:cubicBezTo>
                    <a:pt x="1399" y="75554"/>
                    <a:pt x="0" y="78352"/>
                    <a:pt x="0" y="81150"/>
                  </a:cubicBezTo>
                  <a:lnTo>
                    <a:pt x="0" y="97940"/>
                  </a:lnTo>
                  <a:cubicBezTo>
                    <a:pt x="0" y="100738"/>
                    <a:pt x="1399" y="103537"/>
                    <a:pt x="4197" y="104936"/>
                  </a:cubicBezTo>
                  <a:lnTo>
                    <a:pt x="23785" y="110532"/>
                  </a:lnTo>
                  <a:lnTo>
                    <a:pt x="26584" y="120326"/>
                  </a:lnTo>
                  <a:lnTo>
                    <a:pt x="19588" y="141314"/>
                  </a:lnTo>
                  <a:cubicBezTo>
                    <a:pt x="18189" y="144112"/>
                    <a:pt x="19588" y="146910"/>
                    <a:pt x="20987" y="148309"/>
                  </a:cubicBezTo>
                  <a:lnTo>
                    <a:pt x="29382" y="156704"/>
                  </a:lnTo>
                  <a:cubicBezTo>
                    <a:pt x="30781" y="158103"/>
                    <a:pt x="33580" y="159503"/>
                    <a:pt x="36378" y="158103"/>
                  </a:cubicBezTo>
                  <a:lnTo>
                    <a:pt x="57365" y="151108"/>
                  </a:lnTo>
                  <a:lnTo>
                    <a:pt x="67159" y="153906"/>
                  </a:lnTo>
                  <a:lnTo>
                    <a:pt x="74155" y="173494"/>
                  </a:lnTo>
                  <a:cubicBezTo>
                    <a:pt x="75554" y="176292"/>
                    <a:pt x="78352" y="177691"/>
                    <a:pt x="81151" y="177691"/>
                  </a:cubicBezTo>
                  <a:lnTo>
                    <a:pt x="97940" y="177691"/>
                  </a:lnTo>
                  <a:cubicBezTo>
                    <a:pt x="100739" y="177691"/>
                    <a:pt x="103537" y="176292"/>
                    <a:pt x="104936" y="173494"/>
                  </a:cubicBezTo>
                  <a:lnTo>
                    <a:pt x="111932" y="153906"/>
                  </a:lnTo>
                  <a:lnTo>
                    <a:pt x="121726" y="151108"/>
                  </a:lnTo>
                  <a:lnTo>
                    <a:pt x="142713" y="158103"/>
                  </a:lnTo>
                  <a:cubicBezTo>
                    <a:pt x="145511" y="159503"/>
                    <a:pt x="148310" y="158103"/>
                    <a:pt x="149709" y="156704"/>
                  </a:cubicBezTo>
                  <a:lnTo>
                    <a:pt x="158104" y="148309"/>
                  </a:lnTo>
                  <a:cubicBezTo>
                    <a:pt x="159503" y="146910"/>
                    <a:pt x="160902" y="144112"/>
                    <a:pt x="159503" y="141314"/>
                  </a:cubicBezTo>
                  <a:lnTo>
                    <a:pt x="152507" y="120326"/>
                  </a:lnTo>
                  <a:lnTo>
                    <a:pt x="155305" y="110532"/>
                  </a:lnTo>
                  <a:lnTo>
                    <a:pt x="174893" y="103537"/>
                  </a:lnTo>
                  <a:cubicBezTo>
                    <a:pt x="177692" y="102138"/>
                    <a:pt x="179091" y="99339"/>
                    <a:pt x="179091" y="96541"/>
                  </a:cubicBezTo>
                  <a:lnTo>
                    <a:pt x="179091" y="79751"/>
                  </a:lnTo>
                  <a:cubicBezTo>
                    <a:pt x="177692" y="78352"/>
                    <a:pt x="176292" y="75554"/>
                    <a:pt x="173494" y="74155"/>
                  </a:cubicBezTo>
                  <a:close/>
                  <a:moveTo>
                    <a:pt x="163700" y="92344"/>
                  </a:moveTo>
                  <a:lnTo>
                    <a:pt x="145511" y="97940"/>
                  </a:lnTo>
                  <a:cubicBezTo>
                    <a:pt x="142713" y="99339"/>
                    <a:pt x="141314" y="100738"/>
                    <a:pt x="141314" y="102138"/>
                  </a:cubicBezTo>
                  <a:lnTo>
                    <a:pt x="135717" y="118927"/>
                  </a:lnTo>
                  <a:cubicBezTo>
                    <a:pt x="135717" y="120326"/>
                    <a:pt x="135717" y="121726"/>
                    <a:pt x="135717" y="123125"/>
                  </a:cubicBezTo>
                  <a:lnTo>
                    <a:pt x="142713" y="141314"/>
                  </a:lnTo>
                  <a:lnTo>
                    <a:pt x="141314" y="144112"/>
                  </a:lnTo>
                  <a:lnTo>
                    <a:pt x="123125" y="137116"/>
                  </a:lnTo>
                  <a:cubicBezTo>
                    <a:pt x="121726" y="137116"/>
                    <a:pt x="120327" y="137116"/>
                    <a:pt x="118927" y="137116"/>
                  </a:cubicBezTo>
                  <a:lnTo>
                    <a:pt x="103537" y="142713"/>
                  </a:lnTo>
                  <a:cubicBezTo>
                    <a:pt x="100739" y="142713"/>
                    <a:pt x="99339" y="145511"/>
                    <a:pt x="99339" y="146910"/>
                  </a:cubicBezTo>
                  <a:lnTo>
                    <a:pt x="93743" y="165099"/>
                  </a:lnTo>
                  <a:lnTo>
                    <a:pt x="85348" y="165099"/>
                  </a:lnTo>
                  <a:lnTo>
                    <a:pt x="79751" y="146910"/>
                  </a:lnTo>
                  <a:cubicBezTo>
                    <a:pt x="78352" y="145511"/>
                    <a:pt x="76953" y="142713"/>
                    <a:pt x="75554" y="142713"/>
                  </a:cubicBezTo>
                  <a:lnTo>
                    <a:pt x="60163" y="137116"/>
                  </a:lnTo>
                  <a:cubicBezTo>
                    <a:pt x="58764" y="137116"/>
                    <a:pt x="57365" y="137116"/>
                    <a:pt x="55966" y="137116"/>
                  </a:cubicBezTo>
                  <a:lnTo>
                    <a:pt x="36378" y="144112"/>
                  </a:lnTo>
                  <a:lnTo>
                    <a:pt x="33580" y="141314"/>
                  </a:lnTo>
                  <a:lnTo>
                    <a:pt x="40575" y="123125"/>
                  </a:lnTo>
                  <a:cubicBezTo>
                    <a:pt x="40575" y="121726"/>
                    <a:pt x="40575" y="120326"/>
                    <a:pt x="40575" y="118927"/>
                  </a:cubicBezTo>
                  <a:lnTo>
                    <a:pt x="34979" y="103537"/>
                  </a:lnTo>
                  <a:cubicBezTo>
                    <a:pt x="34979" y="100738"/>
                    <a:pt x="32180" y="99339"/>
                    <a:pt x="30781" y="99339"/>
                  </a:cubicBezTo>
                  <a:lnTo>
                    <a:pt x="12592" y="93743"/>
                  </a:lnTo>
                  <a:lnTo>
                    <a:pt x="12592" y="88146"/>
                  </a:lnTo>
                  <a:lnTo>
                    <a:pt x="30781" y="82550"/>
                  </a:lnTo>
                  <a:cubicBezTo>
                    <a:pt x="32180" y="81150"/>
                    <a:pt x="34979" y="79751"/>
                    <a:pt x="34979" y="78352"/>
                  </a:cubicBezTo>
                  <a:lnTo>
                    <a:pt x="40575" y="60163"/>
                  </a:lnTo>
                  <a:cubicBezTo>
                    <a:pt x="40575" y="58764"/>
                    <a:pt x="40575" y="57365"/>
                    <a:pt x="40575" y="55966"/>
                  </a:cubicBezTo>
                  <a:lnTo>
                    <a:pt x="33580" y="37777"/>
                  </a:lnTo>
                  <a:lnTo>
                    <a:pt x="36378" y="34979"/>
                  </a:lnTo>
                  <a:lnTo>
                    <a:pt x="54567" y="41974"/>
                  </a:lnTo>
                  <a:cubicBezTo>
                    <a:pt x="55966" y="41974"/>
                    <a:pt x="57365" y="41974"/>
                    <a:pt x="58764" y="41974"/>
                  </a:cubicBezTo>
                  <a:lnTo>
                    <a:pt x="74155" y="36378"/>
                  </a:lnTo>
                  <a:cubicBezTo>
                    <a:pt x="76953" y="36378"/>
                    <a:pt x="78352" y="33579"/>
                    <a:pt x="78352" y="32180"/>
                  </a:cubicBezTo>
                  <a:lnTo>
                    <a:pt x="83949" y="13991"/>
                  </a:lnTo>
                  <a:lnTo>
                    <a:pt x="89545" y="13991"/>
                  </a:lnTo>
                  <a:lnTo>
                    <a:pt x="95142" y="32180"/>
                  </a:lnTo>
                  <a:cubicBezTo>
                    <a:pt x="96541" y="33579"/>
                    <a:pt x="97940" y="36378"/>
                    <a:pt x="99339" y="36378"/>
                  </a:cubicBezTo>
                  <a:lnTo>
                    <a:pt x="114730" y="41974"/>
                  </a:lnTo>
                  <a:cubicBezTo>
                    <a:pt x="116129" y="41974"/>
                    <a:pt x="117528" y="41974"/>
                    <a:pt x="118927" y="41974"/>
                  </a:cubicBezTo>
                  <a:lnTo>
                    <a:pt x="137116" y="34979"/>
                  </a:lnTo>
                  <a:lnTo>
                    <a:pt x="139915" y="37777"/>
                  </a:lnTo>
                  <a:lnTo>
                    <a:pt x="132919" y="55966"/>
                  </a:lnTo>
                  <a:cubicBezTo>
                    <a:pt x="132919" y="57365"/>
                    <a:pt x="132919" y="58764"/>
                    <a:pt x="132919" y="60163"/>
                  </a:cubicBezTo>
                  <a:lnTo>
                    <a:pt x="138516" y="75554"/>
                  </a:lnTo>
                  <a:cubicBezTo>
                    <a:pt x="138516" y="78352"/>
                    <a:pt x="141314" y="79751"/>
                    <a:pt x="142713" y="79751"/>
                  </a:cubicBezTo>
                  <a:lnTo>
                    <a:pt x="160902" y="85348"/>
                  </a:lnTo>
                  <a:lnTo>
                    <a:pt x="160902" y="92344"/>
                  </a:lnTo>
                  <a:close/>
                </a:path>
              </a:pathLst>
            </a:custGeom>
            <a:grpFill/>
            <a:ln w="13947" cap="flat">
              <a:noFill/>
              <a:prstDash val="solid"/>
              <a:miter/>
            </a:ln>
          </p:spPr>
          <p:txBody>
            <a:bodyPr rtlCol="0" anchor="ctr"/>
            <a:lstStyle/>
            <a:p>
              <a:endParaRPr lang="en-US"/>
            </a:p>
          </p:txBody>
        </p:sp>
        <p:sp>
          <p:nvSpPr>
            <p:cNvPr id="5029" name="Freeform: Shape 5028">
              <a:extLst>
                <a:ext uri="{FF2B5EF4-FFF2-40B4-BE49-F238E27FC236}">
                  <a16:creationId xmlns:a16="http://schemas.microsoft.com/office/drawing/2014/main" id="{A6860A85-AE49-495F-9D45-77F0B7CA68DB}"/>
                </a:ext>
              </a:extLst>
            </p:cNvPr>
            <p:cNvSpPr/>
            <p:nvPr/>
          </p:nvSpPr>
          <p:spPr>
            <a:xfrm>
              <a:off x="6110245" y="3309284"/>
              <a:ext cx="55966" cy="55966"/>
            </a:xfrm>
            <a:custGeom>
              <a:avLst/>
              <a:gdLst>
                <a:gd name="connsiteX0" fmla="*/ 32544 w 55965"/>
                <a:gd name="connsiteY0" fmla="*/ 364 h 55965"/>
                <a:gd name="connsiteX1" fmla="*/ 11557 w 55965"/>
                <a:gd name="connsiteY1" fmla="*/ 5961 h 55965"/>
                <a:gd name="connsiteX2" fmla="*/ 364 w 55965"/>
                <a:gd name="connsiteY2" fmla="*/ 24149 h 55965"/>
                <a:gd name="connsiteX3" fmla="*/ 5961 w 55965"/>
                <a:gd name="connsiteY3" fmla="*/ 45137 h 55965"/>
                <a:gd name="connsiteX4" fmla="*/ 24149 w 55965"/>
                <a:gd name="connsiteY4" fmla="*/ 56330 h 55965"/>
                <a:gd name="connsiteX5" fmla="*/ 28347 w 55965"/>
                <a:gd name="connsiteY5" fmla="*/ 56330 h 55965"/>
                <a:gd name="connsiteX6" fmla="*/ 56330 w 55965"/>
                <a:gd name="connsiteY6" fmla="*/ 32544 h 55965"/>
                <a:gd name="connsiteX7" fmla="*/ 56330 w 55965"/>
                <a:gd name="connsiteY7" fmla="*/ 32544 h 55965"/>
                <a:gd name="connsiteX8" fmla="*/ 32544 w 55965"/>
                <a:gd name="connsiteY8" fmla="*/ 364 h 55965"/>
                <a:gd name="connsiteX9" fmla="*/ 26948 w 55965"/>
                <a:gd name="connsiteY9" fmla="*/ 42338 h 55965"/>
                <a:gd name="connsiteX10" fmla="*/ 18553 w 55965"/>
                <a:gd name="connsiteY10" fmla="*/ 36742 h 55965"/>
                <a:gd name="connsiteX11" fmla="*/ 15755 w 55965"/>
                <a:gd name="connsiteY11" fmla="*/ 26948 h 55965"/>
                <a:gd name="connsiteX12" fmla="*/ 21351 w 55965"/>
                <a:gd name="connsiteY12" fmla="*/ 18553 h 55965"/>
                <a:gd name="connsiteX13" fmla="*/ 29746 w 55965"/>
                <a:gd name="connsiteY13" fmla="*/ 15755 h 55965"/>
                <a:gd name="connsiteX14" fmla="*/ 31145 w 55965"/>
                <a:gd name="connsiteY14" fmla="*/ 15755 h 55965"/>
                <a:gd name="connsiteX15" fmla="*/ 42338 w 55965"/>
                <a:gd name="connsiteY15" fmla="*/ 31145 h 55965"/>
                <a:gd name="connsiteX16" fmla="*/ 26948 w 55965"/>
                <a:gd name="connsiteY16" fmla="*/ 42338 h 5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965" h="55965">
                  <a:moveTo>
                    <a:pt x="32544" y="364"/>
                  </a:moveTo>
                  <a:cubicBezTo>
                    <a:pt x="25549" y="-1035"/>
                    <a:pt x="18553" y="1763"/>
                    <a:pt x="11557" y="5961"/>
                  </a:cubicBezTo>
                  <a:cubicBezTo>
                    <a:pt x="5961" y="10158"/>
                    <a:pt x="1763" y="17154"/>
                    <a:pt x="364" y="24149"/>
                  </a:cubicBezTo>
                  <a:cubicBezTo>
                    <a:pt x="-1035" y="31145"/>
                    <a:pt x="1763" y="38141"/>
                    <a:pt x="5961" y="45137"/>
                  </a:cubicBezTo>
                  <a:cubicBezTo>
                    <a:pt x="10158" y="50733"/>
                    <a:pt x="17154" y="54931"/>
                    <a:pt x="24149" y="56330"/>
                  </a:cubicBezTo>
                  <a:cubicBezTo>
                    <a:pt x="25549" y="56330"/>
                    <a:pt x="26948" y="56330"/>
                    <a:pt x="28347" y="56330"/>
                  </a:cubicBezTo>
                  <a:cubicBezTo>
                    <a:pt x="42338" y="56330"/>
                    <a:pt x="53532" y="46536"/>
                    <a:pt x="56330" y="32544"/>
                  </a:cubicBezTo>
                  <a:cubicBezTo>
                    <a:pt x="56330" y="32544"/>
                    <a:pt x="56330" y="32544"/>
                    <a:pt x="56330" y="32544"/>
                  </a:cubicBezTo>
                  <a:cubicBezTo>
                    <a:pt x="59128" y="17154"/>
                    <a:pt x="47935" y="3162"/>
                    <a:pt x="32544" y="364"/>
                  </a:cubicBezTo>
                  <a:close/>
                  <a:moveTo>
                    <a:pt x="26948" y="42338"/>
                  </a:moveTo>
                  <a:cubicBezTo>
                    <a:pt x="22750" y="42338"/>
                    <a:pt x="19952" y="39540"/>
                    <a:pt x="18553" y="36742"/>
                  </a:cubicBezTo>
                  <a:cubicBezTo>
                    <a:pt x="15755" y="33943"/>
                    <a:pt x="15755" y="29746"/>
                    <a:pt x="15755" y="26948"/>
                  </a:cubicBezTo>
                  <a:cubicBezTo>
                    <a:pt x="15755" y="22750"/>
                    <a:pt x="18553" y="19952"/>
                    <a:pt x="21351" y="18553"/>
                  </a:cubicBezTo>
                  <a:cubicBezTo>
                    <a:pt x="24149" y="17154"/>
                    <a:pt x="26948" y="15755"/>
                    <a:pt x="29746" y="15755"/>
                  </a:cubicBezTo>
                  <a:cubicBezTo>
                    <a:pt x="29746" y="15755"/>
                    <a:pt x="31145" y="15755"/>
                    <a:pt x="31145" y="15755"/>
                  </a:cubicBezTo>
                  <a:cubicBezTo>
                    <a:pt x="38141" y="17154"/>
                    <a:pt x="43738" y="24149"/>
                    <a:pt x="42338" y="31145"/>
                  </a:cubicBezTo>
                  <a:cubicBezTo>
                    <a:pt x="42338" y="38141"/>
                    <a:pt x="35343" y="42338"/>
                    <a:pt x="26948" y="42338"/>
                  </a:cubicBezTo>
                  <a:close/>
                </a:path>
              </a:pathLst>
            </a:custGeom>
            <a:grpFill/>
            <a:ln w="13947" cap="flat">
              <a:noFill/>
              <a:prstDash val="solid"/>
              <a:miter/>
            </a:ln>
          </p:spPr>
          <p:txBody>
            <a:bodyPr rtlCol="0" anchor="ctr"/>
            <a:lstStyle/>
            <a:p>
              <a:endParaRPr lang="en-US"/>
            </a:p>
          </p:txBody>
        </p:sp>
        <p:sp>
          <p:nvSpPr>
            <p:cNvPr id="5030" name="Freeform: Shape 5029">
              <a:extLst>
                <a:ext uri="{FF2B5EF4-FFF2-40B4-BE49-F238E27FC236}">
                  <a16:creationId xmlns:a16="http://schemas.microsoft.com/office/drawing/2014/main" id="{6B683A2A-2DDA-405E-A107-35737243F30A}"/>
                </a:ext>
              </a:extLst>
            </p:cNvPr>
            <p:cNvSpPr/>
            <p:nvPr/>
          </p:nvSpPr>
          <p:spPr>
            <a:xfrm>
              <a:off x="6061639" y="3259278"/>
              <a:ext cx="153906" cy="153906"/>
            </a:xfrm>
            <a:custGeom>
              <a:avLst/>
              <a:gdLst>
                <a:gd name="connsiteX0" fmla="*/ 153906 w 153906"/>
                <a:gd name="connsiteY0" fmla="*/ 74155 h 153906"/>
                <a:gd name="connsiteX1" fmla="*/ 138515 w 153906"/>
                <a:gd name="connsiteY1" fmla="*/ 65760 h 153906"/>
                <a:gd name="connsiteX2" fmla="*/ 137116 w 153906"/>
                <a:gd name="connsiteY2" fmla="*/ 57365 h 153906"/>
                <a:gd name="connsiteX3" fmla="*/ 145511 w 153906"/>
                <a:gd name="connsiteY3" fmla="*/ 40575 h 153906"/>
                <a:gd name="connsiteX4" fmla="*/ 145511 w 153906"/>
                <a:gd name="connsiteY4" fmla="*/ 33579 h 153906"/>
                <a:gd name="connsiteX5" fmla="*/ 138515 w 153906"/>
                <a:gd name="connsiteY5" fmla="*/ 25185 h 153906"/>
                <a:gd name="connsiteX6" fmla="*/ 131520 w 153906"/>
                <a:gd name="connsiteY6" fmla="*/ 22386 h 153906"/>
                <a:gd name="connsiteX7" fmla="*/ 113331 w 153906"/>
                <a:gd name="connsiteY7" fmla="*/ 26584 h 153906"/>
                <a:gd name="connsiteX8" fmla="*/ 104936 w 153906"/>
                <a:gd name="connsiteY8" fmla="*/ 23785 h 153906"/>
                <a:gd name="connsiteX9" fmla="*/ 102138 w 153906"/>
                <a:gd name="connsiteY9" fmla="*/ 6996 h 153906"/>
                <a:gd name="connsiteX10" fmla="*/ 96541 w 153906"/>
                <a:gd name="connsiteY10" fmla="*/ 1399 h 153906"/>
                <a:gd name="connsiteX11" fmla="*/ 82550 w 153906"/>
                <a:gd name="connsiteY11" fmla="*/ 0 h 153906"/>
                <a:gd name="connsiteX12" fmla="*/ 75554 w 153906"/>
                <a:gd name="connsiteY12" fmla="*/ 4197 h 153906"/>
                <a:gd name="connsiteX13" fmla="*/ 67159 w 153906"/>
                <a:gd name="connsiteY13" fmla="*/ 19588 h 153906"/>
                <a:gd name="connsiteX14" fmla="*/ 58764 w 153906"/>
                <a:gd name="connsiteY14" fmla="*/ 20987 h 153906"/>
                <a:gd name="connsiteX15" fmla="*/ 41974 w 153906"/>
                <a:gd name="connsiteY15" fmla="*/ 12592 h 153906"/>
                <a:gd name="connsiteX16" fmla="*/ 34979 w 153906"/>
                <a:gd name="connsiteY16" fmla="*/ 12592 h 153906"/>
                <a:gd name="connsiteX17" fmla="*/ 26584 w 153906"/>
                <a:gd name="connsiteY17" fmla="*/ 19588 h 153906"/>
                <a:gd name="connsiteX18" fmla="*/ 23785 w 153906"/>
                <a:gd name="connsiteY18" fmla="*/ 26584 h 153906"/>
                <a:gd name="connsiteX19" fmla="*/ 27983 w 153906"/>
                <a:gd name="connsiteY19" fmla="*/ 44773 h 153906"/>
                <a:gd name="connsiteX20" fmla="*/ 23785 w 153906"/>
                <a:gd name="connsiteY20" fmla="*/ 53168 h 153906"/>
                <a:gd name="connsiteX21" fmla="*/ 6996 w 153906"/>
                <a:gd name="connsiteY21" fmla="*/ 55966 h 153906"/>
                <a:gd name="connsiteX22" fmla="*/ 1399 w 153906"/>
                <a:gd name="connsiteY22" fmla="*/ 61562 h 153906"/>
                <a:gd name="connsiteX23" fmla="*/ 0 w 153906"/>
                <a:gd name="connsiteY23" fmla="*/ 75554 h 153906"/>
                <a:gd name="connsiteX24" fmla="*/ 4197 w 153906"/>
                <a:gd name="connsiteY24" fmla="*/ 82550 h 153906"/>
                <a:gd name="connsiteX25" fmla="*/ 19588 w 153906"/>
                <a:gd name="connsiteY25" fmla="*/ 90944 h 153906"/>
                <a:gd name="connsiteX26" fmla="*/ 20987 w 153906"/>
                <a:gd name="connsiteY26" fmla="*/ 99339 h 153906"/>
                <a:gd name="connsiteX27" fmla="*/ 12592 w 153906"/>
                <a:gd name="connsiteY27" fmla="*/ 116129 h 153906"/>
                <a:gd name="connsiteX28" fmla="*/ 12592 w 153906"/>
                <a:gd name="connsiteY28" fmla="*/ 123125 h 153906"/>
                <a:gd name="connsiteX29" fmla="*/ 19588 w 153906"/>
                <a:gd name="connsiteY29" fmla="*/ 131520 h 153906"/>
                <a:gd name="connsiteX30" fmla="*/ 26584 w 153906"/>
                <a:gd name="connsiteY30" fmla="*/ 134318 h 153906"/>
                <a:gd name="connsiteX31" fmla="*/ 44773 w 153906"/>
                <a:gd name="connsiteY31" fmla="*/ 130121 h 153906"/>
                <a:gd name="connsiteX32" fmla="*/ 53168 w 153906"/>
                <a:gd name="connsiteY32" fmla="*/ 134318 h 153906"/>
                <a:gd name="connsiteX33" fmla="*/ 55966 w 153906"/>
                <a:gd name="connsiteY33" fmla="*/ 151108 h 153906"/>
                <a:gd name="connsiteX34" fmla="*/ 61562 w 153906"/>
                <a:gd name="connsiteY34" fmla="*/ 156704 h 153906"/>
                <a:gd name="connsiteX35" fmla="*/ 75554 w 153906"/>
                <a:gd name="connsiteY35" fmla="*/ 158103 h 153906"/>
                <a:gd name="connsiteX36" fmla="*/ 76953 w 153906"/>
                <a:gd name="connsiteY36" fmla="*/ 158103 h 153906"/>
                <a:gd name="connsiteX37" fmla="*/ 82550 w 153906"/>
                <a:gd name="connsiteY37" fmla="*/ 153906 h 153906"/>
                <a:gd name="connsiteX38" fmla="*/ 90945 w 153906"/>
                <a:gd name="connsiteY38" fmla="*/ 138515 h 153906"/>
                <a:gd name="connsiteX39" fmla="*/ 99339 w 153906"/>
                <a:gd name="connsiteY39" fmla="*/ 137116 h 153906"/>
                <a:gd name="connsiteX40" fmla="*/ 116129 w 153906"/>
                <a:gd name="connsiteY40" fmla="*/ 145511 h 153906"/>
                <a:gd name="connsiteX41" fmla="*/ 123125 w 153906"/>
                <a:gd name="connsiteY41" fmla="*/ 145511 h 153906"/>
                <a:gd name="connsiteX42" fmla="*/ 131520 w 153906"/>
                <a:gd name="connsiteY42" fmla="*/ 138515 h 153906"/>
                <a:gd name="connsiteX43" fmla="*/ 134318 w 153906"/>
                <a:gd name="connsiteY43" fmla="*/ 131520 h 153906"/>
                <a:gd name="connsiteX44" fmla="*/ 128721 w 153906"/>
                <a:gd name="connsiteY44" fmla="*/ 113331 h 153906"/>
                <a:gd name="connsiteX45" fmla="*/ 132919 w 153906"/>
                <a:gd name="connsiteY45" fmla="*/ 104936 h 153906"/>
                <a:gd name="connsiteX46" fmla="*/ 149709 w 153906"/>
                <a:gd name="connsiteY46" fmla="*/ 102138 h 153906"/>
                <a:gd name="connsiteX47" fmla="*/ 155305 w 153906"/>
                <a:gd name="connsiteY47" fmla="*/ 96541 h 153906"/>
                <a:gd name="connsiteX48" fmla="*/ 156704 w 153906"/>
                <a:gd name="connsiteY48" fmla="*/ 82550 h 153906"/>
                <a:gd name="connsiteX49" fmla="*/ 153906 w 153906"/>
                <a:gd name="connsiteY49" fmla="*/ 74155 h 153906"/>
                <a:gd name="connsiteX50" fmla="*/ 142713 w 153906"/>
                <a:gd name="connsiteY50" fmla="*/ 89545 h 153906"/>
                <a:gd name="connsiteX51" fmla="*/ 127322 w 153906"/>
                <a:gd name="connsiteY51" fmla="*/ 92344 h 153906"/>
                <a:gd name="connsiteX52" fmla="*/ 121726 w 153906"/>
                <a:gd name="connsiteY52" fmla="*/ 96541 h 153906"/>
                <a:gd name="connsiteX53" fmla="*/ 114730 w 153906"/>
                <a:gd name="connsiteY53" fmla="*/ 110532 h 153906"/>
                <a:gd name="connsiteX54" fmla="*/ 114730 w 153906"/>
                <a:gd name="connsiteY54" fmla="*/ 114730 h 153906"/>
                <a:gd name="connsiteX55" fmla="*/ 118927 w 153906"/>
                <a:gd name="connsiteY55" fmla="*/ 131520 h 153906"/>
                <a:gd name="connsiteX56" fmla="*/ 117528 w 153906"/>
                <a:gd name="connsiteY56" fmla="*/ 132919 h 153906"/>
                <a:gd name="connsiteX57" fmla="*/ 102138 w 153906"/>
                <a:gd name="connsiteY57" fmla="*/ 124524 h 153906"/>
                <a:gd name="connsiteX58" fmla="*/ 97940 w 153906"/>
                <a:gd name="connsiteY58" fmla="*/ 123125 h 153906"/>
                <a:gd name="connsiteX59" fmla="*/ 83949 w 153906"/>
                <a:gd name="connsiteY59" fmla="*/ 125923 h 153906"/>
                <a:gd name="connsiteX60" fmla="*/ 78352 w 153906"/>
                <a:gd name="connsiteY60" fmla="*/ 130121 h 153906"/>
                <a:gd name="connsiteX61" fmla="*/ 71356 w 153906"/>
                <a:gd name="connsiteY61" fmla="*/ 144112 h 153906"/>
                <a:gd name="connsiteX62" fmla="*/ 67159 w 153906"/>
                <a:gd name="connsiteY62" fmla="*/ 144112 h 153906"/>
                <a:gd name="connsiteX63" fmla="*/ 64361 w 153906"/>
                <a:gd name="connsiteY63" fmla="*/ 127322 h 153906"/>
                <a:gd name="connsiteX64" fmla="*/ 60163 w 153906"/>
                <a:gd name="connsiteY64" fmla="*/ 121726 h 153906"/>
                <a:gd name="connsiteX65" fmla="*/ 46172 w 153906"/>
                <a:gd name="connsiteY65" fmla="*/ 114730 h 153906"/>
                <a:gd name="connsiteX66" fmla="*/ 41974 w 153906"/>
                <a:gd name="connsiteY66" fmla="*/ 114730 h 153906"/>
                <a:gd name="connsiteX67" fmla="*/ 25185 w 153906"/>
                <a:gd name="connsiteY67" fmla="*/ 118927 h 153906"/>
                <a:gd name="connsiteX68" fmla="*/ 23785 w 153906"/>
                <a:gd name="connsiteY68" fmla="*/ 117528 h 153906"/>
                <a:gd name="connsiteX69" fmla="*/ 32180 w 153906"/>
                <a:gd name="connsiteY69" fmla="*/ 102138 h 153906"/>
                <a:gd name="connsiteX70" fmla="*/ 33580 w 153906"/>
                <a:gd name="connsiteY70" fmla="*/ 97940 h 153906"/>
                <a:gd name="connsiteX71" fmla="*/ 30781 w 153906"/>
                <a:gd name="connsiteY71" fmla="*/ 83949 h 153906"/>
                <a:gd name="connsiteX72" fmla="*/ 26584 w 153906"/>
                <a:gd name="connsiteY72" fmla="*/ 78352 h 153906"/>
                <a:gd name="connsiteX73" fmla="*/ 12592 w 153906"/>
                <a:gd name="connsiteY73" fmla="*/ 71356 h 153906"/>
                <a:gd name="connsiteX74" fmla="*/ 12592 w 153906"/>
                <a:gd name="connsiteY74" fmla="*/ 67159 h 153906"/>
                <a:gd name="connsiteX75" fmla="*/ 27983 w 153906"/>
                <a:gd name="connsiteY75" fmla="*/ 64361 h 153906"/>
                <a:gd name="connsiteX76" fmla="*/ 33580 w 153906"/>
                <a:gd name="connsiteY76" fmla="*/ 60163 h 153906"/>
                <a:gd name="connsiteX77" fmla="*/ 40575 w 153906"/>
                <a:gd name="connsiteY77" fmla="*/ 46172 h 153906"/>
                <a:gd name="connsiteX78" fmla="*/ 40575 w 153906"/>
                <a:gd name="connsiteY78" fmla="*/ 41974 h 153906"/>
                <a:gd name="connsiteX79" fmla="*/ 36378 w 153906"/>
                <a:gd name="connsiteY79" fmla="*/ 25185 h 153906"/>
                <a:gd name="connsiteX80" fmla="*/ 37777 w 153906"/>
                <a:gd name="connsiteY80" fmla="*/ 23785 h 153906"/>
                <a:gd name="connsiteX81" fmla="*/ 53168 w 153906"/>
                <a:gd name="connsiteY81" fmla="*/ 32180 h 153906"/>
                <a:gd name="connsiteX82" fmla="*/ 57365 w 153906"/>
                <a:gd name="connsiteY82" fmla="*/ 33579 h 153906"/>
                <a:gd name="connsiteX83" fmla="*/ 71356 w 153906"/>
                <a:gd name="connsiteY83" fmla="*/ 30781 h 153906"/>
                <a:gd name="connsiteX84" fmla="*/ 76953 w 153906"/>
                <a:gd name="connsiteY84" fmla="*/ 26584 h 153906"/>
                <a:gd name="connsiteX85" fmla="*/ 83949 w 153906"/>
                <a:gd name="connsiteY85" fmla="*/ 12592 h 153906"/>
                <a:gd name="connsiteX86" fmla="*/ 88146 w 153906"/>
                <a:gd name="connsiteY86" fmla="*/ 12592 h 153906"/>
                <a:gd name="connsiteX87" fmla="*/ 90945 w 153906"/>
                <a:gd name="connsiteY87" fmla="*/ 27983 h 153906"/>
                <a:gd name="connsiteX88" fmla="*/ 95142 w 153906"/>
                <a:gd name="connsiteY88" fmla="*/ 33579 h 153906"/>
                <a:gd name="connsiteX89" fmla="*/ 109133 w 153906"/>
                <a:gd name="connsiteY89" fmla="*/ 40575 h 153906"/>
                <a:gd name="connsiteX90" fmla="*/ 113331 w 153906"/>
                <a:gd name="connsiteY90" fmla="*/ 40575 h 153906"/>
                <a:gd name="connsiteX91" fmla="*/ 130121 w 153906"/>
                <a:gd name="connsiteY91" fmla="*/ 36378 h 153906"/>
                <a:gd name="connsiteX92" fmla="*/ 131520 w 153906"/>
                <a:gd name="connsiteY92" fmla="*/ 37777 h 153906"/>
                <a:gd name="connsiteX93" fmla="*/ 123125 w 153906"/>
                <a:gd name="connsiteY93" fmla="*/ 53168 h 153906"/>
                <a:gd name="connsiteX94" fmla="*/ 121726 w 153906"/>
                <a:gd name="connsiteY94" fmla="*/ 57365 h 153906"/>
                <a:gd name="connsiteX95" fmla="*/ 124524 w 153906"/>
                <a:gd name="connsiteY95" fmla="*/ 71356 h 153906"/>
                <a:gd name="connsiteX96" fmla="*/ 128721 w 153906"/>
                <a:gd name="connsiteY96" fmla="*/ 76953 h 153906"/>
                <a:gd name="connsiteX97" fmla="*/ 142713 w 153906"/>
                <a:gd name="connsiteY97" fmla="*/ 83949 h 153906"/>
                <a:gd name="connsiteX98" fmla="*/ 142713 w 153906"/>
                <a:gd name="connsiteY98" fmla="*/ 89545 h 15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53906" h="153906">
                  <a:moveTo>
                    <a:pt x="153906" y="74155"/>
                  </a:moveTo>
                  <a:lnTo>
                    <a:pt x="138515" y="65760"/>
                  </a:lnTo>
                  <a:lnTo>
                    <a:pt x="137116" y="57365"/>
                  </a:lnTo>
                  <a:lnTo>
                    <a:pt x="145511" y="40575"/>
                  </a:lnTo>
                  <a:cubicBezTo>
                    <a:pt x="146910" y="37777"/>
                    <a:pt x="146910" y="34979"/>
                    <a:pt x="145511" y="33579"/>
                  </a:cubicBezTo>
                  <a:lnTo>
                    <a:pt x="138515" y="25185"/>
                  </a:lnTo>
                  <a:cubicBezTo>
                    <a:pt x="137116" y="22386"/>
                    <a:pt x="134318" y="22386"/>
                    <a:pt x="131520" y="22386"/>
                  </a:cubicBezTo>
                  <a:lnTo>
                    <a:pt x="113331" y="26584"/>
                  </a:lnTo>
                  <a:lnTo>
                    <a:pt x="104936" y="23785"/>
                  </a:lnTo>
                  <a:lnTo>
                    <a:pt x="102138" y="6996"/>
                  </a:lnTo>
                  <a:cubicBezTo>
                    <a:pt x="102138" y="4197"/>
                    <a:pt x="99339" y="1399"/>
                    <a:pt x="96541" y="1399"/>
                  </a:cubicBezTo>
                  <a:lnTo>
                    <a:pt x="82550" y="0"/>
                  </a:lnTo>
                  <a:cubicBezTo>
                    <a:pt x="79751" y="0"/>
                    <a:pt x="76953" y="1399"/>
                    <a:pt x="75554" y="4197"/>
                  </a:cubicBezTo>
                  <a:lnTo>
                    <a:pt x="67159" y="19588"/>
                  </a:lnTo>
                  <a:lnTo>
                    <a:pt x="58764" y="20987"/>
                  </a:lnTo>
                  <a:lnTo>
                    <a:pt x="41974" y="12592"/>
                  </a:lnTo>
                  <a:cubicBezTo>
                    <a:pt x="39176" y="11193"/>
                    <a:pt x="36378" y="11193"/>
                    <a:pt x="34979" y="12592"/>
                  </a:cubicBezTo>
                  <a:lnTo>
                    <a:pt x="26584" y="19588"/>
                  </a:lnTo>
                  <a:cubicBezTo>
                    <a:pt x="23785" y="20987"/>
                    <a:pt x="23785" y="23785"/>
                    <a:pt x="23785" y="26584"/>
                  </a:cubicBezTo>
                  <a:lnTo>
                    <a:pt x="27983" y="44773"/>
                  </a:lnTo>
                  <a:lnTo>
                    <a:pt x="23785" y="53168"/>
                  </a:lnTo>
                  <a:lnTo>
                    <a:pt x="6996" y="55966"/>
                  </a:lnTo>
                  <a:cubicBezTo>
                    <a:pt x="4197" y="55966"/>
                    <a:pt x="1399" y="58764"/>
                    <a:pt x="1399" y="61562"/>
                  </a:cubicBezTo>
                  <a:lnTo>
                    <a:pt x="0" y="75554"/>
                  </a:lnTo>
                  <a:cubicBezTo>
                    <a:pt x="0" y="78352"/>
                    <a:pt x="1399" y="81150"/>
                    <a:pt x="4197" y="82550"/>
                  </a:cubicBezTo>
                  <a:lnTo>
                    <a:pt x="19588" y="90944"/>
                  </a:lnTo>
                  <a:lnTo>
                    <a:pt x="20987" y="99339"/>
                  </a:lnTo>
                  <a:lnTo>
                    <a:pt x="12592" y="116129"/>
                  </a:lnTo>
                  <a:cubicBezTo>
                    <a:pt x="11193" y="118927"/>
                    <a:pt x="11193" y="121726"/>
                    <a:pt x="12592" y="123125"/>
                  </a:cubicBezTo>
                  <a:lnTo>
                    <a:pt x="19588" y="131520"/>
                  </a:lnTo>
                  <a:cubicBezTo>
                    <a:pt x="20987" y="134318"/>
                    <a:pt x="23785" y="134318"/>
                    <a:pt x="26584" y="134318"/>
                  </a:cubicBezTo>
                  <a:lnTo>
                    <a:pt x="44773" y="130121"/>
                  </a:lnTo>
                  <a:lnTo>
                    <a:pt x="53168" y="134318"/>
                  </a:lnTo>
                  <a:lnTo>
                    <a:pt x="55966" y="151108"/>
                  </a:lnTo>
                  <a:cubicBezTo>
                    <a:pt x="55966" y="153906"/>
                    <a:pt x="58764" y="156704"/>
                    <a:pt x="61562" y="156704"/>
                  </a:cubicBezTo>
                  <a:lnTo>
                    <a:pt x="75554" y="158103"/>
                  </a:lnTo>
                  <a:cubicBezTo>
                    <a:pt x="75554" y="158103"/>
                    <a:pt x="75554" y="158103"/>
                    <a:pt x="76953" y="158103"/>
                  </a:cubicBezTo>
                  <a:cubicBezTo>
                    <a:pt x="79751" y="158103"/>
                    <a:pt x="82550" y="156704"/>
                    <a:pt x="82550" y="153906"/>
                  </a:cubicBezTo>
                  <a:lnTo>
                    <a:pt x="90945" y="138515"/>
                  </a:lnTo>
                  <a:lnTo>
                    <a:pt x="99339" y="137116"/>
                  </a:lnTo>
                  <a:lnTo>
                    <a:pt x="116129" y="145511"/>
                  </a:lnTo>
                  <a:cubicBezTo>
                    <a:pt x="118927" y="146910"/>
                    <a:pt x="121726" y="146910"/>
                    <a:pt x="123125" y="145511"/>
                  </a:cubicBezTo>
                  <a:lnTo>
                    <a:pt x="131520" y="138515"/>
                  </a:lnTo>
                  <a:cubicBezTo>
                    <a:pt x="134318" y="137116"/>
                    <a:pt x="134318" y="134318"/>
                    <a:pt x="134318" y="131520"/>
                  </a:cubicBezTo>
                  <a:lnTo>
                    <a:pt x="128721" y="113331"/>
                  </a:lnTo>
                  <a:lnTo>
                    <a:pt x="132919" y="104936"/>
                  </a:lnTo>
                  <a:lnTo>
                    <a:pt x="149709" y="102138"/>
                  </a:lnTo>
                  <a:cubicBezTo>
                    <a:pt x="152507" y="102138"/>
                    <a:pt x="155305" y="99339"/>
                    <a:pt x="155305" y="96541"/>
                  </a:cubicBezTo>
                  <a:lnTo>
                    <a:pt x="156704" y="82550"/>
                  </a:lnTo>
                  <a:cubicBezTo>
                    <a:pt x="158104" y="78352"/>
                    <a:pt x="156704" y="75554"/>
                    <a:pt x="153906" y="74155"/>
                  </a:cubicBezTo>
                  <a:close/>
                  <a:moveTo>
                    <a:pt x="142713" y="89545"/>
                  </a:moveTo>
                  <a:lnTo>
                    <a:pt x="127322" y="92344"/>
                  </a:lnTo>
                  <a:cubicBezTo>
                    <a:pt x="124524" y="92344"/>
                    <a:pt x="123125" y="93743"/>
                    <a:pt x="121726" y="96541"/>
                  </a:cubicBezTo>
                  <a:lnTo>
                    <a:pt x="114730" y="110532"/>
                  </a:lnTo>
                  <a:cubicBezTo>
                    <a:pt x="114730" y="111932"/>
                    <a:pt x="113331" y="113331"/>
                    <a:pt x="114730" y="114730"/>
                  </a:cubicBezTo>
                  <a:lnTo>
                    <a:pt x="118927" y="131520"/>
                  </a:lnTo>
                  <a:lnTo>
                    <a:pt x="117528" y="132919"/>
                  </a:lnTo>
                  <a:lnTo>
                    <a:pt x="102138" y="124524"/>
                  </a:lnTo>
                  <a:cubicBezTo>
                    <a:pt x="100739" y="123125"/>
                    <a:pt x="99339" y="123125"/>
                    <a:pt x="97940" y="123125"/>
                  </a:cubicBezTo>
                  <a:lnTo>
                    <a:pt x="83949" y="125923"/>
                  </a:lnTo>
                  <a:cubicBezTo>
                    <a:pt x="81150" y="125923"/>
                    <a:pt x="79751" y="127322"/>
                    <a:pt x="78352" y="130121"/>
                  </a:cubicBezTo>
                  <a:lnTo>
                    <a:pt x="71356" y="144112"/>
                  </a:lnTo>
                  <a:lnTo>
                    <a:pt x="67159" y="144112"/>
                  </a:lnTo>
                  <a:lnTo>
                    <a:pt x="64361" y="127322"/>
                  </a:lnTo>
                  <a:cubicBezTo>
                    <a:pt x="64361" y="124524"/>
                    <a:pt x="62962" y="123125"/>
                    <a:pt x="60163" y="121726"/>
                  </a:cubicBezTo>
                  <a:lnTo>
                    <a:pt x="46172" y="114730"/>
                  </a:lnTo>
                  <a:cubicBezTo>
                    <a:pt x="44773" y="114730"/>
                    <a:pt x="43374" y="113331"/>
                    <a:pt x="41974" y="114730"/>
                  </a:cubicBezTo>
                  <a:lnTo>
                    <a:pt x="25185" y="118927"/>
                  </a:lnTo>
                  <a:lnTo>
                    <a:pt x="23785" y="117528"/>
                  </a:lnTo>
                  <a:lnTo>
                    <a:pt x="32180" y="102138"/>
                  </a:lnTo>
                  <a:cubicBezTo>
                    <a:pt x="33580" y="100738"/>
                    <a:pt x="33580" y="99339"/>
                    <a:pt x="33580" y="97940"/>
                  </a:cubicBezTo>
                  <a:lnTo>
                    <a:pt x="30781" y="83949"/>
                  </a:lnTo>
                  <a:cubicBezTo>
                    <a:pt x="30781" y="81150"/>
                    <a:pt x="29382" y="79751"/>
                    <a:pt x="26584" y="78352"/>
                  </a:cubicBezTo>
                  <a:lnTo>
                    <a:pt x="12592" y="71356"/>
                  </a:lnTo>
                  <a:lnTo>
                    <a:pt x="12592" y="67159"/>
                  </a:lnTo>
                  <a:lnTo>
                    <a:pt x="27983" y="64361"/>
                  </a:lnTo>
                  <a:cubicBezTo>
                    <a:pt x="30781" y="64361"/>
                    <a:pt x="32180" y="62962"/>
                    <a:pt x="33580" y="60163"/>
                  </a:cubicBezTo>
                  <a:lnTo>
                    <a:pt x="40575" y="46172"/>
                  </a:lnTo>
                  <a:cubicBezTo>
                    <a:pt x="40575" y="44773"/>
                    <a:pt x="41974" y="43374"/>
                    <a:pt x="40575" y="41974"/>
                  </a:cubicBezTo>
                  <a:lnTo>
                    <a:pt x="36378" y="25185"/>
                  </a:lnTo>
                  <a:lnTo>
                    <a:pt x="37777" y="23785"/>
                  </a:lnTo>
                  <a:lnTo>
                    <a:pt x="53168" y="32180"/>
                  </a:lnTo>
                  <a:cubicBezTo>
                    <a:pt x="54567" y="33579"/>
                    <a:pt x="55966" y="33579"/>
                    <a:pt x="57365" y="33579"/>
                  </a:cubicBezTo>
                  <a:lnTo>
                    <a:pt x="71356" y="30781"/>
                  </a:lnTo>
                  <a:cubicBezTo>
                    <a:pt x="74155" y="30781"/>
                    <a:pt x="75554" y="29382"/>
                    <a:pt x="76953" y="26584"/>
                  </a:cubicBezTo>
                  <a:lnTo>
                    <a:pt x="83949" y="12592"/>
                  </a:lnTo>
                  <a:lnTo>
                    <a:pt x="88146" y="12592"/>
                  </a:lnTo>
                  <a:lnTo>
                    <a:pt x="90945" y="27983"/>
                  </a:lnTo>
                  <a:cubicBezTo>
                    <a:pt x="90945" y="30781"/>
                    <a:pt x="92344" y="32180"/>
                    <a:pt x="95142" y="33579"/>
                  </a:cubicBezTo>
                  <a:lnTo>
                    <a:pt x="109133" y="40575"/>
                  </a:lnTo>
                  <a:cubicBezTo>
                    <a:pt x="110533" y="40575"/>
                    <a:pt x="111932" y="41974"/>
                    <a:pt x="113331" y="40575"/>
                  </a:cubicBezTo>
                  <a:lnTo>
                    <a:pt x="130121" y="36378"/>
                  </a:lnTo>
                  <a:lnTo>
                    <a:pt x="131520" y="37777"/>
                  </a:lnTo>
                  <a:lnTo>
                    <a:pt x="123125" y="53168"/>
                  </a:lnTo>
                  <a:cubicBezTo>
                    <a:pt x="121726" y="54567"/>
                    <a:pt x="121726" y="55966"/>
                    <a:pt x="121726" y="57365"/>
                  </a:cubicBezTo>
                  <a:lnTo>
                    <a:pt x="124524" y="71356"/>
                  </a:lnTo>
                  <a:cubicBezTo>
                    <a:pt x="124524" y="74155"/>
                    <a:pt x="125923" y="75554"/>
                    <a:pt x="128721" y="76953"/>
                  </a:cubicBezTo>
                  <a:lnTo>
                    <a:pt x="142713" y="83949"/>
                  </a:lnTo>
                  <a:lnTo>
                    <a:pt x="142713" y="89545"/>
                  </a:lnTo>
                  <a:close/>
                </a:path>
              </a:pathLst>
            </a:custGeom>
            <a:grpFill/>
            <a:ln w="13947" cap="flat">
              <a:noFill/>
              <a:prstDash val="solid"/>
              <a:miter/>
            </a:ln>
          </p:spPr>
          <p:txBody>
            <a:bodyPr rtlCol="0" anchor="ctr"/>
            <a:lstStyle/>
            <a:p>
              <a:endParaRPr lang="en-US"/>
            </a:p>
          </p:txBody>
        </p:sp>
      </p:grpSp>
      <p:grpSp>
        <p:nvGrpSpPr>
          <p:cNvPr id="5031" name="Graphic 5">
            <a:extLst>
              <a:ext uri="{FF2B5EF4-FFF2-40B4-BE49-F238E27FC236}">
                <a16:creationId xmlns:a16="http://schemas.microsoft.com/office/drawing/2014/main" id="{464DC432-9323-4DE4-B170-F6CD9786C82D}"/>
              </a:ext>
              <a:ext uri="{C183D7F6-B498-43B3-948B-1728B52AA6E4}">
                <adec:decorative xmlns:adec="http://schemas.microsoft.com/office/drawing/2017/decorative" val="1"/>
              </a:ext>
            </a:extLst>
          </p:cNvPr>
          <p:cNvGrpSpPr>
            <a:grpSpLocks noChangeAspect="1"/>
          </p:cNvGrpSpPr>
          <p:nvPr/>
        </p:nvGrpSpPr>
        <p:grpSpPr>
          <a:xfrm>
            <a:off x="3203050" y="2079318"/>
            <a:ext cx="121580" cy="143290"/>
            <a:chOff x="5899501" y="3152586"/>
            <a:chExt cx="392998" cy="463176"/>
          </a:xfrm>
          <a:solidFill>
            <a:schemeClr val="tx1"/>
          </a:solidFill>
        </p:grpSpPr>
        <p:sp>
          <p:nvSpPr>
            <p:cNvPr id="5032" name="Freeform: Shape 5031">
              <a:extLst>
                <a:ext uri="{FF2B5EF4-FFF2-40B4-BE49-F238E27FC236}">
                  <a16:creationId xmlns:a16="http://schemas.microsoft.com/office/drawing/2014/main" id="{5DA6E879-95BD-4F09-A24E-611D9869459C}"/>
                </a:ext>
              </a:extLst>
            </p:cNvPr>
            <p:cNvSpPr/>
            <p:nvPr/>
          </p:nvSpPr>
          <p:spPr>
            <a:xfrm>
              <a:off x="5899501" y="3152586"/>
              <a:ext cx="392998" cy="449140"/>
            </a:xfrm>
            <a:custGeom>
              <a:avLst/>
              <a:gdLst>
                <a:gd name="connsiteX0" fmla="*/ 364927 w 392998"/>
                <a:gd name="connsiteY0" fmla="*/ 21053 h 449140"/>
                <a:gd name="connsiteX1" fmla="*/ 266677 w 392998"/>
                <a:gd name="connsiteY1" fmla="*/ 21053 h 449140"/>
                <a:gd name="connsiteX2" fmla="*/ 266677 w 392998"/>
                <a:gd name="connsiteY2" fmla="*/ 7018 h 449140"/>
                <a:gd name="connsiteX3" fmla="*/ 259659 w 392998"/>
                <a:gd name="connsiteY3" fmla="*/ 0 h 449140"/>
                <a:gd name="connsiteX4" fmla="*/ 133339 w 392998"/>
                <a:gd name="connsiteY4" fmla="*/ 0 h 449140"/>
                <a:gd name="connsiteX5" fmla="*/ 126321 w 392998"/>
                <a:gd name="connsiteY5" fmla="*/ 7018 h 449140"/>
                <a:gd name="connsiteX6" fmla="*/ 126321 w 392998"/>
                <a:gd name="connsiteY6" fmla="*/ 21053 h 449140"/>
                <a:gd name="connsiteX7" fmla="*/ 28071 w 392998"/>
                <a:gd name="connsiteY7" fmla="*/ 21053 h 449140"/>
                <a:gd name="connsiteX8" fmla="*/ 0 w 392998"/>
                <a:gd name="connsiteY8" fmla="*/ 49125 h 449140"/>
                <a:gd name="connsiteX9" fmla="*/ 0 w 392998"/>
                <a:gd name="connsiteY9" fmla="*/ 428087 h 449140"/>
                <a:gd name="connsiteX10" fmla="*/ 28071 w 392998"/>
                <a:gd name="connsiteY10" fmla="*/ 456158 h 449140"/>
                <a:gd name="connsiteX11" fmla="*/ 364927 w 392998"/>
                <a:gd name="connsiteY11" fmla="*/ 456158 h 449140"/>
                <a:gd name="connsiteX12" fmla="*/ 392998 w 392998"/>
                <a:gd name="connsiteY12" fmla="*/ 428087 h 449140"/>
                <a:gd name="connsiteX13" fmla="*/ 392998 w 392998"/>
                <a:gd name="connsiteY13" fmla="*/ 49125 h 449140"/>
                <a:gd name="connsiteX14" fmla="*/ 364927 w 392998"/>
                <a:gd name="connsiteY14" fmla="*/ 21053 h 449140"/>
                <a:gd name="connsiteX15" fmla="*/ 140356 w 392998"/>
                <a:gd name="connsiteY15" fmla="*/ 14036 h 449140"/>
                <a:gd name="connsiteX16" fmla="*/ 252642 w 392998"/>
                <a:gd name="connsiteY16" fmla="*/ 14036 h 449140"/>
                <a:gd name="connsiteX17" fmla="*/ 252642 w 392998"/>
                <a:gd name="connsiteY17" fmla="*/ 28071 h 449140"/>
                <a:gd name="connsiteX18" fmla="*/ 252642 w 392998"/>
                <a:gd name="connsiteY18" fmla="*/ 28071 h 449140"/>
                <a:gd name="connsiteX19" fmla="*/ 252642 w 392998"/>
                <a:gd name="connsiteY19" fmla="*/ 28071 h 449140"/>
                <a:gd name="connsiteX20" fmla="*/ 252642 w 392998"/>
                <a:gd name="connsiteY20" fmla="*/ 42107 h 449140"/>
                <a:gd name="connsiteX21" fmla="*/ 140356 w 392998"/>
                <a:gd name="connsiteY21" fmla="*/ 42107 h 449140"/>
                <a:gd name="connsiteX22" fmla="*/ 140356 w 392998"/>
                <a:gd name="connsiteY22" fmla="*/ 14036 h 449140"/>
                <a:gd name="connsiteX23" fmla="*/ 378962 w 392998"/>
                <a:gd name="connsiteY23" fmla="*/ 428087 h 449140"/>
                <a:gd name="connsiteX24" fmla="*/ 364927 w 392998"/>
                <a:gd name="connsiteY24" fmla="*/ 442123 h 449140"/>
                <a:gd name="connsiteX25" fmla="*/ 28071 w 392998"/>
                <a:gd name="connsiteY25" fmla="*/ 442123 h 449140"/>
                <a:gd name="connsiteX26" fmla="*/ 14036 w 392998"/>
                <a:gd name="connsiteY26" fmla="*/ 428087 h 449140"/>
                <a:gd name="connsiteX27" fmla="*/ 14036 w 392998"/>
                <a:gd name="connsiteY27" fmla="*/ 49125 h 449140"/>
                <a:gd name="connsiteX28" fmla="*/ 28071 w 392998"/>
                <a:gd name="connsiteY28" fmla="*/ 35089 h 449140"/>
                <a:gd name="connsiteX29" fmla="*/ 126321 w 392998"/>
                <a:gd name="connsiteY29" fmla="*/ 35089 h 449140"/>
                <a:gd name="connsiteX30" fmla="*/ 126321 w 392998"/>
                <a:gd name="connsiteY30" fmla="*/ 49125 h 449140"/>
                <a:gd name="connsiteX31" fmla="*/ 133339 w 392998"/>
                <a:gd name="connsiteY31" fmla="*/ 56143 h 449140"/>
                <a:gd name="connsiteX32" fmla="*/ 259659 w 392998"/>
                <a:gd name="connsiteY32" fmla="*/ 56143 h 449140"/>
                <a:gd name="connsiteX33" fmla="*/ 266677 w 392998"/>
                <a:gd name="connsiteY33" fmla="*/ 49125 h 449140"/>
                <a:gd name="connsiteX34" fmla="*/ 266677 w 392998"/>
                <a:gd name="connsiteY34" fmla="*/ 35089 h 449140"/>
                <a:gd name="connsiteX35" fmla="*/ 364927 w 392998"/>
                <a:gd name="connsiteY35" fmla="*/ 35089 h 449140"/>
                <a:gd name="connsiteX36" fmla="*/ 378962 w 392998"/>
                <a:gd name="connsiteY36" fmla="*/ 49125 h 449140"/>
                <a:gd name="connsiteX37" fmla="*/ 378962 w 392998"/>
                <a:gd name="connsiteY37" fmla="*/ 428087 h 44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2998" h="449140">
                  <a:moveTo>
                    <a:pt x="364927" y="21053"/>
                  </a:moveTo>
                  <a:lnTo>
                    <a:pt x="266677" y="21053"/>
                  </a:lnTo>
                  <a:lnTo>
                    <a:pt x="266677" y="7018"/>
                  </a:lnTo>
                  <a:cubicBezTo>
                    <a:pt x="266677" y="2807"/>
                    <a:pt x="263870" y="0"/>
                    <a:pt x="259659" y="0"/>
                  </a:cubicBezTo>
                  <a:lnTo>
                    <a:pt x="133339" y="0"/>
                  </a:lnTo>
                  <a:cubicBezTo>
                    <a:pt x="129128" y="0"/>
                    <a:pt x="126321" y="2807"/>
                    <a:pt x="126321" y="7018"/>
                  </a:cubicBezTo>
                  <a:lnTo>
                    <a:pt x="126321" y="21053"/>
                  </a:lnTo>
                  <a:lnTo>
                    <a:pt x="28071" y="21053"/>
                  </a:lnTo>
                  <a:cubicBezTo>
                    <a:pt x="12632" y="21053"/>
                    <a:pt x="0" y="33686"/>
                    <a:pt x="0" y="49125"/>
                  </a:cubicBezTo>
                  <a:lnTo>
                    <a:pt x="0" y="428087"/>
                  </a:lnTo>
                  <a:cubicBezTo>
                    <a:pt x="0" y="443526"/>
                    <a:pt x="12632" y="456158"/>
                    <a:pt x="28071" y="456158"/>
                  </a:cubicBezTo>
                  <a:lnTo>
                    <a:pt x="364927" y="456158"/>
                  </a:lnTo>
                  <a:cubicBezTo>
                    <a:pt x="380366" y="456158"/>
                    <a:pt x="392998" y="443526"/>
                    <a:pt x="392998" y="428087"/>
                  </a:cubicBezTo>
                  <a:lnTo>
                    <a:pt x="392998" y="49125"/>
                  </a:lnTo>
                  <a:cubicBezTo>
                    <a:pt x="392998" y="33686"/>
                    <a:pt x="380366" y="21053"/>
                    <a:pt x="364927" y="21053"/>
                  </a:cubicBezTo>
                  <a:close/>
                  <a:moveTo>
                    <a:pt x="140356" y="14036"/>
                  </a:moveTo>
                  <a:lnTo>
                    <a:pt x="252642" y="14036"/>
                  </a:lnTo>
                  <a:lnTo>
                    <a:pt x="252642" y="28071"/>
                  </a:lnTo>
                  <a:cubicBezTo>
                    <a:pt x="252642" y="28071"/>
                    <a:pt x="252642" y="28071"/>
                    <a:pt x="252642" y="28071"/>
                  </a:cubicBezTo>
                  <a:cubicBezTo>
                    <a:pt x="252642" y="28071"/>
                    <a:pt x="252642" y="28071"/>
                    <a:pt x="252642" y="28071"/>
                  </a:cubicBezTo>
                  <a:lnTo>
                    <a:pt x="252642" y="42107"/>
                  </a:lnTo>
                  <a:lnTo>
                    <a:pt x="140356" y="42107"/>
                  </a:lnTo>
                  <a:lnTo>
                    <a:pt x="140356" y="14036"/>
                  </a:lnTo>
                  <a:close/>
                  <a:moveTo>
                    <a:pt x="378962" y="428087"/>
                  </a:moveTo>
                  <a:cubicBezTo>
                    <a:pt x="378962" y="436508"/>
                    <a:pt x="371945" y="442123"/>
                    <a:pt x="364927" y="442123"/>
                  </a:cubicBezTo>
                  <a:lnTo>
                    <a:pt x="28071" y="442123"/>
                  </a:lnTo>
                  <a:cubicBezTo>
                    <a:pt x="19650" y="442123"/>
                    <a:pt x="14036" y="435105"/>
                    <a:pt x="14036" y="428087"/>
                  </a:cubicBezTo>
                  <a:lnTo>
                    <a:pt x="14036" y="49125"/>
                  </a:lnTo>
                  <a:cubicBezTo>
                    <a:pt x="14036" y="40703"/>
                    <a:pt x="21053" y="35089"/>
                    <a:pt x="28071" y="35089"/>
                  </a:cubicBezTo>
                  <a:lnTo>
                    <a:pt x="126321" y="35089"/>
                  </a:lnTo>
                  <a:lnTo>
                    <a:pt x="126321" y="49125"/>
                  </a:lnTo>
                  <a:cubicBezTo>
                    <a:pt x="126321" y="53335"/>
                    <a:pt x="129128" y="56143"/>
                    <a:pt x="133339" y="56143"/>
                  </a:cubicBezTo>
                  <a:lnTo>
                    <a:pt x="259659" y="56143"/>
                  </a:lnTo>
                  <a:cubicBezTo>
                    <a:pt x="263870" y="56143"/>
                    <a:pt x="266677" y="53335"/>
                    <a:pt x="266677" y="49125"/>
                  </a:cubicBezTo>
                  <a:lnTo>
                    <a:pt x="266677" y="35089"/>
                  </a:lnTo>
                  <a:lnTo>
                    <a:pt x="364927" y="35089"/>
                  </a:lnTo>
                  <a:cubicBezTo>
                    <a:pt x="373348" y="35089"/>
                    <a:pt x="378962" y="42107"/>
                    <a:pt x="378962" y="49125"/>
                  </a:cubicBezTo>
                  <a:lnTo>
                    <a:pt x="378962" y="428087"/>
                  </a:lnTo>
                  <a:close/>
                </a:path>
              </a:pathLst>
            </a:custGeom>
            <a:grpFill/>
            <a:ln w="13947" cap="flat">
              <a:noFill/>
              <a:prstDash val="solid"/>
              <a:miter/>
            </a:ln>
          </p:spPr>
          <p:txBody>
            <a:bodyPr rtlCol="0" anchor="ctr"/>
            <a:lstStyle/>
            <a:p>
              <a:endParaRPr lang="en-US"/>
            </a:p>
          </p:txBody>
        </p:sp>
        <p:sp>
          <p:nvSpPr>
            <p:cNvPr id="5033" name="Freeform: Shape 5032">
              <a:extLst>
                <a:ext uri="{FF2B5EF4-FFF2-40B4-BE49-F238E27FC236}">
                  <a16:creationId xmlns:a16="http://schemas.microsoft.com/office/drawing/2014/main" id="{03E345FE-8822-493F-9E4F-EB7969A6FF60}"/>
                </a:ext>
              </a:extLst>
            </p:cNvPr>
            <p:cNvSpPr/>
            <p:nvPr/>
          </p:nvSpPr>
          <p:spPr>
            <a:xfrm>
              <a:off x="6012488" y="3330712"/>
              <a:ext cx="168428" cy="112285"/>
            </a:xfrm>
            <a:custGeom>
              <a:avLst/>
              <a:gdLst>
                <a:gd name="connsiteX0" fmla="*/ 167726 w 168427"/>
                <a:gd name="connsiteY0" fmla="*/ 1530 h 112285"/>
                <a:gd name="connsiteX1" fmla="*/ 62459 w 168427"/>
                <a:gd name="connsiteY1" fmla="*/ 106797 h 112285"/>
                <a:gd name="connsiteX2" fmla="*/ 11930 w 168427"/>
                <a:gd name="connsiteY2" fmla="*/ 56269 h 112285"/>
                <a:gd name="connsiteX3" fmla="*/ 2105 w 168427"/>
                <a:gd name="connsiteY3" fmla="*/ 56269 h 112285"/>
                <a:gd name="connsiteX4" fmla="*/ 2105 w 168427"/>
                <a:gd name="connsiteY4" fmla="*/ 66094 h 112285"/>
                <a:gd name="connsiteX5" fmla="*/ 58248 w 168427"/>
                <a:gd name="connsiteY5" fmla="*/ 122237 h 112285"/>
                <a:gd name="connsiteX6" fmla="*/ 63862 w 168427"/>
                <a:gd name="connsiteY6" fmla="*/ 123640 h 112285"/>
                <a:gd name="connsiteX7" fmla="*/ 69476 w 168427"/>
                <a:gd name="connsiteY7" fmla="*/ 122237 h 112285"/>
                <a:gd name="connsiteX8" fmla="*/ 178954 w 168427"/>
                <a:gd name="connsiteY8" fmla="*/ 12759 h 112285"/>
                <a:gd name="connsiteX9" fmla="*/ 178954 w 168427"/>
                <a:gd name="connsiteY9" fmla="*/ 2934 h 112285"/>
                <a:gd name="connsiteX10" fmla="*/ 167726 w 168427"/>
                <a:gd name="connsiteY10" fmla="*/ 1530 h 11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427" h="112285">
                  <a:moveTo>
                    <a:pt x="167726" y="1530"/>
                  </a:moveTo>
                  <a:lnTo>
                    <a:pt x="62459" y="106797"/>
                  </a:lnTo>
                  <a:lnTo>
                    <a:pt x="11930" y="56269"/>
                  </a:lnTo>
                  <a:cubicBezTo>
                    <a:pt x="9123" y="53462"/>
                    <a:pt x="4912" y="53462"/>
                    <a:pt x="2105" y="56269"/>
                  </a:cubicBezTo>
                  <a:cubicBezTo>
                    <a:pt x="-702" y="59076"/>
                    <a:pt x="-702" y="63287"/>
                    <a:pt x="2105" y="66094"/>
                  </a:cubicBezTo>
                  <a:lnTo>
                    <a:pt x="58248" y="122237"/>
                  </a:lnTo>
                  <a:cubicBezTo>
                    <a:pt x="59651" y="123640"/>
                    <a:pt x="61055" y="123640"/>
                    <a:pt x="63862" y="123640"/>
                  </a:cubicBezTo>
                  <a:cubicBezTo>
                    <a:pt x="66669" y="123640"/>
                    <a:pt x="68073" y="123640"/>
                    <a:pt x="69476" y="122237"/>
                  </a:cubicBezTo>
                  <a:lnTo>
                    <a:pt x="178954" y="12759"/>
                  </a:lnTo>
                  <a:cubicBezTo>
                    <a:pt x="181762" y="9951"/>
                    <a:pt x="181762" y="5741"/>
                    <a:pt x="178954" y="2934"/>
                  </a:cubicBezTo>
                  <a:cubicBezTo>
                    <a:pt x="176147" y="127"/>
                    <a:pt x="170533" y="-1277"/>
                    <a:pt x="167726" y="1530"/>
                  </a:cubicBezTo>
                  <a:close/>
                </a:path>
              </a:pathLst>
            </a:custGeom>
            <a:grpFill/>
            <a:ln w="13947" cap="flat">
              <a:noFill/>
              <a:prstDash val="solid"/>
              <a:miter/>
            </a:ln>
          </p:spPr>
          <p:txBody>
            <a:bodyPr rtlCol="0" anchor="ctr"/>
            <a:lstStyle/>
            <a:p>
              <a:endParaRPr lang="en-US"/>
            </a:p>
          </p:txBody>
        </p:sp>
      </p:grpSp>
      <p:grpSp>
        <p:nvGrpSpPr>
          <p:cNvPr id="5034" name="Graphic 6">
            <a:extLst>
              <a:ext uri="{FF2B5EF4-FFF2-40B4-BE49-F238E27FC236}">
                <a16:creationId xmlns:a16="http://schemas.microsoft.com/office/drawing/2014/main" id="{BDE15A13-2822-43E6-A6EF-8F5842BE813D}"/>
              </a:ext>
              <a:ext uri="{C183D7F6-B498-43B3-948B-1728B52AA6E4}">
                <adec:decorative xmlns:adec="http://schemas.microsoft.com/office/drawing/2017/decorative" val="1"/>
              </a:ext>
            </a:extLst>
          </p:cNvPr>
          <p:cNvGrpSpPr>
            <a:grpSpLocks noChangeAspect="1"/>
          </p:cNvGrpSpPr>
          <p:nvPr/>
        </p:nvGrpSpPr>
        <p:grpSpPr>
          <a:xfrm>
            <a:off x="1086240" y="2753229"/>
            <a:ext cx="129930" cy="104782"/>
            <a:chOff x="5845175" y="3187743"/>
            <a:chExt cx="501650" cy="404554"/>
          </a:xfrm>
          <a:solidFill>
            <a:schemeClr val="tx1"/>
          </a:solidFill>
        </p:grpSpPr>
        <p:sp>
          <p:nvSpPr>
            <p:cNvPr id="5035" name="Freeform: Shape 5034">
              <a:extLst>
                <a:ext uri="{FF2B5EF4-FFF2-40B4-BE49-F238E27FC236}">
                  <a16:creationId xmlns:a16="http://schemas.microsoft.com/office/drawing/2014/main" id="{5B88EC5B-338E-41CC-8517-C845E79E2A23}"/>
                </a:ext>
              </a:extLst>
            </p:cNvPr>
            <p:cNvSpPr/>
            <p:nvPr/>
          </p:nvSpPr>
          <p:spPr>
            <a:xfrm>
              <a:off x="5845175" y="3187743"/>
              <a:ext cx="485468" cy="339825"/>
            </a:xfrm>
            <a:custGeom>
              <a:avLst/>
              <a:gdLst>
                <a:gd name="connsiteX0" fmla="*/ 250825 w 485467"/>
                <a:gd name="connsiteY0" fmla="*/ 346298 h 339825"/>
                <a:gd name="connsiteX1" fmla="*/ 105185 w 485467"/>
                <a:gd name="connsiteY1" fmla="*/ 346298 h 339825"/>
                <a:gd name="connsiteX2" fmla="*/ 0 w 485467"/>
                <a:gd name="connsiteY2" fmla="*/ 241114 h 339825"/>
                <a:gd name="connsiteX3" fmla="*/ 48547 w 485467"/>
                <a:gd name="connsiteY3" fmla="*/ 152112 h 339825"/>
                <a:gd name="connsiteX4" fmla="*/ 202278 w 485467"/>
                <a:gd name="connsiteY4" fmla="*/ 0 h 339825"/>
                <a:gd name="connsiteX5" fmla="*/ 343064 w 485467"/>
                <a:gd name="connsiteY5" fmla="*/ 90620 h 339825"/>
                <a:gd name="connsiteX6" fmla="*/ 372192 w 485467"/>
                <a:gd name="connsiteY6" fmla="*/ 87384 h 339825"/>
                <a:gd name="connsiteX7" fmla="*/ 491941 w 485467"/>
                <a:gd name="connsiteY7" fmla="*/ 166676 h 339825"/>
                <a:gd name="connsiteX8" fmla="*/ 487086 w 485467"/>
                <a:gd name="connsiteY8" fmla="*/ 178004 h 339825"/>
                <a:gd name="connsiteX9" fmla="*/ 475758 w 485467"/>
                <a:gd name="connsiteY9" fmla="*/ 173149 h 339825"/>
                <a:gd name="connsiteX10" fmla="*/ 372192 w 485467"/>
                <a:gd name="connsiteY10" fmla="*/ 103566 h 339825"/>
                <a:gd name="connsiteX11" fmla="*/ 339827 w 485467"/>
                <a:gd name="connsiteY11" fmla="*/ 108420 h 339825"/>
                <a:gd name="connsiteX12" fmla="*/ 330118 w 485467"/>
                <a:gd name="connsiteY12" fmla="*/ 103566 h 339825"/>
                <a:gd name="connsiteX13" fmla="*/ 202278 w 485467"/>
                <a:gd name="connsiteY13" fmla="*/ 16182 h 339825"/>
                <a:gd name="connsiteX14" fmla="*/ 64729 w 485467"/>
                <a:gd name="connsiteY14" fmla="*/ 153731 h 339825"/>
                <a:gd name="connsiteX15" fmla="*/ 64729 w 485467"/>
                <a:gd name="connsiteY15" fmla="*/ 156967 h 339825"/>
                <a:gd name="connsiteX16" fmla="*/ 61493 w 485467"/>
                <a:gd name="connsiteY16" fmla="*/ 163440 h 339825"/>
                <a:gd name="connsiteX17" fmla="*/ 16182 w 485467"/>
                <a:gd name="connsiteY17" fmla="*/ 241114 h 339825"/>
                <a:gd name="connsiteX18" fmla="*/ 105185 w 485467"/>
                <a:gd name="connsiteY18" fmla="*/ 330116 h 339825"/>
                <a:gd name="connsiteX19" fmla="*/ 250825 w 485467"/>
                <a:gd name="connsiteY19" fmla="*/ 330116 h 339825"/>
                <a:gd name="connsiteX20" fmla="*/ 258916 w 485467"/>
                <a:gd name="connsiteY20" fmla="*/ 338207 h 339825"/>
                <a:gd name="connsiteX21" fmla="*/ 250825 w 485467"/>
                <a:gd name="connsiteY21" fmla="*/ 346298 h 33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5467" h="339825">
                  <a:moveTo>
                    <a:pt x="250825" y="346298"/>
                  </a:moveTo>
                  <a:lnTo>
                    <a:pt x="105185" y="346298"/>
                  </a:lnTo>
                  <a:cubicBezTo>
                    <a:pt x="46929" y="346298"/>
                    <a:pt x="0" y="299370"/>
                    <a:pt x="0" y="241114"/>
                  </a:cubicBezTo>
                  <a:cubicBezTo>
                    <a:pt x="0" y="205513"/>
                    <a:pt x="17800" y="171531"/>
                    <a:pt x="48547" y="152112"/>
                  </a:cubicBezTo>
                  <a:cubicBezTo>
                    <a:pt x="48547" y="67965"/>
                    <a:pt x="118130" y="0"/>
                    <a:pt x="202278" y="0"/>
                  </a:cubicBezTo>
                  <a:cubicBezTo>
                    <a:pt x="262153" y="0"/>
                    <a:pt x="318791" y="35601"/>
                    <a:pt x="343064" y="90620"/>
                  </a:cubicBezTo>
                  <a:cubicBezTo>
                    <a:pt x="352773" y="89002"/>
                    <a:pt x="362483" y="87384"/>
                    <a:pt x="372192" y="87384"/>
                  </a:cubicBezTo>
                  <a:cubicBezTo>
                    <a:pt x="423975" y="87384"/>
                    <a:pt x="470904" y="118130"/>
                    <a:pt x="491941" y="166676"/>
                  </a:cubicBezTo>
                  <a:cubicBezTo>
                    <a:pt x="493559" y="171531"/>
                    <a:pt x="491941" y="174767"/>
                    <a:pt x="487086" y="178004"/>
                  </a:cubicBezTo>
                  <a:cubicBezTo>
                    <a:pt x="482231" y="179622"/>
                    <a:pt x="478995" y="178004"/>
                    <a:pt x="475758" y="173149"/>
                  </a:cubicBezTo>
                  <a:cubicBezTo>
                    <a:pt x="457958" y="131076"/>
                    <a:pt x="417502" y="103566"/>
                    <a:pt x="372192" y="103566"/>
                  </a:cubicBezTo>
                  <a:cubicBezTo>
                    <a:pt x="360864" y="103566"/>
                    <a:pt x="351155" y="105184"/>
                    <a:pt x="339827" y="108420"/>
                  </a:cubicBezTo>
                  <a:cubicBezTo>
                    <a:pt x="336591" y="110039"/>
                    <a:pt x="331736" y="106802"/>
                    <a:pt x="330118" y="103566"/>
                  </a:cubicBezTo>
                  <a:cubicBezTo>
                    <a:pt x="310699" y="51783"/>
                    <a:pt x="258916" y="16182"/>
                    <a:pt x="202278" y="16182"/>
                  </a:cubicBezTo>
                  <a:cubicBezTo>
                    <a:pt x="126222" y="16182"/>
                    <a:pt x="64729" y="77674"/>
                    <a:pt x="64729" y="153731"/>
                  </a:cubicBezTo>
                  <a:lnTo>
                    <a:pt x="64729" y="156967"/>
                  </a:lnTo>
                  <a:cubicBezTo>
                    <a:pt x="64729" y="160203"/>
                    <a:pt x="63111" y="161822"/>
                    <a:pt x="61493" y="163440"/>
                  </a:cubicBezTo>
                  <a:cubicBezTo>
                    <a:pt x="33983" y="179622"/>
                    <a:pt x="16182" y="210368"/>
                    <a:pt x="16182" y="241114"/>
                  </a:cubicBezTo>
                  <a:cubicBezTo>
                    <a:pt x="16182" y="289661"/>
                    <a:pt x="56638" y="330116"/>
                    <a:pt x="105185" y="330116"/>
                  </a:cubicBezTo>
                  <a:lnTo>
                    <a:pt x="250825" y="330116"/>
                  </a:lnTo>
                  <a:cubicBezTo>
                    <a:pt x="255680" y="330116"/>
                    <a:pt x="258916" y="333353"/>
                    <a:pt x="258916" y="338207"/>
                  </a:cubicBezTo>
                  <a:cubicBezTo>
                    <a:pt x="258916" y="343062"/>
                    <a:pt x="255680" y="346298"/>
                    <a:pt x="250825" y="346298"/>
                  </a:cubicBezTo>
                  <a:close/>
                </a:path>
              </a:pathLst>
            </a:custGeom>
            <a:grpFill/>
            <a:ln w="15977" cap="flat">
              <a:noFill/>
              <a:prstDash val="solid"/>
              <a:miter/>
            </a:ln>
          </p:spPr>
          <p:txBody>
            <a:bodyPr rtlCol="0" anchor="ctr"/>
            <a:lstStyle/>
            <a:p>
              <a:endParaRPr lang="en-US"/>
            </a:p>
          </p:txBody>
        </p:sp>
        <p:sp>
          <p:nvSpPr>
            <p:cNvPr id="5036" name="Freeform: Shape 5035">
              <a:extLst>
                <a:ext uri="{FF2B5EF4-FFF2-40B4-BE49-F238E27FC236}">
                  <a16:creationId xmlns:a16="http://schemas.microsoft.com/office/drawing/2014/main" id="{0E10D164-D91C-4BAD-8FF7-C549635F030E}"/>
                </a:ext>
              </a:extLst>
            </p:cNvPr>
            <p:cNvSpPr/>
            <p:nvPr/>
          </p:nvSpPr>
          <p:spPr>
            <a:xfrm>
              <a:off x="6186621" y="3438566"/>
              <a:ext cx="64729" cy="64729"/>
            </a:xfrm>
            <a:custGeom>
              <a:avLst/>
              <a:gdLst>
                <a:gd name="connsiteX0" fmla="*/ 38837 w 64729"/>
                <a:gd name="connsiteY0" fmla="*/ 77674 h 64728"/>
                <a:gd name="connsiteX1" fmla="*/ 0 w 64729"/>
                <a:gd name="connsiteY1" fmla="*/ 38837 h 64728"/>
                <a:gd name="connsiteX2" fmla="*/ 38837 w 64729"/>
                <a:gd name="connsiteY2" fmla="*/ 0 h 64728"/>
                <a:gd name="connsiteX3" fmla="*/ 77675 w 64729"/>
                <a:gd name="connsiteY3" fmla="*/ 38837 h 64728"/>
                <a:gd name="connsiteX4" fmla="*/ 38837 w 64729"/>
                <a:gd name="connsiteY4" fmla="*/ 77674 h 64728"/>
                <a:gd name="connsiteX5" fmla="*/ 38837 w 64729"/>
                <a:gd name="connsiteY5" fmla="*/ 17800 h 64728"/>
                <a:gd name="connsiteX6" fmla="*/ 16182 w 64729"/>
                <a:gd name="connsiteY6" fmla="*/ 40455 h 64728"/>
                <a:gd name="connsiteX7" fmla="*/ 38837 w 64729"/>
                <a:gd name="connsiteY7" fmla="*/ 63110 h 64728"/>
                <a:gd name="connsiteX8" fmla="*/ 61493 w 64729"/>
                <a:gd name="connsiteY8" fmla="*/ 40455 h 64728"/>
                <a:gd name="connsiteX9" fmla="*/ 38837 w 64729"/>
                <a:gd name="connsiteY9" fmla="*/ 17800 h 6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29" h="64728">
                  <a:moveTo>
                    <a:pt x="38837" y="77674"/>
                  </a:moveTo>
                  <a:cubicBezTo>
                    <a:pt x="17800" y="77674"/>
                    <a:pt x="0" y="59874"/>
                    <a:pt x="0" y="38837"/>
                  </a:cubicBezTo>
                  <a:cubicBezTo>
                    <a:pt x="0" y="17800"/>
                    <a:pt x="17800" y="0"/>
                    <a:pt x="38837" y="0"/>
                  </a:cubicBezTo>
                  <a:cubicBezTo>
                    <a:pt x="59874" y="0"/>
                    <a:pt x="77675" y="17800"/>
                    <a:pt x="77675" y="38837"/>
                  </a:cubicBezTo>
                  <a:cubicBezTo>
                    <a:pt x="77675" y="59874"/>
                    <a:pt x="59874" y="77674"/>
                    <a:pt x="38837" y="77674"/>
                  </a:cubicBezTo>
                  <a:close/>
                  <a:moveTo>
                    <a:pt x="38837" y="17800"/>
                  </a:moveTo>
                  <a:cubicBezTo>
                    <a:pt x="27510" y="17800"/>
                    <a:pt x="16182" y="27510"/>
                    <a:pt x="16182" y="40455"/>
                  </a:cubicBezTo>
                  <a:cubicBezTo>
                    <a:pt x="16182" y="53401"/>
                    <a:pt x="25892" y="63110"/>
                    <a:pt x="38837" y="63110"/>
                  </a:cubicBezTo>
                  <a:cubicBezTo>
                    <a:pt x="51783" y="63110"/>
                    <a:pt x="61493" y="53401"/>
                    <a:pt x="61493" y="40455"/>
                  </a:cubicBezTo>
                  <a:cubicBezTo>
                    <a:pt x="61493" y="27510"/>
                    <a:pt x="51783" y="17800"/>
                    <a:pt x="38837" y="17800"/>
                  </a:cubicBezTo>
                  <a:close/>
                </a:path>
              </a:pathLst>
            </a:custGeom>
            <a:grpFill/>
            <a:ln w="15977" cap="flat">
              <a:noFill/>
              <a:prstDash val="solid"/>
              <a:miter/>
            </a:ln>
          </p:spPr>
          <p:txBody>
            <a:bodyPr rtlCol="0" anchor="ctr"/>
            <a:lstStyle/>
            <a:p>
              <a:endParaRPr lang="en-US"/>
            </a:p>
          </p:txBody>
        </p:sp>
        <p:sp>
          <p:nvSpPr>
            <p:cNvPr id="5037" name="Freeform: Shape 5036">
              <a:extLst>
                <a:ext uri="{FF2B5EF4-FFF2-40B4-BE49-F238E27FC236}">
                  <a16:creationId xmlns:a16="http://schemas.microsoft.com/office/drawing/2014/main" id="{E743F345-692F-423B-914B-643635D60AD5}"/>
                </a:ext>
              </a:extLst>
            </p:cNvPr>
            <p:cNvSpPr/>
            <p:nvPr/>
          </p:nvSpPr>
          <p:spPr>
            <a:xfrm>
              <a:off x="6113800" y="3364129"/>
              <a:ext cx="210369" cy="226550"/>
            </a:xfrm>
            <a:custGeom>
              <a:avLst/>
              <a:gdLst>
                <a:gd name="connsiteX0" fmla="*/ 122985 w 210369"/>
                <a:gd name="connsiteY0" fmla="*/ 226550 h 226550"/>
                <a:gd name="connsiteX1" fmla="*/ 101948 w 210369"/>
                <a:gd name="connsiteY1" fmla="*/ 226550 h 226550"/>
                <a:gd name="connsiteX2" fmla="*/ 93857 w 210369"/>
                <a:gd name="connsiteY2" fmla="*/ 221696 h 226550"/>
                <a:gd name="connsiteX3" fmla="*/ 85766 w 210369"/>
                <a:gd name="connsiteY3" fmla="*/ 195804 h 226550"/>
                <a:gd name="connsiteX4" fmla="*/ 71202 w 210369"/>
                <a:gd name="connsiteY4" fmla="*/ 190950 h 226550"/>
                <a:gd name="connsiteX5" fmla="*/ 45310 w 210369"/>
                <a:gd name="connsiteY5" fmla="*/ 200659 h 226550"/>
                <a:gd name="connsiteX6" fmla="*/ 37219 w 210369"/>
                <a:gd name="connsiteY6" fmla="*/ 199041 h 226550"/>
                <a:gd name="connsiteX7" fmla="*/ 25892 w 210369"/>
                <a:gd name="connsiteY7" fmla="*/ 187713 h 226550"/>
                <a:gd name="connsiteX8" fmla="*/ 24273 w 210369"/>
                <a:gd name="connsiteY8" fmla="*/ 179622 h 226550"/>
                <a:gd name="connsiteX9" fmla="*/ 33983 w 210369"/>
                <a:gd name="connsiteY9" fmla="*/ 153731 h 226550"/>
                <a:gd name="connsiteX10" fmla="*/ 29128 w 210369"/>
                <a:gd name="connsiteY10" fmla="*/ 139167 h 226550"/>
                <a:gd name="connsiteX11" fmla="*/ 4855 w 210369"/>
                <a:gd name="connsiteY11" fmla="*/ 131076 h 226550"/>
                <a:gd name="connsiteX12" fmla="*/ 0 w 210369"/>
                <a:gd name="connsiteY12" fmla="*/ 122984 h 226550"/>
                <a:gd name="connsiteX13" fmla="*/ 0 w 210369"/>
                <a:gd name="connsiteY13" fmla="*/ 101948 h 226550"/>
                <a:gd name="connsiteX14" fmla="*/ 4855 w 210369"/>
                <a:gd name="connsiteY14" fmla="*/ 93857 h 226550"/>
                <a:gd name="connsiteX15" fmla="*/ 29128 w 210369"/>
                <a:gd name="connsiteY15" fmla="*/ 85765 h 226550"/>
                <a:gd name="connsiteX16" fmla="*/ 33983 w 210369"/>
                <a:gd name="connsiteY16" fmla="*/ 71202 h 226550"/>
                <a:gd name="connsiteX17" fmla="*/ 24273 w 210369"/>
                <a:gd name="connsiteY17" fmla="*/ 45310 h 226550"/>
                <a:gd name="connsiteX18" fmla="*/ 25892 w 210369"/>
                <a:gd name="connsiteY18" fmla="*/ 37219 h 226550"/>
                <a:gd name="connsiteX19" fmla="*/ 37219 w 210369"/>
                <a:gd name="connsiteY19" fmla="*/ 25891 h 226550"/>
                <a:gd name="connsiteX20" fmla="*/ 45310 w 210369"/>
                <a:gd name="connsiteY20" fmla="*/ 24273 h 226550"/>
                <a:gd name="connsiteX21" fmla="*/ 71202 w 210369"/>
                <a:gd name="connsiteY21" fmla="*/ 33983 h 226550"/>
                <a:gd name="connsiteX22" fmla="*/ 85766 w 210369"/>
                <a:gd name="connsiteY22" fmla="*/ 29128 h 226550"/>
                <a:gd name="connsiteX23" fmla="*/ 93857 w 210369"/>
                <a:gd name="connsiteY23" fmla="*/ 4855 h 226550"/>
                <a:gd name="connsiteX24" fmla="*/ 101948 w 210369"/>
                <a:gd name="connsiteY24" fmla="*/ 0 h 226550"/>
                <a:gd name="connsiteX25" fmla="*/ 122985 w 210369"/>
                <a:gd name="connsiteY25" fmla="*/ 0 h 226550"/>
                <a:gd name="connsiteX26" fmla="*/ 131076 w 210369"/>
                <a:gd name="connsiteY26" fmla="*/ 4855 h 226550"/>
                <a:gd name="connsiteX27" fmla="*/ 139167 w 210369"/>
                <a:gd name="connsiteY27" fmla="*/ 29128 h 226550"/>
                <a:gd name="connsiteX28" fmla="*/ 153731 w 210369"/>
                <a:gd name="connsiteY28" fmla="*/ 33983 h 226550"/>
                <a:gd name="connsiteX29" fmla="*/ 179623 w 210369"/>
                <a:gd name="connsiteY29" fmla="*/ 24273 h 226550"/>
                <a:gd name="connsiteX30" fmla="*/ 187714 w 210369"/>
                <a:gd name="connsiteY30" fmla="*/ 25891 h 226550"/>
                <a:gd name="connsiteX31" fmla="*/ 199042 w 210369"/>
                <a:gd name="connsiteY31" fmla="*/ 37219 h 226550"/>
                <a:gd name="connsiteX32" fmla="*/ 200660 w 210369"/>
                <a:gd name="connsiteY32" fmla="*/ 45310 h 226550"/>
                <a:gd name="connsiteX33" fmla="*/ 190951 w 210369"/>
                <a:gd name="connsiteY33" fmla="*/ 71202 h 226550"/>
                <a:gd name="connsiteX34" fmla="*/ 195805 w 210369"/>
                <a:gd name="connsiteY34" fmla="*/ 85765 h 226550"/>
                <a:gd name="connsiteX35" fmla="*/ 220079 w 210369"/>
                <a:gd name="connsiteY35" fmla="*/ 93857 h 226550"/>
                <a:gd name="connsiteX36" fmla="*/ 224933 w 210369"/>
                <a:gd name="connsiteY36" fmla="*/ 101948 h 226550"/>
                <a:gd name="connsiteX37" fmla="*/ 224933 w 210369"/>
                <a:gd name="connsiteY37" fmla="*/ 122984 h 226550"/>
                <a:gd name="connsiteX38" fmla="*/ 220079 w 210369"/>
                <a:gd name="connsiteY38" fmla="*/ 131076 h 226550"/>
                <a:gd name="connsiteX39" fmla="*/ 195805 w 210369"/>
                <a:gd name="connsiteY39" fmla="*/ 139167 h 226550"/>
                <a:gd name="connsiteX40" fmla="*/ 190951 w 210369"/>
                <a:gd name="connsiteY40" fmla="*/ 153731 h 226550"/>
                <a:gd name="connsiteX41" fmla="*/ 200660 w 210369"/>
                <a:gd name="connsiteY41" fmla="*/ 179622 h 226550"/>
                <a:gd name="connsiteX42" fmla="*/ 199042 w 210369"/>
                <a:gd name="connsiteY42" fmla="*/ 187713 h 226550"/>
                <a:gd name="connsiteX43" fmla="*/ 187714 w 210369"/>
                <a:gd name="connsiteY43" fmla="*/ 199041 h 226550"/>
                <a:gd name="connsiteX44" fmla="*/ 179623 w 210369"/>
                <a:gd name="connsiteY44" fmla="*/ 200659 h 226550"/>
                <a:gd name="connsiteX45" fmla="*/ 152113 w 210369"/>
                <a:gd name="connsiteY45" fmla="*/ 190950 h 226550"/>
                <a:gd name="connsiteX46" fmla="*/ 139167 w 210369"/>
                <a:gd name="connsiteY46" fmla="*/ 195804 h 226550"/>
                <a:gd name="connsiteX47" fmla="*/ 131076 w 210369"/>
                <a:gd name="connsiteY47" fmla="*/ 220077 h 226550"/>
                <a:gd name="connsiteX48" fmla="*/ 122985 w 210369"/>
                <a:gd name="connsiteY48" fmla="*/ 226550 h 226550"/>
                <a:gd name="connsiteX49" fmla="*/ 106803 w 210369"/>
                <a:gd name="connsiteY49" fmla="*/ 210368 h 226550"/>
                <a:gd name="connsiteX50" fmla="*/ 116512 w 210369"/>
                <a:gd name="connsiteY50" fmla="*/ 210368 h 226550"/>
                <a:gd name="connsiteX51" fmla="*/ 124603 w 210369"/>
                <a:gd name="connsiteY51" fmla="*/ 187713 h 226550"/>
                <a:gd name="connsiteX52" fmla="*/ 129458 w 210369"/>
                <a:gd name="connsiteY52" fmla="*/ 182858 h 226550"/>
                <a:gd name="connsiteX53" fmla="*/ 150495 w 210369"/>
                <a:gd name="connsiteY53" fmla="*/ 176386 h 226550"/>
                <a:gd name="connsiteX54" fmla="*/ 155350 w 210369"/>
                <a:gd name="connsiteY54" fmla="*/ 176386 h 226550"/>
                <a:gd name="connsiteX55" fmla="*/ 179623 w 210369"/>
                <a:gd name="connsiteY55" fmla="*/ 186095 h 226550"/>
                <a:gd name="connsiteX56" fmla="*/ 182860 w 210369"/>
                <a:gd name="connsiteY56" fmla="*/ 182858 h 226550"/>
                <a:gd name="connsiteX57" fmla="*/ 173150 w 210369"/>
                <a:gd name="connsiteY57" fmla="*/ 158585 h 226550"/>
                <a:gd name="connsiteX58" fmla="*/ 173150 w 210369"/>
                <a:gd name="connsiteY58" fmla="*/ 153731 h 226550"/>
                <a:gd name="connsiteX59" fmla="*/ 179623 w 210369"/>
                <a:gd name="connsiteY59" fmla="*/ 132694 h 226550"/>
                <a:gd name="connsiteX60" fmla="*/ 184478 w 210369"/>
                <a:gd name="connsiteY60" fmla="*/ 127839 h 226550"/>
                <a:gd name="connsiteX61" fmla="*/ 207133 w 210369"/>
                <a:gd name="connsiteY61" fmla="*/ 119748 h 226550"/>
                <a:gd name="connsiteX62" fmla="*/ 207133 w 210369"/>
                <a:gd name="connsiteY62" fmla="*/ 110039 h 226550"/>
                <a:gd name="connsiteX63" fmla="*/ 184478 w 210369"/>
                <a:gd name="connsiteY63" fmla="*/ 101948 h 226550"/>
                <a:gd name="connsiteX64" fmla="*/ 179623 w 210369"/>
                <a:gd name="connsiteY64" fmla="*/ 97093 h 226550"/>
                <a:gd name="connsiteX65" fmla="*/ 173150 w 210369"/>
                <a:gd name="connsiteY65" fmla="*/ 76056 h 226550"/>
                <a:gd name="connsiteX66" fmla="*/ 173150 w 210369"/>
                <a:gd name="connsiteY66" fmla="*/ 71202 h 226550"/>
                <a:gd name="connsiteX67" fmla="*/ 182860 w 210369"/>
                <a:gd name="connsiteY67" fmla="*/ 46928 h 226550"/>
                <a:gd name="connsiteX68" fmla="*/ 179623 w 210369"/>
                <a:gd name="connsiteY68" fmla="*/ 43692 h 226550"/>
                <a:gd name="connsiteX69" fmla="*/ 155350 w 210369"/>
                <a:gd name="connsiteY69" fmla="*/ 53401 h 226550"/>
                <a:gd name="connsiteX70" fmla="*/ 150495 w 210369"/>
                <a:gd name="connsiteY70" fmla="*/ 53401 h 226550"/>
                <a:gd name="connsiteX71" fmla="*/ 129458 w 210369"/>
                <a:gd name="connsiteY71" fmla="*/ 46928 h 226550"/>
                <a:gd name="connsiteX72" fmla="*/ 124603 w 210369"/>
                <a:gd name="connsiteY72" fmla="*/ 42074 h 226550"/>
                <a:gd name="connsiteX73" fmla="*/ 116512 w 210369"/>
                <a:gd name="connsiteY73" fmla="*/ 19419 h 226550"/>
                <a:gd name="connsiteX74" fmla="*/ 106803 w 210369"/>
                <a:gd name="connsiteY74" fmla="*/ 19419 h 226550"/>
                <a:gd name="connsiteX75" fmla="*/ 98712 w 210369"/>
                <a:gd name="connsiteY75" fmla="*/ 42074 h 226550"/>
                <a:gd name="connsiteX76" fmla="*/ 93857 w 210369"/>
                <a:gd name="connsiteY76" fmla="*/ 46928 h 226550"/>
                <a:gd name="connsiteX77" fmla="*/ 72820 w 210369"/>
                <a:gd name="connsiteY77" fmla="*/ 53401 h 226550"/>
                <a:gd name="connsiteX78" fmla="*/ 67965 w 210369"/>
                <a:gd name="connsiteY78" fmla="*/ 53401 h 226550"/>
                <a:gd name="connsiteX79" fmla="*/ 43692 w 210369"/>
                <a:gd name="connsiteY79" fmla="*/ 43692 h 226550"/>
                <a:gd name="connsiteX80" fmla="*/ 40456 w 210369"/>
                <a:gd name="connsiteY80" fmla="*/ 46928 h 226550"/>
                <a:gd name="connsiteX81" fmla="*/ 50165 w 210369"/>
                <a:gd name="connsiteY81" fmla="*/ 71202 h 226550"/>
                <a:gd name="connsiteX82" fmla="*/ 50165 w 210369"/>
                <a:gd name="connsiteY82" fmla="*/ 76056 h 226550"/>
                <a:gd name="connsiteX83" fmla="*/ 43692 w 210369"/>
                <a:gd name="connsiteY83" fmla="*/ 97093 h 226550"/>
                <a:gd name="connsiteX84" fmla="*/ 38837 w 210369"/>
                <a:gd name="connsiteY84" fmla="*/ 101948 h 226550"/>
                <a:gd name="connsiteX85" fmla="*/ 16182 w 210369"/>
                <a:gd name="connsiteY85" fmla="*/ 110039 h 226550"/>
                <a:gd name="connsiteX86" fmla="*/ 16182 w 210369"/>
                <a:gd name="connsiteY86" fmla="*/ 119748 h 226550"/>
                <a:gd name="connsiteX87" fmla="*/ 38837 w 210369"/>
                <a:gd name="connsiteY87" fmla="*/ 127839 h 226550"/>
                <a:gd name="connsiteX88" fmla="*/ 43692 w 210369"/>
                <a:gd name="connsiteY88" fmla="*/ 132694 h 226550"/>
                <a:gd name="connsiteX89" fmla="*/ 50165 w 210369"/>
                <a:gd name="connsiteY89" fmla="*/ 153731 h 226550"/>
                <a:gd name="connsiteX90" fmla="*/ 50165 w 210369"/>
                <a:gd name="connsiteY90" fmla="*/ 158585 h 226550"/>
                <a:gd name="connsiteX91" fmla="*/ 40456 w 210369"/>
                <a:gd name="connsiteY91" fmla="*/ 182858 h 226550"/>
                <a:gd name="connsiteX92" fmla="*/ 43692 w 210369"/>
                <a:gd name="connsiteY92" fmla="*/ 186095 h 226550"/>
                <a:gd name="connsiteX93" fmla="*/ 67965 w 210369"/>
                <a:gd name="connsiteY93" fmla="*/ 176386 h 226550"/>
                <a:gd name="connsiteX94" fmla="*/ 72820 w 210369"/>
                <a:gd name="connsiteY94" fmla="*/ 176386 h 226550"/>
                <a:gd name="connsiteX95" fmla="*/ 93857 w 210369"/>
                <a:gd name="connsiteY95" fmla="*/ 182858 h 226550"/>
                <a:gd name="connsiteX96" fmla="*/ 98712 w 210369"/>
                <a:gd name="connsiteY96" fmla="*/ 187713 h 226550"/>
                <a:gd name="connsiteX97" fmla="*/ 106803 w 210369"/>
                <a:gd name="connsiteY97" fmla="*/ 210368 h 22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0369" h="226550">
                  <a:moveTo>
                    <a:pt x="122985" y="226550"/>
                  </a:moveTo>
                  <a:lnTo>
                    <a:pt x="101948" y="226550"/>
                  </a:lnTo>
                  <a:cubicBezTo>
                    <a:pt x="98712" y="226550"/>
                    <a:pt x="95475" y="224932"/>
                    <a:pt x="93857" y="221696"/>
                  </a:cubicBezTo>
                  <a:lnTo>
                    <a:pt x="85766" y="195804"/>
                  </a:lnTo>
                  <a:lnTo>
                    <a:pt x="71202" y="190950"/>
                  </a:lnTo>
                  <a:lnTo>
                    <a:pt x="45310" y="200659"/>
                  </a:lnTo>
                  <a:cubicBezTo>
                    <a:pt x="42074" y="202277"/>
                    <a:pt x="38837" y="200659"/>
                    <a:pt x="37219" y="199041"/>
                  </a:cubicBezTo>
                  <a:lnTo>
                    <a:pt x="25892" y="187713"/>
                  </a:lnTo>
                  <a:cubicBezTo>
                    <a:pt x="24273" y="186095"/>
                    <a:pt x="22655" y="182858"/>
                    <a:pt x="24273" y="179622"/>
                  </a:cubicBezTo>
                  <a:lnTo>
                    <a:pt x="33983" y="153731"/>
                  </a:lnTo>
                  <a:lnTo>
                    <a:pt x="29128" y="139167"/>
                  </a:lnTo>
                  <a:lnTo>
                    <a:pt x="4855" y="131076"/>
                  </a:lnTo>
                  <a:cubicBezTo>
                    <a:pt x="1618" y="129457"/>
                    <a:pt x="0" y="126221"/>
                    <a:pt x="0" y="122984"/>
                  </a:cubicBezTo>
                  <a:lnTo>
                    <a:pt x="0" y="101948"/>
                  </a:lnTo>
                  <a:cubicBezTo>
                    <a:pt x="0" y="98711"/>
                    <a:pt x="1618" y="95475"/>
                    <a:pt x="4855" y="93857"/>
                  </a:cubicBezTo>
                  <a:lnTo>
                    <a:pt x="29128" y="85765"/>
                  </a:lnTo>
                  <a:lnTo>
                    <a:pt x="33983" y="71202"/>
                  </a:lnTo>
                  <a:lnTo>
                    <a:pt x="24273" y="45310"/>
                  </a:lnTo>
                  <a:cubicBezTo>
                    <a:pt x="22655" y="42074"/>
                    <a:pt x="24273" y="38837"/>
                    <a:pt x="25892" y="37219"/>
                  </a:cubicBezTo>
                  <a:lnTo>
                    <a:pt x="37219" y="25891"/>
                  </a:lnTo>
                  <a:cubicBezTo>
                    <a:pt x="38837" y="24273"/>
                    <a:pt x="42074" y="22655"/>
                    <a:pt x="45310" y="24273"/>
                  </a:cubicBezTo>
                  <a:lnTo>
                    <a:pt x="71202" y="33983"/>
                  </a:lnTo>
                  <a:lnTo>
                    <a:pt x="85766" y="29128"/>
                  </a:lnTo>
                  <a:lnTo>
                    <a:pt x="93857" y="4855"/>
                  </a:lnTo>
                  <a:cubicBezTo>
                    <a:pt x="95475" y="1618"/>
                    <a:pt x="98712" y="0"/>
                    <a:pt x="101948" y="0"/>
                  </a:cubicBezTo>
                  <a:lnTo>
                    <a:pt x="122985" y="0"/>
                  </a:lnTo>
                  <a:cubicBezTo>
                    <a:pt x="126222" y="0"/>
                    <a:pt x="129458" y="1618"/>
                    <a:pt x="131076" y="4855"/>
                  </a:cubicBezTo>
                  <a:lnTo>
                    <a:pt x="139167" y="29128"/>
                  </a:lnTo>
                  <a:lnTo>
                    <a:pt x="153731" y="33983"/>
                  </a:lnTo>
                  <a:lnTo>
                    <a:pt x="179623" y="24273"/>
                  </a:lnTo>
                  <a:cubicBezTo>
                    <a:pt x="182860" y="22655"/>
                    <a:pt x="186096" y="24273"/>
                    <a:pt x="187714" y="25891"/>
                  </a:cubicBezTo>
                  <a:lnTo>
                    <a:pt x="199042" y="37219"/>
                  </a:lnTo>
                  <a:cubicBezTo>
                    <a:pt x="200660" y="38837"/>
                    <a:pt x="202278" y="42074"/>
                    <a:pt x="200660" y="45310"/>
                  </a:cubicBezTo>
                  <a:lnTo>
                    <a:pt x="190951" y="71202"/>
                  </a:lnTo>
                  <a:lnTo>
                    <a:pt x="195805" y="85765"/>
                  </a:lnTo>
                  <a:lnTo>
                    <a:pt x="220079" y="93857"/>
                  </a:lnTo>
                  <a:cubicBezTo>
                    <a:pt x="223315" y="95475"/>
                    <a:pt x="224933" y="98711"/>
                    <a:pt x="224933" y="101948"/>
                  </a:cubicBezTo>
                  <a:lnTo>
                    <a:pt x="224933" y="122984"/>
                  </a:lnTo>
                  <a:cubicBezTo>
                    <a:pt x="224933" y="126221"/>
                    <a:pt x="223315" y="129457"/>
                    <a:pt x="220079" y="131076"/>
                  </a:cubicBezTo>
                  <a:lnTo>
                    <a:pt x="195805" y="139167"/>
                  </a:lnTo>
                  <a:lnTo>
                    <a:pt x="190951" y="153731"/>
                  </a:lnTo>
                  <a:lnTo>
                    <a:pt x="200660" y="179622"/>
                  </a:lnTo>
                  <a:cubicBezTo>
                    <a:pt x="202278" y="182858"/>
                    <a:pt x="200660" y="186095"/>
                    <a:pt x="199042" y="187713"/>
                  </a:cubicBezTo>
                  <a:lnTo>
                    <a:pt x="187714" y="199041"/>
                  </a:lnTo>
                  <a:cubicBezTo>
                    <a:pt x="186096" y="200659"/>
                    <a:pt x="182860" y="202277"/>
                    <a:pt x="179623" y="200659"/>
                  </a:cubicBezTo>
                  <a:lnTo>
                    <a:pt x="152113" y="190950"/>
                  </a:lnTo>
                  <a:lnTo>
                    <a:pt x="139167" y="195804"/>
                  </a:lnTo>
                  <a:lnTo>
                    <a:pt x="131076" y="220077"/>
                  </a:lnTo>
                  <a:cubicBezTo>
                    <a:pt x="129458" y="224932"/>
                    <a:pt x="126222" y="226550"/>
                    <a:pt x="122985" y="226550"/>
                  </a:cubicBezTo>
                  <a:close/>
                  <a:moveTo>
                    <a:pt x="106803" y="210368"/>
                  </a:moveTo>
                  <a:lnTo>
                    <a:pt x="116512" y="210368"/>
                  </a:lnTo>
                  <a:lnTo>
                    <a:pt x="124603" y="187713"/>
                  </a:lnTo>
                  <a:cubicBezTo>
                    <a:pt x="126222" y="186095"/>
                    <a:pt x="127840" y="182858"/>
                    <a:pt x="129458" y="182858"/>
                  </a:cubicBezTo>
                  <a:lnTo>
                    <a:pt x="150495" y="176386"/>
                  </a:lnTo>
                  <a:cubicBezTo>
                    <a:pt x="152113" y="176386"/>
                    <a:pt x="153731" y="176386"/>
                    <a:pt x="155350" y="176386"/>
                  </a:cubicBezTo>
                  <a:lnTo>
                    <a:pt x="179623" y="186095"/>
                  </a:lnTo>
                  <a:lnTo>
                    <a:pt x="182860" y="182858"/>
                  </a:lnTo>
                  <a:lnTo>
                    <a:pt x="173150" y="158585"/>
                  </a:lnTo>
                  <a:cubicBezTo>
                    <a:pt x="173150" y="156967"/>
                    <a:pt x="173150" y="155349"/>
                    <a:pt x="173150" y="153731"/>
                  </a:cubicBezTo>
                  <a:lnTo>
                    <a:pt x="179623" y="132694"/>
                  </a:lnTo>
                  <a:cubicBezTo>
                    <a:pt x="179623" y="129457"/>
                    <a:pt x="182860" y="127839"/>
                    <a:pt x="184478" y="127839"/>
                  </a:cubicBezTo>
                  <a:lnTo>
                    <a:pt x="207133" y="119748"/>
                  </a:lnTo>
                  <a:lnTo>
                    <a:pt x="207133" y="110039"/>
                  </a:lnTo>
                  <a:lnTo>
                    <a:pt x="184478" y="101948"/>
                  </a:lnTo>
                  <a:cubicBezTo>
                    <a:pt x="182860" y="100329"/>
                    <a:pt x="179623" y="98711"/>
                    <a:pt x="179623" y="97093"/>
                  </a:cubicBezTo>
                  <a:lnTo>
                    <a:pt x="173150" y="76056"/>
                  </a:lnTo>
                  <a:cubicBezTo>
                    <a:pt x="173150" y="74438"/>
                    <a:pt x="173150" y="72820"/>
                    <a:pt x="173150" y="71202"/>
                  </a:cubicBezTo>
                  <a:lnTo>
                    <a:pt x="182860" y="46928"/>
                  </a:lnTo>
                  <a:lnTo>
                    <a:pt x="179623" y="43692"/>
                  </a:lnTo>
                  <a:lnTo>
                    <a:pt x="155350" y="53401"/>
                  </a:lnTo>
                  <a:cubicBezTo>
                    <a:pt x="153731" y="53401"/>
                    <a:pt x="152113" y="53401"/>
                    <a:pt x="150495" y="53401"/>
                  </a:cubicBezTo>
                  <a:lnTo>
                    <a:pt x="129458" y="46928"/>
                  </a:lnTo>
                  <a:cubicBezTo>
                    <a:pt x="126222" y="46928"/>
                    <a:pt x="124603" y="43692"/>
                    <a:pt x="124603" y="42074"/>
                  </a:cubicBezTo>
                  <a:lnTo>
                    <a:pt x="116512" y="19419"/>
                  </a:lnTo>
                  <a:lnTo>
                    <a:pt x="106803" y="19419"/>
                  </a:lnTo>
                  <a:lnTo>
                    <a:pt x="98712" y="42074"/>
                  </a:lnTo>
                  <a:cubicBezTo>
                    <a:pt x="97094" y="43692"/>
                    <a:pt x="95475" y="46928"/>
                    <a:pt x="93857" y="46928"/>
                  </a:cubicBezTo>
                  <a:lnTo>
                    <a:pt x="72820" y="53401"/>
                  </a:lnTo>
                  <a:cubicBezTo>
                    <a:pt x="71202" y="53401"/>
                    <a:pt x="69584" y="53401"/>
                    <a:pt x="67965" y="53401"/>
                  </a:cubicBezTo>
                  <a:lnTo>
                    <a:pt x="43692" y="43692"/>
                  </a:lnTo>
                  <a:lnTo>
                    <a:pt x="40456" y="46928"/>
                  </a:lnTo>
                  <a:lnTo>
                    <a:pt x="50165" y="71202"/>
                  </a:lnTo>
                  <a:cubicBezTo>
                    <a:pt x="50165" y="72820"/>
                    <a:pt x="50165" y="74438"/>
                    <a:pt x="50165" y="76056"/>
                  </a:cubicBezTo>
                  <a:lnTo>
                    <a:pt x="43692" y="97093"/>
                  </a:lnTo>
                  <a:cubicBezTo>
                    <a:pt x="43692" y="100329"/>
                    <a:pt x="40456" y="101948"/>
                    <a:pt x="38837" y="101948"/>
                  </a:cubicBezTo>
                  <a:lnTo>
                    <a:pt x="16182" y="110039"/>
                  </a:lnTo>
                  <a:lnTo>
                    <a:pt x="16182" y="119748"/>
                  </a:lnTo>
                  <a:lnTo>
                    <a:pt x="38837" y="127839"/>
                  </a:lnTo>
                  <a:cubicBezTo>
                    <a:pt x="40456" y="129457"/>
                    <a:pt x="43692" y="131076"/>
                    <a:pt x="43692" y="132694"/>
                  </a:cubicBezTo>
                  <a:lnTo>
                    <a:pt x="50165" y="153731"/>
                  </a:lnTo>
                  <a:cubicBezTo>
                    <a:pt x="50165" y="155349"/>
                    <a:pt x="50165" y="156967"/>
                    <a:pt x="50165" y="158585"/>
                  </a:cubicBezTo>
                  <a:lnTo>
                    <a:pt x="40456" y="182858"/>
                  </a:lnTo>
                  <a:lnTo>
                    <a:pt x="43692" y="186095"/>
                  </a:lnTo>
                  <a:lnTo>
                    <a:pt x="67965" y="176386"/>
                  </a:lnTo>
                  <a:cubicBezTo>
                    <a:pt x="69584" y="176386"/>
                    <a:pt x="71202" y="176386"/>
                    <a:pt x="72820" y="176386"/>
                  </a:cubicBezTo>
                  <a:lnTo>
                    <a:pt x="93857" y="182858"/>
                  </a:lnTo>
                  <a:cubicBezTo>
                    <a:pt x="97094" y="182858"/>
                    <a:pt x="98712" y="186095"/>
                    <a:pt x="98712" y="187713"/>
                  </a:cubicBezTo>
                  <a:lnTo>
                    <a:pt x="106803" y="210368"/>
                  </a:lnTo>
                  <a:close/>
                </a:path>
              </a:pathLst>
            </a:custGeom>
            <a:grpFill/>
            <a:ln w="15977" cap="flat">
              <a:noFill/>
              <a:prstDash val="solid"/>
              <a:miter/>
            </a:ln>
          </p:spPr>
          <p:txBody>
            <a:bodyPr rtlCol="0" anchor="ctr"/>
            <a:lstStyle/>
            <a:p>
              <a:endParaRPr lang="en-US"/>
            </a:p>
          </p:txBody>
        </p:sp>
      </p:grpSp>
      <p:sp>
        <p:nvSpPr>
          <p:cNvPr id="5038" name="Graphic 3">
            <a:extLst>
              <a:ext uri="{FF2B5EF4-FFF2-40B4-BE49-F238E27FC236}">
                <a16:creationId xmlns:a16="http://schemas.microsoft.com/office/drawing/2014/main" id="{70BB06B4-0770-49B5-BA1F-01C4F28FFF03}"/>
              </a:ext>
              <a:ext uri="{C183D7F6-B498-43B3-948B-1728B52AA6E4}">
                <adec:decorative xmlns:adec="http://schemas.microsoft.com/office/drawing/2017/decorative" val="1"/>
              </a:ext>
            </a:extLst>
          </p:cNvPr>
          <p:cNvSpPr>
            <a:spLocks noChangeAspect="1"/>
          </p:cNvSpPr>
          <p:nvPr/>
        </p:nvSpPr>
        <p:spPr>
          <a:xfrm>
            <a:off x="3991788" y="2725915"/>
            <a:ext cx="108654" cy="147768"/>
          </a:xfrm>
          <a:custGeom>
            <a:avLst/>
            <a:gdLst>
              <a:gd name="connsiteX0" fmla="*/ 350166 w 350166"/>
              <a:gd name="connsiteY0" fmla="*/ 134463 h 476223"/>
              <a:gd name="connsiteX1" fmla="*/ 252120 w 350166"/>
              <a:gd name="connsiteY1" fmla="*/ 134463 h 476223"/>
              <a:gd name="connsiteX2" fmla="*/ 252120 w 350166"/>
              <a:gd name="connsiteY2" fmla="*/ 232509 h 476223"/>
              <a:gd name="connsiteX3" fmla="*/ 294139 w 350166"/>
              <a:gd name="connsiteY3" fmla="*/ 232509 h 476223"/>
              <a:gd name="connsiteX4" fmla="*/ 294139 w 350166"/>
              <a:gd name="connsiteY4" fmla="*/ 284333 h 476223"/>
              <a:gd name="connsiteX5" fmla="*/ 182086 w 350166"/>
              <a:gd name="connsiteY5" fmla="*/ 338959 h 476223"/>
              <a:gd name="connsiteX6" fmla="*/ 182086 w 350166"/>
              <a:gd name="connsiteY6" fmla="*/ 106450 h 476223"/>
              <a:gd name="connsiteX7" fmla="*/ 228308 w 350166"/>
              <a:gd name="connsiteY7" fmla="*/ 106450 h 476223"/>
              <a:gd name="connsiteX8" fmla="*/ 175083 w 350166"/>
              <a:gd name="connsiteY8" fmla="*/ 0 h 476223"/>
              <a:gd name="connsiteX9" fmla="*/ 121858 w 350166"/>
              <a:gd name="connsiteY9" fmla="*/ 106450 h 476223"/>
              <a:gd name="connsiteX10" fmla="*/ 168080 w 350166"/>
              <a:gd name="connsiteY10" fmla="*/ 106450 h 476223"/>
              <a:gd name="connsiteX11" fmla="*/ 168080 w 350166"/>
              <a:gd name="connsiteY11" fmla="*/ 380979 h 476223"/>
              <a:gd name="connsiteX12" fmla="*/ 56027 w 350166"/>
              <a:gd name="connsiteY12" fmla="*/ 326353 h 476223"/>
              <a:gd name="connsiteX13" fmla="*/ 56027 w 350166"/>
              <a:gd name="connsiteY13" fmla="*/ 273128 h 476223"/>
              <a:gd name="connsiteX14" fmla="*/ 98046 w 350166"/>
              <a:gd name="connsiteY14" fmla="*/ 225506 h 476223"/>
              <a:gd name="connsiteX15" fmla="*/ 49023 w 350166"/>
              <a:gd name="connsiteY15" fmla="*/ 176483 h 476223"/>
              <a:gd name="connsiteX16" fmla="*/ 0 w 350166"/>
              <a:gd name="connsiteY16" fmla="*/ 225506 h 476223"/>
              <a:gd name="connsiteX17" fmla="*/ 42020 w 350166"/>
              <a:gd name="connsiteY17" fmla="*/ 273128 h 476223"/>
              <a:gd name="connsiteX18" fmla="*/ 42020 w 350166"/>
              <a:gd name="connsiteY18" fmla="*/ 330555 h 476223"/>
              <a:gd name="connsiteX19" fmla="*/ 46222 w 350166"/>
              <a:gd name="connsiteY19" fmla="*/ 337558 h 476223"/>
              <a:gd name="connsiteX20" fmla="*/ 168080 w 350166"/>
              <a:gd name="connsiteY20" fmla="*/ 396386 h 476223"/>
              <a:gd name="connsiteX21" fmla="*/ 168080 w 350166"/>
              <a:gd name="connsiteY21" fmla="*/ 477624 h 476223"/>
              <a:gd name="connsiteX22" fmla="*/ 175083 w 350166"/>
              <a:gd name="connsiteY22" fmla="*/ 484627 h 476223"/>
              <a:gd name="connsiteX23" fmla="*/ 182086 w 350166"/>
              <a:gd name="connsiteY23" fmla="*/ 477624 h 476223"/>
              <a:gd name="connsiteX24" fmla="*/ 182086 w 350166"/>
              <a:gd name="connsiteY24" fmla="*/ 354366 h 476223"/>
              <a:gd name="connsiteX25" fmla="*/ 303944 w 350166"/>
              <a:gd name="connsiteY25" fmla="*/ 295539 h 476223"/>
              <a:gd name="connsiteX26" fmla="*/ 308146 w 350166"/>
              <a:gd name="connsiteY26" fmla="*/ 288535 h 476223"/>
              <a:gd name="connsiteX27" fmla="*/ 308146 w 350166"/>
              <a:gd name="connsiteY27" fmla="*/ 232509 h 476223"/>
              <a:gd name="connsiteX28" fmla="*/ 350166 w 350166"/>
              <a:gd name="connsiteY28" fmla="*/ 232509 h 476223"/>
              <a:gd name="connsiteX29" fmla="*/ 350166 w 350166"/>
              <a:gd name="connsiteY29" fmla="*/ 134463 h 476223"/>
              <a:gd name="connsiteX30" fmla="*/ 175083 w 350166"/>
              <a:gd name="connsiteY30" fmla="*/ 30814 h 476223"/>
              <a:gd name="connsiteX31" fmla="*/ 205898 w 350166"/>
              <a:gd name="connsiteY31" fmla="*/ 92443 h 476223"/>
              <a:gd name="connsiteX32" fmla="*/ 144268 w 350166"/>
              <a:gd name="connsiteY32" fmla="*/ 92443 h 476223"/>
              <a:gd name="connsiteX33" fmla="*/ 175083 w 350166"/>
              <a:gd name="connsiteY33" fmla="*/ 30814 h 476223"/>
              <a:gd name="connsiteX34" fmla="*/ 14007 w 350166"/>
              <a:gd name="connsiteY34" fmla="*/ 225506 h 476223"/>
              <a:gd name="connsiteX35" fmla="*/ 49023 w 350166"/>
              <a:gd name="connsiteY35" fmla="*/ 190489 h 476223"/>
              <a:gd name="connsiteX36" fmla="*/ 84040 w 350166"/>
              <a:gd name="connsiteY36" fmla="*/ 225506 h 476223"/>
              <a:gd name="connsiteX37" fmla="*/ 49023 w 350166"/>
              <a:gd name="connsiteY37" fmla="*/ 260522 h 476223"/>
              <a:gd name="connsiteX38" fmla="*/ 14007 w 350166"/>
              <a:gd name="connsiteY38" fmla="*/ 225506 h 476223"/>
              <a:gd name="connsiteX39" fmla="*/ 336159 w 350166"/>
              <a:gd name="connsiteY39" fmla="*/ 218503 h 476223"/>
              <a:gd name="connsiteX40" fmla="*/ 266126 w 350166"/>
              <a:gd name="connsiteY40" fmla="*/ 218503 h 476223"/>
              <a:gd name="connsiteX41" fmla="*/ 266126 w 350166"/>
              <a:gd name="connsiteY41" fmla="*/ 148470 h 476223"/>
              <a:gd name="connsiteX42" fmla="*/ 336159 w 350166"/>
              <a:gd name="connsiteY42" fmla="*/ 148470 h 476223"/>
              <a:gd name="connsiteX43" fmla="*/ 336159 w 350166"/>
              <a:gd name="connsiteY43" fmla="*/ 218503 h 47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0166" h="476223">
                <a:moveTo>
                  <a:pt x="350166" y="134463"/>
                </a:moveTo>
                <a:lnTo>
                  <a:pt x="252120" y="134463"/>
                </a:lnTo>
                <a:lnTo>
                  <a:pt x="252120" y="232509"/>
                </a:lnTo>
                <a:lnTo>
                  <a:pt x="294139" y="232509"/>
                </a:lnTo>
                <a:lnTo>
                  <a:pt x="294139" y="284333"/>
                </a:lnTo>
                <a:lnTo>
                  <a:pt x="182086" y="338959"/>
                </a:lnTo>
                <a:lnTo>
                  <a:pt x="182086" y="106450"/>
                </a:lnTo>
                <a:lnTo>
                  <a:pt x="228308" y="106450"/>
                </a:lnTo>
                <a:lnTo>
                  <a:pt x="175083" y="0"/>
                </a:lnTo>
                <a:lnTo>
                  <a:pt x="121858" y="106450"/>
                </a:lnTo>
                <a:lnTo>
                  <a:pt x="168080" y="106450"/>
                </a:lnTo>
                <a:lnTo>
                  <a:pt x="168080" y="380979"/>
                </a:lnTo>
                <a:lnTo>
                  <a:pt x="56027" y="326353"/>
                </a:lnTo>
                <a:lnTo>
                  <a:pt x="56027" y="273128"/>
                </a:lnTo>
                <a:cubicBezTo>
                  <a:pt x="79838" y="270327"/>
                  <a:pt x="98046" y="249317"/>
                  <a:pt x="98046" y="225506"/>
                </a:cubicBezTo>
                <a:cubicBezTo>
                  <a:pt x="98046" y="198893"/>
                  <a:pt x="75636" y="176483"/>
                  <a:pt x="49023" y="176483"/>
                </a:cubicBezTo>
                <a:cubicBezTo>
                  <a:pt x="22411" y="176483"/>
                  <a:pt x="0" y="198893"/>
                  <a:pt x="0" y="225506"/>
                </a:cubicBezTo>
                <a:cubicBezTo>
                  <a:pt x="0" y="250718"/>
                  <a:pt x="18209" y="270327"/>
                  <a:pt x="42020" y="273128"/>
                </a:cubicBezTo>
                <a:lnTo>
                  <a:pt x="42020" y="330555"/>
                </a:lnTo>
                <a:cubicBezTo>
                  <a:pt x="42020" y="333356"/>
                  <a:pt x="43421" y="336158"/>
                  <a:pt x="46222" y="337558"/>
                </a:cubicBezTo>
                <a:lnTo>
                  <a:pt x="168080" y="396386"/>
                </a:lnTo>
                <a:lnTo>
                  <a:pt x="168080" y="477624"/>
                </a:lnTo>
                <a:cubicBezTo>
                  <a:pt x="168080" y="481826"/>
                  <a:pt x="170881" y="484627"/>
                  <a:pt x="175083" y="484627"/>
                </a:cubicBezTo>
                <a:cubicBezTo>
                  <a:pt x="179285" y="484627"/>
                  <a:pt x="182086" y="481826"/>
                  <a:pt x="182086" y="477624"/>
                </a:cubicBezTo>
                <a:lnTo>
                  <a:pt x="182086" y="354366"/>
                </a:lnTo>
                <a:lnTo>
                  <a:pt x="303944" y="295539"/>
                </a:lnTo>
                <a:cubicBezTo>
                  <a:pt x="306745" y="294138"/>
                  <a:pt x="308146" y="291337"/>
                  <a:pt x="308146" y="288535"/>
                </a:cubicBezTo>
                <a:lnTo>
                  <a:pt x="308146" y="232509"/>
                </a:lnTo>
                <a:lnTo>
                  <a:pt x="350166" y="232509"/>
                </a:lnTo>
                <a:lnTo>
                  <a:pt x="350166" y="134463"/>
                </a:lnTo>
                <a:close/>
                <a:moveTo>
                  <a:pt x="175083" y="30814"/>
                </a:moveTo>
                <a:lnTo>
                  <a:pt x="205898" y="92443"/>
                </a:lnTo>
                <a:lnTo>
                  <a:pt x="144268" y="92443"/>
                </a:lnTo>
                <a:lnTo>
                  <a:pt x="175083" y="30814"/>
                </a:lnTo>
                <a:close/>
                <a:moveTo>
                  <a:pt x="14007" y="225506"/>
                </a:moveTo>
                <a:cubicBezTo>
                  <a:pt x="14007" y="205897"/>
                  <a:pt x="29414" y="190489"/>
                  <a:pt x="49023" y="190489"/>
                </a:cubicBezTo>
                <a:cubicBezTo>
                  <a:pt x="68633" y="190489"/>
                  <a:pt x="84040" y="205897"/>
                  <a:pt x="84040" y="225506"/>
                </a:cubicBezTo>
                <a:cubicBezTo>
                  <a:pt x="84040" y="245115"/>
                  <a:pt x="68633" y="260522"/>
                  <a:pt x="49023" y="260522"/>
                </a:cubicBezTo>
                <a:cubicBezTo>
                  <a:pt x="29414" y="260522"/>
                  <a:pt x="14007" y="245115"/>
                  <a:pt x="14007" y="225506"/>
                </a:cubicBezTo>
                <a:close/>
                <a:moveTo>
                  <a:pt x="336159" y="218503"/>
                </a:moveTo>
                <a:lnTo>
                  <a:pt x="266126" y="218503"/>
                </a:lnTo>
                <a:lnTo>
                  <a:pt x="266126" y="148470"/>
                </a:lnTo>
                <a:lnTo>
                  <a:pt x="336159" y="148470"/>
                </a:lnTo>
                <a:lnTo>
                  <a:pt x="336159" y="218503"/>
                </a:lnTo>
                <a:close/>
              </a:path>
            </a:pathLst>
          </a:custGeom>
          <a:solidFill>
            <a:schemeClr val="tx1"/>
          </a:solidFill>
          <a:ln w="13716" cap="flat">
            <a:noFill/>
            <a:prstDash val="solid"/>
            <a:miter/>
          </a:ln>
        </p:spPr>
        <p:txBody>
          <a:bodyPr rtlCol="0" anchor="ctr"/>
          <a:lstStyle/>
          <a:p>
            <a:endParaRPr lang="en-US"/>
          </a:p>
        </p:txBody>
      </p:sp>
      <p:grpSp>
        <p:nvGrpSpPr>
          <p:cNvPr id="5039" name="Graphic 2">
            <a:extLst>
              <a:ext uri="{FF2B5EF4-FFF2-40B4-BE49-F238E27FC236}">
                <a16:creationId xmlns:a16="http://schemas.microsoft.com/office/drawing/2014/main" id="{4CF18593-B0B0-4573-81D9-6C792FD8FD22}"/>
              </a:ext>
              <a:ext uri="{C183D7F6-B498-43B3-948B-1728B52AA6E4}">
                <adec:decorative xmlns:adec="http://schemas.microsoft.com/office/drawing/2017/decorative" val="1"/>
              </a:ext>
            </a:extLst>
          </p:cNvPr>
          <p:cNvGrpSpPr>
            <a:grpSpLocks noChangeAspect="1"/>
          </p:cNvGrpSpPr>
          <p:nvPr/>
        </p:nvGrpSpPr>
        <p:grpSpPr>
          <a:xfrm>
            <a:off x="3698636" y="4245360"/>
            <a:ext cx="152246" cy="93945"/>
            <a:chOff x="5842001" y="3219822"/>
            <a:chExt cx="507998" cy="313466"/>
          </a:xfrm>
          <a:solidFill>
            <a:schemeClr val="tx1"/>
          </a:solidFill>
        </p:grpSpPr>
        <p:sp>
          <p:nvSpPr>
            <p:cNvPr id="5040" name="Freeform: Shape 5039">
              <a:extLst>
                <a:ext uri="{FF2B5EF4-FFF2-40B4-BE49-F238E27FC236}">
                  <a16:creationId xmlns:a16="http://schemas.microsoft.com/office/drawing/2014/main" id="{549CA457-5A16-484B-8D95-AAABAF7C20AA}"/>
                </a:ext>
              </a:extLst>
            </p:cNvPr>
            <p:cNvSpPr/>
            <p:nvPr/>
          </p:nvSpPr>
          <p:spPr>
            <a:xfrm>
              <a:off x="5924885" y="3264279"/>
              <a:ext cx="343646" cy="104588"/>
            </a:xfrm>
            <a:custGeom>
              <a:avLst/>
              <a:gdLst>
                <a:gd name="connsiteX0" fmla="*/ 338306 w 343645"/>
                <a:gd name="connsiteY0" fmla="*/ 104955 h 104587"/>
                <a:gd name="connsiteX1" fmla="*/ 332180 w 343645"/>
                <a:gd name="connsiteY1" fmla="*/ 101668 h 104587"/>
                <a:gd name="connsiteX2" fmla="*/ 62683 w 343645"/>
                <a:gd name="connsiteY2" fmla="*/ 48516 h 104587"/>
                <a:gd name="connsiteX3" fmla="*/ 13486 w 343645"/>
                <a:gd name="connsiteY3" fmla="*/ 95990 h 104587"/>
                <a:gd name="connsiteX4" fmla="*/ 3081 w 343645"/>
                <a:gd name="connsiteY4" fmla="*/ 97821 h 104587"/>
                <a:gd name="connsiteX5" fmla="*/ 3028 w 343645"/>
                <a:gd name="connsiteY5" fmla="*/ 97783 h 104587"/>
                <a:gd name="connsiteX6" fmla="*/ 1384 w 343645"/>
                <a:gd name="connsiteY6" fmla="*/ 87324 h 104587"/>
                <a:gd name="connsiteX7" fmla="*/ 293260 w 343645"/>
                <a:gd name="connsiteY7" fmla="*/ 39184 h 104587"/>
                <a:gd name="connsiteX8" fmla="*/ 345030 w 343645"/>
                <a:gd name="connsiteY8" fmla="*/ 92554 h 104587"/>
                <a:gd name="connsiteX9" fmla="*/ 342938 w 343645"/>
                <a:gd name="connsiteY9" fmla="*/ 103012 h 104587"/>
                <a:gd name="connsiteX10" fmla="*/ 338306 w 343645"/>
                <a:gd name="connsiteY10" fmla="*/ 104955 h 10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645" h="104587">
                  <a:moveTo>
                    <a:pt x="338306" y="104955"/>
                  </a:moveTo>
                  <a:cubicBezTo>
                    <a:pt x="335848" y="104934"/>
                    <a:pt x="333557" y="103705"/>
                    <a:pt x="332180" y="101668"/>
                  </a:cubicBezTo>
                  <a:cubicBezTo>
                    <a:pt x="272438" y="12570"/>
                    <a:pt x="151780" y="-11226"/>
                    <a:pt x="62683" y="48516"/>
                  </a:cubicBezTo>
                  <a:cubicBezTo>
                    <a:pt x="43606" y="61307"/>
                    <a:pt x="26949" y="77381"/>
                    <a:pt x="13486" y="95990"/>
                  </a:cubicBezTo>
                  <a:cubicBezTo>
                    <a:pt x="11119" y="99369"/>
                    <a:pt x="6460" y="100189"/>
                    <a:pt x="3081" y="97821"/>
                  </a:cubicBezTo>
                  <a:cubicBezTo>
                    <a:pt x="3063" y="97808"/>
                    <a:pt x="3045" y="97796"/>
                    <a:pt x="3028" y="97783"/>
                  </a:cubicBezTo>
                  <a:cubicBezTo>
                    <a:pt x="-248" y="95309"/>
                    <a:pt x="-975" y="90684"/>
                    <a:pt x="1384" y="87324"/>
                  </a:cubicBezTo>
                  <a:cubicBezTo>
                    <a:pt x="68689" y="-6569"/>
                    <a:pt x="199367" y="-28122"/>
                    <a:pt x="293260" y="39184"/>
                  </a:cubicBezTo>
                  <a:cubicBezTo>
                    <a:pt x="313565" y="53739"/>
                    <a:pt x="331099" y="71815"/>
                    <a:pt x="345030" y="92554"/>
                  </a:cubicBezTo>
                  <a:cubicBezTo>
                    <a:pt x="347295" y="96028"/>
                    <a:pt x="346366" y="100677"/>
                    <a:pt x="342938" y="103012"/>
                  </a:cubicBezTo>
                  <a:cubicBezTo>
                    <a:pt x="341640" y="104136"/>
                    <a:pt x="340017" y="104817"/>
                    <a:pt x="338306" y="104955"/>
                  </a:cubicBezTo>
                  <a:close/>
                </a:path>
              </a:pathLst>
            </a:custGeom>
            <a:grpFill/>
            <a:ln w="14848" cap="flat">
              <a:noFill/>
              <a:prstDash val="solid"/>
              <a:miter/>
            </a:ln>
          </p:spPr>
          <p:txBody>
            <a:bodyPr rtlCol="0" anchor="ctr"/>
            <a:lstStyle/>
            <a:p>
              <a:endParaRPr lang="de-DE"/>
            </a:p>
          </p:txBody>
        </p:sp>
        <p:sp>
          <p:nvSpPr>
            <p:cNvPr id="5041" name="Freeform: Shape 5040">
              <a:extLst>
                <a:ext uri="{FF2B5EF4-FFF2-40B4-BE49-F238E27FC236}">
                  <a16:creationId xmlns:a16="http://schemas.microsoft.com/office/drawing/2014/main" id="{6AFAA6F5-4727-4F90-A04A-47ECCB9AD782}"/>
                </a:ext>
              </a:extLst>
            </p:cNvPr>
            <p:cNvSpPr/>
            <p:nvPr/>
          </p:nvSpPr>
          <p:spPr>
            <a:xfrm>
              <a:off x="5842001" y="3219822"/>
              <a:ext cx="507998" cy="253999"/>
            </a:xfrm>
            <a:custGeom>
              <a:avLst/>
              <a:gdLst>
                <a:gd name="connsiteX0" fmla="*/ 500527 w 507998"/>
                <a:gd name="connsiteY0" fmla="*/ 261470 h 253999"/>
                <a:gd name="connsiteX1" fmla="*/ 493057 w 507998"/>
                <a:gd name="connsiteY1" fmla="*/ 253999 h 253999"/>
                <a:gd name="connsiteX2" fmla="*/ 253999 w 507998"/>
                <a:gd name="connsiteY2" fmla="*/ 14941 h 253999"/>
                <a:gd name="connsiteX3" fmla="*/ 14941 w 507998"/>
                <a:gd name="connsiteY3" fmla="*/ 253999 h 253999"/>
                <a:gd name="connsiteX4" fmla="*/ 7471 w 507998"/>
                <a:gd name="connsiteY4" fmla="*/ 261470 h 253999"/>
                <a:gd name="connsiteX5" fmla="*/ 0 w 507998"/>
                <a:gd name="connsiteY5" fmla="*/ 253999 h 253999"/>
                <a:gd name="connsiteX6" fmla="*/ 253999 w 507998"/>
                <a:gd name="connsiteY6" fmla="*/ 0 h 253999"/>
                <a:gd name="connsiteX7" fmla="*/ 507998 w 507998"/>
                <a:gd name="connsiteY7" fmla="*/ 253999 h 253999"/>
                <a:gd name="connsiteX8" fmla="*/ 500527 w 507998"/>
                <a:gd name="connsiteY8" fmla="*/ 261470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998" h="253999">
                  <a:moveTo>
                    <a:pt x="500527" y="261470"/>
                  </a:moveTo>
                  <a:cubicBezTo>
                    <a:pt x="496402" y="261470"/>
                    <a:pt x="493057" y="258125"/>
                    <a:pt x="493057" y="253999"/>
                  </a:cubicBezTo>
                  <a:cubicBezTo>
                    <a:pt x="493057" y="121971"/>
                    <a:pt x="386028" y="14941"/>
                    <a:pt x="253999" y="14941"/>
                  </a:cubicBezTo>
                  <a:cubicBezTo>
                    <a:pt x="121971" y="14941"/>
                    <a:pt x="14941" y="121971"/>
                    <a:pt x="14941" y="253999"/>
                  </a:cubicBezTo>
                  <a:cubicBezTo>
                    <a:pt x="14941" y="258125"/>
                    <a:pt x="11596" y="261470"/>
                    <a:pt x="7471" y="261470"/>
                  </a:cubicBezTo>
                  <a:cubicBezTo>
                    <a:pt x="3345" y="261470"/>
                    <a:pt x="0" y="258125"/>
                    <a:pt x="0" y="253999"/>
                  </a:cubicBezTo>
                  <a:cubicBezTo>
                    <a:pt x="0" y="113719"/>
                    <a:pt x="113719" y="0"/>
                    <a:pt x="253999" y="0"/>
                  </a:cubicBezTo>
                  <a:cubicBezTo>
                    <a:pt x="394278" y="0"/>
                    <a:pt x="507998" y="113719"/>
                    <a:pt x="507998" y="253999"/>
                  </a:cubicBezTo>
                  <a:cubicBezTo>
                    <a:pt x="507998" y="258125"/>
                    <a:pt x="504653" y="261470"/>
                    <a:pt x="500527" y="261470"/>
                  </a:cubicBezTo>
                  <a:close/>
                </a:path>
              </a:pathLst>
            </a:custGeom>
            <a:grpFill/>
            <a:ln w="14848" cap="flat">
              <a:noFill/>
              <a:prstDash val="solid"/>
              <a:miter/>
            </a:ln>
          </p:spPr>
          <p:txBody>
            <a:bodyPr rtlCol="0" anchor="ctr"/>
            <a:lstStyle/>
            <a:p>
              <a:endParaRPr lang="de-DE"/>
            </a:p>
          </p:txBody>
        </p:sp>
        <p:sp>
          <p:nvSpPr>
            <p:cNvPr id="5042" name="Freeform: Shape 5041">
              <a:extLst>
                <a:ext uri="{FF2B5EF4-FFF2-40B4-BE49-F238E27FC236}">
                  <a16:creationId xmlns:a16="http://schemas.microsoft.com/office/drawing/2014/main" id="{ED6BDDE9-9D06-4C97-B279-F6080E218E22}"/>
                </a:ext>
              </a:extLst>
            </p:cNvPr>
            <p:cNvSpPr/>
            <p:nvPr/>
          </p:nvSpPr>
          <p:spPr>
            <a:xfrm rot="2412465">
              <a:off x="6012407" y="3339053"/>
              <a:ext cx="164352" cy="194235"/>
            </a:xfrm>
            <a:custGeom>
              <a:avLst/>
              <a:gdLst>
                <a:gd name="connsiteX0" fmla="*/ 120074 w 164352"/>
                <a:gd name="connsiteY0" fmla="*/ 90294 h 194234"/>
                <a:gd name="connsiteX1" fmla="*/ 92881 w 164352"/>
                <a:gd name="connsiteY1" fmla="*/ 98064 h 194234"/>
                <a:gd name="connsiteX2" fmla="*/ 13693 w 164352"/>
                <a:gd name="connsiteY2" fmla="*/ 3337 h 194234"/>
                <a:gd name="connsiteX3" fmla="*/ 3337 w 164352"/>
                <a:gd name="connsiteY3" fmla="*/ 1249 h 194234"/>
                <a:gd name="connsiteX4" fmla="*/ 1249 w 164352"/>
                <a:gd name="connsiteY4" fmla="*/ 11606 h 194234"/>
                <a:gd name="connsiteX5" fmla="*/ 2338 w 164352"/>
                <a:gd name="connsiteY5" fmla="*/ 12899 h 194234"/>
                <a:gd name="connsiteX6" fmla="*/ 81377 w 164352"/>
                <a:gd name="connsiteY6" fmla="*/ 107775 h 194234"/>
                <a:gd name="connsiteX7" fmla="*/ 67780 w 164352"/>
                <a:gd name="connsiteY7" fmla="*/ 142588 h 194234"/>
                <a:gd name="connsiteX8" fmla="*/ 120074 w 164352"/>
                <a:gd name="connsiteY8" fmla="*/ 194882 h 194234"/>
                <a:gd name="connsiteX9" fmla="*/ 172368 w 164352"/>
                <a:gd name="connsiteY9" fmla="*/ 142588 h 194234"/>
                <a:gd name="connsiteX10" fmla="*/ 120074 w 164352"/>
                <a:gd name="connsiteY10" fmla="*/ 90294 h 194234"/>
                <a:gd name="connsiteX11" fmla="*/ 120074 w 164352"/>
                <a:gd name="connsiteY11" fmla="*/ 179941 h 194234"/>
                <a:gd name="connsiteX12" fmla="*/ 82721 w 164352"/>
                <a:gd name="connsiteY12" fmla="*/ 142588 h 194234"/>
                <a:gd name="connsiteX13" fmla="*/ 120074 w 164352"/>
                <a:gd name="connsiteY13" fmla="*/ 105235 h 194234"/>
                <a:gd name="connsiteX14" fmla="*/ 157427 w 164352"/>
                <a:gd name="connsiteY14" fmla="*/ 142588 h 194234"/>
                <a:gd name="connsiteX15" fmla="*/ 120074 w 164352"/>
                <a:gd name="connsiteY15" fmla="*/ 179941 h 19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4352" h="194234">
                  <a:moveTo>
                    <a:pt x="120074" y="90294"/>
                  </a:moveTo>
                  <a:cubicBezTo>
                    <a:pt x="110470" y="90345"/>
                    <a:pt x="101063" y="93033"/>
                    <a:pt x="92881" y="98064"/>
                  </a:cubicBezTo>
                  <a:lnTo>
                    <a:pt x="13693" y="3337"/>
                  </a:lnTo>
                  <a:cubicBezTo>
                    <a:pt x="11410" y="-100"/>
                    <a:pt x="6773" y="-1034"/>
                    <a:pt x="3337" y="1249"/>
                  </a:cubicBezTo>
                  <a:cubicBezTo>
                    <a:pt x="-100" y="3533"/>
                    <a:pt x="-1034" y="8170"/>
                    <a:pt x="1249" y="11606"/>
                  </a:cubicBezTo>
                  <a:cubicBezTo>
                    <a:pt x="1562" y="12077"/>
                    <a:pt x="1927" y="12511"/>
                    <a:pt x="2338" y="12899"/>
                  </a:cubicBezTo>
                  <a:lnTo>
                    <a:pt x="81377" y="107775"/>
                  </a:lnTo>
                  <a:cubicBezTo>
                    <a:pt x="72662" y="117278"/>
                    <a:pt x="67813" y="129694"/>
                    <a:pt x="67780" y="142588"/>
                  </a:cubicBezTo>
                  <a:cubicBezTo>
                    <a:pt x="67780" y="171469"/>
                    <a:pt x="91193" y="194882"/>
                    <a:pt x="120074" y="194882"/>
                  </a:cubicBezTo>
                  <a:cubicBezTo>
                    <a:pt x="148955" y="194882"/>
                    <a:pt x="172368" y="171469"/>
                    <a:pt x="172368" y="142588"/>
                  </a:cubicBezTo>
                  <a:cubicBezTo>
                    <a:pt x="172368" y="113707"/>
                    <a:pt x="148955" y="90294"/>
                    <a:pt x="120074" y="90294"/>
                  </a:cubicBezTo>
                  <a:close/>
                  <a:moveTo>
                    <a:pt x="120074" y="179941"/>
                  </a:moveTo>
                  <a:cubicBezTo>
                    <a:pt x="99445" y="179941"/>
                    <a:pt x="82721" y="163217"/>
                    <a:pt x="82721" y="142588"/>
                  </a:cubicBezTo>
                  <a:cubicBezTo>
                    <a:pt x="82721" y="121959"/>
                    <a:pt x="99445" y="105235"/>
                    <a:pt x="120074" y="105235"/>
                  </a:cubicBezTo>
                  <a:cubicBezTo>
                    <a:pt x="140703" y="105235"/>
                    <a:pt x="157427" y="121959"/>
                    <a:pt x="157427" y="142588"/>
                  </a:cubicBezTo>
                  <a:cubicBezTo>
                    <a:pt x="157427" y="163217"/>
                    <a:pt x="140703" y="179941"/>
                    <a:pt x="120074" y="179941"/>
                  </a:cubicBezTo>
                  <a:close/>
                </a:path>
              </a:pathLst>
            </a:custGeom>
            <a:grpFill/>
            <a:ln w="14848" cap="flat">
              <a:noFill/>
              <a:prstDash val="solid"/>
              <a:miter/>
            </a:ln>
          </p:spPr>
          <p:txBody>
            <a:bodyPr rtlCol="0" anchor="ctr"/>
            <a:lstStyle/>
            <a:p>
              <a:endParaRPr lang="de-DE"/>
            </a:p>
          </p:txBody>
        </p:sp>
      </p:grpSp>
      <p:grpSp>
        <p:nvGrpSpPr>
          <p:cNvPr id="5043" name="Group 5042">
            <a:extLst>
              <a:ext uri="{FF2B5EF4-FFF2-40B4-BE49-F238E27FC236}">
                <a16:creationId xmlns:a16="http://schemas.microsoft.com/office/drawing/2014/main" id="{AB8AC1AB-E6A4-444D-86D7-BD4DD449D74E}"/>
              </a:ext>
              <a:ext uri="{C183D7F6-B498-43B3-948B-1728B52AA6E4}">
                <adec:decorative xmlns:adec="http://schemas.microsoft.com/office/drawing/2017/decorative" val="1"/>
              </a:ext>
            </a:extLst>
          </p:cNvPr>
          <p:cNvGrpSpPr>
            <a:grpSpLocks noChangeAspect="1"/>
          </p:cNvGrpSpPr>
          <p:nvPr/>
        </p:nvGrpSpPr>
        <p:grpSpPr>
          <a:xfrm>
            <a:off x="5019257" y="4259119"/>
            <a:ext cx="147768" cy="120901"/>
            <a:chOff x="5845125" y="3165473"/>
            <a:chExt cx="490200" cy="401072"/>
          </a:xfrm>
          <a:solidFill>
            <a:schemeClr val="tx1"/>
          </a:solidFill>
        </p:grpSpPr>
        <p:sp>
          <p:nvSpPr>
            <p:cNvPr id="5044" name="Freeform: Shape 5043">
              <a:extLst>
                <a:ext uri="{FF2B5EF4-FFF2-40B4-BE49-F238E27FC236}">
                  <a16:creationId xmlns:a16="http://schemas.microsoft.com/office/drawing/2014/main" id="{B82872F3-012D-4428-96B6-F4020A3239AD}"/>
                </a:ext>
              </a:extLst>
            </p:cNvPr>
            <p:cNvSpPr/>
            <p:nvPr/>
          </p:nvSpPr>
          <p:spPr>
            <a:xfrm>
              <a:off x="5845125" y="3165473"/>
              <a:ext cx="490200" cy="401072"/>
            </a:xfrm>
            <a:custGeom>
              <a:avLst/>
              <a:gdLst>
                <a:gd name="connsiteX0" fmla="*/ 497256 w 490200"/>
                <a:gd name="connsiteY0" fmla="*/ 414442 h 401072"/>
                <a:gd name="connsiteX1" fmla="*/ 497256 w 490200"/>
                <a:gd name="connsiteY1" fmla="*/ 414442 h 401072"/>
                <a:gd name="connsiteX2" fmla="*/ 7056 w 490200"/>
                <a:gd name="connsiteY2" fmla="*/ 414442 h 401072"/>
                <a:gd name="connsiteX3" fmla="*/ 1114 w 490200"/>
                <a:gd name="connsiteY3" fmla="*/ 409985 h 401072"/>
                <a:gd name="connsiteX4" fmla="*/ 1114 w 490200"/>
                <a:gd name="connsiteY4" fmla="*/ 402558 h 401072"/>
                <a:gd name="connsiteX5" fmla="*/ 246214 w 490200"/>
                <a:gd name="connsiteY5" fmla="*/ 2971 h 401072"/>
                <a:gd name="connsiteX6" fmla="*/ 252156 w 490200"/>
                <a:gd name="connsiteY6" fmla="*/ 0 h 401072"/>
                <a:gd name="connsiteX7" fmla="*/ 252156 w 490200"/>
                <a:gd name="connsiteY7" fmla="*/ 0 h 401072"/>
                <a:gd name="connsiteX8" fmla="*/ 258098 w 490200"/>
                <a:gd name="connsiteY8" fmla="*/ 2971 h 401072"/>
                <a:gd name="connsiteX9" fmla="*/ 503198 w 490200"/>
                <a:gd name="connsiteY9" fmla="*/ 402558 h 401072"/>
                <a:gd name="connsiteX10" fmla="*/ 503198 w 490200"/>
                <a:gd name="connsiteY10" fmla="*/ 409985 h 401072"/>
                <a:gd name="connsiteX11" fmla="*/ 497256 w 490200"/>
                <a:gd name="connsiteY11" fmla="*/ 414442 h 401072"/>
                <a:gd name="connsiteX12" fmla="*/ 20425 w 490200"/>
                <a:gd name="connsiteY12" fmla="*/ 399587 h 401072"/>
                <a:gd name="connsiteX13" fmla="*/ 483887 w 490200"/>
                <a:gd name="connsiteY13" fmla="*/ 399587 h 401072"/>
                <a:gd name="connsiteX14" fmla="*/ 252156 w 490200"/>
                <a:gd name="connsiteY14" fmla="*/ 22282 h 401072"/>
                <a:gd name="connsiteX15" fmla="*/ 20425 w 490200"/>
                <a:gd name="connsiteY15" fmla="*/ 399587 h 40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0200" h="401072">
                  <a:moveTo>
                    <a:pt x="497256" y="414442"/>
                  </a:moveTo>
                  <a:lnTo>
                    <a:pt x="497256" y="414442"/>
                  </a:lnTo>
                  <a:lnTo>
                    <a:pt x="7056" y="414442"/>
                  </a:lnTo>
                  <a:cubicBezTo>
                    <a:pt x="4085" y="414442"/>
                    <a:pt x="2600" y="412956"/>
                    <a:pt x="1114" y="409985"/>
                  </a:cubicBezTo>
                  <a:cubicBezTo>
                    <a:pt x="-371" y="407014"/>
                    <a:pt x="-371" y="404043"/>
                    <a:pt x="1114" y="402558"/>
                  </a:cubicBezTo>
                  <a:lnTo>
                    <a:pt x="246214" y="2971"/>
                  </a:lnTo>
                  <a:cubicBezTo>
                    <a:pt x="247700" y="1485"/>
                    <a:pt x="249185" y="0"/>
                    <a:pt x="252156" y="0"/>
                  </a:cubicBezTo>
                  <a:lnTo>
                    <a:pt x="252156" y="0"/>
                  </a:lnTo>
                  <a:cubicBezTo>
                    <a:pt x="255127" y="0"/>
                    <a:pt x="256613" y="1485"/>
                    <a:pt x="258098" y="2971"/>
                  </a:cubicBezTo>
                  <a:lnTo>
                    <a:pt x="503198" y="402558"/>
                  </a:lnTo>
                  <a:cubicBezTo>
                    <a:pt x="504684" y="405529"/>
                    <a:pt x="504684" y="407014"/>
                    <a:pt x="503198" y="409985"/>
                  </a:cubicBezTo>
                  <a:cubicBezTo>
                    <a:pt x="501713" y="412956"/>
                    <a:pt x="500227" y="414442"/>
                    <a:pt x="497256" y="414442"/>
                  </a:cubicBezTo>
                  <a:close/>
                  <a:moveTo>
                    <a:pt x="20425" y="399587"/>
                  </a:moveTo>
                  <a:lnTo>
                    <a:pt x="483887" y="399587"/>
                  </a:lnTo>
                  <a:lnTo>
                    <a:pt x="252156" y="22282"/>
                  </a:lnTo>
                  <a:lnTo>
                    <a:pt x="20425" y="399587"/>
                  </a:lnTo>
                  <a:close/>
                </a:path>
              </a:pathLst>
            </a:custGeom>
            <a:grpFill/>
            <a:ln w="14848" cap="flat">
              <a:noFill/>
              <a:prstDash val="solid"/>
              <a:miter/>
            </a:ln>
          </p:spPr>
          <p:txBody>
            <a:bodyPr rtlCol="0" anchor="ctr"/>
            <a:lstStyle/>
            <a:p>
              <a:endParaRPr lang="en-US"/>
            </a:p>
          </p:txBody>
        </p:sp>
        <p:sp>
          <p:nvSpPr>
            <p:cNvPr id="5045" name="Freeform: Shape 5044">
              <a:extLst>
                <a:ext uri="{FF2B5EF4-FFF2-40B4-BE49-F238E27FC236}">
                  <a16:creationId xmlns:a16="http://schemas.microsoft.com/office/drawing/2014/main" id="{83710D0A-0C5D-400D-BADF-E6F07E9F1CA3}"/>
                </a:ext>
              </a:extLst>
            </p:cNvPr>
            <p:cNvSpPr/>
            <p:nvPr/>
          </p:nvSpPr>
          <p:spPr>
            <a:xfrm>
              <a:off x="6059815" y="3397355"/>
              <a:ext cx="68506" cy="68506"/>
            </a:xfrm>
            <a:custGeom>
              <a:avLst/>
              <a:gdLst>
                <a:gd name="connsiteX0" fmla="*/ 39285 w 74705"/>
                <a:gd name="connsiteY0" fmla="*/ 79186 h 74705"/>
                <a:gd name="connsiteX1" fmla="*/ 1 w 74705"/>
                <a:gd name="connsiteY1" fmla="*/ 39285 h 74705"/>
                <a:gd name="connsiteX2" fmla="*/ 39903 w 74705"/>
                <a:gd name="connsiteY2" fmla="*/ 1 h 74705"/>
                <a:gd name="connsiteX3" fmla="*/ 79186 w 74705"/>
                <a:gd name="connsiteY3" fmla="*/ 39903 h 74705"/>
                <a:gd name="connsiteX4" fmla="*/ 79177 w 74705"/>
                <a:gd name="connsiteY4" fmla="*/ 40489 h 74705"/>
                <a:gd name="connsiteX5" fmla="*/ 39285 w 74705"/>
                <a:gd name="connsiteY5" fmla="*/ 79186 h 74705"/>
                <a:gd name="connsiteX6" fmla="*/ 39285 w 74705"/>
                <a:gd name="connsiteY6" fmla="*/ 15089 h 74705"/>
                <a:gd name="connsiteX7" fmla="*/ 14944 w 74705"/>
                <a:gd name="connsiteY7" fmla="*/ 40050 h 74705"/>
                <a:gd name="connsiteX8" fmla="*/ 39905 w 74705"/>
                <a:gd name="connsiteY8" fmla="*/ 64390 h 74705"/>
                <a:gd name="connsiteX9" fmla="*/ 64236 w 74705"/>
                <a:gd name="connsiteY9" fmla="*/ 40489 h 74705"/>
                <a:gd name="connsiteX10" fmla="*/ 40344 w 74705"/>
                <a:gd name="connsiteY10" fmla="*/ 15098 h 74705"/>
                <a:gd name="connsiteX11" fmla="*/ 39285 w 74705"/>
                <a:gd name="connsiteY11" fmla="*/ 15089 h 7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05" h="74705">
                  <a:moveTo>
                    <a:pt x="39285" y="79186"/>
                  </a:moveTo>
                  <a:cubicBezTo>
                    <a:pt x="17418" y="79016"/>
                    <a:pt x="-171" y="61151"/>
                    <a:pt x="1" y="39285"/>
                  </a:cubicBezTo>
                  <a:cubicBezTo>
                    <a:pt x="172" y="17418"/>
                    <a:pt x="18035" y="-171"/>
                    <a:pt x="39903" y="1"/>
                  </a:cubicBezTo>
                  <a:cubicBezTo>
                    <a:pt x="61769" y="172"/>
                    <a:pt x="79357" y="18035"/>
                    <a:pt x="79186" y="39903"/>
                  </a:cubicBezTo>
                  <a:cubicBezTo>
                    <a:pt x="79185" y="40097"/>
                    <a:pt x="79182" y="40293"/>
                    <a:pt x="79177" y="40489"/>
                  </a:cubicBezTo>
                  <a:cubicBezTo>
                    <a:pt x="78689" y="62122"/>
                    <a:pt x="60922" y="79355"/>
                    <a:pt x="39285" y="79186"/>
                  </a:cubicBezTo>
                  <a:close/>
                  <a:moveTo>
                    <a:pt x="39285" y="15089"/>
                  </a:moveTo>
                  <a:cubicBezTo>
                    <a:pt x="25670" y="15261"/>
                    <a:pt x="14772" y="26435"/>
                    <a:pt x="14944" y="40050"/>
                  </a:cubicBezTo>
                  <a:cubicBezTo>
                    <a:pt x="15116" y="53664"/>
                    <a:pt x="26290" y="64562"/>
                    <a:pt x="39905" y="64390"/>
                  </a:cubicBezTo>
                  <a:cubicBezTo>
                    <a:pt x="53108" y="64224"/>
                    <a:pt x="63836" y="53686"/>
                    <a:pt x="64236" y="40489"/>
                  </a:cubicBezTo>
                  <a:cubicBezTo>
                    <a:pt x="64650" y="26880"/>
                    <a:pt x="53952" y="15512"/>
                    <a:pt x="40344" y="15098"/>
                  </a:cubicBezTo>
                  <a:cubicBezTo>
                    <a:pt x="39991" y="15087"/>
                    <a:pt x="39637" y="15084"/>
                    <a:pt x="39285" y="15089"/>
                  </a:cubicBezTo>
                  <a:close/>
                </a:path>
              </a:pathLst>
            </a:custGeom>
            <a:grpFill/>
            <a:ln w="14848" cap="flat">
              <a:noFill/>
              <a:prstDash val="solid"/>
              <a:miter/>
            </a:ln>
          </p:spPr>
          <p:txBody>
            <a:bodyPr rtlCol="0" anchor="ctr"/>
            <a:lstStyle/>
            <a:p>
              <a:endParaRPr lang="de-DE"/>
            </a:p>
          </p:txBody>
        </p:sp>
        <p:sp>
          <p:nvSpPr>
            <p:cNvPr id="5046" name="Freeform: Shape 5045">
              <a:extLst>
                <a:ext uri="{FF2B5EF4-FFF2-40B4-BE49-F238E27FC236}">
                  <a16:creationId xmlns:a16="http://schemas.microsoft.com/office/drawing/2014/main" id="{583A4863-3161-47C9-84CD-CF7DD0333814}"/>
                </a:ext>
              </a:extLst>
            </p:cNvPr>
            <p:cNvSpPr/>
            <p:nvPr/>
          </p:nvSpPr>
          <p:spPr>
            <a:xfrm>
              <a:off x="5986320" y="3325065"/>
              <a:ext cx="219218" cy="219220"/>
            </a:xfrm>
            <a:custGeom>
              <a:avLst/>
              <a:gdLst>
                <a:gd name="connsiteX0" fmla="*/ 130955 w 239058"/>
                <a:gd name="connsiteY0" fmla="*/ 239129 h 239058"/>
                <a:gd name="connsiteX1" fmla="*/ 108842 w 239058"/>
                <a:gd name="connsiteY1" fmla="*/ 239129 h 239058"/>
                <a:gd name="connsiteX2" fmla="*/ 101820 w 239058"/>
                <a:gd name="connsiteY2" fmla="*/ 234049 h 239058"/>
                <a:gd name="connsiteX3" fmla="*/ 92557 w 239058"/>
                <a:gd name="connsiteY3" fmla="*/ 206856 h 239058"/>
                <a:gd name="connsiteX4" fmla="*/ 77615 w 239058"/>
                <a:gd name="connsiteY4" fmla="*/ 201776 h 239058"/>
                <a:gd name="connsiteX5" fmla="*/ 49078 w 239058"/>
                <a:gd name="connsiteY5" fmla="*/ 212384 h 239058"/>
                <a:gd name="connsiteX6" fmla="*/ 41159 w 239058"/>
                <a:gd name="connsiteY6" fmla="*/ 210741 h 239058"/>
                <a:gd name="connsiteX7" fmla="*/ 29505 w 239058"/>
                <a:gd name="connsiteY7" fmla="*/ 199086 h 239058"/>
                <a:gd name="connsiteX8" fmla="*/ 27861 w 239058"/>
                <a:gd name="connsiteY8" fmla="*/ 191168 h 239058"/>
                <a:gd name="connsiteX9" fmla="*/ 38470 w 239058"/>
                <a:gd name="connsiteY9" fmla="*/ 162630 h 239058"/>
                <a:gd name="connsiteX10" fmla="*/ 33390 w 239058"/>
                <a:gd name="connsiteY10" fmla="*/ 147689 h 239058"/>
                <a:gd name="connsiteX11" fmla="*/ 6197 w 239058"/>
                <a:gd name="connsiteY11" fmla="*/ 138425 h 239058"/>
                <a:gd name="connsiteX12" fmla="*/ 71 w 239058"/>
                <a:gd name="connsiteY12" fmla="*/ 129909 h 239058"/>
                <a:gd name="connsiteX13" fmla="*/ 71 w 239058"/>
                <a:gd name="connsiteY13" fmla="*/ 107796 h 239058"/>
                <a:gd name="connsiteX14" fmla="*/ 5151 w 239058"/>
                <a:gd name="connsiteY14" fmla="*/ 100624 h 239058"/>
                <a:gd name="connsiteX15" fmla="*/ 32344 w 239058"/>
                <a:gd name="connsiteY15" fmla="*/ 91361 h 239058"/>
                <a:gd name="connsiteX16" fmla="*/ 37424 w 239058"/>
                <a:gd name="connsiteY16" fmla="*/ 76419 h 239058"/>
                <a:gd name="connsiteX17" fmla="*/ 26815 w 239058"/>
                <a:gd name="connsiteY17" fmla="*/ 47882 h 239058"/>
                <a:gd name="connsiteX18" fmla="*/ 28459 w 239058"/>
                <a:gd name="connsiteY18" fmla="*/ 40112 h 239058"/>
                <a:gd name="connsiteX19" fmla="*/ 40113 w 239058"/>
                <a:gd name="connsiteY19" fmla="*/ 28309 h 239058"/>
                <a:gd name="connsiteX20" fmla="*/ 48032 w 239058"/>
                <a:gd name="connsiteY20" fmla="*/ 26665 h 239058"/>
                <a:gd name="connsiteX21" fmla="*/ 76569 w 239058"/>
                <a:gd name="connsiteY21" fmla="*/ 37274 h 239058"/>
                <a:gd name="connsiteX22" fmla="*/ 91511 w 239058"/>
                <a:gd name="connsiteY22" fmla="*/ 32343 h 239058"/>
                <a:gd name="connsiteX23" fmla="*/ 100774 w 239058"/>
                <a:gd name="connsiteY23" fmla="*/ 5001 h 239058"/>
                <a:gd name="connsiteX24" fmla="*/ 108842 w 239058"/>
                <a:gd name="connsiteY24" fmla="*/ 70 h 239058"/>
                <a:gd name="connsiteX25" fmla="*/ 130955 w 239058"/>
                <a:gd name="connsiteY25" fmla="*/ 70 h 239058"/>
                <a:gd name="connsiteX26" fmla="*/ 138127 w 239058"/>
                <a:gd name="connsiteY26" fmla="*/ 5001 h 239058"/>
                <a:gd name="connsiteX27" fmla="*/ 147391 w 239058"/>
                <a:gd name="connsiteY27" fmla="*/ 32343 h 239058"/>
                <a:gd name="connsiteX28" fmla="*/ 163079 w 239058"/>
                <a:gd name="connsiteY28" fmla="*/ 37274 h 239058"/>
                <a:gd name="connsiteX29" fmla="*/ 191616 w 239058"/>
                <a:gd name="connsiteY29" fmla="*/ 26665 h 239058"/>
                <a:gd name="connsiteX30" fmla="*/ 199386 w 239058"/>
                <a:gd name="connsiteY30" fmla="*/ 28309 h 239058"/>
                <a:gd name="connsiteX31" fmla="*/ 211189 w 239058"/>
                <a:gd name="connsiteY31" fmla="*/ 40112 h 239058"/>
                <a:gd name="connsiteX32" fmla="*/ 212833 w 239058"/>
                <a:gd name="connsiteY32" fmla="*/ 47882 h 239058"/>
                <a:gd name="connsiteX33" fmla="*/ 202225 w 239058"/>
                <a:gd name="connsiteY33" fmla="*/ 76419 h 239058"/>
                <a:gd name="connsiteX34" fmla="*/ 207155 w 239058"/>
                <a:gd name="connsiteY34" fmla="*/ 91361 h 239058"/>
                <a:gd name="connsiteX35" fmla="*/ 234497 w 239058"/>
                <a:gd name="connsiteY35" fmla="*/ 100624 h 239058"/>
                <a:gd name="connsiteX36" fmla="*/ 239428 w 239058"/>
                <a:gd name="connsiteY36" fmla="*/ 107796 h 239058"/>
                <a:gd name="connsiteX37" fmla="*/ 239428 w 239058"/>
                <a:gd name="connsiteY37" fmla="*/ 129909 h 239058"/>
                <a:gd name="connsiteX38" fmla="*/ 234497 w 239058"/>
                <a:gd name="connsiteY38" fmla="*/ 136931 h 239058"/>
                <a:gd name="connsiteX39" fmla="*/ 207155 w 239058"/>
                <a:gd name="connsiteY39" fmla="*/ 146195 h 239058"/>
                <a:gd name="connsiteX40" fmla="*/ 202225 w 239058"/>
                <a:gd name="connsiteY40" fmla="*/ 161136 h 239058"/>
                <a:gd name="connsiteX41" fmla="*/ 212833 w 239058"/>
                <a:gd name="connsiteY41" fmla="*/ 189673 h 239058"/>
                <a:gd name="connsiteX42" fmla="*/ 211189 w 239058"/>
                <a:gd name="connsiteY42" fmla="*/ 197592 h 239058"/>
                <a:gd name="connsiteX43" fmla="*/ 199386 w 239058"/>
                <a:gd name="connsiteY43" fmla="*/ 209246 h 239058"/>
                <a:gd name="connsiteX44" fmla="*/ 191616 w 239058"/>
                <a:gd name="connsiteY44" fmla="*/ 210890 h 239058"/>
                <a:gd name="connsiteX45" fmla="*/ 163079 w 239058"/>
                <a:gd name="connsiteY45" fmla="*/ 200282 h 239058"/>
                <a:gd name="connsiteX46" fmla="*/ 147391 w 239058"/>
                <a:gd name="connsiteY46" fmla="*/ 205362 h 239058"/>
                <a:gd name="connsiteX47" fmla="*/ 138127 w 239058"/>
                <a:gd name="connsiteY47" fmla="*/ 232555 h 239058"/>
                <a:gd name="connsiteX48" fmla="*/ 130955 w 239058"/>
                <a:gd name="connsiteY48" fmla="*/ 239129 h 239058"/>
                <a:gd name="connsiteX49" fmla="*/ 114221 w 239058"/>
                <a:gd name="connsiteY49" fmla="*/ 224188 h 239058"/>
                <a:gd name="connsiteX50" fmla="*/ 125726 w 239058"/>
                <a:gd name="connsiteY50" fmla="*/ 224188 h 239058"/>
                <a:gd name="connsiteX51" fmla="*/ 134541 w 239058"/>
                <a:gd name="connsiteY51" fmla="*/ 197592 h 239058"/>
                <a:gd name="connsiteX52" fmla="*/ 139322 w 239058"/>
                <a:gd name="connsiteY52" fmla="*/ 192961 h 239058"/>
                <a:gd name="connsiteX53" fmla="*/ 160987 w 239058"/>
                <a:gd name="connsiteY53" fmla="*/ 186088 h 239058"/>
                <a:gd name="connsiteX54" fmla="*/ 165918 w 239058"/>
                <a:gd name="connsiteY54" fmla="*/ 186088 h 239058"/>
                <a:gd name="connsiteX55" fmla="*/ 192214 w 239058"/>
                <a:gd name="connsiteY55" fmla="*/ 195949 h 239058"/>
                <a:gd name="connsiteX56" fmla="*/ 197145 w 239058"/>
                <a:gd name="connsiteY56" fmla="*/ 191168 h 239058"/>
                <a:gd name="connsiteX57" fmla="*/ 187283 w 239058"/>
                <a:gd name="connsiteY57" fmla="*/ 164423 h 239058"/>
                <a:gd name="connsiteX58" fmla="*/ 187283 w 239058"/>
                <a:gd name="connsiteY58" fmla="*/ 159642 h 239058"/>
                <a:gd name="connsiteX59" fmla="*/ 194306 w 239058"/>
                <a:gd name="connsiteY59" fmla="*/ 138126 h 239058"/>
                <a:gd name="connsiteX60" fmla="*/ 198937 w 239058"/>
                <a:gd name="connsiteY60" fmla="*/ 133345 h 239058"/>
                <a:gd name="connsiteX61" fmla="*/ 224188 w 239058"/>
                <a:gd name="connsiteY61" fmla="*/ 124530 h 239058"/>
                <a:gd name="connsiteX62" fmla="*/ 224188 w 239058"/>
                <a:gd name="connsiteY62" fmla="*/ 113025 h 239058"/>
                <a:gd name="connsiteX63" fmla="*/ 198788 w 239058"/>
                <a:gd name="connsiteY63" fmla="*/ 104658 h 239058"/>
                <a:gd name="connsiteX64" fmla="*/ 194156 w 239058"/>
                <a:gd name="connsiteY64" fmla="*/ 99877 h 239058"/>
                <a:gd name="connsiteX65" fmla="*/ 187134 w 239058"/>
                <a:gd name="connsiteY65" fmla="*/ 78212 h 239058"/>
                <a:gd name="connsiteX66" fmla="*/ 187134 w 239058"/>
                <a:gd name="connsiteY66" fmla="*/ 73282 h 239058"/>
                <a:gd name="connsiteX67" fmla="*/ 196995 w 239058"/>
                <a:gd name="connsiteY67" fmla="*/ 46985 h 239058"/>
                <a:gd name="connsiteX68" fmla="*/ 192065 w 239058"/>
                <a:gd name="connsiteY68" fmla="*/ 42055 h 239058"/>
                <a:gd name="connsiteX69" fmla="*/ 165768 w 239058"/>
                <a:gd name="connsiteY69" fmla="*/ 51916 h 239058"/>
                <a:gd name="connsiteX70" fmla="*/ 160838 w 239058"/>
                <a:gd name="connsiteY70" fmla="*/ 51916 h 239058"/>
                <a:gd name="connsiteX71" fmla="*/ 139322 w 239058"/>
                <a:gd name="connsiteY71" fmla="*/ 44894 h 239058"/>
                <a:gd name="connsiteX72" fmla="*/ 134541 w 239058"/>
                <a:gd name="connsiteY72" fmla="*/ 39963 h 239058"/>
                <a:gd name="connsiteX73" fmla="*/ 125726 w 239058"/>
                <a:gd name="connsiteY73" fmla="*/ 15011 h 239058"/>
                <a:gd name="connsiteX74" fmla="*/ 114221 w 239058"/>
                <a:gd name="connsiteY74" fmla="*/ 15011 h 239058"/>
                <a:gd name="connsiteX75" fmla="*/ 105406 w 239058"/>
                <a:gd name="connsiteY75" fmla="*/ 40710 h 239058"/>
                <a:gd name="connsiteX76" fmla="*/ 100625 w 239058"/>
                <a:gd name="connsiteY76" fmla="*/ 45342 h 239058"/>
                <a:gd name="connsiteX77" fmla="*/ 78811 w 239058"/>
                <a:gd name="connsiteY77" fmla="*/ 52364 h 239058"/>
                <a:gd name="connsiteX78" fmla="*/ 74030 w 239058"/>
                <a:gd name="connsiteY78" fmla="*/ 52364 h 239058"/>
                <a:gd name="connsiteX79" fmla="*/ 47584 w 239058"/>
                <a:gd name="connsiteY79" fmla="*/ 42503 h 239058"/>
                <a:gd name="connsiteX80" fmla="*/ 42802 w 239058"/>
                <a:gd name="connsiteY80" fmla="*/ 47434 h 239058"/>
                <a:gd name="connsiteX81" fmla="*/ 52664 w 239058"/>
                <a:gd name="connsiteY81" fmla="*/ 73730 h 239058"/>
                <a:gd name="connsiteX82" fmla="*/ 52664 w 239058"/>
                <a:gd name="connsiteY82" fmla="*/ 78661 h 239058"/>
                <a:gd name="connsiteX83" fmla="*/ 45791 w 239058"/>
                <a:gd name="connsiteY83" fmla="*/ 100325 h 239058"/>
                <a:gd name="connsiteX84" fmla="*/ 41159 w 239058"/>
                <a:gd name="connsiteY84" fmla="*/ 105107 h 239058"/>
                <a:gd name="connsiteX85" fmla="*/ 15012 w 239058"/>
                <a:gd name="connsiteY85" fmla="*/ 113025 h 239058"/>
                <a:gd name="connsiteX86" fmla="*/ 15012 w 239058"/>
                <a:gd name="connsiteY86" fmla="*/ 124530 h 239058"/>
                <a:gd name="connsiteX87" fmla="*/ 40860 w 239058"/>
                <a:gd name="connsiteY87" fmla="*/ 133345 h 239058"/>
                <a:gd name="connsiteX88" fmla="*/ 45492 w 239058"/>
                <a:gd name="connsiteY88" fmla="*/ 138126 h 239058"/>
                <a:gd name="connsiteX89" fmla="*/ 52365 w 239058"/>
                <a:gd name="connsiteY89" fmla="*/ 159941 h 239058"/>
                <a:gd name="connsiteX90" fmla="*/ 52365 w 239058"/>
                <a:gd name="connsiteY90" fmla="*/ 164722 h 239058"/>
                <a:gd name="connsiteX91" fmla="*/ 42504 w 239058"/>
                <a:gd name="connsiteY91" fmla="*/ 191168 h 239058"/>
                <a:gd name="connsiteX92" fmla="*/ 47285 w 239058"/>
                <a:gd name="connsiteY92" fmla="*/ 195949 h 239058"/>
                <a:gd name="connsiteX93" fmla="*/ 74777 w 239058"/>
                <a:gd name="connsiteY93" fmla="*/ 186088 h 239058"/>
                <a:gd name="connsiteX94" fmla="*/ 79558 w 239058"/>
                <a:gd name="connsiteY94" fmla="*/ 186088 h 239058"/>
                <a:gd name="connsiteX95" fmla="*/ 101372 w 239058"/>
                <a:gd name="connsiteY95" fmla="*/ 192961 h 239058"/>
                <a:gd name="connsiteX96" fmla="*/ 106153 w 239058"/>
                <a:gd name="connsiteY96" fmla="*/ 197592 h 23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39058" h="239058">
                  <a:moveTo>
                    <a:pt x="130955" y="239129"/>
                  </a:moveTo>
                  <a:lnTo>
                    <a:pt x="108842" y="239129"/>
                  </a:lnTo>
                  <a:cubicBezTo>
                    <a:pt x="105673" y="239061"/>
                    <a:pt x="102876" y="237038"/>
                    <a:pt x="101820" y="234049"/>
                  </a:cubicBezTo>
                  <a:lnTo>
                    <a:pt x="92557" y="206856"/>
                  </a:lnTo>
                  <a:lnTo>
                    <a:pt x="77615" y="201776"/>
                  </a:lnTo>
                  <a:lnTo>
                    <a:pt x="49078" y="212384"/>
                  </a:lnTo>
                  <a:cubicBezTo>
                    <a:pt x="46344" y="213436"/>
                    <a:pt x="43248" y="212793"/>
                    <a:pt x="41159" y="210741"/>
                  </a:cubicBezTo>
                  <a:lnTo>
                    <a:pt x="29505" y="199086"/>
                  </a:lnTo>
                  <a:cubicBezTo>
                    <a:pt x="27452" y="196998"/>
                    <a:pt x="26810" y="193902"/>
                    <a:pt x="27861" y="191168"/>
                  </a:cubicBezTo>
                  <a:lnTo>
                    <a:pt x="38470" y="162630"/>
                  </a:lnTo>
                  <a:lnTo>
                    <a:pt x="33390" y="147689"/>
                  </a:lnTo>
                  <a:lnTo>
                    <a:pt x="6197" y="138425"/>
                  </a:lnTo>
                  <a:cubicBezTo>
                    <a:pt x="2215" y="137668"/>
                    <a:pt x="-478" y="133925"/>
                    <a:pt x="71" y="129909"/>
                  </a:cubicBezTo>
                  <a:lnTo>
                    <a:pt x="71" y="107796"/>
                  </a:lnTo>
                  <a:cubicBezTo>
                    <a:pt x="76" y="104572"/>
                    <a:pt x="2111" y="101698"/>
                    <a:pt x="5151" y="100624"/>
                  </a:cubicBezTo>
                  <a:lnTo>
                    <a:pt x="32344" y="91361"/>
                  </a:lnTo>
                  <a:lnTo>
                    <a:pt x="37424" y="76419"/>
                  </a:lnTo>
                  <a:lnTo>
                    <a:pt x="26815" y="47882"/>
                  </a:lnTo>
                  <a:cubicBezTo>
                    <a:pt x="25749" y="45197"/>
                    <a:pt x="26397" y="42135"/>
                    <a:pt x="28459" y="40112"/>
                  </a:cubicBezTo>
                  <a:lnTo>
                    <a:pt x="40113" y="28309"/>
                  </a:lnTo>
                  <a:cubicBezTo>
                    <a:pt x="42238" y="26322"/>
                    <a:pt x="45293" y="25688"/>
                    <a:pt x="48032" y="26665"/>
                  </a:cubicBezTo>
                  <a:lnTo>
                    <a:pt x="76569" y="37274"/>
                  </a:lnTo>
                  <a:lnTo>
                    <a:pt x="91511" y="32343"/>
                  </a:lnTo>
                  <a:lnTo>
                    <a:pt x="100774" y="5001"/>
                  </a:lnTo>
                  <a:cubicBezTo>
                    <a:pt x="101949" y="1648"/>
                    <a:pt x="105322" y="-414"/>
                    <a:pt x="108842" y="70"/>
                  </a:cubicBezTo>
                  <a:lnTo>
                    <a:pt x="130955" y="70"/>
                  </a:lnTo>
                  <a:cubicBezTo>
                    <a:pt x="134156" y="8"/>
                    <a:pt x="137039" y="1991"/>
                    <a:pt x="138127" y="5001"/>
                  </a:cubicBezTo>
                  <a:lnTo>
                    <a:pt x="147391" y="32343"/>
                  </a:lnTo>
                  <a:lnTo>
                    <a:pt x="163079" y="37274"/>
                  </a:lnTo>
                  <a:lnTo>
                    <a:pt x="191616" y="26665"/>
                  </a:lnTo>
                  <a:cubicBezTo>
                    <a:pt x="194307" y="25677"/>
                    <a:pt x="197325" y="26316"/>
                    <a:pt x="199386" y="28309"/>
                  </a:cubicBezTo>
                  <a:lnTo>
                    <a:pt x="211189" y="40112"/>
                  </a:lnTo>
                  <a:cubicBezTo>
                    <a:pt x="213182" y="42173"/>
                    <a:pt x="213820" y="45191"/>
                    <a:pt x="212833" y="47882"/>
                  </a:cubicBezTo>
                  <a:lnTo>
                    <a:pt x="202225" y="76419"/>
                  </a:lnTo>
                  <a:lnTo>
                    <a:pt x="207155" y="91361"/>
                  </a:lnTo>
                  <a:lnTo>
                    <a:pt x="234497" y="100624"/>
                  </a:lnTo>
                  <a:cubicBezTo>
                    <a:pt x="237508" y="101712"/>
                    <a:pt x="239491" y="104596"/>
                    <a:pt x="239428" y="107796"/>
                  </a:cubicBezTo>
                  <a:lnTo>
                    <a:pt x="239428" y="129909"/>
                  </a:lnTo>
                  <a:cubicBezTo>
                    <a:pt x="239427" y="133054"/>
                    <a:pt x="237456" y="135861"/>
                    <a:pt x="234497" y="136931"/>
                  </a:cubicBezTo>
                  <a:lnTo>
                    <a:pt x="207155" y="146195"/>
                  </a:lnTo>
                  <a:lnTo>
                    <a:pt x="202225" y="161136"/>
                  </a:lnTo>
                  <a:lnTo>
                    <a:pt x="212833" y="189673"/>
                  </a:lnTo>
                  <a:cubicBezTo>
                    <a:pt x="213810" y="192412"/>
                    <a:pt x="213176" y="195468"/>
                    <a:pt x="211189" y="197592"/>
                  </a:cubicBezTo>
                  <a:lnTo>
                    <a:pt x="199386" y="209246"/>
                  </a:lnTo>
                  <a:cubicBezTo>
                    <a:pt x="197363" y="211308"/>
                    <a:pt x="194301" y="211957"/>
                    <a:pt x="191616" y="210890"/>
                  </a:cubicBezTo>
                  <a:lnTo>
                    <a:pt x="163079" y="200282"/>
                  </a:lnTo>
                  <a:lnTo>
                    <a:pt x="147391" y="205362"/>
                  </a:lnTo>
                  <a:lnTo>
                    <a:pt x="138127" y="232555"/>
                  </a:lnTo>
                  <a:cubicBezTo>
                    <a:pt x="137628" y="236185"/>
                    <a:pt x="134616" y="238948"/>
                    <a:pt x="130955" y="239129"/>
                  </a:cubicBezTo>
                  <a:close/>
                  <a:moveTo>
                    <a:pt x="114221" y="224188"/>
                  </a:moveTo>
                  <a:lnTo>
                    <a:pt x="125726" y="224188"/>
                  </a:lnTo>
                  <a:lnTo>
                    <a:pt x="134541" y="197592"/>
                  </a:lnTo>
                  <a:cubicBezTo>
                    <a:pt x="135300" y="195371"/>
                    <a:pt x="137078" y="193649"/>
                    <a:pt x="139322" y="192961"/>
                  </a:cubicBezTo>
                  <a:lnTo>
                    <a:pt x="160987" y="186088"/>
                  </a:lnTo>
                  <a:cubicBezTo>
                    <a:pt x="162577" y="185491"/>
                    <a:pt x="164328" y="185491"/>
                    <a:pt x="165918" y="186088"/>
                  </a:cubicBezTo>
                  <a:lnTo>
                    <a:pt x="192214" y="195949"/>
                  </a:lnTo>
                  <a:lnTo>
                    <a:pt x="197145" y="191168"/>
                  </a:lnTo>
                  <a:lnTo>
                    <a:pt x="187283" y="164423"/>
                  </a:lnTo>
                  <a:cubicBezTo>
                    <a:pt x="186759" y="162872"/>
                    <a:pt x="186759" y="161193"/>
                    <a:pt x="187283" y="159642"/>
                  </a:cubicBezTo>
                  <a:lnTo>
                    <a:pt x="194306" y="138126"/>
                  </a:lnTo>
                  <a:cubicBezTo>
                    <a:pt x="194995" y="135882"/>
                    <a:pt x="196716" y="134104"/>
                    <a:pt x="198937" y="133345"/>
                  </a:cubicBezTo>
                  <a:lnTo>
                    <a:pt x="224188" y="124530"/>
                  </a:lnTo>
                  <a:lnTo>
                    <a:pt x="224188" y="113025"/>
                  </a:lnTo>
                  <a:lnTo>
                    <a:pt x="198788" y="104658"/>
                  </a:lnTo>
                  <a:cubicBezTo>
                    <a:pt x="196566" y="103899"/>
                    <a:pt x="194845" y="102121"/>
                    <a:pt x="194156" y="99877"/>
                  </a:cubicBezTo>
                  <a:lnTo>
                    <a:pt x="187134" y="78212"/>
                  </a:lnTo>
                  <a:cubicBezTo>
                    <a:pt x="186610" y="76611"/>
                    <a:pt x="186610" y="74884"/>
                    <a:pt x="187134" y="73282"/>
                  </a:cubicBezTo>
                  <a:lnTo>
                    <a:pt x="196995" y="46985"/>
                  </a:lnTo>
                  <a:lnTo>
                    <a:pt x="192065" y="42055"/>
                  </a:lnTo>
                  <a:lnTo>
                    <a:pt x="165768" y="51916"/>
                  </a:lnTo>
                  <a:cubicBezTo>
                    <a:pt x="164166" y="52441"/>
                    <a:pt x="162439" y="52441"/>
                    <a:pt x="160838" y="51916"/>
                  </a:cubicBezTo>
                  <a:lnTo>
                    <a:pt x="139322" y="44894"/>
                  </a:lnTo>
                  <a:cubicBezTo>
                    <a:pt x="136978" y="44195"/>
                    <a:pt x="135167" y="42327"/>
                    <a:pt x="134541" y="39963"/>
                  </a:cubicBezTo>
                  <a:lnTo>
                    <a:pt x="125726" y="15011"/>
                  </a:lnTo>
                  <a:lnTo>
                    <a:pt x="114221" y="15011"/>
                  </a:lnTo>
                  <a:lnTo>
                    <a:pt x="105406" y="40710"/>
                  </a:lnTo>
                  <a:cubicBezTo>
                    <a:pt x="104692" y="42959"/>
                    <a:pt x="102896" y="44699"/>
                    <a:pt x="100625" y="45342"/>
                  </a:cubicBezTo>
                  <a:lnTo>
                    <a:pt x="78811" y="52364"/>
                  </a:lnTo>
                  <a:cubicBezTo>
                    <a:pt x="77260" y="52888"/>
                    <a:pt x="75580" y="52888"/>
                    <a:pt x="74030" y="52364"/>
                  </a:cubicBezTo>
                  <a:lnTo>
                    <a:pt x="47584" y="42503"/>
                  </a:lnTo>
                  <a:lnTo>
                    <a:pt x="42802" y="47434"/>
                  </a:lnTo>
                  <a:lnTo>
                    <a:pt x="52664" y="73730"/>
                  </a:lnTo>
                  <a:cubicBezTo>
                    <a:pt x="53260" y="75320"/>
                    <a:pt x="53260" y="77071"/>
                    <a:pt x="52664" y="78661"/>
                  </a:cubicBezTo>
                  <a:lnTo>
                    <a:pt x="45791" y="100325"/>
                  </a:lnTo>
                  <a:cubicBezTo>
                    <a:pt x="45102" y="102570"/>
                    <a:pt x="43381" y="104348"/>
                    <a:pt x="41159" y="105107"/>
                  </a:cubicBezTo>
                  <a:lnTo>
                    <a:pt x="15012" y="113025"/>
                  </a:lnTo>
                  <a:lnTo>
                    <a:pt x="15012" y="124530"/>
                  </a:lnTo>
                  <a:lnTo>
                    <a:pt x="40860" y="133345"/>
                  </a:lnTo>
                  <a:cubicBezTo>
                    <a:pt x="43082" y="134104"/>
                    <a:pt x="44803" y="135882"/>
                    <a:pt x="45492" y="138126"/>
                  </a:cubicBezTo>
                  <a:lnTo>
                    <a:pt x="52365" y="159941"/>
                  </a:lnTo>
                  <a:cubicBezTo>
                    <a:pt x="52965" y="161478"/>
                    <a:pt x="52965" y="163184"/>
                    <a:pt x="52365" y="164722"/>
                  </a:cubicBezTo>
                  <a:lnTo>
                    <a:pt x="42504" y="191168"/>
                  </a:lnTo>
                  <a:lnTo>
                    <a:pt x="47285" y="195949"/>
                  </a:lnTo>
                  <a:lnTo>
                    <a:pt x="74777" y="186088"/>
                  </a:lnTo>
                  <a:cubicBezTo>
                    <a:pt x="76314" y="185487"/>
                    <a:pt x="78020" y="185487"/>
                    <a:pt x="79558" y="186088"/>
                  </a:cubicBezTo>
                  <a:lnTo>
                    <a:pt x="101372" y="192961"/>
                  </a:lnTo>
                  <a:cubicBezTo>
                    <a:pt x="103616" y="193649"/>
                    <a:pt x="105394" y="195371"/>
                    <a:pt x="106153" y="197592"/>
                  </a:cubicBezTo>
                  <a:close/>
                </a:path>
              </a:pathLst>
            </a:custGeom>
            <a:grpFill/>
            <a:ln w="14848" cap="flat">
              <a:noFill/>
              <a:prstDash val="solid"/>
              <a:miter/>
            </a:ln>
          </p:spPr>
          <p:txBody>
            <a:bodyPr rtlCol="0" anchor="ctr"/>
            <a:lstStyle/>
            <a:p>
              <a:endParaRPr lang="de-DE"/>
            </a:p>
          </p:txBody>
        </p:sp>
      </p:grpSp>
      <p:grpSp>
        <p:nvGrpSpPr>
          <p:cNvPr id="5081" name="Group 5080">
            <a:extLst>
              <a:ext uri="{FF2B5EF4-FFF2-40B4-BE49-F238E27FC236}">
                <a16:creationId xmlns:a16="http://schemas.microsoft.com/office/drawing/2014/main" id="{0ED2C8B8-9620-4567-BB3C-DF6011758D4F}"/>
              </a:ext>
              <a:ext uri="{C183D7F6-B498-43B3-948B-1728B52AA6E4}">
                <adec:decorative xmlns:adec="http://schemas.microsoft.com/office/drawing/2017/decorative" val="1"/>
              </a:ext>
            </a:extLst>
          </p:cNvPr>
          <p:cNvGrpSpPr>
            <a:grpSpLocks noChangeAspect="1"/>
          </p:cNvGrpSpPr>
          <p:nvPr/>
        </p:nvGrpSpPr>
        <p:grpSpPr>
          <a:xfrm>
            <a:off x="1368380" y="2427244"/>
            <a:ext cx="98512" cy="125379"/>
            <a:chOff x="5914038" y="3197412"/>
            <a:chExt cx="363924" cy="463176"/>
          </a:xfrm>
        </p:grpSpPr>
        <p:grpSp>
          <p:nvGrpSpPr>
            <p:cNvPr id="5082" name="Graphic 4">
              <a:extLst>
                <a:ext uri="{FF2B5EF4-FFF2-40B4-BE49-F238E27FC236}">
                  <a16:creationId xmlns:a16="http://schemas.microsoft.com/office/drawing/2014/main" id="{A51E1BF1-520D-4111-A633-A427C354DA3C}"/>
                </a:ext>
              </a:extLst>
            </p:cNvPr>
            <p:cNvGrpSpPr>
              <a:grpSpLocks noChangeAspect="1"/>
            </p:cNvGrpSpPr>
            <p:nvPr/>
          </p:nvGrpSpPr>
          <p:grpSpPr>
            <a:xfrm>
              <a:off x="5914038" y="3197412"/>
              <a:ext cx="363924" cy="463176"/>
              <a:chOff x="5914038" y="3152586"/>
              <a:chExt cx="363924" cy="463176"/>
            </a:xfrm>
            <a:solidFill>
              <a:schemeClr val="tx1"/>
            </a:solidFill>
          </p:grpSpPr>
          <p:sp>
            <p:nvSpPr>
              <p:cNvPr id="5084" name="Freeform: Shape 5083">
                <a:extLst>
                  <a:ext uri="{FF2B5EF4-FFF2-40B4-BE49-F238E27FC236}">
                    <a16:creationId xmlns:a16="http://schemas.microsoft.com/office/drawing/2014/main" id="{FB20BCFD-D9EB-46C2-9FFC-611374F17267}"/>
                  </a:ext>
                </a:extLst>
              </p:cNvPr>
              <p:cNvSpPr/>
              <p:nvPr/>
            </p:nvSpPr>
            <p:spPr>
              <a:xfrm>
                <a:off x="5914038" y="3152586"/>
                <a:ext cx="363924" cy="463176"/>
              </a:xfrm>
              <a:custGeom>
                <a:avLst/>
                <a:gdLst>
                  <a:gd name="connsiteX0" fmla="*/ 306027 w 363924"/>
                  <a:gd name="connsiteY0" fmla="*/ 463176 h 463176"/>
                  <a:gd name="connsiteX1" fmla="*/ 57897 w 363924"/>
                  <a:gd name="connsiteY1" fmla="*/ 463176 h 463176"/>
                  <a:gd name="connsiteX2" fmla="*/ 0 w 363924"/>
                  <a:gd name="connsiteY2" fmla="*/ 405279 h 463176"/>
                  <a:gd name="connsiteX3" fmla="*/ 0 w 363924"/>
                  <a:gd name="connsiteY3" fmla="*/ 57897 h 463176"/>
                  <a:gd name="connsiteX4" fmla="*/ 57897 w 363924"/>
                  <a:gd name="connsiteY4" fmla="*/ 0 h 463176"/>
                  <a:gd name="connsiteX5" fmla="*/ 306027 w 363924"/>
                  <a:gd name="connsiteY5" fmla="*/ 0 h 463176"/>
                  <a:gd name="connsiteX6" fmla="*/ 363924 w 363924"/>
                  <a:gd name="connsiteY6" fmla="*/ 57897 h 463176"/>
                  <a:gd name="connsiteX7" fmla="*/ 363924 w 363924"/>
                  <a:gd name="connsiteY7" fmla="*/ 405279 h 463176"/>
                  <a:gd name="connsiteX8" fmla="*/ 306027 w 363924"/>
                  <a:gd name="connsiteY8" fmla="*/ 463176 h 463176"/>
                  <a:gd name="connsiteX9" fmla="*/ 57897 w 363924"/>
                  <a:gd name="connsiteY9" fmla="*/ 16542 h 463176"/>
                  <a:gd name="connsiteX10" fmla="*/ 16542 w 363924"/>
                  <a:gd name="connsiteY10" fmla="*/ 57897 h 463176"/>
                  <a:gd name="connsiteX11" fmla="*/ 16542 w 363924"/>
                  <a:gd name="connsiteY11" fmla="*/ 405279 h 463176"/>
                  <a:gd name="connsiteX12" fmla="*/ 57897 w 363924"/>
                  <a:gd name="connsiteY12" fmla="*/ 446634 h 463176"/>
                  <a:gd name="connsiteX13" fmla="*/ 306027 w 363924"/>
                  <a:gd name="connsiteY13" fmla="*/ 446634 h 463176"/>
                  <a:gd name="connsiteX14" fmla="*/ 347382 w 363924"/>
                  <a:gd name="connsiteY14" fmla="*/ 405279 h 463176"/>
                  <a:gd name="connsiteX15" fmla="*/ 347382 w 363924"/>
                  <a:gd name="connsiteY15" fmla="*/ 57897 h 463176"/>
                  <a:gd name="connsiteX16" fmla="*/ 306027 w 363924"/>
                  <a:gd name="connsiteY16" fmla="*/ 16542 h 46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3924" h="463176">
                    <a:moveTo>
                      <a:pt x="306027" y="463176"/>
                    </a:moveTo>
                    <a:lnTo>
                      <a:pt x="57897" y="463176"/>
                    </a:lnTo>
                    <a:cubicBezTo>
                      <a:pt x="25921" y="463176"/>
                      <a:pt x="0" y="437255"/>
                      <a:pt x="0" y="405279"/>
                    </a:cubicBezTo>
                    <a:lnTo>
                      <a:pt x="0" y="57897"/>
                    </a:lnTo>
                    <a:cubicBezTo>
                      <a:pt x="0" y="25921"/>
                      <a:pt x="25921" y="0"/>
                      <a:pt x="57897" y="0"/>
                    </a:cubicBezTo>
                    <a:lnTo>
                      <a:pt x="306027" y="0"/>
                    </a:lnTo>
                    <a:cubicBezTo>
                      <a:pt x="338003" y="0"/>
                      <a:pt x="363924" y="25921"/>
                      <a:pt x="363924" y="57897"/>
                    </a:cubicBezTo>
                    <a:lnTo>
                      <a:pt x="363924" y="405279"/>
                    </a:lnTo>
                    <a:cubicBezTo>
                      <a:pt x="363924" y="437255"/>
                      <a:pt x="338003" y="463176"/>
                      <a:pt x="306027" y="463176"/>
                    </a:cubicBezTo>
                    <a:close/>
                    <a:moveTo>
                      <a:pt x="57897" y="16542"/>
                    </a:moveTo>
                    <a:cubicBezTo>
                      <a:pt x="35057" y="16542"/>
                      <a:pt x="16542" y="35057"/>
                      <a:pt x="16542" y="57897"/>
                    </a:cubicBezTo>
                    <a:lnTo>
                      <a:pt x="16542" y="405279"/>
                    </a:lnTo>
                    <a:cubicBezTo>
                      <a:pt x="16542" y="428119"/>
                      <a:pt x="35057" y="446634"/>
                      <a:pt x="57897" y="446634"/>
                    </a:cubicBezTo>
                    <a:lnTo>
                      <a:pt x="306027" y="446634"/>
                    </a:lnTo>
                    <a:cubicBezTo>
                      <a:pt x="328867" y="446634"/>
                      <a:pt x="347382" y="428119"/>
                      <a:pt x="347382" y="405279"/>
                    </a:cubicBezTo>
                    <a:lnTo>
                      <a:pt x="347382" y="57897"/>
                    </a:lnTo>
                    <a:cubicBezTo>
                      <a:pt x="347382" y="35057"/>
                      <a:pt x="328867" y="16542"/>
                      <a:pt x="306027" y="16542"/>
                    </a:cubicBezTo>
                    <a:close/>
                  </a:path>
                </a:pathLst>
              </a:custGeom>
              <a:grpFill/>
              <a:ln w="16452" cap="flat">
                <a:noFill/>
                <a:prstDash val="solid"/>
                <a:miter/>
              </a:ln>
            </p:spPr>
            <p:txBody>
              <a:bodyPr rtlCol="0" anchor="ctr"/>
              <a:lstStyle/>
              <a:p>
                <a:endParaRPr lang="de-DE"/>
              </a:p>
            </p:txBody>
          </p:sp>
          <p:sp>
            <p:nvSpPr>
              <p:cNvPr id="5085" name="Freeform: Shape 5084">
                <a:extLst>
                  <a:ext uri="{FF2B5EF4-FFF2-40B4-BE49-F238E27FC236}">
                    <a16:creationId xmlns:a16="http://schemas.microsoft.com/office/drawing/2014/main" id="{CABECA09-7B2C-4202-87E3-284E49A28270}"/>
                  </a:ext>
                </a:extLst>
              </p:cNvPr>
              <p:cNvSpPr/>
              <p:nvPr/>
            </p:nvSpPr>
            <p:spPr>
              <a:xfrm>
                <a:off x="6062916" y="3182031"/>
                <a:ext cx="66168" cy="16542"/>
              </a:xfrm>
              <a:custGeom>
                <a:avLst/>
                <a:gdLst>
                  <a:gd name="connsiteX0" fmla="*/ 57897 w 66168"/>
                  <a:gd name="connsiteY0" fmla="*/ 16542 h 16542"/>
                  <a:gd name="connsiteX1" fmla="*/ 8271 w 66168"/>
                  <a:gd name="connsiteY1" fmla="*/ 16542 h 16542"/>
                  <a:gd name="connsiteX2" fmla="*/ 0 w 66168"/>
                  <a:gd name="connsiteY2" fmla="*/ 8271 h 16542"/>
                  <a:gd name="connsiteX3" fmla="*/ 8271 w 66168"/>
                  <a:gd name="connsiteY3" fmla="*/ 0 h 16542"/>
                  <a:gd name="connsiteX4" fmla="*/ 57897 w 66168"/>
                  <a:gd name="connsiteY4" fmla="*/ 0 h 16542"/>
                  <a:gd name="connsiteX5" fmla="*/ 66168 w 66168"/>
                  <a:gd name="connsiteY5" fmla="*/ 8271 h 16542"/>
                  <a:gd name="connsiteX6" fmla="*/ 57897 w 66168"/>
                  <a:gd name="connsiteY6" fmla="*/ 16542 h 1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68" h="16542">
                    <a:moveTo>
                      <a:pt x="57897" y="16542"/>
                    </a:moveTo>
                    <a:lnTo>
                      <a:pt x="8271" y="16542"/>
                    </a:lnTo>
                    <a:cubicBezTo>
                      <a:pt x="3703" y="16542"/>
                      <a:pt x="0" y="12839"/>
                      <a:pt x="0" y="8271"/>
                    </a:cubicBezTo>
                    <a:cubicBezTo>
                      <a:pt x="0" y="3703"/>
                      <a:pt x="3703" y="0"/>
                      <a:pt x="8271" y="0"/>
                    </a:cubicBezTo>
                    <a:lnTo>
                      <a:pt x="57897" y="0"/>
                    </a:lnTo>
                    <a:cubicBezTo>
                      <a:pt x="62464" y="0"/>
                      <a:pt x="66168" y="3703"/>
                      <a:pt x="66168" y="8271"/>
                    </a:cubicBezTo>
                    <a:cubicBezTo>
                      <a:pt x="66168" y="12839"/>
                      <a:pt x="62464" y="16542"/>
                      <a:pt x="57897" y="16542"/>
                    </a:cubicBezTo>
                    <a:close/>
                  </a:path>
                </a:pathLst>
              </a:custGeom>
              <a:grpFill/>
              <a:ln w="16452" cap="flat">
                <a:noFill/>
                <a:prstDash val="solid"/>
                <a:miter/>
              </a:ln>
            </p:spPr>
            <p:txBody>
              <a:bodyPr rtlCol="0" anchor="ctr"/>
              <a:lstStyle/>
              <a:p>
                <a:endParaRPr lang="de-DE"/>
              </a:p>
            </p:txBody>
          </p:sp>
          <p:sp>
            <p:nvSpPr>
              <p:cNvPr id="5086" name="Freeform: Shape 5085">
                <a:extLst>
                  <a:ext uri="{FF2B5EF4-FFF2-40B4-BE49-F238E27FC236}">
                    <a16:creationId xmlns:a16="http://schemas.microsoft.com/office/drawing/2014/main" id="{10AB0C1F-DF8C-46D3-9916-9B5396EF8C2E}"/>
                  </a:ext>
                </a:extLst>
              </p:cNvPr>
              <p:cNvSpPr/>
              <p:nvPr/>
            </p:nvSpPr>
            <p:spPr>
              <a:xfrm>
                <a:off x="6071187" y="3533052"/>
                <a:ext cx="49626" cy="49626"/>
              </a:xfrm>
              <a:custGeom>
                <a:avLst/>
                <a:gdLst>
                  <a:gd name="connsiteX0" fmla="*/ 49626 w 49626"/>
                  <a:gd name="connsiteY0" fmla="*/ 24813 h 49626"/>
                  <a:gd name="connsiteX1" fmla="*/ 24813 w 49626"/>
                  <a:gd name="connsiteY1" fmla="*/ 49626 h 49626"/>
                  <a:gd name="connsiteX2" fmla="*/ 0 w 49626"/>
                  <a:gd name="connsiteY2" fmla="*/ 24813 h 49626"/>
                  <a:gd name="connsiteX3" fmla="*/ 24813 w 49626"/>
                  <a:gd name="connsiteY3" fmla="*/ 0 h 49626"/>
                  <a:gd name="connsiteX4" fmla="*/ 49626 w 49626"/>
                  <a:gd name="connsiteY4" fmla="*/ 24813 h 4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26" h="49626">
                    <a:moveTo>
                      <a:pt x="49626" y="24813"/>
                    </a:moveTo>
                    <a:cubicBezTo>
                      <a:pt x="49626" y="38517"/>
                      <a:pt x="38517" y="49626"/>
                      <a:pt x="24813" y="49626"/>
                    </a:cubicBezTo>
                    <a:cubicBezTo>
                      <a:pt x="11109" y="49626"/>
                      <a:pt x="0" y="38517"/>
                      <a:pt x="0" y="24813"/>
                    </a:cubicBezTo>
                    <a:cubicBezTo>
                      <a:pt x="0" y="11109"/>
                      <a:pt x="11109" y="0"/>
                      <a:pt x="24813" y="0"/>
                    </a:cubicBezTo>
                    <a:cubicBezTo>
                      <a:pt x="38517" y="0"/>
                      <a:pt x="49626" y="11109"/>
                      <a:pt x="49626" y="24813"/>
                    </a:cubicBezTo>
                    <a:close/>
                  </a:path>
                </a:pathLst>
              </a:custGeom>
              <a:grpFill/>
              <a:ln w="16452" cap="flat">
                <a:noFill/>
                <a:prstDash val="solid"/>
                <a:miter/>
              </a:ln>
            </p:spPr>
            <p:txBody>
              <a:bodyPr rtlCol="0" anchor="ctr"/>
              <a:lstStyle/>
              <a:p>
                <a:endParaRPr lang="de-DE"/>
              </a:p>
            </p:txBody>
          </p:sp>
        </p:grpSp>
        <p:sp>
          <p:nvSpPr>
            <p:cNvPr id="5083" name="Freeform: Shape 5082">
              <a:extLst>
                <a:ext uri="{FF2B5EF4-FFF2-40B4-BE49-F238E27FC236}">
                  <a16:creationId xmlns:a16="http://schemas.microsoft.com/office/drawing/2014/main" id="{0F12945F-6ABC-423F-9B5D-AA651603D6EE}"/>
                </a:ext>
              </a:extLst>
            </p:cNvPr>
            <p:cNvSpPr/>
            <p:nvPr/>
          </p:nvSpPr>
          <p:spPr>
            <a:xfrm>
              <a:off x="6038420" y="3313847"/>
              <a:ext cx="189380" cy="160244"/>
            </a:xfrm>
            <a:custGeom>
              <a:avLst/>
              <a:gdLst>
                <a:gd name="connsiteX0" fmla="*/ 52294 w 194234"/>
                <a:gd name="connsiteY0" fmla="*/ 171823 h 164352"/>
                <a:gd name="connsiteX1" fmla="*/ 46168 w 194234"/>
                <a:gd name="connsiteY1" fmla="*/ 168536 h 164352"/>
                <a:gd name="connsiteX2" fmla="*/ 32870 w 194234"/>
                <a:gd name="connsiteY2" fmla="*/ 149411 h 164352"/>
                <a:gd name="connsiteX3" fmla="*/ 7471 w 194234"/>
                <a:gd name="connsiteY3" fmla="*/ 149411 h 164352"/>
                <a:gd name="connsiteX4" fmla="*/ 0 w 194234"/>
                <a:gd name="connsiteY4" fmla="*/ 141941 h 164352"/>
                <a:gd name="connsiteX5" fmla="*/ 0 w 194234"/>
                <a:gd name="connsiteY5" fmla="*/ 7471 h 164352"/>
                <a:gd name="connsiteX6" fmla="*/ 7471 w 194234"/>
                <a:gd name="connsiteY6" fmla="*/ 0 h 164352"/>
                <a:gd name="connsiteX7" fmla="*/ 186764 w 194234"/>
                <a:gd name="connsiteY7" fmla="*/ 0 h 164352"/>
                <a:gd name="connsiteX8" fmla="*/ 194235 w 194234"/>
                <a:gd name="connsiteY8" fmla="*/ 7471 h 164352"/>
                <a:gd name="connsiteX9" fmla="*/ 194235 w 194234"/>
                <a:gd name="connsiteY9" fmla="*/ 141941 h 164352"/>
                <a:gd name="connsiteX10" fmla="*/ 186764 w 194234"/>
                <a:gd name="connsiteY10" fmla="*/ 149411 h 164352"/>
                <a:gd name="connsiteX11" fmla="*/ 71867 w 194234"/>
                <a:gd name="connsiteY11" fmla="*/ 149411 h 164352"/>
                <a:gd name="connsiteX12" fmla="*/ 58420 w 194234"/>
                <a:gd name="connsiteY12" fmla="*/ 168685 h 164352"/>
                <a:gd name="connsiteX13" fmla="*/ 52294 w 194234"/>
                <a:gd name="connsiteY13" fmla="*/ 171823 h 164352"/>
                <a:gd name="connsiteX14" fmla="*/ 14941 w 194234"/>
                <a:gd name="connsiteY14" fmla="*/ 134470 h 164352"/>
                <a:gd name="connsiteX15" fmla="*/ 36755 w 194234"/>
                <a:gd name="connsiteY15" fmla="*/ 134470 h 164352"/>
                <a:gd name="connsiteX16" fmla="*/ 42881 w 194234"/>
                <a:gd name="connsiteY16" fmla="*/ 137757 h 164352"/>
                <a:gd name="connsiteX17" fmla="*/ 52294 w 194234"/>
                <a:gd name="connsiteY17" fmla="*/ 151354 h 164352"/>
                <a:gd name="connsiteX18" fmla="*/ 61856 w 194234"/>
                <a:gd name="connsiteY18" fmla="*/ 137608 h 164352"/>
                <a:gd name="connsiteX19" fmla="*/ 67982 w 194234"/>
                <a:gd name="connsiteY19" fmla="*/ 134470 h 164352"/>
                <a:gd name="connsiteX20" fmla="*/ 179293 w 194234"/>
                <a:gd name="connsiteY20" fmla="*/ 134470 h 164352"/>
                <a:gd name="connsiteX21" fmla="*/ 179293 w 194234"/>
                <a:gd name="connsiteY21" fmla="*/ 14941 h 164352"/>
                <a:gd name="connsiteX22" fmla="*/ 14941 w 194234"/>
                <a:gd name="connsiteY22" fmla="*/ 14941 h 16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234" h="164352">
                  <a:moveTo>
                    <a:pt x="52294" y="171823"/>
                  </a:moveTo>
                  <a:cubicBezTo>
                    <a:pt x="49872" y="171668"/>
                    <a:pt x="47637" y="170468"/>
                    <a:pt x="46168" y="168536"/>
                  </a:cubicBezTo>
                  <a:lnTo>
                    <a:pt x="32870" y="149411"/>
                  </a:lnTo>
                  <a:lnTo>
                    <a:pt x="7471" y="149411"/>
                  </a:lnTo>
                  <a:cubicBezTo>
                    <a:pt x="3345" y="149411"/>
                    <a:pt x="0" y="146066"/>
                    <a:pt x="0" y="141941"/>
                  </a:cubicBezTo>
                  <a:lnTo>
                    <a:pt x="0" y="7471"/>
                  </a:lnTo>
                  <a:cubicBezTo>
                    <a:pt x="0" y="3345"/>
                    <a:pt x="3345" y="0"/>
                    <a:pt x="7471" y="0"/>
                  </a:cubicBezTo>
                  <a:lnTo>
                    <a:pt x="186764" y="0"/>
                  </a:lnTo>
                  <a:cubicBezTo>
                    <a:pt x="190889" y="0"/>
                    <a:pt x="194235" y="3345"/>
                    <a:pt x="194235" y="7471"/>
                  </a:cubicBezTo>
                  <a:lnTo>
                    <a:pt x="194235" y="141941"/>
                  </a:lnTo>
                  <a:cubicBezTo>
                    <a:pt x="194235" y="146066"/>
                    <a:pt x="190889" y="149411"/>
                    <a:pt x="186764" y="149411"/>
                  </a:cubicBezTo>
                  <a:lnTo>
                    <a:pt x="71867" y="149411"/>
                  </a:lnTo>
                  <a:lnTo>
                    <a:pt x="58420" y="168685"/>
                  </a:lnTo>
                  <a:cubicBezTo>
                    <a:pt x="56978" y="170628"/>
                    <a:pt x="54713" y="171789"/>
                    <a:pt x="52294" y="171823"/>
                  </a:cubicBezTo>
                  <a:close/>
                  <a:moveTo>
                    <a:pt x="14941" y="134470"/>
                  </a:moveTo>
                  <a:lnTo>
                    <a:pt x="36755" y="134470"/>
                  </a:lnTo>
                  <a:cubicBezTo>
                    <a:pt x="39220" y="134464"/>
                    <a:pt x="41523" y="135700"/>
                    <a:pt x="42881" y="137757"/>
                  </a:cubicBezTo>
                  <a:lnTo>
                    <a:pt x="52294" y="151354"/>
                  </a:lnTo>
                  <a:lnTo>
                    <a:pt x="61856" y="137608"/>
                  </a:lnTo>
                  <a:cubicBezTo>
                    <a:pt x="63283" y="135647"/>
                    <a:pt x="65557" y="134482"/>
                    <a:pt x="67982" y="134470"/>
                  </a:cubicBezTo>
                  <a:lnTo>
                    <a:pt x="179293" y="134470"/>
                  </a:lnTo>
                  <a:lnTo>
                    <a:pt x="179293" y="14941"/>
                  </a:lnTo>
                  <a:lnTo>
                    <a:pt x="14941" y="14941"/>
                  </a:lnTo>
                  <a:close/>
                </a:path>
              </a:pathLst>
            </a:custGeom>
            <a:solidFill>
              <a:schemeClr val="tx1"/>
            </a:solidFill>
            <a:ln w="14848" cap="flat">
              <a:noFill/>
              <a:prstDash val="solid"/>
              <a:miter/>
            </a:ln>
          </p:spPr>
          <p:txBody>
            <a:bodyPr rtlCol="0" anchor="ctr"/>
            <a:lstStyle/>
            <a:p>
              <a:endParaRPr lang="de-DE"/>
            </a:p>
          </p:txBody>
        </p:sp>
      </p:grpSp>
      <p:sp>
        <p:nvSpPr>
          <p:cNvPr id="2433" name="Freeform: Shape 2432">
            <a:extLst>
              <a:ext uri="{FF2B5EF4-FFF2-40B4-BE49-F238E27FC236}">
                <a16:creationId xmlns:a16="http://schemas.microsoft.com/office/drawing/2014/main" id="{D30B7B03-6185-4FD5-B5FA-A30A41570BED}"/>
              </a:ext>
              <a:ext uri="{C183D7F6-B498-43B3-948B-1728B52AA6E4}">
                <adec:decorative xmlns:adec="http://schemas.microsoft.com/office/drawing/2017/decorative" val="1"/>
              </a:ext>
            </a:extLst>
          </p:cNvPr>
          <p:cNvSpPr>
            <a:spLocks noChangeAspect="1"/>
          </p:cNvSpPr>
          <p:nvPr/>
        </p:nvSpPr>
        <p:spPr>
          <a:xfrm>
            <a:off x="6385928" y="3445990"/>
            <a:ext cx="147896" cy="152378"/>
          </a:xfrm>
          <a:custGeom>
            <a:avLst/>
            <a:gdLst>
              <a:gd name="connsiteX0" fmla="*/ 150323 w 147896"/>
              <a:gd name="connsiteY0" fmla="*/ 152378 h 152377"/>
              <a:gd name="connsiteX1" fmla="*/ 149426 w 147896"/>
              <a:gd name="connsiteY1" fmla="*/ 152378 h 152377"/>
              <a:gd name="connsiteX2" fmla="*/ 76375 w 147896"/>
              <a:gd name="connsiteY2" fmla="*/ 121006 h 152377"/>
              <a:gd name="connsiteX3" fmla="*/ 3323 w 147896"/>
              <a:gd name="connsiteY3" fmla="*/ 152378 h 152377"/>
              <a:gd name="connsiteX4" fmla="*/ 634 w 147896"/>
              <a:gd name="connsiteY4" fmla="*/ 151930 h 152377"/>
              <a:gd name="connsiteX5" fmla="*/ 186 w 147896"/>
              <a:gd name="connsiteY5" fmla="*/ 149241 h 152377"/>
              <a:gd name="connsiteX6" fmla="*/ 74134 w 147896"/>
              <a:gd name="connsiteY6" fmla="*/ 1344 h 152377"/>
              <a:gd name="connsiteX7" fmla="*/ 75926 w 147896"/>
              <a:gd name="connsiteY7" fmla="*/ 0 h 152377"/>
              <a:gd name="connsiteX8" fmla="*/ 75926 w 147896"/>
              <a:gd name="connsiteY8" fmla="*/ 0 h 152377"/>
              <a:gd name="connsiteX9" fmla="*/ 77719 w 147896"/>
              <a:gd name="connsiteY9" fmla="*/ 1344 h 152377"/>
              <a:gd name="connsiteX10" fmla="*/ 151667 w 147896"/>
              <a:gd name="connsiteY10" fmla="*/ 149241 h 152377"/>
              <a:gd name="connsiteX11" fmla="*/ 151219 w 147896"/>
              <a:gd name="connsiteY11" fmla="*/ 151930 h 152377"/>
              <a:gd name="connsiteX12" fmla="*/ 150323 w 147896"/>
              <a:gd name="connsiteY12" fmla="*/ 152378 h 152377"/>
              <a:gd name="connsiteX13" fmla="*/ 76375 w 147896"/>
              <a:gd name="connsiteY13" fmla="*/ 115628 h 152377"/>
              <a:gd name="connsiteX14" fmla="*/ 77271 w 147896"/>
              <a:gd name="connsiteY14" fmla="*/ 115628 h 152377"/>
              <a:gd name="connsiteX15" fmla="*/ 145393 w 147896"/>
              <a:gd name="connsiteY15" fmla="*/ 145207 h 152377"/>
              <a:gd name="connsiteX16" fmla="*/ 76375 w 147896"/>
              <a:gd name="connsiteY16" fmla="*/ 7171 h 152377"/>
              <a:gd name="connsiteX17" fmla="*/ 7356 w 147896"/>
              <a:gd name="connsiteY17" fmla="*/ 145655 h 152377"/>
              <a:gd name="connsiteX18" fmla="*/ 75478 w 147896"/>
              <a:gd name="connsiteY18" fmla="*/ 116076 h 152377"/>
              <a:gd name="connsiteX19" fmla="*/ 76375 w 147896"/>
              <a:gd name="connsiteY19" fmla="*/ 11562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7896" h="152377">
                <a:moveTo>
                  <a:pt x="150323" y="152378"/>
                </a:moveTo>
                <a:cubicBezTo>
                  <a:pt x="149874" y="152378"/>
                  <a:pt x="149874" y="152378"/>
                  <a:pt x="149426" y="152378"/>
                </a:cubicBezTo>
                <a:lnTo>
                  <a:pt x="76375" y="121006"/>
                </a:lnTo>
                <a:lnTo>
                  <a:pt x="3323" y="152378"/>
                </a:lnTo>
                <a:cubicBezTo>
                  <a:pt x="2426" y="152826"/>
                  <a:pt x="1530" y="152378"/>
                  <a:pt x="634" y="151930"/>
                </a:cubicBezTo>
                <a:cubicBezTo>
                  <a:pt x="186" y="151033"/>
                  <a:pt x="-263" y="150137"/>
                  <a:pt x="186" y="149241"/>
                </a:cubicBezTo>
                <a:lnTo>
                  <a:pt x="74134" y="1344"/>
                </a:lnTo>
                <a:cubicBezTo>
                  <a:pt x="74582" y="448"/>
                  <a:pt x="75478" y="0"/>
                  <a:pt x="75926" y="0"/>
                </a:cubicBezTo>
                <a:lnTo>
                  <a:pt x="75926" y="0"/>
                </a:lnTo>
                <a:cubicBezTo>
                  <a:pt x="76823" y="0"/>
                  <a:pt x="77719" y="448"/>
                  <a:pt x="77719" y="1344"/>
                </a:cubicBezTo>
                <a:lnTo>
                  <a:pt x="151667" y="149241"/>
                </a:lnTo>
                <a:cubicBezTo>
                  <a:pt x="152115" y="150137"/>
                  <a:pt x="152115" y="151033"/>
                  <a:pt x="151219" y="151930"/>
                </a:cubicBezTo>
                <a:cubicBezTo>
                  <a:pt x="151667" y="151930"/>
                  <a:pt x="150771" y="152378"/>
                  <a:pt x="150323" y="152378"/>
                </a:cubicBezTo>
                <a:close/>
                <a:moveTo>
                  <a:pt x="76375" y="115628"/>
                </a:moveTo>
                <a:cubicBezTo>
                  <a:pt x="76823" y="115628"/>
                  <a:pt x="76823" y="115628"/>
                  <a:pt x="77271" y="115628"/>
                </a:cubicBezTo>
                <a:lnTo>
                  <a:pt x="145393" y="145207"/>
                </a:lnTo>
                <a:lnTo>
                  <a:pt x="76375" y="7171"/>
                </a:lnTo>
                <a:lnTo>
                  <a:pt x="7356" y="145655"/>
                </a:lnTo>
                <a:lnTo>
                  <a:pt x="75478" y="116076"/>
                </a:lnTo>
                <a:cubicBezTo>
                  <a:pt x="75926" y="116076"/>
                  <a:pt x="75926" y="115628"/>
                  <a:pt x="76375" y="115628"/>
                </a:cubicBezTo>
                <a:close/>
              </a:path>
            </a:pathLst>
          </a:custGeom>
          <a:solidFill>
            <a:srgbClr val="231F20"/>
          </a:solidFill>
          <a:ln w="4477" cap="flat">
            <a:noFill/>
            <a:prstDash val="solid"/>
            <a:miter/>
          </a:ln>
        </p:spPr>
        <p:txBody>
          <a:bodyPr rtlCol="0" anchor="ctr"/>
          <a:lstStyle/>
          <a:p>
            <a:endParaRPr lang="en-US"/>
          </a:p>
        </p:txBody>
      </p:sp>
      <p:grpSp>
        <p:nvGrpSpPr>
          <p:cNvPr id="2434" name="Group 2433">
            <a:extLst>
              <a:ext uri="{FF2B5EF4-FFF2-40B4-BE49-F238E27FC236}">
                <a16:creationId xmlns:a16="http://schemas.microsoft.com/office/drawing/2014/main" id="{C0D95676-FB33-4E52-AB9F-6E88101398BB}"/>
              </a:ext>
              <a:ext uri="{C183D7F6-B498-43B3-948B-1728B52AA6E4}">
                <adec:decorative xmlns:adec="http://schemas.microsoft.com/office/drawing/2017/decorative" val="1"/>
              </a:ext>
            </a:extLst>
          </p:cNvPr>
          <p:cNvGrpSpPr>
            <a:grpSpLocks noChangeAspect="1"/>
          </p:cNvGrpSpPr>
          <p:nvPr/>
        </p:nvGrpSpPr>
        <p:grpSpPr>
          <a:xfrm>
            <a:off x="6646052" y="3447335"/>
            <a:ext cx="152378" cy="152378"/>
            <a:chOff x="6740042" y="1412169"/>
            <a:chExt cx="152378" cy="152378"/>
          </a:xfrm>
        </p:grpSpPr>
        <p:sp>
          <p:nvSpPr>
            <p:cNvPr id="5506" name="Freeform: Shape 5505">
              <a:extLst>
                <a:ext uri="{FF2B5EF4-FFF2-40B4-BE49-F238E27FC236}">
                  <a16:creationId xmlns:a16="http://schemas.microsoft.com/office/drawing/2014/main" id="{1DBDC8FC-65D5-4E8A-818E-6C06AEFD3772}"/>
                </a:ext>
              </a:extLst>
            </p:cNvPr>
            <p:cNvSpPr/>
            <p:nvPr/>
          </p:nvSpPr>
          <p:spPr>
            <a:xfrm>
              <a:off x="6740042" y="1412169"/>
              <a:ext cx="152378" cy="152378"/>
            </a:xfrm>
            <a:custGeom>
              <a:avLst/>
              <a:gdLst>
                <a:gd name="connsiteX0" fmla="*/ 150585 w 152377"/>
                <a:gd name="connsiteY0" fmla="*/ 138036 h 152377"/>
                <a:gd name="connsiteX1" fmla="*/ 129521 w 152377"/>
                <a:gd name="connsiteY1" fmla="*/ 110250 h 152377"/>
                <a:gd name="connsiteX2" fmla="*/ 122350 w 152377"/>
                <a:gd name="connsiteY2" fmla="*/ 107561 h 152377"/>
                <a:gd name="connsiteX3" fmla="*/ 107561 w 152377"/>
                <a:gd name="connsiteY3" fmla="*/ 107561 h 152377"/>
                <a:gd name="connsiteX4" fmla="*/ 116972 w 152377"/>
                <a:gd name="connsiteY4" fmla="*/ 99046 h 152377"/>
                <a:gd name="connsiteX5" fmla="*/ 135347 w 152377"/>
                <a:gd name="connsiteY5" fmla="*/ 57366 h 152377"/>
                <a:gd name="connsiteX6" fmla="*/ 76637 w 152377"/>
                <a:gd name="connsiteY6" fmla="*/ 0 h 152377"/>
                <a:gd name="connsiteX7" fmla="*/ 17927 w 152377"/>
                <a:gd name="connsiteY7" fmla="*/ 57366 h 152377"/>
                <a:gd name="connsiteX8" fmla="*/ 36302 w 152377"/>
                <a:gd name="connsiteY8" fmla="*/ 99046 h 152377"/>
                <a:gd name="connsiteX9" fmla="*/ 45713 w 152377"/>
                <a:gd name="connsiteY9" fmla="*/ 107561 h 152377"/>
                <a:gd name="connsiteX10" fmla="*/ 30924 w 152377"/>
                <a:gd name="connsiteY10" fmla="*/ 107561 h 152377"/>
                <a:gd name="connsiteX11" fmla="*/ 23753 w 152377"/>
                <a:gd name="connsiteY11" fmla="*/ 110250 h 152377"/>
                <a:gd name="connsiteX12" fmla="*/ 1793 w 152377"/>
                <a:gd name="connsiteY12" fmla="*/ 138036 h 152377"/>
                <a:gd name="connsiteX13" fmla="*/ 0 w 152377"/>
                <a:gd name="connsiteY13" fmla="*/ 143415 h 152377"/>
                <a:gd name="connsiteX14" fmla="*/ 9412 w 152377"/>
                <a:gd name="connsiteY14" fmla="*/ 152378 h 152377"/>
                <a:gd name="connsiteX15" fmla="*/ 143414 w 152377"/>
                <a:gd name="connsiteY15" fmla="*/ 152378 h 152377"/>
                <a:gd name="connsiteX16" fmla="*/ 152826 w 152377"/>
                <a:gd name="connsiteY16" fmla="*/ 143415 h 152377"/>
                <a:gd name="connsiteX17" fmla="*/ 150585 w 152377"/>
                <a:gd name="connsiteY17" fmla="*/ 138036 h 152377"/>
                <a:gd name="connsiteX18" fmla="*/ 21960 w 152377"/>
                <a:gd name="connsiteY18" fmla="*/ 57366 h 152377"/>
                <a:gd name="connsiteX19" fmla="*/ 76189 w 152377"/>
                <a:gd name="connsiteY19" fmla="*/ 4482 h 152377"/>
                <a:gd name="connsiteX20" fmla="*/ 130418 w 152377"/>
                <a:gd name="connsiteY20" fmla="*/ 57366 h 152377"/>
                <a:gd name="connsiteX21" fmla="*/ 113387 w 152377"/>
                <a:gd name="connsiteY21" fmla="*/ 95908 h 152377"/>
                <a:gd name="connsiteX22" fmla="*/ 76189 w 152377"/>
                <a:gd name="connsiteY22" fmla="*/ 129521 h 152377"/>
                <a:gd name="connsiteX23" fmla="*/ 38991 w 152377"/>
                <a:gd name="connsiteY23" fmla="*/ 95908 h 152377"/>
                <a:gd name="connsiteX24" fmla="*/ 21960 w 152377"/>
                <a:gd name="connsiteY24" fmla="*/ 57366 h 152377"/>
                <a:gd name="connsiteX25" fmla="*/ 142966 w 152377"/>
                <a:gd name="connsiteY25" fmla="*/ 148344 h 152377"/>
                <a:gd name="connsiteX26" fmla="*/ 9412 w 152377"/>
                <a:gd name="connsiteY26" fmla="*/ 148344 h 152377"/>
                <a:gd name="connsiteX27" fmla="*/ 4482 w 152377"/>
                <a:gd name="connsiteY27" fmla="*/ 143863 h 152377"/>
                <a:gd name="connsiteX28" fmla="*/ 5378 w 152377"/>
                <a:gd name="connsiteY28" fmla="*/ 141174 h 152377"/>
                <a:gd name="connsiteX29" fmla="*/ 26442 w 152377"/>
                <a:gd name="connsiteY29" fmla="*/ 113835 h 152377"/>
                <a:gd name="connsiteX30" fmla="*/ 30476 w 152377"/>
                <a:gd name="connsiteY30" fmla="*/ 112939 h 152377"/>
                <a:gd name="connsiteX31" fmla="*/ 50195 w 152377"/>
                <a:gd name="connsiteY31" fmla="*/ 112939 h 152377"/>
                <a:gd name="connsiteX32" fmla="*/ 74396 w 152377"/>
                <a:gd name="connsiteY32" fmla="*/ 135347 h 152377"/>
                <a:gd name="connsiteX33" fmla="*/ 75741 w 152377"/>
                <a:gd name="connsiteY33" fmla="*/ 135796 h 152377"/>
                <a:gd name="connsiteX34" fmla="*/ 77085 w 152377"/>
                <a:gd name="connsiteY34" fmla="*/ 135347 h 152377"/>
                <a:gd name="connsiteX35" fmla="*/ 101286 w 152377"/>
                <a:gd name="connsiteY35" fmla="*/ 112939 h 152377"/>
                <a:gd name="connsiteX36" fmla="*/ 121006 w 152377"/>
                <a:gd name="connsiteY36" fmla="*/ 112939 h 152377"/>
                <a:gd name="connsiteX37" fmla="*/ 124591 w 152377"/>
                <a:gd name="connsiteY37" fmla="*/ 113835 h 152377"/>
                <a:gd name="connsiteX38" fmla="*/ 145655 w 152377"/>
                <a:gd name="connsiteY38" fmla="*/ 141174 h 152377"/>
                <a:gd name="connsiteX39" fmla="*/ 146552 w 152377"/>
                <a:gd name="connsiteY39" fmla="*/ 143863 h 152377"/>
                <a:gd name="connsiteX40" fmla="*/ 142966 w 152377"/>
                <a:gd name="connsiteY40" fmla="*/ 14834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377" h="152377">
                  <a:moveTo>
                    <a:pt x="150585" y="138036"/>
                  </a:moveTo>
                  <a:lnTo>
                    <a:pt x="129521" y="110250"/>
                  </a:lnTo>
                  <a:cubicBezTo>
                    <a:pt x="127280" y="107561"/>
                    <a:pt x="124143" y="107561"/>
                    <a:pt x="122350" y="107561"/>
                  </a:cubicBezTo>
                  <a:lnTo>
                    <a:pt x="107561" y="107561"/>
                  </a:lnTo>
                  <a:lnTo>
                    <a:pt x="116972" y="99046"/>
                  </a:lnTo>
                  <a:cubicBezTo>
                    <a:pt x="128625" y="88290"/>
                    <a:pt x="135347" y="73052"/>
                    <a:pt x="135347" y="57366"/>
                  </a:cubicBezTo>
                  <a:cubicBezTo>
                    <a:pt x="135347" y="25994"/>
                    <a:pt x="108905" y="0"/>
                    <a:pt x="76637" y="0"/>
                  </a:cubicBezTo>
                  <a:cubicBezTo>
                    <a:pt x="44369" y="0"/>
                    <a:pt x="17927" y="25546"/>
                    <a:pt x="17927" y="57366"/>
                  </a:cubicBezTo>
                  <a:cubicBezTo>
                    <a:pt x="17927" y="73052"/>
                    <a:pt x="24649" y="88290"/>
                    <a:pt x="36302" y="99046"/>
                  </a:cubicBezTo>
                  <a:lnTo>
                    <a:pt x="45713" y="107561"/>
                  </a:lnTo>
                  <a:lnTo>
                    <a:pt x="30924" y="107561"/>
                  </a:lnTo>
                  <a:cubicBezTo>
                    <a:pt x="28683" y="107561"/>
                    <a:pt x="25546" y="107561"/>
                    <a:pt x="23753" y="110250"/>
                  </a:cubicBezTo>
                  <a:lnTo>
                    <a:pt x="1793" y="138036"/>
                  </a:lnTo>
                  <a:cubicBezTo>
                    <a:pt x="448" y="139829"/>
                    <a:pt x="0" y="141622"/>
                    <a:pt x="0" y="143415"/>
                  </a:cubicBezTo>
                  <a:cubicBezTo>
                    <a:pt x="0" y="148344"/>
                    <a:pt x="4034" y="152378"/>
                    <a:pt x="9412" y="152378"/>
                  </a:cubicBezTo>
                  <a:lnTo>
                    <a:pt x="143414" y="152378"/>
                  </a:lnTo>
                  <a:cubicBezTo>
                    <a:pt x="148344" y="152378"/>
                    <a:pt x="152826" y="148344"/>
                    <a:pt x="152826" y="143415"/>
                  </a:cubicBezTo>
                  <a:cubicBezTo>
                    <a:pt x="152378" y="141622"/>
                    <a:pt x="151482" y="139829"/>
                    <a:pt x="150585" y="138036"/>
                  </a:cubicBezTo>
                  <a:close/>
                  <a:moveTo>
                    <a:pt x="21960" y="57366"/>
                  </a:moveTo>
                  <a:cubicBezTo>
                    <a:pt x="21960" y="28235"/>
                    <a:pt x="46162" y="4482"/>
                    <a:pt x="76189" y="4482"/>
                  </a:cubicBezTo>
                  <a:cubicBezTo>
                    <a:pt x="106216" y="4482"/>
                    <a:pt x="130418" y="28683"/>
                    <a:pt x="130418" y="57366"/>
                  </a:cubicBezTo>
                  <a:cubicBezTo>
                    <a:pt x="130418" y="71707"/>
                    <a:pt x="124143" y="86049"/>
                    <a:pt x="113387" y="95908"/>
                  </a:cubicBezTo>
                  <a:lnTo>
                    <a:pt x="76189" y="129521"/>
                  </a:lnTo>
                  <a:lnTo>
                    <a:pt x="38991" y="95908"/>
                  </a:lnTo>
                  <a:cubicBezTo>
                    <a:pt x="28235" y="86049"/>
                    <a:pt x="21960" y="72155"/>
                    <a:pt x="21960" y="57366"/>
                  </a:cubicBezTo>
                  <a:close/>
                  <a:moveTo>
                    <a:pt x="142966" y="148344"/>
                  </a:moveTo>
                  <a:lnTo>
                    <a:pt x="9412" y="148344"/>
                  </a:lnTo>
                  <a:cubicBezTo>
                    <a:pt x="6723" y="148344"/>
                    <a:pt x="4482" y="146104"/>
                    <a:pt x="4482" y="143863"/>
                  </a:cubicBezTo>
                  <a:cubicBezTo>
                    <a:pt x="4482" y="142966"/>
                    <a:pt x="4930" y="142070"/>
                    <a:pt x="5378" y="141174"/>
                  </a:cubicBezTo>
                  <a:lnTo>
                    <a:pt x="26442" y="113835"/>
                  </a:lnTo>
                  <a:cubicBezTo>
                    <a:pt x="26890" y="112939"/>
                    <a:pt x="28235" y="112939"/>
                    <a:pt x="30476" y="112939"/>
                  </a:cubicBezTo>
                  <a:lnTo>
                    <a:pt x="50195" y="112939"/>
                  </a:lnTo>
                  <a:lnTo>
                    <a:pt x="74396" y="135347"/>
                  </a:lnTo>
                  <a:cubicBezTo>
                    <a:pt x="74844" y="135796"/>
                    <a:pt x="75293" y="135796"/>
                    <a:pt x="75741" y="135796"/>
                  </a:cubicBezTo>
                  <a:cubicBezTo>
                    <a:pt x="76189" y="135796"/>
                    <a:pt x="76637" y="135796"/>
                    <a:pt x="77085" y="135347"/>
                  </a:cubicBezTo>
                  <a:lnTo>
                    <a:pt x="101286" y="112939"/>
                  </a:lnTo>
                  <a:lnTo>
                    <a:pt x="121006" y="112939"/>
                  </a:lnTo>
                  <a:cubicBezTo>
                    <a:pt x="123247" y="112939"/>
                    <a:pt x="124143" y="112939"/>
                    <a:pt x="124591" y="113835"/>
                  </a:cubicBezTo>
                  <a:lnTo>
                    <a:pt x="145655" y="141174"/>
                  </a:lnTo>
                  <a:cubicBezTo>
                    <a:pt x="146103" y="142070"/>
                    <a:pt x="146552" y="142966"/>
                    <a:pt x="146552" y="143863"/>
                  </a:cubicBezTo>
                  <a:cubicBezTo>
                    <a:pt x="147896" y="146104"/>
                    <a:pt x="145655" y="148344"/>
                    <a:pt x="142966" y="148344"/>
                  </a:cubicBezTo>
                  <a:close/>
                </a:path>
              </a:pathLst>
            </a:custGeom>
            <a:solidFill>
              <a:srgbClr val="231F20"/>
            </a:solidFill>
            <a:ln w="4477" cap="flat">
              <a:noFill/>
              <a:prstDash val="solid"/>
              <a:miter/>
            </a:ln>
          </p:spPr>
          <p:txBody>
            <a:bodyPr rtlCol="0" anchor="ctr"/>
            <a:lstStyle/>
            <a:p>
              <a:endParaRPr lang="en-US"/>
            </a:p>
          </p:txBody>
        </p:sp>
        <p:sp>
          <p:nvSpPr>
            <p:cNvPr id="5507" name="Freeform: Shape 5506">
              <a:extLst>
                <a:ext uri="{FF2B5EF4-FFF2-40B4-BE49-F238E27FC236}">
                  <a16:creationId xmlns:a16="http://schemas.microsoft.com/office/drawing/2014/main" id="{D392DBAD-65E6-410C-9FF1-428747E8C526}"/>
                </a:ext>
              </a:extLst>
            </p:cNvPr>
            <p:cNvSpPr/>
            <p:nvPr/>
          </p:nvSpPr>
          <p:spPr>
            <a:xfrm>
              <a:off x="6782170" y="1436370"/>
              <a:ext cx="67226" cy="62744"/>
            </a:xfrm>
            <a:custGeom>
              <a:avLst/>
              <a:gdLst>
                <a:gd name="connsiteX0" fmla="*/ 68122 w 67225"/>
                <a:gd name="connsiteY0" fmla="*/ 33165 h 62743"/>
                <a:gd name="connsiteX1" fmla="*/ 34061 w 67225"/>
                <a:gd name="connsiteY1" fmla="*/ 0 h 62743"/>
                <a:gd name="connsiteX2" fmla="*/ 0 w 67225"/>
                <a:gd name="connsiteY2" fmla="*/ 33165 h 62743"/>
                <a:gd name="connsiteX3" fmla="*/ 34061 w 67225"/>
                <a:gd name="connsiteY3" fmla="*/ 66329 h 62743"/>
                <a:gd name="connsiteX4" fmla="*/ 68122 w 67225"/>
                <a:gd name="connsiteY4" fmla="*/ 33165 h 62743"/>
                <a:gd name="connsiteX5" fmla="*/ 4482 w 67225"/>
                <a:gd name="connsiteY5" fmla="*/ 33165 h 62743"/>
                <a:gd name="connsiteX6" fmla="*/ 34061 w 67225"/>
                <a:gd name="connsiteY6" fmla="*/ 4482 h 62743"/>
                <a:gd name="connsiteX7" fmla="*/ 63640 w 67225"/>
                <a:gd name="connsiteY7" fmla="*/ 33165 h 62743"/>
                <a:gd name="connsiteX8" fmla="*/ 34061 w 67225"/>
                <a:gd name="connsiteY8" fmla="*/ 61848 h 62743"/>
                <a:gd name="connsiteX9" fmla="*/ 4482 w 67225"/>
                <a:gd name="connsiteY9" fmla="*/ 33165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2743">
                  <a:moveTo>
                    <a:pt x="68122" y="33165"/>
                  </a:moveTo>
                  <a:cubicBezTo>
                    <a:pt x="68122" y="14790"/>
                    <a:pt x="52884" y="0"/>
                    <a:pt x="34061" y="0"/>
                  </a:cubicBezTo>
                  <a:cubicBezTo>
                    <a:pt x="15238" y="0"/>
                    <a:pt x="0" y="15238"/>
                    <a:pt x="0" y="33165"/>
                  </a:cubicBezTo>
                  <a:cubicBezTo>
                    <a:pt x="0" y="51540"/>
                    <a:pt x="15238" y="66329"/>
                    <a:pt x="34061" y="66329"/>
                  </a:cubicBezTo>
                  <a:cubicBezTo>
                    <a:pt x="52884" y="66777"/>
                    <a:pt x="68122" y="51540"/>
                    <a:pt x="68122" y="33165"/>
                  </a:cubicBezTo>
                  <a:close/>
                  <a:moveTo>
                    <a:pt x="4482" y="33165"/>
                  </a:moveTo>
                  <a:cubicBezTo>
                    <a:pt x="4482" y="17479"/>
                    <a:pt x="17479" y="4482"/>
                    <a:pt x="34061" y="4482"/>
                  </a:cubicBezTo>
                  <a:cubicBezTo>
                    <a:pt x="50195" y="4482"/>
                    <a:pt x="63640" y="17479"/>
                    <a:pt x="63640" y="33165"/>
                  </a:cubicBezTo>
                  <a:cubicBezTo>
                    <a:pt x="63640" y="48851"/>
                    <a:pt x="50643" y="61848"/>
                    <a:pt x="34061" y="61848"/>
                  </a:cubicBezTo>
                  <a:cubicBezTo>
                    <a:pt x="17927" y="62296"/>
                    <a:pt x="4482" y="49299"/>
                    <a:pt x="4482" y="33165"/>
                  </a:cubicBezTo>
                  <a:close/>
                </a:path>
              </a:pathLst>
            </a:custGeom>
            <a:solidFill>
              <a:srgbClr val="231F20"/>
            </a:solidFill>
            <a:ln w="4477" cap="flat">
              <a:noFill/>
              <a:prstDash val="solid"/>
              <a:miter/>
            </a:ln>
          </p:spPr>
          <p:txBody>
            <a:bodyPr rtlCol="0" anchor="ctr"/>
            <a:lstStyle/>
            <a:p>
              <a:endParaRPr lang="en-US"/>
            </a:p>
          </p:txBody>
        </p:sp>
      </p:grpSp>
      <p:grpSp>
        <p:nvGrpSpPr>
          <p:cNvPr id="2435" name="Group 2434">
            <a:extLst>
              <a:ext uri="{FF2B5EF4-FFF2-40B4-BE49-F238E27FC236}">
                <a16:creationId xmlns:a16="http://schemas.microsoft.com/office/drawing/2014/main" id="{5448B29A-0B57-4881-A4F5-D92ADE85624C}"/>
              </a:ext>
              <a:ext uri="{C183D7F6-B498-43B3-948B-1728B52AA6E4}">
                <adec:decorative xmlns:adec="http://schemas.microsoft.com/office/drawing/2017/decorative" val="1"/>
              </a:ext>
            </a:extLst>
          </p:cNvPr>
          <p:cNvGrpSpPr>
            <a:grpSpLocks noChangeAspect="1"/>
          </p:cNvGrpSpPr>
          <p:nvPr/>
        </p:nvGrpSpPr>
        <p:grpSpPr>
          <a:xfrm>
            <a:off x="6929744" y="3447783"/>
            <a:ext cx="121006" cy="152378"/>
            <a:chOff x="7023734" y="1412617"/>
            <a:chExt cx="121006" cy="152378"/>
          </a:xfrm>
        </p:grpSpPr>
        <p:sp>
          <p:nvSpPr>
            <p:cNvPr id="5504" name="Freeform: Shape 5503">
              <a:extLst>
                <a:ext uri="{FF2B5EF4-FFF2-40B4-BE49-F238E27FC236}">
                  <a16:creationId xmlns:a16="http://schemas.microsoft.com/office/drawing/2014/main" id="{DC179883-DD0C-484A-A517-97183D54BA15}"/>
                </a:ext>
              </a:extLst>
            </p:cNvPr>
            <p:cNvSpPr/>
            <p:nvPr/>
          </p:nvSpPr>
          <p:spPr>
            <a:xfrm>
              <a:off x="7055554" y="1445333"/>
              <a:ext cx="58262" cy="62744"/>
            </a:xfrm>
            <a:custGeom>
              <a:avLst/>
              <a:gdLst>
                <a:gd name="connsiteX0" fmla="*/ 30924 w 58262"/>
                <a:gd name="connsiteY0" fmla="*/ 62744 h 62743"/>
                <a:gd name="connsiteX1" fmla="*/ 0 w 58262"/>
                <a:gd name="connsiteY1" fmla="*/ 31372 h 62743"/>
                <a:gd name="connsiteX2" fmla="*/ 30924 w 58262"/>
                <a:gd name="connsiteY2" fmla="*/ 0 h 62743"/>
                <a:gd name="connsiteX3" fmla="*/ 61847 w 58262"/>
                <a:gd name="connsiteY3" fmla="*/ 31372 h 62743"/>
                <a:gd name="connsiteX4" fmla="*/ 30924 w 58262"/>
                <a:gd name="connsiteY4" fmla="*/ 62744 h 62743"/>
                <a:gd name="connsiteX5" fmla="*/ 30924 w 58262"/>
                <a:gd name="connsiteY5" fmla="*/ 4034 h 62743"/>
                <a:gd name="connsiteX6" fmla="*/ 4482 w 58262"/>
                <a:gd name="connsiteY6" fmla="*/ 30924 h 62743"/>
                <a:gd name="connsiteX7" fmla="*/ 30924 w 58262"/>
                <a:gd name="connsiteY7" fmla="*/ 57814 h 62743"/>
                <a:gd name="connsiteX8" fmla="*/ 57366 w 58262"/>
                <a:gd name="connsiteY8" fmla="*/ 30924 h 62743"/>
                <a:gd name="connsiteX9" fmla="*/ 30924 w 58262"/>
                <a:gd name="connsiteY9" fmla="*/ 403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62743">
                  <a:moveTo>
                    <a:pt x="30924" y="62744"/>
                  </a:moveTo>
                  <a:cubicBezTo>
                    <a:pt x="13893" y="62744"/>
                    <a:pt x="0" y="48402"/>
                    <a:pt x="0" y="31372"/>
                  </a:cubicBezTo>
                  <a:cubicBezTo>
                    <a:pt x="0" y="14341"/>
                    <a:pt x="13893" y="0"/>
                    <a:pt x="30924" y="0"/>
                  </a:cubicBezTo>
                  <a:cubicBezTo>
                    <a:pt x="47954" y="0"/>
                    <a:pt x="61847" y="14341"/>
                    <a:pt x="61847" y="31372"/>
                  </a:cubicBezTo>
                  <a:cubicBezTo>
                    <a:pt x="61847" y="48402"/>
                    <a:pt x="47954" y="62744"/>
                    <a:pt x="30924" y="62744"/>
                  </a:cubicBezTo>
                  <a:close/>
                  <a:moveTo>
                    <a:pt x="30924" y="4034"/>
                  </a:moveTo>
                  <a:cubicBezTo>
                    <a:pt x="16134" y="4034"/>
                    <a:pt x="4482" y="16134"/>
                    <a:pt x="4482" y="30924"/>
                  </a:cubicBezTo>
                  <a:cubicBezTo>
                    <a:pt x="4482" y="45713"/>
                    <a:pt x="16134" y="57814"/>
                    <a:pt x="30924" y="57814"/>
                  </a:cubicBezTo>
                  <a:cubicBezTo>
                    <a:pt x="45713" y="57814"/>
                    <a:pt x="57366" y="45713"/>
                    <a:pt x="57366" y="30924"/>
                  </a:cubicBezTo>
                  <a:cubicBezTo>
                    <a:pt x="57366" y="16134"/>
                    <a:pt x="45713" y="4034"/>
                    <a:pt x="30924" y="4034"/>
                  </a:cubicBezTo>
                  <a:close/>
                </a:path>
              </a:pathLst>
            </a:custGeom>
            <a:solidFill>
              <a:srgbClr val="231F20"/>
            </a:solidFill>
            <a:ln w="4477" cap="flat">
              <a:noFill/>
              <a:prstDash val="solid"/>
              <a:miter/>
            </a:ln>
          </p:spPr>
          <p:txBody>
            <a:bodyPr rtlCol="0" anchor="ctr"/>
            <a:lstStyle/>
            <a:p>
              <a:endParaRPr lang="en-US"/>
            </a:p>
          </p:txBody>
        </p:sp>
        <p:sp>
          <p:nvSpPr>
            <p:cNvPr id="5505" name="Freeform: Shape 5504">
              <a:extLst>
                <a:ext uri="{FF2B5EF4-FFF2-40B4-BE49-F238E27FC236}">
                  <a16:creationId xmlns:a16="http://schemas.microsoft.com/office/drawing/2014/main" id="{AA146A7A-A3D2-4544-AA29-CA8BFCF286D7}"/>
                </a:ext>
              </a:extLst>
            </p:cNvPr>
            <p:cNvSpPr/>
            <p:nvPr/>
          </p:nvSpPr>
          <p:spPr>
            <a:xfrm>
              <a:off x="7023734" y="1412617"/>
              <a:ext cx="121006" cy="152378"/>
            </a:xfrm>
            <a:custGeom>
              <a:avLst/>
              <a:gdLst>
                <a:gd name="connsiteX0" fmla="*/ 62744 w 121005"/>
                <a:gd name="connsiteY0" fmla="*/ 152378 h 152377"/>
                <a:gd name="connsiteX1" fmla="*/ 60951 w 121005"/>
                <a:gd name="connsiteY1" fmla="*/ 151930 h 152377"/>
                <a:gd name="connsiteX2" fmla="*/ 19719 w 121005"/>
                <a:gd name="connsiteY2" fmla="*/ 110698 h 152377"/>
                <a:gd name="connsiteX3" fmla="*/ 0 w 121005"/>
                <a:gd name="connsiteY3" fmla="*/ 64088 h 152377"/>
                <a:gd name="connsiteX4" fmla="*/ 62744 w 121005"/>
                <a:gd name="connsiteY4" fmla="*/ 0 h 152377"/>
                <a:gd name="connsiteX5" fmla="*/ 125488 w 121005"/>
                <a:gd name="connsiteY5" fmla="*/ 64088 h 152377"/>
                <a:gd name="connsiteX6" fmla="*/ 105768 w 121005"/>
                <a:gd name="connsiteY6" fmla="*/ 110698 h 152377"/>
                <a:gd name="connsiteX7" fmla="*/ 64537 w 121005"/>
                <a:gd name="connsiteY7" fmla="*/ 151930 h 152377"/>
                <a:gd name="connsiteX8" fmla="*/ 62744 w 121005"/>
                <a:gd name="connsiteY8" fmla="*/ 152378 h 152377"/>
                <a:gd name="connsiteX9" fmla="*/ 62744 w 121005"/>
                <a:gd name="connsiteY9" fmla="*/ 4482 h 152377"/>
                <a:gd name="connsiteX10" fmla="*/ 4482 w 121005"/>
                <a:gd name="connsiteY10" fmla="*/ 64088 h 152377"/>
                <a:gd name="connsiteX11" fmla="*/ 22857 w 121005"/>
                <a:gd name="connsiteY11" fmla="*/ 107561 h 152377"/>
                <a:gd name="connsiteX12" fmla="*/ 62744 w 121005"/>
                <a:gd name="connsiteY12" fmla="*/ 147000 h 152377"/>
                <a:gd name="connsiteX13" fmla="*/ 102631 w 121005"/>
                <a:gd name="connsiteY13" fmla="*/ 107561 h 152377"/>
                <a:gd name="connsiteX14" fmla="*/ 121006 w 121005"/>
                <a:gd name="connsiteY14" fmla="*/ 64088 h 152377"/>
                <a:gd name="connsiteX15" fmla="*/ 62744 w 121005"/>
                <a:gd name="connsiteY15"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005" h="152377">
                  <a:moveTo>
                    <a:pt x="62744" y="152378"/>
                  </a:moveTo>
                  <a:cubicBezTo>
                    <a:pt x="62296" y="152378"/>
                    <a:pt x="61399" y="152378"/>
                    <a:pt x="60951" y="151930"/>
                  </a:cubicBezTo>
                  <a:lnTo>
                    <a:pt x="19719" y="110698"/>
                  </a:lnTo>
                  <a:cubicBezTo>
                    <a:pt x="7171" y="98597"/>
                    <a:pt x="0" y="81567"/>
                    <a:pt x="0" y="64088"/>
                  </a:cubicBezTo>
                  <a:cubicBezTo>
                    <a:pt x="0" y="28683"/>
                    <a:pt x="28235" y="0"/>
                    <a:pt x="62744" y="0"/>
                  </a:cubicBezTo>
                  <a:cubicBezTo>
                    <a:pt x="97253" y="0"/>
                    <a:pt x="125488" y="28683"/>
                    <a:pt x="125488" y="64088"/>
                  </a:cubicBezTo>
                  <a:cubicBezTo>
                    <a:pt x="125488" y="81567"/>
                    <a:pt x="118317" y="98597"/>
                    <a:pt x="105768" y="110698"/>
                  </a:cubicBezTo>
                  <a:lnTo>
                    <a:pt x="64537" y="151930"/>
                  </a:lnTo>
                  <a:cubicBezTo>
                    <a:pt x="64088" y="151930"/>
                    <a:pt x="63192" y="152378"/>
                    <a:pt x="62744" y="152378"/>
                  </a:cubicBezTo>
                  <a:close/>
                  <a:moveTo>
                    <a:pt x="62744" y="4482"/>
                  </a:moveTo>
                  <a:cubicBezTo>
                    <a:pt x="30476" y="4482"/>
                    <a:pt x="4482" y="31372"/>
                    <a:pt x="4482" y="64088"/>
                  </a:cubicBezTo>
                  <a:cubicBezTo>
                    <a:pt x="4482" y="80671"/>
                    <a:pt x="11204" y="96357"/>
                    <a:pt x="22857" y="107561"/>
                  </a:cubicBezTo>
                  <a:lnTo>
                    <a:pt x="62744" y="147000"/>
                  </a:lnTo>
                  <a:lnTo>
                    <a:pt x="102631" y="107561"/>
                  </a:lnTo>
                  <a:cubicBezTo>
                    <a:pt x="114732" y="96357"/>
                    <a:pt x="121006" y="80671"/>
                    <a:pt x="121006" y="64088"/>
                  </a:cubicBezTo>
                  <a:cubicBezTo>
                    <a:pt x="121006" y="30924"/>
                    <a:pt x="95012" y="4482"/>
                    <a:pt x="62744" y="4482"/>
                  </a:cubicBezTo>
                  <a:close/>
                </a:path>
              </a:pathLst>
            </a:custGeom>
            <a:solidFill>
              <a:srgbClr val="231F20"/>
            </a:solidFill>
            <a:ln w="4477" cap="flat">
              <a:noFill/>
              <a:prstDash val="solid"/>
              <a:miter/>
            </a:ln>
          </p:spPr>
          <p:txBody>
            <a:bodyPr rtlCol="0" anchor="ctr"/>
            <a:lstStyle/>
            <a:p>
              <a:endParaRPr lang="en-US"/>
            </a:p>
          </p:txBody>
        </p:sp>
      </p:grpSp>
      <p:sp>
        <p:nvSpPr>
          <p:cNvPr id="2436" name="Freeform: Shape 2435">
            <a:extLst>
              <a:ext uri="{FF2B5EF4-FFF2-40B4-BE49-F238E27FC236}">
                <a16:creationId xmlns:a16="http://schemas.microsoft.com/office/drawing/2014/main" id="{16A25054-9C2C-4474-8933-7F4C51066B19}"/>
              </a:ext>
              <a:ext uri="{C183D7F6-B498-43B3-948B-1728B52AA6E4}">
                <adec:decorative xmlns:adec="http://schemas.microsoft.com/office/drawing/2017/decorative" val="1"/>
              </a:ext>
            </a:extLst>
          </p:cNvPr>
          <p:cNvSpPr>
            <a:spLocks noChangeAspect="1"/>
          </p:cNvSpPr>
          <p:nvPr/>
        </p:nvSpPr>
        <p:spPr>
          <a:xfrm>
            <a:off x="7189683" y="3447783"/>
            <a:ext cx="125488" cy="152378"/>
          </a:xfrm>
          <a:custGeom>
            <a:avLst/>
            <a:gdLst>
              <a:gd name="connsiteX0" fmla="*/ 62744 w 125487"/>
              <a:gd name="connsiteY0" fmla="*/ 152378 h 152377"/>
              <a:gd name="connsiteX1" fmla="*/ 60951 w 125487"/>
              <a:gd name="connsiteY1" fmla="*/ 151930 h 152377"/>
              <a:gd name="connsiteX2" fmla="*/ 19720 w 125487"/>
              <a:gd name="connsiteY2" fmla="*/ 110698 h 152377"/>
              <a:gd name="connsiteX3" fmla="*/ 0 w 125487"/>
              <a:gd name="connsiteY3" fmla="*/ 64088 h 152377"/>
              <a:gd name="connsiteX4" fmla="*/ 62744 w 125487"/>
              <a:gd name="connsiteY4" fmla="*/ 0 h 152377"/>
              <a:gd name="connsiteX5" fmla="*/ 125488 w 125487"/>
              <a:gd name="connsiteY5" fmla="*/ 64088 h 152377"/>
              <a:gd name="connsiteX6" fmla="*/ 105768 w 125487"/>
              <a:gd name="connsiteY6" fmla="*/ 110698 h 152377"/>
              <a:gd name="connsiteX7" fmla="*/ 64537 w 125487"/>
              <a:gd name="connsiteY7" fmla="*/ 151930 h 152377"/>
              <a:gd name="connsiteX8" fmla="*/ 62744 w 125487"/>
              <a:gd name="connsiteY8" fmla="*/ 152378 h 152377"/>
              <a:gd name="connsiteX9" fmla="*/ 62744 w 125487"/>
              <a:gd name="connsiteY9" fmla="*/ 4482 h 152377"/>
              <a:gd name="connsiteX10" fmla="*/ 4482 w 125487"/>
              <a:gd name="connsiteY10" fmla="*/ 64088 h 152377"/>
              <a:gd name="connsiteX11" fmla="*/ 22857 w 125487"/>
              <a:gd name="connsiteY11" fmla="*/ 107561 h 152377"/>
              <a:gd name="connsiteX12" fmla="*/ 62744 w 125487"/>
              <a:gd name="connsiteY12" fmla="*/ 147000 h 152377"/>
              <a:gd name="connsiteX13" fmla="*/ 102631 w 125487"/>
              <a:gd name="connsiteY13" fmla="*/ 107561 h 152377"/>
              <a:gd name="connsiteX14" fmla="*/ 121006 w 125487"/>
              <a:gd name="connsiteY14" fmla="*/ 64088 h 152377"/>
              <a:gd name="connsiteX15" fmla="*/ 62744 w 125487"/>
              <a:gd name="connsiteY15"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487" h="152377">
                <a:moveTo>
                  <a:pt x="62744" y="152378"/>
                </a:moveTo>
                <a:cubicBezTo>
                  <a:pt x="62296" y="152378"/>
                  <a:pt x="61399" y="152378"/>
                  <a:pt x="60951" y="151930"/>
                </a:cubicBezTo>
                <a:lnTo>
                  <a:pt x="19720" y="110698"/>
                </a:lnTo>
                <a:cubicBezTo>
                  <a:pt x="7171" y="98597"/>
                  <a:pt x="0" y="81567"/>
                  <a:pt x="0" y="64088"/>
                </a:cubicBezTo>
                <a:cubicBezTo>
                  <a:pt x="0" y="28683"/>
                  <a:pt x="28235" y="0"/>
                  <a:pt x="62744" y="0"/>
                </a:cubicBezTo>
                <a:cubicBezTo>
                  <a:pt x="97253" y="0"/>
                  <a:pt x="125488" y="28683"/>
                  <a:pt x="125488" y="64088"/>
                </a:cubicBezTo>
                <a:cubicBezTo>
                  <a:pt x="125488" y="81567"/>
                  <a:pt x="118317" y="98597"/>
                  <a:pt x="105768" y="110698"/>
                </a:cubicBezTo>
                <a:lnTo>
                  <a:pt x="64537" y="151930"/>
                </a:lnTo>
                <a:cubicBezTo>
                  <a:pt x="64088" y="151930"/>
                  <a:pt x="63192" y="152378"/>
                  <a:pt x="62744" y="152378"/>
                </a:cubicBezTo>
                <a:close/>
                <a:moveTo>
                  <a:pt x="62744" y="4482"/>
                </a:moveTo>
                <a:cubicBezTo>
                  <a:pt x="30476" y="4482"/>
                  <a:pt x="4482" y="31372"/>
                  <a:pt x="4482" y="64088"/>
                </a:cubicBezTo>
                <a:cubicBezTo>
                  <a:pt x="4482" y="80671"/>
                  <a:pt x="11204" y="96357"/>
                  <a:pt x="22857" y="107561"/>
                </a:cubicBezTo>
                <a:lnTo>
                  <a:pt x="62744" y="147000"/>
                </a:lnTo>
                <a:lnTo>
                  <a:pt x="102631" y="107561"/>
                </a:lnTo>
                <a:cubicBezTo>
                  <a:pt x="114732" y="96357"/>
                  <a:pt x="121006" y="80671"/>
                  <a:pt x="121006" y="64088"/>
                </a:cubicBezTo>
                <a:cubicBezTo>
                  <a:pt x="121006" y="30924"/>
                  <a:pt x="95012" y="4482"/>
                  <a:pt x="62744" y="4482"/>
                </a:cubicBezTo>
                <a:close/>
              </a:path>
            </a:pathLst>
          </a:custGeom>
          <a:solidFill>
            <a:srgbClr val="231F20"/>
          </a:solidFill>
          <a:ln w="4477" cap="flat">
            <a:noFill/>
            <a:prstDash val="solid"/>
            <a:miter/>
          </a:ln>
        </p:spPr>
        <p:txBody>
          <a:bodyPr rtlCol="0" anchor="ctr"/>
          <a:lstStyle/>
          <a:p>
            <a:endParaRPr lang="en-US"/>
          </a:p>
        </p:txBody>
      </p:sp>
      <p:grpSp>
        <p:nvGrpSpPr>
          <p:cNvPr id="2437" name="Group 2436">
            <a:extLst>
              <a:ext uri="{FF2B5EF4-FFF2-40B4-BE49-F238E27FC236}">
                <a16:creationId xmlns:a16="http://schemas.microsoft.com/office/drawing/2014/main" id="{1E01B9B1-C4BE-4476-B61E-A17B7C26EC14}"/>
              </a:ext>
              <a:ext uri="{C183D7F6-B498-43B3-948B-1728B52AA6E4}">
                <adec:decorative xmlns:adec="http://schemas.microsoft.com/office/drawing/2017/decorative" val="1"/>
              </a:ext>
            </a:extLst>
          </p:cNvPr>
          <p:cNvGrpSpPr>
            <a:grpSpLocks noChangeAspect="1"/>
          </p:cNvGrpSpPr>
          <p:nvPr/>
        </p:nvGrpSpPr>
        <p:grpSpPr>
          <a:xfrm>
            <a:off x="7446484" y="3447335"/>
            <a:ext cx="138485" cy="150137"/>
            <a:chOff x="7540474" y="1412169"/>
            <a:chExt cx="138485" cy="150137"/>
          </a:xfrm>
        </p:grpSpPr>
        <p:sp>
          <p:nvSpPr>
            <p:cNvPr id="5501" name="Freeform: Shape 5500">
              <a:extLst>
                <a:ext uri="{FF2B5EF4-FFF2-40B4-BE49-F238E27FC236}">
                  <a16:creationId xmlns:a16="http://schemas.microsoft.com/office/drawing/2014/main" id="{9EFDC8A2-8810-4DFC-A096-59B481644D7E}"/>
                </a:ext>
              </a:extLst>
            </p:cNvPr>
            <p:cNvSpPr/>
            <p:nvPr/>
          </p:nvSpPr>
          <p:spPr>
            <a:xfrm>
              <a:off x="7629212" y="1499562"/>
              <a:ext cx="49299" cy="62744"/>
            </a:xfrm>
            <a:custGeom>
              <a:avLst/>
              <a:gdLst>
                <a:gd name="connsiteX0" fmla="*/ 25098 w 49298"/>
                <a:gd name="connsiteY0" fmla="*/ 66329 h 62743"/>
                <a:gd name="connsiteX1" fmla="*/ 4930 w 49298"/>
                <a:gd name="connsiteY1" fmla="*/ 40335 h 62743"/>
                <a:gd name="connsiteX2" fmla="*/ 0 w 49298"/>
                <a:gd name="connsiteY2" fmla="*/ 25098 h 62743"/>
                <a:gd name="connsiteX3" fmla="*/ 25098 w 49298"/>
                <a:gd name="connsiteY3" fmla="*/ 0 h 62743"/>
                <a:gd name="connsiteX4" fmla="*/ 50195 w 49298"/>
                <a:gd name="connsiteY4" fmla="*/ 25098 h 62743"/>
                <a:gd name="connsiteX5" fmla="*/ 45265 w 49298"/>
                <a:gd name="connsiteY5" fmla="*/ 39887 h 62743"/>
                <a:gd name="connsiteX6" fmla="*/ 25098 w 49298"/>
                <a:gd name="connsiteY6" fmla="*/ 66329 h 62743"/>
                <a:gd name="connsiteX7" fmla="*/ 25098 w 49298"/>
                <a:gd name="connsiteY7" fmla="*/ 4930 h 62743"/>
                <a:gd name="connsiteX8" fmla="*/ 4482 w 49298"/>
                <a:gd name="connsiteY8" fmla="*/ 25546 h 62743"/>
                <a:gd name="connsiteX9" fmla="*/ 8515 w 49298"/>
                <a:gd name="connsiteY9" fmla="*/ 37646 h 62743"/>
                <a:gd name="connsiteX10" fmla="*/ 25098 w 49298"/>
                <a:gd name="connsiteY10" fmla="*/ 59159 h 62743"/>
                <a:gd name="connsiteX11" fmla="*/ 41680 w 49298"/>
                <a:gd name="connsiteY11" fmla="*/ 37646 h 62743"/>
                <a:gd name="connsiteX12" fmla="*/ 45713 w 49298"/>
                <a:gd name="connsiteY12" fmla="*/ 25546 h 62743"/>
                <a:gd name="connsiteX13" fmla="*/ 25098 w 49298"/>
                <a:gd name="connsiteY13" fmla="*/ 493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98" h="62743">
                  <a:moveTo>
                    <a:pt x="25098" y="66329"/>
                  </a:moveTo>
                  <a:lnTo>
                    <a:pt x="4930" y="40335"/>
                  </a:lnTo>
                  <a:cubicBezTo>
                    <a:pt x="1793" y="35854"/>
                    <a:pt x="0" y="30924"/>
                    <a:pt x="0" y="25098"/>
                  </a:cubicBezTo>
                  <a:cubicBezTo>
                    <a:pt x="0" y="11204"/>
                    <a:pt x="11204" y="0"/>
                    <a:pt x="25098" y="0"/>
                  </a:cubicBezTo>
                  <a:cubicBezTo>
                    <a:pt x="38991" y="0"/>
                    <a:pt x="50195" y="11204"/>
                    <a:pt x="50195" y="25098"/>
                  </a:cubicBezTo>
                  <a:cubicBezTo>
                    <a:pt x="50195" y="30476"/>
                    <a:pt x="48402" y="35854"/>
                    <a:pt x="45265" y="39887"/>
                  </a:cubicBezTo>
                  <a:lnTo>
                    <a:pt x="25098" y="66329"/>
                  </a:lnTo>
                  <a:close/>
                  <a:moveTo>
                    <a:pt x="25098" y="4930"/>
                  </a:moveTo>
                  <a:cubicBezTo>
                    <a:pt x="13893" y="4930"/>
                    <a:pt x="4482" y="14341"/>
                    <a:pt x="4482" y="25546"/>
                  </a:cubicBezTo>
                  <a:cubicBezTo>
                    <a:pt x="4482" y="30027"/>
                    <a:pt x="5826" y="34061"/>
                    <a:pt x="8515" y="37646"/>
                  </a:cubicBezTo>
                  <a:lnTo>
                    <a:pt x="25098" y="59159"/>
                  </a:lnTo>
                  <a:lnTo>
                    <a:pt x="41680" y="37646"/>
                  </a:lnTo>
                  <a:cubicBezTo>
                    <a:pt x="44369" y="34061"/>
                    <a:pt x="45713" y="30027"/>
                    <a:pt x="45713" y="25546"/>
                  </a:cubicBezTo>
                  <a:cubicBezTo>
                    <a:pt x="45713" y="13893"/>
                    <a:pt x="36302" y="4930"/>
                    <a:pt x="25098" y="4930"/>
                  </a:cubicBezTo>
                  <a:close/>
                </a:path>
              </a:pathLst>
            </a:custGeom>
            <a:solidFill>
              <a:srgbClr val="231F20"/>
            </a:solidFill>
            <a:ln w="4477" cap="flat">
              <a:noFill/>
              <a:prstDash val="solid"/>
              <a:miter/>
            </a:ln>
          </p:spPr>
          <p:txBody>
            <a:bodyPr rtlCol="0" anchor="ctr"/>
            <a:lstStyle/>
            <a:p>
              <a:endParaRPr lang="en-US"/>
            </a:p>
          </p:txBody>
        </p:sp>
        <p:sp>
          <p:nvSpPr>
            <p:cNvPr id="5502" name="Freeform: Shape 5501">
              <a:extLst>
                <a:ext uri="{FF2B5EF4-FFF2-40B4-BE49-F238E27FC236}">
                  <a16:creationId xmlns:a16="http://schemas.microsoft.com/office/drawing/2014/main" id="{72AEAC99-1EF9-42D4-B93F-137AB24A2790}"/>
                </a:ext>
              </a:extLst>
            </p:cNvPr>
            <p:cNvSpPr/>
            <p:nvPr/>
          </p:nvSpPr>
          <p:spPr>
            <a:xfrm>
              <a:off x="7540474" y="1412169"/>
              <a:ext cx="49299" cy="62744"/>
            </a:xfrm>
            <a:custGeom>
              <a:avLst/>
              <a:gdLst>
                <a:gd name="connsiteX0" fmla="*/ 25098 w 49298"/>
                <a:gd name="connsiteY0" fmla="*/ 66329 h 62743"/>
                <a:gd name="connsiteX1" fmla="*/ 4930 w 49298"/>
                <a:gd name="connsiteY1" fmla="*/ 40335 h 62743"/>
                <a:gd name="connsiteX2" fmla="*/ 0 w 49298"/>
                <a:gd name="connsiteY2" fmla="*/ 25098 h 62743"/>
                <a:gd name="connsiteX3" fmla="*/ 25098 w 49298"/>
                <a:gd name="connsiteY3" fmla="*/ 0 h 62743"/>
                <a:gd name="connsiteX4" fmla="*/ 50195 w 49298"/>
                <a:gd name="connsiteY4" fmla="*/ 25098 h 62743"/>
                <a:gd name="connsiteX5" fmla="*/ 45265 w 49298"/>
                <a:gd name="connsiteY5" fmla="*/ 39887 h 62743"/>
                <a:gd name="connsiteX6" fmla="*/ 25098 w 49298"/>
                <a:gd name="connsiteY6" fmla="*/ 66329 h 62743"/>
                <a:gd name="connsiteX7" fmla="*/ 25098 w 49298"/>
                <a:gd name="connsiteY7" fmla="*/ 4930 h 62743"/>
                <a:gd name="connsiteX8" fmla="*/ 4482 w 49298"/>
                <a:gd name="connsiteY8" fmla="*/ 25546 h 62743"/>
                <a:gd name="connsiteX9" fmla="*/ 8515 w 49298"/>
                <a:gd name="connsiteY9" fmla="*/ 37646 h 62743"/>
                <a:gd name="connsiteX10" fmla="*/ 25098 w 49298"/>
                <a:gd name="connsiteY10" fmla="*/ 59159 h 62743"/>
                <a:gd name="connsiteX11" fmla="*/ 41680 w 49298"/>
                <a:gd name="connsiteY11" fmla="*/ 37646 h 62743"/>
                <a:gd name="connsiteX12" fmla="*/ 45713 w 49298"/>
                <a:gd name="connsiteY12" fmla="*/ 25546 h 62743"/>
                <a:gd name="connsiteX13" fmla="*/ 25098 w 49298"/>
                <a:gd name="connsiteY13" fmla="*/ 493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98" h="62743">
                  <a:moveTo>
                    <a:pt x="25098" y="66329"/>
                  </a:moveTo>
                  <a:lnTo>
                    <a:pt x="4930" y="40335"/>
                  </a:lnTo>
                  <a:cubicBezTo>
                    <a:pt x="1793" y="35854"/>
                    <a:pt x="0" y="30924"/>
                    <a:pt x="0" y="25098"/>
                  </a:cubicBezTo>
                  <a:cubicBezTo>
                    <a:pt x="0" y="11204"/>
                    <a:pt x="11204" y="0"/>
                    <a:pt x="25098" y="0"/>
                  </a:cubicBezTo>
                  <a:cubicBezTo>
                    <a:pt x="38991" y="0"/>
                    <a:pt x="50195" y="11204"/>
                    <a:pt x="50195" y="25098"/>
                  </a:cubicBezTo>
                  <a:cubicBezTo>
                    <a:pt x="50195" y="30476"/>
                    <a:pt x="48402" y="35854"/>
                    <a:pt x="45265" y="39887"/>
                  </a:cubicBezTo>
                  <a:lnTo>
                    <a:pt x="25098" y="66329"/>
                  </a:lnTo>
                  <a:close/>
                  <a:moveTo>
                    <a:pt x="25098" y="4930"/>
                  </a:moveTo>
                  <a:cubicBezTo>
                    <a:pt x="13893" y="4930"/>
                    <a:pt x="4482" y="14341"/>
                    <a:pt x="4482" y="25546"/>
                  </a:cubicBezTo>
                  <a:cubicBezTo>
                    <a:pt x="4482" y="30027"/>
                    <a:pt x="5826" y="34061"/>
                    <a:pt x="8515" y="37646"/>
                  </a:cubicBezTo>
                  <a:lnTo>
                    <a:pt x="25098" y="59159"/>
                  </a:lnTo>
                  <a:lnTo>
                    <a:pt x="41680" y="37646"/>
                  </a:lnTo>
                  <a:cubicBezTo>
                    <a:pt x="44369" y="34061"/>
                    <a:pt x="45713" y="30027"/>
                    <a:pt x="45713" y="25546"/>
                  </a:cubicBezTo>
                  <a:cubicBezTo>
                    <a:pt x="45713" y="13893"/>
                    <a:pt x="36750" y="4930"/>
                    <a:pt x="25098" y="4930"/>
                  </a:cubicBezTo>
                  <a:close/>
                </a:path>
              </a:pathLst>
            </a:custGeom>
            <a:solidFill>
              <a:srgbClr val="231F20"/>
            </a:solidFill>
            <a:ln w="4477" cap="flat">
              <a:noFill/>
              <a:prstDash val="solid"/>
              <a:miter/>
            </a:ln>
          </p:spPr>
          <p:txBody>
            <a:bodyPr rtlCol="0" anchor="ctr"/>
            <a:lstStyle/>
            <a:p>
              <a:endParaRPr lang="en-US"/>
            </a:p>
          </p:txBody>
        </p:sp>
        <p:sp>
          <p:nvSpPr>
            <p:cNvPr id="5503" name="Freeform: Shape 5502">
              <a:extLst>
                <a:ext uri="{FF2B5EF4-FFF2-40B4-BE49-F238E27FC236}">
                  <a16:creationId xmlns:a16="http://schemas.microsoft.com/office/drawing/2014/main" id="{F198FB9C-5367-4D08-856D-11F38192B26D}"/>
                </a:ext>
              </a:extLst>
            </p:cNvPr>
            <p:cNvSpPr/>
            <p:nvPr/>
          </p:nvSpPr>
          <p:spPr>
            <a:xfrm>
              <a:off x="7553471" y="1439059"/>
              <a:ext cx="125488" cy="98597"/>
            </a:xfrm>
            <a:custGeom>
              <a:avLst/>
              <a:gdLst>
                <a:gd name="connsiteX0" fmla="*/ 29131 w 125487"/>
                <a:gd name="connsiteY0" fmla="*/ 99046 h 98597"/>
                <a:gd name="connsiteX1" fmla="*/ 7171 w 125487"/>
                <a:gd name="connsiteY1" fmla="*/ 91875 h 98597"/>
                <a:gd name="connsiteX2" fmla="*/ 0 w 125487"/>
                <a:gd name="connsiteY2" fmla="*/ 74396 h 98597"/>
                <a:gd name="connsiteX3" fmla="*/ 27338 w 125487"/>
                <a:gd name="connsiteY3" fmla="*/ 47506 h 98597"/>
                <a:gd name="connsiteX4" fmla="*/ 98597 w 125487"/>
                <a:gd name="connsiteY4" fmla="*/ 47506 h 98597"/>
                <a:gd name="connsiteX5" fmla="*/ 115628 w 125487"/>
                <a:gd name="connsiteY5" fmla="*/ 40784 h 98597"/>
                <a:gd name="connsiteX6" fmla="*/ 121006 w 125487"/>
                <a:gd name="connsiteY6" fmla="*/ 26442 h 98597"/>
                <a:gd name="connsiteX7" fmla="*/ 97701 w 125487"/>
                <a:gd name="connsiteY7" fmla="*/ 4482 h 98597"/>
                <a:gd name="connsiteX8" fmla="*/ 42576 w 125487"/>
                <a:gd name="connsiteY8" fmla="*/ 4482 h 98597"/>
                <a:gd name="connsiteX9" fmla="*/ 40335 w 125487"/>
                <a:gd name="connsiteY9" fmla="*/ 2241 h 98597"/>
                <a:gd name="connsiteX10" fmla="*/ 42576 w 125487"/>
                <a:gd name="connsiteY10" fmla="*/ 0 h 98597"/>
                <a:gd name="connsiteX11" fmla="*/ 98149 w 125487"/>
                <a:gd name="connsiteY11" fmla="*/ 0 h 98597"/>
                <a:gd name="connsiteX12" fmla="*/ 125936 w 125487"/>
                <a:gd name="connsiteY12" fmla="*/ 26442 h 98597"/>
                <a:gd name="connsiteX13" fmla="*/ 119213 w 125487"/>
                <a:gd name="connsiteY13" fmla="*/ 43921 h 98597"/>
                <a:gd name="connsiteX14" fmla="*/ 98597 w 125487"/>
                <a:gd name="connsiteY14" fmla="*/ 51540 h 98597"/>
                <a:gd name="connsiteX15" fmla="*/ 27338 w 125487"/>
                <a:gd name="connsiteY15" fmla="*/ 51540 h 98597"/>
                <a:gd name="connsiteX16" fmla="*/ 4482 w 125487"/>
                <a:gd name="connsiteY16" fmla="*/ 73948 h 98597"/>
                <a:gd name="connsiteX17" fmla="*/ 9860 w 125487"/>
                <a:gd name="connsiteY17" fmla="*/ 88290 h 98597"/>
                <a:gd name="connsiteX18" fmla="*/ 30476 w 125487"/>
                <a:gd name="connsiteY18" fmla="*/ 94116 h 98597"/>
                <a:gd name="connsiteX19" fmla="*/ 68570 w 125487"/>
                <a:gd name="connsiteY19" fmla="*/ 94116 h 98597"/>
                <a:gd name="connsiteX20" fmla="*/ 70811 w 125487"/>
                <a:gd name="connsiteY20" fmla="*/ 96357 h 98597"/>
                <a:gd name="connsiteX21" fmla="*/ 68570 w 125487"/>
                <a:gd name="connsiteY21" fmla="*/ 98597 h 98597"/>
                <a:gd name="connsiteX22" fmla="*/ 30476 w 125487"/>
                <a:gd name="connsiteY22" fmla="*/ 98597 h 98597"/>
                <a:gd name="connsiteX23" fmla="*/ 29131 w 125487"/>
                <a:gd name="connsiteY23" fmla="*/ 99046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487" h="98597">
                  <a:moveTo>
                    <a:pt x="29131" y="99046"/>
                  </a:moveTo>
                  <a:cubicBezTo>
                    <a:pt x="24649" y="99046"/>
                    <a:pt x="14341" y="98149"/>
                    <a:pt x="7171" y="91875"/>
                  </a:cubicBezTo>
                  <a:cubicBezTo>
                    <a:pt x="2689" y="87393"/>
                    <a:pt x="0" y="81567"/>
                    <a:pt x="0" y="74396"/>
                  </a:cubicBezTo>
                  <a:cubicBezTo>
                    <a:pt x="0" y="56918"/>
                    <a:pt x="15686" y="47506"/>
                    <a:pt x="27338" y="47506"/>
                  </a:cubicBezTo>
                  <a:lnTo>
                    <a:pt x="98597" y="47506"/>
                  </a:lnTo>
                  <a:cubicBezTo>
                    <a:pt x="105320" y="47506"/>
                    <a:pt x="111594" y="45265"/>
                    <a:pt x="115628" y="40784"/>
                  </a:cubicBezTo>
                  <a:cubicBezTo>
                    <a:pt x="119213" y="37198"/>
                    <a:pt x="121006" y="32268"/>
                    <a:pt x="121006" y="26442"/>
                  </a:cubicBezTo>
                  <a:cubicBezTo>
                    <a:pt x="121006" y="12101"/>
                    <a:pt x="112939" y="4482"/>
                    <a:pt x="97701" y="4482"/>
                  </a:cubicBezTo>
                  <a:lnTo>
                    <a:pt x="42576" y="4482"/>
                  </a:lnTo>
                  <a:cubicBezTo>
                    <a:pt x="41232" y="4482"/>
                    <a:pt x="40335" y="3585"/>
                    <a:pt x="40335" y="2241"/>
                  </a:cubicBezTo>
                  <a:cubicBezTo>
                    <a:pt x="40335" y="896"/>
                    <a:pt x="41232" y="0"/>
                    <a:pt x="42576" y="0"/>
                  </a:cubicBezTo>
                  <a:lnTo>
                    <a:pt x="98149" y="0"/>
                  </a:lnTo>
                  <a:cubicBezTo>
                    <a:pt x="116076" y="0"/>
                    <a:pt x="125936" y="9412"/>
                    <a:pt x="125936" y="26442"/>
                  </a:cubicBezTo>
                  <a:cubicBezTo>
                    <a:pt x="125936" y="33165"/>
                    <a:pt x="123695" y="39439"/>
                    <a:pt x="119213" y="43921"/>
                  </a:cubicBezTo>
                  <a:cubicBezTo>
                    <a:pt x="114283" y="48851"/>
                    <a:pt x="106664" y="51988"/>
                    <a:pt x="98597" y="51540"/>
                  </a:cubicBezTo>
                  <a:lnTo>
                    <a:pt x="27338" y="51540"/>
                  </a:lnTo>
                  <a:cubicBezTo>
                    <a:pt x="17927" y="51540"/>
                    <a:pt x="4482" y="59607"/>
                    <a:pt x="4482" y="73948"/>
                  </a:cubicBezTo>
                  <a:cubicBezTo>
                    <a:pt x="4482" y="80222"/>
                    <a:pt x="6274" y="84704"/>
                    <a:pt x="9860" y="88290"/>
                  </a:cubicBezTo>
                  <a:cubicBezTo>
                    <a:pt x="17479" y="95460"/>
                    <a:pt x="30476" y="94116"/>
                    <a:pt x="30476" y="94116"/>
                  </a:cubicBezTo>
                  <a:lnTo>
                    <a:pt x="68570" y="94116"/>
                  </a:lnTo>
                  <a:cubicBezTo>
                    <a:pt x="69915" y="94116"/>
                    <a:pt x="70811" y="95012"/>
                    <a:pt x="70811" y="96357"/>
                  </a:cubicBezTo>
                  <a:cubicBezTo>
                    <a:pt x="70811" y="97701"/>
                    <a:pt x="69915" y="98597"/>
                    <a:pt x="68570" y="98597"/>
                  </a:cubicBezTo>
                  <a:lnTo>
                    <a:pt x="30476" y="98597"/>
                  </a:lnTo>
                  <a:cubicBezTo>
                    <a:pt x="31372" y="99046"/>
                    <a:pt x="30476" y="99046"/>
                    <a:pt x="29131" y="99046"/>
                  </a:cubicBezTo>
                  <a:close/>
                </a:path>
              </a:pathLst>
            </a:custGeom>
            <a:solidFill>
              <a:srgbClr val="231F20"/>
            </a:solidFill>
            <a:ln w="4477" cap="flat">
              <a:noFill/>
              <a:prstDash val="solid"/>
              <a:miter/>
            </a:ln>
          </p:spPr>
          <p:txBody>
            <a:bodyPr rtlCol="0" anchor="ctr"/>
            <a:lstStyle/>
            <a:p>
              <a:endParaRPr lang="en-US"/>
            </a:p>
          </p:txBody>
        </p:sp>
      </p:grpSp>
      <p:sp>
        <p:nvSpPr>
          <p:cNvPr id="2438" name="Freeform: Shape 2437">
            <a:extLst>
              <a:ext uri="{FF2B5EF4-FFF2-40B4-BE49-F238E27FC236}">
                <a16:creationId xmlns:a16="http://schemas.microsoft.com/office/drawing/2014/main" id="{C43C1B22-7117-4C3B-9D68-9996B16F221F}"/>
              </a:ext>
              <a:ext uri="{C183D7F6-B498-43B3-948B-1728B52AA6E4}">
                <adec:decorative xmlns:adec="http://schemas.microsoft.com/office/drawing/2017/decorative" val="1"/>
              </a:ext>
            </a:extLst>
          </p:cNvPr>
          <p:cNvSpPr>
            <a:spLocks noChangeAspect="1"/>
          </p:cNvSpPr>
          <p:nvPr/>
        </p:nvSpPr>
        <p:spPr>
          <a:xfrm>
            <a:off x="7706871" y="3461228"/>
            <a:ext cx="152378" cy="125488"/>
          </a:xfrm>
          <a:custGeom>
            <a:avLst/>
            <a:gdLst>
              <a:gd name="connsiteX0" fmla="*/ 151033 w 152377"/>
              <a:gd name="connsiteY0" fmla="*/ 448 h 125487"/>
              <a:gd name="connsiteX1" fmla="*/ 149241 w 152377"/>
              <a:gd name="connsiteY1" fmla="*/ 0 h 125487"/>
              <a:gd name="connsiteX2" fmla="*/ 96357 w 152377"/>
              <a:gd name="connsiteY2" fmla="*/ 12997 h 125487"/>
              <a:gd name="connsiteX3" fmla="*/ 76189 w 152377"/>
              <a:gd name="connsiteY3" fmla="*/ 6274 h 125487"/>
              <a:gd name="connsiteX4" fmla="*/ 56469 w 152377"/>
              <a:gd name="connsiteY4" fmla="*/ 0 h 125487"/>
              <a:gd name="connsiteX5" fmla="*/ 56469 w 152377"/>
              <a:gd name="connsiteY5" fmla="*/ 0 h 125487"/>
              <a:gd name="connsiteX6" fmla="*/ 56021 w 152377"/>
              <a:gd name="connsiteY6" fmla="*/ 0 h 125487"/>
              <a:gd name="connsiteX7" fmla="*/ 55573 w 152377"/>
              <a:gd name="connsiteY7" fmla="*/ 0 h 125487"/>
              <a:gd name="connsiteX8" fmla="*/ 55573 w 152377"/>
              <a:gd name="connsiteY8" fmla="*/ 0 h 125487"/>
              <a:gd name="connsiteX9" fmla="*/ 1793 w 152377"/>
              <a:gd name="connsiteY9" fmla="*/ 14341 h 125487"/>
              <a:gd name="connsiteX10" fmla="*/ 0 w 152377"/>
              <a:gd name="connsiteY10" fmla="*/ 16582 h 125487"/>
              <a:gd name="connsiteX11" fmla="*/ 0 w 152377"/>
              <a:gd name="connsiteY11" fmla="*/ 123247 h 125487"/>
              <a:gd name="connsiteX12" fmla="*/ 896 w 152377"/>
              <a:gd name="connsiteY12" fmla="*/ 125039 h 125487"/>
              <a:gd name="connsiteX13" fmla="*/ 2241 w 152377"/>
              <a:gd name="connsiteY13" fmla="*/ 125488 h 125487"/>
              <a:gd name="connsiteX14" fmla="*/ 2689 w 152377"/>
              <a:gd name="connsiteY14" fmla="*/ 125488 h 125487"/>
              <a:gd name="connsiteX15" fmla="*/ 56021 w 152377"/>
              <a:gd name="connsiteY15" fmla="*/ 112043 h 125487"/>
              <a:gd name="connsiteX16" fmla="*/ 95909 w 152377"/>
              <a:gd name="connsiteY16" fmla="*/ 123247 h 125487"/>
              <a:gd name="connsiteX17" fmla="*/ 96357 w 152377"/>
              <a:gd name="connsiteY17" fmla="*/ 123247 h 125487"/>
              <a:gd name="connsiteX18" fmla="*/ 96805 w 152377"/>
              <a:gd name="connsiteY18" fmla="*/ 123247 h 125487"/>
              <a:gd name="connsiteX19" fmla="*/ 97253 w 152377"/>
              <a:gd name="connsiteY19" fmla="*/ 123247 h 125487"/>
              <a:gd name="connsiteX20" fmla="*/ 97253 w 152377"/>
              <a:gd name="connsiteY20" fmla="*/ 123247 h 125487"/>
              <a:gd name="connsiteX21" fmla="*/ 151033 w 152377"/>
              <a:gd name="connsiteY21" fmla="*/ 112043 h 125487"/>
              <a:gd name="connsiteX22" fmla="*/ 152826 w 152377"/>
              <a:gd name="connsiteY22" fmla="*/ 109802 h 125487"/>
              <a:gd name="connsiteX23" fmla="*/ 152826 w 152377"/>
              <a:gd name="connsiteY23" fmla="*/ 2241 h 125487"/>
              <a:gd name="connsiteX24" fmla="*/ 151033 w 152377"/>
              <a:gd name="connsiteY24" fmla="*/ 448 h 125487"/>
              <a:gd name="connsiteX25" fmla="*/ 93668 w 152377"/>
              <a:gd name="connsiteY25" fmla="*/ 17030 h 125487"/>
              <a:gd name="connsiteX26" fmla="*/ 93668 w 152377"/>
              <a:gd name="connsiteY26" fmla="*/ 118317 h 125487"/>
              <a:gd name="connsiteX27" fmla="*/ 57814 w 152377"/>
              <a:gd name="connsiteY27" fmla="*/ 108009 h 125487"/>
              <a:gd name="connsiteX28" fmla="*/ 57814 w 152377"/>
              <a:gd name="connsiteY28" fmla="*/ 5378 h 125487"/>
              <a:gd name="connsiteX29" fmla="*/ 74396 w 152377"/>
              <a:gd name="connsiteY29" fmla="*/ 10756 h 125487"/>
              <a:gd name="connsiteX30" fmla="*/ 93668 w 152377"/>
              <a:gd name="connsiteY30" fmla="*/ 17030 h 125487"/>
              <a:gd name="connsiteX31" fmla="*/ 4034 w 152377"/>
              <a:gd name="connsiteY31" fmla="*/ 18375 h 125487"/>
              <a:gd name="connsiteX32" fmla="*/ 53332 w 152377"/>
              <a:gd name="connsiteY32" fmla="*/ 4930 h 125487"/>
              <a:gd name="connsiteX33" fmla="*/ 53332 w 152377"/>
              <a:gd name="connsiteY33" fmla="*/ 108009 h 125487"/>
              <a:gd name="connsiteX34" fmla="*/ 4034 w 152377"/>
              <a:gd name="connsiteY34" fmla="*/ 120558 h 125487"/>
              <a:gd name="connsiteX35" fmla="*/ 4034 w 152377"/>
              <a:gd name="connsiteY35" fmla="*/ 18375 h 125487"/>
              <a:gd name="connsiteX36" fmla="*/ 147448 w 152377"/>
              <a:gd name="connsiteY36" fmla="*/ 108009 h 125487"/>
              <a:gd name="connsiteX37" fmla="*/ 98149 w 152377"/>
              <a:gd name="connsiteY37" fmla="*/ 118317 h 125487"/>
              <a:gd name="connsiteX38" fmla="*/ 98149 w 152377"/>
              <a:gd name="connsiteY38" fmla="*/ 17030 h 125487"/>
              <a:gd name="connsiteX39" fmla="*/ 147448 w 152377"/>
              <a:gd name="connsiteY39" fmla="*/ 4930 h 125487"/>
              <a:gd name="connsiteX40" fmla="*/ 147448 w 152377"/>
              <a:gd name="connsiteY40" fmla="*/ 108009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377" h="125487">
                <a:moveTo>
                  <a:pt x="151033" y="448"/>
                </a:moveTo>
                <a:cubicBezTo>
                  <a:pt x="150585" y="0"/>
                  <a:pt x="149689" y="0"/>
                  <a:pt x="149241" y="0"/>
                </a:cubicBezTo>
                <a:cubicBezTo>
                  <a:pt x="148793" y="0"/>
                  <a:pt x="105768" y="11204"/>
                  <a:pt x="96357" y="12997"/>
                </a:cubicBezTo>
                <a:cubicBezTo>
                  <a:pt x="86945" y="9860"/>
                  <a:pt x="81567" y="8067"/>
                  <a:pt x="76189" y="6274"/>
                </a:cubicBezTo>
                <a:cubicBezTo>
                  <a:pt x="70811" y="4482"/>
                  <a:pt x="65881" y="2689"/>
                  <a:pt x="56469" y="0"/>
                </a:cubicBezTo>
                <a:cubicBezTo>
                  <a:pt x="56469" y="0"/>
                  <a:pt x="56469" y="0"/>
                  <a:pt x="56469" y="0"/>
                </a:cubicBezTo>
                <a:cubicBezTo>
                  <a:pt x="56469" y="0"/>
                  <a:pt x="56021" y="0"/>
                  <a:pt x="56021" y="0"/>
                </a:cubicBezTo>
                <a:cubicBezTo>
                  <a:pt x="56021" y="0"/>
                  <a:pt x="55573" y="0"/>
                  <a:pt x="55573" y="0"/>
                </a:cubicBezTo>
                <a:cubicBezTo>
                  <a:pt x="55573" y="0"/>
                  <a:pt x="55573" y="0"/>
                  <a:pt x="55573" y="0"/>
                </a:cubicBezTo>
                <a:lnTo>
                  <a:pt x="1793" y="14341"/>
                </a:lnTo>
                <a:cubicBezTo>
                  <a:pt x="896" y="14790"/>
                  <a:pt x="0" y="15686"/>
                  <a:pt x="0" y="16582"/>
                </a:cubicBezTo>
                <a:lnTo>
                  <a:pt x="0" y="123247"/>
                </a:lnTo>
                <a:cubicBezTo>
                  <a:pt x="0" y="124143"/>
                  <a:pt x="448" y="124591"/>
                  <a:pt x="896" y="125039"/>
                </a:cubicBezTo>
                <a:cubicBezTo>
                  <a:pt x="1345" y="125488"/>
                  <a:pt x="1793" y="125488"/>
                  <a:pt x="2241" y="125488"/>
                </a:cubicBezTo>
                <a:cubicBezTo>
                  <a:pt x="2241" y="125488"/>
                  <a:pt x="2689" y="125488"/>
                  <a:pt x="2689" y="125488"/>
                </a:cubicBezTo>
                <a:lnTo>
                  <a:pt x="56021" y="112043"/>
                </a:lnTo>
                <a:lnTo>
                  <a:pt x="95909" y="123247"/>
                </a:lnTo>
                <a:cubicBezTo>
                  <a:pt x="95909" y="123247"/>
                  <a:pt x="95909" y="123247"/>
                  <a:pt x="96357" y="123247"/>
                </a:cubicBezTo>
                <a:cubicBezTo>
                  <a:pt x="96357" y="123247"/>
                  <a:pt x="96805" y="123247"/>
                  <a:pt x="96805" y="123247"/>
                </a:cubicBezTo>
                <a:cubicBezTo>
                  <a:pt x="96805" y="123247"/>
                  <a:pt x="96805" y="123247"/>
                  <a:pt x="97253" y="123247"/>
                </a:cubicBezTo>
                <a:cubicBezTo>
                  <a:pt x="97253" y="123247"/>
                  <a:pt x="97253" y="123247"/>
                  <a:pt x="97253" y="123247"/>
                </a:cubicBezTo>
                <a:lnTo>
                  <a:pt x="151033" y="112043"/>
                </a:lnTo>
                <a:cubicBezTo>
                  <a:pt x="151930" y="112043"/>
                  <a:pt x="152826" y="110698"/>
                  <a:pt x="152826" y="109802"/>
                </a:cubicBezTo>
                <a:lnTo>
                  <a:pt x="152826" y="2241"/>
                </a:lnTo>
                <a:cubicBezTo>
                  <a:pt x="151930" y="1344"/>
                  <a:pt x="151482" y="896"/>
                  <a:pt x="151033" y="448"/>
                </a:cubicBezTo>
                <a:close/>
                <a:moveTo>
                  <a:pt x="93668" y="17030"/>
                </a:moveTo>
                <a:lnTo>
                  <a:pt x="93668" y="118317"/>
                </a:lnTo>
                <a:lnTo>
                  <a:pt x="57814" y="108009"/>
                </a:lnTo>
                <a:lnTo>
                  <a:pt x="57814" y="5378"/>
                </a:lnTo>
                <a:cubicBezTo>
                  <a:pt x="64985" y="7619"/>
                  <a:pt x="69915" y="9412"/>
                  <a:pt x="74396" y="10756"/>
                </a:cubicBezTo>
                <a:cubicBezTo>
                  <a:pt x="79774" y="12549"/>
                  <a:pt x="84704" y="13893"/>
                  <a:pt x="93668" y="17030"/>
                </a:cubicBezTo>
                <a:close/>
                <a:moveTo>
                  <a:pt x="4034" y="18375"/>
                </a:moveTo>
                <a:lnTo>
                  <a:pt x="53332" y="4930"/>
                </a:lnTo>
                <a:lnTo>
                  <a:pt x="53332" y="108009"/>
                </a:lnTo>
                <a:lnTo>
                  <a:pt x="4034" y="120558"/>
                </a:lnTo>
                <a:lnTo>
                  <a:pt x="4034" y="18375"/>
                </a:lnTo>
                <a:close/>
                <a:moveTo>
                  <a:pt x="147448" y="108009"/>
                </a:moveTo>
                <a:lnTo>
                  <a:pt x="98149" y="118317"/>
                </a:lnTo>
                <a:lnTo>
                  <a:pt x="98149" y="17030"/>
                </a:lnTo>
                <a:cubicBezTo>
                  <a:pt x="108009" y="15238"/>
                  <a:pt x="138037" y="7171"/>
                  <a:pt x="147448" y="4930"/>
                </a:cubicBezTo>
                <a:lnTo>
                  <a:pt x="147448" y="108009"/>
                </a:lnTo>
                <a:close/>
              </a:path>
            </a:pathLst>
          </a:custGeom>
          <a:solidFill>
            <a:srgbClr val="231F20"/>
          </a:solidFill>
          <a:ln w="4477" cap="flat">
            <a:noFill/>
            <a:prstDash val="solid"/>
            <a:miter/>
          </a:ln>
        </p:spPr>
        <p:txBody>
          <a:bodyPr rtlCol="0" anchor="ctr"/>
          <a:lstStyle/>
          <a:p>
            <a:endParaRPr lang="en-US"/>
          </a:p>
        </p:txBody>
      </p:sp>
      <p:sp>
        <p:nvSpPr>
          <p:cNvPr id="2439" name="Freeform: Shape 2438">
            <a:extLst>
              <a:ext uri="{FF2B5EF4-FFF2-40B4-BE49-F238E27FC236}">
                <a16:creationId xmlns:a16="http://schemas.microsoft.com/office/drawing/2014/main" id="{D99836D9-CD8D-4F5E-9C36-F72F3EC2CA2F}"/>
              </a:ext>
              <a:ext uri="{C183D7F6-B498-43B3-948B-1728B52AA6E4}">
                <adec:decorative xmlns:adec="http://schemas.microsoft.com/office/drawing/2017/decorative" val="1"/>
              </a:ext>
            </a:extLst>
          </p:cNvPr>
          <p:cNvSpPr>
            <a:spLocks noChangeAspect="1"/>
          </p:cNvSpPr>
          <p:nvPr/>
        </p:nvSpPr>
        <p:spPr>
          <a:xfrm>
            <a:off x="8237480" y="3447783"/>
            <a:ext cx="147896" cy="152378"/>
          </a:xfrm>
          <a:custGeom>
            <a:avLst/>
            <a:gdLst>
              <a:gd name="connsiteX0" fmla="*/ 74420 w 147896"/>
              <a:gd name="connsiteY0" fmla="*/ 0 h 152377"/>
              <a:gd name="connsiteX1" fmla="*/ 21088 w 147896"/>
              <a:gd name="connsiteY1" fmla="*/ 21512 h 152377"/>
              <a:gd name="connsiteX2" fmla="*/ 16606 w 147896"/>
              <a:gd name="connsiteY2" fmla="*/ 26442 h 152377"/>
              <a:gd name="connsiteX3" fmla="*/ 16606 w 147896"/>
              <a:gd name="connsiteY3" fmla="*/ 26442 h 152377"/>
              <a:gd name="connsiteX4" fmla="*/ 16606 w 147896"/>
              <a:gd name="connsiteY4" fmla="*/ 26890 h 152377"/>
              <a:gd name="connsiteX5" fmla="*/ 24 w 147896"/>
              <a:gd name="connsiteY5" fmla="*/ 75293 h 152377"/>
              <a:gd name="connsiteX6" fmla="*/ 77109 w 147896"/>
              <a:gd name="connsiteY6" fmla="*/ 152378 h 152377"/>
              <a:gd name="connsiteX7" fmla="*/ 78006 w 147896"/>
              <a:gd name="connsiteY7" fmla="*/ 152378 h 152377"/>
              <a:gd name="connsiteX8" fmla="*/ 130441 w 147896"/>
              <a:gd name="connsiteY8" fmla="*/ 130866 h 152377"/>
              <a:gd name="connsiteX9" fmla="*/ 151954 w 147896"/>
              <a:gd name="connsiteY9" fmla="*/ 77533 h 152377"/>
              <a:gd name="connsiteX10" fmla="*/ 74420 w 147896"/>
              <a:gd name="connsiteY10" fmla="*/ 0 h 152377"/>
              <a:gd name="connsiteX11" fmla="*/ 115652 w 147896"/>
              <a:gd name="connsiteY11" fmla="*/ 73052 h 152377"/>
              <a:gd name="connsiteX12" fmla="*/ 109378 w 147896"/>
              <a:gd name="connsiteY12" fmla="*/ 37198 h 152377"/>
              <a:gd name="connsiteX13" fmla="*/ 129545 w 147896"/>
              <a:gd name="connsiteY13" fmla="*/ 30924 h 152377"/>
              <a:gd name="connsiteX14" fmla="*/ 146576 w 147896"/>
              <a:gd name="connsiteY14" fmla="*/ 73052 h 152377"/>
              <a:gd name="connsiteX15" fmla="*/ 115652 w 147896"/>
              <a:gd name="connsiteY15" fmla="*/ 73052 h 152377"/>
              <a:gd name="connsiteX16" fmla="*/ 76661 w 147896"/>
              <a:gd name="connsiteY16" fmla="*/ 5378 h 152377"/>
              <a:gd name="connsiteX17" fmla="*/ 103551 w 147896"/>
              <a:gd name="connsiteY17" fmla="*/ 33613 h 152377"/>
              <a:gd name="connsiteX18" fmla="*/ 77109 w 147896"/>
              <a:gd name="connsiteY18" fmla="*/ 36302 h 152377"/>
              <a:gd name="connsiteX19" fmla="*/ 76661 w 147896"/>
              <a:gd name="connsiteY19" fmla="*/ 5378 h 152377"/>
              <a:gd name="connsiteX20" fmla="*/ 72628 w 147896"/>
              <a:gd name="connsiteY20" fmla="*/ 36302 h 152377"/>
              <a:gd name="connsiteX21" fmla="*/ 71731 w 147896"/>
              <a:gd name="connsiteY21" fmla="*/ 36302 h 152377"/>
              <a:gd name="connsiteX22" fmla="*/ 45737 w 147896"/>
              <a:gd name="connsiteY22" fmla="*/ 34061 h 152377"/>
              <a:gd name="connsiteX23" fmla="*/ 58734 w 147896"/>
              <a:gd name="connsiteY23" fmla="*/ 12549 h 152377"/>
              <a:gd name="connsiteX24" fmla="*/ 72628 w 147896"/>
              <a:gd name="connsiteY24" fmla="*/ 5378 h 152377"/>
              <a:gd name="connsiteX25" fmla="*/ 72628 w 147896"/>
              <a:gd name="connsiteY25" fmla="*/ 36302 h 152377"/>
              <a:gd name="connsiteX26" fmla="*/ 71731 w 147896"/>
              <a:gd name="connsiteY26" fmla="*/ 40783 h 152377"/>
              <a:gd name="connsiteX27" fmla="*/ 73076 w 147896"/>
              <a:gd name="connsiteY27" fmla="*/ 40783 h 152377"/>
              <a:gd name="connsiteX28" fmla="*/ 73524 w 147896"/>
              <a:gd name="connsiteY28" fmla="*/ 72604 h 152377"/>
              <a:gd name="connsiteX29" fmla="*/ 39463 w 147896"/>
              <a:gd name="connsiteY29" fmla="*/ 72604 h 152377"/>
              <a:gd name="connsiteX30" fmla="*/ 44841 w 147896"/>
              <a:gd name="connsiteY30" fmla="*/ 38094 h 152377"/>
              <a:gd name="connsiteX31" fmla="*/ 71731 w 147896"/>
              <a:gd name="connsiteY31" fmla="*/ 40783 h 152377"/>
              <a:gd name="connsiteX32" fmla="*/ 34533 w 147896"/>
              <a:gd name="connsiteY32" fmla="*/ 73052 h 152377"/>
              <a:gd name="connsiteX33" fmla="*/ 4058 w 147896"/>
              <a:gd name="connsiteY33" fmla="*/ 73052 h 152377"/>
              <a:gd name="connsiteX34" fmla="*/ 18399 w 147896"/>
              <a:gd name="connsiteY34" fmla="*/ 31820 h 152377"/>
              <a:gd name="connsiteX35" fmla="*/ 39911 w 147896"/>
              <a:gd name="connsiteY35" fmla="*/ 37646 h 152377"/>
              <a:gd name="connsiteX36" fmla="*/ 34533 w 147896"/>
              <a:gd name="connsiteY36" fmla="*/ 73052 h 152377"/>
              <a:gd name="connsiteX37" fmla="*/ 34533 w 147896"/>
              <a:gd name="connsiteY37" fmla="*/ 77533 h 152377"/>
              <a:gd name="connsiteX38" fmla="*/ 40807 w 147896"/>
              <a:gd name="connsiteY38" fmla="*/ 116076 h 152377"/>
              <a:gd name="connsiteX39" fmla="*/ 20640 w 147896"/>
              <a:gd name="connsiteY39" fmla="*/ 121006 h 152377"/>
              <a:gd name="connsiteX40" fmla="*/ 4058 w 147896"/>
              <a:gd name="connsiteY40" fmla="*/ 77533 h 152377"/>
              <a:gd name="connsiteX41" fmla="*/ 34533 w 147896"/>
              <a:gd name="connsiteY41" fmla="*/ 77533 h 152377"/>
              <a:gd name="connsiteX42" fmla="*/ 39015 w 147896"/>
              <a:gd name="connsiteY42" fmla="*/ 77533 h 152377"/>
              <a:gd name="connsiteX43" fmla="*/ 73076 w 147896"/>
              <a:gd name="connsiteY43" fmla="*/ 77533 h 152377"/>
              <a:gd name="connsiteX44" fmla="*/ 73524 w 147896"/>
              <a:gd name="connsiteY44" fmla="*/ 113835 h 152377"/>
              <a:gd name="connsiteX45" fmla="*/ 71731 w 147896"/>
              <a:gd name="connsiteY45" fmla="*/ 113835 h 152377"/>
              <a:gd name="connsiteX46" fmla="*/ 44841 w 147896"/>
              <a:gd name="connsiteY46" fmla="*/ 115628 h 152377"/>
              <a:gd name="connsiteX47" fmla="*/ 39015 w 147896"/>
              <a:gd name="connsiteY47" fmla="*/ 77533 h 152377"/>
              <a:gd name="connsiteX48" fmla="*/ 71731 w 147896"/>
              <a:gd name="connsiteY48" fmla="*/ 118317 h 152377"/>
              <a:gd name="connsiteX49" fmla="*/ 73524 w 147896"/>
              <a:gd name="connsiteY49" fmla="*/ 118317 h 152377"/>
              <a:gd name="connsiteX50" fmla="*/ 73972 w 147896"/>
              <a:gd name="connsiteY50" fmla="*/ 147448 h 152377"/>
              <a:gd name="connsiteX51" fmla="*/ 46634 w 147896"/>
              <a:gd name="connsiteY51" fmla="*/ 119661 h 152377"/>
              <a:gd name="connsiteX52" fmla="*/ 71731 w 147896"/>
              <a:gd name="connsiteY52" fmla="*/ 118317 h 152377"/>
              <a:gd name="connsiteX53" fmla="*/ 91451 w 147896"/>
              <a:gd name="connsiteY53" fmla="*/ 139829 h 152377"/>
              <a:gd name="connsiteX54" fmla="*/ 78454 w 147896"/>
              <a:gd name="connsiteY54" fmla="*/ 147000 h 152377"/>
              <a:gd name="connsiteX55" fmla="*/ 78006 w 147896"/>
              <a:gd name="connsiteY55" fmla="*/ 118317 h 152377"/>
              <a:gd name="connsiteX56" fmla="*/ 103103 w 147896"/>
              <a:gd name="connsiteY56" fmla="*/ 121454 h 152377"/>
              <a:gd name="connsiteX57" fmla="*/ 91451 w 147896"/>
              <a:gd name="connsiteY57" fmla="*/ 139829 h 152377"/>
              <a:gd name="connsiteX58" fmla="*/ 107585 w 147896"/>
              <a:gd name="connsiteY58" fmla="*/ 122799 h 152377"/>
              <a:gd name="connsiteX59" fmla="*/ 125512 w 147896"/>
              <a:gd name="connsiteY59" fmla="*/ 128177 h 152377"/>
              <a:gd name="connsiteX60" fmla="*/ 91003 w 147896"/>
              <a:gd name="connsiteY60" fmla="*/ 146104 h 152377"/>
              <a:gd name="connsiteX61" fmla="*/ 94588 w 147896"/>
              <a:gd name="connsiteY61" fmla="*/ 142966 h 152377"/>
              <a:gd name="connsiteX62" fmla="*/ 107585 w 147896"/>
              <a:gd name="connsiteY62" fmla="*/ 122799 h 152377"/>
              <a:gd name="connsiteX63" fmla="*/ 78006 w 147896"/>
              <a:gd name="connsiteY63" fmla="*/ 113835 h 152377"/>
              <a:gd name="connsiteX64" fmla="*/ 77557 w 147896"/>
              <a:gd name="connsiteY64" fmla="*/ 77533 h 152377"/>
              <a:gd name="connsiteX65" fmla="*/ 111170 w 147896"/>
              <a:gd name="connsiteY65" fmla="*/ 77533 h 152377"/>
              <a:gd name="connsiteX66" fmla="*/ 104896 w 147896"/>
              <a:gd name="connsiteY66" fmla="*/ 117421 h 152377"/>
              <a:gd name="connsiteX67" fmla="*/ 78006 w 147896"/>
              <a:gd name="connsiteY67" fmla="*/ 113835 h 152377"/>
              <a:gd name="connsiteX68" fmla="*/ 77557 w 147896"/>
              <a:gd name="connsiteY68" fmla="*/ 73052 h 152377"/>
              <a:gd name="connsiteX69" fmla="*/ 77109 w 147896"/>
              <a:gd name="connsiteY69" fmla="*/ 41232 h 152377"/>
              <a:gd name="connsiteX70" fmla="*/ 104896 w 147896"/>
              <a:gd name="connsiteY70" fmla="*/ 38094 h 152377"/>
              <a:gd name="connsiteX71" fmla="*/ 110722 w 147896"/>
              <a:gd name="connsiteY71" fmla="*/ 73052 h 152377"/>
              <a:gd name="connsiteX72" fmla="*/ 77557 w 147896"/>
              <a:gd name="connsiteY72" fmla="*/ 73052 h 152377"/>
              <a:gd name="connsiteX73" fmla="*/ 126408 w 147896"/>
              <a:gd name="connsiteY73" fmla="*/ 27338 h 152377"/>
              <a:gd name="connsiteX74" fmla="*/ 108033 w 147896"/>
              <a:gd name="connsiteY74" fmla="*/ 32716 h 152377"/>
              <a:gd name="connsiteX75" fmla="*/ 90106 w 147896"/>
              <a:gd name="connsiteY75" fmla="*/ 6274 h 152377"/>
              <a:gd name="connsiteX76" fmla="*/ 126408 w 147896"/>
              <a:gd name="connsiteY76" fmla="*/ 27338 h 152377"/>
              <a:gd name="connsiteX77" fmla="*/ 24225 w 147896"/>
              <a:gd name="connsiteY77" fmla="*/ 24649 h 152377"/>
              <a:gd name="connsiteX78" fmla="*/ 59631 w 147896"/>
              <a:gd name="connsiteY78" fmla="*/ 5826 h 152377"/>
              <a:gd name="connsiteX79" fmla="*/ 55149 w 147896"/>
              <a:gd name="connsiteY79" fmla="*/ 9412 h 152377"/>
              <a:gd name="connsiteX80" fmla="*/ 40807 w 147896"/>
              <a:gd name="connsiteY80" fmla="*/ 33165 h 152377"/>
              <a:gd name="connsiteX81" fmla="*/ 20640 w 147896"/>
              <a:gd name="connsiteY81" fmla="*/ 27787 h 152377"/>
              <a:gd name="connsiteX82" fmla="*/ 24225 w 147896"/>
              <a:gd name="connsiteY82" fmla="*/ 24649 h 152377"/>
              <a:gd name="connsiteX83" fmla="*/ 23777 w 147896"/>
              <a:gd name="connsiteY83" fmla="*/ 124591 h 152377"/>
              <a:gd name="connsiteX84" fmla="*/ 42152 w 147896"/>
              <a:gd name="connsiteY84" fmla="*/ 120558 h 152377"/>
              <a:gd name="connsiteX85" fmla="*/ 58734 w 147896"/>
              <a:gd name="connsiteY85" fmla="*/ 145207 h 152377"/>
              <a:gd name="connsiteX86" fmla="*/ 23777 w 147896"/>
              <a:gd name="connsiteY86" fmla="*/ 124591 h 152377"/>
              <a:gd name="connsiteX87" fmla="*/ 128649 w 147896"/>
              <a:gd name="connsiteY87" fmla="*/ 125039 h 152377"/>
              <a:gd name="connsiteX88" fmla="*/ 128649 w 147896"/>
              <a:gd name="connsiteY88" fmla="*/ 125039 h 152377"/>
              <a:gd name="connsiteX89" fmla="*/ 108929 w 147896"/>
              <a:gd name="connsiteY89" fmla="*/ 118765 h 152377"/>
              <a:gd name="connsiteX90" fmla="*/ 115204 w 147896"/>
              <a:gd name="connsiteY90" fmla="*/ 77533 h 152377"/>
              <a:gd name="connsiteX91" fmla="*/ 146576 w 147896"/>
              <a:gd name="connsiteY91" fmla="*/ 77533 h 152377"/>
              <a:gd name="connsiteX92" fmla="*/ 128649 w 147896"/>
              <a:gd name="connsiteY92" fmla="*/ 12503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7896" h="152377">
                <a:moveTo>
                  <a:pt x="74420" y="0"/>
                </a:moveTo>
                <a:cubicBezTo>
                  <a:pt x="54253" y="0"/>
                  <a:pt x="34981" y="7619"/>
                  <a:pt x="21088" y="21512"/>
                </a:cubicBezTo>
                <a:cubicBezTo>
                  <a:pt x="19744" y="23305"/>
                  <a:pt x="17951" y="24649"/>
                  <a:pt x="16606" y="26442"/>
                </a:cubicBezTo>
                <a:cubicBezTo>
                  <a:pt x="16606" y="26442"/>
                  <a:pt x="16606" y="26442"/>
                  <a:pt x="16606" y="26442"/>
                </a:cubicBezTo>
                <a:lnTo>
                  <a:pt x="16606" y="26890"/>
                </a:lnTo>
                <a:cubicBezTo>
                  <a:pt x="5402" y="40335"/>
                  <a:pt x="-424" y="57366"/>
                  <a:pt x="24" y="75293"/>
                </a:cubicBezTo>
                <a:cubicBezTo>
                  <a:pt x="472" y="117421"/>
                  <a:pt x="34981" y="151482"/>
                  <a:pt x="77109" y="152378"/>
                </a:cubicBezTo>
                <a:cubicBezTo>
                  <a:pt x="77557" y="152378"/>
                  <a:pt x="77557" y="152378"/>
                  <a:pt x="78006" y="152378"/>
                </a:cubicBezTo>
                <a:cubicBezTo>
                  <a:pt x="98173" y="152378"/>
                  <a:pt x="116548" y="144759"/>
                  <a:pt x="130441" y="130866"/>
                </a:cubicBezTo>
                <a:cubicBezTo>
                  <a:pt x="144783" y="116524"/>
                  <a:pt x="152402" y="97701"/>
                  <a:pt x="151954" y="77533"/>
                </a:cubicBezTo>
                <a:cubicBezTo>
                  <a:pt x="151057" y="34957"/>
                  <a:pt x="116548" y="448"/>
                  <a:pt x="74420" y="0"/>
                </a:cubicBezTo>
                <a:close/>
                <a:moveTo>
                  <a:pt x="115652" y="73052"/>
                </a:moveTo>
                <a:cubicBezTo>
                  <a:pt x="115204" y="60055"/>
                  <a:pt x="112963" y="47506"/>
                  <a:pt x="109378" y="37198"/>
                </a:cubicBezTo>
                <a:cubicBezTo>
                  <a:pt x="116548" y="35405"/>
                  <a:pt x="123271" y="33613"/>
                  <a:pt x="129545" y="30924"/>
                </a:cubicBezTo>
                <a:cubicBezTo>
                  <a:pt x="139405" y="42576"/>
                  <a:pt x="145679" y="57366"/>
                  <a:pt x="146576" y="73052"/>
                </a:cubicBezTo>
                <a:lnTo>
                  <a:pt x="115652" y="73052"/>
                </a:lnTo>
                <a:close/>
                <a:moveTo>
                  <a:pt x="76661" y="5378"/>
                </a:moveTo>
                <a:cubicBezTo>
                  <a:pt x="87417" y="6723"/>
                  <a:pt x="97277" y="17479"/>
                  <a:pt x="103551" y="33613"/>
                </a:cubicBezTo>
                <a:cubicBezTo>
                  <a:pt x="95036" y="35405"/>
                  <a:pt x="86073" y="36302"/>
                  <a:pt x="77109" y="36302"/>
                </a:cubicBezTo>
                <a:lnTo>
                  <a:pt x="76661" y="5378"/>
                </a:lnTo>
                <a:close/>
                <a:moveTo>
                  <a:pt x="72628" y="36302"/>
                </a:moveTo>
                <a:cubicBezTo>
                  <a:pt x="72179" y="36302"/>
                  <a:pt x="71731" y="36302"/>
                  <a:pt x="71731" y="36302"/>
                </a:cubicBezTo>
                <a:cubicBezTo>
                  <a:pt x="62768" y="36302"/>
                  <a:pt x="54253" y="35405"/>
                  <a:pt x="45737" y="34061"/>
                </a:cubicBezTo>
                <a:cubicBezTo>
                  <a:pt x="48875" y="25098"/>
                  <a:pt x="53356" y="17927"/>
                  <a:pt x="58734" y="12549"/>
                </a:cubicBezTo>
                <a:cubicBezTo>
                  <a:pt x="63216" y="8067"/>
                  <a:pt x="67698" y="5826"/>
                  <a:pt x="72628" y="5378"/>
                </a:cubicBezTo>
                <a:lnTo>
                  <a:pt x="72628" y="36302"/>
                </a:lnTo>
                <a:close/>
                <a:moveTo>
                  <a:pt x="71731" y="40783"/>
                </a:moveTo>
                <a:cubicBezTo>
                  <a:pt x="72179" y="40783"/>
                  <a:pt x="72628" y="40783"/>
                  <a:pt x="73076" y="40783"/>
                </a:cubicBezTo>
                <a:lnTo>
                  <a:pt x="73524" y="72604"/>
                </a:lnTo>
                <a:lnTo>
                  <a:pt x="39463" y="72604"/>
                </a:lnTo>
                <a:cubicBezTo>
                  <a:pt x="39463" y="60055"/>
                  <a:pt x="41704" y="48402"/>
                  <a:pt x="44841" y="38094"/>
                </a:cubicBezTo>
                <a:cubicBezTo>
                  <a:pt x="52908" y="39887"/>
                  <a:pt x="62320" y="40783"/>
                  <a:pt x="71731" y="40783"/>
                </a:cubicBezTo>
                <a:close/>
                <a:moveTo>
                  <a:pt x="34533" y="73052"/>
                </a:moveTo>
                <a:lnTo>
                  <a:pt x="4058" y="73052"/>
                </a:lnTo>
                <a:cubicBezTo>
                  <a:pt x="4506" y="57814"/>
                  <a:pt x="9436" y="43921"/>
                  <a:pt x="18399" y="31820"/>
                </a:cubicBezTo>
                <a:cubicBezTo>
                  <a:pt x="25121" y="34061"/>
                  <a:pt x="32292" y="36302"/>
                  <a:pt x="39911" y="37646"/>
                </a:cubicBezTo>
                <a:cubicBezTo>
                  <a:pt x="36326" y="48402"/>
                  <a:pt x="34533" y="60055"/>
                  <a:pt x="34533" y="73052"/>
                </a:cubicBezTo>
                <a:close/>
                <a:moveTo>
                  <a:pt x="34533" y="77533"/>
                </a:moveTo>
                <a:cubicBezTo>
                  <a:pt x="34533" y="91875"/>
                  <a:pt x="37222" y="104872"/>
                  <a:pt x="40807" y="116076"/>
                </a:cubicBezTo>
                <a:cubicBezTo>
                  <a:pt x="33637" y="117421"/>
                  <a:pt x="26914" y="118765"/>
                  <a:pt x="20640" y="121006"/>
                </a:cubicBezTo>
                <a:cubicBezTo>
                  <a:pt x="10780" y="108905"/>
                  <a:pt x="4506" y="94116"/>
                  <a:pt x="4058" y="77533"/>
                </a:cubicBezTo>
                <a:lnTo>
                  <a:pt x="34533" y="77533"/>
                </a:lnTo>
                <a:close/>
                <a:moveTo>
                  <a:pt x="39015" y="77533"/>
                </a:moveTo>
                <a:lnTo>
                  <a:pt x="73076" y="77533"/>
                </a:lnTo>
                <a:lnTo>
                  <a:pt x="73524" y="113835"/>
                </a:lnTo>
                <a:cubicBezTo>
                  <a:pt x="73076" y="113835"/>
                  <a:pt x="72628" y="113835"/>
                  <a:pt x="71731" y="113835"/>
                </a:cubicBezTo>
                <a:cubicBezTo>
                  <a:pt x="62768" y="113835"/>
                  <a:pt x="53356" y="114283"/>
                  <a:pt x="44841" y="115628"/>
                </a:cubicBezTo>
                <a:cubicBezTo>
                  <a:pt x="41256" y="104424"/>
                  <a:pt x="39015" y="91427"/>
                  <a:pt x="39015" y="77533"/>
                </a:cubicBezTo>
                <a:close/>
                <a:moveTo>
                  <a:pt x="71731" y="118317"/>
                </a:moveTo>
                <a:cubicBezTo>
                  <a:pt x="72179" y="118317"/>
                  <a:pt x="73076" y="118317"/>
                  <a:pt x="73524" y="118317"/>
                </a:cubicBezTo>
                <a:lnTo>
                  <a:pt x="73972" y="147448"/>
                </a:lnTo>
                <a:cubicBezTo>
                  <a:pt x="62768" y="146552"/>
                  <a:pt x="53356" y="135796"/>
                  <a:pt x="46634" y="119661"/>
                </a:cubicBezTo>
                <a:cubicBezTo>
                  <a:pt x="54701" y="118765"/>
                  <a:pt x="63216" y="117869"/>
                  <a:pt x="71731" y="118317"/>
                </a:cubicBezTo>
                <a:close/>
                <a:moveTo>
                  <a:pt x="91451" y="139829"/>
                </a:moveTo>
                <a:cubicBezTo>
                  <a:pt x="87417" y="143863"/>
                  <a:pt x="82936" y="146104"/>
                  <a:pt x="78454" y="147000"/>
                </a:cubicBezTo>
                <a:lnTo>
                  <a:pt x="78006" y="118317"/>
                </a:lnTo>
                <a:cubicBezTo>
                  <a:pt x="86073" y="118765"/>
                  <a:pt x="94588" y="120110"/>
                  <a:pt x="103103" y="121454"/>
                </a:cubicBezTo>
                <a:cubicBezTo>
                  <a:pt x="99966" y="129073"/>
                  <a:pt x="95932" y="135347"/>
                  <a:pt x="91451" y="139829"/>
                </a:cubicBezTo>
                <a:close/>
                <a:moveTo>
                  <a:pt x="107585" y="122799"/>
                </a:moveTo>
                <a:cubicBezTo>
                  <a:pt x="113859" y="124143"/>
                  <a:pt x="119685" y="125936"/>
                  <a:pt x="125512" y="128177"/>
                </a:cubicBezTo>
                <a:cubicBezTo>
                  <a:pt x="116100" y="137588"/>
                  <a:pt x="103999" y="143415"/>
                  <a:pt x="91003" y="146104"/>
                </a:cubicBezTo>
                <a:cubicBezTo>
                  <a:pt x="92347" y="145207"/>
                  <a:pt x="93243" y="144311"/>
                  <a:pt x="94588" y="142966"/>
                </a:cubicBezTo>
                <a:cubicBezTo>
                  <a:pt x="99966" y="138036"/>
                  <a:pt x="103999" y="130866"/>
                  <a:pt x="107585" y="122799"/>
                </a:cubicBezTo>
                <a:close/>
                <a:moveTo>
                  <a:pt x="78006" y="113835"/>
                </a:moveTo>
                <a:lnTo>
                  <a:pt x="77557" y="77533"/>
                </a:lnTo>
                <a:lnTo>
                  <a:pt x="111170" y="77533"/>
                </a:lnTo>
                <a:cubicBezTo>
                  <a:pt x="111170" y="92323"/>
                  <a:pt x="108929" y="106216"/>
                  <a:pt x="104896" y="117421"/>
                </a:cubicBezTo>
                <a:cubicBezTo>
                  <a:pt x="95932" y="115628"/>
                  <a:pt x="86969" y="114283"/>
                  <a:pt x="78006" y="113835"/>
                </a:cubicBezTo>
                <a:close/>
                <a:moveTo>
                  <a:pt x="77557" y="73052"/>
                </a:moveTo>
                <a:lnTo>
                  <a:pt x="77109" y="41232"/>
                </a:lnTo>
                <a:cubicBezTo>
                  <a:pt x="86521" y="40783"/>
                  <a:pt x="95932" y="39887"/>
                  <a:pt x="104896" y="38094"/>
                </a:cubicBezTo>
                <a:cubicBezTo>
                  <a:pt x="108481" y="48402"/>
                  <a:pt x="110274" y="60503"/>
                  <a:pt x="110722" y="73052"/>
                </a:cubicBezTo>
                <a:lnTo>
                  <a:pt x="77557" y="73052"/>
                </a:lnTo>
                <a:close/>
                <a:moveTo>
                  <a:pt x="126408" y="27338"/>
                </a:moveTo>
                <a:cubicBezTo>
                  <a:pt x="120582" y="29579"/>
                  <a:pt x="114307" y="31372"/>
                  <a:pt x="108033" y="32716"/>
                </a:cubicBezTo>
                <a:cubicBezTo>
                  <a:pt x="103551" y="21064"/>
                  <a:pt x="97277" y="12101"/>
                  <a:pt x="90106" y="6274"/>
                </a:cubicBezTo>
                <a:cubicBezTo>
                  <a:pt x="103999" y="9412"/>
                  <a:pt x="116548" y="17030"/>
                  <a:pt x="126408" y="27338"/>
                </a:cubicBezTo>
                <a:close/>
                <a:moveTo>
                  <a:pt x="24225" y="24649"/>
                </a:moveTo>
                <a:cubicBezTo>
                  <a:pt x="34085" y="14790"/>
                  <a:pt x="46186" y="8515"/>
                  <a:pt x="59631" y="5826"/>
                </a:cubicBezTo>
                <a:cubicBezTo>
                  <a:pt x="58286" y="6723"/>
                  <a:pt x="56493" y="8067"/>
                  <a:pt x="55149" y="9412"/>
                </a:cubicBezTo>
                <a:cubicBezTo>
                  <a:pt x="49323" y="15238"/>
                  <a:pt x="44393" y="23305"/>
                  <a:pt x="40807" y="33165"/>
                </a:cubicBezTo>
                <a:cubicBezTo>
                  <a:pt x="33637" y="31820"/>
                  <a:pt x="26914" y="30027"/>
                  <a:pt x="20640" y="27787"/>
                </a:cubicBezTo>
                <a:cubicBezTo>
                  <a:pt x="21984" y="26890"/>
                  <a:pt x="22881" y="25994"/>
                  <a:pt x="24225" y="24649"/>
                </a:cubicBezTo>
                <a:close/>
                <a:moveTo>
                  <a:pt x="23777" y="124591"/>
                </a:moveTo>
                <a:cubicBezTo>
                  <a:pt x="29603" y="122799"/>
                  <a:pt x="35878" y="121454"/>
                  <a:pt x="42152" y="120558"/>
                </a:cubicBezTo>
                <a:cubicBezTo>
                  <a:pt x="46186" y="131314"/>
                  <a:pt x="52012" y="139829"/>
                  <a:pt x="58734" y="145207"/>
                </a:cubicBezTo>
                <a:cubicBezTo>
                  <a:pt x="45289" y="141622"/>
                  <a:pt x="33189" y="134451"/>
                  <a:pt x="23777" y="124591"/>
                </a:cubicBezTo>
                <a:close/>
                <a:moveTo>
                  <a:pt x="128649" y="125039"/>
                </a:moveTo>
                <a:lnTo>
                  <a:pt x="128649" y="125039"/>
                </a:lnTo>
                <a:cubicBezTo>
                  <a:pt x="122374" y="122350"/>
                  <a:pt x="115652" y="120110"/>
                  <a:pt x="108929" y="118765"/>
                </a:cubicBezTo>
                <a:cubicBezTo>
                  <a:pt x="112963" y="106665"/>
                  <a:pt x="115652" y="92771"/>
                  <a:pt x="115204" y="77533"/>
                </a:cubicBezTo>
                <a:lnTo>
                  <a:pt x="146576" y="77533"/>
                </a:lnTo>
                <a:cubicBezTo>
                  <a:pt x="147024" y="95012"/>
                  <a:pt x="140749" y="112043"/>
                  <a:pt x="128649" y="125039"/>
                </a:cubicBezTo>
                <a:close/>
              </a:path>
            </a:pathLst>
          </a:custGeom>
          <a:solidFill>
            <a:srgbClr val="231F20"/>
          </a:solidFill>
          <a:ln w="4477" cap="flat">
            <a:noFill/>
            <a:prstDash val="solid"/>
            <a:miter/>
          </a:ln>
        </p:spPr>
        <p:txBody>
          <a:bodyPr rtlCol="0" anchor="ctr"/>
          <a:lstStyle/>
          <a:p>
            <a:endParaRPr lang="en-US"/>
          </a:p>
        </p:txBody>
      </p:sp>
      <p:sp>
        <p:nvSpPr>
          <p:cNvPr id="2440" name="Freeform: Shape 2439">
            <a:extLst>
              <a:ext uri="{FF2B5EF4-FFF2-40B4-BE49-F238E27FC236}">
                <a16:creationId xmlns:a16="http://schemas.microsoft.com/office/drawing/2014/main" id="{D0E9FDCE-7E7E-4284-88D3-3FF25FD12F84}"/>
              </a:ext>
              <a:ext uri="{C183D7F6-B498-43B3-948B-1728B52AA6E4}">
                <adec:decorative xmlns:adec="http://schemas.microsoft.com/office/drawing/2017/decorative" val="1"/>
              </a:ext>
            </a:extLst>
          </p:cNvPr>
          <p:cNvSpPr>
            <a:spLocks noChangeAspect="1"/>
          </p:cNvSpPr>
          <p:nvPr/>
        </p:nvSpPr>
        <p:spPr>
          <a:xfrm>
            <a:off x="8497443" y="3447783"/>
            <a:ext cx="152378" cy="152378"/>
          </a:xfrm>
          <a:custGeom>
            <a:avLst/>
            <a:gdLst>
              <a:gd name="connsiteX0" fmla="*/ 76189 w 152377"/>
              <a:gd name="connsiteY0" fmla="*/ 0 h 152377"/>
              <a:gd name="connsiteX1" fmla="*/ 0 w 152377"/>
              <a:gd name="connsiteY1" fmla="*/ 76189 h 152377"/>
              <a:gd name="connsiteX2" fmla="*/ 76189 w 152377"/>
              <a:gd name="connsiteY2" fmla="*/ 152378 h 152377"/>
              <a:gd name="connsiteX3" fmla="*/ 152378 w 152377"/>
              <a:gd name="connsiteY3" fmla="*/ 76189 h 152377"/>
              <a:gd name="connsiteX4" fmla="*/ 76189 w 152377"/>
              <a:gd name="connsiteY4" fmla="*/ 0 h 152377"/>
              <a:gd name="connsiteX5" fmla="*/ 130417 w 152377"/>
              <a:gd name="connsiteY5" fmla="*/ 29131 h 152377"/>
              <a:gd name="connsiteX6" fmla="*/ 119661 w 152377"/>
              <a:gd name="connsiteY6" fmla="*/ 26890 h 152377"/>
              <a:gd name="connsiteX7" fmla="*/ 108457 w 152377"/>
              <a:gd name="connsiteY7" fmla="*/ 27787 h 152377"/>
              <a:gd name="connsiteX8" fmla="*/ 105320 w 152377"/>
              <a:gd name="connsiteY8" fmla="*/ 30027 h 152377"/>
              <a:gd name="connsiteX9" fmla="*/ 98149 w 152377"/>
              <a:gd name="connsiteY9" fmla="*/ 32716 h 152377"/>
              <a:gd name="connsiteX10" fmla="*/ 95012 w 152377"/>
              <a:gd name="connsiteY10" fmla="*/ 29131 h 152377"/>
              <a:gd name="connsiteX11" fmla="*/ 106664 w 152377"/>
              <a:gd name="connsiteY11" fmla="*/ 10756 h 152377"/>
              <a:gd name="connsiteX12" fmla="*/ 130417 w 152377"/>
              <a:gd name="connsiteY12" fmla="*/ 29131 h 152377"/>
              <a:gd name="connsiteX13" fmla="*/ 56469 w 152377"/>
              <a:gd name="connsiteY13" fmla="*/ 7171 h 152377"/>
              <a:gd name="connsiteX14" fmla="*/ 63640 w 152377"/>
              <a:gd name="connsiteY14" fmla="*/ 30476 h 152377"/>
              <a:gd name="connsiteX15" fmla="*/ 53780 w 152377"/>
              <a:gd name="connsiteY15" fmla="*/ 37198 h 152377"/>
              <a:gd name="connsiteX16" fmla="*/ 49747 w 152377"/>
              <a:gd name="connsiteY16" fmla="*/ 38543 h 152377"/>
              <a:gd name="connsiteX17" fmla="*/ 45265 w 152377"/>
              <a:gd name="connsiteY17" fmla="*/ 39887 h 152377"/>
              <a:gd name="connsiteX18" fmla="*/ 32716 w 152377"/>
              <a:gd name="connsiteY18" fmla="*/ 46162 h 152377"/>
              <a:gd name="connsiteX19" fmla="*/ 34061 w 152377"/>
              <a:gd name="connsiteY19" fmla="*/ 50643 h 152377"/>
              <a:gd name="connsiteX20" fmla="*/ 44817 w 152377"/>
              <a:gd name="connsiteY20" fmla="*/ 56918 h 152377"/>
              <a:gd name="connsiteX21" fmla="*/ 55125 w 152377"/>
              <a:gd name="connsiteY21" fmla="*/ 62744 h 152377"/>
              <a:gd name="connsiteX22" fmla="*/ 59158 w 152377"/>
              <a:gd name="connsiteY22" fmla="*/ 70811 h 152377"/>
              <a:gd name="connsiteX23" fmla="*/ 66329 w 152377"/>
              <a:gd name="connsiteY23" fmla="*/ 78430 h 152377"/>
              <a:gd name="connsiteX24" fmla="*/ 74844 w 152377"/>
              <a:gd name="connsiteY24" fmla="*/ 73948 h 152377"/>
              <a:gd name="connsiteX25" fmla="*/ 81119 w 152377"/>
              <a:gd name="connsiteY25" fmla="*/ 71707 h 152377"/>
              <a:gd name="connsiteX26" fmla="*/ 80222 w 152377"/>
              <a:gd name="connsiteY26" fmla="*/ 82912 h 152377"/>
              <a:gd name="connsiteX27" fmla="*/ 70363 w 152377"/>
              <a:gd name="connsiteY27" fmla="*/ 96805 h 152377"/>
              <a:gd name="connsiteX28" fmla="*/ 66329 w 152377"/>
              <a:gd name="connsiteY28" fmla="*/ 109354 h 152377"/>
              <a:gd name="connsiteX29" fmla="*/ 66329 w 152377"/>
              <a:gd name="connsiteY29" fmla="*/ 112043 h 152377"/>
              <a:gd name="connsiteX30" fmla="*/ 64536 w 152377"/>
              <a:gd name="connsiteY30" fmla="*/ 113835 h 152377"/>
              <a:gd name="connsiteX31" fmla="*/ 57366 w 152377"/>
              <a:gd name="connsiteY31" fmla="*/ 126832 h 152377"/>
              <a:gd name="connsiteX32" fmla="*/ 49747 w 152377"/>
              <a:gd name="connsiteY32" fmla="*/ 132210 h 152377"/>
              <a:gd name="connsiteX33" fmla="*/ 44817 w 152377"/>
              <a:gd name="connsiteY33" fmla="*/ 128177 h 152377"/>
              <a:gd name="connsiteX34" fmla="*/ 44817 w 152377"/>
              <a:gd name="connsiteY34" fmla="*/ 112939 h 152377"/>
              <a:gd name="connsiteX35" fmla="*/ 42576 w 152377"/>
              <a:gd name="connsiteY35" fmla="*/ 95012 h 152377"/>
              <a:gd name="connsiteX36" fmla="*/ 33165 w 152377"/>
              <a:gd name="connsiteY36" fmla="*/ 69915 h 152377"/>
              <a:gd name="connsiteX37" fmla="*/ 13445 w 152377"/>
              <a:gd name="connsiteY37" fmla="*/ 40335 h 152377"/>
              <a:gd name="connsiteX38" fmla="*/ 56469 w 152377"/>
              <a:gd name="connsiteY38" fmla="*/ 7171 h 152377"/>
              <a:gd name="connsiteX39" fmla="*/ 76189 w 152377"/>
              <a:gd name="connsiteY39" fmla="*/ 147896 h 152377"/>
              <a:gd name="connsiteX40" fmla="*/ 4482 w 152377"/>
              <a:gd name="connsiteY40" fmla="*/ 76189 h 152377"/>
              <a:gd name="connsiteX41" fmla="*/ 11652 w 152377"/>
              <a:gd name="connsiteY41" fmla="*/ 44817 h 152377"/>
              <a:gd name="connsiteX42" fmla="*/ 29131 w 152377"/>
              <a:gd name="connsiteY42" fmla="*/ 69018 h 152377"/>
              <a:gd name="connsiteX43" fmla="*/ 39439 w 152377"/>
              <a:gd name="connsiteY43" fmla="*/ 98597 h 152377"/>
              <a:gd name="connsiteX44" fmla="*/ 40335 w 152377"/>
              <a:gd name="connsiteY44" fmla="*/ 112939 h 152377"/>
              <a:gd name="connsiteX45" fmla="*/ 40335 w 152377"/>
              <a:gd name="connsiteY45" fmla="*/ 129073 h 152377"/>
              <a:gd name="connsiteX46" fmla="*/ 49299 w 152377"/>
              <a:gd name="connsiteY46" fmla="*/ 136692 h 152377"/>
              <a:gd name="connsiteX47" fmla="*/ 50195 w 152377"/>
              <a:gd name="connsiteY47" fmla="*/ 136692 h 152377"/>
              <a:gd name="connsiteX48" fmla="*/ 61847 w 152377"/>
              <a:gd name="connsiteY48" fmla="*/ 126832 h 152377"/>
              <a:gd name="connsiteX49" fmla="*/ 67674 w 152377"/>
              <a:gd name="connsiteY49" fmla="*/ 117421 h 152377"/>
              <a:gd name="connsiteX50" fmla="*/ 69466 w 152377"/>
              <a:gd name="connsiteY50" fmla="*/ 115628 h 152377"/>
              <a:gd name="connsiteX51" fmla="*/ 70811 w 152377"/>
              <a:gd name="connsiteY51" fmla="*/ 108905 h 152377"/>
              <a:gd name="connsiteX52" fmla="*/ 73500 w 152377"/>
              <a:gd name="connsiteY52" fmla="*/ 100390 h 152377"/>
              <a:gd name="connsiteX53" fmla="*/ 84256 w 152377"/>
              <a:gd name="connsiteY53" fmla="*/ 85152 h 152377"/>
              <a:gd name="connsiteX54" fmla="*/ 84256 w 152377"/>
              <a:gd name="connsiteY54" fmla="*/ 69018 h 152377"/>
              <a:gd name="connsiteX55" fmla="*/ 71707 w 152377"/>
              <a:gd name="connsiteY55" fmla="*/ 70811 h 152377"/>
              <a:gd name="connsiteX56" fmla="*/ 66329 w 152377"/>
              <a:gd name="connsiteY56" fmla="*/ 74396 h 152377"/>
              <a:gd name="connsiteX57" fmla="*/ 63192 w 152377"/>
              <a:gd name="connsiteY57" fmla="*/ 69915 h 152377"/>
              <a:gd name="connsiteX58" fmla="*/ 57814 w 152377"/>
              <a:gd name="connsiteY58" fmla="*/ 60055 h 152377"/>
              <a:gd name="connsiteX59" fmla="*/ 45713 w 152377"/>
              <a:gd name="connsiteY59" fmla="*/ 52884 h 152377"/>
              <a:gd name="connsiteX60" fmla="*/ 36750 w 152377"/>
              <a:gd name="connsiteY60" fmla="*/ 47954 h 152377"/>
              <a:gd name="connsiteX61" fmla="*/ 36302 w 152377"/>
              <a:gd name="connsiteY61" fmla="*/ 47506 h 152377"/>
              <a:gd name="connsiteX62" fmla="*/ 45713 w 152377"/>
              <a:gd name="connsiteY62" fmla="*/ 44369 h 152377"/>
              <a:gd name="connsiteX63" fmla="*/ 51091 w 152377"/>
              <a:gd name="connsiteY63" fmla="*/ 42576 h 152377"/>
              <a:gd name="connsiteX64" fmla="*/ 53780 w 152377"/>
              <a:gd name="connsiteY64" fmla="*/ 42128 h 152377"/>
              <a:gd name="connsiteX65" fmla="*/ 67226 w 152377"/>
              <a:gd name="connsiteY65" fmla="*/ 32716 h 152377"/>
              <a:gd name="connsiteX66" fmla="*/ 60503 w 152377"/>
              <a:gd name="connsiteY66" fmla="*/ 6274 h 152377"/>
              <a:gd name="connsiteX67" fmla="*/ 75741 w 152377"/>
              <a:gd name="connsiteY67" fmla="*/ 4482 h 152377"/>
              <a:gd name="connsiteX68" fmla="*/ 101735 w 152377"/>
              <a:gd name="connsiteY68" fmla="*/ 9412 h 152377"/>
              <a:gd name="connsiteX69" fmla="*/ 90530 w 152377"/>
              <a:gd name="connsiteY69" fmla="*/ 31372 h 152377"/>
              <a:gd name="connsiteX70" fmla="*/ 96357 w 152377"/>
              <a:gd name="connsiteY70" fmla="*/ 37198 h 152377"/>
              <a:gd name="connsiteX71" fmla="*/ 98597 w 152377"/>
              <a:gd name="connsiteY71" fmla="*/ 37646 h 152377"/>
              <a:gd name="connsiteX72" fmla="*/ 107113 w 152377"/>
              <a:gd name="connsiteY72" fmla="*/ 34509 h 152377"/>
              <a:gd name="connsiteX73" fmla="*/ 110698 w 152377"/>
              <a:gd name="connsiteY73" fmla="*/ 31820 h 152377"/>
              <a:gd name="connsiteX74" fmla="*/ 116972 w 152377"/>
              <a:gd name="connsiteY74" fmla="*/ 31372 h 152377"/>
              <a:gd name="connsiteX75" fmla="*/ 133555 w 152377"/>
              <a:gd name="connsiteY75" fmla="*/ 34061 h 152377"/>
              <a:gd name="connsiteX76" fmla="*/ 144759 w 152377"/>
              <a:gd name="connsiteY76" fmla="*/ 56021 h 152377"/>
              <a:gd name="connsiteX77" fmla="*/ 122799 w 152377"/>
              <a:gd name="connsiteY77" fmla="*/ 53332 h 152377"/>
              <a:gd name="connsiteX78" fmla="*/ 109353 w 152377"/>
              <a:gd name="connsiteY78" fmla="*/ 55125 h 152377"/>
              <a:gd name="connsiteX79" fmla="*/ 102183 w 152377"/>
              <a:gd name="connsiteY79" fmla="*/ 73500 h 152377"/>
              <a:gd name="connsiteX80" fmla="*/ 114731 w 152377"/>
              <a:gd name="connsiteY80" fmla="*/ 85152 h 152377"/>
              <a:gd name="connsiteX81" fmla="*/ 124591 w 152377"/>
              <a:gd name="connsiteY81" fmla="*/ 89186 h 152377"/>
              <a:gd name="connsiteX82" fmla="*/ 125039 w 152377"/>
              <a:gd name="connsiteY82" fmla="*/ 100838 h 152377"/>
              <a:gd name="connsiteX83" fmla="*/ 124591 w 152377"/>
              <a:gd name="connsiteY83" fmla="*/ 111146 h 152377"/>
              <a:gd name="connsiteX84" fmla="*/ 127280 w 152377"/>
              <a:gd name="connsiteY84" fmla="*/ 127280 h 152377"/>
              <a:gd name="connsiteX85" fmla="*/ 76189 w 152377"/>
              <a:gd name="connsiteY85" fmla="*/ 147896 h 152377"/>
              <a:gd name="connsiteX86" fmla="*/ 133555 w 152377"/>
              <a:gd name="connsiteY86" fmla="*/ 119213 h 152377"/>
              <a:gd name="connsiteX87" fmla="*/ 127729 w 152377"/>
              <a:gd name="connsiteY87" fmla="*/ 107113 h 152377"/>
              <a:gd name="connsiteX88" fmla="*/ 129073 w 152377"/>
              <a:gd name="connsiteY88" fmla="*/ 102183 h 152377"/>
              <a:gd name="connsiteX89" fmla="*/ 127729 w 152377"/>
              <a:gd name="connsiteY89" fmla="*/ 85601 h 152377"/>
              <a:gd name="connsiteX90" fmla="*/ 115628 w 152377"/>
              <a:gd name="connsiteY90" fmla="*/ 80222 h 152377"/>
              <a:gd name="connsiteX91" fmla="*/ 106664 w 152377"/>
              <a:gd name="connsiteY91" fmla="*/ 72604 h 152377"/>
              <a:gd name="connsiteX92" fmla="*/ 112043 w 152377"/>
              <a:gd name="connsiteY92" fmla="*/ 58710 h 152377"/>
              <a:gd name="connsiteX93" fmla="*/ 120558 w 152377"/>
              <a:gd name="connsiteY93" fmla="*/ 57366 h 152377"/>
              <a:gd name="connsiteX94" fmla="*/ 145655 w 152377"/>
              <a:gd name="connsiteY94" fmla="*/ 60951 h 152377"/>
              <a:gd name="connsiteX95" fmla="*/ 147448 w 152377"/>
              <a:gd name="connsiteY95" fmla="*/ 77085 h 152377"/>
              <a:gd name="connsiteX96" fmla="*/ 133555 w 152377"/>
              <a:gd name="connsiteY96" fmla="*/ 11921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52377" h="152377">
                <a:moveTo>
                  <a:pt x="76189" y="0"/>
                </a:moveTo>
                <a:cubicBezTo>
                  <a:pt x="34061" y="0"/>
                  <a:pt x="0" y="34061"/>
                  <a:pt x="0" y="76189"/>
                </a:cubicBezTo>
                <a:cubicBezTo>
                  <a:pt x="0" y="118317"/>
                  <a:pt x="34061" y="152378"/>
                  <a:pt x="76189" y="152378"/>
                </a:cubicBezTo>
                <a:cubicBezTo>
                  <a:pt x="118317" y="152378"/>
                  <a:pt x="152378" y="118317"/>
                  <a:pt x="152378" y="76189"/>
                </a:cubicBezTo>
                <a:cubicBezTo>
                  <a:pt x="152378" y="34061"/>
                  <a:pt x="118317" y="0"/>
                  <a:pt x="76189" y="0"/>
                </a:cubicBezTo>
                <a:close/>
                <a:moveTo>
                  <a:pt x="130417" y="29131"/>
                </a:moveTo>
                <a:cubicBezTo>
                  <a:pt x="127280" y="29131"/>
                  <a:pt x="122350" y="28683"/>
                  <a:pt x="119661" y="26890"/>
                </a:cubicBezTo>
                <a:cubicBezTo>
                  <a:pt x="113835" y="23753"/>
                  <a:pt x="111146" y="25546"/>
                  <a:pt x="108457" y="27787"/>
                </a:cubicBezTo>
                <a:cubicBezTo>
                  <a:pt x="107561" y="28683"/>
                  <a:pt x="106664" y="29131"/>
                  <a:pt x="105320" y="30027"/>
                </a:cubicBezTo>
                <a:cubicBezTo>
                  <a:pt x="102631" y="31820"/>
                  <a:pt x="99942" y="33165"/>
                  <a:pt x="98149" y="32716"/>
                </a:cubicBezTo>
                <a:cubicBezTo>
                  <a:pt x="97253" y="32268"/>
                  <a:pt x="96357" y="31372"/>
                  <a:pt x="95012" y="29131"/>
                </a:cubicBezTo>
                <a:cubicBezTo>
                  <a:pt x="93219" y="25098"/>
                  <a:pt x="100390" y="16582"/>
                  <a:pt x="106664" y="10756"/>
                </a:cubicBezTo>
                <a:cubicBezTo>
                  <a:pt x="116076" y="15686"/>
                  <a:pt x="124143" y="21960"/>
                  <a:pt x="130417" y="29131"/>
                </a:cubicBezTo>
                <a:close/>
                <a:moveTo>
                  <a:pt x="56469" y="7171"/>
                </a:moveTo>
                <a:cubicBezTo>
                  <a:pt x="60055" y="12549"/>
                  <a:pt x="66329" y="24649"/>
                  <a:pt x="63640" y="30476"/>
                </a:cubicBezTo>
                <a:cubicBezTo>
                  <a:pt x="61399" y="35854"/>
                  <a:pt x="57366" y="36750"/>
                  <a:pt x="53780" y="37198"/>
                </a:cubicBezTo>
                <a:cubicBezTo>
                  <a:pt x="52436" y="37646"/>
                  <a:pt x="50643" y="37646"/>
                  <a:pt x="49747" y="38543"/>
                </a:cubicBezTo>
                <a:cubicBezTo>
                  <a:pt x="49299" y="38991"/>
                  <a:pt x="47058" y="39439"/>
                  <a:pt x="45265" y="39887"/>
                </a:cubicBezTo>
                <a:cubicBezTo>
                  <a:pt x="38543" y="41680"/>
                  <a:pt x="33613" y="43024"/>
                  <a:pt x="32716" y="46162"/>
                </a:cubicBezTo>
                <a:cubicBezTo>
                  <a:pt x="32268" y="47058"/>
                  <a:pt x="32268" y="48851"/>
                  <a:pt x="34061" y="50643"/>
                </a:cubicBezTo>
                <a:cubicBezTo>
                  <a:pt x="37198" y="53780"/>
                  <a:pt x="40783" y="55125"/>
                  <a:pt x="44817" y="56918"/>
                </a:cubicBezTo>
                <a:cubicBezTo>
                  <a:pt x="48402" y="58262"/>
                  <a:pt x="52436" y="60055"/>
                  <a:pt x="55125" y="62744"/>
                </a:cubicBezTo>
                <a:cubicBezTo>
                  <a:pt x="57366" y="64985"/>
                  <a:pt x="58262" y="68122"/>
                  <a:pt x="59158" y="70811"/>
                </a:cubicBezTo>
                <a:cubicBezTo>
                  <a:pt x="60055" y="73948"/>
                  <a:pt x="61399" y="78430"/>
                  <a:pt x="66329" y="78430"/>
                </a:cubicBezTo>
                <a:cubicBezTo>
                  <a:pt x="69914" y="78430"/>
                  <a:pt x="72603" y="76189"/>
                  <a:pt x="74844" y="73948"/>
                </a:cubicBezTo>
                <a:cubicBezTo>
                  <a:pt x="78430" y="70363"/>
                  <a:pt x="79774" y="70363"/>
                  <a:pt x="81119" y="71707"/>
                </a:cubicBezTo>
                <a:cubicBezTo>
                  <a:pt x="83808" y="74396"/>
                  <a:pt x="81567" y="79774"/>
                  <a:pt x="80222" y="82912"/>
                </a:cubicBezTo>
                <a:cubicBezTo>
                  <a:pt x="77982" y="87841"/>
                  <a:pt x="74396" y="93219"/>
                  <a:pt x="70363" y="96805"/>
                </a:cubicBezTo>
                <a:cubicBezTo>
                  <a:pt x="64985" y="102183"/>
                  <a:pt x="65881" y="106665"/>
                  <a:pt x="66329" y="109354"/>
                </a:cubicBezTo>
                <a:cubicBezTo>
                  <a:pt x="66777" y="111146"/>
                  <a:pt x="66777" y="111594"/>
                  <a:pt x="66329" y="112043"/>
                </a:cubicBezTo>
                <a:cubicBezTo>
                  <a:pt x="65881" y="112491"/>
                  <a:pt x="64985" y="112939"/>
                  <a:pt x="64536" y="113835"/>
                </a:cubicBezTo>
                <a:cubicBezTo>
                  <a:pt x="61399" y="116524"/>
                  <a:pt x="57366" y="120110"/>
                  <a:pt x="57366" y="126832"/>
                </a:cubicBezTo>
                <a:cubicBezTo>
                  <a:pt x="57366" y="129073"/>
                  <a:pt x="53780" y="132210"/>
                  <a:pt x="49747" y="132210"/>
                </a:cubicBezTo>
                <a:cubicBezTo>
                  <a:pt x="47058" y="132658"/>
                  <a:pt x="45265" y="131314"/>
                  <a:pt x="44817" y="128177"/>
                </a:cubicBezTo>
                <a:cubicBezTo>
                  <a:pt x="43921" y="123695"/>
                  <a:pt x="44369" y="118317"/>
                  <a:pt x="44817" y="112939"/>
                </a:cubicBezTo>
                <a:cubicBezTo>
                  <a:pt x="45265" y="105320"/>
                  <a:pt x="46161" y="98597"/>
                  <a:pt x="42576" y="95012"/>
                </a:cubicBezTo>
                <a:cubicBezTo>
                  <a:pt x="37646" y="90082"/>
                  <a:pt x="30027" y="79326"/>
                  <a:pt x="33165" y="69915"/>
                </a:cubicBezTo>
                <a:cubicBezTo>
                  <a:pt x="36750" y="59158"/>
                  <a:pt x="19271" y="44817"/>
                  <a:pt x="13445" y="40335"/>
                </a:cubicBezTo>
                <a:cubicBezTo>
                  <a:pt x="23305" y="24649"/>
                  <a:pt x="38543" y="12549"/>
                  <a:pt x="56469" y="7171"/>
                </a:cubicBezTo>
                <a:close/>
                <a:moveTo>
                  <a:pt x="76189" y="147896"/>
                </a:moveTo>
                <a:cubicBezTo>
                  <a:pt x="36750" y="147896"/>
                  <a:pt x="4482" y="115628"/>
                  <a:pt x="4482" y="76189"/>
                </a:cubicBezTo>
                <a:cubicBezTo>
                  <a:pt x="4482" y="64985"/>
                  <a:pt x="7171" y="54229"/>
                  <a:pt x="11652" y="44817"/>
                </a:cubicBezTo>
                <a:cubicBezTo>
                  <a:pt x="20168" y="51540"/>
                  <a:pt x="31372" y="62744"/>
                  <a:pt x="29131" y="69018"/>
                </a:cubicBezTo>
                <a:cubicBezTo>
                  <a:pt x="24649" y="82912"/>
                  <a:pt x="38094" y="97253"/>
                  <a:pt x="39439" y="98597"/>
                </a:cubicBezTo>
                <a:cubicBezTo>
                  <a:pt x="41232" y="100390"/>
                  <a:pt x="40783" y="106665"/>
                  <a:pt x="40335" y="112939"/>
                </a:cubicBezTo>
                <a:cubicBezTo>
                  <a:pt x="39887" y="118317"/>
                  <a:pt x="39439" y="124143"/>
                  <a:pt x="40335" y="129073"/>
                </a:cubicBezTo>
                <a:cubicBezTo>
                  <a:pt x="41232" y="134003"/>
                  <a:pt x="44369" y="136692"/>
                  <a:pt x="49299" y="136692"/>
                </a:cubicBezTo>
                <a:cubicBezTo>
                  <a:pt x="49747" y="136692"/>
                  <a:pt x="50195" y="136692"/>
                  <a:pt x="50195" y="136692"/>
                </a:cubicBezTo>
                <a:cubicBezTo>
                  <a:pt x="55573" y="136244"/>
                  <a:pt x="61847" y="131762"/>
                  <a:pt x="61847" y="126832"/>
                </a:cubicBezTo>
                <a:cubicBezTo>
                  <a:pt x="61847" y="122350"/>
                  <a:pt x="64536" y="120110"/>
                  <a:pt x="67674" y="117421"/>
                </a:cubicBezTo>
                <a:cubicBezTo>
                  <a:pt x="68122" y="116972"/>
                  <a:pt x="69018" y="116076"/>
                  <a:pt x="69466" y="115628"/>
                </a:cubicBezTo>
                <a:cubicBezTo>
                  <a:pt x="71707" y="113387"/>
                  <a:pt x="71259" y="111146"/>
                  <a:pt x="70811" y="108905"/>
                </a:cubicBezTo>
                <a:cubicBezTo>
                  <a:pt x="70363" y="106216"/>
                  <a:pt x="69914" y="103975"/>
                  <a:pt x="73500" y="100390"/>
                </a:cubicBezTo>
                <a:cubicBezTo>
                  <a:pt x="77982" y="95908"/>
                  <a:pt x="82015" y="90082"/>
                  <a:pt x="84256" y="85152"/>
                </a:cubicBezTo>
                <a:cubicBezTo>
                  <a:pt x="88289" y="76189"/>
                  <a:pt x="86497" y="71259"/>
                  <a:pt x="84256" y="69018"/>
                </a:cubicBezTo>
                <a:cubicBezTo>
                  <a:pt x="79326" y="64088"/>
                  <a:pt x="74844" y="68122"/>
                  <a:pt x="71707" y="70811"/>
                </a:cubicBezTo>
                <a:cubicBezTo>
                  <a:pt x="69914" y="72604"/>
                  <a:pt x="68122" y="74396"/>
                  <a:pt x="66329" y="74396"/>
                </a:cubicBezTo>
                <a:cubicBezTo>
                  <a:pt x="64985" y="74396"/>
                  <a:pt x="64536" y="73948"/>
                  <a:pt x="63192" y="69915"/>
                </a:cubicBezTo>
                <a:cubicBezTo>
                  <a:pt x="62296" y="66777"/>
                  <a:pt x="61399" y="63192"/>
                  <a:pt x="57814" y="60055"/>
                </a:cubicBezTo>
                <a:cubicBezTo>
                  <a:pt x="54228" y="56469"/>
                  <a:pt x="50195" y="54677"/>
                  <a:pt x="45713" y="52884"/>
                </a:cubicBezTo>
                <a:cubicBezTo>
                  <a:pt x="42128" y="51540"/>
                  <a:pt x="38991" y="50195"/>
                  <a:pt x="36750" y="47954"/>
                </a:cubicBezTo>
                <a:cubicBezTo>
                  <a:pt x="36750" y="47954"/>
                  <a:pt x="36302" y="47506"/>
                  <a:pt x="36302" y="47506"/>
                </a:cubicBezTo>
                <a:cubicBezTo>
                  <a:pt x="37646" y="46162"/>
                  <a:pt x="43024" y="44817"/>
                  <a:pt x="45713" y="44369"/>
                </a:cubicBezTo>
                <a:cubicBezTo>
                  <a:pt x="48402" y="43473"/>
                  <a:pt x="50195" y="43473"/>
                  <a:pt x="51091" y="42576"/>
                </a:cubicBezTo>
                <a:cubicBezTo>
                  <a:pt x="51540" y="42128"/>
                  <a:pt x="52436" y="42128"/>
                  <a:pt x="53780" y="42128"/>
                </a:cubicBezTo>
                <a:cubicBezTo>
                  <a:pt x="57366" y="41680"/>
                  <a:pt x="63640" y="40335"/>
                  <a:pt x="67226" y="32716"/>
                </a:cubicBezTo>
                <a:cubicBezTo>
                  <a:pt x="70811" y="24649"/>
                  <a:pt x="64088" y="12101"/>
                  <a:pt x="60503" y="6274"/>
                </a:cubicBezTo>
                <a:cubicBezTo>
                  <a:pt x="65433" y="5378"/>
                  <a:pt x="70363" y="4482"/>
                  <a:pt x="75741" y="4482"/>
                </a:cubicBezTo>
                <a:cubicBezTo>
                  <a:pt x="84704" y="4482"/>
                  <a:pt x="93668" y="6274"/>
                  <a:pt x="101735" y="9412"/>
                </a:cubicBezTo>
                <a:cubicBezTo>
                  <a:pt x="96805" y="14341"/>
                  <a:pt x="87393" y="24649"/>
                  <a:pt x="90530" y="31372"/>
                </a:cubicBezTo>
                <a:cubicBezTo>
                  <a:pt x="91875" y="34509"/>
                  <a:pt x="93668" y="36302"/>
                  <a:pt x="96357" y="37198"/>
                </a:cubicBezTo>
                <a:cubicBezTo>
                  <a:pt x="97253" y="37198"/>
                  <a:pt x="97701" y="37646"/>
                  <a:pt x="98597" y="37646"/>
                </a:cubicBezTo>
                <a:cubicBezTo>
                  <a:pt x="101286" y="37646"/>
                  <a:pt x="104424" y="35854"/>
                  <a:pt x="107113" y="34509"/>
                </a:cubicBezTo>
                <a:cubicBezTo>
                  <a:pt x="108457" y="33613"/>
                  <a:pt x="109802" y="32716"/>
                  <a:pt x="110698" y="31820"/>
                </a:cubicBezTo>
                <a:cubicBezTo>
                  <a:pt x="113387" y="30027"/>
                  <a:pt x="113835" y="29579"/>
                  <a:pt x="116972" y="31372"/>
                </a:cubicBezTo>
                <a:cubicBezTo>
                  <a:pt x="122350" y="34509"/>
                  <a:pt x="130417" y="34061"/>
                  <a:pt x="133555" y="34061"/>
                </a:cubicBezTo>
                <a:cubicBezTo>
                  <a:pt x="138485" y="40783"/>
                  <a:pt x="142070" y="47954"/>
                  <a:pt x="144759" y="56021"/>
                </a:cubicBezTo>
                <a:cubicBezTo>
                  <a:pt x="138036" y="56021"/>
                  <a:pt x="126832" y="55573"/>
                  <a:pt x="122799" y="53332"/>
                </a:cubicBezTo>
                <a:cubicBezTo>
                  <a:pt x="119213" y="51091"/>
                  <a:pt x="113835" y="51988"/>
                  <a:pt x="109353" y="55125"/>
                </a:cubicBezTo>
                <a:cubicBezTo>
                  <a:pt x="103527" y="59158"/>
                  <a:pt x="100838" y="66329"/>
                  <a:pt x="102183" y="73500"/>
                </a:cubicBezTo>
                <a:cubicBezTo>
                  <a:pt x="103975" y="83360"/>
                  <a:pt x="109802" y="84256"/>
                  <a:pt x="114731" y="85152"/>
                </a:cubicBezTo>
                <a:cubicBezTo>
                  <a:pt x="118317" y="85601"/>
                  <a:pt x="121454" y="86497"/>
                  <a:pt x="124591" y="89186"/>
                </a:cubicBezTo>
                <a:cubicBezTo>
                  <a:pt x="128177" y="92771"/>
                  <a:pt x="126832" y="95908"/>
                  <a:pt x="125039" y="100838"/>
                </a:cubicBezTo>
                <a:cubicBezTo>
                  <a:pt x="123695" y="104424"/>
                  <a:pt x="121902" y="108009"/>
                  <a:pt x="124591" y="111146"/>
                </a:cubicBezTo>
                <a:cubicBezTo>
                  <a:pt x="128177" y="114732"/>
                  <a:pt x="130866" y="118317"/>
                  <a:pt x="127280" y="127280"/>
                </a:cubicBezTo>
                <a:cubicBezTo>
                  <a:pt x="114283" y="139829"/>
                  <a:pt x="96357" y="147896"/>
                  <a:pt x="76189" y="147896"/>
                </a:cubicBezTo>
                <a:close/>
                <a:moveTo>
                  <a:pt x="133555" y="119213"/>
                </a:moveTo>
                <a:cubicBezTo>
                  <a:pt x="133555" y="114283"/>
                  <a:pt x="131314" y="110698"/>
                  <a:pt x="127729" y="107113"/>
                </a:cubicBezTo>
                <a:cubicBezTo>
                  <a:pt x="126832" y="106216"/>
                  <a:pt x="127729" y="104424"/>
                  <a:pt x="129073" y="102183"/>
                </a:cubicBezTo>
                <a:cubicBezTo>
                  <a:pt x="130866" y="97701"/>
                  <a:pt x="134003" y="91427"/>
                  <a:pt x="127729" y="85601"/>
                </a:cubicBezTo>
                <a:cubicBezTo>
                  <a:pt x="123695" y="81567"/>
                  <a:pt x="119213" y="80671"/>
                  <a:pt x="115628" y="80222"/>
                </a:cubicBezTo>
                <a:cubicBezTo>
                  <a:pt x="110698" y="79326"/>
                  <a:pt x="108009" y="78878"/>
                  <a:pt x="106664" y="72604"/>
                </a:cubicBezTo>
                <a:cubicBezTo>
                  <a:pt x="105768" y="66777"/>
                  <a:pt x="107561" y="61847"/>
                  <a:pt x="112043" y="58710"/>
                </a:cubicBezTo>
                <a:cubicBezTo>
                  <a:pt x="115180" y="56469"/>
                  <a:pt x="118765" y="56021"/>
                  <a:pt x="120558" y="57366"/>
                </a:cubicBezTo>
                <a:cubicBezTo>
                  <a:pt x="126384" y="60503"/>
                  <a:pt x="140725" y="60951"/>
                  <a:pt x="145655" y="60951"/>
                </a:cubicBezTo>
                <a:cubicBezTo>
                  <a:pt x="147000" y="66329"/>
                  <a:pt x="147448" y="71259"/>
                  <a:pt x="147448" y="77085"/>
                </a:cubicBezTo>
                <a:cubicBezTo>
                  <a:pt x="147896" y="92323"/>
                  <a:pt x="142518" y="107561"/>
                  <a:pt x="133555" y="119213"/>
                </a:cubicBezTo>
                <a:close/>
              </a:path>
            </a:pathLst>
          </a:custGeom>
          <a:solidFill>
            <a:srgbClr val="231F20"/>
          </a:solidFill>
          <a:ln w="4477" cap="flat">
            <a:noFill/>
            <a:prstDash val="solid"/>
            <a:miter/>
          </a:ln>
        </p:spPr>
        <p:txBody>
          <a:bodyPr rtlCol="0" anchor="ctr"/>
          <a:lstStyle/>
          <a:p>
            <a:endParaRPr lang="en-US"/>
          </a:p>
        </p:txBody>
      </p:sp>
      <p:grpSp>
        <p:nvGrpSpPr>
          <p:cNvPr id="2441" name="Group 2440">
            <a:extLst>
              <a:ext uri="{FF2B5EF4-FFF2-40B4-BE49-F238E27FC236}">
                <a16:creationId xmlns:a16="http://schemas.microsoft.com/office/drawing/2014/main" id="{51A303BC-1646-46E6-8934-82595C8BC491}"/>
              </a:ext>
              <a:ext uri="{C183D7F6-B498-43B3-948B-1728B52AA6E4}">
                <adec:decorative xmlns:adec="http://schemas.microsoft.com/office/drawing/2017/decorative" val="1"/>
              </a:ext>
            </a:extLst>
          </p:cNvPr>
          <p:cNvGrpSpPr>
            <a:grpSpLocks noChangeAspect="1"/>
          </p:cNvGrpSpPr>
          <p:nvPr/>
        </p:nvGrpSpPr>
        <p:grpSpPr>
          <a:xfrm>
            <a:off x="8749587" y="3444157"/>
            <a:ext cx="149597" cy="149281"/>
            <a:chOff x="8843577" y="1408991"/>
            <a:chExt cx="149597" cy="149281"/>
          </a:xfrm>
        </p:grpSpPr>
        <p:sp>
          <p:nvSpPr>
            <p:cNvPr id="5497" name="Freeform: Shape 5496">
              <a:extLst>
                <a:ext uri="{FF2B5EF4-FFF2-40B4-BE49-F238E27FC236}">
                  <a16:creationId xmlns:a16="http://schemas.microsoft.com/office/drawing/2014/main" id="{7D39F217-F049-4BF9-9CBF-BA6B670A3E95}"/>
                </a:ext>
              </a:extLst>
            </p:cNvPr>
            <p:cNvSpPr/>
            <p:nvPr/>
          </p:nvSpPr>
          <p:spPr>
            <a:xfrm>
              <a:off x="8867954" y="1435473"/>
              <a:ext cx="107561" cy="103079"/>
            </a:xfrm>
            <a:custGeom>
              <a:avLst/>
              <a:gdLst>
                <a:gd name="connsiteX0" fmla="*/ 0 w 107560"/>
                <a:gd name="connsiteY0" fmla="*/ 53332 h 103079"/>
                <a:gd name="connsiteX1" fmla="*/ 55125 w 107560"/>
                <a:gd name="connsiteY1" fmla="*/ 106665 h 103079"/>
                <a:gd name="connsiteX2" fmla="*/ 110250 w 107560"/>
                <a:gd name="connsiteY2" fmla="*/ 53332 h 103079"/>
                <a:gd name="connsiteX3" fmla="*/ 55125 w 107560"/>
                <a:gd name="connsiteY3" fmla="*/ 0 h 103079"/>
                <a:gd name="connsiteX4" fmla="*/ 0 w 107560"/>
                <a:gd name="connsiteY4" fmla="*/ 53332 h 103079"/>
                <a:gd name="connsiteX5" fmla="*/ 52884 w 107560"/>
                <a:gd name="connsiteY5" fmla="*/ 4930 h 103079"/>
                <a:gd name="connsiteX6" fmla="*/ 52884 w 107560"/>
                <a:gd name="connsiteY6" fmla="*/ 29579 h 103079"/>
                <a:gd name="connsiteX7" fmla="*/ 33164 w 107560"/>
                <a:gd name="connsiteY7" fmla="*/ 25994 h 103079"/>
                <a:gd name="connsiteX8" fmla="*/ 52884 w 107560"/>
                <a:gd name="connsiteY8" fmla="*/ 4930 h 103079"/>
                <a:gd name="connsiteX9" fmla="*/ 52884 w 107560"/>
                <a:gd name="connsiteY9" fmla="*/ 34061 h 103079"/>
                <a:gd name="connsiteX10" fmla="*/ 52884 w 107560"/>
                <a:gd name="connsiteY10" fmla="*/ 51091 h 103079"/>
                <a:gd name="connsiteX11" fmla="*/ 28683 w 107560"/>
                <a:gd name="connsiteY11" fmla="*/ 51091 h 103079"/>
                <a:gd name="connsiteX12" fmla="*/ 31820 w 107560"/>
                <a:gd name="connsiteY12" fmla="*/ 30476 h 103079"/>
                <a:gd name="connsiteX13" fmla="*/ 52884 w 107560"/>
                <a:gd name="connsiteY13" fmla="*/ 34061 h 103079"/>
                <a:gd name="connsiteX14" fmla="*/ 24201 w 107560"/>
                <a:gd name="connsiteY14" fmla="*/ 51091 h 103079"/>
                <a:gd name="connsiteX15" fmla="*/ 4482 w 107560"/>
                <a:gd name="connsiteY15" fmla="*/ 51091 h 103079"/>
                <a:gd name="connsiteX16" fmla="*/ 16134 w 107560"/>
                <a:gd name="connsiteY16" fmla="*/ 22409 h 103079"/>
                <a:gd name="connsiteX17" fmla="*/ 27786 w 107560"/>
                <a:gd name="connsiteY17" fmla="*/ 29131 h 103079"/>
                <a:gd name="connsiteX18" fmla="*/ 24201 w 107560"/>
                <a:gd name="connsiteY18" fmla="*/ 51091 h 103079"/>
                <a:gd name="connsiteX19" fmla="*/ 24201 w 107560"/>
                <a:gd name="connsiteY19" fmla="*/ 55573 h 103079"/>
                <a:gd name="connsiteX20" fmla="*/ 27338 w 107560"/>
                <a:gd name="connsiteY20" fmla="*/ 77982 h 103079"/>
                <a:gd name="connsiteX21" fmla="*/ 15686 w 107560"/>
                <a:gd name="connsiteY21" fmla="*/ 84704 h 103079"/>
                <a:gd name="connsiteX22" fmla="*/ 4033 w 107560"/>
                <a:gd name="connsiteY22" fmla="*/ 56021 h 103079"/>
                <a:gd name="connsiteX23" fmla="*/ 24201 w 107560"/>
                <a:gd name="connsiteY23" fmla="*/ 56021 h 103079"/>
                <a:gd name="connsiteX24" fmla="*/ 28683 w 107560"/>
                <a:gd name="connsiteY24" fmla="*/ 55573 h 103079"/>
                <a:gd name="connsiteX25" fmla="*/ 52884 w 107560"/>
                <a:gd name="connsiteY25" fmla="*/ 55573 h 103079"/>
                <a:gd name="connsiteX26" fmla="*/ 52884 w 107560"/>
                <a:gd name="connsiteY26" fmla="*/ 72604 h 103079"/>
                <a:gd name="connsiteX27" fmla="*/ 31820 w 107560"/>
                <a:gd name="connsiteY27" fmla="*/ 76189 h 103079"/>
                <a:gd name="connsiteX28" fmla="*/ 28683 w 107560"/>
                <a:gd name="connsiteY28" fmla="*/ 55573 h 103079"/>
                <a:gd name="connsiteX29" fmla="*/ 52884 w 107560"/>
                <a:gd name="connsiteY29" fmla="*/ 77085 h 103079"/>
                <a:gd name="connsiteX30" fmla="*/ 52884 w 107560"/>
                <a:gd name="connsiteY30" fmla="*/ 101735 h 103079"/>
                <a:gd name="connsiteX31" fmla="*/ 33164 w 107560"/>
                <a:gd name="connsiteY31" fmla="*/ 80222 h 103079"/>
                <a:gd name="connsiteX32" fmla="*/ 52884 w 107560"/>
                <a:gd name="connsiteY32" fmla="*/ 77085 h 103079"/>
                <a:gd name="connsiteX33" fmla="*/ 57366 w 107560"/>
                <a:gd name="connsiteY33" fmla="*/ 101735 h 103079"/>
                <a:gd name="connsiteX34" fmla="*/ 57366 w 107560"/>
                <a:gd name="connsiteY34" fmla="*/ 77085 h 103079"/>
                <a:gd name="connsiteX35" fmla="*/ 77085 w 107560"/>
                <a:gd name="connsiteY35" fmla="*/ 80671 h 103079"/>
                <a:gd name="connsiteX36" fmla="*/ 57366 w 107560"/>
                <a:gd name="connsiteY36" fmla="*/ 101735 h 103079"/>
                <a:gd name="connsiteX37" fmla="*/ 57366 w 107560"/>
                <a:gd name="connsiteY37" fmla="*/ 72604 h 103079"/>
                <a:gd name="connsiteX38" fmla="*/ 57366 w 107560"/>
                <a:gd name="connsiteY38" fmla="*/ 55573 h 103079"/>
                <a:gd name="connsiteX39" fmla="*/ 81567 w 107560"/>
                <a:gd name="connsiteY39" fmla="*/ 55573 h 103079"/>
                <a:gd name="connsiteX40" fmla="*/ 78430 w 107560"/>
                <a:gd name="connsiteY40" fmla="*/ 76189 h 103079"/>
                <a:gd name="connsiteX41" fmla="*/ 57366 w 107560"/>
                <a:gd name="connsiteY41" fmla="*/ 72604 h 103079"/>
                <a:gd name="connsiteX42" fmla="*/ 85600 w 107560"/>
                <a:gd name="connsiteY42" fmla="*/ 55573 h 103079"/>
                <a:gd name="connsiteX43" fmla="*/ 105320 w 107560"/>
                <a:gd name="connsiteY43" fmla="*/ 55573 h 103079"/>
                <a:gd name="connsiteX44" fmla="*/ 93667 w 107560"/>
                <a:gd name="connsiteY44" fmla="*/ 84256 h 103079"/>
                <a:gd name="connsiteX45" fmla="*/ 82015 w 107560"/>
                <a:gd name="connsiteY45" fmla="*/ 77533 h 103079"/>
                <a:gd name="connsiteX46" fmla="*/ 85600 w 107560"/>
                <a:gd name="connsiteY46" fmla="*/ 55573 h 103079"/>
                <a:gd name="connsiteX47" fmla="*/ 85600 w 107560"/>
                <a:gd name="connsiteY47" fmla="*/ 51091 h 103079"/>
                <a:gd name="connsiteX48" fmla="*/ 82463 w 107560"/>
                <a:gd name="connsiteY48" fmla="*/ 28683 h 103079"/>
                <a:gd name="connsiteX49" fmla="*/ 94116 w 107560"/>
                <a:gd name="connsiteY49" fmla="*/ 21960 h 103079"/>
                <a:gd name="connsiteX50" fmla="*/ 105768 w 107560"/>
                <a:gd name="connsiteY50" fmla="*/ 50643 h 103079"/>
                <a:gd name="connsiteX51" fmla="*/ 85600 w 107560"/>
                <a:gd name="connsiteY51" fmla="*/ 50643 h 103079"/>
                <a:gd name="connsiteX52" fmla="*/ 81119 w 107560"/>
                <a:gd name="connsiteY52" fmla="*/ 51091 h 103079"/>
                <a:gd name="connsiteX53" fmla="*/ 56917 w 107560"/>
                <a:gd name="connsiteY53" fmla="*/ 51091 h 103079"/>
                <a:gd name="connsiteX54" fmla="*/ 56917 w 107560"/>
                <a:gd name="connsiteY54" fmla="*/ 34061 h 103079"/>
                <a:gd name="connsiteX55" fmla="*/ 77981 w 107560"/>
                <a:gd name="connsiteY55" fmla="*/ 30476 h 103079"/>
                <a:gd name="connsiteX56" fmla="*/ 81119 w 107560"/>
                <a:gd name="connsiteY56" fmla="*/ 51091 h 103079"/>
                <a:gd name="connsiteX57" fmla="*/ 57366 w 107560"/>
                <a:gd name="connsiteY57" fmla="*/ 29579 h 103079"/>
                <a:gd name="connsiteX58" fmla="*/ 57366 w 107560"/>
                <a:gd name="connsiteY58" fmla="*/ 4930 h 103079"/>
                <a:gd name="connsiteX59" fmla="*/ 77085 w 107560"/>
                <a:gd name="connsiteY59" fmla="*/ 26442 h 103079"/>
                <a:gd name="connsiteX60" fmla="*/ 57366 w 107560"/>
                <a:gd name="connsiteY60" fmla="*/ 29579 h 103079"/>
                <a:gd name="connsiteX61" fmla="*/ 39887 w 107560"/>
                <a:gd name="connsiteY61" fmla="*/ 6723 h 103079"/>
                <a:gd name="connsiteX62" fmla="*/ 29131 w 107560"/>
                <a:gd name="connsiteY62" fmla="*/ 24649 h 103079"/>
                <a:gd name="connsiteX63" fmla="*/ 19271 w 107560"/>
                <a:gd name="connsiteY63" fmla="*/ 18823 h 103079"/>
                <a:gd name="connsiteX64" fmla="*/ 39887 w 107560"/>
                <a:gd name="connsiteY64" fmla="*/ 6723 h 103079"/>
                <a:gd name="connsiteX65" fmla="*/ 19271 w 107560"/>
                <a:gd name="connsiteY65" fmla="*/ 87841 h 103079"/>
                <a:gd name="connsiteX66" fmla="*/ 29131 w 107560"/>
                <a:gd name="connsiteY66" fmla="*/ 82015 h 103079"/>
                <a:gd name="connsiteX67" fmla="*/ 39887 w 107560"/>
                <a:gd name="connsiteY67" fmla="*/ 99942 h 103079"/>
                <a:gd name="connsiteX68" fmla="*/ 19271 w 107560"/>
                <a:gd name="connsiteY68" fmla="*/ 87841 h 103079"/>
                <a:gd name="connsiteX69" fmla="*/ 70363 w 107560"/>
                <a:gd name="connsiteY69" fmla="*/ 99942 h 103079"/>
                <a:gd name="connsiteX70" fmla="*/ 81119 w 107560"/>
                <a:gd name="connsiteY70" fmla="*/ 82015 h 103079"/>
                <a:gd name="connsiteX71" fmla="*/ 90978 w 107560"/>
                <a:gd name="connsiteY71" fmla="*/ 87841 h 103079"/>
                <a:gd name="connsiteX72" fmla="*/ 70363 w 107560"/>
                <a:gd name="connsiteY72" fmla="*/ 99942 h 103079"/>
                <a:gd name="connsiteX73" fmla="*/ 90978 w 107560"/>
                <a:gd name="connsiteY73" fmla="*/ 18823 h 103079"/>
                <a:gd name="connsiteX74" fmla="*/ 81119 w 107560"/>
                <a:gd name="connsiteY74" fmla="*/ 24649 h 103079"/>
                <a:gd name="connsiteX75" fmla="*/ 70363 w 107560"/>
                <a:gd name="connsiteY75" fmla="*/ 6723 h 103079"/>
                <a:gd name="connsiteX76" fmla="*/ 90978 w 107560"/>
                <a:gd name="connsiteY76" fmla="*/ 18823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7560" h="103079">
                  <a:moveTo>
                    <a:pt x="0" y="53332"/>
                  </a:moveTo>
                  <a:cubicBezTo>
                    <a:pt x="0" y="82463"/>
                    <a:pt x="24649" y="106665"/>
                    <a:pt x="55125" y="106665"/>
                  </a:cubicBezTo>
                  <a:cubicBezTo>
                    <a:pt x="85600" y="106665"/>
                    <a:pt x="110250" y="82912"/>
                    <a:pt x="110250" y="53332"/>
                  </a:cubicBezTo>
                  <a:cubicBezTo>
                    <a:pt x="110250" y="23753"/>
                    <a:pt x="85600" y="0"/>
                    <a:pt x="55125" y="0"/>
                  </a:cubicBezTo>
                  <a:cubicBezTo>
                    <a:pt x="24649" y="0"/>
                    <a:pt x="0" y="23753"/>
                    <a:pt x="0" y="53332"/>
                  </a:cubicBezTo>
                  <a:close/>
                  <a:moveTo>
                    <a:pt x="52884" y="4930"/>
                  </a:moveTo>
                  <a:lnTo>
                    <a:pt x="52884" y="29579"/>
                  </a:lnTo>
                  <a:cubicBezTo>
                    <a:pt x="46161" y="29579"/>
                    <a:pt x="39439" y="28235"/>
                    <a:pt x="33164" y="25994"/>
                  </a:cubicBezTo>
                  <a:cubicBezTo>
                    <a:pt x="37198" y="14341"/>
                    <a:pt x="44369" y="5826"/>
                    <a:pt x="52884" y="4930"/>
                  </a:cubicBezTo>
                  <a:close/>
                  <a:moveTo>
                    <a:pt x="52884" y="34061"/>
                  </a:moveTo>
                  <a:lnTo>
                    <a:pt x="52884" y="51091"/>
                  </a:lnTo>
                  <a:lnTo>
                    <a:pt x="28683" y="51091"/>
                  </a:lnTo>
                  <a:cubicBezTo>
                    <a:pt x="28683" y="43473"/>
                    <a:pt x="30027" y="36750"/>
                    <a:pt x="31820" y="30476"/>
                  </a:cubicBezTo>
                  <a:cubicBezTo>
                    <a:pt x="38094" y="32268"/>
                    <a:pt x="45265" y="33613"/>
                    <a:pt x="52884" y="34061"/>
                  </a:cubicBezTo>
                  <a:close/>
                  <a:moveTo>
                    <a:pt x="24201" y="51091"/>
                  </a:moveTo>
                  <a:lnTo>
                    <a:pt x="4482" y="51091"/>
                  </a:lnTo>
                  <a:cubicBezTo>
                    <a:pt x="4930" y="40335"/>
                    <a:pt x="9411" y="30027"/>
                    <a:pt x="16134" y="22409"/>
                  </a:cubicBezTo>
                  <a:cubicBezTo>
                    <a:pt x="19271" y="25098"/>
                    <a:pt x="23305" y="27338"/>
                    <a:pt x="27786" y="29131"/>
                  </a:cubicBezTo>
                  <a:cubicBezTo>
                    <a:pt x="25545" y="35405"/>
                    <a:pt x="24201" y="43024"/>
                    <a:pt x="24201" y="51091"/>
                  </a:cubicBezTo>
                  <a:close/>
                  <a:moveTo>
                    <a:pt x="24201" y="55573"/>
                  </a:moveTo>
                  <a:cubicBezTo>
                    <a:pt x="24201" y="63640"/>
                    <a:pt x="25545" y="71259"/>
                    <a:pt x="27338" y="77982"/>
                  </a:cubicBezTo>
                  <a:cubicBezTo>
                    <a:pt x="22857" y="79774"/>
                    <a:pt x="19271" y="82015"/>
                    <a:pt x="15686" y="84704"/>
                  </a:cubicBezTo>
                  <a:cubicBezTo>
                    <a:pt x="8963" y="76637"/>
                    <a:pt x="4482" y="66777"/>
                    <a:pt x="4033" y="56021"/>
                  </a:cubicBezTo>
                  <a:lnTo>
                    <a:pt x="24201" y="56021"/>
                  </a:lnTo>
                  <a:close/>
                  <a:moveTo>
                    <a:pt x="28683" y="55573"/>
                  </a:moveTo>
                  <a:lnTo>
                    <a:pt x="52884" y="55573"/>
                  </a:lnTo>
                  <a:lnTo>
                    <a:pt x="52884" y="72604"/>
                  </a:lnTo>
                  <a:cubicBezTo>
                    <a:pt x="45265" y="72604"/>
                    <a:pt x="38094" y="73948"/>
                    <a:pt x="31820" y="76189"/>
                  </a:cubicBezTo>
                  <a:cubicBezTo>
                    <a:pt x="30027" y="69915"/>
                    <a:pt x="28683" y="62744"/>
                    <a:pt x="28683" y="55573"/>
                  </a:cubicBezTo>
                  <a:close/>
                  <a:moveTo>
                    <a:pt x="52884" y="77085"/>
                  </a:moveTo>
                  <a:lnTo>
                    <a:pt x="52884" y="101735"/>
                  </a:lnTo>
                  <a:cubicBezTo>
                    <a:pt x="44817" y="100390"/>
                    <a:pt x="37646" y="92323"/>
                    <a:pt x="33164" y="80222"/>
                  </a:cubicBezTo>
                  <a:cubicBezTo>
                    <a:pt x="38991" y="78430"/>
                    <a:pt x="45713" y="77085"/>
                    <a:pt x="52884" y="77085"/>
                  </a:cubicBezTo>
                  <a:close/>
                  <a:moveTo>
                    <a:pt x="57366" y="101735"/>
                  </a:moveTo>
                  <a:lnTo>
                    <a:pt x="57366" y="77085"/>
                  </a:lnTo>
                  <a:cubicBezTo>
                    <a:pt x="64536" y="77085"/>
                    <a:pt x="70811" y="78430"/>
                    <a:pt x="77085" y="80671"/>
                  </a:cubicBezTo>
                  <a:cubicBezTo>
                    <a:pt x="72603" y="92323"/>
                    <a:pt x="65433" y="100390"/>
                    <a:pt x="57366" y="101735"/>
                  </a:cubicBezTo>
                  <a:close/>
                  <a:moveTo>
                    <a:pt x="57366" y="72604"/>
                  </a:moveTo>
                  <a:lnTo>
                    <a:pt x="57366" y="55573"/>
                  </a:lnTo>
                  <a:lnTo>
                    <a:pt x="81567" y="55573"/>
                  </a:lnTo>
                  <a:cubicBezTo>
                    <a:pt x="81567" y="63192"/>
                    <a:pt x="80222" y="69915"/>
                    <a:pt x="78430" y="76189"/>
                  </a:cubicBezTo>
                  <a:cubicBezTo>
                    <a:pt x="71707" y="73948"/>
                    <a:pt x="64536" y="72604"/>
                    <a:pt x="57366" y="72604"/>
                  </a:cubicBezTo>
                  <a:close/>
                  <a:moveTo>
                    <a:pt x="85600" y="55573"/>
                  </a:moveTo>
                  <a:lnTo>
                    <a:pt x="105320" y="55573"/>
                  </a:lnTo>
                  <a:cubicBezTo>
                    <a:pt x="104872" y="66329"/>
                    <a:pt x="100390" y="76637"/>
                    <a:pt x="93667" y="84256"/>
                  </a:cubicBezTo>
                  <a:cubicBezTo>
                    <a:pt x="90530" y="81567"/>
                    <a:pt x="86497" y="79326"/>
                    <a:pt x="82015" y="77533"/>
                  </a:cubicBezTo>
                  <a:cubicBezTo>
                    <a:pt x="84256" y="71259"/>
                    <a:pt x="85600" y="63640"/>
                    <a:pt x="85600" y="55573"/>
                  </a:cubicBezTo>
                  <a:close/>
                  <a:moveTo>
                    <a:pt x="85600" y="51091"/>
                  </a:moveTo>
                  <a:cubicBezTo>
                    <a:pt x="85600" y="43024"/>
                    <a:pt x="84256" y="35405"/>
                    <a:pt x="82463" y="28683"/>
                  </a:cubicBezTo>
                  <a:cubicBezTo>
                    <a:pt x="86945" y="26890"/>
                    <a:pt x="90530" y="24649"/>
                    <a:pt x="94116" y="21960"/>
                  </a:cubicBezTo>
                  <a:cubicBezTo>
                    <a:pt x="100838" y="30027"/>
                    <a:pt x="105320" y="39887"/>
                    <a:pt x="105768" y="50643"/>
                  </a:cubicBezTo>
                  <a:lnTo>
                    <a:pt x="85600" y="50643"/>
                  </a:lnTo>
                  <a:close/>
                  <a:moveTo>
                    <a:pt x="81119" y="51091"/>
                  </a:moveTo>
                  <a:lnTo>
                    <a:pt x="56917" y="51091"/>
                  </a:lnTo>
                  <a:lnTo>
                    <a:pt x="56917" y="34061"/>
                  </a:lnTo>
                  <a:cubicBezTo>
                    <a:pt x="64536" y="34061"/>
                    <a:pt x="71707" y="32716"/>
                    <a:pt x="77981" y="30476"/>
                  </a:cubicBezTo>
                  <a:cubicBezTo>
                    <a:pt x="80222" y="36750"/>
                    <a:pt x="81119" y="43473"/>
                    <a:pt x="81119" y="51091"/>
                  </a:cubicBezTo>
                  <a:close/>
                  <a:moveTo>
                    <a:pt x="57366" y="29579"/>
                  </a:moveTo>
                  <a:lnTo>
                    <a:pt x="57366" y="4930"/>
                  </a:lnTo>
                  <a:cubicBezTo>
                    <a:pt x="65433" y="6274"/>
                    <a:pt x="72603" y="14341"/>
                    <a:pt x="77085" y="26442"/>
                  </a:cubicBezTo>
                  <a:cubicBezTo>
                    <a:pt x="70811" y="28235"/>
                    <a:pt x="64088" y="29131"/>
                    <a:pt x="57366" y="29579"/>
                  </a:cubicBezTo>
                  <a:close/>
                  <a:moveTo>
                    <a:pt x="39887" y="6723"/>
                  </a:moveTo>
                  <a:cubicBezTo>
                    <a:pt x="35405" y="10756"/>
                    <a:pt x="31820" y="17030"/>
                    <a:pt x="29131" y="24649"/>
                  </a:cubicBezTo>
                  <a:cubicBezTo>
                    <a:pt x="25545" y="23305"/>
                    <a:pt x="22409" y="21064"/>
                    <a:pt x="19271" y="18823"/>
                  </a:cubicBezTo>
                  <a:cubicBezTo>
                    <a:pt x="24649" y="13445"/>
                    <a:pt x="31820" y="8963"/>
                    <a:pt x="39887" y="6723"/>
                  </a:cubicBezTo>
                  <a:close/>
                  <a:moveTo>
                    <a:pt x="19271" y="87841"/>
                  </a:moveTo>
                  <a:cubicBezTo>
                    <a:pt x="21960" y="85601"/>
                    <a:pt x="25545" y="83808"/>
                    <a:pt x="29131" y="82015"/>
                  </a:cubicBezTo>
                  <a:cubicBezTo>
                    <a:pt x="31820" y="89186"/>
                    <a:pt x="35405" y="95460"/>
                    <a:pt x="39887" y="99942"/>
                  </a:cubicBezTo>
                  <a:cubicBezTo>
                    <a:pt x="31820" y="97253"/>
                    <a:pt x="24649" y="93219"/>
                    <a:pt x="19271" y="87841"/>
                  </a:cubicBezTo>
                  <a:close/>
                  <a:moveTo>
                    <a:pt x="70363" y="99942"/>
                  </a:moveTo>
                  <a:cubicBezTo>
                    <a:pt x="74844" y="95908"/>
                    <a:pt x="78430" y="89634"/>
                    <a:pt x="81119" y="82015"/>
                  </a:cubicBezTo>
                  <a:cubicBezTo>
                    <a:pt x="84704" y="83360"/>
                    <a:pt x="87841" y="85601"/>
                    <a:pt x="90978" y="87841"/>
                  </a:cubicBezTo>
                  <a:cubicBezTo>
                    <a:pt x="85152" y="93219"/>
                    <a:pt x="77981" y="97253"/>
                    <a:pt x="70363" y="99942"/>
                  </a:cubicBezTo>
                  <a:close/>
                  <a:moveTo>
                    <a:pt x="90978" y="18823"/>
                  </a:moveTo>
                  <a:cubicBezTo>
                    <a:pt x="88289" y="21064"/>
                    <a:pt x="84704" y="22857"/>
                    <a:pt x="81119" y="24649"/>
                  </a:cubicBezTo>
                  <a:cubicBezTo>
                    <a:pt x="78430" y="17479"/>
                    <a:pt x="74844" y="11204"/>
                    <a:pt x="70363" y="6723"/>
                  </a:cubicBezTo>
                  <a:cubicBezTo>
                    <a:pt x="77981" y="8963"/>
                    <a:pt x="85152" y="13445"/>
                    <a:pt x="90978" y="18823"/>
                  </a:cubicBezTo>
                  <a:close/>
                </a:path>
              </a:pathLst>
            </a:custGeom>
            <a:solidFill>
              <a:srgbClr val="231F20"/>
            </a:solidFill>
            <a:ln w="4477" cap="flat">
              <a:noFill/>
              <a:prstDash val="solid"/>
              <a:miter/>
            </a:ln>
          </p:spPr>
          <p:txBody>
            <a:bodyPr rtlCol="0" anchor="ctr"/>
            <a:lstStyle/>
            <a:p>
              <a:endParaRPr lang="en-US"/>
            </a:p>
          </p:txBody>
        </p:sp>
        <p:sp>
          <p:nvSpPr>
            <p:cNvPr id="5498" name="Freeform: Shape 5497">
              <a:extLst>
                <a:ext uri="{FF2B5EF4-FFF2-40B4-BE49-F238E27FC236}">
                  <a16:creationId xmlns:a16="http://schemas.microsoft.com/office/drawing/2014/main" id="{45AB3F05-D094-4656-8157-9FE73B365EB4}"/>
                </a:ext>
              </a:extLst>
            </p:cNvPr>
            <p:cNvSpPr/>
            <p:nvPr/>
          </p:nvSpPr>
          <p:spPr>
            <a:xfrm>
              <a:off x="8846442" y="1408991"/>
              <a:ext cx="94116" cy="76189"/>
            </a:xfrm>
            <a:custGeom>
              <a:avLst/>
              <a:gdLst>
                <a:gd name="connsiteX0" fmla="*/ 3137 w 94115"/>
                <a:gd name="connsiteY0" fmla="*/ 78918 h 76188"/>
                <a:gd name="connsiteX1" fmla="*/ 3137 w 94115"/>
                <a:gd name="connsiteY1" fmla="*/ 78918 h 76188"/>
                <a:gd name="connsiteX2" fmla="*/ 5378 w 94115"/>
                <a:gd name="connsiteY2" fmla="*/ 76678 h 76188"/>
                <a:gd name="connsiteX3" fmla="*/ 33165 w 94115"/>
                <a:gd name="connsiteY3" fmla="*/ 26034 h 76188"/>
                <a:gd name="connsiteX4" fmla="*/ 87393 w 94115"/>
                <a:gd name="connsiteY4" fmla="*/ 13486 h 76188"/>
                <a:gd name="connsiteX5" fmla="*/ 80671 w 94115"/>
                <a:gd name="connsiteY5" fmla="*/ 17071 h 76188"/>
                <a:gd name="connsiteX6" fmla="*/ 79775 w 94115"/>
                <a:gd name="connsiteY6" fmla="*/ 20208 h 76188"/>
                <a:gd name="connsiteX7" fmla="*/ 81567 w 94115"/>
                <a:gd name="connsiteY7" fmla="*/ 21553 h 76188"/>
                <a:gd name="connsiteX8" fmla="*/ 82463 w 94115"/>
                <a:gd name="connsiteY8" fmla="*/ 21104 h 76188"/>
                <a:gd name="connsiteX9" fmla="*/ 94564 w 94115"/>
                <a:gd name="connsiteY9" fmla="*/ 14382 h 76188"/>
                <a:gd name="connsiteX10" fmla="*/ 94564 w 94115"/>
                <a:gd name="connsiteY10" fmla="*/ 14382 h 76188"/>
                <a:gd name="connsiteX11" fmla="*/ 95012 w 94115"/>
                <a:gd name="connsiteY11" fmla="*/ 13934 h 76188"/>
                <a:gd name="connsiteX12" fmla="*/ 95012 w 94115"/>
                <a:gd name="connsiteY12" fmla="*/ 13934 h 76188"/>
                <a:gd name="connsiteX13" fmla="*/ 95460 w 94115"/>
                <a:gd name="connsiteY13" fmla="*/ 13037 h 76188"/>
                <a:gd name="connsiteX14" fmla="*/ 95460 w 94115"/>
                <a:gd name="connsiteY14" fmla="*/ 13037 h 76188"/>
                <a:gd name="connsiteX15" fmla="*/ 95460 w 94115"/>
                <a:gd name="connsiteY15" fmla="*/ 13037 h 76188"/>
                <a:gd name="connsiteX16" fmla="*/ 95460 w 94115"/>
                <a:gd name="connsiteY16" fmla="*/ 13037 h 76188"/>
                <a:gd name="connsiteX17" fmla="*/ 95460 w 94115"/>
                <a:gd name="connsiteY17" fmla="*/ 12589 h 76188"/>
                <a:gd name="connsiteX18" fmla="*/ 95460 w 94115"/>
                <a:gd name="connsiteY18" fmla="*/ 12141 h 76188"/>
                <a:gd name="connsiteX19" fmla="*/ 95012 w 94115"/>
                <a:gd name="connsiteY19" fmla="*/ 11693 h 76188"/>
                <a:gd name="connsiteX20" fmla="*/ 95012 w 94115"/>
                <a:gd name="connsiteY20" fmla="*/ 11693 h 76188"/>
                <a:gd name="connsiteX21" fmla="*/ 87842 w 94115"/>
                <a:gd name="connsiteY21" fmla="*/ 937 h 76188"/>
                <a:gd name="connsiteX22" fmla="*/ 84704 w 94115"/>
                <a:gd name="connsiteY22" fmla="*/ 489 h 76188"/>
                <a:gd name="connsiteX23" fmla="*/ 84256 w 94115"/>
                <a:gd name="connsiteY23" fmla="*/ 3626 h 76188"/>
                <a:gd name="connsiteX24" fmla="*/ 88290 w 94115"/>
                <a:gd name="connsiteY24" fmla="*/ 9900 h 76188"/>
                <a:gd name="connsiteX25" fmla="*/ 29579 w 94115"/>
                <a:gd name="connsiteY25" fmla="*/ 23345 h 76188"/>
                <a:gd name="connsiteX26" fmla="*/ 0 w 94115"/>
                <a:gd name="connsiteY26" fmla="*/ 77574 h 76188"/>
                <a:gd name="connsiteX27" fmla="*/ 3137 w 94115"/>
                <a:gd name="connsiteY27" fmla="*/ 78918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4115" h="76188">
                  <a:moveTo>
                    <a:pt x="3137" y="78918"/>
                  </a:moveTo>
                  <a:cubicBezTo>
                    <a:pt x="3137" y="78918"/>
                    <a:pt x="3137" y="78918"/>
                    <a:pt x="3137" y="78918"/>
                  </a:cubicBezTo>
                  <a:cubicBezTo>
                    <a:pt x="4482" y="78918"/>
                    <a:pt x="5378" y="78022"/>
                    <a:pt x="5378" y="76678"/>
                  </a:cubicBezTo>
                  <a:cubicBezTo>
                    <a:pt x="6274" y="56958"/>
                    <a:pt x="16134" y="38583"/>
                    <a:pt x="33165" y="26034"/>
                  </a:cubicBezTo>
                  <a:cubicBezTo>
                    <a:pt x="48851" y="14382"/>
                    <a:pt x="68122" y="9900"/>
                    <a:pt x="87393" y="13486"/>
                  </a:cubicBezTo>
                  <a:lnTo>
                    <a:pt x="80671" y="17071"/>
                  </a:lnTo>
                  <a:cubicBezTo>
                    <a:pt x="79775" y="17519"/>
                    <a:pt x="79326" y="18864"/>
                    <a:pt x="79775" y="20208"/>
                  </a:cubicBezTo>
                  <a:cubicBezTo>
                    <a:pt x="80223" y="21104"/>
                    <a:pt x="81119" y="21553"/>
                    <a:pt x="81567" y="21553"/>
                  </a:cubicBezTo>
                  <a:cubicBezTo>
                    <a:pt x="82015" y="21553"/>
                    <a:pt x="82463" y="21553"/>
                    <a:pt x="82463" y="21104"/>
                  </a:cubicBezTo>
                  <a:lnTo>
                    <a:pt x="94564" y="14382"/>
                  </a:lnTo>
                  <a:cubicBezTo>
                    <a:pt x="94564" y="14382"/>
                    <a:pt x="94564" y="14382"/>
                    <a:pt x="94564" y="14382"/>
                  </a:cubicBezTo>
                  <a:cubicBezTo>
                    <a:pt x="95012" y="14382"/>
                    <a:pt x="95012" y="13934"/>
                    <a:pt x="95012" y="13934"/>
                  </a:cubicBezTo>
                  <a:cubicBezTo>
                    <a:pt x="95012" y="13934"/>
                    <a:pt x="95012" y="13934"/>
                    <a:pt x="95012" y="13934"/>
                  </a:cubicBezTo>
                  <a:cubicBezTo>
                    <a:pt x="95012" y="13486"/>
                    <a:pt x="95460" y="13486"/>
                    <a:pt x="95460" y="13037"/>
                  </a:cubicBezTo>
                  <a:cubicBezTo>
                    <a:pt x="95460" y="13037"/>
                    <a:pt x="95460" y="13037"/>
                    <a:pt x="95460" y="13037"/>
                  </a:cubicBezTo>
                  <a:cubicBezTo>
                    <a:pt x="95460" y="13037"/>
                    <a:pt x="95460" y="13037"/>
                    <a:pt x="95460" y="13037"/>
                  </a:cubicBezTo>
                  <a:cubicBezTo>
                    <a:pt x="95460" y="13037"/>
                    <a:pt x="95460" y="13037"/>
                    <a:pt x="95460" y="13037"/>
                  </a:cubicBezTo>
                  <a:cubicBezTo>
                    <a:pt x="95460" y="12589"/>
                    <a:pt x="95460" y="12589"/>
                    <a:pt x="95460" y="12589"/>
                  </a:cubicBezTo>
                  <a:cubicBezTo>
                    <a:pt x="95460" y="12589"/>
                    <a:pt x="95460" y="12589"/>
                    <a:pt x="95460" y="12141"/>
                  </a:cubicBezTo>
                  <a:cubicBezTo>
                    <a:pt x="95460" y="12141"/>
                    <a:pt x="95460" y="11693"/>
                    <a:pt x="95012" y="11693"/>
                  </a:cubicBezTo>
                  <a:cubicBezTo>
                    <a:pt x="95012" y="11693"/>
                    <a:pt x="95012" y="11693"/>
                    <a:pt x="95012" y="11693"/>
                  </a:cubicBezTo>
                  <a:lnTo>
                    <a:pt x="87842" y="937"/>
                  </a:lnTo>
                  <a:cubicBezTo>
                    <a:pt x="86945" y="40"/>
                    <a:pt x="85601" y="-408"/>
                    <a:pt x="84704" y="489"/>
                  </a:cubicBezTo>
                  <a:cubicBezTo>
                    <a:pt x="83808" y="1385"/>
                    <a:pt x="83360" y="2729"/>
                    <a:pt x="84256" y="3626"/>
                  </a:cubicBezTo>
                  <a:lnTo>
                    <a:pt x="88290" y="9900"/>
                  </a:lnTo>
                  <a:cubicBezTo>
                    <a:pt x="67674" y="5867"/>
                    <a:pt x="46610" y="10797"/>
                    <a:pt x="29579" y="23345"/>
                  </a:cubicBezTo>
                  <a:cubicBezTo>
                    <a:pt x="11653" y="36342"/>
                    <a:pt x="896" y="56062"/>
                    <a:pt x="0" y="77574"/>
                  </a:cubicBezTo>
                  <a:cubicBezTo>
                    <a:pt x="896" y="77574"/>
                    <a:pt x="1793" y="78918"/>
                    <a:pt x="3137" y="78918"/>
                  </a:cubicBezTo>
                  <a:close/>
                </a:path>
              </a:pathLst>
            </a:custGeom>
            <a:solidFill>
              <a:srgbClr val="231F20"/>
            </a:solidFill>
            <a:ln w="4477" cap="flat">
              <a:noFill/>
              <a:prstDash val="solid"/>
              <a:miter/>
            </a:ln>
          </p:spPr>
          <p:txBody>
            <a:bodyPr rtlCol="0" anchor="ctr"/>
            <a:lstStyle/>
            <a:p>
              <a:endParaRPr lang="en-US"/>
            </a:p>
          </p:txBody>
        </p:sp>
        <p:sp>
          <p:nvSpPr>
            <p:cNvPr id="5499" name="Freeform: Shape 5498">
              <a:extLst>
                <a:ext uri="{FF2B5EF4-FFF2-40B4-BE49-F238E27FC236}">
                  <a16:creationId xmlns:a16="http://schemas.microsoft.com/office/drawing/2014/main" id="{D59F73CF-BDF6-498B-B578-F031335A928B}"/>
                </a:ext>
              </a:extLst>
            </p:cNvPr>
            <p:cNvSpPr/>
            <p:nvPr/>
          </p:nvSpPr>
          <p:spPr>
            <a:xfrm>
              <a:off x="8843577" y="1504492"/>
              <a:ext cx="116524" cy="53780"/>
            </a:xfrm>
            <a:custGeom>
              <a:avLst/>
              <a:gdLst>
                <a:gd name="connsiteX0" fmla="*/ 114907 w 116524"/>
                <a:gd name="connsiteY0" fmla="*/ 41680 h 53780"/>
                <a:gd name="connsiteX1" fmla="*/ 51267 w 116524"/>
                <a:gd name="connsiteY1" fmla="*/ 46610 h 53780"/>
                <a:gd name="connsiteX2" fmla="*/ 12276 w 116524"/>
                <a:gd name="connsiteY2" fmla="*/ 7171 h 53780"/>
                <a:gd name="connsiteX3" fmla="*/ 18999 w 116524"/>
                <a:gd name="connsiteY3" fmla="*/ 11204 h 53780"/>
                <a:gd name="connsiteX4" fmla="*/ 22136 w 116524"/>
                <a:gd name="connsiteY4" fmla="*/ 10308 h 53780"/>
                <a:gd name="connsiteX5" fmla="*/ 21240 w 116524"/>
                <a:gd name="connsiteY5" fmla="*/ 7171 h 53780"/>
                <a:gd name="connsiteX6" fmla="*/ 9587 w 116524"/>
                <a:gd name="connsiteY6" fmla="*/ 0 h 53780"/>
                <a:gd name="connsiteX7" fmla="*/ 9587 w 116524"/>
                <a:gd name="connsiteY7" fmla="*/ 0 h 53780"/>
                <a:gd name="connsiteX8" fmla="*/ 9139 w 116524"/>
                <a:gd name="connsiteY8" fmla="*/ 0 h 53780"/>
                <a:gd name="connsiteX9" fmla="*/ 8691 w 116524"/>
                <a:gd name="connsiteY9" fmla="*/ 0 h 53780"/>
                <a:gd name="connsiteX10" fmla="*/ 8243 w 116524"/>
                <a:gd name="connsiteY10" fmla="*/ 0 h 53780"/>
                <a:gd name="connsiteX11" fmla="*/ 7795 w 116524"/>
                <a:gd name="connsiteY11" fmla="*/ 0 h 53780"/>
                <a:gd name="connsiteX12" fmla="*/ 7795 w 116524"/>
                <a:gd name="connsiteY12" fmla="*/ 0 h 53780"/>
                <a:gd name="connsiteX13" fmla="*/ 7795 w 116524"/>
                <a:gd name="connsiteY13" fmla="*/ 0 h 53780"/>
                <a:gd name="connsiteX14" fmla="*/ 7346 w 116524"/>
                <a:gd name="connsiteY14" fmla="*/ 0 h 53780"/>
                <a:gd name="connsiteX15" fmla="*/ 6898 w 116524"/>
                <a:gd name="connsiteY15" fmla="*/ 0 h 53780"/>
                <a:gd name="connsiteX16" fmla="*/ 6450 w 116524"/>
                <a:gd name="connsiteY16" fmla="*/ 448 h 53780"/>
                <a:gd name="connsiteX17" fmla="*/ 6450 w 116524"/>
                <a:gd name="connsiteY17" fmla="*/ 448 h 53780"/>
                <a:gd name="connsiteX18" fmla="*/ 176 w 116524"/>
                <a:gd name="connsiteY18" fmla="*/ 11652 h 53780"/>
                <a:gd name="connsiteX19" fmla="*/ 1072 w 116524"/>
                <a:gd name="connsiteY19" fmla="*/ 14790 h 53780"/>
                <a:gd name="connsiteX20" fmla="*/ 1969 w 116524"/>
                <a:gd name="connsiteY20" fmla="*/ 15238 h 53780"/>
                <a:gd name="connsiteX21" fmla="*/ 3761 w 116524"/>
                <a:gd name="connsiteY21" fmla="*/ 13893 h 53780"/>
                <a:gd name="connsiteX22" fmla="*/ 7346 w 116524"/>
                <a:gd name="connsiteY22" fmla="*/ 7171 h 53780"/>
                <a:gd name="connsiteX23" fmla="*/ 49026 w 116524"/>
                <a:gd name="connsiteY23" fmla="*/ 50195 h 53780"/>
                <a:gd name="connsiteX24" fmla="*/ 77261 w 116524"/>
                <a:gd name="connsiteY24" fmla="*/ 55573 h 53780"/>
                <a:gd name="connsiteX25" fmla="*/ 116252 w 116524"/>
                <a:gd name="connsiteY25" fmla="*/ 44817 h 53780"/>
                <a:gd name="connsiteX26" fmla="*/ 117148 w 116524"/>
                <a:gd name="connsiteY26" fmla="*/ 41680 h 53780"/>
                <a:gd name="connsiteX27" fmla="*/ 114907 w 116524"/>
                <a:gd name="connsiteY27" fmla="*/ 41680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524" h="53780">
                  <a:moveTo>
                    <a:pt x="114907" y="41680"/>
                  </a:moveTo>
                  <a:cubicBezTo>
                    <a:pt x="96084" y="53332"/>
                    <a:pt x="72331" y="55125"/>
                    <a:pt x="51267" y="46610"/>
                  </a:cubicBezTo>
                  <a:cubicBezTo>
                    <a:pt x="32892" y="39439"/>
                    <a:pt x="18999" y="25098"/>
                    <a:pt x="12276" y="7171"/>
                  </a:cubicBezTo>
                  <a:lnTo>
                    <a:pt x="18999" y="11204"/>
                  </a:lnTo>
                  <a:cubicBezTo>
                    <a:pt x="19895" y="11652"/>
                    <a:pt x="21240" y="11652"/>
                    <a:pt x="22136" y="10308"/>
                  </a:cubicBezTo>
                  <a:cubicBezTo>
                    <a:pt x="23032" y="8963"/>
                    <a:pt x="22584" y="8067"/>
                    <a:pt x="21240" y="7171"/>
                  </a:cubicBezTo>
                  <a:lnTo>
                    <a:pt x="9587" y="0"/>
                  </a:lnTo>
                  <a:cubicBezTo>
                    <a:pt x="9587" y="0"/>
                    <a:pt x="9587" y="0"/>
                    <a:pt x="9587" y="0"/>
                  </a:cubicBezTo>
                  <a:cubicBezTo>
                    <a:pt x="9587" y="0"/>
                    <a:pt x="9139" y="0"/>
                    <a:pt x="9139" y="0"/>
                  </a:cubicBezTo>
                  <a:cubicBezTo>
                    <a:pt x="9139" y="0"/>
                    <a:pt x="9139" y="0"/>
                    <a:pt x="8691" y="0"/>
                  </a:cubicBezTo>
                  <a:cubicBezTo>
                    <a:pt x="8691" y="0"/>
                    <a:pt x="8243" y="0"/>
                    <a:pt x="8243" y="0"/>
                  </a:cubicBezTo>
                  <a:cubicBezTo>
                    <a:pt x="8243" y="0"/>
                    <a:pt x="7795" y="0"/>
                    <a:pt x="7795" y="0"/>
                  </a:cubicBezTo>
                  <a:cubicBezTo>
                    <a:pt x="7795" y="0"/>
                    <a:pt x="7795" y="0"/>
                    <a:pt x="7795" y="0"/>
                  </a:cubicBezTo>
                  <a:cubicBezTo>
                    <a:pt x="7795" y="0"/>
                    <a:pt x="7795" y="0"/>
                    <a:pt x="7795" y="0"/>
                  </a:cubicBezTo>
                  <a:cubicBezTo>
                    <a:pt x="7795" y="0"/>
                    <a:pt x="7346" y="0"/>
                    <a:pt x="7346" y="0"/>
                  </a:cubicBezTo>
                  <a:cubicBezTo>
                    <a:pt x="7346" y="0"/>
                    <a:pt x="6898" y="0"/>
                    <a:pt x="6898" y="0"/>
                  </a:cubicBezTo>
                  <a:cubicBezTo>
                    <a:pt x="6450" y="0"/>
                    <a:pt x="6450" y="448"/>
                    <a:pt x="6450" y="448"/>
                  </a:cubicBezTo>
                  <a:cubicBezTo>
                    <a:pt x="6450" y="448"/>
                    <a:pt x="6450" y="448"/>
                    <a:pt x="6450" y="448"/>
                  </a:cubicBezTo>
                  <a:lnTo>
                    <a:pt x="176" y="11652"/>
                  </a:lnTo>
                  <a:cubicBezTo>
                    <a:pt x="-272" y="12549"/>
                    <a:pt x="176" y="13893"/>
                    <a:pt x="1072" y="14790"/>
                  </a:cubicBezTo>
                  <a:cubicBezTo>
                    <a:pt x="1520" y="14790"/>
                    <a:pt x="1969" y="15238"/>
                    <a:pt x="1969" y="15238"/>
                  </a:cubicBezTo>
                  <a:cubicBezTo>
                    <a:pt x="2865" y="15238"/>
                    <a:pt x="3313" y="14790"/>
                    <a:pt x="3761" y="13893"/>
                  </a:cubicBezTo>
                  <a:lnTo>
                    <a:pt x="7346" y="7171"/>
                  </a:lnTo>
                  <a:cubicBezTo>
                    <a:pt x="14517" y="26890"/>
                    <a:pt x="29307" y="42576"/>
                    <a:pt x="49026" y="50195"/>
                  </a:cubicBezTo>
                  <a:cubicBezTo>
                    <a:pt x="57990" y="53780"/>
                    <a:pt x="67849" y="55573"/>
                    <a:pt x="77261" y="55573"/>
                  </a:cubicBezTo>
                  <a:cubicBezTo>
                    <a:pt x="91154" y="55573"/>
                    <a:pt x="104599" y="51988"/>
                    <a:pt x="116252" y="44817"/>
                  </a:cubicBezTo>
                  <a:cubicBezTo>
                    <a:pt x="117148" y="44369"/>
                    <a:pt x="117596" y="42576"/>
                    <a:pt x="117148" y="41680"/>
                  </a:cubicBezTo>
                  <a:cubicBezTo>
                    <a:pt x="117596" y="41680"/>
                    <a:pt x="116252" y="41232"/>
                    <a:pt x="114907" y="41680"/>
                  </a:cubicBezTo>
                  <a:close/>
                </a:path>
              </a:pathLst>
            </a:custGeom>
            <a:solidFill>
              <a:srgbClr val="231F20"/>
            </a:solidFill>
            <a:ln w="4477" cap="flat">
              <a:noFill/>
              <a:prstDash val="solid"/>
              <a:miter/>
            </a:ln>
          </p:spPr>
          <p:txBody>
            <a:bodyPr rtlCol="0" anchor="ctr"/>
            <a:lstStyle/>
            <a:p>
              <a:endParaRPr lang="en-US"/>
            </a:p>
          </p:txBody>
        </p:sp>
        <p:sp>
          <p:nvSpPr>
            <p:cNvPr id="5500" name="Freeform: Shape 5499">
              <a:extLst>
                <a:ext uri="{FF2B5EF4-FFF2-40B4-BE49-F238E27FC236}">
                  <a16:creationId xmlns:a16="http://schemas.microsoft.com/office/drawing/2014/main" id="{DBE9968B-7AE6-4598-BFBB-C4D8C6F1B168}"/>
                </a:ext>
              </a:extLst>
            </p:cNvPr>
            <p:cNvSpPr/>
            <p:nvPr/>
          </p:nvSpPr>
          <p:spPr>
            <a:xfrm>
              <a:off x="8957320" y="1427586"/>
              <a:ext cx="35854" cy="112043"/>
            </a:xfrm>
            <a:custGeom>
              <a:avLst/>
              <a:gdLst>
                <a:gd name="connsiteX0" fmla="*/ 28054 w 35853"/>
                <a:gd name="connsiteY0" fmla="*/ 108277 h 112042"/>
                <a:gd name="connsiteX1" fmla="*/ 20436 w 35853"/>
                <a:gd name="connsiteY1" fmla="*/ 108277 h 112042"/>
                <a:gd name="connsiteX2" fmla="*/ 37914 w 35853"/>
                <a:gd name="connsiteY2" fmla="*/ 53600 h 112042"/>
                <a:gd name="connsiteX3" fmla="*/ 3405 w 35853"/>
                <a:gd name="connsiteY3" fmla="*/ 268 h 112042"/>
                <a:gd name="connsiteX4" fmla="*/ 268 w 35853"/>
                <a:gd name="connsiteY4" fmla="*/ 1164 h 112042"/>
                <a:gd name="connsiteX5" fmla="*/ 1164 w 35853"/>
                <a:gd name="connsiteY5" fmla="*/ 4302 h 112042"/>
                <a:gd name="connsiteX6" fmla="*/ 33433 w 35853"/>
                <a:gd name="connsiteY6" fmla="*/ 54497 h 112042"/>
                <a:gd name="connsiteX7" fmla="*/ 17299 w 35853"/>
                <a:gd name="connsiteY7" fmla="*/ 105140 h 112042"/>
                <a:gd name="connsiteX8" fmla="*/ 17299 w 35853"/>
                <a:gd name="connsiteY8" fmla="*/ 97521 h 112042"/>
                <a:gd name="connsiteX9" fmla="*/ 15058 w 35853"/>
                <a:gd name="connsiteY9" fmla="*/ 95280 h 112042"/>
                <a:gd name="connsiteX10" fmla="*/ 12817 w 35853"/>
                <a:gd name="connsiteY10" fmla="*/ 97521 h 112042"/>
                <a:gd name="connsiteX11" fmla="*/ 12369 w 35853"/>
                <a:gd name="connsiteY11" fmla="*/ 110966 h 112042"/>
                <a:gd name="connsiteX12" fmla="*/ 12369 w 35853"/>
                <a:gd name="connsiteY12" fmla="*/ 110966 h 112042"/>
                <a:gd name="connsiteX13" fmla="*/ 12369 w 35853"/>
                <a:gd name="connsiteY13" fmla="*/ 111862 h 112042"/>
                <a:gd name="connsiteX14" fmla="*/ 12369 w 35853"/>
                <a:gd name="connsiteY14" fmla="*/ 112311 h 112042"/>
                <a:gd name="connsiteX15" fmla="*/ 12817 w 35853"/>
                <a:gd name="connsiteY15" fmla="*/ 112759 h 112042"/>
                <a:gd name="connsiteX16" fmla="*/ 12817 w 35853"/>
                <a:gd name="connsiteY16" fmla="*/ 112759 h 112042"/>
                <a:gd name="connsiteX17" fmla="*/ 12817 w 35853"/>
                <a:gd name="connsiteY17" fmla="*/ 112759 h 112042"/>
                <a:gd name="connsiteX18" fmla="*/ 13265 w 35853"/>
                <a:gd name="connsiteY18" fmla="*/ 113207 h 112042"/>
                <a:gd name="connsiteX19" fmla="*/ 14161 w 35853"/>
                <a:gd name="connsiteY19" fmla="*/ 113655 h 112042"/>
                <a:gd name="connsiteX20" fmla="*/ 14161 w 35853"/>
                <a:gd name="connsiteY20" fmla="*/ 113655 h 112042"/>
                <a:gd name="connsiteX21" fmla="*/ 27158 w 35853"/>
                <a:gd name="connsiteY21" fmla="*/ 113207 h 112042"/>
                <a:gd name="connsiteX22" fmla="*/ 29399 w 35853"/>
                <a:gd name="connsiteY22" fmla="*/ 110966 h 112042"/>
                <a:gd name="connsiteX23" fmla="*/ 28054 w 35853"/>
                <a:gd name="connsiteY23" fmla="*/ 108277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853" h="112042">
                  <a:moveTo>
                    <a:pt x="28054" y="108277"/>
                  </a:moveTo>
                  <a:lnTo>
                    <a:pt x="20436" y="108277"/>
                  </a:lnTo>
                  <a:cubicBezTo>
                    <a:pt x="33881" y="93039"/>
                    <a:pt x="40603" y="73320"/>
                    <a:pt x="37914" y="53600"/>
                  </a:cubicBezTo>
                  <a:cubicBezTo>
                    <a:pt x="35225" y="31640"/>
                    <a:pt x="22228" y="11472"/>
                    <a:pt x="3405" y="268"/>
                  </a:cubicBezTo>
                  <a:cubicBezTo>
                    <a:pt x="2509" y="-180"/>
                    <a:pt x="1164" y="-180"/>
                    <a:pt x="268" y="1164"/>
                  </a:cubicBezTo>
                  <a:cubicBezTo>
                    <a:pt x="-180" y="2061"/>
                    <a:pt x="-180" y="3405"/>
                    <a:pt x="1164" y="4302"/>
                  </a:cubicBezTo>
                  <a:cubicBezTo>
                    <a:pt x="19091" y="15058"/>
                    <a:pt x="31192" y="33881"/>
                    <a:pt x="33433" y="54497"/>
                  </a:cubicBezTo>
                  <a:cubicBezTo>
                    <a:pt x="35673" y="72872"/>
                    <a:pt x="29847" y="91247"/>
                    <a:pt x="17299" y="105140"/>
                  </a:cubicBezTo>
                  <a:lnTo>
                    <a:pt x="17299" y="97521"/>
                  </a:lnTo>
                  <a:cubicBezTo>
                    <a:pt x="17299" y="96176"/>
                    <a:pt x="16402" y="95280"/>
                    <a:pt x="15058" y="95280"/>
                  </a:cubicBezTo>
                  <a:cubicBezTo>
                    <a:pt x="13713" y="95280"/>
                    <a:pt x="12817" y="96176"/>
                    <a:pt x="12817" y="97521"/>
                  </a:cubicBezTo>
                  <a:lnTo>
                    <a:pt x="12369" y="110966"/>
                  </a:lnTo>
                  <a:cubicBezTo>
                    <a:pt x="12369" y="110966"/>
                    <a:pt x="12369" y="110966"/>
                    <a:pt x="12369" y="110966"/>
                  </a:cubicBezTo>
                  <a:cubicBezTo>
                    <a:pt x="12369" y="111414"/>
                    <a:pt x="12369" y="111414"/>
                    <a:pt x="12369" y="111862"/>
                  </a:cubicBezTo>
                  <a:cubicBezTo>
                    <a:pt x="12369" y="111862"/>
                    <a:pt x="12369" y="111862"/>
                    <a:pt x="12369" y="112311"/>
                  </a:cubicBezTo>
                  <a:cubicBezTo>
                    <a:pt x="12369" y="112311"/>
                    <a:pt x="12369" y="112759"/>
                    <a:pt x="12817" y="112759"/>
                  </a:cubicBezTo>
                  <a:cubicBezTo>
                    <a:pt x="12817" y="112759"/>
                    <a:pt x="12817" y="112759"/>
                    <a:pt x="12817" y="112759"/>
                  </a:cubicBezTo>
                  <a:cubicBezTo>
                    <a:pt x="12817" y="112759"/>
                    <a:pt x="12817" y="112759"/>
                    <a:pt x="12817" y="112759"/>
                  </a:cubicBezTo>
                  <a:cubicBezTo>
                    <a:pt x="12817" y="112759"/>
                    <a:pt x="13265" y="113207"/>
                    <a:pt x="13265" y="113207"/>
                  </a:cubicBezTo>
                  <a:cubicBezTo>
                    <a:pt x="13713" y="113207"/>
                    <a:pt x="13713" y="113655"/>
                    <a:pt x="14161" y="113655"/>
                  </a:cubicBezTo>
                  <a:cubicBezTo>
                    <a:pt x="14161" y="113655"/>
                    <a:pt x="14161" y="113655"/>
                    <a:pt x="14161" y="113655"/>
                  </a:cubicBezTo>
                  <a:lnTo>
                    <a:pt x="27158" y="113207"/>
                  </a:lnTo>
                  <a:cubicBezTo>
                    <a:pt x="28503" y="113207"/>
                    <a:pt x="29399" y="112311"/>
                    <a:pt x="29399" y="110966"/>
                  </a:cubicBezTo>
                  <a:cubicBezTo>
                    <a:pt x="30295" y="109173"/>
                    <a:pt x="29399" y="107829"/>
                    <a:pt x="28054" y="108277"/>
                  </a:cubicBezTo>
                  <a:close/>
                </a:path>
              </a:pathLst>
            </a:custGeom>
            <a:solidFill>
              <a:srgbClr val="231F20"/>
            </a:solidFill>
            <a:ln w="4477" cap="flat">
              <a:noFill/>
              <a:prstDash val="solid"/>
              <a:miter/>
            </a:ln>
          </p:spPr>
          <p:txBody>
            <a:bodyPr rtlCol="0" anchor="ctr"/>
            <a:lstStyle/>
            <a:p>
              <a:endParaRPr lang="en-US"/>
            </a:p>
          </p:txBody>
        </p:sp>
      </p:grpSp>
      <p:grpSp>
        <p:nvGrpSpPr>
          <p:cNvPr id="2442" name="Group 2441">
            <a:extLst>
              <a:ext uri="{FF2B5EF4-FFF2-40B4-BE49-F238E27FC236}">
                <a16:creationId xmlns:a16="http://schemas.microsoft.com/office/drawing/2014/main" id="{EC7B0517-4384-4AA9-9D06-A0556371A0CE}"/>
              </a:ext>
              <a:ext uri="{C183D7F6-B498-43B3-948B-1728B52AA6E4}">
                <adec:decorative xmlns:adec="http://schemas.microsoft.com/office/drawing/2017/decorative" val="1"/>
              </a:ext>
            </a:extLst>
          </p:cNvPr>
          <p:cNvGrpSpPr>
            <a:grpSpLocks noChangeAspect="1"/>
          </p:cNvGrpSpPr>
          <p:nvPr/>
        </p:nvGrpSpPr>
        <p:grpSpPr>
          <a:xfrm>
            <a:off x="9032334" y="3453385"/>
            <a:ext cx="121006" cy="147896"/>
            <a:chOff x="9126324" y="1418219"/>
            <a:chExt cx="121006" cy="147896"/>
          </a:xfrm>
        </p:grpSpPr>
        <p:sp>
          <p:nvSpPr>
            <p:cNvPr id="5495" name="Freeform: Shape 5494">
              <a:extLst>
                <a:ext uri="{FF2B5EF4-FFF2-40B4-BE49-F238E27FC236}">
                  <a16:creationId xmlns:a16="http://schemas.microsoft.com/office/drawing/2014/main" id="{30FD67BF-31C9-4F14-9C9A-974BF035872C}"/>
                </a:ext>
              </a:extLst>
            </p:cNvPr>
            <p:cNvSpPr/>
            <p:nvPr/>
          </p:nvSpPr>
          <p:spPr>
            <a:xfrm>
              <a:off x="9133607" y="1425614"/>
              <a:ext cx="98597" cy="103079"/>
            </a:xfrm>
            <a:custGeom>
              <a:avLst/>
              <a:gdLst>
                <a:gd name="connsiteX0" fmla="*/ 49411 w 98597"/>
                <a:gd name="connsiteY0" fmla="*/ 103079 h 103079"/>
                <a:gd name="connsiteX1" fmla="*/ 84368 w 98597"/>
                <a:gd name="connsiteY1" fmla="*/ 87841 h 103079"/>
                <a:gd name="connsiteX2" fmla="*/ 84368 w 98597"/>
                <a:gd name="connsiteY2" fmla="*/ 15238 h 103079"/>
                <a:gd name="connsiteX3" fmla="*/ 49411 w 98597"/>
                <a:gd name="connsiteY3" fmla="*/ 0 h 103079"/>
                <a:gd name="connsiteX4" fmla="*/ 14454 w 98597"/>
                <a:gd name="connsiteY4" fmla="*/ 15238 h 103079"/>
                <a:gd name="connsiteX5" fmla="*/ 14454 w 98597"/>
                <a:gd name="connsiteY5" fmla="*/ 87841 h 103079"/>
                <a:gd name="connsiteX6" fmla="*/ 49411 w 98597"/>
                <a:gd name="connsiteY6" fmla="*/ 103079 h 103079"/>
                <a:gd name="connsiteX7" fmla="*/ 35517 w 98597"/>
                <a:gd name="connsiteY7" fmla="*/ 69466 h 103079"/>
                <a:gd name="connsiteX8" fmla="*/ 45377 w 98597"/>
                <a:gd name="connsiteY8" fmla="*/ 84256 h 103079"/>
                <a:gd name="connsiteX9" fmla="*/ 28795 w 98597"/>
                <a:gd name="connsiteY9" fmla="*/ 88738 h 103079"/>
                <a:gd name="connsiteX10" fmla="*/ 19383 w 98597"/>
                <a:gd name="connsiteY10" fmla="*/ 86049 h 103079"/>
                <a:gd name="connsiteX11" fmla="*/ 35517 w 98597"/>
                <a:gd name="connsiteY11" fmla="*/ 69466 h 103079"/>
                <a:gd name="connsiteX12" fmla="*/ 38207 w 98597"/>
                <a:gd name="connsiteY12" fmla="*/ 66329 h 103079"/>
                <a:gd name="connsiteX13" fmla="*/ 49411 w 98597"/>
                <a:gd name="connsiteY13" fmla="*/ 54677 h 103079"/>
                <a:gd name="connsiteX14" fmla="*/ 64200 w 98597"/>
                <a:gd name="connsiteY14" fmla="*/ 70363 h 103079"/>
                <a:gd name="connsiteX15" fmla="*/ 48963 w 98597"/>
                <a:gd name="connsiteY15" fmla="*/ 82015 h 103079"/>
                <a:gd name="connsiteX16" fmla="*/ 38207 w 98597"/>
                <a:gd name="connsiteY16" fmla="*/ 66329 h 103079"/>
                <a:gd name="connsiteX17" fmla="*/ 46722 w 98597"/>
                <a:gd name="connsiteY17" fmla="*/ 88290 h 103079"/>
                <a:gd name="connsiteX18" fmla="*/ 48963 w 98597"/>
                <a:gd name="connsiteY18" fmla="*/ 98149 h 103079"/>
                <a:gd name="connsiteX19" fmla="*/ 28347 w 98597"/>
                <a:gd name="connsiteY19" fmla="*/ 93219 h 103079"/>
                <a:gd name="connsiteX20" fmla="*/ 46722 w 98597"/>
                <a:gd name="connsiteY20" fmla="*/ 88290 h 103079"/>
                <a:gd name="connsiteX21" fmla="*/ 50755 w 98597"/>
                <a:gd name="connsiteY21" fmla="*/ 86497 h 103079"/>
                <a:gd name="connsiteX22" fmla="*/ 67338 w 98597"/>
                <a:gd name="connsiteY22" fmla="*/ 73948 h 103079"/>
                <a:gd name="connsiteX23" fmla="*/ 79438 w 98597"/>
                <a:gd name="connsiteY23" fmla="*/ 86497 h 103079"/>
                <a:gd name="connsiteX24" fmla="*/ 53444 w 98597"/>
                <a:gd name="connsiteY24" fmla="*/ 98597 h 103079"/>
                <a:gd name="connsiteX25" fmla="*/ 50755 w 98597"/>
                <a:gd name="connsiteY25" fmla="*/ 86497 h 103079"/>
                <a:gd name="connsiteX26" fmla="*/ 70475 w 98597"/>
                <a:gd name="connsiteY26" fmla="*/ 70363 h 103079"/>
                <a:gd name="connsiteX27" fmla="*/ 83024 w 98597"/>
                <a:gd name="connsiteY27" fmla="*/ 53332 h 103079"/>
                <a:gd name="connsiteX28" fmla="*/ 94228 w 98597"/>
                <a:gd name="connsiteY28" fmla="*/ 56469 h 103079"/>
                <a:gd name="connsiteX29" fmla="*/ 82575 w 98597"/>
                <a:gd name="connsiteY29" fmla="*/ 83360 h 103079"/>
                <a:gd name="connsiteX30" fmla="*/ 70475 w 98597"/>
                <a:gd name="connsiteY30" fmla="*/ 70363 h 103079"/>
                <a:gd name="connsiteX31" fmla="*/ 67338 w 98597"/>
                <a:gd name="connsiteY31" fmla="*/ 67226 h 103079"/>
                <a:gd name="connsiteX32" fmla="*/ 52548 w 98597"/>
                <a:gd name="connsiteY32" fmla="*/ 51540 h 103079"/>
                <a:gd name="connsiteX33" fmla="*/ 63752 w 98597"/>
                <a:gd name="connsiteY33" fmla="*/ 39887 h 103079"/>
                <a:gd name="connsiteX34" fmla="*/ 78990 w 98597"/>
                <a:gd name="connsiteY34" fmla="*/ 51091 h 103079"/>
                <a:gd name="connsiteX35" fmla="*/ 67338 w 98597"/>
                <a:gd name="connsiteY35" fmla="*/ 67226 h 103079"/>
                <a:gd name="connsiteX36" fmla="*/ 63752 w 98597"/>
                <a:gd name="connsiteY36" fmla="*/ 33613 h 103079"/>
                <a:gd name="connsiteX37" fmla="*/ 53893 w 98597"/>
                <a:gd name="connsiteY37" fmla="*/ 18823 h 103079"/>
                <a:gd name="connsiteX38" fmla="*/ 70475 w 98597"/>
                <a:gd name="connsiteY38" fmla="*/ 14341 h 103079"/>
                <a:gd name="connsiteX39" fmla="*/ 79886 w 98597"/>
                <a:gd name="connsiteY39" fmla="*/ 17030 h 103079"/>
                <a:gd name="connsiteX40" fmla="*/ 63752 w 98597"/>
                <a:gd name="connsiteY40" fmla="*/ 33613 h 103079"/>
                <a:gd name="connsiteX41" fmla="*/ 60615 w 98597"/>
                <a:gd name="connsiteY41" fmla="*/ 36750 h 103079"/>
                <a:gd name="connsiteX42" fmla="*/ 49411 w 98597"/>
                <a:gd name="connsiteY42" fmla="*/ 48402 h 103079"/>
                <a:gd name="connsiteX43" fmla="*/ 34621 w 98597"/>
                <a:gd name="connsiteY43" fmla="*/ 32716 h 103079"/>
                <a:gd name="connsiteX44" fmla="*/ 49859 w 98597"/>
                <a:gd name="connsiteY44" fmla="*/ 21064 h 103079"/>
                <a:gd name="connsiteX45" fmla="*/ 60615 w 98597"/>
                <a:gd name="connsiteY45" fmla="*/ 36750 h 103079"/>
                <a:gd name="connsiteX46" fmla="*/ 66889 w 98597"/>
                <a:gd name="connsiteY46" fmla="*/ 36750 h 103079"/>
                <a:gd name="connsiteX47" fmla="*/ 83024 w 98597"/>
                <a:gd name="connsiteY47" fmla="*/ 20168 h 103079"/>
                <a:gd name="connsiteX48" fmla="*/ 81231 w 98597"/>
                <a:gd name="connsiteY48" fmla="*/ 47058 h 103079"/>
                <a:gd name="connsiteX49" fmla="*/ 66889 w 98597"/>
                <a:gd name="connsiteY49" fmla="*/ 36750 h 103079"/>
                <a:gd name="connsiteX50" fmla="*/ 52100 w 98597"/>
                <a:gd name="connsiteY50" fmla="*/ 14790 h 103079"/>
                <a:gd name="connsiteX51" fmla="*/ 49859 w 98597"/>
                <a:gd name="connsiteY51" fmla="*/ 4930 h 103079"/>
                <a:gd name="connsiteX52" fmla="*/ 70027 w 98597"/>
                <a:gd name="connsiteY52" fmla="*/ 9860 h 103079"/>
                <a:gd name="connsiteX53" fmla="*/ 52100 w 98597"/>
                <a:gd name="connsiteY53" fmla="*/ 14790 h 103079"/>
                <a:gd name="connsiteX54" fmla="*/ 48066 w 98597"/>
                <a:gd name="connsiteY54" fmla="*/ 17030 h 103079"/>
                <a:gd name="connsiteX55" fmla="*/ 31484 w 98597"/>
                <a:gd name="connsiteY55" fmla="*/ 29579 h 103079"/>
                <a:gd name="connsiteX56" fmla="*/ 19383 w 98597"/>
                <a:gd name="connsiteY56" fmla="*/ 17030 h 103079"/>
                <a:gd name="connsiteX57" fmla="*/ 45377 w 98597"/>
                <a:gd name="connsiteY57" fmla="*/ 4930 h 103079"/>
                <a:gd name="connsiteX58" fmla="*/ 48066 w 98597"/>
                <a:gd name="connsiteY58" fmla="*/ 17030 h 103079"/>
                <a:gd name="connsiteX59" fmla="*/ 28347 w 98597"/>
                <a:gd name="connsiteY59" fmla="*/ 32716 h 103079"/>
                <a:gd name="connsiteX60" fmla="*/ 15798 w 98597"/>
                <a:gd name="connsiteY60" fmla="*/ 49747 h 103079"/>
                <a:gd name="connsiteX61" fmla="*/ 4594 w 98597"/>
                <a:gd name="connsiteY61" fmla="*/ 46610 h 103079"/>
                <a:gd name="connsiteX62" fmla="*/ 16246 w 98597"/>
                <a:gd name="connsiteY62" fmla="*/ 19720 h 103079"/>
                <a:gd name="connsiteX63" fmla="*/ 28347 w 98597"/>
                <a:gd name="connsiteY63" fmla="*/ 32716 h 103079"/>
                <a:gd name="connsiteX64" fmla="*/ 31484 w 98597"/>
                <a:gd name="connsiteY64" fmla="*/ 36302 h 103079"/>
                <a:gd name="connsiteX65" fmla="*/ 46274 w 98597"/>
                <a:gd name="connsiteY65" fmla="*/ 51988 h 103079"/>
                <a:gd name="connsiteX66" fmla="*/ 35069 w 98597"/>
                <a:gd name="connsiteY66" fmla="*/ 63640 h 103079"/>
                <a:gd name="connsiteX67" fmla="*/ 19831 w 98597"/>
                <a:gd name="connsiteY67" fmla="*/ 52436 h 103079"/>
                <a:gd name="connsiteX68" fmla="*/ 31484 w 98597"/>
                <a:gd name="connsiteY68" fmla="*/ 36302 h 103079"/>
                <a:gd name="connsiteX69" fmla="*/ 32380 w 98597"/>
                <a:gd name="connsiteY69" fmla="*/ 66329 h 103079"/>
                <a:gd name="connsiteX70" fmla="*/ 16246 w 98597"/>
                <a:gd name="connsiteY70" fmla="*/ 82912 h 103079"/>
                <a:gd name="connsiteX71" fmla="*/ 18039 w 98597"/>
                <a:gd name="connsiteY71" fmla="*/ 56021 h 103079"/>
                <a:gd name="connsiteX72" fmla="*/ 32380 w 98597"/>
                <a:gd name="connsiteY72" fmla="*/ 66329 h 103079"/>
                <a:gd name="connsiteX73" fmla="*/ 94228 w 98597"/>
                <a:gd name="connsiteY73" fmla="*/ 51540 h 103079"/>
                <a:gd name="connsiteX74" fmla="*/ 84816 w 98597"/>
                <a:gd name="connsiteY74" fmla="*/ 48851 h 103079"/>
                <a:gd name="connsiteX75" fmla="*/ 89298 w 98597"/>
                <a:gd name="connsiteY75" fmla="*/ 30476 h 103079"/>
                <a:gd name="connsiteX76" fmla="*/ 94228 w 98597"/>
                <a:gd name="connsiteY76" fmla="*/ 51540 h 103079"/>
                <a:gd name="connsiteX77" fmla="*/ 4594 w 98597"/>
                <a:gd name="connsiteY77" fmla="*/ 51540 h 103079"/>
                <a:gd name="connsiteX78" fmla="*/ 14005 w 98597"/>
                <a:gd name="connsiteY78" fmla="*/ 54229 h 103079"/>
                <a:gd name="connsiteX79" fmla="*/ 9524 w 98597"/>
                <a:gd name="connsiteY79" fmla="*/ 72604 h 103079"/>
                <a:gd name="connsiteX80" fmla="*/ 4594 w 98597"/>
                <a:gd name="connsiteY80" fmla="*/ 5154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98597" h="103079">
                  <a:moveTo>
                    <a:pt x="49411" y="103079"/>
                  </a:moveTo>
                  <a:cubicBezTo>
                    <a:pt x="62856" y="103079"/>
                    <a:pt x="74957" y="97701"/>
                    <a:pt x="84368" y="87841"/>
                  </a:cubicBezTo>
                  <a:cubicBezTo>
                    <a:pt x="103639" y="67674"/>
                    <a:pt x="103639" y="35405"/>
                    <a:pt x="84368" y="15238"/>
                  </a:cubicBezTo>
                  <a:cubicBezTo>
                    <a:pt x="74957" y="5378"/>
                    <a:pt x="62408" y="0"/>
                    <a:pt x="49411" y="0"/>
                  </a:cubicBezTo>
                  <a:cubicBezTo>
                    <a:pt x="36414" y="0"/>
                    <a:pt x="23865" y="5378"/>
                    <a:pt x="14454" y="15238"/>
                  </a:cubicBezTo>
                  <a:cubicBezTo>
                    <a:pt x="-4818" y="35405"/>
                    <a:pt x="-4818" y="67674"/>
                    <a:pt x="14454" y="87841"/>
                  </a:cubicBezTo>
                  <a:cubicBezTo>
                    <a:pt x="23865" y="97701"/>
                    <a:pt x="36414" y="103079"/>
                    <a:pt x="49411" y="103079"/>
                  </a:cubicBezTo>
                  <a:close/>
                  <a:moveTo>
                    <a:pt x="35517" y="69466"/>
                  </a:moveTo>
                  <a:cubicBezTo>
                    <a:pt x="39551" y="73948"/>
                    <a:pt x="43136" y="79326"/>
                    <a:pt x="45377" y="84256"/>
                  </a:cubicBezTo>
                  <a:cubicBezTo>
                    <a:pt x="39551" y="86945"/>
                    <a:pt x="33725" y="88738"/>
                    <a:pt x="28795" y="88738"/>
                  </a:cubicBezTo>
                  <a:cubicBezTo>
                    <a:pt x="25210" y="88738"/>
                    <a:pt x="22072" y="87841"/>
                    <a:pt x="19383" y="86049"/>
                  </a:cubicBezTo>
                  <a:lnTo>
                    <a:pt x="35517" y="69466"/>
                  </a:lnTo>
                  <a:close/>
                  <a:moveTo>
                    <a:pt x="38207" y="66329"/>
                  </a:moveTo>
                  <a:lnTo>
                    <a:pt x="49411" y="54677"/>
                  </a:lnTo>
                  <a:lnTo>
                    <a:pt x="64200" y="70363"/>
                  </a:lnTo>
                  <a:cubicBezTo>
                    <a:pt x="59271" y="75293"/>
                    <a:pt x="54341" y="79326"/>
                    <a:pt x="48963" y="82015"/>
                  </a:cubicBezTo>
                  <a:cubicBezTo>
                    <a:pt x="46722" y="76637"/>
                    <a:pt x="42688" y="71259"/>
                    <a:pt x="38207" y="66329"/>
                  </a:cubicBezTo>
                  <a:close/>
                  <a:moveTo>
                    <a:pt x="46722" y="88290"/>
                  </a:moveTo>
                  <a:cubicBezTo>
                    <a:pt x="48066" y="91875"/>
                    <a:pt x="48963" y="95012"/>
                    <a:pt x="48963" y="98149"/>
                  </a:cubicBezTo>
                  <a:cubicBezTo>
                    <a:pt x="41792" y="98149"/>
                    <a:pt x="34621" y="96357"/>
                    <a:pt x="28347" y="93219"/>
                  </a:cubicBezTo>
                  <a:cubicBezTo>
                    <a:pt x="34621" y="93219"/>
                    <a:pt x="40896" y="91427"/>
                    <a:pt x="46722" y="88290"/>
                  </a:cubicBezTo>
                  <a:close/>
                  <a:moveTo>
                    <a:pt x="50755" y="86497"/>
                  </a:moveTo>
                  <a:cubicBezTo>
                    <a:pt x="56581" y="83360"/>
                    <a:pt x="61960" y="78878"/>
                    <a:pt x="67338" y="73948"/>
                  </a:cubicBezTo>
                  <a:lnTo>
                    <a:pt x="79438" y="86497"/>
                  </a:lnTo>
                  <a:cubicBezTo>
                    <a:pt x="72267" y="93219"/>
                    <a:pt x="63304" y="97701"/>
                    <a:pt x="53444" y="98597"/>
                  </a:cubicBezTo>
                  <a:cubicBezTo>
                    <a:pt x="53444" y="94564"/>
                    <a:pt x="52548" y="90530"/>
                    <a:pt x="50755" y="86497"/>
                  </a:cubicBezTo>
                  <a:close/>
                  <a:moveTo>
                    <a:pt x="70475" y="70363"/>
                  </a:moveTo>
                  <a:cubicBezTo>
                    <a:pt x="75405" y="64985"/>
                    <a:pt x="79886" y="59159"/>
                    <a:pt x="83024" y="53332"/>
                  </a:cubicBezTo>
                  <a:cubicBezTo>
                    <a:pt x="86609" y="54677"/>
                    <a:pt x="90643" y="56021"/>
                    <a:pt x="94228" y="56469"/>
                  </a:cubicBezTo>
                  <a:cubicBezTo>
                    <a:pt x="93331" y="66329"/>
                    <a:pt x="89298" y="75741"/>
                    <a:pt x="82575" y="83360"/>
                  </a:cubicBezTo>
                  <a:lnTo>
                    <a:pt x="70475" y="70363"/>
                  </a:lnTo>
                  <a:close/>
                  <a:moveTo>
                    <a:pt x="67338" y="67226"/>
                  </a:moveTo>
                  <a:lnTo>
                    <a:pt x="52548" y="51540"/>
                  </a:lnTo>
                  <a:lnTo>
                    <a:pt x="63752" y="39887"/>
                  </a:lnTo>
                  <a:cubicBezTo>
                    <a:pt x="68234" y="44369"/>
                    <a:pt x="73612" y="48402"/>
                    <a:pt x="78990" y="51091"/>
                  </a:cubicBezTo>
                  <a:cubicBezTo>
                    <a:pt x="75853" y="56469"/>
                    <a:pt x="72267" y="62296"/>
                    <a:pt x="67338" y="67226"/>
                  </a:cubicBezTo>
                  <a:close/>
                  <a:moveTo>
                    <a:pt x="63752" y="33613"/>
                  </a:moveTo>
                  <a:cubicBezTo>
                    <a:pt x="59719" y="29131"/>
                    <a:pt x="56133" y="23753"/>
                    <a:pt x="53893" y="18823"/>
                  </a:cubicBezTo>
                  <a:cubicBezTo>
                    <a:pt x="59719" y="16134"/>
                    <a:pt x="65545" y="14341"/>
                    <a:pt x="70475" y="14341"/>
                  </a:cubicBezTo>
                  <a:cubicBezTo>
                    <a:pt x="74060" y="14341"/>
                    <a:pt x="77197" y="15238"/>
                    <a:pt x="79886" y="17030"/>
                  </a:cubicBezTo>
                  <a:lnTo>
                    <a:pt x="63752" y="33613"/>
                  </a:lnTo>
                  <a:close/>
                  <a:moveTo>
                    <a:pt x="60615" y="36750"/>
                  </a:moveTo>
                  <a:lnTo>
                    <a:pt x="49411" y="48402"/>
                  </a:lnTo>
                  <a:lnTo>
                    <a:pt x="34621" y="32716"/>
                  </a:lnTo>
                  <a:cubicBezTo>
                    <a:pt x="39551" y="27787"/>
                    <a:pt x="44481" y="23753"/>
                    <a:pt x="49859" y="21064"/>
                  </a:cubicBezTo>
                  <a:cubicBezTo>
                    <a:pt x="52548" y="26442"/>
                    <a:pt x="56133" y="31820"/>
                    <a:pt x="60615" y="36750"/>
                  </a:cubicBezTo>
                  <a:close/>
                  <a:moveTo>
                    <a:pt x="66889" y="36750"/>
                  </a:moveTo>
                  <a:lnTo>
                    <a:pt x="83024" y="20168"/>
                  </a:lnTo>
                  <a:cubicBezTo>
                    <a:pt x="87057" y="26442"/>
                    <a:pt x="86161" y="36302"/>
                    <a:pt x="81231" y="47058"/>
                  </a:cubicBezTo>
                  <a:cubicBezTo>
                    <a:pt x="75853" y="44817"/>
                    <a:pt x="70923" y="41232"/>
                    <a:pt x="66889" y="36750"/>
                  </a:cubicBezTo>
                  <a:close/>
                  <a:moveTo>
                    <a:pt x="52100" y="14790"/>
                  </a:moveTo>
                  <a:cubicBezTo>
                    <a:pt x="50755" y="11204"/>
                    <a:pt x="49859" y="8067"/>
                    <a:pt x="49859" y="4930"/>
                  </a:cubicBezTo>
                  <a:cubicBezTo>
                    <a:pt x="57030" y="4930"/>
                    <a:pt x="64200" y="6723"/>
                    <a:pt x="70027" y="9860"/>
                  </a:cubicBezTo>
                  <a:cubicBezTo>
                    <a:pt x="64200" y="9860"/>
                    <a:pt x="58374" y="11652"/>
                    <a:pt x="52100" y="14790"/>
                  </a:cubicBezTo>
                  <a:close/>
                  <a:moveTo>
                    <a:pt x="48066" y="17030"/>
                  </a:moveTo>
                  <a:cubicBezTo>
                    <a:pt x="42240" y="20168"/>
                    <a:pt x="36862" y="24649"/>
                    <a:pt x="31484" y="29579"/>
                  </a:cubicBezTo>
                  <a:lnTo>
                    <a:pt x="19383" y="17030"/>
                  </a:lnTo>
                  <a:cubicBezTo>
                    <a:pt x="26554" y="10308"/>
                    <a:pt x="35517" y="5826"/>
                    <a:pt x="45377" y="4930"/>
                  </a:cubicBezTo>
                  <a:cubicBezTo>
                    <a:pt x="45377" y="8963"/>
                    <a:pt x="46274" y="12997"/>
                    <a:pt x="48066" y="17030"/>
                  </a:cubicBezTo>
                  <a:close/>
                  <a:moveTo>
                    <a:pt x="28347" y="32716"/>
                  </a:moveTo>
                  <a:cubicBezTo>
                    <a:pt x="23417" y="38094"/>
                    <a:pt x="18935" y="43921"/>
                    <a:pt x="15798" y="49747"/>
                  </a:cubicBezTo>
                  <a:cubicBezTo>
                    <a:pt x="12213" y="48402"/>
                    <a:pt x="8179" y="47058"/>
                    <a:pt x="4594" y="46610"/>
                  </a:cubicBezTo>
                  <a:cubicBezTo>
                    <a:pt x="5490" y="36750"/>
                    <a:pt x="9524" y="27338"/>
                    <a:pt x="16246" y="19720"/>
                  </a:cubicBezTo>
                  <a:lnTo>
                    <a:pt x="28347" y="32716"/>
                  </a:lnTo>
                  <a:close/>
                  <a:moveTo>
                    <a:pt x="31484" y="36302"/>
                  </a:moveTo>
                  <a:lnTo>
                    <a:pt x="46274" y="51988"/>
                  </a:lnTo>
                  <a:lnTo>
                    <a:pt x="35069" y="63640"/>
                  </a:lnTo>
                  <a:cubicBezTo>
                    <a:pt x="30140" y="59159"/>
                    <a:pt x="25210" y="55125"/>
                    <a:pt x="19831" y="52436"/>
                  </a:cubicBezTo>
                  <a:cubicBezTo>
                    <a:pt x="22969" y="46610"/>
                    <a:pt x="26554" y="41232"/>
                    <a:pt x="31484" y="36302"/>
                  </a:cubicBezTo>
                  <a:close/>
                  <a:moveTo>
                    <a:pt x="32380" y="66329"/>
                  </a:moveTo>
                  <a:lnTo>
                    <a:pt x="16246" y="82912"/>
                  </a:lnTo>
                  <a:cubicBezTo>
                    <a:pt x="12213" y="76637"/>
                    <a:pt x="13109" y="66777"/>
                    <a:pt x="18039" y="56021"/>
                  </a:cubicBezTo>
                  <a:cubicBezTo>
                    <a:pt x="22969" y="58710"/>
                    <a:pt x="27899" y="62296"/>
                    <a:pt x="32380" y="66329"/>
                  </a:cubicBezTo>
                  <a:close/>
                  <a:moveTo>
                    <a:pt x="94228" y="51540"/>
                  </a:moveTo>
                  <a:cubicBezTo>
                    <a:pt x="91091" y="51091"/>
                    <a:pt x="87953" y="50195"/>
                    <a:pt x="84816" y="48851"/>
                  </a:cubicBezTo>
                  <a:cubicBezTo>
                    <a:pt x="87953" y="42128"/>
                    <a:pt x="89298" y="35854"/>
                    <a:pt x="89298" y="30476"/>
                  </a:cubicBezTo>
                  <a:cubicBezTo>
                    <a:pt x="92883" y="37198"/>
                    <a:pt x="94228" y="44369"/>
                    <a:pt x="94228" y="51540"/>
                  </a:cubicBezTo>
                  <a:close/>
                  <a:moveTo>
                    <a:pt x="4594" y="51540"/>
                  </a:moveTo>
                  <a:cubicBezTo>
                    <a:pt x="7731" y="51988"/>
                    <a:pt x="10868" y="52884"/>
                    <a:pt x="14005" y="54229"/>
                  </a:cubicBezTo>
                  <a:cubicBezTo>
                    <a:pt x="10868" y="60951"/>
                    <a:pt x="9524" y="67226"/>
                    <a:pt x="9524" y="72604"/>
                  </a:cubicBezTo>
                  <a:cubicBezTo>
                    <a:pt x="5938" y="65881"/>
                    <a:pt x="4594" y="58710"/>
                    <a:pt x="4594" y="51540"/>
                  </a:cubicBezTo>
                  <a:close/>
                </a:path>
              </a:pathLst>
            </a:custGeom>
            <a:solidFill>
              <a:srgbClr val="231F20"/>
            </a:solidFill>
            <a:ln w="4477" cap="flat">
              <a:noFill/>
              <a:prstDash val="solid"/>
              <a:miter/>
            </a:ln>
          </p:spPr>
          <p:txBody>
            <a:bodyPr rtlCol="0" anchor="ctr"/>
            <a:lstStyle/>
            <a:p>
              <a:endParaRPr lang="en-US"/>
            </a:p>
          </p:txBody>
        </p:sp>
        <p:sp>
          <p:nvSpPr>
            <p:cNvPr id="5496" name="Freeform: Shape 5495">
              <a:extLst>
                <a:ext uri="{FF2B5EF4-FFF2-40B4-BE49-F238E27FC236}">
                  <a16:creationId xmlns:a16="http://schemas.microsoft.com/office/drawing/2014/main" id="{4419BA9B-DFF6-4B95-87ED-488B37851B89}"/>
                </a:ext>
              </a:extLst>
            </p:cNvPr>
            <p:cNvSpPr/>
            <p:nvPr/>
          </p:nvSpPr>
          <p:spPr>
            <a:xfrm>
              <a:off x="9126324" y="1418219"/>
              <a:ext cx="121006" cy="147896"/>
            </a:xfrm>
            <a:custGeom>
              <a:avLst/>
              <a:gdLst>
                <a:gd name="connsiteX0" fmla="*/ 125264 w 121005"/>
                <a:gd name="connsiteY0" fmla="*/ 58934 h 147896"/>
                <a:gd name="connsiteX1" fmla="*/ 106889 w 121005"/>
                <a:gd name="connsiteY1" fmla="*/ 10532 h 147896"/>
                <a:gd name="connsiteX2" fmla="*/ 113611 w 121005"/>
                <a:gd name="connsiteY2" fmla="*/ 3809 h 147896"/>
                <a:gd name="connsiteX3" fmla="*/ 113611 w 121005"/>
                <a:gd name="connsiteY3" fmla="*/ 672 h 147896"/>
                <a:gd name="connsiteX4" fmla="*/ 110474 w 121005"/>
                <a:gd name="connsiteY4" fmla="*/ 672 h 147896"/>
                <a:gd name="connsiteX5" fmla="*/ 95236 w 121005"/>
                <a:gd name="connsiteY5" fmla="*/ 16358 h 147896"/>
                <a:gd name="connsiteX6" fmla="*/ 95236 w 121005"/>
                <a:gd name="connsiteY6" fmla="*/ 19495 h 147896"/>
                <a:gd name="connsiteX7" fmla="*/ 96581 w 121005"/>
                <a:gd name="connsiteY7" fmla="*/ 19944 h 147896"/>
                <a:gd name="connsiteX8" fmla="*/ 98373 w 121005"/>
                <a:gd name="connsiteY8" fmla="*/ 19047 h 147896"/>
                <a:gd name="connsiteX9" fmla="*/ 103751 w 121005"/>
                <a:gd name="connsiteY9" fmla="*/ 13669 h 147896"/>
                <a:gd name="connsiteX10" fmla="*/ 120782 w 121005"/>
                <a:gd name="connsiteY10" fmla="*/ 58934 h 147896"/>
                <a:gd name="connsiteX11" fmla="*/ 56694 w 121005"/>
                <a:gd name="connsiteY11" fmla="*/ 125712 h 147896"/>
                <a:gd name="connsiteX12" fmla="*/ 13221 w 121005"/>
                <a:gd name="connsiteY12" fmla="*/ 107785 h 147896"/>
                <a:gd name="connsiteX13" fmla="*/ 19047 w 121005"/>
                <a:gd name="connsiteY13" fmla="*/ 101959 h 147896"/>
                <a:gd name="connsiteX14" fmla="*/ 19047 w 121005"/>
                <a:gd name="connsiteY14" fmla="*/ 98822 h 147896"/>
                <a:gd name="connsiteX15" fmla="*/ 15910 w 121005"/>
                <a:gd name="connsiteY15" fmla="*/ 98822 h 147896"/>
                <a:gd name="connsiteX16" fmla="*/ 8739 w 121005"/>
                <a:gd name="connsiteY16" fmla="*/ 106440 h 147896"/>
                <a:gd name="connsiteX17" fmla="*/ 8739 w 121005"/>
                <a:gd name="connsiteY17" fmla="*/ 106440 h 147896"/>
                <a:gd name="connsiteX18" fmla="*/ 8739 w 121005"/>
                <a:gd name="connsiteY18" fmla="*/ 106440 h 147896"/>
                <a:gd name="connsiteX19" fmla="*/ 672 w 121005"/>
                <a:gd name="connsiteY19" fmla="*/ 114956 h 147896"/>
                <a:gd name="connsiteX20" fmla="*/ 672 w 121005"/>
                <a:gd name="connsiteY20" fmla="*/ 118093 h 147896"/>
                <a:gd name="connsiteX21" fmla="*/ 2017 w 121005"/>
                <a:gd name="connsiteY21" fmla="*/ 118541 h 147896"/>
                <a:gd name="connsiteX22" fmla="*/ 3810 w 121005"/>
                <a:gd name="connsiteY22" fmla="*/ 117645 h 147896"/>
                <a:gd name="connsiteX23" fmla="*/ 10532 w 121005"/>
                <a:gd name="connsiteY23" fmla="*/ 110922 h 147896"/>
                <a:gd name="connsiteX24" fmla="*/ 54901 w 121005"/>
                <a:gd name="connsiteY24" fmla="*/ 130193 h 147896"/>
                <a:gd name="connsiteX25" fmla="*/ 54901 w 121005"/>
                <a:gd name="connsiteY25" fmla="*/ 147672 h 147896"/>
                <a:gd name="connsiteX26" fmla="*/ 34285 w 121005"/>
                <a:gd name="connsiteY26" fmla="*/ 147672 h 147896"/>
                <a:gd name="connsiteX27" fmla="*/ 32044 w 121005"/>
                <a:gd name="connsiteY27" fmla="*/ 149913 h 147896"/>
                <a:gd name="connsiteX28" fmla="*/ 34285 w 121005"/>
                <a:gd name="connsiteY28" fmla="*/ 152154 h 147896"/>
                <a:gd name="connsiteX29" fmla="*/ 80447 w 121005"/>
                <a:gd name="connsiteY29" fmla="*/ 152154 h 147896"/>
                <a:gd name="connsiteX30" fmla="*/ 82687 w 121005"/>
                <a:gd name="connsiteY30" fmla="*/ 149913 h 147896"/>
                <a:gd name="connsiteX31" fmla="*/ 80447 w 121005"/>
                <a:gd name="connsiteY31" fmla="*/ 147672 h 147896"/>
                <a:gd name="connsiteX32" fmla="*/ 59831 w 121005"/>
                <a:gd name="connsiteY32" fmla="*/ 147672 h 147896"/>
                <a:gd name="connsiteX33" fmla="*/ 59831 w 121005"/>
                <a:gd name="connsiteY33" fmla="*/ 130193 h 147896"/>
                <a:gd name="connsiteX34" fmla="*/ 125264 w 121005"/>
                <a:gd name="connsiteY34" fmla="*/ 5893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005" h="147896">
                  <a:moveTo>
                    <a:pt x="125264" y="58934"/>
                  </a:moveTo>
                  <a:cubicBezTo>
                    <a:pt x="125264" y="40559"/>
                    <a:pt x="118541" y="23529"/>
                    <a:pt x="106889" y="10532"/>
                  </a:cubicBezTo>
                  <a:lnTo>
                    <a:pt x="113611" y="3809"/>
                  </a:lnTo>
                  <a:cubicBezTo>
                    <a:pt x="114507" y="2913"/>
                    <a:pt x="114507" y="1569"/>
                    <a:pt x="113611" y="672"/>
                  </a:cubicBezTo>
                  <a:cubicBezTo>
                    <a:pt x="112715" y="-224"/>
                    <a:pt x="111370" y="-224"/>
                    <a:pt x="110474" y="672"/>
                  </a:cubicBezTo>
                  <a:lnTo>
                    <a:pt x="95236" y="16358"/>
                  </a:lnTo>
                  <a:cubicBezTo>
                    <a:pt x="94340" y="17255"/>
                    <a:pt x="94340" y="18599"/>
                    <a:pt x="95236" y="19495"/>
                  </a:cubicBezTo>
                  <a:cubicBezTo>
                    <a:pt x="95684" y="19944"/>
                    <a:pt x="96132" y="19944"/>
                    <a:pt x="96581" y="19944"/>
                  </a:cubicBezTo>
                  <a:cubicBezTo>
                    <a:pt x="97029" y="19944"/>
                    <a:pt x="97925" y="19495"/>
                    <a:pt x="98373" y="19047"/>
                  </a:cubicBezTo>
                  <a:lnTo>
                    <a:pt x="103751" y="13669"/>
                  </a:lnTo>
                  <a:cubicBezTo>
                    <a:pt x="114956" y="26218"/>
                    <a:pt x="120782" y="41904"/>
                    <a:pt x="120782" y="58934"/>
                  </a:cubicBezTo>
                  <a:cubicBezTo>
                    <a:pt x="120782" y="95684"/>
                    <a:pt x="92099" y="125712"/>
                    <a:pt x="56694" y="125712"/>
                  </a:cubicBezTo>
                  <a:cubicBezTo>
                    <a:pt x="40559" y="125712"/>
                    <a:pt x="24873" y="119437"/>
                    <a:pt x="13221" y="107785"/>
                  </a:cubicBezTo>
                  <a:lnTo>
                    <a:pt x="19047" y="101959"/>
                  </a:lnTo>
                  <a:cubicBezTo>
                    <a:pt x="19944" y="101062"/>
                    <a:pt x="19944" y="99718"/>
                    <a:pt x="19047" y="98822"/>
                  </a:cubicBezTo>
                  <a:cubicBezTo>
                    <a:pt x="18151" y="97925"/>
                    <a:pt x="16806" y="97925"/>
                    <a:pt x="15910" y="98822"/>
                  </a:cubicBezTo>
                  <a:lnTo>
                    <a:pt x="8739" y="106440"/>
                  </a:lnTo>
                  <a:cubicBezTo>
                    <a:pt x="8739" y="106440"/>
                    <a:pt x="8739" y="106440"/>
                    <a:pt x="8739" y="106440"/>
                  </a:cubicBezTo>
                  <a:cubicBezTo>
                    <a:pt x="8739" y="106440"/>
                    <a:pt x="8739" y="106440"/>
                    <a:pt x="8739" y="106440"/>
                  </a:cubicBezTo>
                  <a:lnTo>
                    <a:pt x="672" y="114956"/>
                  </a:lnTo>
                  <a:cubicBezTo>
                    <a:pt x="-224" y="115852"/>
                    <a:pt x="-224" y="117197"/>
                    <a:pt x="672" y="118093"/>
                  </a:cubicBezTo>
                  <a:cubicBezTo>
                    <a:pt x="1120" y="118541"/>
                    <a:pt x="1569" y="118541"/>
                    <a:pt x="2017" y="118541"/>
                  </a:cubicBezTo>
                  <a:cubicBezTo>
                    <a:pt x="2465" y="118541"/>
                    <a:pt x="3361" y="118093"/>
                    <a:pt x="3810" y="117645"/>
                  </a:cubicBezTo>
                  <a:lnTo>
                    <a:pt x="10532" y="110922"/>
                  </a:lnTo>
                  <a:cubicBezTo>
                    <a:pt x="22632" y="122575"/>
                    <a:pt x="38318" y="129297"/>
                    <a:pt x="54901" y="130193"/>
                  </a:cubicBezTo>
                  <a:lnTo>
                    <a:pt x="54901" y="147672"/>
                  </a:lnTo>
                  <a:lnTo>
                    <a:pt x="34285" y="147672"/>
                  </a:lnTo>
                  <a:cubicBezTo>
                    <a:pt x="32941" y="147672"/>
                    <a:pt x="32044" y="148568"/>
                    <a:pt x="32044" y="149913"/>
                  </a:cubicBezTo>
                  <a:cubicBezTo>
                    <a:pt x="32044" y="151257"/>
                    <a:pt x="32941" y="152154"/>
                    <a:pt x="34285" y="152154"/>
                  </a:cubicBezTo>
                  <a:lnTo>
                    <a:pt x="80447" y="152154"/>
                  </a:lnTo>
                  <a:cubicBezTo>
                    <a:pt x="81791" y="152154"/>
                    <a:pt x="82687" y="151257"/>
                    <a:pt x="82687" y="149913"/>
                  </a:cubicBezTo>
                  <a:cubicBezTo>
                    <a:pt x="82687" y="148568"/>
                    <a:pt x="81791" y="147672"/>
                    <a:pt x="80447" y="147672"/>
                  </a:cubicBezTo>
                  <a:lnTo>
                    <a:pt x="59831" y="147672"/>
                  </a:lnTo>
                  <a:lnTo>
                    <a:pt x="59831" y="130193"/>
                  </a:lnTo>
                  <a:cubicBezTo>
                    <a:pt x="95684" y="128849"/>
                    <a:pt x="125264" y="97477"/>
                    <a:pt x="125264" y="58934"/>
                  </a:cubicBezTo>
                  <a:close/>
                </a:path>
              </a:pathLst>
            </a:custGeom>
            <a:solidFill>
              <a:srgbClr val="231F20"/>
            </a:solidFill>
            <a:ln w="4477" cap="flat">
              <a:noFill/>
              <a:prstDash val="solid"/>
              <a:miter/>
            </a:ln>
          </p:spPr>
          <p:txBody>
            <a:bodyPr rtlCol="0" anchor="ctr"/>
            <a:lstStyle/>
            <a:p>
              <a:endParaRPr lang="en-US"/>
            </a:p>
          </p:txBody>
        </p:sp>
      </p:grpSp>
      <p:grpSp>
        <p:nvGrpSpPr>
          <p:cNvPr id="2443" name="Group 2442">
            <a:extLst>
              <a:ext uri="{FF2B5EF4-FFF2-40B4-BE49-F238E27FC236}">
                <a16:creationId xmlns:a16="http://schemas.microsoft.com/office/drawing/2014/main" id="{4AF8ABAC-22D8-427D-A57C-17916607512F}"/>
              </a:ext>
              <a:ext uri="{C183D7F6-B498-43B3-948B-1728B52AA6E4}">
                <adec:decorative xmlns:adec="http://schemas.microsoft.com/office/drawing/2017/decorative" val="1"/>
              </a:ext>
            </a:extLst>
          </p:cNvPr>
          <p:cNvGrpSpPr>
            <a:grpSpLocks noChangeAspect="1"/>
          </p:cNvGrpSpPr>
          <p:nvPr/>
        </p:nvGrpSpPr>
        <p:grpSpPr>
          <a:xfrm>
            <a:off x="9296755" y="3452489"/>
            <a:ext cx="125488" cy="147896"/>
            <a:chOff x="9390745" y="1417323"/>
            <a:chExt cx="125488" cy="147896"/>
          </a:xfrm>
        </p:grpSpPr>
        <p:sp>
          <p:nvSpPr>
            <p:cNvPr id="5493" name="Freeform: Shape 5492">
              <a:extLst>
                <a:ext uri="{FF2B5EF4-FFF2-40B4-BE49-F238E27FC236}">
                  <a16:creationId xmlns:a16="http://schemas.microsoft.com/office/drawing/2014/main" id="{DE83D96D-A43B-47D1-8DE9-C603A9E7F43A}"/>
                </a:ext>
              </a:extLst>
            </p:cNvPr>
            <p:cNvSpPr/>
            <p:nvPr/>
          </p:nvSpPr>
          <p:spPr>
            <a:xfrm>
              <a:off x="9390745" y="1417323"/>
              <a:ext cx="125488" cy="147896"/>
            </a:xfrm>
            <a:custGeom>
              <a:avLst/>
              <a:gdLst>
                <a:gd name="connsiteX0" fmla="*/ 125712 w 125487"/>
                <a:gd name="connsiteY0" fmla="*/ 58934 h 147896"/>
                <a:gd name="connsiteX1" fmla="*/ 107337 w 125487"/>
                <a:gd name="connsiteY1" fmla="*/ 10532 h 147896"/>
                <a:gd name="connsiteX2" fmla="*/ 114059 w 125487"/>
                <a:gd name="connsiteY2" fmla="*/ 3809 h 147896"/>
                <a:gd name="connsiteX3" fmla="*/ 114059 w 125487"/>
                <a:gd name="connsiteY3" fmla="*/ 672 h 147896"/>
                <a:gd name="connsiteX4" fmla="*/ 110922 w 125487"/>
                <a:gd name="connsiteY4" fmla="*/ 672 h 147896"/>
                <a:gd name="connsiteX5" fmla="*/ 95684 w 125487"/>
                <a:gd name="connsiteY5" fmla="*/ 16358 h 147896"/>
                <a:gd name="connsiteX6" fmla="*/ 95684 w 125487"/>
                <a:gd name="connsiteY6" fmla="*/ 19495 h 147896"/>
                <a:gd name="connsiteX7" fmla="*/ 97029 w 125487"/>
                <a:gd name="connsiteY7" fmla="*/ 19944 h 147896"/>
                <a:gd name="connsiteX8" fmla="*/ 98821 w 125487"/>
                <a:gd name="connsiteY8" fmla="*/ 19047 h 147896"/>
                <a:gd name="connsiteX9" fmla="*/ 104199 w 125487"/>
                <a:gd name="connsiteY9" fmla="*/ 13669 h 147896"/>
                <a:gd name="connsiteX10" fmla="*/ 121230 w 125487"/>
                <a:gd name="connsiteY10" fmla="*/ 58934 h 147896"/>
                <a:gd name="connsiteX11" fmla="*/ 57142 w 125487"/>
                <a:gd name="connsiteY11" fmla="*/ 125712 h 147896"/>
                <a:gd name="connsiteX12" fmla="*/ 13669 w 125487"/>
                <a:gd name="connsiteY12" fmla="*/ 107785 h 147896"/>
                <a:gd name="connsiteX13" fmla="*/ 19495 w 125487"/>
                <a:gd name="connsiteY13" fmla="*/ 101959 h 147896"/>
                <a:gd name="connsiteX14" fmla="*/ 19495 w 125487"/>
                <a:gd name="connsiteY14" fmla="*/ 98822 h 147896"/>
                <a:gd name="connsiteX15" fmla="*/ 16358 w 125487"/>
                <a:gd name="connsiteY15" fmla="*/ 98822 h 147896"/>
                <a:gd name="connsiteX16" fmla="*/ 8739 w 125487"/>
                <a:gd name="connsiteY16" fmla="*/ 105992 h 147896"/>
                <a:gd name="connsiteX17" fmla="*/ 8739 w 125487"/>
                <a:gd name="connsiteY17" fmla="*/ 105992 h 147896"/>
                <a:gd name="connsiteX18" fmla="*/ 8739 w 125487"/>
                <a:gd name="connsiteY18" fmla="*/ 105992 h 147896"/>
                <a:gd name="connsiteX19" fmla="*/ 672 w 125487"/>
                <a:gd name="connsiteY19" fmla="*/ 114508 h 147896"/>
                <a:gd name="connsiteX20" fmla="*/ 672 w 125487"/>
                <a:gd name="connsiteY20" fmla="*/ 117645 h 147896"/>
                <a:gd name="connsiteX21" fmla="*/ 2017 w 125487"/>
                <a:gd name="connsiteY21" fmla="*/ 118093 h 147896"/>
                <a:gd name="connsiteX22" fmla="*/ 3810 w 125487"/>
                <a:gd name="connsiteY22" fmla="*/ 117197 h 147896"/>
                <a:gd name="connsiteX23" fmla="*/ 10532 w 125487"/>
                <a:gd name="connsiteY23" fmla="*/ 110474 h 147896"/>
                <a:gd name="connsiteX24" fmla="*/ 54004 w 125487"/>
                <a:gd name="connsiteY24" fmla="*/ 129745 h 147896"/>
                <a:gd name="connsiteX25" fmla="*/ 54004 w 125487"/>
                <a:gd name="connsiteY25" fmla="*/ 147224 h 147896"/>
                <a:gd name="connsiteX26" fmla="*/ 33837 w 125487"/>
                <a:gd name="connsiteY26" fmla="*/ 147224 h 147896"/>
                <a:gd name="connsiteX27" fmla="*/ 31596 w 125487"/>
                <a:gd name="connsiteY27" fmla="*/ 149465 h 147896"/>
                <a:gd name="connsiteX28" fmla="*/ 33837 w 125487"/>
                <a:gd name="connsiteY28" fmla="*/ 151706 h 147896"/>
                <a:gd name="connsiteX29" fmla="*/ 79998 w 125487"/>
                <a:gd name="connsiteY29" fmla="*/ 151706 h 147896"/>
                <a:gd name="connsiteX30" fmla="*/ 82239 w 125487"/>
                <a:gd name="connsiteY30" fmla="*/ 149465 h 147896"/>
                <a:gd name="connsiteX31" fmla="*/ 79998 w 125487"/>
                <a:gd name="connsiteY31" fmla="*/ 147224 h 147896"/>
                <a:gd name="connsiteX32" fmla="*/ 58486 w 125487"/>
                <a:gd name="connsiteY32" fmla="*/ 147224 h 147896"/>
                <a:gd name="connsiteX33" fmla="*/ 58486 w 125487"/>
                <a:gd name="connsiteY33" fmla="*/ 129745 h 147896"/>
                <a:gd name="connsiteX34" fmla="*/ 125712 w 125487"/>
                <a:gd name="connsiteY34" fmla="*/ 5893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5487" h="147896">
                  <a:moveTo>
                    <a:pt x="125712" y="58934"/>
                  </a:moveTo>
                  <a:cubicBezTo>
                    <a:pt x="125712" y="40559"/>
                    <a:pt x="118989" y="23529"/>
                    <a:pt x="107337" y="10532"/>
                  </a:cubicBezTo>
                  <a:lnTo>
                    <a:pt x="114059" y="3809"/>
                  </a:lnTo>
                  <a:cubicBezTo>
                    <a:pt x="114956" y="2913"/>
                    <a:pt x="114956" y="1569"/>
                    <a:pt x="114059" y="672"/>
                  </a:cubicBezTo>
                  <a:cubicBezTo>
                    <a:pt x="113163" y="-224"/>
                    <a:pt x="111818" y="-224"/>
                    <a:pt x="110922" y="672"/>
                  </a:cubicBezTo>
                  <a:lnTo>
                    <a:pt x="95684" y="16358"/>
                  </a:lnTo>
                  <a:cubicBezTo>
                    <a:pt x="94788" y="17255"/>
                    <a:pt x="94788" y="18599"/>
                    <a:pt x="95684" y="19495"/>
                  </a:cubicBezTo>
                  <a:cubicBezTo>
                    <a:pt x="96132" y="19944"/>
                    <a:pt x="96581" y="19944"/>
                    <a:pt x="97029" y="19944"/>
                  </a:cubicBezTo>
                  <a:cubicBezTo>
                    <a:pt x="97477" y="19944"/>
                    <a:pt x="98373" y="19495"/>
                    <a:pt x="98821" y="19047"/>
                  </a:cubicBezTo>
                  <a:lnTo>
                    <a:pt x="104199" y="13669"/>
                  </a:lnTo>
                  <a:cubicBezTo>
                    <a:pt x="115404" y="26218"/>
                    <a:pt x="121230" y="41904"/>
                    <a:pt x="121230" y="58934"/>
                  </a:cubicBezTo>
                  <a:cubicBezTo>
                    <a:pt x="121230" y="95684"/>
                    <a:pt x="92547" y="125712"/>
                    <a:pt x="57142" y="125712"/>
                  </a:cubicBezTo>
                  <a:cubicBezTo>
                    <a:pt x="41008" y="125712"/>
                    <a:pt x="25322" y="119437"/>
                    <a:pt x="13669" y="107785"/>
                  </a:cubicBezTo>
                  <a:lnTo>
                    <a:pt x="19495" y="101959"/>
                  </a:lnTo>
                  <a:cubicBezTo>
                    <a:pt x="20392" y="101062"/>
                    <a:pt x="20392" y="99718"/>
                    <a:pt x="19495" y="98822"/>
                  </a:cubicBezTo>
                  <a:cubicBezTo>
                    <a:pt x="18599" y="97925"/>
                    <a:pt x="17255" y="97925"/>
                    <a:pt x="16358" y="98822"/>
                  </a:cubicBezTo>
                  <a:lnTo>
                    <a:pt x="8739" y="105992"/>
                  </a:lnTo>
                  <a:cubicBezTo>
                    <a:pt x="8739" y="105992"/>
                    <a:pt x="8739" y="105992"/>
                    <a:pt x="8739" y="105992"/>
                  </a:cubicBezTo>
                  <a:cubicBezTo>
                    <a:pt x="8739" y="105992"/>
                    <a:pt x="8739" y="105992"/>
                    <a:pt x="8739" y="105992"/>
                  </a:cubicBezTo>
                  <a:lnTo>
                    <a:pt x="672" y="114508"/>
                  </a:lnTo>
                  <a:cubicBezTo>
                    <a:pt x="-224" y="115404"/>
                    <a:pt x="-224" y="116748"/>
                    <a:pt x="672" y="117645"/>
                  </a:cubicBezTo>
                  <a:cubicBezTo>
                    <a:pt x="1120" y="118093"/>
                    <a:pt x="1569" y="118093"/>
                    <a:pt x="2017" y="118093"/>
                  </a:cubicBezTo>
                  <a:cubicBezTo>
                    <a:pt x="2465" y="118093"/>
                    <a:pt x="3361" y="117645"/>
                    <a:pt x="3810" y="117197"/>
                  </a:cubicBezTo>
                  <a:lnTo>
                    <a:pt x="10532" y="110474"/>
                  </a:lnTo>
                  <a:cubicBezTo>
                    <a:pt x="22632" y="122126"/>
                    <a:pt x="37422" y="128849"/>
                    <a:pt x="54004" y="129745"/>
                  </a:cubicBezTo>
                  <a:lnTo>
                    <a:pt x="54004" y="147224"/>
                  </a:lnTo>
                  <a:lnTo>
                    <a:pt x="33837" y="147224"/>
                  </a:lnTo>
                  <a:cubicBezTo>
                    <a:pt x="32492" y="147224"/>
                    <a:pt x="31596" y="148120"/>
                    <a:pt x="31596" y="149465"/>
                  </a:cubicBezTo>
                  <a:cubicBezTo>
                    <a:pt x="31596" y="150809"/>
                    <a:pt x="32492" y="151706"/>
                    <a:pt x="33837" y="151706"/>
                  </a:cubicBezTo>
                  <a:lnTo>
                    <a:pt x="79998" y="151706"/>
                  </a:lnTo>
                  <a:cubicBezTo>
                    <a:pt x="81343" y="151706"/>
                    <a:pt x="82239" y="150809"/>
                    <a:pt x="82239" y="149465"/>
                  </a:cubicBezTo>
                  <a:cubicBezTo>
                    <a:pt x="82239" y="148120"/>
                    <a:pt x="81343" y="147224"/>
                    <a:pt x="79998" y="147224"/>
                  </a:cubicBezTo>
                  <a:lnTo>
                    <a:pt x="58486" y="147224"/>
                  </a:lnTo>
                  <a:lnTo>
                    <a:pt x="58486" y="129745"/>
                  </a:lnTo>
                  <a:cubicBezTo>
                    <a:pt x="95684" y="129297"/>
                    <a:pt x="125712" y="97925"/>
                    <a:pt x="125712" y="58934"/>
                  </a:cubicBezTo>
                  <a:close/>
                </a:path>
              </a:pathLst>
            </a:custGeom>
            <a:solidFill>
              <a:srgbClr val="231F20"/>
            </a:solidFill>
            <a:ln w="4477" cap="flat">
              <a:noFill/>
              <a:prstDash val="solid"/>
              <a:miter/>
            </a:ln>
          </p:spPr>
          <p:txBody>
            <a:bodyPr rtlCol="0" anchor="ctr"/>
            <a:lstStyle/>
            <a:p>
              <a:endParaRPr lang="en-US"/>
            </a:p>
          </p:txBody>
        </p:sp>
        <p:sp>
          <p:nvSpPr>
            <p:cNvPr id="5494" name="Freeform: Shape 5493">
              <a:extLst>
                <a:ext uri="{FF2B5EF4-FFF2-40B4-BE49-F238E27FC236}">
                  <a16:creationId xmlns:a16="http://schemas.microsoft.com/office/drawing/2014/main" id="{E6C5DF52-5224-430F-84DF-13D445168E40}"/>
                </a:ext>
              </a:extLst>
            </p:cNvPr>
            <p:cNvSpPr/>
            <p:nvPr/>
          </p:nvSpPr>
          <p:spPr>
            <a:xfrm>
              <a:off x="9396795" y="1422925"/>
              <a:ext cx="98597" cy="103079"/>
            </a:xfrm>
            <a:custGeom>
              <a:avLst/>
              <a:gdLst>
                <a:gd name="connsiteX0" fmla="*/ 51540 w 98597"/>
                <a:gd name="connsiteY0" fmla="*/ 106216 h 103079"/>
                <a:gd name="connsiteX1" fmla="*/ 102631 w 98597"/>
                <a:gd name="connsiteY1" fmla="*/ 53332 h 103079"/>
                <a:gd name="connsiteX2" fmla="*/ 51540 w 98597"/>
                <a:gd name="connsiteY2" fmla="*/ 0 h 103079"/>
                <a:gd name="connsiteX3" fmla="*/ 0 w 98597"/>
                <a:gd name="connsiteY3" fmla="*/ 53332 h 103079"/>
                <a:gd name="connsiteX4" fmla="*/ 51540 w 98597"/>
                <a:gd name="connsiteY4" fmla="*/ 106216 h 103079"/>
                <a:gd name="connsiteX5" fmla="*/ 51540 w 98597"/>
                <a:gd name="connsiteY5" fmla="*/ 4930 h 103079"/>
                <a:gd name="connsiteX6" fmla="*/ 98149 w 98597"/>
                <a:gd name="connsiteY6" fmla="*/ 53780 h 103079"/>
                <a:gd name="connsiteX7" fmla="*/ 51540 w 98597"/>
                <a:gd name="connsiteY7" fmla="*/ 102183 h 103079"/>
                <a:gd name="connsiteX8" fmla="*/ 4482 w 98597"/>
                <a:gd name="connsiteY8" fmla="*/ 53780 h 103079"/>
                <a:gd name="connsiteX9" fmla="*/ 51540 w 98597"/>
                <a:gd name="connsiteY9" fmla="*/ 493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97" h="103079">
                  <a:moveTo>
                    <a:pt x="51540" y="106216"/>
                  </a:moveTo>
                  <a:cubicBezTo>
                    <a:pt x="79774" y="106216"/>
                    <a:pt x="102631" y="82463"/>
                    <a:pt x="102631" y="53332"/>
                  </a:cubicBezTo>
                  <a:cubicBezTo>
                    <a:pt x="102631" y="23753"/>
                    <a:pt x="79774" y="0"/>
                    <a:pt x="51540" y="0"/>
                  </a:cubicBezTo>
                  <a:cubicBezTo>
                    <a:pt x="23305" y="0"/>
                    <a:pt x="0" y="23753"/>
                    <a:pt x="0" y="53332"/>
                  </a:cubicBezTo>
                  <a:cubicBezTo>
                    <a:pt x="0" y="82912"/>
                    <a:pt x="23305" y="106216"/>
                    <a:pt x="51540" y="106216"/>
                  </a:cubicBezTo>
                  <a:close/>
                  <a:moveTo>
                    <a:pt x="51540" y="4930"/>
                  </a:moveTo>
                  <a:cubicBezTo>
                    <a:pt x="77085" y="4930"/>
                    <a:pt x="98149" y="26890"/>
                    <a:pt x="98149" y="53780"/>
                  </a:cubicBezTo>
                  <a:cubicBezTo>
                    <a:pt x="98149" y="79774"/>
                    <a:pt x="77085" y="102183"/>
                    <a:pt x="51540" y="102183"/>
                  </a:cubicBezTo>
                  <a:cubicBezTo>
                    <a:pt x="25545" y="102183"/>
                    <a:pt x="4482" y="80671"/>
                    <a:pt x="4482" y="53780"/>
                  </a:cubicBezTo>
                  <a:cubicBezTo>
                    <a:pt x="4482" y="26890"/>
                    <a:pt x="25545" y="4930"/>
                    <a:pt x="51540" y="4930"/>
                  </a:cubicBezTo>
                  <a:close/>
                </a:path>
              </a:pathLst>
            </a:custGeom>
            <a:solidFill>
              <a:srgbClr val="231F20"/>
            </a:solidFill>
            <a:ln w="4477" cap="flat">
              <a:noFill/>
              <a:prstDash val="solid"/>
              <a:miter/>
            </a:ln>
          </p:spPr>
          <p:txBody>
            <a:bodyPr rtlCol="0" anchor="ctr"/>
            <a:lstStyle/>
            <a:p>
              <a:endParaRPr lang="en-US"/>
            </a:p>
          </p:txBody>
        </p:sp>
      </p:grpSp>
      <p:sp>
        <p:nvSpPr>
          <p:cNvPr id="2444" name="Freeform: Shape 2443">
            <a:extLst>
              <a:ext uri="{FF2B5EF4-FFF2-40B4-BE49-F238E27FC236}">
                <a16:creationId xmlns:a16="http://schemas.microsoft.com/office/drawing/2014/main" id="{9949B59F-C61C-489B-991D-2D0725EE30F7}"/>
              </a:ext>
              <a:ext uri="{C183D7F6-B498-43B3-948B-1728B52AA6E4}">
                <adec:decorative xmlns:adec="http://schemas.microsoft.com/office/drawing/2017/decorative" val="1"/>
              </a:ext>
            </a:extLst>
          </p:cNvPr>
          <p:cNvSpPr>
            <a:spLocks noChangeAspect="1"/>
          </p:cNvSpPr>
          <p:nvPr/>
        </p:nvSpPr>
        <p:spPr>
          <a:xfrm>
            <a:off x="9530251" y="3447895"/>
            <a:ext cx="170305" cy="134451"/>
          </a:xfrm>
          <a:custGeom>
            <a:avLst/>
            <a:gdLst>
              <a:gd name="connsiteX0" fmla="*/ 170977 w 170304"/>
              <a:gd name="connsiteY0" fmla="*/ 132098 h 134451"/>
              <a:gd name="connsiteX1" fmla="*/ 144087 w 170304"/>
              <a:gd name="connsiteY1" fmla="*/ 107449 h 134451"/>
              <a:gd name="connsiteX2" fmla="*/ 122575 w 170304"/>
              <a:gd name="connsiteY2" fmla="*/ 107449 h 134451"/>
              <a:gd name="connsiteX3" fmla="*/ 110474 w 170304"/>
              <a:gd name="connsiteY3" fmla="*/ 119101 h 134451"/>
              <a:gd name="connsiteX4" fmla="*/ 79998 w 170304"/>
              <a:gd name="connsiteY4" fmla="*/ 88626 h 134451"/>
              <a:gd name="connsiteX5" fmla="*/ 62968 w 170304"/>
              <a:gd name="connsiteY5" fmla="*/ 81455 h 134451"/>
              <a:gd name="connsiteX6" fmla="*/ 57142 w 170304"/>
              <a:gd name="connsiteY6" fmla="*/ 82351 h 134451"/>
              <a:gd name="connsiteX7" fmla="*/ 57142 w 170304"/>
              <a:gd name="connsiteY7" fmla="*/ 55461 h 134451"/>
              <a:gd name="connsiteX8" fmla="*/ 79998 w 170304"/>
              <a:gd name="connsiteY8" fmla="*/ 50531 h 134451"/>
              <a:gd name="connsiteX9" fmla="*/ 88962 w 170304"/>
              <a:gd name="connsiteY9" fmla="*/ 53220 h 134451"/>
              <a:gd name="connsiteX10" fmla="*/ 96132 w 170304"/>
              <a:gd name="connsiteY10" fmla="*/ 55461 h 134451"/>
              <a:gd name="connsiteX11" fmla="*/ 114956 w 170304"/>
              <a:gd name="connsiteY11" fmla="*/ 54117 h 134451"/>
              <a:gd name="connsiteX12" fmla="*/ 124367 w 170304"/>
              <a:gd name="connsiteY12" fmla="*/ 47394 h 134451"/>
              <a:gd name="connsiteX13" fmla="*/ 124367 w 170304"/>
              <a:gd name="connsiteY13" fmla="*/ 2129 h 134451"/>
              <a:gd name="connsiteX14" fmla="*/ 123471 w 170304"/>
              <a:gd name="connsiteY14" fmla="*/ 336 h 134451"/>
              <a:gd name="connsiteX15" fmla="*/ 121230 w 170304"/>
              <a:gd name="connsiteY15" fmla="*/ 336 h 134451"/>
              <a:gd name="connsiteX16" fmla="*/ 108681 w 170304"/>
              <a:gd name="connsiteY16" fmla="*/ 6611 h 134451"/>
              <a:gd name="connsiteX17" fmla="*/ 92996 w 170304"/>
              <a:gd name="connsiteY17" fmla="*/ 3921 h 134451"/>
              <a:gd name="connsiteX18" fmla="*/ 86273 w 170304"/>
              <a:gd name="connsiteY18" fmla="*/ 1232 h 134451"/>
              <a:gd name="connsiteX19" fmla="*/ 65209 w 170304"/>
              <a:gd name="connsiteY19" fmla="*/ 2577 h 134451"/>
              <a:gd name="connsiteX20" fmla="*/ 53108 w 170304"/>
              <a:gd name="connsiteY20" fmla="*/ 9748 h 134451"/>
              <a:gd name="connsiteX21" fmla="*/ 53108 w 170304"/>
              <a:gd name="connsiteY21" fmla="*/ 49187 h 134451"/>
              <a:gd name="connsiteX22" fmla="*/ 53108 w 170304"/>
              <a:gd name="connsiteY22" fmla="*/ 55013 h 134451"/>
              <a:gd name="connsiteX23" fmla="*/ 53108 w 170304"/>
              <a:gd name="connsiteY23" fmla="*/ 83696 h 134451"/>
              <a:gd name="connsiteX24" fmla="*/ 45938 w 170304"/>
              <a:gd name="connsiteY24" fmla="*/ 88626 h 134451"/>
              <a:gd name="connsiteX25" fmla="*/ 672 w 170304"/>
              <a:gd name="connsiteY25" fmla="*/ 132546 h 134451"/>
              <a:gd name="connsiteX26" fmla="*/ 672 w 170304"/>
              <a:gd name="connsiteY26" fmla="*/ 135684 h 134451"/>
              <a:gd name="connsiteX27" fmla="*/ 2465 w 170304"/>
              <a:gd name="connsiteY27" fmla="*/ 136580 h 134451"/>
              <a:gd name="connsiteX28" fmla="*/ 3810 w 170304"/>
              <a:gd name="connsiteY28" fmla="*/ 136132 h 134451"/>
              <a:gd name="connsiteX29" fmla="*/ 49075 w 170304"/>
              <a:gd name="connsiteY29" fmla="*/ 92211 h 134451"/>
              <a:gd name="connsiteX30" fmla="*/ 62968 w 170304"/>
              <a:gd name="connsiteY30" fmla="*/ 86385 h 134451"/>
              <a:gd name="connsiteX31" fmla="*/ 76861 w 170304"/>
              <a:gd name="connsiteY31" fmla="*/ 92211 h 134451"/>
              <a:gd name="connsiteX32" fmla="*/ 120782 w 170304"/>
              <a:gd name="connsiteY32" fmla="*/ 136132 h 134451"/>
              <a:gd name="connsiteX33" fmla="*/ 123919 w 170304"/>
              <a:gd name="connsiteY33" fmla="*/ 136132 h 134451"/>
              <a:gd name="connsiteX34" fmla="*/ 123919 w 170304"/>
              <a:gd name="connsiteY34" fmla="*/ 132995 h 134451"/>
              <a:gd name="connsiteX35" fmla="*/ 113611 w 170304"/>
              <a:gd name="connsiteY35" fmla="*/ 122687 h 134451"/>
              <a:gd name="connsiteX36" fmla="*/ 125264 w 170304"/>
              <a:gd name="connsiteY36" fmla="*/ 111034 h 134451"/>
              <a:gd name="connsiteX37" fmla="*/ 140501 w 170304"/>
              <a:gd name="connsiteY37" fmla="*/ 111034 h 134451"/>
              <a:gd name="connsiteX38" fmla="*/ 167392 w 170304"/>
              <a:gd name="connsiteY38" fmla="*/ 135684 h 134451"/>
              <a:gd name="connsiteX39" fmla="*/ 168736 w 170304"/>
              <a:gd name="connsiteY39" fmla="*/ 136132 h 134451"/>
              <a:gd name="connsiteX40" fmla="*/ 170529 w 170304"/>
              <a:gd name="connsiteY40" fmla="*/ 135235 h 134451"/>
              <a:gd name="connsiteX41" fmla="*/ 170977 w 170304"/>
              <a:gd name="connsiteY41" fmla="*/ 132098 h 134451"/>
              <a:gd name="connsiteX42" fmla="*/ 57590 w 170304"/>
              <a:gd name="connsiteY42" fmla="*/ 10644 h 134451"/>
              <a:gd name="connsiteX43" fmla="*/ 67001 w 170304"/>
              <a:gd name="connsiteY43" fmla="*/ 6611 h 134451"/>
              <a:gd name="connsiteX44" fmla="*/ 85377 w 170304"/>
              <a:gd name="connsiteY44" fmla="*/ 5266 h 134451"/>
              <a:gd name="connsiteX45" fmla="*/ 91651 w 170304"/>
              <a:gd name="connsiteY45" fmla="*/ 7955 h 134451"/>
              <a:gd name="connsiteX46" fmla="*/ 110922 w 170304"/>
              <a:gd name="connsiteY46" fmla="*/ 10644 h 134451"/>
              <a:gd name="connsiteX47" fmla="*/ 120334 w 170304"/>
              <a:gd name="connsiteY47" fmla="*/ 5714 h 134451"/>
              <a:gd name="connsiteX48" fmla="*/ 120334 w 170304"/>
              <a:gd name="connsiteY48" fmla="*/ 46049 h 134451"/>
              <a:gd name="connsiteX49" fmla="*/ 113163 w 170304"/>
              <a:gd name="connsiteY49" fmla="*/ 50083 h 134451"/>
              <a:gd name="connsiteX50" fmla="*/ 97477 w 170304"/>
              <a:gd name="connsiteY50" fmla="*/ 50979 h 134451"/>
              <a:gd name="connsiteX51" fmla="*/ 90755 w 170304"/>
              <a:gd name="connsiteY51" fmla="*/ 48738 h 134451"/>
              <a:gd name="connsiteX52" fmla="*/ 80895 w 170304"/>
              <a:gd name="connsiteY52" fmla="*/ 46049 h 134451"/>
              <a:gd name="connsiteX53" fmla="*/ 79550 w 170304"/>
              <a:gd name="connsiteY53" fmla="*/ 46049 h 134451"/>
              <a:gd name="connsiteX54" fmla="*/ 57590 w 170304"/>
              <a:gd name="connsiteY54" fmla="*/ 50531 h 134451"/>
              <a:gd name="connsiteX55" fmla="*/ 57590 w 170304"/>
              <a:gd name="connsiteY55" fmla="*/ 49187 h 134451"/>
              <a:gd name="connsiteX56" fmla="*/ 57590 w 170304"/>
              <a:gd name="connsiteY56" fmla="*/ 10644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0304" h="134451">
                <a:moveTo>
                  <a:pt x="170977" y="132098"/>
                </a:moveTo>
                <a:lnTo>
                  <a:pt x="144087" y="107449"/>
                </a:lnTo>
                <a:cubicBezTo>
                  <a:pt x="138261" y="102071"/>
                  <a:pt x="128401" y="102071"/>
                  <a:pt x="122575" y="107449"/>
                </a:cubicBezTo>
                <a:lnTo>
                  <a:pt x="110474" y="119101"/>
                </a:lnTo>
                <a:lnTo>
                  <a:pt x="79998" y="88626"/>
                </a:lnTo>
                <a:cubicBezTo>
                  <a:pt x="75517" y="84144"/>
                  <a:pt x="69242" y="81455"/>
                  <a:pt x="62968" y="81455"/>
                </a:cubicBezTo>
                <a:cubicBezTo>
                  <a:pt x="61175" y="81455"/>
                  <a:pt x="59383" y="81903"/>
                  <a:pt x="57142" y="82351"/>
                </a:cubicBezTo>
                <a:lnTo>
                  <a:pt x="57142" y="55461"/>
                </a:lnTo>
                <a:cubicBezTo>
                  <a:pt x="59831" y="53220"/>
                  <a:pt x="75517" y="49635"/>
                  <a:pt x="79998" y="50531"/>
                </a:cubicBezTo>
                <a:cubicBezTo>
                  <a:pt x="83136" y="50979"/>
                  <a:pt x="85825" y="51876"/>
                  <a:pt x="88962" y="53220"/>
                </a:cubicBezTo>
                <a:cubicBezTo>
                  <a:pt x="91203" y="54117"/>
                  <a:pt x="93444" y="55013"/>
                  <a:pt x="96132" y="55461"/>
                </a:cubicBezTo>
                <a:cubicBezTo>
                  <a:pt x="103751" y="57254"/>
                  <a:pt x="109578" y="56806"/>
                  <a:pt x="114956" y="54117"/>
                </a:cubicBezTo>
                <a:cubicBezTo>
                  <a:pt x="124367" y="49187"/>
                  <a:pt x="124367" y="48738"/>
                  <a:pt x="124367" y="47394"/>
                </a:cubicBezTo>
                <a:lnTo>
                  <a:pt x="124367" y="2129"/>
                </a:lnTo>
                <a:cubicBezTo>
                  <a:pt x="124367" y="1232"/>
                  <a:pt x="123919" y="784"/>
                  <a:pt x="123471" y="336"/>
                </a:cubicBezTo>
                <a:cubicBezTo>
                  <a:pt x="123023" y="-112"/>
                  <a:pt x="122127" y="-112"/>
                  <a:pt x="121230" y="336"/>
                </a:cubicBezTo>
                <a:lnTo>
                  <a:pt x="108681" y="6611"/>
                </a:lnTo>
                <a:cubicBezTo>
                  <a:pt x="102855" y="8403"/>
                  <a:pt x="98373" y="6611"/>
                  <a:pt x="92996" y="3921"/>
                </a:cubicBezTo>
                <a:cubicBezTo>
                  <a:pt x="90755" y="3025"/>
                  <a:pt x="88514" y="2129"/>
                  <a:pt x="86273" y="1232"/>
                </a:cubicBezTo>
                <a:cubicBezTo>
                  <a:pt x="79998" y="-560"/>
                  <a:pt x="72380" y="-112"/>
                  <a:pt x="65209" y="2577"/>
                </a:cubicBezTo>
                <a:cubicBezTo>
                  <a:pt x="53108" y="7507"/>
                  <a:pt x="53108" y="7955"/>
                  <a:pt x="53108" y="9748"/>
                </a:cubicBezTo>
                <a:lnTo>
                  <a:pt x="53108" y="49187"/>
                </a:lnTo>
                <a:lnTo>
                  <a:pt x="53108" y="55013"/>
                </a:lnTo>
                <a:lnTo>
                  <a:pt x="53108" y="83696"/>
                </a:lnTo>
                <a:cubicBezTo>
                  <a:pt x="50419" y="85040"/>
                  <a:pt x="48178" y="86385"/>
                  <a:pt x="45938" y="88626"/>
                </a:cubicBezTo>
                <a:lnTo>
                  <a:pt x="672" y="132546"/>
                </a:lnTo>
                <a:cubicBezTo>
                  <a:pt x="-224" y="133443"/>
                  <a:pt x="-224" y="134787"/>
                  <a:pt x="672" y="135684"/>
                </a:cubicBezTo>
                <a:cubicBezTo>
                  <a:pt x="1121" y="136132"/>
                  <a:pt x="1569" y="136580"/>
                  <a:pt x="2465" y="136580"/>
                </a:cubicBezTo>
                <a:cubicBezTo>
                  <a:pt x="2913" y="136580"/>
                  <a:pt x="3810" y="136580"/>
                  <a:pt x="3810" y="136132"/>
                </a:cubicBezTo>
                <a:lnTo>
                  <a:pt x="49075" y="92211"/>
                </a:lnTo>
                <a:cubicBezTo>
                  <a:pt x="52660" y="88626"/>
                  <a:pt x="57590" y="86385"/>
                  <a:pt x="62968" y="86385"/>
                </a:cubicBezTo>
                <a:cubicBezTo>
                  <a:pt x="68346" y="86385"/>
                  <a:pt x="73276" y="88626"/>
                  <a:pt x="76861" y="92211"/>
                </a:cubicBezTo>
                <a:lnTo>
                  <a:pt x="120782" y="136132"/>
                </a:lnTo>
                <a:cubicBezTo>
                  <a:pt x="121678" y="137028"/>
                  <a:pt x="123023" y="137028"/>
                  <a:pt x="123919" y="136132"/>
                </a:cubicBezTo>
                <a:cubicBezTo>
                  <a:pt x="124815" y="135235"/>
                  <a:pt x="124815" y="133891"/>
                  <a:pt x="123919" y="132995"/>
                </a:cubicBezTo>
                <a:lnTo>
                  <a:pt x="113611" y="122687"/>
                </a:lnTo>
                <a:lnTo>
                  <a:pt x="125264" y="111034"/>
                </a:lnTo>
                <a:cubicBezTo>
                  <a:pt x="129297" y="107001"/>
                  <a:pt x="136468" y="107001"/>
                  <a:pt x="140501" y="111034"/>
                </a:cubicBezTo>
                <a:lnTo>
                  <a:pt x="167392" y="135684"/>
                </a:lnTo>
                <a:cubicBezTo>
                  <a:pt x="167840" y="136132"/>
                  <a:pt x="168288" y="136132"/>
                  <a:pt x="168736" y="136132"/>
                </a:cubicBezTo>
                <a:cubicBezTo>
                  <a:pt x="169184" y="136132"/>
                  <a:pt x="170081" y="135684"/>
                  <a:pt x="170529" y="135235"/>
                </a:cubicBezTo>
                <a:cubicBezTo>
                  <a:pt x="171873" y="134339"/>
                  <a:pt x="171873" y="132995"/>
                  <a:pt x="170977" y="132098"/>
                </a:cubicBezTo>
                <a:close/>
                <a:moveTo>
                  <a:pt x="57590" y="10644"/>
                </a:moveTo>
                <a:cubicBezTo>
                  <a:pt x="59831" y="9748"/>
                  <a:pt x="65209" y="7507"/>
                  <a:pt x="67001" y="6611"/>
                </a:cubicBezTo>
                <a:cubicBezTo>
                  <a:pt x="73276" y="3921"/>
                  <a:pt x="79998" y="3473"/>
                  <a:pt x="85377" y="5266"/>
                </a:cubicBezTo>
                <a:cubicBezTo>
                  <a:pt x="87617" y="6162"/>
                  <a:pt x="89858" y="7059"/>
                  <a:pt x="91651" y="7955"/>
                </a:cubicBezTo>
                <a:cubicBezTo>
                  <a:pt x="97477" y="10644"/>
                  <a:pt x="103303" y="12885"/>
                  <a:pt x="110922" y="10644"/>
                </a:cubicBezTo>
                <a:lnTo>
                  <a:pt x="120334" y="5714"/>
                </a:lnTo>
                <a:lnTo>
                  <a:pt x="120334" y="46049"/>
                </a:lnTo>
                <a:cubicBezTo>
                  <a:pt x="118541" y="46946"/>
                  <a:pt x="114956" y="49187"/>
                  <a:pt x="113163" y="50083"/>
                </a:cubicBezTo>
                <a:cubicBezTo>
                  <a:pt x="109130" y="52324"/>
                  <a:pt x="104200" y="52324"/>
                  <a:pt x="97477" y="50979"/>
                </a:cubicBezTo>
                <a:cubicBezTo>
                  <a:pt x="95236" y="50531"/>
                  <a:pt x="92996" y="49635"/>
                  <a:pt x="90755" y="48738"/>
                </a:cubicBezTo>
                <a:cubicBezTo>
                  <a:pt x="87617" y="47394"/>
                  <a:pt x="84480" y="46498"/>
                  <a:pt x="80895" y="46049"/>
                </a:cubicBezTo>
                <a:cubicBezTo>
                  <a:pt x="80447" y="46049"/>
                  <a:pt x="79998" y="46049"/>
                  <a:pt x="79550" y="46049"/>
                </a:cubicBezTo>
                <a:cubicBezTo>
                  <a:pt x="74620" y="46049"/>
                  <a:pt x="63416" y="48290"/>
                  <a:pt x="57590" y="50531"/>
                </a:cubicBezTo>
                <a:lnTo>
                  <a:pt x="57590" y="49187"/>
                </a:lnTo>
                <a:lnTo>
                  <a:pt x="57590" y="10644"/>
                </a:lnTo>
                <a:close/>
              </a:path>
            </a:pathLst>
          </a:custGeom>
          <a:solidFill>
            <a:srgbClr val="231F20"/>
          </a:solidFill>
          <a:ln w="4477" cap="flat">
            <a:noFill/>
            <a:prstDash val="solid"/>
            <a:miter/>
          </a:ln>
        </p:spPr>
        <p:txBody>
          <a:bodyPr rtlCol="0" anchor="ctr"/>
          <a:lstStyle/>
          <a:p>
            <a:endParaRPr lang="en-US"/>
          </a:p>
        </p:txBody>
      </p:sp>
      <p:grpSp>
        <p:nvGrpSpPr>
          <p:cNvPr id="2445" name="Group 2444">
            <a:extLst>
              <a:ext uri="{FF2B5EF4-FFF2-40B4-BE49-F238E27FC236}">
                <a16:creationId xmlns:a16="http://schemas.microsoft.com/office/drawing/2014/main" id="{4768C376-1683-4043-AE17-21E0EF1991C5}"/>
              </a:ext>
              <a:ext uri="{C183D7F6-B498-43B3-948B-1728B52AA6E4}">
                <adec:decorative xmlns:adec="http://schemas.microsoft.com/office/drawing/2017/decorative" val="1"/>
              </a:ext>
            </a:extLst>
          </p:cNvPr>
          <p:cNvGrpSpPr>
            <a:grpSpLocks noChangeAspect="1"/>
          </p:cNvGrpSpPr>
          <p:nvPr/>
        </p:nvGrpSpPr>
        <p:grpSpPr>
          <a:xfrm>
            <a:off x="9826716" y="3447783"/>
            <a:ext cx="112043" cy="152378"/>
            <a:chOff x="9920706" y="1412617"/>
            <a:chExt cx="112043" cy="152378"/>
          </a:xfrm>
        </p:grpSpPr>
        <p:sp>
          <p:nvSpPr>
            <p:cNvPr id="5489" name="Freeform: Shape 5488">
              <a:extLst>
                <a:ext uri="{FF2B5EF4-FFF2-40B4-BE49-F238E27FC236}">
                  <a16:creationId xmlns:a16="http://schemas.microsoft.com/office/drawing/2014/main" id="{AF3C1AA1-9945-4D55-8D63-682DEABBD157}"/>
                </a:ext>
              </a:extLst>
            </p:cNvPr>
            <p:cNvSpPr/>
            <p:nvPr/>
          </p:nvSpPr>
          <p:spPr>
            <a:xfrm>
              <a:off x="9920706" y="1412617"/>
              <a:ext cx="112043" cy="152378"/>
            </a:xfrm>
            <a:custGeom>
              <a:avLst/>
              <a:gdLst>
                <a:gd name="connsiteX0" fmla="*/ 110250 w 112042"/>
                <a:gd name="connsiteY0" fmla="*/ 12997 h 152377"/>
                <a:gd name="connsiteX1" fmla="*/ 99046 w 112042"/>
                <a:gd name="connsiteY1" fmla="*/ 12997 h 152377"/>
                <a:gd name="connsiteX2" fmla="*/ 99046 w 112042"/>
                <a:gd name="connsiteY2" fmla="*/ 2241 h 152377"/>
                <a:gd name="connsiteX3" fmla="*/ 98149 w 112042"/>
                <a:gd name="connsiteY3" fmla="*/ 448 h 152377"/>
                <a:gd name="connsiteX4" fmla="*/ 96357 w 112042"/>
                <a:gd name="connsiteY4" fmla="*/ 0 h 152377"/>
                <a:gd name="connsiteX5" fmla="*/ 2241 w 112042"/>
                <a:gd name="connsiteY5" fmla="*/ 12997 h 152377"/>
                <a:gd name="connsiteX6" fmla="*/ 1793 w 112042"/>
                <a:gd name="connsiteY6" fmla="*/ 12997 h 152377"/>
                <a:gd name="connsiteX7" fmla="*/ 1344 w 112042"/>
                <a:gd name="connsiteY7" fmla="*/ 12997 h 152377"/>
                <a:gd name="connsiteX8" fmla="*/ 896 w 112042"/>
                <a:gd name="connsiteY8" fmla="*/ 13445 h 152377"/>
                <a:gd name="connsiteX9" fmla="*/ 448 w 112042"/>
                <a:gd name="connsiteY9" fmla="*/ 13893 h 152377"/>
                <a:gd name="connsiteX10" fmla="*/ 0 w 112042"/>
                <a:gd name="connsiteY10" fmla="*/ 14341 h 152377"/>
                <a:gd name="connsiteX11" fmla="*/ 0 w 112042"/>
                <a:gd name="connsiteY11" fmla="*/ 14790 h 152377"/>
                <a:gd name="connsiteX12" fmla="*/ 0 w 112042"/>
                <a:gd name="connsiteY12" fmla="*/ 15238 h 152377"/>
                <a:gd name="connsiteX13" fmla="*/ 0 w 112042"/>
                <a:gd name="connsiteY13" fmla="*/ 15686 h 152377"/>
                <a:gd name="connsiteX14" fmla="*/ 0 w 112042"/>
                <a:gd name="connsiteY14" fmla="*/ 150137 h 152377"/>
                <a:gd name="connsiteX15" fmla="*/ 2241 w 112042"/>
                <a:gd name="connsiteY15" fmla="*/ 152378 h 152377"/>
                <a:gd name="connsiteX16" fmla="*/ 109802 w 112042"/>
                <a:gd name="connsiteY16" fmla="*/ 152378 h 152377"/>
                <a:gd name="connsiteX17" fmla="*/ 112043 w 112042"/>
                <a:gd name="connsiteY17" fmla="*/ 150137 h 152377"/>
                <a:gd name="connsiteX18" fmla="*/ 112043 w 112042"/>
                <a:gd name="connsiteY18" fmla="*/ 15686 h 152377"/>
                <a:gd name="connsiteX19" fmla="*/ 110250 w 112042"/>
                <a:gd name="connsiteY19" fmla="*/ 12997 h 152377"/>
                <a:gd name="connsiteX20" fmla="*/ 94564 w 112042"/>
                <a:gd name="connsiteY20" fmla="*/ 12997 h 152377"/>
                <a:gd name="connsiteX21" fmla="*/ 34957 w 112042"/>
                <a:gd name="connsiteY21" fmla="*/ 12997 h 152377"/>
                <a:gd name="connsiteX22" fmla="*/ 94564 w 112042"/>
                <a:gd name="connsiteY22" fmla="*/ 4482 h 152377"/>
                <a:gd name="connsiteX23" fmla="*/ 94564 w 112042"/>
                <a:gd name="connsiteY23" fmla="*/ 12997 h 152377"/>
                <a:gd name="connsiteX24" fmla="*/ 108009 w 112042"/>
                <a:gd name="connsiteY24" fmla="*/ 147448 h 152377"/>
                <a:gd name="connsiteX25" fmla="*/ 4930 w 112042"/>
                <a:gd name="connsiteY25" fmla="*/ 147448 h 152377"/>
                <a:gd name="connsiteX26" fmla="*/ 4930 w 112042"/>
                <a:gd name="connsiteY26" fmla="*/ 17479 h 152377"/>
                <a:gd name="connsiteX27" fmla="*/ 108009 w 112042"/>
                <a:gd name="connsiteY27" fmla="*/ 17479 h 152377"/>
                <a:gd name="connsiteX28" fmla="*/ 108009 w 112042"/>
                <a:gd name="connsiteY28" fmla="*/ 14744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2042" h="152377">
                  <a:moveTo>
                    <a:pt x="110250" y="12997"/>
                  </a:moveTo>
                  <a:lnTo>
                    <a:pt x="99046" y="12997"/>
                  </a:lnTo>
                  <a:lnTo>
                    <a:pt x="99046" y="2241"/>
                  </a:lnTo>
                  <a:cubicBezTo>
                    <a:pt x="99046" y="1793"/>
                    <a:pt x="98597" y="896"/>
                    <a:pt x="98149" y="448"/>
                  </a:cubicBezTo>
                  <a:cubicBezTo>
                    <a:pt x="97701" y="0"/>
                    <a:pt x="96805" y="0"/>
                    <a:pt x="96357" y="0"/>
                  </a:cubicBezTo>
                  <a:lnTo>
                    <a:pt x="2241" y="12997"/>
                  </a:lnTo>
                  <a:cubicBezTo>
                    <a:pt x="2241" y="12997"/>
                    <a:pt x="2241" y="12997"/>
                    <a:pt x="1793" y="12997"/>
                  </a:cubicBezTo>
                  <a:cubicBezTo>
                    <a:pt x="1793" y="12997"/>
                    <a:pt x="1344" y="12997"/>
                    <a:pt x="1344" y="12997"/>
                  </a:cubicBezTo>
                  <a:cubicBezTo>
                    <a:pt x="1344" y="12997"/>
                    <a:pt x="896" y="12997"/>
                    <a:pt x="896" y="13445"/>
                  </a:cubicBezTo>
                  <a:cubicBezTo>
                    <a:pt x="896" y="13445"/>
                    <a:pt x="896" y="13445"/>
                    <a:pt x="448" y="13893"/>
                  </a:cubicBezTo>
                  <a:cubicBezTo>
                    <a:pt x="448" y="13893"/>
                    <a:pt x="448" y="14341"/>
                    <a:pt x="0" y="14341"/>
                  </a:cubicBezTo>
                  <a:cubicBezTo>
                    <a:pt x="0" y="14341"/>
                    <a:pt x="0" y="14790"/>
                    <a:pt x="0" y="14790"/>
                  </a:cubicBezTo>
                  <a:cubicBezTo>
                    <a:pt x="0" y="14790"/>
                    <a:pt x="0" y="15238"/>
                    <a:pt x="0" y="15238"/>
                  </a:cubicBezTo>
                  <a:cubicBezTo>
                    <a:pt x="0" y="15238"/>
                    <a:pt x="0" y="15238"/>
                    <a:pt x="0" y="15686"/>
                  </a:cubicBezTo>
                  <a:lnTo>
                    <a:pt x="0" y="150137"/>
                  </a:lnTo>
                  <a:cubicBezTo>
                    <a:pt x="0" y="151482"/>
                    <a:pt x="896" y="152378"/>
                    <a:pt x="2241" y="152378"/>
                  </a:cubicBezTo>
                  <a:lnTo>
                    <a:pt x="109802" y="152378"/>
                  </a:lnTo>
                  <a:cubicBezTo>
                    <a:pt x="111146" y="152378"/>
                    <a:pt x="112043" y="151482"/>
                    <a:pt x="112043" y="150137"/>
                  </a:cubicBezTo>
                  <a:lnTo>
                    <a:pt x="112043" y="15686"/>
                  </a:lnTo>
                  <a:cubicBezTo>
                    <a:pt x="112491" y="14341"/>
                    <a:pt x="111594" y="12997"/>
                    <a:pt x="110250" y="12997"/>
                  </a:cubicBezTo>
                  <a:close/>
                  <a:moveTo>
                    <a:pt x="94564" y="12997"/>
                  </a:moveTo>
                  <a:lnTo>
                    <a:pt x="34957" y="12997"/>
                  </a:lnTo>
                  <a:lnTo>
                    <a:pt x="94564" y="4482"/>
                  </a:lnTo>
                  <a:lnTo>
                    <a:pt x="94564" y="12997"/>
                  </a:lnTo>
                  <a:close/>
                  <a:moveTo>
                    <a:pt x="108009" y="147448"/>
                  </a:moveTo>
                  <a:lnTo>
                    <a:pt x="4930" y="147448"/>
                  </a:lnTo>
                  <a:lnTo>
                    <a:pt x="4930" y="17479"/>
                  </a:lnTo>
                  <a:lnTo>
                    <a:pt x="108009" y="17479"/>
                  </a:lnTo>
                  <a:lnTo>
                    <a:pt x="108009" y="147448"/>
                  </a:lnTo>
                  <a:close/>
                </a:path>
              </a:pathLst>
            </a:custGeom>
            <a:solidFill>
              <a:srgbClr val="231F20"/>
            </a:solidFill>
            <a:ln w="4477" cap="flat">
              <a:noFill/>
              <a:prstDash val="solid"/>
              <a:miter/>
            </a:ln>
          </p:spPr>
          <p:txBody>
            <a:bodyPr rtlCol="0" anchor="ctr"/>
            <a:lstStyle/>
            <a:p>
              <a:endParaRPr lang="en-US"/>
            </a:p>
          </p:txBody>
        </p:sp>
        <p:sp>
          <p:nvSpPr>
            <p:cNvPr id="5490" name="Freeform: Shape 5489">
              <a:extLst>
                <a:ext uri="{FF2B5EF4-FFF2-40B4-BE49-F238E27FC236}">
                  <a16:creationId xmlns:a16="http://schemas.microsoft.com/office/drawing/2014/main" id="{278022E5-B152-4C0F-9C6A-1F0C5EC36B85}"/>
                </a:ext>
              </a:extLst>
            </p:cNvPr>
            <p:cNvSpPr/>
            <p:nvPr/>
          </p:nvSpPr>
          <p:spPr>
            <a:xfrm>
              <a:off x="9944011" y="1449815"/>
              <a:ext cx="62744" cy="62744"/>
            </a:xfrm>
            <a:custGeom>
              <a:avLst/>
              <a:gdLst>
                <a:gd name="connsiteX0" fmla="*/ 33165 w 62743"/>
                <a:gd name="connsiteY0" fmla="*/ 64537 h 62743"/>
                <a:gd name="connsiteX1" fmla="*/ 66329 w 62743"/>
                <a:gd name="connsiteY1" fmla="*/ 32268 h 62743"/>
                <a:gd name="connsiteX2" fmla="*/ 33165 w 62743"/>
                <a:gd name="connsiteY2" fmla="*/ 0 h 62743"/>
                <a:gd name="connsiteX3" fmla="*/ 0 w 62743"/>
                <a:gd name="connsiteY3" fmla="*/ 32268 h 62743"/>
                <a:gd name="connsiteX4" fmla="*/ 33165 w 62743"/>
                <a:gd name="connsiteY4" fmla="*/ 64537 h 62743"/>
                <a:gd name="connsiteX5" fmla="*/ 4482 w 62743"/>
                <a:gd name="connsiteY5" fmla="*/ 34509 h 62743"/>
                <a:gd name="connsiteX6" fmla="*/ 13893 w 62743"/>
                <a:gd name="connsiteY6" fmla="*/ 34509 h 62743"/>
                <a:gd name="connsiteX7" fmla="*/ 21064 w 62743"/>
                <a:gd name="connsiteY7" fmla="*/ 57366 h 62743"/>
                <a:gd name="connsiteX8" fmla="*/ 4482 w 62743"/>
                <a:gd name="connsiteY8" fmla="*/ 34509 h 62743"/>
                <a:gd name="connsiteX9" fmla="*/ 35406 w 62743"/>
                <a:gd name="connsiteY9" fmla="*/ 59607 h 62743"/>
                <a:gd name="connsiteX10" fmla="*/ 35406 w 62743"/>
                <a:gd name="connsiteY10" fmla="*/ 34509 h 62743"/>
                <a:gd name="connsiteX11" fmla="*/ 47954 w 62743"/>
                <a:gd name="connsiteY11" fmla="*/ 34509 h 62743"/>
                <a:gd name="connsiteX12" fmla="*/ 35406 w 62743"/>
                <a:gd name="connsiteY12" fmla="*/ 59607 h 62743"/>
                <a:gd name="connsiteX13" fmla="*/ 35406 w 62743"/>
                <a:gd name="connsiteY13" fmla="*/ 30027 h 62743"/>
                <a:gd name="connsiteX14" fmla="*/ 35406 w 62743"/>
                <a:gd name="connsiteY14" fmla="*/ 4930 h 62743"/>
                <a:gd name="connsiteX15" fmla="*/ 47954 w 62743"/>
                <a:gd name="connsiteY15" fmla="*/ 30027 h 62743"/>
                <a:gd name="connsiteX16" fmla="*/ 35406 w 62743"/>
                <a:gd name="connsiteY16" fmla="*/ 30027 h 62743"/>
                <a:gd name="connsiteX17" fmla="*/ 30924 w 62743"/>
                <a:gd name="connsiteY17" fmla="*/ 4482 h 62743"/>
                <a:gd name="connsiteX18" fmla="*/ 30924 w 62743"/>
                <a:gd name="connsiteY18" fmla="*/ 29579 h 62743"/>
                <a:gd name="connsiteX19" fmla="*/ 18375 w 62743"/>
                <a:gd name="connsiteY19" fmla="*/ 29579 h 62743"/>
                <a:gd name="connsiteX20" fmla="*/ 30924 w 62743"/>
                <a:gd name="connsiteY20" fmla="*/ 4482 h 62743"/>
                <a:gd name="connsiteX21" fmla="*/ 30924 w 62743"/>
                <a:gd name="connsiteY21" fmla="*/ 34509 h 62743"/>
                <a:gd name="connsiteX22" fmla="*/ 30924 w 62743"/>
                <a:gd name="connsiteY22" fmla="*/ 59607 h 62743"/>
                <a:gd name="connsiteX23" fmla="*/ 18375 w 62743"/>
                <a:gd name="connsiteY23" fmla="*/ 34509 h 62743"/>
                <a:gd name="connsiteX24" fmla="*/ 30924 w 62743"/>
                <a:gd name="connsiteY24" fmla="*/ 34509 h 62743"/>
                <a:gd name="connsiteX25" fmla="*/ 45265 w 62743"/>
                <a:gd name="connsiteY25" fmla="*/ 57366 h 62743"/>
                <a:gd name="connsiteX26" fmla="*/ 52436 w 62743"/>
                <a:gd name="connsiteY26" fmla="*/ 34509 h 62743"/>
                <a:gd name="connsiteX27" fmla="*/ 61847 w 62743"/>
                <a:gd name="connsiteY27" fmla="*/ 34509 h 62743"/>
                <a:gd name="connsiteX28" fmla="*/ 45265 w 62743"/>
                <a:gd name="connsiteY28" fmla="*/ 57366 h 62743"/>
                <a:gd name="connsiteX29" fmla="*/ 61847 w 62743"/>
                <a:gd name="connsiteY29" fmla="*/ 30027 h 62743"/>
                <a:gd name="connsiteX30" fmla="*/ 52436 w 62743"/>
                <a:gd name="connsiteY30" fmla="*/ 30027 h 62743"/>
                <a:gd name="connsiteX31" fmla="*/ 45265 w 62743"/>
                <a:gd name="connsiteY31" fmla="*/ 7171 h 62743"/>
                <a:gd name="connsiteX32" fmla="*/ 61847 w 62743"/>
                <a:gd name="connsiteY32" fmla="*/ 30027 h 62743"/>
                <a:gd name="connsiteX33" fmla="*/ 21064 w 62743"/>
                <a:gd name="connsiteY33" fmla="*/ 6723 h 62743"/>
                <a:gd name="connsiteX34" fmla="*/ 13893 w 62743"/>
                <a:gd name="connsiteY34" fmla="*/ 29579 h 62743"/>
                <a:gd name="connsiteX35" fmla="*/ 4482 w 62743"/>
                <a:gd name="connsiteY35" fmla="*/ 29579 h 62743"/>
                <a:gd name="connsiteX36" fmla="*/ 21064 w 62743"/>
                <a:gd name="connsiteY36" fmla="*/ 6723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743" h="62743">
                  <a:moveTo>
                    <a:pt x="33165" y="64537"/>
                  </a:moveTo>
                  <a:cubicBezTo>
                    <a:pt x="51540" y="64537"/>
                    <a:pt x="66329" y="50195"/>
                    <a:pt x="66329" y="32268"/>
                  </a:cubicBezTo>
                  <a:cubicBezTo>
                    <a:pt x="66329" y="14341"/>
                    <a:pt x="51540" y="0"/>
                    <a:pt x="33165" y="0"/>
                  </a:cubicBezTo>
                  <a:cubicBezTo>
                    <a:pt x="14790" y="0"/>
                    <a:pt x="0" y="14341"/>
                    <a:pt x="0" y="32268"/>
                  </a:cubicBezTo>
                  <a:cubicBezTo>
                    <a:pt x="0" y="50195"/>
                    <a:pt x="14790" y="64537"/>
                    <a:pt x="33165" y="64537"/>
                  </a:cubicBezTo>
                  <a:close/>
                  <a:moveTo>
                    <a:pt x="4482" y="34509"/>
                  </a:moveTo>
                  <a:lnTo>
                    <a:pt x="13893" y="34509"/>
                  </a:lnTo>
                  <a:cubicBezTo>
                    <a:pt x="14342" y="43921"/>
                    <a:pt x="17030" y="51988"/>
                    <a:pt x="21064" y="57366"/>
                  </a:cubicBezTo>
                  <a:cubicBezTo>
                    <a:pt x="11652" y="53332"/>
                    <a:pt x="5378" y="44369"/>
                    <a:pt x="4482" y="34509"/>
                  </a:cubicBezTo>
                  <a:close/>
                  <a:moveTo>
                    <a:pt x="35406" y="59607"/>
                  </a:moveTo>
                  <a:lnTo>
                    <a:pt x="35406" y="34509"/>
                  </a:lnTo>
                  <a:lnTo>
                    <a:pt x="47954" y="34509"/>
                  </a:lnTo>
                  <a:cubicBezTo>
                    <a:pt x="47058" y="47058"/>
                    <a:pt x="42128" y="57814"/>
                    <a:pt x="35406" y="59607"/>
                  </a:cubicBezTo>
                  <a:close/>
                  <a:moveTo>
                    <a:pt x="35406" y="30027"/>
                  </a:moveTo>
                  <a:lnTo>
                    <a:pt x="35406" y="4930"/>
                  </a:lnTo>
                  <a:cubicBezTo>
                    <a:pt x="42128" y="6723"/>
                    <a:pt x="47058" y="17479"/>
                    <a:pt x="47954" y="30027"/>
                  </a:cubicBezTo>
                  <a:lnTo>
                    <a:pt x="35406" y="30027"/>
                  </a:lnTo>
                  <a:close/>
                  <a:moveTo>
                    <a:pt x="30924" y="4482"/>
                  </a:moveTo>
                  <a:lnTo>
                    <a:pt x="30924" y="29579"/>
                  </a:lnTo>
                  <a:lnTo>
                    <a:pt x="18375" y="29579"/>
                  </a:lnTo>
                  <a:cubicBezTo>
                    <a:pt x="18823" y="17030"/>
                    <a:pt x="24201" y="6723"/>
                    <a:pt x="30924" y="4482"/>
                  </a:cubicBezTo>
                  <a:close/>
                  <a:moveTo>
                    <a:pt x="30924" y="34509"/>
                  </a:moveTo>
                  <a:lnTo>
                    <a:pt x="30924" y="59607"/>
                  </a:lnTo>
                  <a:cubicBezTo>
                    <a:pt x="24201" y="57814"/>
                    <a:pt x="19271" y="47058"/>
                    <a:pt x="18375" y="34509"/>
                  </a:cubicBezTo>
                  <a:lnTo>
                    <a:pt x="30924" y="34509"/>
                  </a:lnTo>
                  <a:close/>
                  <a:moveTo>
                    <a:pt x="45265" y="57366"/>
                  </a:moveTo>
                  <a:cubicBezTo>
                    <a:pt x="49299" y="51988"/>
                    <a:pt x="51988" y="43921"/>
                    <a:pt x="52436" y="34509"/>
                  </a:cubicBezTo>
                  <a:lnTo>
                    <a:pt x="61847" y="34509"/>
                  </a:lnTo>
                  <a:cubicBezTo>
                    <a:pt x="60951" y="44369"/>
                    <a:pt x="54677" y="53332"/>
                    <a:pt x="45265" y="57366"/>
                  </a:cubicBezTo>
                  <a:close/>
                  <a:moveTo>
                    <a:pt x="61847" y="30027"/>
                  </a:moveTo>
                  <a:lnTo>
                    <a:pt x="52436" y="30027"/>
                  </a:lnTo>
                  <a:cubicBezTo>
                    <a:pt x="51988" y="20616"/>
                    <a:pt x="49299" y="12549"/>
                    <a:pt x="45265" y="7171"/>
                  </a:cubicBezTo>
                  <a:cubicBezTo>
                    <a:pt x="54677" y="10756"/>
                    <a:pt x="60951" y="19720"/>
                    <a:pt x="61847" y="30027"/>
                  </a:cubicBezTo>
                  <a:close/>
                  <a:moveTo>
                    <a:pt x="21064" y="6723"/>
                  </a:moveTo>
                  <a:cubicBezTo>
                    <a:pt x="17030" y="12101"/>
                    <a:pt x="14342" y="20168"/>
                    <a:pt x="13893" y="29579"/>
                  </a:cubicBezTo>
                  <a:lnTo>
                    <a:pt x="4482" y="29579"/>
                  </a:lnTo>
                  <a:cubicBezTo>
                    <a:pt x="5378" y="19720"/>
                    <a:pt x="11652" y="10756"/>
                    <a:pt x="21064" y="6723"/>
                  </a:cubicBezTo>
                  <a:close/>
                </a:path>
              </a:pathLst>
            </a:custGeom>
            <a:solidFill>
              <a:srgbClr val="231F20"/>
            </a:solidFill>
            <a:ln w="4477" cap="flat">
              <a:noFill/>
              <a:prstDash val="solid"/>
              <a:miter/>
            </a:ln>
          </p:spPr>
          <p:txBody>
            <a:bodyPr rtlCol="0" anchor="ctr"/>
            <a:lstStyle/>
            <a:p>
              <a:endParaRPr lang="en-US"/>
            </a:p>
          </p:txBody>
        </p:sp>
        <p:sp>
          <p:nvSpPr>
            <p:cNvPr id="5491" name="Freeform: Shape 5490">
              <a:extLst>
                <a:ext uri="{FF2B5EF4-FFF2-40B4-BE49-F238E27FC236}">
                  <a16:creationId xmlns:a16="http://schemas.microsoft.com/office/drawing/2014/main" id="{4043EF48-AC10-4478-860F-D9112AB35A7A}"/>
                </a:ext>
              </a:extLst>
            </p:cNvPr>
            <p:cNvSpPr/>
            <p:nvPr/>
          </p:nvSpPr>
          <p:spPr>
            <a:xfrm>
              <a:off x="9938184" y="1533175"/>
              <a:ext cx="76189" cy="4482"/>
            </a:xfrm>
            <a:custGeom>
              <a:avLst/>
              <a:gdLst>
                <a:gd name="connsiteX0" fmla="*/ 75741 w 76188"/>
                <a:gd name="connsiteY0" fmla="*/ 0 h 4481"/>
                <a:gd name="connsiteX1" fmla="*/ 2241 w 76188"/>
                <a:gd name="connsiteY1" fmla="*/ 0 h 4481"/>
                <a:gd name="connsiteX2" fmla="*/ 0 w 76188"/>
                <a:gd name="connsiteY2" fmla="*/ 2241 h 4481"/>
                <a:gd name="connsiteX3" fmla="*/ 2241 w 76188"/>
                <a:gd name="connsiteY3" fmla="*/ 4482 h 4481"/>
                <a:gd name="connsiteX4" fmla="*/ 75741 w 76188"/>
                <a:gd name="connsiteY4" fmla="*/ 4482 h 4481"/>
                <a:gd name="connsiteX5" fmla="*/ 77981 w 76188"/>
                <a:gd name="connsiteY5" fmla="*/ 2241 h 4481"/>
                <a:gd name="connsiteX6" fmla="*/ 75741 w 76188"/>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88" h="4481">
                  <a:moveTo>
                    <a:pt x="75741" y="0"/>
                  </a:moveTo>
                  <a:lnTo>
                    <a:pt x="2241" y="0"/>
                  </a:lnTo>
                  <a:cubicBezTo>
                    <a:pt x="896" y="0"/>
                    <a:pt x="0" y="896"/>
                    <a:pt x="0" y="2241"/>
                  </a:cubicBezTo>
                  <a:cubicBezTo>
                    <a:pt x="0" y="3585"/>
                    <a:pt x="896" y="4482"/>
                    <a:pt x="2241" y="4482"/>
                  </a:cubicBezTo>
                  <a:lnTo>
                    <a:pt x="75741" y="4482"/>
                  </a:lnTo>
                  <a:cubicBezTo>
                    <a:pt x="77085" y="4482"/>
                    <a:pt x="77981" y="3585"/>
                    <a:pt x="77981" y="2241"/>
                  </a:cubicBezTo>
                  <a:cubicBezTo>
                    <a:pt x="77981" y="1345"/>
                    <a:pt x="77085" y="0"/>
                    <a:pt x="75741" y="0"/>
                  </a:cubicBezTo>
                  <a:close/>
                </a:path>
              </a:pathLst>
            </a:custGeom>
            <a:solidFill>
              <a:srgbClr val="231F20"/>
            </a:solidFill>
            <a:ln w="4477" cap="flat">
              <a:noFill/>
              <a:prstDash val="solid"/>
              <a:miter/>
            </a:ln>
          </p:spPr>
          <p:txBody>
            <a:bodyPr rtlCol="0" anchor="ctr"/>
            <a:lstStyle/>
            <a:p>
              <a:endParaRPr lang="en-US"/>
            </a:p>
          </p:txBody>
        </p:sp>
        <p:sp>
          <p:nvSpPr>
            <p:cNvPr id="5492" name="Freeform: Shape 5491">
              <a:extLst>
                <a:ext uri="{FF2B5EF4-FFF2-40B4-BE49-F238E27FC236}">
                  <a16:creationId xmlns:a16="http://schemas.microsoft.com/office/drawing/2014/main" id="{C49540D6-F4E1-4E5D-A382-7020C6C5FEE1}"/>
                </a:ext>
              </a:extLst>
            </p:cNvPr>
            <p:cNvSpPr/>
            <p:nvPr/>
          </p:nvSpPr>
          <p:spPr>
            <a:xfrm>
              <a:off x="9949389" y="1546620"/>
              <a:ext cx="53780" cy="4482"/>
            </a:xfrm>
            <a:custGeom>
              <a:avLst/>
              <a:gdLst>
                <a:gd name="connsiteX0" fmla="*/ 53332 w 53780"/>
                <a:gd name="connsiteY0" fmla="*/ 0 h 4481"/>
                <a:gd name="connsiteX1" fmla="*/ 2241 w 53780"/>
                <a:gd name="connsiteY1" fmla="*/ 0 h 4481"/>
                <a:gd name="connsiteX2" fmla="*/ 0 w 53780"/>
                <a:gd name="connsiteY2" fmla="*/ 2241 h 4481"/>
                <a:gd name="connsiteX3" fmla="*/ 2241 w 53780"/>
                <a:gd name="connsiteY3" fmla="*/ 4482 h 4481"/>
                <a:gd name="connsiteX4" fmla="*/ 53332 w 53780"/>
                <a:gd name="connsiteY4" fmla="*/ 4482 h 4481"/>
                <a:gd name="connsiteX5" fmla="*/ 55573 w 53780"/>
                <a:gd name="connsiteY5" fmla="*/ 2241 h 4481"/>
                <a:gd name="connsiteX6" fmla="*/ 53332 w 53780"/>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80" h="4481">
                  <a:moveTo>
                    <a:pt x="53332" y="0"/>
                  </a:moveTo>
                  <a:lnTo>
                    <a:pt x="2241" y="0"/>
                  </a:lnTo>
                  <a:cubicBezTo>
                    <a:pt x="896" y="0"/>
                    <a:pt x="0" y="896"/>
                    <a:pt x="0" y="2241"/>
                  </a:cubicBezTo>
                  <a:cubicBezTo>
                    <a:pt x="0" y="3585"/>
                    <a:pt x="896" y="4482"/>
                    <a:pt x="2241" y="4482"/>
                  </a:cubicBezTo>
                  <a:lnTo>
                    <a:pt x="53332" y="4482"/>
                  </a:lnTo>
                  <a:cubicBezTo>
                    <a:pt x="54677" y="4482"/>
                    <a:pt x="55573" y="3585"/>
                    <a:pt x="55573" y="2241"/>
                  </a:cubicBezTo>
                  <a:cubicBezTo>
                    <a:pt x="55573" y="1345"/>
                    <a:pt x="54677" y="0"/>
                    <a:pt x="53332" y="0"/>
                  </a:cubicBezTo>
                  <a:close/>
                </a:path>
              </a:pathLst>
            </a:custGeom>
            <a:solidFill>
              <a:srgbClr val="231F20"/>
            </a:solidFill>
            <a:ln w="4477" cap="flat">
              <a:noFill/>
              <a:prstDash val="solid"/>
              <a:miter/>
            </a:ln>
          </p:spPr>
          <p:txBody>
            <a:bodyPr rtlCol="0" anchor="ctr"/>
            <a:lstStyle/>
            <a:p>
              <a:endParaRPr lang="en-US"/>
            </a:p>
          </p:txBody>
        </p:sp>
      </p:grpSp>
      <p:sp>
        <p:nvSpPr>
          <p:cNvPr id="2446" name="Freeform: Shape 2445">
            <a:extLst>
              <a:ext uri="{FF2B5EF4-FFF2-40B4-BE49-F238E27FC236}">
                <a16:creationId xmlns:a16="http://schemas.microsoft.com/office/drawing/2014/main" id="{5F7CDD3A-3611-40B1-8D4F-C30266D32E04}"/>
              </a:ext>
              <a:ext uri="{C183D7F6-B498-43B3-948B-1728B52AA6E4}">
                <adec:decorative xmlns:adec="http://schemas.microsoft.com/office/drawing/2017/decorative" val="1"/>
              </a:ext>
            </a:extLst>
          </p:cNvPr>
          <p:cNvSpPr>
            <a:spLocks noChangeAspect="1"/>
          </p:cNvSpPr>
          <p:nvPr/>
        </p:nvSpPr>
        <p:spPr>
          <a:xfrm>
            <a:off x="10074106" y="3474225"/>
            <a:ext cx="147896" cy="125488"/>
          </a:xfrm>
          <a:custGeom>
            <a:avLst/>
            <a:gdLst>
              <a:gd name="connsiteX0" fmla="*/ 151481 w 147896"/>
              <a:gd name="connsiteY0" fmla="*/ 14341 h 125487"/>
              <a:gd name="connsiteX1" fmla="*/ 149689 w 147896"/>
              <a:gd name="connsiteY1" fmla="*/ 13445 h 125487"/>
              <a:gd name="connsiteX2" fmla="*/ 126832 w 147896"/>
              <a:gd name="connsiteY2" fmla="*/ 13445 h 125487"/>
              <a:gd name="connsiteX3" fmla="*/ 123695 w 147896"/>
              <a:gd name="connsiteY3" fmla="*/ 13445 h 125487"/>
              <a:gd name="connsiteX4" fmla="*/ 32716 w 147896"/>
              <a:gd name="connsiteY4" fmla="*/ 13445 h 125487"/>
              <a:gd name="connsiteX5" fmla="*/ 30476 w 147896"/>
              <a:gd name="connsiteY5" fmla="*/ 1793 h 125487"/>
              <a:gd name="connsiteX6" fmla="*/ 28235 w 147896"/>
              <a:gd name="connsiteY6" fmla="*/ 0 h 125487"/>
              <a:gd name="connsiteX7" fmla="*/ 2241 w 147896"/>
              <a:gd name="connsiteY7" fmla="*/ 0 h 125487"/>
              <a:gd name="connsiteX8" fmla="*/ 0 w 147896"/>
              <a:gd name="connsiteY8" fmla="*/ 2241 h 125487"/>
              <a:gd name="connsiteX9" fmla="*/ 2241 w 147896"/>
              <a:gd name="connsiteY9" fmla="*/ 4482 h 125487"/>
              <a:gd name="connsiteX10" fmla="*/ 26442 w 147896"/>
              <a:gd name="connsiteY10" fmla="*/ 4482 h 125487"/>
              <a:gd name="connsiteX11" fmla="*/ 44817 w 147896"/>
              <a:gd name="connsiteY11" fmla="*/ 96805 h 125487"/>
              <a:gd name="connsiteX12" fmla="*/ 47058 w 147896"/>
              <a:gd name="connsiteY12" fmla="*/ 98597 h 125487"/>
              <a:gd name="connsiteX13" fmla="*/ 49299 w 147896"/>
              <a:gd name="connsiteY13" fmla="*/ 98597 h 125487"/>
              <a:gd name="connsiteX14" fmla="*/ 44817 w 147896"/>
              <a:gd name="connsiteY14" fmla="*/ 109802 h 125487"/>
              <a:gd name="connsiteX15" fmla="*/ 59607 w 147896"/>
              <a:gd name="connsiteY15" fmla="*/ 125488 h 125487"/>
              <a:gd name="connsiteX16" fmla="*/ 74396 w 147896"/>
              <a:gd name="connsiteY16" fmla="*/ 109802 h 125487"/>
              <a:gd name="connsiteX17" fmla="*/ 69914 w 147896"/>
              <a:gd name="connsiteY17" fmla="*/ 98597 h 125487"/>
              <a:gd name="connsiteX18" fmla="*/ 100390 w 147896"/>
              <a:gd name="connsiteY18" fmla="*/ 98597 h 125487"/>
              <a:gd name="connsiteX19" fmla="*/ 95909 w 147896"/>
              <a:gd name="connsiteY19" fmla="*/ 109802 h 125487"/>
              <a:gd name="connsiteX20" fmla="*/ 110698 w 147896"/>
              <a:gd name="connsiteY20" fmla="*/ 125488 h 125487"/>
              <a:gd name="connsiteX21" fmla="*/ 125488 w 147896"/>
              <a:gd name="connsiteY21" fmla="*/ 109802 h 125487"/>
              <a:gd name="connsiteX22" fmla="*/ 121006 w 147896"/>
              <a:gd name="connsiteY22" fmla="*/ 98597 h 125487"/>
              <a:gd name="connsiteX23" fmla="*/ 132210 w 147896"/>
              <a:gd name="connsiteY23" fmla="*/ 98597 h 125487"/>
              <a:gd name="connsiteX24" fmla="*/ 134451 w 147896"/>
              <a:gd name="connsiteY24" fmla="*/ 96357 h 125487"/>
              <a:gd name="connsiteX25" fmla="*/ 132210 w 147896"/>
              <a:gd name="connsiteY25" fmla="*/ 94116 h 125487"/>
              <a:gd name="connsiteX26" fmla="*/ 48851 w 147896"/>
              <a:gd name="connsiteY26" fmla="*/ 94116 h 125487"/>
              <a:gd name="connsiteX27" fmla="*/ 47058 w 147896"/>
              <a:gd name="connsiteY27" fmla="*/ 85152 h 125487"/>
              <a:gd name="connsiteX28" fmla="*/ 132210 w 147896"/>
              <a:gd name="connsiteY28" fmla="*/ 85152 h 125487"/>
              <a:gd name="connsiteX29" fmla="*/ 134451 w 147896"/>
              <a:gd name="connsiteY29" fmla="*/ 83360 h 125487"/>
              <a:gd name="connsiteX30" fmla="*/ 151930 w 147896"/>
              <a:gd name="connsiteY30" fmla="*/ 16134 h 125487"/>
              <a:gd name="connsiteX31" fmla="*/ 151481 w 147896"/>
              <a:gd name="connsiteY31" fmla="*/ 14341 h 125487"/>
              <a:gd name="connsiteX32" fmla="*/ 120558 w 147896"/>
              <a:gd name="connsiteY32" fmla="*/ 110250 h 125487"/>
              <a:gd name="connsiteX33" fmla="*/ 110250 w 147896"/>
              <a:gd name="connsiteY33" fmla="*/ 121454 h 125487"/>
              <a:gd name="connsiteX34" fmla="*/ 99942 w 147896"/>
              <a:gd name="connsiteY34" fmla="*/ 110250 h 125487"/>
              <a:gd name="connsiteX35" fmla="*/ 110250 w 147896"/>
              <a:gd name="connsiteY35" fmla="*/ 99046 h 125487"/>
              <a:gd name="connsiteX36" fmla="*/ 120558 w 147896"/>
              <a:gd name="connsiteY36" fmla="*/ 110250 h 125487"/>
              <a:gd name="connsiteX37" fmla="*/ 69466 w 147896"/>
              <a:gd name="connsiteY37" fmla="*/ 110250 h 125487"/>
              <a:gd name="connsiteX38" fmla="*/ 59159 w 147896"/>
              <a:gd name="connsiteY38" fmla="*/ 121454 h 125487"/>
              <a:gd name="connsiteX39" fmla="*/ 48851 w 147896"/>
              <a:gd name="connsiteY39" fmla="*/ 110250 h 125487"/>
              <a:gd name="connsiteX40" fmla="*/ 59159 w 147896"/>
              <a:gd name="connsiteY40" fmla="*/ 99046 h 125487"/>
              <a:gd name="connsiteX41" fmla="*/ 69466 w 147896"/>
              <a:gd name="connsiteY41" fmla="*/ 110250 h 125487"/>
              <a:gd name="connsiteX42" fmla="*/ 130417 w 147896"/>
              <a:gd name="connsiteY42" fmla="*/ 81119 h 125487"/>
              <a:gd name="connsiteX43" fmla="*/ 45713 w 147896"/>
              <a:gd name="connsiteY43" fmla="*/ 81119 h 125487"/>
              <a:gd name="connsiteX44" fmla="*/ 33165 w 147896"/>
              <a:gd name="connsiteY44" fmla="*/ 18375 h 125487"/>
              <a:gd name="connsiteX45" fmla="*/ 123247 w 147896"/>
              <a:gd name="connsiteY45" fmla="*/ 18375 h 125487"/>
              <a:gd name="connsiteX46" fmla="*/ 126384 w 147896"/>
              <a:gd name="connsiteY46" fmla="*/ 18375 h 125487"/>
              <a:gd name="connsiteX47" fmla="*/ 146552 w 147896"/>
              <a:gd name="connsiteY47" fmla="*/ 18375 h 125487"/>
              <a:gd name="connsiteX48" fmla="*/ 130417 w 147896"/>
              <a:gd name="connsiteY48" fmla="*/ 81119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7896" h="125487">
                <a:moveTo>
                  <a:pt x="151481" y="14341"/>
                </a:moveTo>
                <a:cubicBezTo>
                  <a:pt x="151033" y="13893"/>
                  <a:pt x="150585" y="13445"/>
                  <a:pt x="149689" y="13445"/>
                </a:cubicBezTo>
                <a:lnTo>
                  <a:pt x="126832" y="13445"/>
                </a:lnTo>
                <a:lnTo>
                  <a:pt x="123695" y="13445"/>
                </a:ln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1" y="94116"/>
                </a:lnTo>
                <a:lnTo>
                  <a:pt x="47058" y="85152"/>
                </a:lnTo>
                <a:lnTo>
                  <a:pt x="132210" y="85152"/>
                </a:lnTo>
                <a:cubicBezTo>
                  <a:pt x="133107" y="85152"/>
                  <a:pt x="134003" y="84256"/>
                  <a:pt x="134451" y="83360"/>
                </a:cubicBezTo>
                <a:lnTo>
                  <a:pt x="151930" y="16134"/>
                </a:lnTo>
                <a:cubicBezTo>
                  <a:pt x="151930" y="15686"/>
                  <a:pt x="151930" y="15238"/>
                  <a:pt x="151481" y="14341"/>
                </a:cubicBezTo>
                <a:close/>
                <a:moveTo>
                  <a:pt x="120558" y="110250"/>
                </a:moveTo>
                <a:cubicBezTo>
                  <a:pt x="120558" y="116524"/>
                  <a:pt x="116076" y="121454"/>
                  <a:pt x="110250" y="121454"/>
                </a:cubicBezTo>
                <a:cubicBezTo>
                  <a:pt x="104424" y="121454"/>
                  <a:pt x="99942" y="116524"/>
                  <a:pt x="99942" y="110250"/>
                </a:cubicBezTo>
                <a:cubicBezTo>
                  <a:pt x="99942" y="103976"/>
                  <a:pt x="104424" y="99046"/>
                  <a:pt x="110250" y="99046"/>
                </a:cubicBezTo>
                <a:cubicBezTo>
                  <a:pt x="115628" y="99046"/>
                  <a:pt x="120558" y="103976"/>
                  <a:pt x="120558" y="110250"/>
                </a:cubicBezTo>
                <a:close/>
                <a:moveTo>
                  <a:pt x="69466" y="110250"/>
                </a:moveTo>
                <a:cubicBezTo>
                  <a:pt x="69466" y="116524"/>
                  <a:pt x="64985" y="121454"/>
                  <a:pt x="59159" y="121454"/>
                </a:cubicBezTo>
                <a:cubicBezTo>
                  <a:pt x="53332" y="121454"/>
                  <a:pt x="48851" y="116524"/>
                  <a:pt x="48851" y="110250"/>
                </a:cubicBezTo>
                <a:cubicBezTo>
                  <a:pt x="48851" y="103976"/>
                  <a:pt x="53332" y="99046"/>
                  <a:pt x="59159" y="99046"/>
                </a:cubicBezTo>
                <a:cubicBezTo>
                  <a:pt x="64985" y="99046"/>
                  <a:pt x="69466" y="103976"/>
                  <a:pt x="69466" y="110250"/>
                </a:cubicBezTo>
                <a:close/>
                <a:moveTo>
                  <a:pt x="130417" y="81119"/>
                </a:moveTo>
                <a:lnTo>
                  <a:pt x="45713" y="81119"/>
                </a:lnTo>
                <a:lnTo>
                  <a:pt x="33165" y="18375"/>
                </a:lnTo>
                <a:lnTo>
                  <a:pt x="123247" y="18375"/>
                </a:lnTo>
                <a:lnTo>
                  <a:pt x="126384" y="18375"/>
                </a:lnTo>
                <a:lnTo>
                  <a:pt x="146552" y="18375"/>
                </a:lnTo>
                <a:lnTo>
                  <a:pt x="130417" y="81119"/>
                </a:lnTo>
                <a:close/>
              </a:path>
            </a:pathLst>
          </a:custGeom>
          <a:solidFill>
            <a:srgbClr val="231F20"/>
          </a:solidFill>
          <a:ln w="4477" cap="flat">
            <a:noFill/>
            <a:prstDash val="solid"/>
            <a:miter/>
          </a:ln>
        </p:spPr>
        <p:txBody>
          <a:bodyPr rtlCol="0" anchor="ctr"/>
          <a:lstStyle/>
          <a:p>
            <a:endParaRPr lang="en-US"/>
          </a:p>
        </p:txBody>
      </p:sp>
      <p:sp>
        <p:nvSpPr>
          <p:cNvPr id="2447" name="Freeform: Shape 2446">
            <a:extLst>
              <a:ext uri="{FF2B5EF4-FFF2-40B4-BE49-F238E27FC236}">
                <a16:creationId xmlns:a16="http://schemas.microsoft.com/office/drawing/2014/main" id="{0C9BCEE1-F2EB-48E9-99F9-80010AED2D3F}"/>
              </a:ext>
              <a:ext uri="{C183D7F6-B498-43B3-948B-1728B52AA6E4}">
                <adec:decorative xmlns:adec="http://schemas.microsoft.com/office/drawing/2017/decorative" val="1"/>
              </a:ext>
            </a:extLst>
          </p:cNvPr>
          <p:cNvSpPr>
            <a:spLocks noChangeAspect="1"/>
          </p:cNvSpPr>
          <p:nvPr/>
        </p:nvSpPr>
        <p:spPr>
          <a:xfrm>
            <a:off x="10330459" y="3474225"/>
            <a:ext cx="152378" cy="125488"/>
          </a:xfrm>
          <a:custGeom>
            <a:avLst/>
            <a:gdLst>
              <a:gd name="connsiteX0" fmla="*/ 151930 w 152377"/>
              <a:gd name="connsiteY0" fmla="*/ 14341 h 125487"/>
              <a:gd name="connsiteX1" fmla="*/ 150137 w 152377"/>
              <a:gd name="connsiteY1" fmla="*/ 13445 h 125487"/>
              <a:gd name="connsiteX2" fmla="*/ 124143 w 152377"/>
              <a:gd name="connsiteY2" fmla="*/ 13445 h 125487"/>
              <a:gd name="connsiteX3" fmla="*/ 121902 w 152377"/>
              <a:gd name="connsiteY3" fmla="*/ 15686 h 125487"/>
              <a:gd name="connsiteX4" fmla="*/ 124143 w 152377"/>
              <a:gd name="connsiteY4" fmla="*/ 17927 h 125487"/>
              <a:gd name="connsiteX5" fmla="*/ 147448 w 152377"/>
              <a:gd name="connsiteY5" fmla="*/ 17927 h 125487"/>
              <a:gd name="connsiteX6" fmla="*/ 131314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6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8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0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930 w 152377"/>
              <a:gd name="connsiteY39" fmla="*/ 14341 h 125487"/>
              <a:gd name="connsiteX40" fmla="*/ 121006 w 152377"/>
              <a:gd name="connsiteY40" fmla="*/ 110250 h 125487"/>
              <a:gd name="connsiteX41" fmla="*/ 110698 w 152377"/>
              <a:gd name="connsiteY41" fmla="*/ 121454 h 125487"/>
              <a:gd name="connsiteX42" fmla="*/ 100390 w 152377"/>
              <a:gd name="connsiteY42" fmla="*/ 110250 h 125487"/>
              <a:gd name="connsiteX43" fmla="*/ 110698 w 152377"/>
              <a:gd name="connsiteY43" fmla="*/ 99046 h 125487"/>
              <a:gd name="connsiteX44" fmla="*/ 121006 w 152377"/>
              <a:gd name="connsiteY44" fmla="*/ 110250 h 125487"/>
              <a:gd name="connsiteX45" fmla="*/ 69914 w 152377"/>
              <a:gd name="connsiteY45" fmla="*/ 110250 h 125487"/>
              <a:gd name="connsiteX46" fmla="*/ 59607 w 152377"/>
              <a:gd name="connsiteY46" fmla="*/ 121454 h 125487"/>
              <a:gd name="connsiteX47" fmla="*/ 49299 w 152377"/>
              <a:gd name="connsiteY47" fmla="*/ 110250 h 125487"/>
              <a:gd name="connsiteX48" fmla="*/ 59607 w 152377"/>
              <a:gd name="connsiteY48" fmla="*/ 99046 h 125487"/>
              <a:gd name="connsiteX49" fmla="*/ 69914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930" y="14341"/>
                </a:moveTo>
                <a:cubicBezTo>
                  <a:pt x="151481" y="13893"/>
                  <a:pt x="151033" y="13445"/>
                  <a:pt x="150137" y="13445"/>
                </a:cubicBezTo>
                <a:lnTo>
                  <a:pt x="124143" y="13445"/>
                </a:lnTo>
                <a:cubicBezTo>
                  <a:pt x="122798" y="13445"/>
                  <a:pt x="121902" y="14341"/>
                  <a:pt x="121902" y="15686"/>
                </a:cubicBezTo>
                <a:cubicBezTo>
                  <a:pt x="121902" y="17030"/>
                  <a:pt x="122798" y="17927"/>
                  <a:pt x="124143" y="17927"/>
                </a:cubicBezTo>
                <a:lnTo>
                  <a:pt x="147448" y="17927"/>
                </a:lnTo>
                <a:lnTo>
                  <a:pt x="131314" y="80671"/>
                </a:lnTo>
                <a:lnTo>
                  <a:pt x="46161" y="80671"/>
                </a:lnTo>
                <a:lnTo>
                  <a:pt x="33613" y="17927"/>
                </a:lnTo>
                <a:lnTo>
                  <a:pt x="55125" y="17927"/>
                </a:lnTo>
                <a:cubicBezTo>
                  <a:pt x="56469" y="17927"/>
                  <a:pt x="57366" y="17030"/>
                  <a:pt x="57366" y="15686"/>
                </a:cubicBezTo>
                <a:cubicBezTo>
                  <a:pt x="57366" y="14341"/>
                  <a:pt x="56469" y="13445"/>
                  <a:pt x="55125" y="13445"/>
                </a:cubicBez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8" y="105320"/>
                  <a:pt x="95908" y="109802"/>
                </a:cubicBezTo>
                <a:cubicBezTo>
                  <a:pt x="95908"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0" y="94116"/>
                </a:lnTo>
                <a:lnTo>
                  <a:pt x="47058" y="85152"/>
                </a:lnTo>
                <a:lnTo>
                  <a:pt x="132658" y="85152"/>
                </a:lnTo>
                <a:cubicBezTo>
                  <a:pt x="133555" y="85152"/>
                  <a:pt x="134451" y="84256"/>
                  <a:pt x="134899" y="83360"/>
                </a:cubicBezTo>
                <a:lnTo>
                  <a:pt x="152378" y="16134"/>
                </a:lnTo>
                <a:cubicBezTo>
                  <a:pt x="152378" y="15686"/>
                  <a:pt x="152378" y="15238"/>
                  <a:pt x="151930" y="14341"/>
                </a:cubicBezTo>
                <a:close/>
                <a:moveTo>
                  <a:pt x="121006" y="110250"/>
                </a:moveTo>
                <a:cubicBezTo>
                  <a:pt x="121006" y="116524"/>
                  <a:pt x="116524" y="121454"/>
                  <a:pt x="110698" y="121454"/>
                </a:cubicBezTo>
                <a:cubicBezTo>
                  <a:pt x="104872" y="121454"/>
                  <a:pt x="100390" y="116524"/>
                  <a:pt x="100390" y="110250"/>
                </a:cubicBezTo>
                <a:cubicBezTo>
                  <a:pt x="100390" y="103976"/>
                  <a:pt x="104872" y="99046"/>
                  <a:pt x="110698" y="99046"/>
                </a:cubicBezTo>
                <a:cubicBezTo>
                  <a:pt x="116524" y="99046"/>
                  <a:pt x="121006" y="103976"/>
                  <a:pt x="121006" y="110250"/>
                </a:cubicBezTo>
                <a:close/>
                <a:moveTo>
                  <a:pt x="69914" y="110250"/>
                </a:moveTo>
                <a:cubicBezTo>
                  <a:pt x="69914" y="116524"/>
                  <a:pt x="65433" y="121454"/>
                  <a:pt x="59607" y="121454"/>
                </a:cubicBezTo>
                <a:cubicBezTo>
                  <a:pt x="53780" y="121454"/>
                  <a:pt x="49299" y="116524"/>
                  <a:pt x="49299" y="110250"/>
                </a:cubicBezTo>
                <a:cubicBezTo>
                  <a:pt x="49299" y="103976"/>
                  <a:pt x="53780" y="99046"/>
                  <a:pt x="59607" y="99046"/>
                </a:cubicBezTo>
                <a:cubicBezTo>
                  <a:pt x="65433" y="99046"/>
                  <a:pt x="69914" y="103976"/>
                  <a:pt x="69914" y="110250"/>
                </a:cubicBezTo>
                <a:close/>
              </a:path>
            </a:pathLst>
          </a:custGeom>
          <a:solidFill>
            <a:srgbClr val="231F20"/>
          </a:solidFill>
          <a:ln w="4477" cap="flat">
            <a:noFill/>
            <a:prstDash val="solid"/>
            <a:miter/>
          </a:ln>
        </p:spPr>
        <p:txBody>
          <a:bodyPr rtlCol="0" anchor="ctr"/>
          <a:lstStyle/>
          <a:p>
            <a:endParaRPr lang="en-US"/>
          </a:p>
        </p:txBody>
      </p:sp>
      <p:grpSp>
        <p:nvGrpSpPr>
          <p:cNvPr id="2448" name="Group 2447">
            <a:extLst>
              <a:ext uri="{FF2B5EF4-FFF2-40B4-BE49-F238E27FC236}">
                <a16:creationId xmlns:a16="http://schemas.microsoft.com/office/drawing/2014/main" id="{BDB9F75C-813E-4273-89F4-F2FF393F5DF9}"/>
              </a:ext>
              <a:ext uri="{C183D7F6-B498-43B3-948B-1728B52AA6E4}">
                <adec:decorative xmlns:adec="http://schemas.microsoft.com/office/drawing/2017/decorative" val="1"/>
              </a:ext>
            </a:extLst>
          </p:cNvPr>
          <p:cNvGrpSpPr>
            <a:grpSpLocks noChangeAspect="1"/>
          </p:cNvGrpSpPr>
          <p:nvPr/>
        </p:nvGrpSpPr>
        <p:grpSpPr>
          <a:xfrm>
            <a:off x="10851681" y="3447335"/>
            <a:ext cx="152378" cy="152378"/>
            <a:chOff x="10945671" y="1412169"/>
            <a:chExt cx="152378" cy="152378"/>
          </a:xfrm>
        </p:grpSpPr>
        <p:sp>
          <p:nvSpPr>
            <p:cNvPr id="5485" name="Freeform: Shape 5484">
              <a:extLst>
                <a:ext uri="{FF2B5EF4-FFF2-40B4-BE49-F238E27FC236}">
                  <a16:creationId xmlns:a16="http://schemas.microsoft.com/office/drawing/2014/main" id="{C06D3A23-A85F-4EF2-A979-85AB9302A1C7}"/>
                </a:ext>
              </a:extLst>
            </p:cNvPr>
            <p:cNvSpPr/>
            <p:nvPr/>
          </p:nvSpPr>
          <p:spPr>
            <a:xfrm>
              <a:off x="10945671" y="1439059"/>
              <a:ext cx="152378" cy="125488"/>
            </a:xfrm>
            <a:custGeom>
              <a:avLst/>
              <a:gdLst>
                <a:gd name="connsiteX0" fmla="*/ 151482 w 152377"/>
                <a:gd name="connsiteY0" fmla="*/ 14341 h 125487"/>
                <a:gd name="connsiteX1" fmla="*/ 149689 w 152377"/>
                <a:gd name="connsiteY1" fmla="*/ 13445 h 125487"/>
                <a:gd name="connsiteX2" fmla="*/ 123695 w 152377"/>
                <a:gd name="connsiteY2" fmla="*/ 13445 h 125487"/>
                <a:gd name="connsiteX3" fmla="*/ 121454 w 152377"/>
                <a:gd name="connsiteY3" fmla="*/ 15686 h 125487"/>
                <a:gd name="connsiteX4" fmla="*/ 123695 w 152377"/>
                <a:gd name="connsiteY4" fmla="*/ 17927 h 125487"/>
                <a:gd name="connsiteX5" fmla="*/ 147000 w 152377"/>
                <a:gd name="connsiteY5" fmla="*/ 17927 h 125487"/>
                <a:gd name="connsiteX6" fmla="*/ 130865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6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9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1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482 w 152377"/>
                <a:gd name="connsiteY39" fmla="*/ 14341 h 125487"/>
                <a:gd name="connsiteX40" fmla="*/ 120558 w 152377"/>
                <a:gd name="connsiteY40" fmla="*/ 110250 h 125487"/>
                <a:gd name="connsiteX41" fmla="*/ 110250 w 152377"/>
                <a:gd name="connsiteY41" fmla="*/ 121454 h 125487"/>
                <a:gd name="connsiteX42" fmla="*/ 99942 w 152377"/>
                <a:gd name="connsiteY42" fmla="*/ 110250 h 125487"/>
                <a:gd name="connsiteX43" fmla="*/ 110250 w 152377"/>
                <a:gd name="connsiteY43" fmla="*/ 99046 h 125487"/>
                <a:gd name="connsiteX44" fmla="*/ 120558 w 152377"/>
                <a:gd name="connsiteY44" fmla="*/ 110250 h 125487"/>
                <a:gd name="connsiteX45" fmla="*/ 69466 w 152377"/>
                <a:gd name="connsiteY45" fmla="*/ 110250 h 125487"/>
                <a:gd name="connsiteX46" fmla="*/ 59159 w 152377"/>
                <a:gd name="connsiteY46" fmla="*/ 121454 h 125487"/>
                <a:gd name="connsiteX47" fmla="*/ 48851 w 152377"/>
                <a:gd name="connsiteY47" fmla="*/ 110250 h 125487"/>
                <a:gd name="connsiteX48" fmla="*/ 59159 w 152377"/>
                <a:gd name="connsiteY48" fmla="*/ 99046 h 125487"/>
                <a:gd name="connsiteX49" fmla="*/ 69466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482" y="14341"/>
                  </a:moveTo>
                  <a:cubicBezTo>
                    <a:pt x="151033" y="13893"/>
                    <a:pt x="150585" y="13445"/>
                    <a:pt x="149689" y="13445"/>
                  </a:cubicBezTo>
                  <a:lnTo>
                    <a:pt x="123695" y="13445"/>
                  </a:lnTo>
                  <a:cubicBezTo>
                    <a:pt x="122351" y="13445"/>
                    <a:pt x="121454" y="14341"/>
                    <a:pt x="121454" y="15686"/>
                  </a:cubicBezTo>
                  <a:cubicBezTo>
                    <a:pt x="121454" y="17030"/>
                    <a:pt x="122351" y="17927"/>
                    <a:pt x="123695" y="17927"/>
                  </a:cubicBezTo>
                  <a:lnTo>
                    <a:pt x="147000" y="17927"/>
                  </a:lnTo>
                  <a:lnTo>
                    <a:pt x="130865" y="80671"/>
                  </a:lnTo>
                  <a:lnTo>
                    <a:pt x="46161" y="80671"/>
                  </a:lnTo>
                  <a:lnTo>
                    <a:pt x="33613" y="17927"/>
                  </a:lnTo>
                  <a:lnTo>
                    <a:pt x="55125" y="17927"/>
                  </a:lnTo>
                  <a:cubicBezTo>
                    <a:pt x="56469" y="17927"/>
                    <a:pt x="57366" y="17030"/>
                    <a:pt x="57366" y="15686"/>
                  </a:cubicBezTo>
                  <a:cubicBezTo>
                    <a:pt x="57366" y="14341"/>
                    <a:pt x="56469" y="13445"/>
                    <a:pt x="55125" y="13445"/>
                  </a:cubicBez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1" y="94116"/>
                  </a:lnTo>
                  <a:lnTo>
                    <a:pt x="47058" y="85152"/>
                  </a:lnTo>
                  <a:lnTo>
                    <a:pt x="132658" y="85152"/>
                  </a:lnTo>
                  <a:cubicBezTo>
                    <a:pt x="133555" y="85152"/>
                    <a:pt x="134451" y="84256"/>
                    <a:pt x="134899" y="83360"/>
                  </a:cubicBezTo>
                  <a:lnTo>
                    <a:pt x="152378" y="16134"/>
                  </a:lnTo>
                  <a:cubicBezTo>
                    <a:pt x="151930" y="15686"/>
                    <a:pt x="151930" y="15238"/>
                    <a:pt x="151482" y="14341"/>
                  </a:cubicBezTo>
                  <a:close/>
                  <a:moveTo>
                    <a:pt x="120558" y="110250"/>
                  </a:moveTo>
                  <a:cubicBezTo>
                    <a:pt x="120558" y="116524"/>
                    <a:pt x="116076" y="121454"/>
                    <a:pt x="110250" y="121454"/>
                  </a:cubicBezTo>
                  <a:cubicBezTo>
                    <a:pt x="104424" y="121454"/>
                    <a:pt x="99942" y="116524"/>
                    <a:pt x="99942" y="110250"/>
                  </a:cubicBezTo>
                  <a:cubicBezTo>
                    <a:pt x="99942" y="103976"/>
                    <a:pt x="104424" y="99046"/>
                    <a:pt x="110250" y="99046"/>
                  </a:cubicBezTo>
                  <a:cubicBezTo>
                    <a:pt x="116076" y="99046"/>
                    <a:pt x="120558" y="103976"/>
                    <a:pt x="120558" y="110250"/>
                  </a:cubicBezTo>
                  <a:close/>
                  <a:moveTo>
                    <a:pt x="69466" y="110250"/>
                  </a:moveTo>
                  <a:cubicBezTo>
                    <a:pt x="69466" y="116524"/>
                    <a:pt x="64985" y="121454"/>
                    <a:pt x="59159" y="121454"/>
                  </a:cubicBezTo>
                  <a:cubicBezTo>
                    <a:pt x="53332" y="121454"/>
                    <a:pt x="48851" y="116524"/>
                    <a:pt x="48851" y="110250"/>
                  </a:cubicBezTo>
                  <a:cubicBezTo>
                    <a:pt x="48851" y="103976"/>
                    <a:pt x="53332" y="99046"/>
                    <a:pt x="59159" y="99046"/>
                  </a:cubicBezTo>
                  <a:cubicBezTo>
                    <a:pt x="64985" y="99046"/>
                    <a:pt x="69466" y="103976"/>
                    <a:pt x="69466" y="110250"/>
                  </a:cubicBezTo>
                  <a:close/>
                </a:path>
              </a:pathLst>
            </a:custGeom>
            <a:solidFill>
              <a:srgbClr val="231F20"/>
            </a:solidFill>
            <a:ln w="4477" cap="flat">
              <a:noFill/>
              <a:prstDash val="solid"/>
              <a:miter/>
            </a:ln>
          </p:spPr>
          <p:txBody>
            <a:bodyPr rtlCol="0" anchor="ctr"/>
            <a:lstStyle/>
            <a:p>
              <a:endParaRPr lang="en-US"/>
            </a:p>
          </p:txBody>
        </p:sp>
        <p:sp>
          <p:nvSpPr>
            <p:cNvPr id="5486" name="Freeform: Shape 5485">
              <a:extLst>
                <a:ext uri="{FF2B5EF4-FFF2-40B4-BE49-F238E27FC236}">
                  <a16:creationId xmlns:a16="http://schemas.microsoft.com/office/drawing/2014/main" id="{C2775E27-DCC8-44BF-8B69-1ABDF5983C1C}"/>
                </a:ext>
              </a:extLst>
            </p:cNvPr>
            <p:cNvSpPr/>
            <p:nvPr/>
          </p:nvSpPr>
          <p:spPr>
            <a:xfrm>
              <a:off x="11021188" y="1449645"/>
              <a:ext cx="22409" cy="4482"/>
            </a:xfrm>
            <a:custGeom>
              <a:avLst/>
              <a:gdLst>
                <a:gd name="connsiteX0" fmla="*/ 672 w 22408"/>
                <a:gd name="connsiteY0" fmla="*/ 5099 h 4481"/>
                <a:gd name="connsiteX1" fmla="*/ 672 w 22408"/>
                <a:gd name="connsiteY1" fmla="*/ 8237 h 4481"/>
                <a:gd name="connsiteX2" fmla="*/ 3810 w 22408"/>
                <a:gd name="connsiteY2" fmla="*/ 8237 h 4481"/>
                <a:gd name="connsiteX3" fmla="*/ 22633 w 22408"/>
                <a:gd name="connsiteY3" fmla="*/ 8237 h 4481"/>
                <a:gd name="connsiteX4" fmla="*/ 23977 w 22408"/>
                <a:gd name="connsiteY4" fmla="*/ 8685 h 4481"/>
                <a:gd name="connsiteX5" fmla="*/ 25770 w 22408"/>
                <a:gd name="connsiteY5" fmla="*/ 7788 h 4481"/>
                <a:gd name="connsiteX6" fmla="*/ 25770 w 22408"/>
                <a:gd name="connsiteY6" fmla="*/ 4651 h 4481"/>
                <a:gd name="connsiteX7" fmla="*/ 672 w 22408"/>
                <a:gd name="connsiteY7" fmla="*/ 5099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4481">
                  <a:moveTo>
                    <a:pt x="672" y="5099"/>
                  </a:moveTo>
                  <a:cubicBezTo>
                    <a:pt x="-224" y="5996"/>
                    <a:pt x="-224" y="7340"/>
                    <a:pt x="672" y="8237"/>
                  </a:cubicBezTo>
                  <a:cubicBezTo>
                    <a:pt x="1569" y="9133"/>
                    <a:pt x="2913" y="9133"/>
                    <a:pt x="3810" y="8237"/>
                  </a:cubicBezTo>
                  <a:cubicBezTo>
                    <a:pt x="9188" y="2859"/>
                    <a:pt x="17255" y="2859"/>
                    <a:pt x="22633" y="8237"/>
                  </a:cubicBezTo>
                  <a:cubicBezTo>
                    <a:pt x="23081" y="8685"/>
                    <a:pt x="23529" y="8685"/>
                    <a:pt x="23977" y="8685"/>
                  </a:cubicBezTo>
                  <a:cubicBezTo>
                    <a:pt x="24425" y="8685"/>
                    <a:pt x="25322" y="8237"/>
                    <a:pt x="25770" y="7788"/>
                  </a:cubicBezTo>
                  <a:cubicBezTo>
                    <a:pt x="26666" y="6892"/>
                    <a:pt x="26666" y="5548"/>
                    <a:pt x="25770" y="4651"/>
                  </a:cubicBezTo>
                  <a:cubicBezTo>
                    <a:pt x="19047" y="-1623"/>
                    <a:pt x="7843" y="-1623"/>
                    <a:pt x="672" y="5099"/>
                  </a:cubicBezTo>
                  <a:close/>
                </a:path>
              </a:pathLst>
            </a:custGeom>
            <a:solidFill>
              <a:srgbClr val="231F20"/>
            </a:solidFill>
            <a:ln w="4477" cap="flat">
              <a:noFill/>
              <a:prstDash val="solid"/>
              <a:miter/>
            </a:ln>
          </p:spPr>
          <p:txBody>
            <a:bodyPr rtlCol="0" anchor="ctr"/>
            <a:lstStyle/>
            <a:p>
              <a:endParaRPr lang="en-US"/>
            </a:p>
          </p:txBody>
        </p:sp>
        <p:sp>
          <p:nvSpPr>
            <p:cNvPr id="5487" name="Freeform: Shape 5486">
              <a:extLst>
                <a:ext uri="{FF2B5EF4-FFF2-40B4-BE49-F238E27FC236}">
                  <a16:creationId xmlns:a16="http://schemas.microsoft.com/office/drawing/2014/main" id="{2EA88CDC-61BB-4CD0-81F1-EE630E412BAB}"/>
                </a:ext>
              </a:extLst>
            </p:cNvPr>
            <p:cNvSpPr/>
            <p:nvPr/>
          </p:nvSpPr>
          <p:spPr>
            <a:xfrm>
              <a:off x="11008639" y="1430992"/>
              <a:ext cx="49299" cy="13445"/>
            </a:xfrm>
            <a:custGeom>
              <a:avLst/>
              <a:gdLst>
                <a:gd name="connsiteX0" fmla="*/ 48627 w 49298"/>
                <a:gd name="connsiteY0" fmla="*/ 14341 h 13445"/>
                <a:gd name="connsiteX1" fmla="*/ 49971 w 49298"/>
                <a:gd name="connsiteY1" fmla="*/ 13893 h 13445"/>
                <a:gd name="connsiteX2" fmla="*/ 49971 w 49298"/>
                <a:gd name="connsiteY2" fmla="*/ 10756 h 13445"/>
                <a:gd name="connsiteX3" fmla="*/ 25322 w 49298"/>
                <a:gd name="connsiteY3" fmla="*/ 0 h 13445"/>
                <a:gd name="connsiteX4" fmla="*/ 672 w 49298"/>
                <a:gd name="connsiteY4" fmla="*/ 10756 h 13445"/>
                <a:gd name="connsiteX5" fmla="*/ 672 w 49298"/>
                <a:gd name="connsiteY5" fmla="*/ 13893 h 13445"/>
                <a:gd name="connsiteX6" fmla="*/ 3810 w 49298"/>
                <a:gd name="connsiteY6" fmla="*/ 13893 h 13445"/>
                <a:gd name="connsiteX7" fmla="*/ 25322 w 49298"/>
                <a:gd name="connsiteY7" fmla="*/ 4482 h 13445"/>
                <a:gd name="connsiteX8" fmla="*/ 46834 w 49298"/>
                <a:gd name="connsiteY8" fmla="*/ 13893 h 13445"/>
                <a:gd name="connsiteX9" fmla="*/ 48627 w 49298"/>
                <a:gd name="connsiteY9" fmla="*/ 14341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48627" y="14341"/>
                  </a:moveTo>
                  <a:cubicBezTo>
                    <a:pt x="49075" y="14341"/>
                    <a:pt x="49971" y="14341"/>
                    <a:pt x="49971" y="13893"/>
                  </a:cubicBezTo>
                  <a:cubicBezTo>
                    <a:pt x="50867" y="12997"/>
                    <a:pt x="50867" y="11652"/>
                    <a:pt x="49971" y="10756"/>
                  </a:cubicBezTo>
                  <a:cubicBezTo>
                    <a:pt x="43248" y="4034"/>
                    <a:pt x="34733" y="0"/>
                    <a:pt x="25322" y="0"/>
                  </a:cubicBezTo>
                  <a:cubicBezTo>
                    <a:pt x="16358" y="0"/>
                    <a:pt x="7395" y="3585"/>
                    <a:pt x="672" y="10756"/>
                  </a:cubicBezTo>
                  <a:cubicBezTo>
                    <a:pt x="-224" y="11652"/>
                    <a:pt x="-224" y="12997"/>
                    <a:pt x="672" y="13893"/>
                  </a:cubicBezTo>
                  <a:cubicBezTo>
                    <a:pt x="1569" y="14790"/>
                    <a:pt x="2913" y="14790"/>
                    <a:pt x="3810" y="13893"/>
                  </a:cubicBezTo>
                  <a:cubicBezTo>
                    <a:pt x="9636" y="8067"/>
                    <a:pt x="17255" y="4482"/>
                    <a:pt x="25322" y="4482"/>
                  </a:cubicBezTo>
                  <a:cubicBezTo>
                    <a:pt x="33389" y="4482"/>
                    <a:pt x="41008" y="7619"/>
                    <a:pt x="46834" y="13893"/>
                  </a:cubicBezTo>
                  <a:cubicBezTo>
                    <a:pt x="47730" y="14341"/>
                    <a:pt x="48178" y="14341"/>
                    <a:pt x="48627" y="14341"/>
                  </a:cubicBezTo>
                  <a:close/>
                </a:path>
              </a:pathLst>
            </a:custGeom>
            <a:solidFill>
              <a:srgbClr val="231F20"/>
            </a:solidFill>
            <a:ln w="4477" cap="flat">
              <a:noFill/>
              <a:prstDash val="solid"/>
              <a:miter/>
            </a:ln>
          </p:spPr>
          <p:txBody>
            <a:bodyPr rtlCol="0" anchor="ctr"/>
            <a:lstStyle/>
            <a:p>
              <a:endParaRPr lang="en-US"/>
            </a:p>
          </p:txBody>
        </p:sp>
        <p:sp>
          <p:nvSpPr>
            <p:cNvPr id="5488" name="Freeform: Shape 5487">
              <a:extLst>
                <a:ext uri="{FF2B5EF4-FFF2-40B4-BE49-F238E27FC236}">
                  <a16:creationId xmlns:a16="http://schemas.microsoft.com/office/drawing/2014/main" id="{40240405-4F1F-4FE6-A497-348E2610D7EA}"/>
                </a:ext>
              </a:extLst>
            </p:cNvPr>
            <p:cNvSpPr/>
            <p:nvPr/>
          </p:nvSpPr>
          <p:spPr>
            <a:xfrm>
              <a:off x="10997883" y="1412169"/>
              <a:ext cx="71707" cy="17927"/>
            </a:xfrm>
            <a:custGeom>
              <a:avLst/>
              <a:gdLst>
                <a:gd name="connsiteX0" fmla="*/ 2017 w 71707"/>
                <a:gd name="connsiteY0" fmla="*/ 20168 h 17926"/>
                <a:gd name="connsiteX1" fmla="*/ 3810 w 71707"/>
                <a:gd name="connsiteY1" fmla="*/ 19271 h 17926"/>
                <a:gd name="connsiteX2" fmla="*/ 36974 w 71707"/>
                <a:gd name="connsiteY2" fmla="*/ 4482 h 17926"/>
                <a:gd name="connsiteX3" fmla="*/ 70139 w 71707"/>
                <a:gd name="connsiteY3" fmla="*/ 19271 h 17926"/>
                <a:gd name="connsiteX4" fmla="*/ 73276 w 71707"/>
                <a:gd name="connsiteY4" fmla="*/ 19271 h 17926"/>
                <a:gd name="connsiteX5" fmla="*/ 73276 w 71707"/>
                <a:gd name="connsiteY5" fmla="*/ 16134 h 17926"/>
                <a:gd name="connsiteX6" fmla="*/ 36974 w 71707"/>
                <a:gd name="connsiteY6" fmla="*/ 0 h 17926"/>
                <a:gd name="connsiteX7" fmla="*/ 672 w 71707"/>
                <a:gd name="connsiteY7" fmla="*/ 16134 h 17926"/>
                <a:gd name="connsiteX8" fmla="*/ 672 w 71707"/>
                <a:gd name="connsiteY8" fmla="*/ 19271 h 17926"/>
                <a:gd name="connsiteX9" fmla="*/ 2017 w 71707"/>
                <a:gd name="connsiteY9" fmla="*/ 20168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07" h="17926">
                  <a:moveTo>
                    <a:pt x="2017" y="20168"/>
                  </a:moveTo>
                  <a:cubicBezTo>
                    <a:pt x="2465" y="20168"/>
                    <a:pt x="3361" y="19720"/>
                    <a:pt x="3810" y="19271"/>
                  </a:cubicBezTo>
                  <a:cubicBezTo>
                    <a:pt x="12773" y="9860"/>
                    <a:pt x="24425" y="4482"/>
                    <a:pt x="36974" y="4482"/>
                  </a:cubicBezTo>
                  <a:cubicBezTo>
                    <a:pt x="49523" y="4482"/>
                    <a:pt x="61176" y="9860"/>
                    <a:pt x="70139" y="19271"/>
                  </a:cubicBezTo>
                  <a:cubicBezTo>
                    <a:pt x="71035" y="20168"/>
                    <a:pt x="72380" y="20168"/>
                    <a:pt x="73276" y="19271"/>
                  </a:cubicBezTo>
                  <a:cubicBezTo>
                    <a:pt x="74172" y="18375"/>
                    <a:pt x="74172" y="17030"/>
                    <a:pt x="73276" y="16134"/>
                  </a:cubicBezTo>
                  <a:cubicBezTo>
                    <a:pt x="63416" y="5826"/>
                    <a:pt x="50419" y="0"/>
                    <a:pt x="36974" y="0"/>
                  </a:cubicBezTo>
                  <a:cubicBezTo>
                    <a:pt x="23529" y="0"/>
                    <a:pt x="10532" y="5826"/>
                    <a:pt x="672" y="16134"/>
                  </a:cubicBezTo>
                  <a:cubicBezTo>
                    <a:pt x="-224" y="17030"/>
                    <a:pt x="-224" y="18375"/>
                    <a:pt x="672" y="19271"/>
                  </a:cubicBezTo>
                  <a:cubicBezTo>
                    <a:pt x="672" y="20168"/>
                    <a:pt x="1121" y="20168"/>
                    <a:pt x="2017" y="20168"/>
                  </a:cubicBezTo>
                  <a:close/>
                </a:path>
              </a:pathLst>
            </a:custGeom>
            <a:solidFill>
              <a:srgbClr val="231F20"/>
            </a:solidFill>
            <a:ln w="4477" cap="flat">
              <a:noFill/>
              <a:prstDash val="solid"/>
              <a:miter/>
            </a:ln>
          </p:spPr>
          <p:txBody>
            <a:bodyPr rtlCol="0" anchor="ctr"/>
            <a:lstStyle/>
            <a:p>
              <a:endParaRPr lang="en-US"/>
            </a:p>
          </p:txBody>
        </p:sp>
      </p:grpSp>
      <p:grpSp>
        <p:nvGrpSpPr>
          <p:cNvPr id="2449" name="Group 2448">
            <a:extLst>
              <a:ext uri="{FF2B5EF4-FFF2-40B4-BE49-F238E27FC236}">
                <a16:creationId xmlns:a16="http://schemas.microsoft.com/office/drawing/2014/main" id="{5D852EF5-6C6B-42D1-ABCC-5E7844FADB9E}"/>
              </a:ext>
              <a:ext uri="{C183D7F6-B498-43B3-948B-1728B52AA6E4}">
                <adec:decorative xmlns:adec="http://schemas.microsoft.com/office/drawing/2017/decorative" val="1"/>
              </a:ext>
            </a:extLst>
          </p:cNvPr>
          <p:cNvGrpSpPr>
            <a:grpSpLocks noChangeAspect="1"/>
          </p:cNvGrpSpPr>
          <p:nvPr/>
        </p:nvGrpSpPr>
        <p:grpSpPr>
          <a:xfrm>
            <a:off x="11105793" y="3447783"/>
            <a:ext cx="152378" cy="151930"/>
            <a:chOff x="11199783" y="1412617"/>
            <a:chExt cx="152378" cy="151930"/>
          </a:xfrm>
        </p:grpSpPr>
        <p:sp>
          <p:nvSpPr>
            <p:cNvPr id="5482" name="Freeform: Shape 5481">
              <a:extLst>
                <a:ext uri="{FF2B5EF4-FFF2-40B4-BE49-F238E27FC236}">
                  <a16:creationId xmlns:a16="http://schemas.microsoft.com/office/drawing/2014/main" id="{02533FE7-E012-4213-9AF6-73D8C8D9DA7A}"/>
                </a:ext>
              </a:extLst>
            </p:cNvPr>
            <p:cNvSpPr/>
            <p:nvPr/>
          </p:nvSpPr>
          <p:spPr>
            <a:xfrm>
              <a:off x="11199783" y="1439059"/>
              <a:ext cx="152378" cy="125488"/>
            </a:xfrm>
            <a:custGeom>
              <a:avLst/>
              <a:gdLst>
                <a:gd name="connsiteX0" fmla="*/ 151482 w 152377"/>
                <a:gd name="connsiteY0" fmla="*/ 14341 h 125487"/>
                <a:gd name="connsiteX1" fmla="*/ 149689 w 152377"/>
                <a:gd name="connsiteY1" fmla="*/ 13445 h 125487"/>
                <a:gd name="connsiteX2" fmla="*/ 123695 w 152377"/>
                <a:gd name="connsiteY2" fmla="*/ 13445 h 125487"/>
                <a:gd name="connsiteX3" fmla="*/ 121455 w 152377"/>
                <a:gd name="connsiteY3" fmla="*/ 15686 h 125487"/>
                <a:gd name="connsiteX4" fmla="*/ 123695 w 152377"/>
                <a:gd name="connsiteY4" fmla="*/ 17927 h 125487"/>
                <a:gd name="connsiteX5" fmla="*/ 147000 w 152377"/>
                <a:gd name="connsiteY5" fmla="*/ 17927 h 125487"/>
                <a:gd name="connsiteX6" fmla="*/ 130866 w 152377"/>
                <a:gd name="connsiteY6" fmla="*/ 80671 h 125487"/>
                <a:gd name="connsiteX7" fmla="*/ 46162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7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7 w 152377"/>
                <a:gd name="connsiteY24" fmla="*/ 109802 h 125487"/>
                <a:gd name="connsiteX25" fmla="*/ 69915 w 152377"/>
                <a:gd name="connsiteY25" fmla="*/ 98597 h 125487"/>
                <a:gd name="connsiteX26" fmla="*/ 100390 w 152377"/>
                <a:gd name="connsiteY26" fmla="*/ 98597 h 125487"/>
                <a:gd name="connsiteX27" fmla="*/ 95909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1 w 152377"/>
                <a:gd name="connsiteY34" fmla="*/ 94116 h 125487"/>
                <a:gd name="connsiteX35" fmla="*/ 47058 w 152377"/>
                <a:gd name="connsiteY35" fmla="*/ 85152 h 125487"/>
                <a:gd name="connsiteX36" fmla="*/ 132659 w 152377"/>
                <a:gd name="connsiteY36" fmla="*/ 85152 h 125487"/>
                <a:gd name="connsiteX37" fmla="*/ 134900 w 152377"/>
                <a:gd name="connsiteY37" fmla="*/ 83360 h 125487"/>
                <a:gd name="connsiteX38" fmla="*/ 152378 w 152377"/>
                <a:gd name="connsiteY38" fmla="*/ 16134 h 125487"/>
                <a:gd name="connsiteX39" fmla="*/ 151482 w 152377"/>
                <a:gd name="connsiteY39" fmla="*/ 14341 h 125487"/>
                <a:gd name="connsiteX40" fmla="*/ 120558 w 152377"/>
                <a:gd name="connsiteY40" fmla="*/ 110250 h 125487"/>
                <a:gd name="connsiteX41" fmla="*/ 110250 w 152377"/>
                <a:gd name="connsiteY41" fmla="*/ 121454 h 125487"/>
                <a:gd name="connsiteX42" fmla="*/ 99942 w 152377"/>
                <a:gd name="connsiteY42" fmla="*/ 110250 h 125487"/>
                <a:gd name="connsiteX43" fmla="*/ 110250 w 152377"/>
                <a:gd name="connsiteY43" fmla="*/ 99046 h 125487"/>
                <a:gd name="connsiteX44" fmla="*/ 120558 w 152377"/>
                <a:gd name="connsiteY44" fmla="*/ 110250 h 125487"/>
                <a:gd name="connsiteX45" fmla="*/ 69466 w 152377"/>
                <a:gd name="connsiteY45" fmla="*/ 110250 h 125487"/>
                <a:gd name="connsiteX46" fmla="*/ 59159 w 152377"/>
                <a:gd name="connsiteY46" fmla="*/ 121454 h 125487"/>
                <a:gd name="connsiteX47" fmla="*/ 48851 w 152377"/>
                <a:gd name="connsiteY47" fmla="*/ 110250 h 125487"/>
                <a:gd name="connsiteX48" fmla="*/ 59159 w 152377"/>
                <a:gd name="connsiteY48" fmla="*/ 99046 h 125487"/>
                <a:gd name="connsiteX49" fmla="*/ 69466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482" y="14341"/>
                  </a:moveTo>
                  <a:cubicBezTo>
                    <a:pt x="151034" y="13893"/>
                    <a:pt x="150586" y="13445"/>
                    <a:pt x="149689" y="13445"/>
                  </a:cubicBezTo>
                  <a:lnTo>
                    <a:pt x="123695" y="13445"/>
                  </a:lnTo>
                  <a:cubicBezTo>
                    <a:pt x="122351" y="13445"/>
                    <a:pt x="121455" y="14341"/>
                    <a:pt x="121455" y="15686"/>
                  </a:cubicBezTo>
                  <a:cubicBezTo>
                    <a:pt x="121455" y="17030"/>
                    <a:pt x="122351" y="17927"/>
                    <a:pt x="123695" y="17927"/>
                  </a:cubicBezTo>
                  <a:lnTo>
                    <a:pt x="147000" y="17927"/>
                  </a:lnTo>
                  <a:lnTo>
                    <a:pt x="130866" y="80671"/>
                  </a:lnTo>
                  <a:lnTo>
                    <a:pt x="46162" y="80671"/>
                  </a:lnTo>
                  <a:lnTo>
                    <a:pt x="33613" y="17927"/>
                  </a:lnTo>
                  <a:lnTo>
                    <a:pt x="55125" y="17927"/>
                  </a:lnTo>
                  <a:cubicBezTo>
                    <a:pt x="56470" y="17927"/>
                    <a:pt x="57366" y="17030"/>
                    <a:pt x="57366" y="15686"/>
                  </a:cubicBezTo>
                  <a:cubicBezTo>
                    <a:pt x="57366" y="14341"/>
                    <a:pt x="56470" y="13445"/>
                    <a:pt x="55125" y="13445"/>
                  </a:cubicBezTo>
                  <a:lnTo>
                    <a:pt x="32717" y="13445"/>
                  </a:lnTo>
                  <a:lnTo>
                    <a:pt x="30476" y="1793"/>
                  </a:lnTo>
                  <a:cubicBezTo>
                    <a:pt x="30476" y="896"/>
                    <a:pt x="29131" y="0"/>
                    <a:pt x="28235" y="0"/>
                  </a:cubicBezTo>
                  <a:lnTo>
                    <a:pt x="2241" y="0"/>
                  </a:lnTo>
                  <a:cubicBezTo>
                    <a:pt x="897" y="0"/>
                    <a:pt x="0" y="896"/>
                    <a:pt x="0" y="2241"/>
                  </a:cubicBezTo>
                  <a:cubicBezTo>
                    <a:pt x="0" y="3585"/>
                    <a:pt x="897" y="4482"/>
                    <a:pt x="2241" y="4482"/>
                  </a:cubicBezTo>
                  <a:lnTo>
                    <a:pt x="26442" y="4482"/>
                  </a:lnTo>
                  <a:lnTo>
                    <a:pt x="44817" y="96805"/>
                  </a:lnTo>
                  <a:cubicBezTo>
                    <a:pt x="44817" y="97701"/>
                    <a:pt x="46162" y="98597"/>
                    <a:pt x="47058" y="98597"/>
                  </a:cubicBezTo>
                  <a:lnTo>
                    <a:pt x="49299" y="98597"/>
                  </a:lnTo>
                  <a:cubicBezTo>
                    <a:pt x="46610" y="101287"/>
                    <a:pt x="44817" y="105320"/>
                    <a:pt x="44817" y="109802"/>
                  </a:cubicBezTo>
                  <a:cubicBezTo>
                    <a:pt x="44817" y="118317"/>
                    <a:pt x="51540" y="125488"/>
                    <a:pt x="59607" y="125488"/>
                  </a:cubicBezTo>
                  <a:cubicBezTo>
                    <a:pt x="67674" y="125488"/>
                    <a:pt x="74397" y="118317"/>
                    <a:pt x="74397" y="109802"/>
                  </a:cubicBezTo>
                  <a:cubicBezTo>
                    <a:pt x="74397" y="105320"/>
                    <a:pt x="72604" y="101287"/>
                    <a:pt x="69915"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1" y="94116"/>
                  </a:lnTo>
                  <a:lnTo>
                    <a:pt x="47058" y="85152"/>
                  </a:lnTo>
                  <a:lnTo>
                    <a:pt x="132659" y="85152"/>
                  </a:lnTo>
                  <a:cubicBezTo>
                    <a:pt x="133555" y="85152"/>
                    <a:pt x="134451" y="84256"/>
                    <a:pt x="134900" y="83360"/>
                  </a:cubicBezTo>
                  <a:lnTo>
                    <a:pt x="152378" y="16134"/>
                  </a:lnTo>
                  <a:cubicBezTo>
                    <a:pt x="151930" y="15686"/>
                    <a:pt x="151930" y="15238"/>
                    <a:pt x="151482" y="14341"/>
                  </a:cubicBezTo>
                  <a:close/>
                  <a:moveTo>
                    <a:pt x="120558" y="110250"/>
                  </a:moveTo>
                  <a:cubicBezTo>
                    <a:pt x="120558" y="116524"/>
                    <a:pt x="116076" y="121454"/>
                    <a:pt x="110250" y="121454"/>
                  </a:cubicBezTo>
                  <a:cubicBezTo>
                    <a:pt x="104424" y="121454"/>
                    <a:pt x="99942" y="116524"/>
                    <a:pt x="99942" y="110250"/>
                  </a:cubicBezTo>
                  <a:cubicBezTo>
                    <a:pt x="99942" y="103976"/>
                    <a:pt x="104424" y="99046"/>
                    <a:pt x="110250" y="99046"/>
                  </a:cubicBezTo>
                  <a:cubicBezTo>
                    <a:pt x="115628" y="99046"/>
                    <a:pt x="120558" y="103976"/>
                    <a:pt x="120558" y="110250"/>
                  </a:cubicBezTo>
                  <a:close/>
                  <a:moveTo>
                    <a:pt x="69466" y="110250"/>
                  </a:moveTo>
                  <a:cubicBezTo>
                    <a:pt x="69466" y="116524"/>
                    <a:pt x="64985" y="121454"/>
                    <a:pt x="59159" y="121454"/>
                  </a:cubicBezTo>
                  <a:cubicBezTo>
                    <a:pt x="53332" y="121454"/>
                    <a:pt x="48851" y="116524"/>
                    <a:pt x="48851" y="110250"/>
                  </a:cubicBezTo>
                  <a:cubicBezTo>
                    <a:pt x="48851" y="103976"/>
                    <a:pt x="53332" y="99046"/>
                    <a:pt x="59159" y="99046"/>
                  </a:cubicBezTo>
                  <a:cubicBezTo>
                    <a:pt x="64985" y="99046"/>
                    <a:pt x="69466" y="103976"/>
                    <a:pt x="69466" y="110250"/>
                  </a:cubicBezTo>
                  <a:close/>
                </a:path>
              </a:pathLst>
            </a:custGeom>
            <a:solidFill>
              <a:srgbClr val="231F20"/>
            </a:solidFill>
            <a:ln w="4477" cap="flat">
              <a:noFill/>
              <a:prstDash val="solid"/>
              <a:miter/>
            </a:ln>
          </p:spPr>
          <p:txBody>
            <a:bodyPr rtlCol="0" anchor="ctr"/>
            <a:lstStyle/>
            <a:p>
              <a:endParaRPr lang="en-US"/>
            </a:p>
          </p:txBody>
        </p:sp>
        <p:sp>
          <p:nvSpPr>
            <p:cNvPr id="5483" name="Freeform: Shape 5482">
              <a:extLst>
                <a:ext uri="{FF2B5EF4-FFF2-40B4-BE49-F238E27FC236}">
                  <a16:creationId xmlns:a16="http://schemas.microsoft.com/office/drawing/2014/main" id="{69AEC518-9765-4266-AB06-7F6A746B2B8F}"/>
                </a:ext>
              </a:extLst>
            </p:cNvPr>
            <p:cNvSpPr/>
            <p:nvPr/>
          </p:nvSpPr>
          <p:spPr>
            <a:xfrm>
              <a:off x="11271490" y="1426062"/>
              <a:ext cx="31372" cy="31372"/>
            </a:xfrm>
            <a:custGeom>
              <a:avLst/>
              <a:gdLst>
                <a:gd name="connsiteX0" fmla="*/ 2241 w 31371"/>
                <a:gd name="connsiteY0" fmla="*/ 19271 h 31371"/>
                <a:gd name="connsiteX1" fmla="*/ 14790 w 31371"/>
                <a:gd name="connsiteY1" fmla="*/ 19271 h 31371"/>
                <a:gd name="connsiteX2" fmla="*/ 14790 w 31371"/>
                <a:gd name="connsiteY2" fmla="*/ 31820 h 31371"/>
                <a:gd name="connsiteX3" fmla="*/ 17031 w 31371"/>
                <a:gd name="connsiteY3" fmla="*/ 34061 h 31371"/>
                <a:gd name="connsiteX4" fmla="*/ 19272 w 31371"/>
                <a:gd name="connsiteY4" fmla="*/ 31820 h 31371"/>
                <a:gd name="connsiteX5" fmla="*/ 19272 w 31371"/>
                <a:gd name="connsiteY5" fmla="*/ 19271 h 31371"/>
                <a:gd name="connsiteX6" fmla="*/ 31821 w 31371"/>
                <a:gd name="connsiteY6" fmla="*/ 19271 h 31371"/>
                <a:gd name="connsiteX7" fmla="*/ 34061 w 31371"/>
                <a:gd name="connsiteY7" fmla="*/ 17030 h 31371"/>
                <a:gd name="connsiteX8" fmla="*/ 31821 w 31371"/>
                <a:gd name="connsiteY8" fmla="*/ 14790 h 31371"/>
                <a:gd name="connsiteX9" fmla="*/ 19272 w 31371"/>
                <a:gd name="connsiteY9" fmla="*/ 14790 h 31371"/>
                <a:gd name="connsiteX10" fmla="*/ 19272 w 31371"/>
                <a:gd name="connsiteY10" fmla="*/ 2241 h 31371"/>
                <a:gd name="connsiteX11" fmla="*/ 17031 w 31371"/>
                <a:gd name="connsiteY11" fmla="*/ 0 h 31371"/>
                <a:gd name="connsiteX12" fmla="*/ 14790 w 31371"/>
                <a:gd name="connsiteY12" fmla="*/ 2241 h 31371"/>
                <a:gd name="connsiteX13" fmla="*/ 14790 w 31371"/>
                <a:gd name="connsiteY13" fmla="*/ 14790 h 31371"/>
                <a:gd name="connsiteX14" fmla="*/ 2241 w 31371"/>
                <a:gd name="connsiteY14" fmla="*/ 14790 h 31371"/>
                <a:gd name="connsiteX15" fmla="*/ 0 w 31371"/>
                <a:gd name="connsiteY15" fmla="*/ 17030 h 31371"/>
                <a:gd name="connsiteX16" fmla="*/ 2241 w 31371"/>
                <a:gd name="connsiteY16" fmla="*/ 19271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2241" y="19271"/>
                  </a:moveTo>
                  <a:lnTo>
                    <a:pt x="14790" y="19271"/>
                  </a:lnTo>
                  <a:lnTo>
                    <a:pt x="14790" y="31820"/>
                  </a:lnTo>
                  <a:cubicBezTo>
                    <a:pt x="14790" y="33165"/>
                    <a:pt x="15686" y="34061"/>
                    <a:pt x="17031" y="34061"/>
                  </a:cubicBezTo>
                  <a:cubicBezTo>
                    <a:pt x="18375" y="34061"/>
                    <a:pt x="19272" y="33165"/>
                    <a:pt x="19272" y="31820"/>
                  </a:cubicBezTo>
                  <a:lnTo>
                    <a:pt x="19272" y="19271"/>
                  </a:lnTo>
                  <a:lnTo>
                    <a:pt x="31821" y="19271"/>
                  </a:lnTo>
                  <a:cubicBezTo>
                    <a:pt x="33165" y="19271"/>
                    <a:pt x="34061" y="18375"/>
                    <a:pt x="34061" y="17030"/>
                  </a:cubicBezTo>
                  <a:cubicBezTo>
                    <a:pt x="34061" y="15686"/>
                    <a:pt x="33165" y="14790"/>
                    <a:pt x="31821" y="14790"/>
                  </a:cubicBezTo>
                  <a:lnTo>
                    <a:pt x="19272" y="14790"/>
                  </a:lnTo>
                  <a:lnTo>
                    <a:pt x="19272" y="2241"/>
                  </a:lnTo>
                  <a:cubicBezTo>
                    <a:pt x="19272" y="896"/>
                    <a:pt x="18375" y="0"/>
                    <a:pt x="17031" y="0"/>
                  </a:cubicBezTo>
                  <a:cubicBezTo>
                    <a:pt x="15686" y="0"/>
                    <a:pt x="14790" y="896"/>
                    <a:pt x="14790" y="2241"/>
                  </a:cubicBezTo>
                  <a:lnTo>
                    <a:pt x="14790" y="14790"/>
                  </a:lnTo>
                  <a:lnTo>
                    <a:pt x="2241" y="14790"/>
                  </a:lnTo>
                  <a:cubicBezTo>
                    <a:pt x="897" y="14790"/>
                    <a:pt x="0" y="15686"/>
                    <a:pt x="0" y="17030"/>
                  </a:cubicBezTo>
                  <a:cubicBezTo>
                    <a:pt x="0" y="17927"/>
                    <a:pt x="1345" y="19271"/>
                    <a:pt x="2241" y="19271"/>
                  </a:cubicBezTo>
                  <a:close/>
                </a:path>
              </a:pathLst>
            </a:custGeom>
            <a:solidFill>
              <a:srgbClr val="231F20"/>
            </a:solidFill>
            <a:ln w="4477" cap="flat">
              <a:noFill/>
              <a:prstDash val="solid"/>
              <a:miter/>
            </a:ln>
          </p:spPr>
          <p:txBody>
            <a:bodyPr rtlCol="0" anchor="ctr"/>
            <a:lstStyle/>
            <a:p>
              <a:endParaRPr lang="en-US"/>
            </a:p>
          </p:txBody>
        </p:sp>
        <p:sp>
          <p:nvSpPr>
            <p:cNvPr id="5484" name="Freeform: Shape 5483">
              <a:extLst>
                <a:ext uri="{FF2B5EF4-FFF2-40B4-BE49-F238E27FC236}">
                  <a16:creationId xmlns:a16="http://schemas.microsoft.com/office/drawing/2014/main" id="{B2CDE7D3-D837-43A5-8C76-FF477E69C616}"/>
                </a:ext>
              </a:extLst>
            </p:cNvPr>
            <p:cNvSpPr/>
            <p:nvPr/>
          </p:nvSpPr>
          <p:spPr>
            <a:xfrm>
              <a:off x="11258045" y="1412617"/>
              <a:ext cx="58262" cy="58262"/>
            </a:xfrm>
            <a:custGeom>
              <a:avLst/>
              <a:gdLst>
                <a:gd name="connsiteX0" fmla="*/ 30476 w 58262"/>
                <a:gd name="connsiteY0" fmla="*/ 60951 h 58262"/>
                <a:gd name="connsiteX1" fmla="*/ 60952 w 58262"/>
                <a:gd name="connsiteY1" fmla="*/ 30476 h 58262"/>
                <a:gd name="connsiteX2" fmla="*/ 30476 w 58262"/>
                <a:gd name="connsiteY2" fmla="*/ 0 h 58262"/>
                <a:gd name="connsiteX3" fmla="*/ 0 w 58262"/>
                <a:gd name="connsiteY3" fmla="*/ 30476 h 58262"/>
                <a:gd name="connsiteX4" fmla="*/ 30476 w 58262"/>
                <a:gd name="connsiteY4" fmla="*/ 60951 h 58262"/>
                <a:gd name="connsiteX5" fmla="*/ 30476 w 58262"/>
                <a:gd name="connsiteY5" fmla="*/ 4482 h 58262"/>
                <a:gd name="connsiteX6" fmla="*/ 56470 w 58262"/>
                <a:gd name="connsiteY6" fmla="*/ 30476 h 58262"/>
                <a:gd name="connsiteX7" fmla="*/ 30476 w 58262"/>
                <a:gd name="connsiteY7" fmla="*/ 56469 h 58262"/>
                <a:gd name="connsiteX8" fmla="*/ 4482 w 58262"/>
                <a:gd name="connsiteY8" fmla="*/ 30476 h 58262"/>
                <a:gd name="connsiteX9" fmla="*/ 30476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30476" y="60951"/>
                  </a:moveTo>
                  <a:cubicBezTo>
                    <a:pt x="47506" y="60951"/>
                    <a:pt x="60952" y="47058"/>
                    <a:pt x="60952" y="30476"/>
                  </a:cubicBezTo>
                  <a:cubicBezTo>
                    <a:pt x="60952" y="13445"/>
                    <a:pt x="47058" y="0"/>
                    <a:pt x="30476" y="0"/>
                  </a:cubicBezTo>
                  <a:cubicBezTo>
                    <a:pt x="13445" y="0"/>
                    <a:pt x="0" y="13893"/>
                    <a:pt x="0" y="30476"/>
                  </a:cubicBezTo>
                  <a:cubicBezTo>
                    <a:pt x="0" y="47058"/>
                    <a:pt x="13894" y="60951"/>
                    <a:pt x="30476" y="60951"/>
                  </a:cubicBezTo>
                  <a:close/>
                  <a:moveTo>
                    <a:pt x="30476" y="4482"/>
                  </a:moveTo>
                  <a:cubicBezTo>
                    <a:pt x="44817" y="4482"/>
                    <a:pt x="56470" y="16134"/>
                    <a:pt x="56470" y="30476"/>
                  </a:cubicBezTo>
                  <a:cubicBezTo>
                    <a:pt x="56470" y="44817"/>
                    <a:pt x="44817" y="56469"/>
                    <a:pt x="30476" y="56469"/>
                  </a:cubicBezTo>
                  <a:cubicBezTo>
                    <a:pt x="16135" y="56469"/>
                    <a:pt x="4482" y="44817"/>
                    <a:pt x="4482" y="30476"/>
                  </a:cubicBezTo>
                  <a:cubicBezTo>
                    <a:pt x="4482" y="16134"/>
                    <a:pt x="16135" y="4482"/>
                    <a:pt x="30476" y="4482"/>
                  </a:cubicBezTo>
                  <a:close/>
                </a:path>
              </a:pathLst>
            </a:custGeom>
            <a:solidFill>
              <a:srgbClr val="231F20"/>
            </a:solidFill>
            <a:ln w="4477" cap="flat">
              <a:noFill/>
              <a:prstDash val="solid"/>
              <a:miter/>
            </a:ln>
          </p:spPr>
          <p:txBody>
            <a:bodyPr rtlCol="0" anchor="ctr"/>
            <a:lstStyle/>
            <a:p>
              <a:endParaRPr lang="en-US"/>
            </a:p>
          </p:txBody>
        </p:sp>
      </p:grpSp>
      <p:sp>
        <p:nvSpPr>
          <p:cNvPr id="2450" name="Freeform: Shape 2449">
            <a:extLst>
              <a:ext uri="{FF2B5EF4-FFF2-40B4-BE49-F238E27FC236}">
                <a16:creationId xmlns:a16="http://schemas.microsoft.com/office/drawing/2014/main" id="{41CA1203-EDB1-4CB6-8954-57A1305BB632}"/>
              </a:ext>
              <a:ext uri="{C183D7F6-B498-43B3-948B-1728B52AA6E4}">
                <adec:decorative xmlns:adec="http://schemas.microsoft.com/office/drawing/2017/decorative" val="1"/>
              </a:ext>
            </a:extLst>
          </p:cNvPr>
          <p:cNvSpPr>
            <a:spLocks noChangeAspect="1"/>
          </p:cNvSpPr>
          <p:nvPr/>
        </p:nvSpPr>
        <p:spPr>
          <a:xfrm>
            <a:off x="8003111" y="3447783"/>
            <a:ext cx="98597" cy="152378"/>
          </a:xfrm>
          <a:custGeom>
            <a:avLst/>
            <a:gdLst>
              <a:gd name="connsiteX0" fmla="*/ 72155 w 98597"/>
              <a:gd name="connsiteY0" fmla="*/ 47954 h 152377"/>
              <a:gd name="connsiteX1" fmla="*/ 72155 w 98597"/>
              <a:gd name="connsiteY1" fmla="*/ 4482 h 152377"/>
              <a:gd name="connsiteX2" fmla="*/ 74844 w 98597"/>
              <a:gd name="connsiteY2" fmla="*/ 4482 h 152377"/>
              <a:gd name="connsiteX3" fmla="*/ 77085 w 98597"/>
              <a:gd name="connsiteY3" fmla="*/ 2241 h 152377"/>
              <a:gd name="connsiteX4" fmla="*/ 74844 w 98597"/>
              <a:gd name="connsiteY4" fmla="*/ 0 h 152377"/>
              <a:gd name="connsiteX5" fmla="*/ 22857 w 98597"/>
              <a:gd name="connsiteY5" fmla="*/ 0 h 152377"/>
              <a:gd name="connsiteX6" fmla="*/ 20616 w 98597"/>
              <a:gd name="connsiteY6" fmla="*/ 2241 h 152377"/>
              <a:gd name="connsiteX7" fmla="*/ 22857 w 98597"/>
              <a:gd name="connsiteY7" fmla="*/ 4482 h 152377"/>
              <a:gd name="connsiteX8" fmla="*/ 27338 w 98597"/>
              <a:gd name="connsiteY8" fmla="*/ 4482 h 152377"/>
              <a:gd name="connsiteX9" fmla="*/ 27338 w 98597"/>
              <a:gd name="connsiteY9" fmla="*/ 47954 h 152377"/>
              <a:gd name="connsiteX10" fmla="*/ 0 w 98597"/>
              <a:gd name="connsiteY10" fmla="*/ 96805 h 152377"/>
              <a:gd name="connsiteX11" fmla="*/ 2241 w 98597"/>
              <a:gd name="connsiteY11" fmla="*/ 99046 h 152377"/>
              <a:gd name="connsiteX12" fmla="*/ 47506 w 98597"/>
              <a:gd name="connsiteY12" fmla="*/ 99046 h 152377"/>
              <a:gd name="connsiteX13" fmla="*/ 47506 w 98597"/>
              <a:gd name="connsiteY13" fmla="*/ 150137 h 152377"/>
              <a:gd name="connsiteX14" fmla="*/ 49747 w 98597"/>
              <a:gd name="connsiteY14" fmla="*/ 152378 h 152377"/>
              <a:gd name="connsiteX15" fmla="*/ 51988 w 98597"/>
              <a:gd name="connsiteY15" fmla="*/ 150137 h 152377"/>
              <a:gd name="connsiteX16" fmla="*/ 51988 w 98597"/>
              <a:gd name="connsiteY16" fmla="*/ 99046 h 152377"/>
              <a:gd name="connsiteX17" fmla="*/ 97253 w 98597"/>
              <a:gd name="connsiteY17" fmla="*/ 99046 h 152377"/>
              <a:gd name="connsiteX18" fmla="*/ 99494 w 98597"/>
              <a:gd name="connsiteY18" fmla="*/ 96805 h 152377"/>
              <a:gd name="connsiteX19" fmla="*/ 72155 w 98597"/>
              <a:gd name="connsiteY19" fmla="*/ 47954 h 152377"/>
              <a:gd name="connsiteX20" fmla="*/ 4482 w 98597"/>
              <a:gd name="connsiteY20" fmla="*/ 94564 h 152377"/>
              <a:gd name="connsiteX21" fmla="*/ 30027 w 98597"/>
              <a:gd name="connsiteY21" fmla="*/ 51988 h 152377"/>
              <a:gd name="connsiteX22" fmla="*/ 31820 w 98597"/>
              <a:gd name="connsiteY22" fmla="*/ 49747 h 152377"/>
              <a:gd name="connsiteX23" fmla="*/ 31820 w 98597"/>
              <a:gd name="connsiteY23" fmla="*/ 4482 h 152377"/>
              <a:gd name="connsiteX24" fmla="*/ 67226 w 98597"/>
              <a:gd name="connsiteY24" fmla="*/ 4482 h 152377"/>
              <a:gd name="connsiteX25" fmla="*/ 67226 w 98597"/>
              <a:gd name="connsiteY25" fmla="*/ 49747 h 152377"/>
              <a:gd name="connsiteX26" fmla="*/ 69018 w 98597"/>
              <a:gd name="connsiteY26" fmla="*/ 51988 h 152377"/>
              <a:gd name="connsiteX27" fmla="*/ 94564 w 98597"/>
              <a:gd name="connsiteY27" fmla="*/ 94564 h 152377"/>
              <a:gd name="connsiteX28" fmla="*/ 4482 w 98597"/>
              <a:gd name="connsiteY28" fmla="*/ 9456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8597" h="152377">
                <a:moveTo>
                  <a:pt x="72155" y="47954"/>
                </a:moveTo>
                <a:lnTo>
                  <a:pt x="72155" y="4482"/>
                </a:lnTo>
                <a:lnTo>
                  <a:pt x="74844" y="4482"/>
                </a:lnTo>
                <a:cubicBezTo>
                  <a:pt x="76189" y="4482"/>
                  <a:pt x="77085" y="3585"/>
                  <a:pt x="77085" y="2241"/>
                </a:cubicBezTo>
                <a:cubicBezTo>
                  <a:pt x="77085" y="896"/>
                  <a:pt x="76189" y="0"/>
                  <a:pt x="74844" y="0"/>
                </a:cubicBezTo>
                <a:lnTo>
                  <a:pt x="22857" y="0"/>
                </a:lnTo>
                <a:cubicBezTo>
                  <a:pt x="21512" y="0"/>
                  <a:pt x="20616" y="896"/>
                  <a:pt x="20616" y="2241"/>
                </a:cubicBezTo>
                <a:cubicBezTo>
                  <a:pt x="20616" y="3585"/>
                  <a:pt x="21512" y="4482"/>
                  <a:pt x="22857" y="4482"/>
                </a:cubicBezTo>
                <a:lnTo>
                  <a:pt x="27338" y="4482"/>
                </a:lnTo>
                <a:lnTo>
                  <a:pt x="27338" y="47954"/>
                </a:lnTo>
                <a:cubicBezTo>
                  <a:pt x="21064" y="50195"/>
                  <a:pt x="0" y="60503"/>
                  <a:pt x="0" y="96805"/>
                </a:cubicBezTo>
                <a:cubicBezTo>
                  <a:pt x="0" y="98149"/>
                  <a:pt x="896" y="99046"/>
                  <a:pt x="2241" y="99046"/>
                </a:cubicBezTo>
                <a:lnTo>
                  <a:pt x="47506" y="99046"/>
                </a:lnTo>
                <a:lnTo>
                  <a:pt x="47506" y="150137"/>
                </a:lnTo>
                <a:cubicBezTo>
                  <a:pt x="47506" y="151482"/>
                  <a:pt x="48402" y="152378"/>
                  <a:pt x="49747" y="152378"/>
                </a:cubicBezTo>
                <a:cubicBezTo>
                  <a:pt x="51091" y="152378"/>
                  <a:pt x="51988" y="151482"/>
                  <a:pt x="51988" y="150137"/>
                </a:cubicBezTo>
                <a:lnTo>
                  <a:pt x="51988" y="99046"/>
                </a:lnTo>
                <a:lnTo>
                  <a:pt x="97253" y="99046"/>
                </a:lnTo>
                <a:cubicBezTo>
                  <a:pt x="98597" y="99046"/>
                  <a:pt x="99494" y="98149"/>
                  <a:pt x="99494" y="96805"/>
                </a:cubicBezTo>
                <a:cubicBezTo>
                  <a:pt x="99494" y="60503"/>
                  <a:pt x="78430" y="50195"/>
                  <a:pt x="72155" y="47954"/>
                </a:cubicBezTo>
                <a:close/>
                <a:moveTo>
                  <a:pt x="4482" y="94564"/>
                </a:moveTo>
                <a:cubicBezTo>
                  <a:pt x="5378" y="57814"/>
                  <a:pt x="29131" y="51988"/>
                  <a:pt x="30027" y="51988"/>
                </a:cubicBezTo>
                <a:cubicBezTo>
                  <a:pt x="30924" y="51540"/>
                  <a:pt x="31820" y="50643"/>
                  <a:pt x="31820" y="49747"/>
                </a:cubicBezTo>
                <a:lnTo>
                  <a:pt x="31820" y="4482"/>
                </a:lnTo>
                <a:lnTo>
                  <a:pt x="67226" y="4482"/>
                </a:lnTo>
                <a:lnTo>
                  <a:pt x="67226" y="49747"/>
                </a:lnTo>
                <a:cubicBezTo>
                  <a:pt x="67226" y="50643"/>
                  <a:pt x="68122" y="51540"/>
                  <a:pt x="69018" y="51988"/>
                </a:cubicBezTo>
                <a:cubicBezTo>
                  <a:pt x="69915" y="52436"/>
                  <a:pt x="93668" y="57814"/>
                  <a:pt x="94564" y="94564"/>
                </a:cubicBezTo>
                <a:lnTo>
                  <a:pt x="4482" y="94564"/>
                </a:lnTo>
                <a:close/>
              </a:path>
            </a:pathLst>
          </a:custGeom>
          <a:solidFill>
            <a:srgbClr val="231F20"/>
          </a:solidFill>
          <a:ln w="4477" cap="flat">
            <a:noFill/>
            <a:prstDash val="solid"/>
            <a:miter/>
          </a:ln>
        </p:spPr>
        <p:txBody>
          <a:bodyPr rtlCol="0" anchor="ctr"/>
          <a:lstStyle/>
          <a:p>
            <a:endParaRPr lang="en-US"/>
          </a:p>
        </p:txBody>
      </p:sp>
      <p:grpSp>
        <p:nvGrpSpPr>
          <p:cNvPr id="2451" name="Group 2450">
            <a:extLst>
              <a:ext uri="{FF2B5EF4-FFF2-40B4-BE49-F238E27FC236}">
                <a16:creationId xmlns:a16="http://schemas.microsoft.com/office/drawing/2014/main" id="{470BFE2D-8F7A-4D11-B37D-56BB0AA6795C}"/>
              </a:ext>
              <a:ext uri="{C183D7F6-B498-43B3-948B-1728B52AA6E4}">
                <adec:decorative xmlns:adec="http://schemas.microsoft.com/office/drawing/2017/decorative" val="1"/>
              </a:ext>
            </a:extLst>
          </p:cNvPr>
          <p:cNvGrpSpPr>
            <a:grpSpLocks noChangeAspect="1"/>
          </p:cNvGrpSpPr>
          <p:nvPr/>
        </p:nvGrpSpPr>
        <p:grpSpPr>
          <a:xfrm>
            <a:off x="10590398" y="3447783"/>
            <a:ext cx="152378" cy="151930"/>
            <a:chOff x="10684388" y="1412617"/>
            <a:chExt cx="152378" cy="151930"/>
          </a:xfrm>
        </p:grpSpPr>
        <p:sp>
          <p:nvSpPr>
            <p:cNvPr id="5480" name="Freeform: Shape 5479">
              <a:extLst>
                <a:ext uri="{FF2B5EF4-FFF2-40B4-BE49-F238E27FC236}">
                  <a16:creationId xmlns:a16="http://schemas.microsoft.com/office/drawing/2014/main" id="{B31496EE-57A8-48CA-8AD7-F134485FAF41}"/>
                </a:ext>
              </a:extLst>
            </p:cNvPr>
            <p:cNvSpPr/>
            <p:nvPr/>
          </p:nvSpPr>
          <p:spPr>
            <a:xfrm>
              <a:off x="10684388" y="1439059"/>
              <a:ext cx="152378" cy="125488"/>
            </a:xfrm>
            <a:custGeom>
              <a:avLst/>
              <a:gdLst>
                <a:gd name="connsiteX0" fmla="*/ 151930 w 152377"/>
                <a:gd name="connsiteY0" fmla="*/ 14341 h 125487"/>
                <a:gd name="connsiteX1" fmla="*/ 150137 w 152377"/>
                <a:gd name="connsiteY1" fmla="*/ 13445 h 125487"/>
                <a:gd name="connsiteX2" fmla="*/ 124143 w 152377"/>
                <a:gd name="connsiteY2" fmla="*/ 13445 h 125487"/>
                <a:gd name="connsiteX3" fmla="*/ 121902 w 152377"/>
                <a:gd name="connsiteY3" fmla="*/ 15686 h 125487"/>
                <a:gd name="connsiteX4" fmla="*/ 124143 w 152377"/>
                <a:gd name="connsiteY4" fmla="*/ 17927 h 125487"/>
                <a:gd name="connsiteX5" fmla="*/ 147448 w 152377"/>
                <a:gd name="connsiteY5" fmla="*/ 17927 h 125487"/>
                <a:gd name="connsiteX6" fmla="*/ 131314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6 w 152377"/>
                <a:gd name="connsiteY10" fmla="*/ 15686 h 125487"/>
                <a:gd name="connsiteX11" fmla="*/ 55125 w 152377"/>
                <a:gd name="connsiteY11" fmla="*/ 13445 h 125487"/>
                <a:gd name="connsiteX12" fmla="*/ 32716 w 152377"/>
                <a:gd name="connsiteY12" fmla="*/ 13445 h 125487"/>
                <a:gd name="connsiteX13" fmla="*/ 30476 w 152377"/>
                <a:gd name="connsiteY13" fmla="*/ 1793 h 125487"/>
                <a:gd name="connsiteX14" fmla="*/ 28235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7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8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0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930 w 152377"/>
                <a:gd name="connsiteY39" fmla="*/ 14341 h 125487"/>
                <a:gd name="connsiteX40" fmla="*/ 121006 w 152377"/>
                <a:gd name="connsiteY40" fmla="*/ 110250 h 125487"/>
                <a:gd name="connsiteX41" fmla="*/ 110698 w 152377"/>
                <a:gd name="connsiteY41" fmla="*/ 121454 h 125487"/>
                <a:gd name="connsiteX42" fmla="*/ 100390 w 152377"/>
                <a:gd name="connsiteY42" fmla="*/ 110250 h 125487"/>
                <a:gd name="connsiteX43" fmla="*/ 110698 w 152377"/>
                <a:gd name="connsiteY43" fmla="*/ 99046 h 125487"/>
                <a:gd name="connsiteX44" fmla="*/ 121006 w 152377"/>
                <a:gd name="connsiteY44" fmla="*/ 110250 h 125487"/>
                <a:gd name="connsiteX45" fmla="*/ 69914 w 152377"/>
                <a:gd name="connsiteY45" fmla="*/ 110250 h 125487"/>
                <a:gd name="connsiteX46" fmla="*/ 59607 w 152377"/>
                <a:gd name="connsiteY46" fmla="*/ 121454 h 125487"/>
                <a:gd name="connsiteX47" fmla="*/ 49299 w 152377"/>
                <a:gd name="connsiteY47" fmla="*/ 110250 h 125487"/>
                <a:gd name="connsiteX48" fmla="*/ 59607 w 152377"/>
                <a:gd name="connsiteY48" fmla="*/ 99046 h 125487"/>
                <a:gd name="connsiteX49" fmla="*/ 69914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930" y="14341"/>
                  </a:moveTo>
                  <a:cubicBezTo>
                    <a:pt x="151481" y="13893"/>
                    <a:pt x="151033" y="13445"/>
                    <a:pt x="150137" y="13445"/>
                  </a:cubicBezTo>
                  <a:lnTo>
                    <a:pt x="124143" y="13445"/>
                  </a:lnTo>
                  <a:cubicBezTo>
                    <a:pt x="122798" y="13445"/>
                    <a:pt x="121902" y="14341"/>
                    <a:pt x="121902" y="15686"/>
                  </a:cubicBezTo>
                  <a:cubicBezTo>
                    <a:pt x="121902" y="17030"/>
                    <a:pt x="122798" y="17927"/>
                    <a:pt x="124143" y="17927"/>
                  </a:cubicBezTo>
                  <a:lnTo>
                    <a:pt x="147448" y="17927"/>
                  </a:lnTo>
                  <a:lnTo>
                    <a:pt x="131314" y="80671"/>
                  </a:lnTo>
                  <a:lnTo>
                    <a:pt x="46161" y="80671"/>
                  </a:lnTo>
                  <a:lnTo>
                    <a:pt x="33613" y="17927"/>
                  </a:lnTo>
                  <a:lnTo>
                    <a:pt x="55125" y="17927"/>
                  </a:lnTo>
                  <a:cubicBezTo>
                    <a:pt x="56469" y="17927"/>
                    <a:pt x="57366" y="17030"/>
                    <a:pt x="57366" y="15686"/>
                  </a:cubicBezTo>
                  <a:cubicBezTo>
                    <a:pt x="57366" y="14341"/>
                    <a:pt x="56469" y="13445"/>
                    <a:pt x="55125" y="13445"/>
                  </a:cubicBezTo>
                  <a:lnTo>
                    <a:pt x="32716" y="13445"/>
                  </a:lnTo>
                  <a:lnTo>
                    <a:pt x="30476" y="1793"/>
                  </a:lnTo>
                  <a:cubicBezTo>
                    <a:pt x="30476" y="896"/>
                    <a:pt x="29131" y="0"/>
                    <a:pt x="28235"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7" y="125488"/>
                  </a:cubicBezTo>
                  <a:cubicBezTo>
                    <a:pt x="67674" y="125488"/>
                    <a:pt x="74396" y="118317"/>
                    <a:pt x="74396" y="109802"/>
                  </a:cubicBezTo>
                  <a:cubicBezTo>
                    <a:pt x="74396" y="105320"/>
                    <a:pt x="72604" y="101287"/>
                    <a:pt x="69914" y="98597"/>
                  </a:cubicBezTo>
                  <a:lnTo>
                    <a:pt x="100390" y="98597"/>
                  </a:lnTo>
                  <a:cubicBezTo>
                    <a:pt x="97701" y="101287"/>
                    <a:pt x="95908" y="105320"/>
                    <a:pt x="95908" y="109802"/>
                  </a:cubicBezTo>
                  <a:cubicBezTo>
                    <a:pt x="95908"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5" y="98597"/>
                    <a:pt x="134451" y="97701"/>
                    <a:pt x="134451" y="96357"/>
                  </a:cubicBezTo>
                  <a:cubicBezTo>
                    <a:pt x="134451" y="95012"/>
                    <a:pt x="133555" y="94116"/>
                    <a:pt x="132210" y="94116"/>
                  </a:cubicBezTo>
                  <a:lnTo>
                    <a:pt x="48850" y="94116"/>
                  </a:lnTo>
                  <a:lnTo>
                    <a:pt x="47058" y="85152"/>
                  </a:lnTo>
                  <a:lnTo>
                    <a:pt x="132658" y="85152"/>
                  </a:lnTo>
                  <a:cubicBezTo>
                    <a:pt x="133555" y="85152"/>
                    <a:pt x="134451" y="84256"/>
                    <a:pt x="134899" y="83360"/>
                  </a:cubicBezTo>
                  <a:lnTo>
                    <a:pt x="152378" y="16134"/>
                  </a:lnTo>
                  <a:cubicBezTo>
                    <a:pt x="152378" y="15686"/>
                    <a:pt x="152378" y="15238"/>
                    <a:pt x="151930" y="14341"/>
                  </a:cubicBezTo>
                  <a:close/>
                  <a:moveTo>
                    <a:pt x="121006" y="110250"/>
                  </a:moveTo>
                  <a:cubicBezTo>
                    <a:pt x="121006" y="116524"/>
                    <a:pt x="116524" y="121454"/>
                    <a:pt x="110698" y="121454"/>
                  </a:cubicBezTo>
                  <a:cubicBezTo>
                    <a:pt x="104872" y="121454"/>
                    <a:pt x="100390" y="116524"/>
                    <a:pt x="100390" y="110250"/>
                  </a:cubicBezTo>
                  <a:cubicBezTo>
                    <a:pt x="100390" y="103976"/>
                    <a:pt x="104872" y="99046"/>
                    <a:pt x="110698" y="99046"/>
                  </a:cubicBezTo>
                  <a:cubicBezTo>
                    <a:pt x="116524" y="99046"/>
                    <a:pt x="121006" y="103976"/>
                    <a:pt x="121006" y="110250"/>
                  </a:cubicBezTo>
                  <a:close/>
                  <a:moveTo>
                    <a:pt x="69914" y="110250"/>
                  </a:moveTo>
                  <a:cubicBezTo>
                    <a:pt x="69914" y="116524"/>
                    <a:pt x="65433" y="121454"/>
                    <a:pt x="59607" y="121454"/>
                  </a:cubicBezTo>
                  <a:cubicBezTo>
                    <a:pt x="53780" y="121454"/>
                    <a:pt x="49299" y="116524"/>
                    <a:pt x="49299" y="110250"/>
                  </a:cubicBezTo>
                  <a:cubicBezTo>
                    <a:pt x="49299" y="103976"/>
                    <a:pt x="53780" y="99046"/>
                    <a:pt x="59607" y="99046"/>
                  </a:cubicBezTo>
                  <a:cubicBezTo>
                    <a:pt x="65433" y="99046"/>
                    <a:pt x="69914" y="103976"/>
                    <a:pt x="69914" y="110250"/>
                  </a:cubicBezTo>
                  <a:close/>
                </a:path>
              </a:pathLst>
            </a:custGeom>
            <a:solidFill>
              <a:srgbClr val="231F20"/>
            </a:solidFill>
            <a:ln w="4477" cap="flat">
              <a:noFill/>
              <a:prstDash val="solid"/>
              <a:miter/>
            </a:ln>
          </p:spPr>
          <p:txBody>
            <a:bodyPr rtlCol="0" anchor="ctr"/>
            <a:lstStyle/>
            <a:p>
              <a:endParaRPr lang="en-US"/>
            </a:p>
          </p:txBody>
        </p:sp>
        <p:sp>
          <p:nvSpPr>
            <p:cNvPr id="5481" name="Freeform: Shape 5480">
              <a:extLst>
                <a:ext uri="{FF2B5EF4-FFF2-40B4-BE49-F238E27FC236}">
                  <a16:creationId xmlns:a16="http://schemas.microsoft.com/office/drawing/2014/main" id="{5EB2508D-0112-41C9-81E8-19FAAE3FB047}"/>
                </a:ext>
              </a:extLst>
            </p:cNvPr>
            <p:cNvSpPr/>
            <p:nvPr/>
          </p:nvSpPr>
          <p:spPr>
            <a:xfrm>
              <a:off x="10747356" y="1412617"/>
              <a:ext cx="53780" cy="76189"/>
            </a:xfrm>
            <a:custGeom>
              <a:avLst/>
              <a:gdLst>
                <a:gd name="connsiteX0" fmla="*/ 24873 w 53780"/>
                <a:gd name="connsiteY0" fmla="*/ 78878 h 76188"/>
                <a:gd name="connsiteX1" fmla="*/ 24873 w 53780"/>
                <a:gd name="connsiteY1" fmla="*/ 78878 h 76188"/>
                <a:gd name="connsiteX2" fmla="*/ 26666 w 53780"/>
                <a:gd name="connsiteY2" fmla="*/ 79774 h 76188"/>
                <a:gd name="connsiteX3" fmla="*/ 28459 w 53780"/>
                <a:gd name="connsiteY3" fmla="*/ 79326 h 76188"/>
                <a:gd name="connsiteX4" fmla="*/ 28459 w 53780"/>
                <a:gd name="connsiteY4" fmla="*/ 79326 h 76188"/>
                <a:gd name="connsiteX5" fmla="*/ 53556 w 53780"/>
                <a:gd name="connsiteY5" fmla="*/ 53780 h 76188"/>
                <a:gd name="connsiteX6" fmla="*/ 53556 w 53780"/>
                <a:gd name="connsiteY6" fmla="*/ 50643 h 76188"/>
                <a:gd name="connsiteX7" fmla="*/ 50419 w 53780"/>
                <a:gd name="connsiteY7" fmla="*/ 50643 h 76188"/>
                <a:gd name="connsiteX8" fmla="*/ 29355 w 53780"/>
                <a:gd name="connsiteY8" fmla="*/ 72604 h 76188"/>
                <a:gd name="connsiteX9" fmla="*/ 29355 w 53780"/>
                <a:gd name="connsiteY9" fmla="*/ 2241 h 76188"/>
                <a:gd name="connsiteX10" fmla="*/ 27114 w 53780"/>
                <a:gd name="connsiteY10" fmla="*/ 0 h 76188"/>
                <a:gd name="connsiteX11" fmla="*/ 24873 w 53780"/>
                <a:gd name="connsiteY11" fmla="*/ 2241 h 76188"/>
                <a:gd name="connsiteX12" fmla="*/ 24873 w 53780"/>
                <a:gd name="connsiteY12" fmla="*/ 72155 h 76188"/>
                <a:gd name="connsiteX13" fmla="*/ 3809 w 53780"/>
                <a:gd name="connsiteY13" fmla="*/ 50195 h 76188"/>
                <a:gd name="connsiteX14" fmla="*/ 672 w 53780"/>
                <a:gd name="connsiteY14" fmla="*/ 50195 h 76188"/>
                <a:gd name="connsiteX15" fmla="*/ 672 w 53780"/>
                <a:gd name="connsiteY15" fmla="*/ 53332 h 76188"/>
                <a:gd name="connsiteX16" fmla="*/ 24873 w 53780"/>
                <a:gd name="connsiteY16" fmla="*/ 78878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780" h="76188">
                  <a:moveTo>
                    <a:pt x="24873" y="78878"/>
                  </a:moveTo>
                  <a:cubicBezTo>
                    <a:pt x="24873" y="78878"/>
                    <a:pt x="24873" y="78878"/>
                    <a:pt x="24873" y="78878"/>
                  </a:cubicBezTo>
                  <a:cubicBezTo>
                    <a:pt x="25322" y="79326"/>
                    <a:pt x="25770" y="79774"/>
                    <a:pt x="26666" y="79774"/>
                  </a:cubicBezTo>
                  <a:cubicBezTo>
                    <a:pt x="27114" y="79774"/>
                    <a:pt x="28011" y="79326"/>
                    <a:pt x="28459" y="79326"/>
                  </a:cubicBezTo>
                  <a:cubicBezTo>
                    <a:pt x="28459" y="79326"/>
                    <a:pt x="28459" y="79326"/>
                    <a:pt x="28459" y="79326"/>
                  </a:cubicBezTo>
                  <a:lnTo>
                    <a:pt x="53556" y="53780"/>
                  </a:lnTo>
                  <a:cubicBezTo>
                    <a:pt x="54453" y="52884"/>
                    <a:pt x="54453" y="51540"/>
                    <a:pt x="53556" y="50643"/>
                  </a:cubicBezTo>
                  <a:cubicBezTo>
                    <a:pt x="52660" y="49747"/>
                    <a:pt x="51315" y="49747"/>
                    <a:pt x="50419" y="50643"/>
                  </a:cubicBezTo>
                  <a:lnTo>
                    <a:pt x="29355" y="72604"/>
                  </a:lnTo>
                  <a:lnTo>
                    <a:pt x="29355" y="2241"/>
                  </a:lnTo>
                  <a:cubicBezTo>
                    <a:pt x="29355" y="896"/>
                    <a:pt x="28459" y="0"/>
                    <a:pt x="27114" y="0"/>
                  </a:cubicBezTo>
                  <a:cubicBezTo>
                    <a:pt x="25770" y="0"/>
                    <a:pt x="24873" y="896"/>
                    <a:pt x="24873" y="2241"/>
                  </a:cubicBezTo>
                  <a:lnTo>
                    <a:pt x="24873" y="72155"/>
                  </a:lnTo>
                  <a:lnTo>
                    <a:pt x="3809" y="50195"/>
                  </a:lnTo>
                  <a:cubicBezTo>
                    <a:pt x="2913" y="49299"/>
                    <a:pt x="1568" y="49299"/>
                    <a:pt x="672" y="50195"/>
                  </a:cubicBezTo>
                  <a:cubicBezTo>
                    <a:pt x="-224" y="51091"/>
                    <a:pt x="-224" y="52436"/>
                    <a:pt x="672" y="53332"/>
                  </a:cubicBezTo>
                  <a:lnTo>
                    <a:pt x="24873" y="78878"/>
                  </a:lnTo>
                  <a:close/>
                </a:path>
              </a:pathLst>
            </a:custGeom>
            <a:solidFill>
              <a:srgbClr val="231F20"/>
            </a:solidFill>
            <a:ln w="4477" cap="flat">
              <a:noFill/>
              <a:prstDash val="solid"/>
              <a:miter/>
            </a:ln>
          </p:spPr>
          <p:txBody>
            <a:bodyPr rtlCol="0" anchor="ctr"/>
            <a:lstStyle/>
            <a:p>
              <a:endParaRPr lang="en-US"/>
            </a:p>
          </p:txBody>
        </p:sp>
      </p:grpSp>
      <p:grpSp>
        <p:nvGrpSpPr>
          <p:cNvPr id="2452" name="Group 2451">
            <a:extLst>
              <a:ext uri="{FF2B5EF4-FFF2-40B4-BE49-F238E27FC236}">
                <a16:creationId xmlns:a16="http://schemas.microsoft.com/office/drawing/2014/main" id="{9C4EB557-BAB4-4888-849F-162EFC0E0B18}"/>
              </a:ext>
              <a:ext uri="{C183D7F6-B498-43B3-948B-1728B52AA6E4}">
                <adec:decorative xmlns:adec="http://schemas.microsoft.com/office/drawing/2017/decorative" val="1"/>
              </a:ext>
            </a:extLst>
          </p:cNvPr>
          <p:cNvGrpSpPr>
            <a:grpSpLocks noChangeAspect="1"/>
          </p:cNvGrpSpPr>
          <p:nvPr/>
        </p:nvGrpSpPr>
        <p:grpSpPr>
          <a:xfrm>
            <a:off x="11380074" y="3460762"/>
            <a:ext cx="152378" cy="138951"/>
            <a:chOff x="11474064" y="1425596"/>
            <a:chExt cx="152378" cy="138951"/>
          </a:xfrm>
        </p:grpSpPr>
        <p:sp>
          <p:nvSpPr>
            <p:cNvPr id="5476" name="Freeform: Shape 5475">
              <a:extLst>
                <a:ext uri="{FF2B5EF4-FFF2-40B4-BE49-F238E27FC236}">
                  <a16:creationId xmlns:a16="http://schemas.microsoft.com/office/drawing/2014/main" id="{7F83B81C-C502-4B86-9D85-44CDA2752654}"/>
                </a:ext>
              </a:extLst>
            </p:cNvPr>
            <p:cNvSpPr/>
            <p:nvPr/>
          </p:nvSpPr>
          <p:spPr>
            <a:xfrm>
              <a:off x="11543978" y="1425596"/>
              <a:ext cx="26890" cy="49299"/>
            </a:xfrm>
            <a:custGeom>
              <a:avLst/>
              <a:gdLst>
                <a:gd name="connsiteX0" fmla="*/ 1345 w 26890"/>
                <a:gd name="connsiteY0" fmla="*/ 51558 h 49298"/>
                <a:gd name="connsiteX1" fmla="*/ 2241 w 26890"/>
                <a:gd name="connsiteY1" fmla="*/ 52006 h 49298"/>
                <a:gd name="connsiteX2" fmla="*/ 4034 w 26890"/>
                <a:gd name="connsiteY2" fmla="*/ 50661 h 49298"/>
                <a:gd name="connsiteX3" fmla="*/ 30924 w 26890"/>
                <a:gd name="connsiteY3" fmla="*/ 3604 h 49298"/>
                <a:gd name="connsiteX4" fmla="*/ 30027 w 26890"/>
                <a:gd name="connsiteY4" fmla="*/ 466 h 49298"/>
                <a:gd name="connsiteX5" fmla="*/ 26890 w 26890"/>
                <a:gd name="connsiteY5" fmla="*/ 1363 h 49298"/>
                <a:gd name="connsiteX6" fmla="*/ 0 w 26890"/>
                <a:gd name="connsiteY6" fmla="*/ 48421 h 49298"/>
                <a:gd name="connsiteX7" fmla="*/ 1345 w 26890"/>
                <a:gd name="connsiteY7" fmla="*/ 51558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0" h="49298">
                  <a:moveTo>
                    <a:pt x="1345" y="51558"/>
                  </a:moveTo>
                  <a:cubicBezTo>
                    <a:pt x="1793" y="51558"/>
                    <a:pt x="2241" y="52006"/>
                    <a:pt x="2241" y="52006"/>
                  </a:cubicBezTo>
                  <a:cubicBezTo>
                    <a:pt x="3137" y="52006"/>
                    <a:pt x="3586" y="51558"/>
                    <a:pt x="4034" y="50661"/>
                  </a:cubicBezTo>
                  <a:lnTo>
                    <a:pt x="30924" y="3604"/>
                  </a:lnTo>
                  <a:cubicBezTo>
                    <a:pt x="31372" y="2707"/>
                    <a:pt x="31372" y="1363"/>
                    <a:pt x="30027" y="466"/>
                  </a:cubicBezTo>
                  <a:cubicBezTo>
                    <a:pt x="28683" y="-430"/>
                    <a:pt x="27786" y="18"/>
                    <a:pt x="26890" y="1363"/>
                  </a:cubicBezTo>
                  <a:lnTo>
                    <a:pt x="0" y="48421"/>
                  </a:lnTo>
                  <a:cubicBezTo>
                    <a:pt x="0" y="49765"/>
                    <a:pt x="448" y="51110"/>
                    <a:pt x="1345" y="51558"/>
                  </a:cubicBezTo>
                  <a:close/>
                </a:path>
              </a:pathLst>
            </a:custGeom>
            <a:solidFill>
              <a:srgbClr val="231F20"/>
            </a:solidFill>
            <a:ln w="4477" cap="flat">
              <a:noFill/>
              <a:prstDash val="solid"/>
              <a:miter/>
            </a:ln>
          </p:spPr>
          <p:txBody>
            <a:bodyPr rtlCol="0" anchor="ctr"/>
            <a:lstStyle/>
            <a:p>
              <a:endParaRPr lang="en-US"/>
            </a:p>
          </p:txBody>
        </p:sp>
        <p:sp>
          <p:nvSpPr>
            <p:cNvPr id="5477" name="Freeform: Shape 5476">
              <a:extLst>
                <a:ext uri="{FF2B5EF4-FFF2-40B4-BE49-F238E27FC236}">
                  <a16:creationId xmlns:a16="http://schemas.microsoft.com/office/drawing/2014/main" id="{CDB46B7B-CAB9-434C-A5E0-F6ABEA0BA11B}"/>
                </a:ext>
              </a:extLst>
            </p:cNvPr>
            <p:cNvSpPr/>
            <p:nvPr/>
          </p:nvSpPr>
          <p:spPr>
            <a:xfrm>
              <a:off x="11474064" y="1439059"/>
              <a:ext cx="152378" cy="125488"/>
            </a:xfrm>
            <a:custGeom>
              <a:avLst/>
              <a:gdLst>
                <a:gd name="connsiteX0" fmla="*/ 151481 w 152377"/>
                <a:gd name="connsiteY0" fmla="*/ 14341 h 125487"/>
                <a:gd name="connsiteX1" fmla="*/ 149689 w 152377"/>
                <a:gd name="connsiteY1" fmla="*/ 13445 h 125487"/>
                <a:gd name="connsiteX2" fmla="*/ 123695 w 152377"/>
                <a:gd name="connsiteY2" fmla="*/ 13445 h 125487"/>
                <a:gd name="connsiteX3" fmla="*/ 121454 w 152377"/>
                <a:gd name="connsiteY3" fmla="*/ 15686 h 125487"/>
                <a:gd name="connsiteX4" fmla="*/ 123695 w 152377"/>
                <a:gd name="connsiteY4" fmla="*/ 17927 h 125487"/>
                <a:gd name="connsiteX5" fmla="*/ 146999 w 152377"/>
                <a:gd name="connsiteY5" fmla="*/ 17927 h 125487"/>
                <a:gd name="connsiteX6" fmla="*/ 130865 w 152377"/>
                <a:gd name="connsiteY6" fmla="*/ 80671 h 125487"/>
                <a:gd name="connsiteX7" fmla="*/ 46161 w 152377"/>
                <a:gd name="connsiteY7" fmla="*/ 80671 h 125487"/>
                <a:gd name="connsiteX8" fmla="*/ 33613 w 152377"/>
                <a:gd name="connsiteY8" fmla="*/ 17927 h 125487"/>
                <a:gd name="connsiteX9" fmla="*/ 55125 w 152377"/>
                <a:gd name="connsiteY9" fmla="*/ 17927 h 125487"/>
                <a:gd name="connsiteX10" fmla="*/ 57365 w 152377"/>
                <a:gd name="connsiteY10" fmla="*/ 15686 h 125487"/>
                <a:gd name="connsiteX11" fmla="*/ 55125 w 152377"/>
                <a:gd name="connsiteY11" fmla="*/ 13445 h 125487"/>
                <a:gd name="connsiteX12" fmla="*/ 32716 w 152377"/>
                <a:gd name="connsiteY12" fmla="*/ 13445 h 125487"/>
                <a:gd name="connsiteX13" fmla="*/ 30475 w 152377"/>
                <a:gd name="connsiteY13" fmla="*/ 1793 h 125487"/>
                <a:gd name="connsiteX14" fmla="*/ 28234 w 152377"/>
                <a:gd name="connsiteY14" fmla="*/ 0 h 125487"/>
                <a:gd name="connsiteX15" fmla="*/ 2241 w 152377"/>
                <a:gd name="connsiteY15" fmla="*/ 0 h 125487"/>
                <a:gd name="connsiteX16" fmla="*/ 0 w 152377"/>
                <a:gd name="connsiteY16" fmla="*/ 2241 h 125487"/>
                <a:gd name="connsiteX17" fmla="*/ 2241 w 152377"/>
                <a:gd name="connsiteY17" fmla="*/ 4482 h 125487"/>
                <a:gd name="connsiteX18" fmla="*/ 26442 w 152377"/>
                <a:gd name="connsiteY18" fmla="*/ 4482 h 125487"/>
                <a:gd name="connsiteX19" fmla="*/ 44817 w 152377"/>
                <a:gd name="connsiteY19" fmla="*/ 96805 h 125487"/>
                <a:gd name="connsiteX20" fmla="*/ 47058 w 152377"/>
                <a:gd name="connsiteY20" fmla="*/ 98597 h 125487"/>
                <a:gd name="connsiteX21" fmla="*/ 49299 w 152377"/>
                <a:gd name="connsiteY21" fmla="*/ 98597 h 125487"/>
                <a:gd name="connsiteX22" fmla="*/ 44817 w 152377"/>
                <a:gd name="connsiteY22" fmla="*/ 109802 h 125487"/>
                <a:gd name="connsiteX23" fmla="*/ 59606 w 152377"/>
                <a:gd name="connsiteY23" fmla="*/ 125488 h 125487"/>
                <a:gd name="connsiteX24" fmla="*/ 74396 w 152377"/>
                <a:gd name="connsiteY24" fmla="*/ 109802 h 125487"/>
                <a:gd name="connsiteX25" fmla="*/ 69914 w 152377"/>
                <a:gd name="connsiteY25" fmla="*/ 98597 h 125487"/>
                <a:gd name="connsiteX26" fmla="*/ 100390 w 152377"/>
                <a:gd name="connsiteY26" fmla="*/ 98597 h 125487"/>
                <a:gd name="connsiteX27" fmla="*/ 95909 w 152377"/>
                <a:gd name="connsiteY27" fmla="*/ 109802 h 125487"/>
                <a:gd name="connsiteX28" fmla="*/ 110698 w 152377"/>
                <a:gd name="connsiteY28" fmla="*/ 125488 h 125487"/>
                <a:gd name="connsiteX29" fmla="*/ 125488 w 152377"/>
                <a:gd name="connsiteY29" fmla="*/ 109802 h 125487"/>
                <a:gd name="connsiteX30" fmla="*/ 121006 w 152377"/>
                <a:gd name="connsiteY30" fmla="*/ 98597 h 125487"/>
                <a:gd name="connsiteX31" fmla="*/ 132210 w 152377"/>
                <a:gd name="connsiteY31" fmla="*/ 98597 h 125487"/>
                <a:gd name="connsiteX32" fmla="*/ 134451 w 152377"/>
                <a:gd name="connsiteY32" fmla="*/ 96357 h 125487"/>
                <a:gd name="connsiteX33" fmla="*/ 132210 w 152377"/>
                <a:gd name="connsiteY33" fmla="*/ 94116 h 125487"/>
                <a:gd name="connsiteX34" fmla="*/ 48851 w 152377"/>
                <a:gd name="connsiteY34" fmla="*/ 94116 h 125487"/>
                <a:gd name="connsiteX35" fmla="*/ 47058 w 152377"/>
                <a:gd name="connsiteY35" fmla="*/ 85152 h 125487"/>
                <a:gd name="connsiteX36" fmla="*/ 132658 w 152377"/>
                <a:gd name="connsiteY36" fmla="*/ 85152 h 125487"/>
                <a:gd name="connsiteX37" fmla="*/ 134899 w 152377"/>
                <a:gd name="connsiteY37" fmla="*/ 83360 h 125487"/>
                <a:gd name="connsiteX38" fmla="*/ 152378 w 152377"/>
                <a:gd name="connsiteY38" fmla="*/ 16134 h 125487"/>
                <a:gd name="connsiteX39" fmla="*/ 151481 w 152377"/>
                <a:gd name="connsiteY39" fmla="*/ 14341 h 125487"/>
                <a:gd name="connsiteX40" fmla="*/ 120558 w 152377"/>
                <a:gd name="connsiteY40" fmla="*/ 110250 h 125487"/>
                <a:gd name="connsiteX41" fmla="*/ 110250 w 152377"/>
                <a:gd name="connsiteY41" fmla="*/ 121454 h 125487"/>
                <a:gd name="connsiteX42" fmla="*/ 99942 w 152377"/>
                <a:gd name="connsiteY42" fmla="*/ 110250 h 125487"/>
                <a:gd name="connsiteX43" fmla="*/ 110250 w 152377"/>
                <a:gd name="connsiteY43" fmla="*/ 99046 h 125487"/>
                <a:gd name="connsiteX44" fmla="*/ 120558 w 152377"/>
                <a:gd name="connsiteY44" fmla="*/ 110250 h 125487"/>
                <a:gd name="connsiteX45" fmla="*/ 69466 w 152377"/>
                <a:gd name="connsiteY45" fmla="*/ 110250 h 125487"/>
                <a:gd name="connsiteX46" fmla="*/ 59158 w 152377"/>
                <a:gd name="connsiteY46" fmla="*/ 121454 h 125487"/>
                <a:gd name="connsiteX47" fmla="*/ 48851 w 152377"/>
                <a:gd name="connsiteY47" fmla="*/ 110250 h 125487"/>
                <a:gd name="connsiteX48" fmla="*/ 59158 w 152377"/>
                <a:gd name="connsiteY48" fmla="*/ 99046 h 125487"/>
                <a:gd name="connsiteX49" fmla="*/ 69466 w 152377"/>
                <a:gd name="connsiteY49" fmla="*/ 11025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2377" h="125487">
                  <a:moveTo>
                    <a:pt x="151481" y="14341"/>
                  </a:moveTo>
                  <a:cubicBezTo>
                    <a:pt x="151033" y="13893"/>
                    <a:pt x="150585" y="13445"/>
                    <a:pt x="149689" y="13445"/>
                  </a:cubicBezTo>
                  <a:lnTo>
                    <a:pt x="123695" y="13445"/>
                  </a:lnTo>
                  <a:cubicBezTo>
                    <a:pt x="122350" y="13445"/>
                    <a:pt x="121454" y="14341"/>
                    <a:pt x="121454" y="15686"/>
                  </a:cubicBezTo>
                  <a:cubicBezTo>
                    <a:pt x="121454" y="17030"/>
                    <a:pt x="122350" y="17927"/>
                    <a:pt x="123695" y="17927"/>
                  </a:cubicBezTo>
                  <a:lnTo>
                    <a:pt x="146999" y="17927"/>
                  </a:lnTo>
                  <a:lnTo>
                    <a:pt x="130865" y="80671"/>
                  </a:lnTo>
                  <a:lnTo>
                    <a:pt x="46161" y="80671"/>
                  </a:lnTo>
                  <a:lnTo>
                    <a:pt x="33613" y="17927"/>
                  </a:lnTo>
                  <a:lnTo>
                    <a:pt x="55125" y="17927"/>
                  </a:lnTo>
                  <a:cubicBezTo>
                    <a:pt x="56469" y="17927"/>
                    <a:pt x="57365" y="17030"/>
                    <a:pt x="57365" y="15686"/>
                  </a:cubicBezTo>
                  <a:cubicBezTo>
                    <a:pt x="57365" y="14341"/>
                    <a:pt x="56469" y="13445"/>
                    <a:pt x="55125" y="13445"/>
                  </a:cubicBezTo>
                  <a:lnTo>
                    <a:pt x="32716" y="13445"/>
                  </a:lnTo>
                  <a:lnTo>
                    <a:pt x="30475" y="1793"/>
                  </a:lnTo>
                  <a:cubicBezTo>
                    <a:pt x="30475" y="896"/>
                    <a:pt x="29131" y="0"/>
                    <a:pt x="28234" y="0"/>
                  </a:cubicBezTo>
                  <a:lnTo>
                    <a:pt x="2241" y="0"/>
                  </a:lnTo>
                  <a:cubicBezTo>
                    <a:pt x="896" y="0"/>
                    <a:pt x="0" y="896"/>
                    <a:pt x="0" y="2241"/>
                  </a:cubicBezTo>
                  <a:cubicBezTo>
                    <a:pt x="0" y="3585"/>
                    <a:pt x="896" y="4482"/>
                    <a:pt x="2241" y="4482"/>
                  </a:cubicBezTo>
                  <a:lnTo>
                    <a:pt x="26442" y="4482"/>
                  </a:lnTo>
                  <a:lnTo>
                    <a:pt x="44817" y="96805"/>
                  </a:lnTo>
                  <a:cubicBezTo>
                    <a:pt x="44817" y="97701"/>
                    <a:pt x="46161" y="98597"/>
                    <a:pt x="47058" y="98597"/>
                  </a:cubicBezTo>
                  <a:lnTo>
                    <a:pt x="49299" y="98597"/>
                  </a:lnTo>
                  <a:cubicBezTo>
                    <a:pt x="46610" y="101287"/>
                    <a:pt x="44817" y="105320"/>
                    <a:pt x="44817" y="109802"/>
                  </a:cubicBezTo>
                  <a:cubicBezTo>
                    <a:pt x="44817" y="118317"/>
                    <a:pt x="51540" y="125488"/>
                    <a:pt x="59606" y="125488"/>
                  </a:cubicBezTo>
                  <a:cubicBezTo>
                    <a:pt x="67674" y="125488"/>
                    <a:pt x="74396" y="118317"/>
                    <a:pt x="74396" y="109802"/>
                  </a:cubicBezTo>
                  <a:cubicBezTo>
                    <a:pt x="74396" y="105320"/>
                    <a:pt x="72603" y="101287"/>
                    <a:pt x="69914" y="98597"/>
                  </a:cubicBezTo>
                  <a:lnTo>
                    <a:pt x="100390" y="98597"/>
                  </a:lnTo>
                  <a:cubicBezTo>
                    <a:pt x="97701" y="101287"/>
                    <a:pt x="95909" y="105320"/>
                    <a:pt x="95909" y="109802"/>
                  </a:cubicBezTo>
                  <a:cubicBezTo>
                    <a:pt x="95909" y="118317"/>
                    <a:pt x="102631" y="125488"/>
                    <a:pt x="110698" y="125488"/>
                  </a:cubicBezTo>
                  <a:cubicBezTo>
                    <a:pt x="118765" y="125488"/>
                    <a:pt x="125488" y="118317"/>
                    <a:pt x="125488" y="109802"/>
                  </a:cubicBezTo>
                  <a:cubicBezTo>
                    <a:pt x="125488" y="105320"/>
                    <a:pt x="123695" y="101287"/>
                    <a:pt x="121006" y="98597"/>
                  </a:cubicBezTo>
                  <a:lnTo>
                    <a:pt x="132210" y="98597"/>
                  </a:lnTo>
                  <a:cubicBezTo>
                    <a:pt x="133554" y="98597"/>
                    <a:pt x="134451" y="97701"/>
                    <a:pt x="134451" y="96357"/>
                  </a:cubicBezTo>
                  <a:cubicBezTo>
                    <a:pt x="134451" y="95012"/>
                    <a:pt x="133554" y="94116"/>
                    <a:pt x="132210" y="94116"/>
                  </a:cubicBezTo>
                  <a:lnTo>
                    <a:pt x="48851" y="94116"/>
                  </a:lnTo>
                  <a:lnTo>
                    <a:pt x="47058" y="85152"/>
                  </a:lnTo>
                  <a:lnTo>
                    <a:pt x="132658" y="85152"/>
                  </a:lnTo>
                  <a:cubicBezTo>
                    <a:pt x="133554" y="85152"/>
                    <a:pt x="134451" y="84256"/>
                    <a:pt x="134899" y="83360"/>
                  </a:cubicBezTo>
                  <a:lnTo>
                    <a:pt x="152378" y="16134"/>
                  </a:lnTo>
                  <a:cubicBezTo>
                    <a:pt x="151930" y="15686"/>
                    <a:pt x="151930" y="15238"/>
                    <a:pt x="151481" y="14341"/>
                  </a:cubicBezTo>
                  <a:close/>
                  <a:moveTo>
                    <a:pt x="120558" y="110250"/>
                  </a:moveTo>
                  <a:cubicBezTo>
                    <a:pt x="120558" y="116524"/>
                    <a:pt x="116076" y="121454"/>
                    <a:pt x="110250" y="121454"/>
                  </a:cubicBezTo>
                  <a:cubicBezTo>
                    <a:pt x="104423" y="121454"/>
                    <a:pt x="99942" y="116524"/>
                    <a:pt x="99942" y="110250"/>
                  </a:cubicBezTo>
                  <a:cubicBezTo>
                    <a:pt x="99942" y="103976"/>
                    <a:pt x="104423" y="99046"/>
                    <a:pt x="110250" y="99046"/>
                  </a:cubicBezTo>
                  <a:cubicBezTo>
                    <a:pt x="115628" y="99046"/>
                    <a:pt x="120558" y="103976"/>
                    <a:pt x="120558" y="110250"/>
                  </a:cubicBezTo>
                  <a:close/>
                  <a:moveTo>
                    <a:pt x="69466" y="110250"/>
                  </a:moveTo>
                  <a:cubicBezTo>
                    <a:pt x="69466" y="116524"/>
                    <a:pt x="64985" y="121454"/>
                    <a:pt x="59158" y="121454"/>
                  </a:cubicBezTo>
                  <a:cubicBezTo>
                    <a:pt x="53332" y="121454"/>
                    <a:pt x="48851" y="116524"/>
                    <a:pt x="48851" y="110250"/>
                  </a:cubicBezTo>
                  <a:cubicBezTo>
                    <a:pt x="48851" y="103976"/>
                    <a:pt x="53332" y="99046"/>
                    <a:pt x="59158" y="99046"/>
                  </a:cubicBezTo>
                  <a:cubicBezTo>
                    <a:pt x="64985" y="99046"/>
                    <a:pt x="69466" y="103976"/>
                    <a:pt x="69466" y="110250"/>
                  </a:cubicBezTo>
                  <a:close/>
                </a:path>
              </a:pathLst>
            </a:custGeom>
            <a:solidFill>
              <a:srgbClr val="231F20"/>
            </a:solidFill>
            <a:ln w="4477" cap="flat">
              <a:noFill/>
              <a:prstDash val="solid"/>
              <a:miter/>
            </a:ln>
          </p:spPr>
          <p:txBody>
            <a:bodyPr rtlCol="0" anchor="ctr"/>
            <a:lstStyle/>
            <a:p>
              <a:endParaRPr lang="en-US"/>
            </a:p>
          </p:txBody>
        </p:sp>
        <p:sp>
          <p:nvSpPr>
            <p:cNvPr id="5478" name="Freeform: Shape 5477">
              <a:extLst>
                <a:ext uri="{FF2B5EF4-FFF2-40B4-BE49-F238E27FC236}">
                  <a16:creationId xmlns:a16="http://schemas.microsoft.com/office/drawing/2014/main" id="{B4D81B1E-DD7E-4971-97EB-9ED4AC5B09A6}"/>
                </a:ext>
              </a:extLst>
            </p:cNvPr>
            <p:cNvSpPr/>
            <p:nvPr/>
          </p:nvSpPr>
          <p:spPr>
            <a:xfrm>
              <a:off x="11534119" y="1426062"/>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3" y="0"/>
                    <a:pt x="0" y="4034"/>
                    <a:pt x="0" y="8963"/>
                  </a:cubicBezTo>
                  <a:cubicBezTo>
                    <a:pt x="0" y="13893"/>
                    <a:pt x="4033" y="17927"/>
                    <a:pt x="8963" y="17927"/>
                  </a:cubicBezTo>
                  <a:close/>
                  <a:moveTo>
                    <a:pt x="8963" y="4482"/>
                  </a:moveTo>
                  <a:cubicBezTo>
                    <a:pt x="11652" y="4482"/>
                    <a:pt x="13445" y="6723"/>
                    <a:pt x="13445" y="8963"/>
                  </a:cubicBezTo>
                  <a:cubicBezTo>
                    <a:pt x="13445" y="11652"/>
                    <a:pt x="11652" y="13445"/>
                    <a:pt x="8963" y="13445"/>
                  </a:cubicBezTo>
                  <a:cubicBezTo>
                    <a:pt x="6274" y="13445"/>
                    <a:pt x="4482" y="11652"/>
                    <a:pt x="4482" y="8963"/>
                  </a:cubicBezTo>
                  <a:cubicBezTo>
                    <a:pt x="4482" y="6274"/>
                    <a:pt x="6274" y="4482"/>
                    <a:pt x="8963" y="4482"/>
                  </a:cubicBezTo>
                  <a:close/>
                </a:path>
              </a:pathLst>
            </a:custGeom>
            <a:solidFill>
              <a:srgbClr val="231F20"/>
            </a:solidFill>
            <a:ln w="4477" cap="flat">
              <a:noFill/>
              <a:prstDash val="solid"/>
              <a:miter/>
            </a:ln>
          </p:spPr>
          <p:txBody>
            <a:bodyPr rtlCol="0" anchor="ctr"/>
            <a:lstStyle/>
            <a:p>
              <a:endParaRPr lang="en-US"/>
            </a:p>
          </p:txBody>
        </p:sp>
        <p:sp>
          <p:nvSpPr>
            <p:cNvPr id="5479" name="Freeform: Shape 5478">
              <a:extLst>
                <a:ext uri="{FF2B5EF4-FFF2-40B4-BE49-F238E27FC236}">
                  <a16:creationId xmlns:a16="http://schemas.microsoft.com/office/drawing/2014/main" id="{6EB438EB-5629-4D82-95CE-D36F17107903}"/>
                </a:ext>
              </a:extLst>
            </p:cNvPr>
            <p:cNvSpPr/>
            <p:nvPr/>
          </p:nvSpPr>
          <p:spPr>
            <a:xfrm>
              <a:off x="11567731" y="1459675"/>
              <a:ext cx="17927" cy="17927"/>
            </a:xfrm>
            <a:custGeom>
              <a:avLst/>
              <a:gdLst>
                <a:gd name="connsiteX0" fmla="*/ 0 w 17926"/>
                <a:gd name="connsiteY0" fmla="*/ 8963 h 17926"/>
                <a:gd name="connsiteX1" fmla="*/ 8963 w 17926"/>
                <a:gd name="connsiteY1" fmla="*/ 17927 h 17926"/>
                <a:gd name="connsiteX2" fmla="*/ 17927 w 17926"/>
                <a:gd name="connsiteY2" fmla="*/ 8963 h 17926"/>
                <a:gd name="connsiteX3" fmla="*/ 8963 w 17926"/>
                <a:gd name="connsiteY3" fmla="*/ 0 h 17926"/>
                <a:gd name="connsiteX4" fmla="*/ 0 w 17926"/>
                <a:gd name="connsiteY4" fmla="*/ 8963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0" y="8963"/>
                  </a:moveTo>
                  <a:cubicBezTo>
                    <a:pt x="0" y="13893"/>
                    <a:pt x="4033" y="17927"/>
                    <a:pt x="8963" y="17927"/>
                  </a:cubicBezTo>
                  <a:cubicBezTo>
                    <a:pt x="13893" y="17927"/>
                    <a:pt x="17927" y="13893"/>
                    <a:pt x="17927" y="8963"/>
                  </a:cubicBezTo>
                  <a:cubicBezTo>
                    <a:pt x="17927" y="4034"/>
                    <a:pt x="13893" y="0"/>
                    <a:pt x="8963" y="0"/>
                  </a:cubicBezTo>
                  <a:cubicBezTo>
                    <a:pt x="4033" y="0"/>
                    <a:pt x="0" y="4034"/>
                    <a:pt x="0" y="8963"/>
                  </a:cubicBezTo>
                  <a:close/>
                  <a:moveTo>
                    <a:pt x="8963" y="4482"/>
                  </a:moveTo>
                  <a:cubicBezTo>
                    <a:pt x="11652" y="4482"/>
                    <a:pt x="13445" y="6723"/>
                    <a:pt x="13445" y="8963"/>
                  </a:cubicBezTo>
                  <a:cubicBezTo>
                    <a:pt x="13445" y="11652"/>
                    <a:pt x="11652" y="13445"/>
                    <a:pt x="8963" y="13445"/>
                  </a:cubicBezTo>
                  <a:cubicBezTo>
                    <a:pt x="6274" y="13445"/>
                    <a:pt x="4482" y="11652"/>
                    <a:pt x="4482" y="8963"/>
                  </a:cubicBezTo>
                  <a:cubicBezTo>
                    <a:pt x="4482" y="6274"/>
                    <a:pt x="6274" y="4482"/>
                    <a:pt x="8963" y="4482"/>
                  </a:cubicBezTo>
                  <a:close/>
                </a:path>
              </a:pathLst>
            </a:custGeom>
            <a:solidFill>
              <a:srgbClr val="231F20"/>
            </a:solidFill>
            <a:ln w="4477" cap="flat">
              <a:noFill/>
              <a:prstDash val="solid"/>
              <a:miter/>
            </a:ln>
          </p:spPr>
          <p:txBody>
            <a:bodyPr rtlCol="0" anchor="ctr"/>
            <a:lstStyle/>
            <a:p>
              <a:endParaRPr lang="en-US"/>
            </a:p>
          </p:txBody>
        </p:sp>
      </p:grpSp>
      <p:grpSp>
        <p:nvGrpSpPr>
          <p:cNvPr id="2453" name="Group 2452">
            <a:extLst>
              <a:ext uri="{FF2B5EF4-FFF2-40B4-BE49-F238E27FC236}">
                <a16:creationId xmlns:a16="http://schemas.microsoft.com/office/drawing/2014/main" id="{B6C8C4FD-92D6-4E36-828C-D0D0BBA4197F}"/>
              </a:ext>
              <a:ext uri="{C183D7F6-B498-43B3-948B-1728B52AA6E4}">
                <adec:decorative xmlns:adec="http://schemas.microsoft.com/office/drawing/2017/decorative" val="1"/>
              </a:ext>
            </a:extLst>
          </p:cNvPr>
          <p:cNvGrpSpPr>
            <a:grpSpLocks noChangeAspect="1"/>
          </p:cNvGrpSpPr>
          <p:nvPr/>
        </p:nvGrpSpPr>
        <p:grpSpPr>
          <a:xfrm>
            <a:off x="6675475" y="3825652"/>
            <a:ext cx="147896" cy="132466"/>
            <a:chOff x="6731975" y="1769961"/>
            <a:chExt cx="147896" cy="132466"/>
          </a:xfrm>
        </p:grpSpPr>
        <p:sp>
          <p:nvSpPr>
            <p:cNvPr id="5474" name="Freeform: Shape 5473">
              <a:extLst>
                <a:ext uri="{FF2B5EF4-FFF2-40B4-BE49-F238E27FC236}">
                  <a16:creationId xmlns:a16="http://schemas.microsoft.com/office/drawing/2014/main" id="{98F8AACF-AF8A-45D1-80F2-9CEA2866F06F}"/>
                </a:ext>
              </a:extLst>
            </p:cNvPr>
            <p:cNvSpPr/>
            <p:nvPr/>
          </p:nvSpPr>
          <p:spPr>
            <a:xfrm>
              <a:off x="6825194" y="1880018"/>
              <a:ext cx="40335" cy="22409"/>
            </a:xfrm>
            <a:custGeom>
              <a:avLst/>
              <a:gdLst>
                <a:gd name="connsiteX0" fmla="*/ 39887 w 40335"/>
                <a:gd name="connsiteY0" fmla="*/ 10796 h 22408"/>
                <a:gd name="connsiteX1" fmla="*/ 38991 w 40335"/>
                <a:gd name="connsiteY1" fmla="*/ 9900 h 22408"/>
                <a:gd name="connsiteX2" fmla="*/ 25546 w 40335"/>
                <a:gd name="connsiteY2" fmla="*/ 489 h 22408"/>
                <a:gd name="connsiteX3" fmla="*/ 22409 w 40335"/>
                <a:gd name="connsiteY3" fmla="*/ 937 h 22408"/>
                <a:gd name="connsiteX4" fmla="*/ 22857 w 40335"/>
                <a:gd name="connsiteY4" fmla="*/ 4074 h 22408"/>
                <a:gd name="connsiteX5" fmla="*/ 32268 w 40335"/>
                <a:gd name="connsiteY5" fmla="*/ 10796 h 22408"/>
                <a:gd name="connsiteX6" fmla="*/ 2241 w 40335"/>
                <a:gd name="connsiteY6" fmla="*/ 10796 h 22408"/>
                <a:gd name="connsiteX7" fmla="*/ 0 w 40335"/>
                <a:gd name="connsiteY7" fmla="*/ 13037 h 22408"/>
                <a:gd name="connsiteX8" fmla="*/ 2241 w 40335"/>
                <a:gd name="connsiteY8" fmla="*/ 15278 h 22408"/>
                <a:gd name="connsiteX9" fmla="*/ 33613 w 40335"/>
                <a:gd name="connsiteY9" fmla="*/ 15278 h 22408"/>
                <a:gd name="connsiteX10" fmla="*/ 23305 w 40335"/>
                <a:gd name="connsiteY10" fmla="*/ 22001 h 22408"/>
                <a:gd name="connsiteX11" fmla="*/ 22409 w 40335"/>
                <a:gd name="connsiteY11" fmla="*/ 25138 h 22408"/>
                <a:gd name="connsiteX12" fmla="*/ 24201 w 40335"/>
                <a:gd name="connsiteY12" fmla="*/ 26034 h 22408"/>
                <a:gd name="connsiteX13" fmla="*/ 25546 w 40335"/>
                <a:gd name="connsiteY13" fmla="*/ 25586 h 22408"/>
                <a:gd name="connsiteX14" fmla="*/ 38991 w 40335"/>
                <a:gd name="connsiteY14" fmla="*/ 17519 h 22408"/>
                <a:gd name="connsiteX15" fmla="*/ 40783 w 40335"/>
                <a:gd name="connsiteY15" fmla="*/ 14382 h 22408"/>
                <a:gd name="connsiteX16" fmla="*/ 41232 w 40335"/>
                <a:gd name="connsiteY16" fmla="*/ 13037 h 22408"/>
                <a:gd name="connsiteX17" fmla="*/ 39887 w 40335"/>
                <a:gd name="connsiteY17" fmla="*/ 1079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335" h="22408">
                  <a:moveTo>
                    <a:pt x="39887" y="10796"/>
                  </a:moveTo>
                  <a:cubicBezTo>
                    <a:pt x="39439" y="10348"/>
                    <a:pt x="39439" y="10348"/>
                    <a:pt x="38991" y="9900"/>
                  </a:cubicBezTo>
                  <a:lnTo>
                    <a:pt x="25546" y="489"/>
                  </a:lnTo>
                  <a:cubicBezTo>
                    <a:pt x="24649" y="-408"/>
                    <a:pt x="23305" y="40"/>
                    <a:pt x="22409" y="937"/>
                  </a:cubicBezTo>
                  <a:cubicBezTo>
                    <a:pt x="21512" y="1833"/>
                    <a:pt x="21960" y="3178"/>
                    <a:pt x="22857" y="4074"/>
                  </a:cubicBezTo>
                  <a:lnTo>
                    <a:pt x="32268" y="10796"/>
                  </a:lnTo>
                  <a:lnTo>
                    <a:pt x="2241" y="10796"/>
                  </a:lnTo>
                  <a:cubicBezTo>
                    <a:pt x="896" y="10796"/>
                    <a:pt x="0" y="11693"/>
                    <a:pt x="0" y="13037"/>
                  </a:cubicBezTo>
                  <a:cubicBezTo>
                    <a:pt x="0" y="14382"/>
                    <a:pt x="896" y="15278"/>
                    <a:pt x="2241" y="15278"/>
                  </a:cubicBezTo>
                  <a:lnTo>
                    <a:pt x="33613" y="15278"/>
                  </a:lnTo>
                  <a:lnTo>
                    <a:pt x="23305" y="22001"/>
                  </a:lnTo>
                  <a:cubicBezTo>
                    <a:pt x="22409" y="22449"/>
                    <a:pt x="21960" y="24242"/>
                    <a:pt x="22409" y="25138"/>
                  </a:cubicBezTo>
                  <a:cubicBezTo>
                    <a:pt x="22857" y="26034"/>
                    <a:pt x="23753" y="26034"/>
                    <a:pt x="24201" y="26034"/>
                  </a:cubicBezTo>
                  <a:cubicBezTo>
                    <a:pt x="24649" y="26034"/>
                    <a:pt x="25098" y="26034"/>
                    <a:pt x="25546" y="25586"/>
                  </a:cubicBezTo>
                  <a:lnTo>
                    <a:pt x="38991" y="17519"/>
                  </a:lnTo>
                  <a:cubicBezTo>
                    <a:pt x="39887" y="17071"/>
                    <a:pt x="40783" y="15726"/>
                    <a:pt x="40783" y="14382"/>
                  </a:cubicBezTo>
                  <a:cubicBezTo>
                    <a:pt x="41232" y="13934"/>
                    <a:pt x="41232" y="13486"/>
                    <a:pt x="41232" y="13037"/>
                  </a:cubicBezTo>
                  <a:cubicBezTo>
                    <a:pt x="41232" y="11693"/>
                    <a:pt x="40783" y="11245"/>
                    <a:pt x="39887" y="10796"/>
                  </a:cubicBezTo>
                  <a:close/>
                </a:path>
              </a:pathLst>
            </a:custGeom>
            <a:solidFill>
              <a:srgbClr val="231F20"/>
            </a:solidFill>
            <a:ln w="4477" cap="flat">
              <a:noFill/>
              <a:prstDash val="solid"/>
              <a:miter/>
            </a:ln>
          </p:spPr>
          <p:txBody>
            <a:bodyPr rtlCol="0" anchor="ctr"/>
            <a:lstStyle/>
            <a:p>
              <a:endParaRPr lang="en-US"/>
            </a:p>
          </p:txBody>
        </p:sp>
        <p:sp>
          <p:nvSpPr>
            <p:cNvPr id="5475" name="Freeform: Shape 5474">
              <a:extLst>
                <a:ext uri="{FF2B5EF4-FFF2-40B4-BE49-F238E27FC236}">
                  <a16:creationId xmlns:a16="http://schemas.microsoft.com/office/drawing/2014/main" id="{63C514C4-94A2-4FA8-96FD-D8CFFB71BC3D}"/>
                </a:ext>
              </a:extLst>
            </p:cNvPr>
            <p:cNvSpPr/>
            <p:nvPr/>
          </p:nvSpPr>
          <p:spPr>
            <a:xfrm>
              <a:off x="6731975" y="1769961"/>
              <a:ext cx="147896" cy="125488"/>
            </a:xfrm>
            <a:custGeom>
              <a:avLst/>
              <a:gdLst>
                <a:gd name="connsiteX0" fmla="*/ 147896 w 147896"/>
                <a:gd name="connsiteY0" fmla="*/ 11948 h 125487"/>
                <a:gd name="connsiteX1" fmla="*/ 111146 w 147896"/>
                <a:gd name="connsiteY1" fmla="*/ 4329 h 125487"/>
                <a:gd name="connsiteX2" fmla="*/ 99494 w 147896"/>
                <a:gd name="connsiteY2" fmla="*/ 31219 h 125487"/>
                <a:gd name="connsiteX3" fmla="*/ 66329 w 147896"/>
                <a:gd name="connsiteY3" fmla="*/ 19567 h 125487"/>
                <a:gd name="connsiteX4" fmla="*/ 13445 w 147896"/>
                <a:gd name="connsiteY4" fmla="*/ 72451 h 125487"/>
                <a:gd name="connsiteX5" fmla="*/ 23305 w 147896"/>
                <a:gd name="connsiteY5" fmla="*/ 102926 h 125487"/>
                <a:gd name="connsiteX6" fmla="*/ 18375 w 147896"/>
                <a:gd name="connsiteY6" fmla="*/ 101582 h 125487"/>
                <a:gd name="connsiteX7" fmla="*/ 15686 w 147896"/>
                <a:gd name="connsiteY7" fmla="*/ 103375 h 125487"/>
                <a:gd name="connsiteX8" fmla="*/ 17479 w 147896"/>
                <a:gd name="connsiteY8" fmla="*/ 106063 h 125487"/>
                <a:gd name="connsiteX9" fmla="*/ 28683 w 147896"/>
                <a:gd name="connsiteY9" fmla="*/ 109201 h 125487"/>
                <a:gd name="connsiteX10" fmla="*/ 29131 w 147896"/>
                <a:gd name="connsiteY10" fmla="*/ 109201 h 125487"/>
                <a:gd name="connsiteX11" fmla="*/ 30476 w 147896"/>
                <a:gd name="connsiteY11" fmla="*/ 108753 h 125487"/>
                <a:gd name="connsiteX12" fmla="*/ 31372 w 147896"/>
                <a:gd name="connsiteY12" fmla="*/ 106960 h 125487"/>
                <a:gd name="connsiteX13" fmla="*/ 29579 w 147896"/>
                <a:gd name="connsiteY13" fmla="*/ 94859 h 125487"/>
                <a:gd name="connsiteX14" fmla="*/ 26890 w 147896"/>
                <a:gd name="connsiteY14" fmla="*/ 93067 h 125487"/>
                <a:gd name="connsiteX15" fmla="*/ 25098 w 147896"/>
                <a:gd name="connsiteY15" fmla="*/ 95756 h 125487"/>
                <a:gd name="connsiteX16" fmla="*/ 25546 w 147896"/>
                <a:gd name="connsiteY16" fmla="*/ 99341 h 125487"/>
                <a:gd name="connsiteX17" fmla="*/ 17927 w 147896"/>
                <a:gd name="connsiteY17" fmla="*/ 73347 h 125487"/>
                <a:gd name="connsiteX18" fmla="*/ 66329 w 147896"/>
                <a:gd name="connsiteY18" fmla="*/ 24945 h 125487"/>
                <a:gd name="connsiteX19" fmla="*/ 103079 w 147896"/>
                <a:gd name="connsiteY19" fmla="*/ 41975 h 125487"/>
                <a:gd name="connsiteX20" fmla="*/ 103079 w 147896"/>
                <a:gd name="connsiteY20" fmla="*/ 42423 h 125487"/>
                <a:gd name="connsiteX21" fmla="*/ 103527 w 147896"/>
                <a:gd name="connsiteY21" fmla="*/ 42872 h 125487"/>
                <a:gd name="connsiteX22" fmla="*/ 114283 w 147896"/>
                <a:gd name="connsiteY22" fmla="*/ 73347 h 125487"/>
                <a:gd name="connsiteX23" fmla="*/ 65881 w 147896"/>
                <a:gd name="connsiteY23" fmla="*/ 121749 h 125487"/>
                <a:gd name="connsiteX24" fmla="*/ 2241 w 147896"/>
                <a:gd name="connsiteY24" fmla="*/ 121749 h 125487"/>
                <a:gd name="connsiteX25" fmla="*/ 0 w 147896"/>
                <a:gd name="connsiteY25" fmla="*/ 123990 h 125487"/>
                <a:gd name="connsiteX26" fmla="*/ 2241 w 147896"/>
                <a:gd name="connsiteY26" fmla="*/ 126231 h 125487"/>
                <a:gd name="connsiteX27" fmla="*/ 66329 w 147896"/>
                <a:gd name="connsiteY27" fmla="*/ 126231 h 125487"/>
                <a:gd name="connsiteX28" fmla="*/ 119213 w 147896"/>
                <a:gd name="connsiteY28" fmla="*/ 73347 h 125487"/>
                <a:gd name="connsiteX29" fmla="*/ 106664 w 147896"/>
                <a:gd name="connsiteY29" fmla="*/ 39286 h 125487"/>
                <a:gd name="connsiteX30" fmla="*/ 113387 w 147896"/>
                <a:gd name="connsiteY30" fmla="*/ 9259 h 125487"/>
                <a:gd name="connsiteX31" fmla="*/ 143863 w 147896"/>
                <a:gd name="connsiteY31" fmla="*/ 15533 h 125487"/>
                <a:gd name="connsiteX32" fmla="*/ 137588 w 147896"/>
                <a:gd name="connsiteY32" fmla="*/ 46009 h 125487"/>
                <a:gd name="connsiteX33" fmla="*/ 127280 w 147896"/>
                <a:gd name="connsiteY33" fmla="*/ 49594 h 125487"/>
                <a:gd name="connsiteX34" fmla="*/ 129073 w 147896"/>
                <a:gd name="connsiteY34" fmla="*/ 48250 h 125487"/>
                <a:gd name="connsiteX35" fmla="*/ 129521 w 147896"/>
                <a:gd name="connsiteY35" fmla="*/ 45112 h 125487"/>
                <a:gd name="connsiteX36" fmla="*/ 126384 w 147896"/>
                <a:gd name="connsiteY36" fmla="*/ 44664 h 125487"/>
                <a:gd name="connsiteX37" fmla="*/ 118765 w 147896"/>
                <a:gd name="connsiteY37" fmla="*/ 52283 h 125487"/>
                <a:gd name="connsiteX38" fmla="*/ 125936 w 147896"/>
                <a:gd name="connsiteY38" fmla="*/ 59454 h 125487"/>
                <a:gd name="connsiteX39" fmla="*/ 127280 w 147896"/>
                <a:gd name="connsiteY39" fmla="*/ 59902 h 125487"/>
                <a:gd name="connsiteX40" fmla="*/ 129073 w 147896"/>
                <a:gd name="connsiteY40" fmla="*/ 59006 h 125487"/>
                <a:gd name="connsiteX41" fmla="*/ 128625 w 147896"/>
                <a:gd name="connsiteY41" fmla="*/ 55868 h 125487"/>
                <a:gd name="connsiteX42" fmla="*/ 126832 w 147896"/>
                <a:gd name="connsiteY42" fmla="*/ 54524 h 125487"/>
                <a:gd name="connsiteX43" fmla="*/ 140277 w 147896"/>
                <a:gd name="connsiteY43" fmla="*/ 50490 h 125487"/>
                <a:gd name="connsiteX44" fmla="*/ 147896 w 147896"/>
                <a:gd name="connsiteY44" fmla="*/ 11948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7896" h="125487">
                  <a:moveTo>
                    <a:pt x="147896" y="11948"/>
                  </a:moveTo>
                  <a:cubicBezTo>
                    <a:pt x="139829" y="-153"/>
                    <a:pt x="123247" y="-3738"/>
                    <a:pt x="111146" y="4329"/>
                  </a:cubicBezTo>
                  <a:cubicBezTo>
                    <a:pt x="102183" y="10155"/>
                    <a:pt x="97701" y="20911"/>
                    <a:pt x="99494" y="31219"/>
                  </a:cubicBezTo>
                  <a:cubicBezTo>
                    <a:pt x="90530" y="24048"/>
                    <a:pt x="78878" y="19567"/>
                    <a:pt x="66329" y="19567"/>
                  </a:cubicBezTo>
                  <a:cubicBezTo>
                    <a:pt x="37198" y="19567"/>
                    <a:pt x="13445" y="43320"/>
                    <a:pt x="13445" y="72451"/>
                  </a:cubicBezTo>
                  <a:cubicBezTo>
                    <a:pt x="13445" y="83207"/>
                    <a:pt x="17030" y="93963"/>
                    <a:pt x="23305" y="102926"/>
                  </a:cubicBezTo>
                  <a:lnTo>
                    <a:pt x="18375" y="101582"/>
                  </a:lnTo>
                  <a:cubicBezTo>
                    <a:pt x="17030" y="101134"/>
                    <a:pt x="16134" y="102030"/>
                    <a:pt x="15686" y="103375"/>
                  </a:cubicBezTo>
                  <a:cubicBezTo>
                    <a:pt x="15238" y="104719"/>
                    <a:pt x="16134" y="105615"/>
                    <a:pt x="17479" y="106063"/>
                  </a:cubicBezTo>
                  <a:lnTo>
                    <a:pt x="28683" y="109201"/>
                  </a:lnTo>
                  <a:cubicBezTo>
                    <a:pt x="28683" y="109201"/>
                    <a:pt x="29131" y="109201"/>
                    <a:pt x="29131" y="109201"/>
                  </a:cubicBezTo>
                  <a:cubicBezTo>
                    <a:pt x="29579" y="109201"/>
                    <a:pt x="30027" y="109201"/>
                    <a:pt x="30476" y="108753"/>
                  </a:cubicBezTo>
                  <a:cubicBezTo>
                    <a:pt x="30924" y="108304"/>
                    <a:pt x="31372" y="107408"/>
                    <a:pt x="31372" y="106960"/>
                  </a:cubicBezTo>
                  <a:lnTo>
                    <a:pt x="29579" y="94859"/>
                  </a:lnTo>
                  <a:cubicBezTo>
                    <a:pt x="29579" y="93515"/>
                    <a:pt x="28235" y="92618"/>
                    <a:pt x="26890" y="93067"/>
                  </a:cubicBezTo>
                  <a:cubicBezTo>
                    <a:pt x="25546" y="93067"/>
                    <a:pt x="24649" y="94411"/>
                    <a:pt x="25098" y="95756"/>
                  </a:cubicBezTo>
                  <a:lnTo>
                    <a:pt x="25546" y="99341"/>
                  </a:lnTo>
                  <a:cubicBezTo>
                    <a:pt x="20616" y="91722"/>
                    <a:pt x="17927" y="82310"/>
                    <a:pt x="17927" y="73347"/>
                  </a:cubicBezTo>
                  <a:cubicBezTo>
                    <a:pt x="17927" y="46457"/>
                    <a:pt x="39887" y="24945"/>
                    <a:pt x="66329" y="24945"/>
                  </a:cubicBezTo>
                  <a:cubicBezTo>
                    <a:pt x="81119" y="24945"/>
                    <a:pt x="94116" y="31667"/>
                    <a:pt x="103079" y="41975"/>
                  </a:cubicBezTo>
                  <a:cubicBezTo>
                    <a:pt x="103079" y="41975"/>
                    <a:pt x="103079" y="41975"/>
                    <a:pt x="103079" y="42423"/>
                  </a:cubicBezTo>
                  <a:cubicBezTo>
                    <a:pt x="103079" y="42872"/>
                    <a:pt x="103527" y="42872"/>
                    <a:pt x="103527" y="42872"/>
                  </a:cubicBezTo>
                  <a:cubicBezTo>
                    <a:pt x="110250" y="51387"/>
                    <a:pt x="114283" y="61695"/>
                    <a:pt x="114283" y="73347"/>
                  </a:cubicBezTo>
                  <a:cubicBezTo>
                    <a:pt x="114283" y="100237"/>
                    <a:pt x="92323" y="121749"/>
                    <a:pt x="65881" y="121749"/>
                  </a:cubicBezTo>
                  <a:lnTo>
                    <a:pt x="2241" y="121749"/>
                  </a:lnTo>
                  <a:cubicBezTo>
                    <a:pt x="896" y="121749"/>
                    <a:pt x="0" y="122646"/>
                    <a:pt x="0" y="123990"/>
                  </a:cubicBezTo>
                  <a:cubicBezTo>
                    <a:pt x="0" y="125335"/>
                    <a:pt x="896" y="126231"/>
                    <a:pt x="2241" y="126231"/>
                  </a:cubicBezTo>
                  <a:lnTo>
                    <a:pt x="66329" y="126231"/>
                  </a:lnTo>
                  <a:cubicBezTo>
                    <a:pt x="95460" y="126231"/>
                    <a:pt x="119213" y="102478"/>
                    <a:pt x="119213" y="73347"/>
                  </a:cubicBezTo>
                  <a:cubicBezTo>
                    <a:pt x="119213" y="60350"/>
                    <a:pt x="114283" y="48698"/>
                    <a:pt x="106664" y="39286"/>
                  </a:cubicBezTo>
                  <a:cubicBezTo>
                    <a:pt x="100390" y="28978"/>
                    <a:pt x="103079" y="15533"/>
                    <a:pt x="113387" y="9259"/>
                  </a:cubicBezTo>
                  <a:cubicBezTo>
                    <a:pt x="123695" y="2536"/>
                    <a:pt x="137588" y="5673"/>
                    <a:pt x="143863" y="15533"/>
                  </a:cubicBezTo>
                  <a:cubicBezTo>
                    <a:pt x="150585" y="25841"/>
                    <a:pt x="147448" y="39734"/>
                    <a:pt x="137588" y="46009"/>
                  </a:cubicBezTo>
                  <a:cubicBezTo>
                    <a:pt x="134451" y="48250"/>
                    <a:pt x="130866" y="49146"/>
                    <a:pt x="127280" y="49594"/>
                  </a:cubicBezTo>
                  <a:cubicBezTo>
                    <a:pt x="127729" y="49146"/>
                    <a:pt x="128625" y="48698"/>
                    <a:pt x="129073" y="48250"/>
                  </a:cubicBezTo>
                  <a:cubicBezTo>
                    <a:pt x="129969" y="47353"/>
                    <a:pt x="130418" y="46009"/>
                    <a:pt x="129521" y="45112"/>
                  </a:cubicBezTo>
                  <a:cubicBezTo>
                    <a:pt x="128625" y="44216"/>
                    <a:pt x="127280" y="43768"/>
                    <a:pt x="126384" y="44664"/>
                  </a:cubicBezTo>
                  <a:cubicBezTo>
                    <a:pt x="118765" y="50490"/>
                    <a:pt x="118765" y="50939"/>
                    <a:pt x="118765" y="52283"/>
                  </a:cubicBezTo>
                  <a:cubicBezTo>
                    <a:pt x="118765" y="53179"/>
                    <a:pt x="118765" y="54076"/>
                    <a:pt x="125936" y="59454"/>
                  </a:cubicBezTo>
                  <a:cubicBezTo>
                    <a:pt x="126384" y="59902"/>
                    <a:pt x="126832" y="59902"/>
                    <a:pt x="127280" y="59902"/>
                  </a:cubicBezTo>
                  <a:cubicBezTo>
                    <a:pt x="128177" y="59902"/>
                    <a:pt x="128625" y="59454"/>
                    <a:pt x="129073" y="59006"/>
                  </a:cubicBezTo>
                  <a:cubicBezTo>
                    <a:pt x="129969" y="58109"/>
                    <a:pt x="129521" y="56765"/>
                    <a:pt x="128625" y="55868"/>
                  </a:cubicBezTo>
                  <a:cubicBezTo>
                    <a:pt x="128177" y="55420"/>
                    <a:pt x="127280" y="54972"/>
                    <a:pt x="126832" y="54524"/>
                  </a:cubicBezTo>
                  <a:cubicBezTo>
                    <a:pt x="131762" y="54524"/>
                    <a:pt x="136244" y="52731"/>
                    <a:pt x="140277" y="50490"/>
                  </a:cubicBezTo>
                  <a:cubicBezTo>
                    <a:pt x="152378" y="40631"/>
                    <a:pt x="155963" y="24048"/>
                    <a:pt x="147896" y="11948"/>
                  </a:cubicBezTo>
                  <a:close/>
                </a:path>
              </a:pathLst>
            </a:custGeom>
            <a:solidFill>
              <a:srgbClr val="231F20"/>
            </a:solidFill>
            <a:ln w="4477" cap="flat">
              <a:noFill/>
              <a:prstDash val="solid"/>
              <a:miter/>
            </a:ln>
          </p:spPr>
          <p:txBody>
            <a:bodyPr rtlCol="0" anchor="ctr"/>
            <a:lstStyle/>
            <a:p>
              <a:endParaRPr lang="en-US"/>
            </a:p>
          </p:txBody>
        </p:sp>
      </p:grpSp>
      <p:grpSp>
        <p:nvGrpSpPr>
          <p:cNvPr id="2454" name="Group 2453">
            <a:extLst>
              <a:ext uri="{FF2B5EF4-FFF2-40B4-BE49-F238E27FC236}">
                <a16:creationId xmlns:a16="http://schemas.microsoft.com/office/drawing/2014/main" id="{D2B2A8A5-A633-46A4-97E1-EDF9C5675F7D}"/>
              </a:ext>
              <a:ext uri="{C183D7F6-B498-43B3-948B-1728B52AA6E4}">
                <adec:decorative xmlns:adec="http://schemas.microsoft.com/office/drawing/2017/decorative" val="1"/>
              </a:ext>
            </a:extLst>
          </p:cNvPr>
          <p:cNvGrpSpPr>
            <a:grpSpLocks noChangeAspect="1"/>
          </p:cNvGrpSpPr>
          <p:nvPr/>
        </p:nvGrpSpPr>
        <p:grpSpPr>
          <a:xfrm>
            <a:off x="6955133" y="3826668"/>
            <a:ext cx="142070" cy="122486"/>
            <a:chOff x="7011633" y="1770977"/>
            <a:chExt cx="142070" cy="122486"/>
          </a:xfrm>
        </p:grpSpPr>
        <p:sp>
          <p:nvSpPr>
            <p:cNvPr id="5471" name="Freeform: Shape 5470">
              <a:extLst>
                <a:ext uri="{FF2B5EF4-FFF2-40B4-BE49-F238E27FC236}">
                  <a16:creationId xmlns:a16="http://schemas.microsoft.com/office/drawing/2014/main" id="{29FB3AA2-9DF9-4E23-B133-B64E3033686B}"/>
                </a:ext>
              </a:extLst>
            </p:cNvPr>
            <p:cNvSpPr/>
            <p:nvPr/>
          </p:nvSpPr>
          <p:spPr>
            <a:xfrm>
              <a:off x="7011633" y="1770977"/>
              <a:ext cx="121006" cy="112043"/>
            </a:xfrm>
            <a:custGeom>
              <a:avLst/>
              <a:gdLst>
                <a:gd name="connsiteX0" fmla="*/ 124143 w 121005"/>
                <a:gd name="connsiteY0" fmla="*/ 61127 h 112042"/>
                <a:gd name="connsiteX1" fmla="*/ 77085 w 121005"/>
                <a:gd name="connsiteY1" fmla="*/ 6898 h 112042"/>
                <a:gd name="connsiteX2" fmla="*/ 82015 w 121005"/>
                <a:gd name="connsiteY2" fmla="*/ 4209 h 112042"/>
                <a:gd name="connsiteX3" fmla="*/ 82911 w 121005"/>
                <a:gd name="connsiteY3" fmla="*/ 1072 h 112042"/>
                <a:gd name="connsiteX4" fmla="*/ 79774 w 121005"/>
                <a:gd name="connsiteY4" fmla="*/ 176 h 112042"/>
                <a:gd name="connsiteX5" fmla="*/ 69018 w 121005"/>
                <a:gd name="connsiteY5" fmla="*/ 6002 h 112042"/>
                <a:gd name="connsiteX6" fmla="*/ 67674 w 121005"/>
                <a:gd name="connsiteY6" fmla="*/ 7795 h 112042"/>
                <a:gd name="connsiteX7" fmla="*/ 68570 w 121005"/>
                <a:gd name="connsiteY7" fmla="*/ 9587 h 112042"/>
                <a:gd name="connsiteX8" fmla="*/ 78430 w 121005"/>
                <a:gd name="connsiteY8" fmla="*/ 18103 h 112042"/>
                <a:gd name="connsiteX9" fmla="*/ 79774 w 121005"/>
                <a:gd name="connsiteY9" fmla="*/ 18551 h 112042"/>
                <a:gd name="connsiteX10" fmla="*/ 81567 w 121005"/>
                <a:gd name="connsiteY10" fmla="*/ 17654 h 112042"/>
                <a:gd name="connsiteX11" fmla="*/ 81119 w 121005"/>
                <a:gd name="connsiteY11" fmla="*/ 14517 h 112042"/>
                <a:gd name="connsiteX12" fmla="*/ 77533 w 121005"/>
                <a:gd name="connsiteY12" fmla="*/ 11380 h 112042"/>
                <a:gd name="connsiteX13" fmla="*/ 119661 w 121005"/>
                <a:gd name="connsiteY13" fmla="*/ 61127 h 112042"/>
                <a:gd name="connsiteX14" fmla="*/ 69018 w 121005"/>
                <a:gd name="connsiteY14" fmla="*/ 111770 h 112042"/>
                <a:gd name="connsiteX15" fmla="*/ 2241 w 121005"/>
                <a:gd name="connsiteY15" fmla="*/ 111770 h 112042"/>
                <a:gd name="connsiteX16" fmla="*/ 0 w 121005"/>
                <a:gd name="connsiteY16" fmla="*/ 114011 h 112042"/>
                <a:gd name="connsiteX17" fmla="*/ 2241 w 121005"/>
                <a:gd name="connsiteY17" fmla="*/ 116252 h 112042"/>
                <a:gd name="connsiteX18" fmla="*/ 69018 w 121005"/>
                <a:gd name="connsiteY18" fmla="*/ 116252 h 112042"/>
                <a:gd name="connsiteX19" fmla="*/ 124143 w 121005"/>
                <a:gd name="connsiteY19" fmla="*/ 61127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05" h="112042">
                  <a:moveTo>
                    <a:pt x="124143" y="61127"/>
                  </a:moveTo>
                  <a:cubicBezTo>
                    <a:pt x="124143" y="33789"/>
                    <a:pt x="103975" y="10932"/>
                    <a:pt x="77085" y="6898"/>
                  </a:cubicBezTo>
                  <a:lnTo>
                    <a:pt x="82015" y="4209"/>
                  </a:lnTo>
                  <a:cubicBezTo>
                    <a:pt x="82911" y="3761"/>
                    <a:pt x="83360" y="2417"/>
                    <a:pt x="82911" y="1072"/>
                  </a:cubicBezTo>
                  <a:cubicBezTo>
                    <a:pt x="82463" y="176"/>
                    <a:pt x="81119" y="-272"/>
                    <a:pt x="79774" y="176"/>
                  </a:cubicBezTo>
                  <a:lnTo>
                    <a:pt x="69018" y="6002"/>
                  </a:lnTo>
                  <a:cubicBezTo>
                    <a:pt x="68570" y="6450"/>
                    <a:pt x="68122" y="6898"/>
                    <a:pt x="67674" y="7795"/>
                  </a:cubicBezTo>
                  <a:cubicBezTo>
                    <a:pt x="67674" y="8691"/>
                    <a:pt x="67674" y="9139"/>
                    <a:pt x="68570" y="9587"/>
                  </a:cubicBezTo>
                  <a:lnTo>
                    <a:pt x="78430" y="18103"/>
                  </a:lnTo>
                  <a:cubicBezTo>
                    <a:pt x="78878" y="18551"/>
                    <a:pt x="79326" y="18551"/>
                    <a:pt x="79774" y="18551"/>
                  </a:cubicBezTo>
                  <a:cubicBezTo>
                    <a:pt x="80223" y="18551"/>
                    <a:pt x="81119" y="18103"/>
                    <a:pt x="81567" y="17654"/>
                  </a:cubicBezTo>
                  <a:cubicBezTo>
                    <a:pt x="82463" y="16758"/>
                    <a:pt x="82463" y="15414"/>
                    <a:pt x="81119" y="14517"/>
                  </a:cubicBezTo>
                  <a:lnTo>
                    <a:pt x="77533" y="11380"/>
                  </a:lnTo>
                  <a:cubicBezTo>
                    <a:pt x="101286" y="15414"/>
                    <a:pt x="119661" y="36478"/>
                    <a:pt x="119661" y="61127"/>
                  </a:cubicBezTo>
                  <a:cubicBezTo>
                    <a:pt x="119661" y="88914"/>
                    <a:pt x="96805" y="111770"/>
                    <a:pt x="69018" y="111770"/>
                  </a:cubicBezTo>
                  <a:lnTo>
                    <a:pt x="2241" y="111770"/>
                  </a:lnTo>
                  <a:cubicBezTo>
                    <a:pt x="896" y="111770"/>
                    <a:pt x="0" y="112667"/>
                    <a:pt x="0" y="114011"/>
                  </a:cubicBezTo>
                  <a:cubicBezTo>
                    <a:pt x="0" y="115356"/>
                    <a:pt x="896" y="116252"/>
                    <a:pt x="2241" y="116252"/>
                  </a:cubicBezTo>
                  <a:lnTo>
                    <a:pt x="69018" y="116252"/>
                  </a:lnTo>
                  <a:cubicBezTo>
                    <a:pt x="99046" y="115804"/>
                    <a:pt x="124143" y="91154"/>
                    <a:pt x="124143" y="61127"/>
                  </a:cubicBezTo>
                  <a:close/>
                </a:path>
              </a:pathLst>
            </a:custGeom>
            <a:solidFill>
              <a:srgbClr val="231F20"/>
            </a:solidFill>
            <a:ln w="4477" cap="flat">
              <a:noFill/>
              <a:prstDash val="solid"/>
              <a:miter/>
            </a:ln>
          </p:spPr>
          <p:txBody>
            <a:bodyPr rtlCol="0" anchor="ctr"/>
            <a:lstStyle/>
            <a:p>
              <a:endParaRPr lang="en-US"/>
            </a:p>
          </p:txBody>
        </p:sp>
        <p:sp>
          <p:nvSpPr>
            <p:cNvPr id="5472" name="Freeform: Shape 5471">
              <a:extLst>
                <a:ext uri="{FF2B5EF4-FFF2-40B4-BE49-F238E27FC236}">
                  <a16:creationId xmlns:a16="http://schemas.microsoft.com/office/drawing/2014/main" id="{27C8B86D-9ACF-4B34-A39A-AEC1BAF2EA72}"/>
                </a:ext>
              </a:extLst>
            </p:cNvPr>
            <p:cNvSpPr/>
            <p:nvPr/>
          </p:nvSpPr>
          <p:spPr>
            <a:xfrm>
              <a:off x="7024182" y="1778655"/>
              <a:ext cx="44817" cy="89634"/>
            </a:xfrm>
            <a:custGeom>
              <a:avLst/>
              <a:gdLst>
                <a:gd name="connsiteX0" fmla="*/ 5826 w 44817"/>
                <a:gd name="connsiteY0" fmla="*/ 83924 h 89634"/>
                <a:gd name="connsiteX1" fmla="*/ 3137 w 44817"/>
                <a:gd name="connsiteY1" fmla="*/ 85717 h 89634"/>
                <a:gd name="connsiteX2" fmla="*/ 4930 w 44817"/>
                <a:gd name="connsiteY2" fmla="*/ 88406 h 89634"/>
                <a:gd name="connsiteX3" fmla="*/ 16582 w 44817"/>
                <a:gd name="connsiteY3" fmla="*/ 91543 h 89634"/>
                <a:gd name="connsiteX4" fmla="*/ 17030 w 44817"/>
                <a:gd name="connsiteY4" fmla="*/ 91543 h 89634"/>
                <a:gd name="connsiteX5" fmla="*/ 18375 w 44817"/>
                <a:gd name="connsiteY5" fmla="*/ 91095 h 89634"/>
                <a:gd name="connsiteX6" fmla="*/ 19271 w 44817"/>
                <a:gd name="connsiteY6" fmla="*/ 89302 h 89634"/>
                <a:gd name="connsiteX7" fmla="*/ 17479 w 44817"/>
                <a:gd name="connsiteY7" fmla="*/ 76754 h 89634"/>
                <a:gd name="connsiteX8" fmla="*/ 14790 w 44817"/>
                <a:gd name="connsiteY8" fmla="*/ 74961 h 89634"/>
                <a:gd name="connsiteX9" fmla="*/ 12997 w 44817"/>
                <a:gd name="connsiteY9" fmla="*/ 77650 h 89634"/>
                <a:gd name="connsiteX10" fmla="*/ 13445 w 44817"/>
                <a:gd name="connsiteY10" fmla="*/ 82132 h 89634"/>
                <a:gd name="connsiteX11" fmla="*/ 4930 w 44817"/>
                <a:gd name="connsiteY11" fmla="*/ 54345 h 89634"/>
                <a:gd name="connsiteX12" fmla="*/ 46162 w 44817"/>
                <a:gd name="connsiteY12" fmla="*/ 4598 h 89634"/>
                <a:gd name="connsiteX13" fmla="*/ 47954 w 44817"/>
                <a:gd name="connsiteY13" fmla="*/ 1909 h 89634"/>
                <a:gd name="connsiteX14" fmla="*/ 45265 w 44817"/>
                <a:gd name="connsiteY14" fmla="*/ 117 h 89634"/>
                <a:gd name="connsiteX15" fmla="*/ 0 w 44817"/>
                <a:gd name="connsiteY15" fmla="*/ 54345 h 89634"/>
                <a:gd name="connsiteX16" fmla="*/ 10308 w 44817"/>
                <a:gd name="connsiteY16" fmla="*/ 86165 h 89634"/>
                <a:gd name="connsiteX17" fmla="*/ 5826 w 44817"/>
                <a:gd name="connsiteY17" fmla="*/ 83924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89634">
                  <a:moveTo>
                    <a:pt x="5826" y="83924"/>
                  </a:moveTo>
                  <a:cubicBezTo>
                    <a:pt x="4482" y="83476"/>
                    <a:pt x="3585" y="84373"/>
                    <a:pt x="3137" y="85717"/>
                  </a:cubicBezTo>
                  <a:cubicBezTo>
                    <a:pt x="2689" y="87062"/>
                    <a:pt x="3585" y="87958"/>
                    <a:pt x="4930" y="88406"/>
                  </a:cubicBezTo>
                  <a:lnTo>
                    <a:pt x="16582" y="91543"/>
                  </a:lnTo>
                  <a:cubicBezTo>
                    <a:pt x="16582" y="91543"/>
                    <a:pt x="17030" y="91543"/>
                    <a:pt x="17030" y="91543"/>
                  </a:cubicBezTo>
                  <a:cubicBezTo>
                    <a:pt x="17479" y="91543"/>
                    <a:pt x="17927" y="91543"/>
                    <a:pt x="18375" y="91095"/>
                  </a:cubicBezTo>
                  <a:cubicBezTo>
                    <a:pt x="18823" y="90647"/>
                    <a:pt x="19271" y="89751"/>
                    <a:pt x="19271" y="89302"/>
                  </a:cubicBezTo>
                  <a:lnTo>
                    <a:pt x="17479" y="76754"/>
                  </a:lnTo>
                  <a:cubicBezTo>
                    <a:pt x="17479" y="75409"/>
                    <a:pt x="16134" y="74513"/>
                    <a:pt x="14790" y="74961"/>
                  </a:cubicBezTo>
                  <a:cubicBezTo>
                    <a:pt x="13445" y="74961"/>
                    <a:pt x="12549" y="76306"/>
                    <a:pt x="12997" y="77650"/>
                  </a:cubicBezTo>
                  <a:lnTo>
                    <a:pt x="13445" y="82132"/>
                  </a:lnTo>
                  <a:cubicBezTo>
                    <a:pt x="8067" y="74065"/>
                    <a:pt x="4930" y="64205"/>
                    <a:pt x="4930" y="54345"/>
                  </a:cubicBezTo>
                  <a:cubicBezTo>
                    <a:pt x="4930" y="27455"/>
                    <a:pt x="21064" y="8632"/>
                    <a:pt x="46162" y="4598"/>
                  </a:cubicBezTo>
                  <a:cubicBezTo>
                    <a:pt x="47506" y="4598"/>
                    <a:pt x="48402" y="3254"/>
                    <a:pt x="47954" y="1909"/>
                  </a:cubicBezTo>
                  <a:cubicBezTo>
                    <a:pt x="47506" y="565"/>
                    <a:pt x="46610" y="-332"/>
                    <a:pt x="45265" y="117"/>
                  </a:cubicBezTo>
                  <a:cubicBezTo>
                    <a:pt x="17927" y="4598"/>
                    <a:pt x="0" y="25662"/>
                    <a:pt x="0" y="54345"/>
                  </a:cubicBezTo>
                  <a:cubicBezTo>
                    <a:pt x="0" y="65998"/>
                    <a:pt x="3585" y="77202"/>
                    <a:pt x="10308" y="86165"/>
                  </a:cubicBezTo>
                  <a:lnTo>
                    <a:pt x="5826" y="83924"/>
                  </a:lnTo>
                  <a:close/>
                </a:path>
              </a:pathLst>
            </a:custGeom>
            <a:solidFill>
              <a:srgbClr val="231F20"/>
            </a:solidFill>
            <a:ln w="4477" cap="flat">
              <a:noFill/>
              <a:prstDash val="solid"/>
              <a:miter/>
            </a:ln>
          </p:spPr>
          <p:txBody>
            <a:bodyPr rtlCol="0" anchor="ctr"/>
            <a:lstStyle/>
            <a:p>
              <a:endParaRPr lang="en-US"/>
            </a:p>
          </p:txBody>
        </p:sp>
        <p:sp>
          <p:nvSpPr>
            <p:cNvPr id="5473" name="Freeform: Shape 5472">
              <a:extLst>
                <a:ext uri="{FF2B5EF4-FFF2-40B4-BE49-F238E27FC236}">
                  <a16:creationId xmlns:a16="http://schemas.microsoft.com/office/drawing/2014/main" id="{B0FD63C8-6BBC-4594-B06B-46D05A6A37B4}"/>
                </a:ext>
              </a:extLst>
            </p:cNvPr>
            <p:cNvSpPr/>
            <p:nvPr/>
          </p:nvSpPr>
          <p:spPr>
            <a:xfrm>
              <a:off x="7108886" y="1875536"/>
              <a:ext cx="44817" cy="17927"/>
            </a:xfrm>
            <a:custGeom>
              <a:avLst/>
              <a:gdLst>
                <a:gd name="connsiteX0" fmla="*/ 46162 w 44817"/>
                <a:gd name="connsiteY0" fmla="*/ 8107 h 17926"/>
                <a:gd name="connsiteX1" fmla="*/ 35854 w 44817"/>
                <a:gd name="connsiteY1" fmla="*/ 489 h 17926"/>
                <a:gd name="connsiteX2" fmla="*/ 32716 w 44817"/>
                <a:gd name="connsiteY2" fmla="*/ 937 h 17926"/>
                <a:gd name="connsiteX3" fmla="*/ 33165 w 44817"/>
                <a:gd name="connsiteY3" fmla="*/ 4074 h 17926"/>
                <a:gd name="connsiteX4" fmla="*/ 37198 w 44817"/>
                <a:gd name="connsiteY4" fmla="*/ 7211 h 17926"/>
                <a:gd name="connsiteX5" fmla="*/ 2241 w 44817"/>
                <a:gd name="connsiteY5" fmla="*/ 7211 h 17926"/>
                <a:gd name="connsiteX6" fmla="*/ 0 w 44817"/>
                <a:gd name="connsiteY6" fmla="*/ 9452 h 17926"/>
                <a:gd name="connsiteX7" fmla="*/ 2241 w 44817"/>
                <a:gd name="connsiteY7" fmla="*/ 11693 h 17926"/>
                <a:gd name="connsiteX8" fmla="*/ 37646 w 44817"/>
                <a:gd name="connsiteY8" fmla="*/ 11693 h 17926"/>
                <a:gd name="connsiteX9" fmla="*/ 33165 w 44817"/>
                <a:gd name="connsiteY9" fmla="*/ 14382 h 17926"/>
                <a:gd name="connsiteX10" fmla="*/ 32268 w 44817"/>
                <a:gd name="connsiteY10" fmla="*/ 17519 h 17926"/>
                <a:gd name="connsiteX11" fmla="*/ 34061 w 44817"/>
                <a:gd name="connsiteY11" fmla="*/ 18415 h 17926"/>
                <a:gd name="connsiteX12" fmla="*/ 35405 w 44817"/>
                <a:gd name="connsiteY12" fmla="*/ 17967 h 17926"/>
                <a:gd name="connsiteX13" fmla="*/ 45713 w 44817"/>
                <a:gd name="connsiteY13" fmla="*/ 11693 h 17926"/>
                <a:gd name="connsiteX14" fmla="*/ 46610 w 44817"/>
                <a:gd name="connsiteY14" fmla="*/ 9900 h 17926"/>
                <a:gd name="connsiteX15" fmla="*/ 46162 w 44817"/>
                <a:gd name="connsiteY15" fmla="*/ 8107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17" h="17926">
                  <a:moveTo>
                    <a:pt x="46162" y="8107"/>
                  </a:moveTo>
                  <a:lnTo>
                    <a:pt x="35854" y="489"/>
                  </a:lnTo>
                  <a:cubicBezTo>
                    <a:pt x="34957" y="-408"/>
                    <a:pt x="33613" y="40"/>
                    <a:pt x="32716" y="937"/>
                  </a:cubicBezTo>
                  <a:cubicBezTo>
                    <a:pt x="31820" y="1833"/>
                    <a:pt x="32268" y="3178"/>
                    <a:pt x="33165" y="4074"/>
                  </a:cubicBezTo>
                  <a:lnTo>
                    <a:pt x="37198" y="7211"/>
                  </a:lnTo>
                  <a:lnTo>
                    <a:pt x="2241" y="7211"/>
                  </a:lnTo>
                  <a:cubicBezTo>
                    <a:pt x="896" y="7211"/>
                    <a:pt x="0" y="8107"/>
                    <a:pt x="0" y="9452"/>
                  </a:cubicBezTo>
                  <a:cubicBezTo>
                    <a:pt x="0" y="10796"/>
                    <a:pt x="896" y="11693"/>
                    <a:pt x="2241" y="11693"/>
                  </a:cubicBezTo>
                  <a:lnTo>
                    <a:pt x="37646" y="11693"/>
                  </a:lnTo>
                  <a:lnTo>
                    <a:pt x="33165" y="14382"/>
                  </a:lnTo>
                  <a:cubicBezTo>
                    <a:pt x="32268" y="14830"/>
                    <a:pt x="31820" y="16175"/>
                    <a:pt x="32268" y="17519"/>
                  </a:cubicBezTo>
                  <a:cubicBezTo>
                    <a:pt x="32716" y="18415"/>
                    <a:pt x="33613" y="18415"/>
                    <a:pt x="34061" y="18415"/>
                  </a:cubicBezTo>
                  <a:cubicBezTo>
                    <a:pt x="34509" y="18415"/>
                    <a:pt x="34957" y="18415"/>
                    <a:pt x="35405" y="17967"/>
                  </a:cubicBezTo>
                  <a:lnTo>
                    <a:pt x="45713" y="11693"/>
                  </a:lnTo>
                  <a:cubicBezTo>
                    <a:pt x="46162" y="11245"/>
                    <a:pt x="46610" y="10796"/>
                    <a:pt x="46610" y="9900"/>
                  </a:cubicBezTo>
                  <a:cubicBezTo>
                    <a:pt x="46610" y="9004"/>
                    <a:pt x="46610" y="8556"/>
                    <a:pt x="46162" y="8107"/>
                  </a:cubicBezTo>
                  <a:close/>
                </a:path>
              </a:pathLst>
            </a:custGeom>
            <a:solidFill>
              <a:srgbClr val="231F20"/>
            </a:solidFill>
            <a:ln w="4477" cap="flat">
              <a:noFill/>
              <a:prstDash val="solid"/>
              <a:miter/>
            </a:ln>
          </p:spPr>
          <p:txBody>
            <a:bodyPr rtlCol="0" anchor="ctr"/>
            <a:lstStyle/>
            <a:p>
              <a:endParaRPr lang="en-US"/>
            </a:p>
          </p:txBody>
        </p:sp>
      </p:grpSp>
      <p:grpSp>
        <p:nvGrpSpPr>
          <p:cNvPr id="2461" name="Group 2460">
            <a:extLst>
              <a:ext uri="{FF2B5EF4-FFF2-40B4-BE49-F238E27FC236}">
                <a16:creationId xmlns:a16="http://schemas.microsoft.com/office/drawing/2014/main" id="{61466A22-49B6-4956-8C6B-FD39F0F226C3}"/>
              </a:ext>
              <a:ext uri="{C183D7F6-B498-43B3-948B-1728B52AA6E4}">
                <adec:decorative xmlns:adec="http://schemas.microsoft.com/office/drawing/2017/decorative" val="1"/>
              </a:ext>
            </a:extLst>
          </p:cNvPr>
          <p:cNvGrpSpPr>
            <a:grpSpLocks noChangeAspect="1"/>
          </p:cNvGrpSpPr>
          <p:nvPr/>
        </p:nvGrpSpPr>
        <p:grpSpPr>
          <a:xfrm>
            <a:off x="7482963" y="3814743"/>
            <a:ext cx="152941" cy="153240"/>
            <a:chOff x="7539463" y="1759052"/>
            <a:chExt cx="152941" cy="153240"/>
          </a:xfrm>
        </p:grpSpPr>
        <p:sp>
          <p:nvSpPr>
            <p:cNvPr id="5469" name="Freeform: Shape 5468">
              <a:extLst>
                <a:ext uri="{FF2B5EF4-FFF2-40B4-BE49-F238E27FC236}">
                  <a16:creationId xmlns:a16="http://schemas.microsoft.com/office/drawing/2014/main" id="{5DADA793-29B5-4B2A-A20E-98D74CC3EC65}"/>
                </a:ext>
              </a:extLst>
            </p:cNvPr>
            <p:cNvSpPr/>
            <p:nvPr/>
          </p:nvSpPr>
          <p:spPr>
            <a:xfrm>
              <a:off x="7656550" y="1759052"/>
              <a:ext cx="35854" cy="35854"/>
            </a:xfrm>
            <a:custGeom>
              <a:avLst/>
              <a:gdLst>
                <a:gd name="connsiteX0" fmla="*/ 19719 w 35853"/>
                <a:gd name="connsiteY0" fmla="*/ 36750 h 35853"/>
                <a:gd name="connsiteX1" fmla="*/ 0 w 35853"/>
                <a:gd name="connsiteY1" fmla="*/ 18375 h 35853"/>
                <a:gd name="connsiteX2" fmla="*/ 19719 w 35853"/>
                <a:gd name="connsiteY2" fmla="*/ 0 h 35853"/>
                <a:gd name="connsiteX3" fmla="*/ 39439 w 35853"/>
                <a:gd name="connsiteY3" fmla="*/ 18375 h 35853"/>
                <a:gd name="connsiteX4" fmla="*/ 19719 w 35853"/>
                <a:gd name="connsiteY4" fmla="*/ 36750 h 35853"/>
                <a:gd name="connsiteX5" fmla="*/ 19719 w 35853"/>
                <a:gd name="connsiteY5" fmla="*/ 4034 h 35853"/>
                <a:gd name="connsiteX6" fmla="*/ 4482 w 35853"/>
                <a:gd name="connsiteY6" fmla="*/ 17927 h 35853"/>
                <a:gd name="connsiteX7" fmla="*/ 19719 w 35853"/>
                <a:gd name="connsiteY7" fmla="*/ 31820 h 35853"/>
                <a:gd name="connsiteX8" fmla="*/ 34957 w 35853"/>
                <a:gd name="connsiteY8" fmla="*/ 17927 h 35853"/>
                <a:gd name="connsiteX9" fmla="*/ 19719 w 35853"/>
                <a:gd name="connsiteY9" fmla="*/ 403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9719" y="36750"/>
                  </a:moveTo>
                  <a:cubicBezTo>
                    <a:pt x="8963" y="36750"/>
                    <a:pt x="0" y="28683"/>
                    <a:pt x="0" y="18375"/>
                  </a:cubicBezTo>
                  <a:cubicBezTo>
                    <a:pt x="0" y="8067"/>
                    <a:pt x="8963" y="0"/>
                    <a:pt x="19719" y="0"/>
                  </a:cubicBezTo>
                  <a:cubicBezTo>
                    <a:pt x="30476" y="0"/>
                    <a:pt x="39439" y="8067"/>
                    <a:pt x="39439" y="18375"/>
                  </a:cubicBezTo>
                  <a:cubicBezTo>
                    <a:pt x="39887" y="28235"/>
                    <a:pt x="30924" y="36750"/>
                    <a:pt x="19719" y="36750"/>
                  </a:cubicBezTo>
                  <a:close/>
                  <a:moveTo>
                    <a:pt x="19719" y="4034"/>
                  </a:moveTo>
                  <a:cubicBezTo>
                    <a:pt x="11204" y="4034"/>
                    <a:pt x="4482" y="10308"/>
                    <a:pt x="4482" y="17927"/>
                  </a:cubicBezTo>
                  <a:cubicBezTo>
                    <a:pt x="4482" y="25546"/>
                    <a:pt x="11204" y="31820"/>
                    <a:pt x="19719" y="31820"/>
                  </a:cubicBezTo>
                  <a:cubicBezTo>
                    <a:pt x="28235" y="31820"/>
                    <a:pt x="34957" y="25546"/>
                    <a:pt x="34957" y="17927"/>
                  </a:cubicBezTo>
                  <a:cubicBezTo>
                    <a:pt x="34957" y="10308"/>
                    <a:pt x="28235" y="4034"/>
                    <a:pt x="19719" y="4034"/>
                  </a:cubicBezTo>
                  <a:close/>
                </a:path>
              </a:pathLst>
            </a:custGeom>
            <a:solidFill>
              <a:srgbClr val="231F20"/>
            </a:solidFill>
            <a:ln w="4477" cap="flat">
              <a:noFill/>
              <a:prstDash val="solid"/>
              <a:miter/>
            </a:ln>
          </p:spPr>
          <p:txBody>
            <a:bodyPr rtlCol="0" anchor="ctr"/>
            <a:lstStyle/>
            <a:p>
              <a:endParaRPr lang="en-US"/>
            </a:p>
          </p:txBody>
        </p:sp>
        <p:sp>
          <p:nvSpPr>
            <p:cNvPr id="5470" name="Freeform: Shape 5469">
              <a:extLst>
                <a:ext uri="{FF2B5EF4-FFF2-40B4-BE49-F238E27FC236}">
                  <a16:creationId xmlns:a16="http://schemas.microsoft.com/office/drawing/2014/main" id="{72E75975-10FC-4C73-9D9D-0824A6319B80}"/>
                </a:ext>
              </a:extLst>
            </p:cNvPr>
            <p:cNvSpPr/>
            <p:nvPr/>
          </p:nvSpPr>
          <p:spPr>
            <a:xfrm>
              <a:off x="7539463" y="1786804"/>
              <a:ext cx="143414" cy="125488"/>
            </a:xfrm>
            <a:custGeom>
              <a:avLst/>
              <a:gdLst>
                <a:gd name="connsiteX0" fmla="*/ 105882 w 143414"/>
                <a:gd name="connsiteY0" fmla="*/ 126419 h 125487"/>
                <a:gd name="connsiteX1" fmla="*/ 92437 w 143414"/>
                <a:gd name="connsiteY1" fmla="*/ 114318 h 125487"/>
                <a:gd name="connsiteX2" fmla="*/ 90645 w 143414"/>
                <a:gd name="connsiteY2" fmla="*/ 82498 h 125487"/>
                <a:gd name="connsiteX3" fmla="*/ 75407 w 143414"/>
                <a:gd name="connsiteY3" fmla="*/ 70397 h 125487"/>
                <a:gd name="connsiteX4" fmla="*/ 66892 w 143414"/>
                <a:gd name="connsiteY4" fmla="*/ 84291 h 125487"/>
                <a:gd name="connsiteX5" fmla="*/ 52998 w 143414"/>
                <a:gd name="connsiteY5" fmla="*/ 90565 h 125487"/>
                <a:gd name="connsiteX6" fmla="*/ 11318 w 143414"/>
                <a:gd name="connsiteY6" fmla="*/ 84739 h 125487"/>
                <a:gd name="connsiteX7" fmla="*/ 2355 w 143414"/>
                <a:gd name="connsiteY7" fmla="*/ 79361 h 125487"/>
                <a:gd name="connsiteX8" fmla="*/ 114 w 143414"/>
                <a:gd name="connsiteY8" fmla="*/ 70397 h 125487"/>
                <a:gd name="connsiteX9" fmla="*/ 15352 w 143414"/>
                <a:gd name="connsiteY9" fmla="*/ 60089 h 125487"/>
                <a:gd name="connsiteX10" fmla="*/ 48068 w 143414"/>
                <a:gd name="connsiteY10" fmla="*/ 64571 h 125487"/>
                <a:gd name="connsiteX11" fmla="*/ 58825 w 143414"/>
                <a:gd name="connsiteY11" fmla="*/ 46644 h 125487"/>
                <a:gd name="connsiteX12" fmla="*/ 59721 w 143414"/>
                <a:gd name="connsiteY12" fmla="*/ 44852 h 125487"/>
                <a:gd name="connsiteX13" fmla="*/ 62858 w 143414"/>
                <a:gd name="connsiteY13" fmla="*/ 39025 h 125487"/>
                <a:gd name="connsiteX14" fmla="*/ 60169 w 143414"/>
                <a:gd name="connsiteY14" fmla="*/ 41714 h 125487"/>
                <a:gd name="connsiteX15" fmla="*/ 43139 w 143414"/>
                <a:gd name="connsiteY15" fmla="*/ 42162 h 125487"/>
                <a:gd name="connsiteX16" fmla="*/ 39105 w 143414"/>
                <a:gd name="connsiteY16" fmla="*/ 34095 h 125487"/>
                <a:gd name="connsiteX17" fmla="*/ 42690 w 143414"/>
                <a:gd name="connsiteY17" fmla="*/ 26028 h 125487"/>
                <a:gd name="connsiteX18" fmla="*/ 61962 w 143414"/>
                <a:gd name="connsiteY18" fmla="*/ 7205 h 125487"/>
                <a:gd name="connsiteX19" fmla="*/ 69581 w 143414"/>
                <a:gd name="connsiteY19" fmla="*/ 3620 h 125487"/>
                <a:gd name="connsiteX20" fmla="*/ 105434 w 143414"/>
                <a:gd name="connsiteY20" fmla="*/ 35 h 125487"/>
                <a:gd name="connsiteX21" fmla="*/ 119776 w 143414"/>
                <a:gd name="connsiteY21" fmla="*/ 5413 h 125487"/>
                <a:gd name="connsiteX22" fmla="*/ 127843 w 143414"/>
                <a:gd name="connsiteY22" fmla="*/ 20650 h 125487"/>
                <a:gd name="connsiteX23" fmla="*/ 126946 w 143414"/>
                <a:gd name="connsiteY23" fmla="*/ 34544 h 125487"/>
                <a:gd name="connsiteX24" fmla="*/ 140391 w 143414"/>
                <a:gd name="connsiteY24" fmla="*/ 44852 h 125487"/>
                <a:gd name="connsiteX25" fmla="*/ 144873 w 143414"/>
                <a:gd name="connsiteY25" fmla="*/ 52919 h 125487"/>
                <a:gd name="connsiteX26" fmla="*/ 142184 w 143414"/>
                <a:gd name="connsiteY26" fmla="*/ 61434 h 125487"/>
                <a:gd name="connsiteX27" fmla="*/ 125154 w 143414"/>
                <a:gd name="connsiteY27" fmla="*/ 62778 h 125487"/>
                <a:gd name="connsiteX28" fmla="*/ 108571 w 143414"/>
                <a:gd name="connsiteY28" fmla="*/ 50230 h 125487"/>
                <a:gd name="connsiteX29" fmla="*/ 106331 w 143414"/>
                <a:gd name="connsiteY29" fmla="*/ 48437 h 125487"/>
                <a:gd name="connsiteX30" fmla="*/ 99160 w 143414"/>
                <a:gd name="connsiteY30" fmla="*/ 56056 h 125487"/>
                <a:gd name="connsiteX31" fmla="*/ 113501 w 143414"/>
                <a:gd name="connsiteY31" fmla="*/ 67260 h 125487"/>
                <a:gd name="connsiteX32" fmla="*/ 117983 w 143414"/>
                <a:gd name="connsiteY32" fmla="*/ 76223 h 125487"/>
                <a:gd name="connsiteX33" fmla="*/ 120224 w 143414"/>
                <a:gd name="connsiteY33" fmla="*/ 113422 h 125487"/>
                <a:gd name="connsiteX34" fmla="*/ 116638 w 143414"/>
                <a:gd name="connsiteY34" fmla="*/ 122385 h 125487"/>
                <a:gd name="connsiteX35" fmla="*/ 107227 w 143414"/>
                <a:gd name="connsiteY35" fmla="*/ 126419 h 125487"/>
                <a:gd name="connsiteX36" fmla="*/ 105882 w 143414"/>
                <a:gd name="connsiteY36" fmla="*/ 126419 h 125487"/>
                <a:gd name="connsiteX37" fmla="*/ 74510 w 143414"/>
                <a:gd name="connsiteY37" fmla="*/ 64123 h 125487"/>
                <a:gd name="connsiteX38" fmla="*/ 95126 w 143414"/>
                <a:gd name="connsiteY38" fmla="*/ 80705 h 125487"/>
                <a:gd name="connsiteX39" fmla="*/ 96919 w 143414"/>
                <a:gd name="connsiteY39" fmla="*/ 114766 h 125487"/>
                <a:gd name="connsiteX40" fmla="*/ 105882 w 143414"/>
                <a:gd name="connsiteY40" fmla="*/ 122385 h 125487"/>
                <a:gd name="connsiteX41" fmla="*/ 106331 w 143414"/>
                <a:gd name="connsiteY41" fmla="*/ 122385 h 125487"/>
                <a:gd name="connsiteX42" fmla="*/ 112605 w 143414"/>
                <a:gd name="connsiteY42" fmla="*/ 119696 h 125487"/>
                <a:gd name="connsiteX43" fmla="*/ 114846 w 143414"/>
                <a:gd name="connsiteY43" fmla="*/ 113870 h 125487"/>
                <a:gd name="connsiteX44" fmla="*/ 112605 w 143414"/>
                <a:gd name="connsiteY44" fmla="*/ 76672 h 125487"/>
                <a:gd name="connsiteX45" fmla="*/ 109468 w 143414"/>
                <a:gd name="connsiteY45" fmla="*/ 70845 h 125487"/>
                <a:gd name="connsiteX46" fmla="*/ 91541 w 143414"/>
                <a:gd name="connsiteY46" fmla="*/ 56504 h 125487"/>
                <a:gd name="connsiteX47" fmla="*/ 105882 w 143414"/>
                <a:gd name="connsiteY47" fmla="*/ 41714 h 125487"/>
                <a:gd name="connsiteX48" fmla="*/ 107675 w 143414"/>
                <a:gd name="connsiteY48" fmla="*/ 43955 h 125487"/>
                <a:gd name="connsiteX49" fmla="*/ 110364 w 143414"/>
                <a:gd name="connsiteY49" fmla="*/ 47092 h 125487"/>
                <a:gd name="connsiteX50" fmla="*/ 126946 w 143414"/>
                <a:gd name="connsiteY50" fmla="*/ 59641 h 125487"/>
                <a:gd name="connsiteX51" fmla="*/ 138151 w 143414"/>
                <a:gd name="connsiteY51" fmla="*/ 58745 h 125487"/>
                <a:gd name="connsiteX52" fmla="*/ 139943 w 143414"/>
                <a:gd name="connsiteY52" fmla="*/ 53815 h 125487"/>
                <a:gd name="connsiteX53" fmla="*/ 137254 w 143414"/>
                <a:gd name="connsiteY53" fmla="*/ 48885 h 125487"/>
                <a:gd name="connsiteX54" fmla="*/ 122017 w 143414"/>
                <a:gd name="connsiteY54" fmla="*/ 37233 h 125487"/>
                <a:gd name="connsiteX55" fmla="*/ 123361 w 143414"/>
                <a:gd name="connsiteY55" fmla="*/ 20650 h 125487"/>
                <a:gd name="connsiteX56" fmla="*/ 117087 w 143414"/>
                <a:gd name="connsiteY56" fmla="*/ 9446 h 125487"/>
                <a:gd name="connsiteX57" fmla="*/ 105882 w 143414"/>
                <a:gd name="connsiteY57" fmla="*/ 4964 h 125487"/>
                <a:gd name="connsiteX58" fmla="*/ 70029 w 143414"/>
                <a:gd name="connsiteY58" fmla="*/ 8550 h 125487"/>
                <a:gd name="connsiteX59" fmla="*/ 65099 w 143414"/>
                <a:gd name="connsiteY59" fmla="*/ 10791 h 125487"/>
                <a:gd name="connsiteX60" fmla="*/ 45828 w 143414"/>
                <a:gd name="connsiteY60" fmla="*/ 29614 h 125487"/>
                <a:gd name="connsiteX61" fmla="*/ 43587 w 143414"/>
                <a:gd name="connsiteY61" fmla="*/ 34544 h 125487"/>
                <a:gd name="connsiteX62" fmla="*/ 45828 w 143414"/>
                <a:gd name="connsiteY62" fmla="*/ 39474 h 125487"/>
                <a:gd name="connsiteX63" fmla="*/ 57032 w 143414"/>
                <a:gd name="connsiteY63" fmla="*/ 39025 h 125487"/>
                <a:gd name="connsiteX64" fmla="*/ 74510 w 143414"/>
                <a:gd name="connsiteY64" fmla="*/ 21995 h 125487"/>
                <a:gd name="connsiteX65" fmla="*/ 86611 w 143414"/>
                <a:gd name="connsiteY65" fmla="*/ 20650 h 125487"/>
                <a:gd name="connsiteX66" fmla="*/ 66892 w 143414"/>
                <a:gd name="connsiteY66" fmla="*/ 41714 h 125487"/>
                <a:gd name="connsiteX67" fmla="*/ 64203 w 143414"/>
                <a:gd name="connsiteY67" fmla="*/ 46644 h 125487"/>
                <a:gd name="connsiteX68" fmla="*/ 63306 w 143414"/>
                <a:gd name="connsiteY68" fmla="*/ 48885 h 125487"/>
                <a:gd name="connsiteX69" fmla="*/ 51654 w 143414"/>
                <a:gd name="connsiteY69" fmla="*/ 68605 h 125487"/>
                <a:gd name="connsiteX70" fmla="*/ 50757 w 143414"/>
                <a:gd name="connsiteY70" fmla="*/ 69949 h 125487"/>
                <a:gd name="connsiteX71" fmla="*/ 15352 w 143414"/>
                <a:gd name="connsiteY71" fmla="*/ 65019 h 125487"/>
                <a:gd name="connsiteX72" fmla="*/ 5044 w 143414"/>
                <a:gd name="connsiteY72" fmla="*/ 71742 h 125487"/>
                <a:gd name="connsiteX73" fmla="*/ 6389 w 143414"/>
                <a:gd name="connsiteY73" fmla="*/ 77568 h 125487"/>
                <a:gd name="connsiteX74" fmla="*/ 12663 w 143414"/>
                <a:gd name="connsiteY74" fmla="*/ 81153 h 125487"/>
                <a:gd name="connsiteX75" fmla="*/ 54343 w 143414"/>
                <a:gd name="connsiteY75" fmla="*/ 86980 h 125487"/>
                <a:gd name="connsiteX76" fmla="*/ 63754 w 143414"/>
                <a:gd name="connsiteY76" fmla="*/ 82946 h 125487"/>
                <a:gd name="connsiteX77" fmla="*/ 74510 w 143414"/>
                <a:gd name="connsiteY77" fmla="*/ 64123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3414" h="125487">
                  <a:moveTo>
                    <a:pt x="105882" y="126419"/>
                  </a:moveTo>
                  <a:cubicBezTo>
                    <a:pt x="98712" y="126419"/>
                    <a:pt x="92885" y="121040"/>
                    <a:pt x="92437" y="114318"/>
                  </a:cubicBezTo>
                  <a:lnTo>
                    <a:pt x="90645" y="82498"/>
                  </a:lnTo>
                  <a:lnTo>
                    <a:pt x="75407" y="70397"/>
                  </a:lnTo>
                  <a:lnTo>
                    <a:pt x="66892" y="84291"/>
                  </a:lnTo>
                  <a:cubicBezTo>
                    <a:pt x="64203" y="88772"/>
                    <a:pt x="58825" y="91461"/>
                    <a:pt x="52998" y="90565"/>
                  </a:cubicBezTo>
                  <a:lnTo>
                    <a:pt x="11318" y="84739"/>
                  </a:lnTo>
                  <a:cubicBezTo>
                    <a:pt x="7733" y="84291"/>
                    <a:pt x="4148" y="82498"/>
                    <a:pt x="2355" y="79361"/>
                  </a:cubicBezTo>
                  <a:cubicBezTo>
                    <a:pt x="562" y="76672"/>
                    <a:pt x="-334" y="73534"/>
                    <a:pt x="114" y="70397"/>
                  </a:cubicBezTo>
                  <a:cubicBezTo>
                    <a:pt x="1459" y="63675"/>
                    <a:pt x="8181" y="58745"/>
                    <a:pt x="15352" y="60089"/>
                  </a:cubicBezTo>
                  <a:lnTo>
                    <a:pt x="48068" y="64571"/>
                  </a:lnTo>
                  <a:cubicBezTo>
                    <a:pt x="50757" y="60089"/>
                    <a:pt x="57032" y="50678"/>
                    <a:pt x="58825" y="46644"/>
                  </a:cubicBezTo>
                  <a:cubicBezTo>
                    <a:pt x="59273" y="46196"/>
                    <a:pt x="59273" y="45300"/>
                    <a:pt x="59721" y="44852"/>
                  </a:cubicBezTo>
                  <a:cubicBezTo>
                    <a:pt x="60617" y="43059"/>
                    <a:pt x="61065" y="40818"/>
                    <a:pt x="62858" y="39025"/>
                  </a:cubicBezTo>
                  <a:lnTo>
                    <a:pt x="60169" y="41714"/>
                  </a:lnTo>
                  <a:cubicBezTo>
                    <a:pt x="55687" y="46196"/>
                    <a:pt x="47620" y="46196"/>
                    <a:pt x="43139" y="42162"/>
                  </a:cubicBezTo>
                  <a:cubicBezTo>
                    <a:pt x="40898" y="39922"/>
                    <a:pt x="39105" y="37233"/>
                    <a:pt x="39105" y="34095"/>
                  </a:cubicBezTo>
                  <a:cubicBezTo>
                    <a:pt x="39105" y="30958"/>
                    <a:pt x="40001" y="28269"/>
                    <a:pt x="42690" y="26028"/>
                  </a:cubicBezTo>
                  <a:lnTo>
                    <a:pt x="61962" y="7205"/>
                  </a:lnTo>
                  <a:cubicBezTo>
                    <a:pt x="63754" y="5413"/>
                    <a:pt x="66443" y="4068"/>
                    <a:pt x="69581" y="3620"/>
                  </a:cubicBezTo>
                  <a:lnTo>
                    <a:pt x="105434" y="35"/>
                  </a:lnTo>
                  <a:cubicBezTo>
                    <a:pt x="111709" y="-414"/>
                    <a:pt x="117535" y="3620"/>
                    <a:pt x="119776" y="5413"/>
                  </a:cubicBezTo>
                  <a:cubicBezTo>
                    <a:pt x="124257" y="8998"/>
                    <a:pt x="129187" y="13928"/>
                    <a:pt x="127843" y="20650"/>
                  </a:cubicBezTo>
                  <a:lnTo>
                    <a:pt x="126946" y="34544"/>
                  </a:lnTo>
                  <a:lnTo>
                    <a:pt x="140391" y="44852"/>
                  </a:lnTo>
                  <a:cubicBezTo>
                    <a:pt x="143080" y="46644"/>
                    <a:pt x="144425" y="49781"/>
                    <a:pt x="144873" y="52919"/>
                  </a:cubicBezTo>
                  <a:cubicBezTo>
                    <a:pt x="145321" y="56056"/>
                    <a:pt x="143977" y="58745"/>
                    <a:pt x="142184" y="61434"/>
                  </a:cubicBezTo>
                  <a:cubicBezTo>
                    <a:pt x="138151" y="65916"/>
                    <a:pt x="130084" y="66812"/>
                    <a:pt x="125154" y="62778"/>
                  </a:cubicBezTo>
                  <a:lnTo>
                    <a:pt x="108571" y="50230"/>
                  </a:lnTo>
                  <a:cubicBezTo>
                    <a:pt x="108123" y="49781"/>
                    <a:pt x="107227" y="49333"/>
                    <a:pt x="106331" y="48437"/>
                  </a:cubicBezTo>
                  <a:lnTo>
                    <a:pt x="99160" y="56056"/>
                  </a:lnTo>
                  <a:lnTo>
                    <a:pt x="113501" y="67260"/>
                  </a:lnTo>
                  <a:cubicBezTo>
                    <a:pt x="116190" y="69501"/>
                    <a:pt x="117983" y="72638"/>
                    <a:pt x="117983" y="76223"/>
                  </a:cubicBezTo>
                  <a:lnTo>
                    <a:pt x="120224" y="113422"/>
                  </a:lnTo>
                  <a:cubicBezTo>
                    <a:pt x="120224" y="117007"/>
                    <a:pt x="119328" y="120144"/>
                    <a:pt x="116638" y="122385"/>
                  </a:cubicBezTo>
                  <a:cubicBezTo>
                    <a:pt x="114398" y="124626"/>
                    <a:pt x="110812" y="126419"/>
                    <a:pt x="107227" y="126419"/>
                  </a:cubicBezTo>
                  <a:cubicBezTo>
                    <a:pt x="106331" y="126419"/>
                    <a:pt x="106331" y="126419"/>
                    <a:pt x="105882" y="126419"/>
                  </a:cubicBezTo>
                  <a:close/>
                  <a:moveTo>
                    <a:pt x="74510" y="64123"/>
                  </a:moveTo>
                  <a:lnTo>
                    <a:pt x="95126" y="80705"/>
                  </a:lnTo>
                  <a:lnTo>
                    <a:pt x="96919" y="114766"/>
                  </a:lnTo>
                  <a:cubicBezTo>
                    <a:pt x="97367" y="119248"/>
                    <a:pt x="100953" y="122385"/>
                    <a:pt x="105882" y="122385"/>
                  </a:cubicBezTo>
                  <a:lnTo>
                    <a:pt x="106331" y="122385"/>
                  </a:lnTo>
                  <a:cubicBezTo>
                    <a:pt x="108571" y="122385"/>
                    <a:pt x="110812" y="121489"/>
                    <a:pt x="112605" y="119696"/>
                  </a:cubicBezTo>
                  <a:cubicBezTo>
                    <a:pt x="113949" y="117903"/>
                    <a:pt x="114846" y="116111"/>
                    <a:pt x="114846" y="113870"/>
                  </a:cubicBezTo>
                  <a:lnTo>
                    <a:pt x="112605" y="76672"/>
                  </a:lnTo>
                  <a:cubicBezTo>
                    <a:pt x="112605" y="74431"/>
                    <a:pt x="111260" y="72638"/>
                    <a:pt x="109468" y="70845"/>
                  </a:cubicBezTo>
                  <a:lnTo>
                    <a:pt x="91541" y="56504"/>
                  </a:lnTo>
                  <a:lnTo>
                    <a:pt x="105882" y="41714"/>
                  </a:lnTo>
                  <a:lnTo>
                    <a:pt x="107675" y="43955"/>
                  </a:lnTo>
                  <a:cubicBezTo>
                    <a:pt x="108571" y="45300"/>
                    <a:pt x="109916" y="46644"/>
                    <a:pt x="110364" y="47092"/>
                  </a:cubicBezTo>
                  <a:lnTo>
                    <a:pt x="126946" y="59641"/>
                  </a:lnTo>
                  <a:cubicBezTo>
                    <a:pt x="130084" y="61882"/>
                    <a:pt x="135462" y="61434"/>
                    <a:pt x="138151" y="58745"/>
                  </a:cubicBezTo>
                  <a:cubicBezTo>
                    <a:pt x="139495" y="57400"/>
                    <a:pt x="139943" y="55608"/>
                    <a:pt x="139943" y="53815"/>
                  </a:cubicBezTo>
                  <a:cubicBezTo>
                    <a:pt x="139943" y="52022"/>
                    <a:pt x="139047" y="50230"/>
                    <a:pt x="137254" y="48885"/>
                  </a:cubicBezTo>
                  <a:lnTo>
                    <a:pt x="122017" y="37233"/>
                  </a:lnTo>
                  <a:lnTo>
                    <a:pt x="123361" y="20650"/>
                  </a:lnTo>
                  <a:cubicBezTo>
                    <a:pt x="124257" y="16169"/>
                    <a:pt x="121568" y="13031"/>
                    <a:pt x="117087" y="9446"/>
                  </a:cubicBezTo>
                  <a:cubicBezTo>
                    <a:pt x="115742" y="8550"/>
                    <a:pt x="110812" y="4964"/>
                    <a:pt x="105882" y="4964"/>
                  </a:cubicBezTo>
                  <a:lnTo>
                    <a:pt x="70029" y="8550"/>
                  </a:lnTo>
                  <a:cubicBezTo>
                    <a:pt x="68236" y="8550"/>
                    <a:pt x="66443" y="9446"/>
                    <a:pt x="65099" y="10791"/>
                  </a:cubicBezTo>
                  <a:lnTo>
                    <a:pt x="45828" y="29614"/>
                  </a:lnTo>
                  <a:cubicBezTo>
                    <a:pt x="44483" y="30958"/>
                    <a:pt x="43587" y="32751"/>
                    <a:pt x="43587" y="34544"/>
                  </a:cubicBezTo>
                  <a:cubicBezTo>
                    <a:pt x="43587" y="36336"/>
                    <a:pt x="44483" y="38129"/>
                    <a:pt x="45828" y="39474"/>
                  </a:cubicBezTo>
                  <a:cubicBezTo>
                    <a:pt x="48965" y="42162"/>
                    <a:pt x="53895" y="41714"/>
                    <a:pt x="57032" y="39025"/>
                  </a:cubicBezTo>
                  <a:lnTo>
                    <a:pt x="74510" y="21995"/>
                  </a:lnTo>
                  <a:lnTo>
                    <a:pt x="86611" y="20650"/>
                  </a:lnTo>
                  <a:lnTo>
                    <a:pt x="66892" y="41714"/>
                  </a:lnTo>
                  <a:cubicBezTo>
                    <a:pt x="65547" y="43059"/>
                    <a:pt x="65099" y="44852"/>
                    <a:pt x="64203" y="46644"/>
                  </a:cubicBezTo>
                  <a:cubicBezTo>
                    <a:pt x="63754" y="47541"/>
                    <a:pt x="63754" y="47989"/>
                    <a:pt x="63306" y="48885"/>
                  </a:cubicBezTo>
                  <a:cubicBezTo>
                    <a:pt x="61514" y="53367"/>
                    <a:pt x="54343" y="64123"/>
                    <a:pt x="51654" y="68605"/>
                  </a:cubicBezTo>
                  <a:lnTo>
                    <a:pt x="50757" y="69949"/>
                  </a:lnTo>
                  <a:lnTo>
                    <a:pt x="15352" y="65019"/>
                  </a:lnTo>
                  <a:cubicBezTo>
                    <a:pt x="10422" y="64123"/>
                    <a:pt x="5940" y="67260"/>
                    <a:pt x="5044" y="71742"/>
                  </a:cubicBezTo>
                  <a:cubicBezTo>
                    <a:pt x="4596" y="73534"/>
                    <a:pt x="5044" y="75775"/>
                    <a:pt x="6389" y="77568"/>
                  </a:cubicBezTo>
                  <a:cubicBezTo>
                    <a:pt x="7733" y="79361"/>
                    <a:pt x="9974" y="80705"/>
                    <a:pt x="12663" y="81153"/>
                  </a:cubicBezTo>
                  <a:lnTo>
                    <a:pt x="54343" y="86980"/>
                  </a:lnTo>
                  <a:cubicBezTo>
                    <a:pt x="57928" y="87428"/>
                    <a:pt x="61962" y="86083"/>
                    <a:pt x="63754" y="82946"/>
                  </a:cubicBezTo>
                  <a:lnTo>
                    <a:pt x="74510" y="64123"/>
                  </a:lnTo>
                  <a:close/>
                </a:path>
              </a:pathLst>
            </a:custGeom>
            <a:solidFill>
              <a:srgbClr val="231F20"/>
            </a:solidFill>
            <a:ln w="4477" cap="flat">
              <a:noFill/>
              <a:prstDash val="solid"/>
              <a:miter/>
            </a:ln>
          </p:spPr>
          <p:txBody>
            <a:bodyPr rtlCol="0" anchor="ctr"/>
            <a:lstStyle/>
            <a:p>
              <a:endParaRPr lang="en-US"/>
            </a:p>
          </p:txBody>
        </p:sp>
      </p:grpSp>
      <p:grpSp>
        <p:nvGrpSpPr>
          <p:cNvPr id="2462" name="Group 2461">
            <a:extLst>
              <a:ext uri="{FF2B5EF4-FFF2-40B4-BE49-F238E27FC236}">
                <a16:creationId xmlns:a16="http://schemas.microsoft.com/office/drawing/2014/main" id="{205198EF-19D3-4EF0-99E9-87E761E1D692}"/>
              </a:ext>
              <a:ext uri="{C183D7F6-B498-43B3-948B-1728B52AA6E4}">
                <adec:decorative xmlns:adec="http://schemas.microsoft.com/office/drawing/2017/decorative" val="1"/>
              </a:ext>
            </a:extLst>
          </p:cNvPr>
          <p:cNvGrpSpPr>
            <a:grpSpLocks noChangeAspect="1"/>
          </p:cNvGrpSpPr>
          <p:nvPr/>
        </p:nvGrpSpPr>
        <p:grpSpPr>
          <a:xfrm>
            <a:off x="8534933" y="3817432"/>
            <a:ext cx="152378" cy="152378"/>
            <a:chOff x="8591433" y="1761741"/>
            <a:chExt cx="152378" cy="152378"/>
          </a:xfrm>
        </p:grpSpPr>
        <p:sp>
          <p:nvSpPr>
            <p:cNvPr id="5467" name="Freeform: Shape 5466">
              <a:extLst>
                <a:ext uri="{FF2B5EF4-FFF2-40B4-BE49-F238E27FC236}">
                  <a16:creationId xmlns:a16="http://schemas.microsoft.com/office/drawing/2014/main" id="{C972A8E4-072B-4EF1-9405-91F7D2AC5AC7}"/>
                </a:ext>
              </a:extLst>
            </p:cNvPr>
            <p:cNvSpPr/>
            <p:nvPr/>
          </p:nvSpPr>
          <p:spPr>
            <a:xfrm>
              <a:off x="8591433" y="1761741"/>
              <a:ext cx="152378" cy="152378"/>
            </a:xfrm>
            <a:custGeom>
              <a:avLst/>
              <a:gdLst>
                <a:gd name="connsiteX0" fmla="*/ 82911 w 152377"/>
                <a:gd name="connsiteY0" fmla="*/ 152378 h 152377"/>
                <a:gd name="connsiteX1" fmla="*/ 81119 w 152377"/>
                <a:gd name="connsiteY1" fmla="*/ 151930 h 152377"/>
                <a:gd name="connsiteX2" fmla="*/ 448 w 152377"/>
                <a:gd name="connsiteY2" fmla="*/ 71259 h 152377"/>
                <a:gd name="connsiteX3" fmla="*/ 0 w 152377"/>
                <a:gd name="connsiteY3" fmla="*/ 69466 h 152377"/>
                <a:gd name="connsiteX4" fmla="*/ 0 w 152377"/>
                <a:gd name="connsiteY4" fmla="*/ 8515 h 152377"/>
                <a:gd name="connsiteX5" fmla="*/ 8515 w 152377"/>
                <a:gd name="connsiteY5" fmla="*/ 0 h 152377"/>
                <a:gd name="connsiteX6" fmla="*/ 69466 w 152377"/>
                <a:gd name="connsiteY6" fmla="*/ 0 h 152377"/>
                <a:gd name="connsiteX7" fmla="*/ 71259 w 152377"/>
                <a:gd name="connsiteY7" fmla="*/ 448 h 152377"/>
                <a:gd name="connsiteX8" fmla="*/ 151930 w 152377"/>
                <a:gd name="connsiteY8" fmla="*/ 81119 h 152377"/>
                <a:gd name="connsiteX9" fmla="*/ 151930 w 152377"/>
                <a:gd name="connsiteY9" fmla="*/ 84256 h 152377"/>
                <a:gd name="connsiteX10" fmla="*/ 84704 w 152377"/>
                <a:gd name="connsiteY10" fmla="*/ 151482 h 152377"/>
                <a:gd name="connsiteX11" fmla="*/ 82911 w 152377"/>
                <a:gd name="connsiteY11" fmla="*/ 152378 h 152377"/>
                <a:gd name="connsiteX12" fmla="*/ 4482 w 152377"/>
                <a:gd name="connsiteY12" fmla="*/ 68122 h 152377"/>
                <a:gd name="connsiteX13" fmla="*/ 82911 w 152377"/>
                <a:gd name="connsiteY13" fmla="*/ 146552 h 152377"/>
                <a:gd name="connsiteX14" fmla="*/ 147000 w 152377"/>
                <a:gd name="connsiteY14" fmla="*/ 82463 h 152377"/>
                <a:gd name="connsiteX15" fmla="*/ 68570 w 152377"/>
                <a:gd name="connsiteY15" fmla="*/ 4482 h 152377"/>
                <a:gd name="connsiteX16" fmla="*/ 8515 w 152377"/>
                <a:gd name="connsiteY16" fmla="*/ 4482 h 152377"/>
                <a:gd name="connsiteX17" fmla="*/ 4482 w 152377"/>
                <a:gd name="connsiteY17" fmla="*/ 8515 h 152377"/>
                <a:gd name="connsiteX18" fmla="*/ 4482 w 152377"/>
                <a:gd name="connsiteY18" fmla="*/ 6812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377" h="152377">
                  <a:moveTo>
                    <a:pt x="82911" y="152378"/>
                  </a:moveTo>
                  <a:cubicBezTo>
                    <a:pt x="82463" y="152378"/>
                    <a:pt x="81567" y="152378"/>
                    <a:pt x="81119" y="151930"/>
                  </a:cubicBezTo>
                  <a:lnTo>
                    <a:pt x="448" y="71259"/>
                  </a:lnTo>
                  <a:cubicBezTo>
                    <a:pt x="0" y="70811"/>
                    <a:pt x="0" y="70363"/>
                    <a:pt x="0" y="69466"/>
                  </a:cubicBezTo>
                  <a:lnTo>
                    <a:pt x="0" y="8515"/>
                  </a:lnTo>
                  <a:cubicBezTo>
                    <a:pt x="0" y="3585"/>
                    <a:pt x="4034" y="0"/>
                    <a:pt x="8515" y="0"/>
                  </a:cubicBezTo>
                  <a:lnTo>
                    <a:pt x="69466" y="0"/>
                  </a:lnTo>
                  <a:cubicBezTo>
                    <a:pt x="69914" y="0"/>
                    <a:pt x="70811" y="448"/>
                    <a:pt x="71259" y="448"/>
                  </a:cubicBezTo>
                  <a:lnTo>
                    <a:pt x="151930" y="81119"/>
                  </a:lnTo>
                  <a:cubicBezTo>
                    <a:pt x="152826" y="82015"/>
                    <a:pt x="152826" y="83360"/>
                    <a:pt x="151930" y="84256"/>
                  </a:cubicBezTo>
                  <a:lnTo>
                    <a:pt x="84704" y="151482"/>
                  </a:lnTo>
                  <a:cubicBezTo>
                    <a:pt x="84256" y="151930"/>
                    <a:pt x="83360" y="152378"/>
                    <a:pt x="82911" y="152378"/>
                  </a:cubicBezTo>
                  <a:close/>
                  <a:moveTo>
                    <a:pt x="4482" y="68122"/>
                  </a:moveTo>
                  <a:lnTo>
                    <a:pt x="82911" y="146552"/>
                  </a:lnTo>
                  <a:lnTo>
                    <a:pt x="147000" y="82463"/>
                  </a:lnTo>
                  <a:lnTo>
                    <a:pt x="68570" y="4482"/>
                  </a:lnTo>
                  <a:lnTo>
                    <a:pt x="8515" y="4482"/>
                  </a:lnTo>
                  <a:cubicBezTo>
                    <a:pt x="6274" y="4482"/>
                    <a:pt x="4482" y="6274"/>
                    <a:pt x="4482" y="8515"/>
                  </a:cubicBezTo>
                  <a:lnTo>
                    <a:pt x="4482" y="68122"/>
                  </a:lnTo>
                  <a:close/>
                </a:path>
              </a:pathLst>
            </a:custGeom>
            <a:solidFill>
              <a:srgbClr val="231F20"/>
            </a:solidFill>
            <a:ln w="4477" cap="flat">
              <a:noFill/>
              <a:prstDash val="solid"/>
              <a:miter/>
            </a:ln>
          </p:spPr>
          <p:txBody>
            <a:bodyPr rtlCol="0" anchor="ctr"/>
            <a:lstStyle/>
            <a:p>
              <a:endParaRPr lang="en-US"/>
            </a:p>
          </p:txBody>
        </p:sp>
        <p:sp>
          <p:nvSpPr>
            <p:cNvPr id="5468" name="Freeform: Shape 5467">
              <a:extLst>
                <a:ext uri="{FF2B5EF4-FFF2-40B4-BE49-F238E27FC236}">
                  <a16:creationId xmlns:a16="http://schemas.microsoft.com/office/drawing/2014/main" id="{CE351EAD-8565-4A57-B0F9-437D83CB0EB5}"/>
                </a:ext>
              </a:extLst>
            </p:cNvPr>
            <p:cNvSpPr/>
            <p:nvPr/>
          </p:nvSpPr>
          <p:spPr>
            <a:xfrm>
              <a:off x="8615368" y="1785828"/>
              <a:ext cx="22409" cy="22409"/>
            </a:xfrm>
            <a:custGeom>
              <a:avLst/>
              <a:gdLst>
                <a:gd name="connsiteX0" fmla="*/ 11918 w 22408"/>
                <a:gd name="connsiteY0" fmla="*/ 23419 h 22408"/>
                <a:gd name="connsiteX1" fmla="*/ 4748 w 22408"/>
                <a:gd name="connsiteY1" fmla="*/ 21178 h 22408"/>
                <a:gd name="connsiteX2" fmla="*/ 2507 w 22408"/>
                <a:gd name="connsiteY2" fmla="*/ 4596 h 22408"/>
                <a:gd name="connsiteX3" fmla="*/ 10126 w 22408"/>
                <a:gd name="connsiteY3" fmla="*/ 114 h 22408"/>
                <a:gd name="connsiteX4" fmla="*/ 18641 w 22408"/>
                <a:gd name="connsiteY4" fmla="*/ 2355 h 22408"/>
                <a:gd name="connsiteX5" fmla="*/ 20882 w 22408"/>
                <a:gd name="connsiteY5" fmla="*/ 18937 h 22408"/>
                <a:gd name="connsiteX6" fmla="*/ 20882 w 22408"/>
                <a:gd name="connsiteY6" fmla="*/ 18937 h 22408"/>
                <a:gd name="connsiteX7" fmla="*/ 13263 w 22408"/>
                <a:gd name="connsiteY7" fmla="*/ 23419 h 22408"/>
                <a:gd name="connsiteX8" fmla="*/ 11918 w 22408"/>
                <a:gd name="connsiteY8" fmla="*/ 23419 h 22408"/>
                <a:gd name="connsiteX9" fmla="*/ 11918 w 22408"/>
                <a:gd name="connsiteY9" fmla="*/ 4148 h 22408"/>
                <a:gd name="connsiteX10" fmla="*/ 11022 w 22408"/>
                <a:gd name="connsiteY10" fmla="*/ 4148 h 22408"/>
                <a:gd name="connsiteX11" fmla="*/ 6092 w 22408"/>
                <a:gd name="connsiteY11" fmla="*/ 6837 h 22408"/>
                <a:gd name="connsiteX12" fmla="*/ 4748 w 22408"/>
                <a:gd name="connsiteY12" fmla="*/ 12215 h 22408"/>
                <a:gd name="connsiteX13" fmla="*/ 7437 w 22408"/>
                <a:gd name="connsiteY13" fmla="*/ 17145 h 22408"/>
                <a:gd name="connsiteX14" fmla="*/ 12815 w 22408"/>
                <a:gd name="connsiteY14" fmla="*/ 18489 h 22408"/>
                <a:gd name="connsiteX15" fmla="*/ 17744 w 22408"/>
                <a:gd name="connsiteY15" fmla="*/ 15800 h 22408"/>
                <a:gd name="connsiteX16" fmla="*/ 17744 w 22408"/>
                <a:gd name="connsiteY16" fmla="*/ 15800 h 22408"/>
                <a:gd name="connsiteX17" fmla="*/ 19089 w 22408"/>
                <a:gd name="connsiteY17" fmla="*/ 10422 h 22408"/>
                <a:gd name="connsiteX18" fmla="*/ 16400 w 22408"/>
                <a:gd name="connsiteY18" fmla="*/ 5492 h 22408"/>
                <a:gd name="connsiteX19" fmla="*/ 11918 w 22408"/>
                <a:gd name="connsiteY19" fmla="*/ 4148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08" h="22408">
                  <a:moveTo>
                    <a:pt x="11918" y="23419"/>
                  </a:moveTo>
                  <a:cubicBezTo>
                    <a:pt x="9229" y="23419"/>
                    <a:pt x="6988" y="22523"/>
                    <a:pt x="4748" y="21178"/>
                  </a:cubicBezTo>
                  <a:cubicBezTo>
                    <a:pt x="-631" y="17145"/>
                    <a:pt x="-1527" y="9974"/>
                    <a:pt x="2507" y="4596"/>
                  </a:cubicBezTo>
                  <a:cubicBezTo>
                    <a:pt x="4299" y="1907"/>
                    <a:pt x="6988" y="562"/>
                    <a:pt x="10126" y="114"/>
                  </a:cubicBezTo>
                  <a:cubicBezTo>
                    <a:pt x="13263" y="-334"/>
                    <a:pt x="16400" y="562"/>
                    <a:pt x="18641" y="2355"/>
                  </a:cubicBezTo>
                  <a:cubicBezTo>
                    <a:pt x="24019" y="6389"/>
                    <a:pt x="24915" y="13559"/>
                    <a:pt x="20882" y="18937"/>
                  </a:cubicBezTo>
                  <a:lnTo>
                    <a:pt x="20882" y="18937"/>
                  </a:lnTo>
                  <a:cubicBezTo>
                    <a:pt x="19089" y="21626"/>
                    <a:pt x="16400" y="22971"/>
                    <a:pt x="13263" y="23419"/>
                  </a:cubicBezTo>
                  <a:cubicBezTo>
                    <a:pt x="13263" y="23419"/>
                    <a:pt x="12366" y="23419"/>
                    <a:pt x="11918" y="23419"/>
                  </a:cubicBezTo>
                  <a:close/>
                  <a:moveTo>
                    <a:pt x="11918" y="4148"/>
                  </a:moveTo>
                  <a:cubicBezTo>
                    <a:pt x="11470" y="4148"/>
                    <a:pt x="11022" y="4148"/>
                    <a:pt x="11022" y="4148"/>
                  </a:cubicBezTo>
                  <a:cubicBezTo>
                    <a:pt x="9229" y="4596"/>
                    <a:pt x="7437" y="5492"/>
                    <a:pt x="6092" y="6837"/>
                  </a:cubicBezTo>
                  <a:cubicBezTo>
                    <a:pt x="4748" y="8181"/>
                    <a:pt x="4299" y="10422"/>
                    <a:pt x="4748" y="12215"/>
                  </a:cubicBezTo>
                  <a:cubicBezTo>
                    <a:pt x="5196" y="14007"/>
                    <a:pt x="6092" y="15800"/>
                    <a:pt x="7437" y="17145"/>
                  </a:cubicBezTo>
                  <a:cubicBezTo>
                    <a:pt x="8781" y="18489"/>
                    <a:pt x="11022" y="18937"/>
                    <a:pt x="12815" y="18489"/>
                  </a:cubicBezTo>
                  <a:cubicBezTo>
                    <a:pt x="14607" y="18041"/>
                    <a:pt x="16400" y="17145"/>
                    <a:pt x="17744" y="15800"/>
                  </a:cubicBezTo>
                  <a:lnTo>
                    <a:pt x="17744" y="15800"/>
                  </a:lnTo>
                  <a:cubicBezTo>
                    <a:pt x="19089" y="14456"/>
                    <a:pt x="19537" y="12215"/>
                    <a:pt x="19089" y="10422"/>
                  </a:cubicBezTo>
                  <a:cubicBezTo>
                    <a:pt x="18641" y="8629"/>
                    <a:pt x="17744" y="6837"/>
                    <a:pt x="16400" y="5492"/>
                  </a:cubicBezTo>
                  <a:cubicBezTo>
                    <a:pt x="15055" y="4596"/>
                    <a:pt x="13711" y="4148"/>
                    <a:pt x="11918" y="4148"/>
                  </a:cubicBezTo>
                  <a:close/>
                </a:path>
              </a:pathLst>
            </a:custGeom>
            <a:solidFill>
              <a:srgbClr val="231F20"/>
            </a:solidFill>
            <a:ln w="4477" cap="flat">
              <a:noFill/>
              <a:prstDash val="solid"/>
              <a:miter/>
            </a:ln>
          </p:spPr>
          <p:txBody>
            <a:bodyPr rtlCol="0" anchor="ctr"/>
            <a:lstStyle/>
            <a:p>
              <a:endParaRPr lang="en-US"/>
            </a:p>
          </p:txBody>
        </p:sp>
      </p:grpSp>
      <p:grpSp>
        <p:nvGrpSpPr>
          <p:cNvPr id="2463" name="Group 2462">
            <a:extLst>
              <a:ext uri="{FF2B5EF4-FFF2-40B4-BE49-F238E27FC236}">
                <a16:creationId xmlns:a16="http://schemas.microsoft.com/office/drawing/2014/main" id="{876E474A-96FB-4345-AD0E-8A41B9962182}"/>
              </a:ext>
              <a:ext uri="{C183D7F6-B498-43B3-948B-1728B52AA6E4}">
                <adec:decorative xmlns:adec="http://schemas.microsoft.com/office/drawing/2017/decorative" val="1"/>
              </a:ext>
            </a:extLst>
          </p:cNvPr>
          <p:cNvGrpSpPr>
            <a:grpSpLocks noChangeAspect="1"/>
          </p:cNvGrpSpPr>
          <p:nvPr/>
        </p:nvGrpSpPr>
        <p:grpSpPr>
          <a:xfrm>
            <a:off x="8790838" y="3817432"/>
            <a:ext cx="152378" cy="152378"/>
            <a:chOff x="8847338" y="1761741"/>
            <a:chExt cx="152378" cy="152378"/>
          </a:xfrm>
        </p:grpSpPr>
        <p:sp>
          <p:nvSpPr>
            <p:cNvPr id="5462" name="Freeform: Shape 5461">
              <a:extLst>
                <a:ext uri="{FF2B5EF4-FFF2-40B4-BE49-F238E27FC236}">
                  <a16:creationId xmlns:a16="http://schemas.microsoft.com/office/drawing/2014/main" id="{95F029D8-0550-4C82-BF03-295709E109B7}"/>
                </a:ext>
              </a:extLst>
            </p:cNvPr>
            <p:cNvSpPr/>
            <p:nvPr/>
          </p:nvSpPr>
          <p:spPr>
            <a:xfrm>
              <a:off x="8847338" y="1761741"/>
              <a:ext cx="152378" cy="152378"/>
            </a:xfrm>
            <a:custGeom>
              <a:avLst/>
              <a:gdLst>
                <a:gd name="connsiteX0" fmla="*/ 82911 w 152377"/>
                <a:gd name="connsiteY0" fmla="*/ 152378 h 152377"/>
                <a:gd name="connsiteX1" fmla="*/ 81119 w 152377"/>
                <a:gd name="connsiteY1" fmla="*/ 151930 h 152377"/>
                <a:gd name="connsiteX2" fmla="*/ 448 w 152377"/>
                <a:gd name="connsiteY2" fmla="*/ 71259 h 152377"/>
                <a:gd name="connsiteX3" fmla="*/ 0 w 152377"/>
                <a:gd name="connsiteY3" fmla="*/ 69466 h 152377"/>
                <a:gd name="connsiteX4" fmla="*/ 0 w 152377"/>
                <a:gd name="connsiteY4" fmla="*/ 8515 h 152377"/>
                <a:gd name="connsiteX5" fmla="*/ 8515 w 152377"/>
                <a:gd name="connsiteY5" fmla="*/ 0 h 152377"/>
                <a:gd name="connsiteX6" fmla="*/ 69466 w 152377"/>
                <a:gd name="connsiteY6" fmla="*/ 0 h 152377"/>
                <a:gd name="connsiteX7" fmla="*/ 71259 w 152377"/>
                <a:gd name="connsiteY7" fmla="*/ 448 h 152377"/>
                <a:gd name="connsiteX8" fmla="*/ 151930 w 152377"/>
                <a:gd name="connsiteY8" fmla="*/ 81119 h 152377"/>
                <a:gd name="connsiteX9" fmla="*/ 151930 w 152377"/>
                <a:gd name="connsiteY9" fmla="*/ 84256 h 152377"/>
                <a:gd name="connsiteX10" fmla="*/ 84704 w 152377"/>
                <a:gd name="connsiteY10" fmla="*/ 151482 h 152377"/>
                <a:gd name="connsiteX11" fmla="*/ 82911 w 152377"/>
                <a:gd name="connsiteY11" fmla="*/ 152378 h 152377"/>
                <a:gd name="connsiteX12" fmla="*/ 4482 w 152377"/>
                <a:gd name="connsiteY12" fmla="*/ 68122 h 152377"/>
                <a:gd name="connsiteX13" fmla="*/ 82911 w 152377"/>
                <a:gd name="connsiteY13" fmla="*/ 146552 h 152377"/>
                <a:gd name="connsiteX14" fmla="*/ 147000 w 152377"/>
                <a:gd name="connsiteY14" fmla="*/ 82463 h 152377"/>
                <a:gd name="connsiteX15" fmla="*/ 68570 w 152377"/>
                <a:gd name="connsiteY15" fmla="*/ 4034 h 152377"/>
                <a:gd name="connsiteX16" fmla="*/ 8515 w 152377"/>
                <a:gd name="connsiteY16" fmla="*/ 4034 h 152377"/>
                <a:gd name="connsiteX17" fmla="*/ 4482 w 152377"/>
                <a:gd name="connsiteY17" fmla="*/ 8067 h 152377"/>
                <a:gd name="connsiteX18" fmla="*/ 4482 w 152377"/>
                <a:gd name="connsiteY18" fmla="*/ 6812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377" h="152377">
                  <a:moveTo>
                    <a:pt x="82911" y="152378"/>
                  </a:moveTo>
                  <a:cubicBezTo>
                    <a:pt x="82463" y="152378"/>
                    <a:pt x="81567" y="152378"/>
                    <a:pt x="81119" y="151930"/>
                  </a:cubicBezTo>
                  <a:lnTo>
                    <a:pt x="448" y="71259"/>
                  </a:lnTo>
                  <a:cubicBezTo>
                    <a:pt x="0" y="70811"/>
                    <a:pt x="0" y="70363"/>
                    <a:pt x="0" y="69466"/>
                  </a:cubicBezTo>
                  <a:lnTo>
                    <a:pt x="0" y="8515"/>
                  </a:lnTo>
                  <a:cubicBezTo>
                    <a:pt x="0" y="3585"/>
                    <a:pt x="4034" y="0"/>
                    <a:pt x="8515" y="0"/>
                  </a:cubicBezTo>
                  <a:lnTo>
                    <a:pt x="69466" y="0"/>
                  </a:lnTo>
                  <a:cubicBezTo>
                    <a:pt x="69915" y="0"/>
                    <a:pt x="70811" y="448"/>
                    <a:pt x="71259" y="448"/>
                  </a:cubicBezTo>
                  <a:lnTo>
                    <a:pt x="151930" y="81119"/>
                  </a:lnTo>
                  <a:cubicBezTo>
                    <a:pt x="152826" y="82015"/>
                    <a:pt x="152826" y="83360"/>
                    <a:pt x="151930" y="84256"/>
                  </a:cubicBezTo>
                  <a:lnTo>
                    <a:pt x="84704" y="151482"/>
                  </a:lnTo>
                  <a:cubicBezTo>
                    <a:pt x="83808" y="151930"/>
                    <a:pt x="83360" y="152378"/>
                    <a:pt x="82911" y="152378"/>
                  </a:cubicBezTo>
                  <a:close/>
                  <a:moveTo>
                    <a:pt x="4482" y="68122"/>
                  </a:moveTo>
                  <a:lnTo>
                    <a:pt x="82911" y="146552"/>
                  </a:lnTo>
                  <a:lnTo>
                    <a:pt x="147000" y="82463"/>
                  </a:lnTo>
                  <a:lnTo>
                    <a:pt x="68570" y="4034"/>
                  </a:lnTo>
                  <a:lnTo>
                    <a:pt x="8515" y="4034"/>
                  </a:lnTo>
                  <a:cubicBezTo>
                    <a:pt x="6274" y="4034"/>
                    <a:pt x="4482" y="5826"/>
                    <a:pt x="4482" y="8067"/>
                  </a:cubicBezTo>
                  <a:lnTo>
                    <a:pt x="4482" y="68122"/>
                  </a:lnTo>
                  <a:close/>
                </a:path>
              </a:pathLst>
            </a:custGeom>
            <a:solidFill>
              <a:srgbClr val="231F20"/>
            </a:solidFill>
            <a:ln w="4477" cap="flat">
              <a:noFill/>
              <a:prstDash val="solid"/>
              <a:miter/>
            </a:ln>
          </p:spPr>
          <p:txBody>
            <a:bodyPr rtlCol="0" anchor="ctr"/>
            <a:lstStyle/>
            <a:p>
              <a:endParaRPr lang="en-US"/>
            </a:p>
          </p:txBody>
        </p:sp>
        <p:sp>
          <p:nvSpPr>
            <p:cNvPr id="5463" name="Freeform: Shape 5462">
              <a:extLst>
                <a:ext uri="{FF2B5EF4-FFF2-40B4-BE49-F238E27FC236}">
                  <a16:creationId xmlns:a16="http://schemas.microsoft.com/office/drawing/2014/main" id="{1DDD7FE2-63BB-4CA5-A336-11CFB6B14BCC}"/>
                </a:ext>
              </a:extLst>
            </p:cNvPr>
            <p:cNvSpPr/>
            <p:nvPr/>
          </p:nvSpPr>
          <p:spPr>
            <a:xfrm>
              <a:off x="8928009" y="1809247"/>
              <a:ext cx="4482" cy="62744"/>
            </a:xfrm>
            <a:custGeom>
              <a:avLst/>
              <a:gdLst>
                <a:gd name="connsiteX0" fmla="*/ 2241 w 4481"/>
                <a:gd name="connsiteY0" fmla="*/ 64536 h 62743"/>
                <a:gd name="connsiteX1" fmla="*/ 0 w 4481"/>
                <a:gd name="connsiteY1" fmla="*/ 62296 h 62743"/>
                <a:gd name="connsiteX2" fmla="*/ 0 w 4481"/>
                <a:gd name="connsiteY2" fmla="*/ 2241 h 62743"/>
                <a:gd name="connsiteX3" fmla="*/ 2241 w 4481"/>
                <a:gd name="connsiteY3" fmla="*/ 0 h 62743"/>
                <a:gd name="connsiteX4" fmla="*/ 2241 w 4481"/>
                <a:gd name="connsiteY4" fmla="*/ 0 h 62743"/>
                <a:gd name="connsiteX5" fmla="*/ 4482 w 4481"/>
                <a:gd name="connsiteY5" fmla="*/ 2241 h 62743"/>
                <a:gd name="connsiteX6" fmla="*/ 4482 w 4481"/>
                <a:gd name="connsiteY6" fmla="*/ 62296 h 62743"/>
                <a:gd name="connsiteX7" fmla="*/ 2241 w 4481"/>
                <a:gd name="connsiteY7" fmla="*/ 64536 h 62743"/>
                <a:gd name="connsiteX8" fmla="*/ 2241 w 4481"/>
                <a:gd name="connsiteY8" fmla="*/ 64536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62743">
                  <a:moveTo>
                    <a:pt x="2241" y="64536"/>
                  </a:moveTo>
                  <a:cubicBezTo>
                    <a:pt x="896" y="64536"/>
                    <a:pt x="0" y="63640"/>
                    <a:pt x="0" y="62296"/>
                  </a:cubicBezTo>
                  <a:lnTo>
                    <a:pt x="0" y="2241"/>
                  </a:lnTo>
                  <a:cubicBezTo>
                    <a:pt x="0" y="896"/>
                    <a:pt x="896" y="0"/>
                    <a:pt x="2241" y="0"/>
                  </a:cubicBezTo>
                  <a:cubicBezTo>
                    <a:pt x="2241" y="0"/>
                    <a:pt x="2241" y="0"/>
                    <a:pt x="2241" y="0"/>
                  </a:cubicBezTo>
                  <a:cubicBezTo>
                    <a:pt x="3585" y="0"/>
                    <a:pt x="4482" y="896"/>
                    <a:pt x="4482" y="2241"/>
                  </a:cubicBezTo>
                  <a:lnTo>
                    <a:pt x="4482" y="62296"/>
                  </a:lnTo>
                  <a:cubicBezTo>
                    <a:pt x="4482" y="63640"/>
                    <a:pt x="3585" y="64536"/>
                    <a:pt x="2241" y="64536"/>
                  </a:cubicBezTo>
                  <a:cubicBezTo>
                    <a:pt x="2241" y="64536"/>
                    <a:pt x="2241" y="64536"/>
                    <a:pt x="2241" y="64536"/>
                  </a:cubicBezTo>
                  <a:close/>
                </a:path>
              </a:pathLst>
            </a:custGeom>
            <a:solidFill>
              <a:srgbClr val="231F20"/>
            </a:solidFill>
            <a:ln w="4477" cap="flat">
              <a:noFill/>
              <a:prstDash val="solid"/>
              <a:miter/>
            </a:ln>
          </p:spPr>
          <p:txBody>
            <a:bodyPr rtlCol="0" anchor="ctr"/>
            <a:lstStyle/>
            <a:p>
              <a:endParaRPr lang="en-US"/>
            </a:p>
          </p:txBody>
        </p:sp>
        <p:sp>
          <p:nvSpPr>
            <p:cNvPr id="5464" name="Freeform: Shape 5463">
              <a:extLst>
                <a:ext uri="{FF2B5EF4-FFF2-40B4-BE49-F238E27FC236}">
                  <a16:creationId xmlns:a16="http://schemas.microsoft.com/office/drawing/2014/main" id="{1B02B836-DC67-4B59-8BD0-73665FBA0DA6}"/>
                </a:ext>
              </a:extLst>
            </p:cNvPr>
            <p:cNvSpPr/>
            <p:nvPr/>
          </p:nvSpPr>
          <p:spPr>
            <a:xfrm>
              <a:off x="8902098" y="1823705"/>
              <a:ext cx="17927" cy="22409"/>
            </a:xfrm>
            <a:custGeom>
              <a:avLst/>
              <a:gdLst>
                <a:gd name="connsiteX0" fmla="*/ 12018 w 17926"/>
                <a:gd name="connsiteY0" fmla="*/ 23189 h 22408"/>
                <a:gd name="connsiteX1" fmla="*/ 7536 w 17926"/>
                <a:gd name="connsiteY1" fmla="*/ 21844 h 22408"/>
                <a:gd name="connsiteX2" fmla="*/ 1710 w 17926"/>
                <a:gd name="connsiteY2" fmla="*/ 15570 h 22408"/>
                <a:gd name="connsiteX3" fmla="*/ 4399 w 17926"/>
                <a:gd name="connsiteY3" fmla="*/ 780 h 22408"/>
                <a:gd name="connsiteX4" fmla="*/ 17844 w 17926"/>
                <a:gd name="connsiteY4" fmla="*/ 7503 h 22408"/>
                <a:gd name="connsiteX5" fmla="*/ 17844 w 17926"/>
                <a:gd name="connsiteY5" fmla="*/ 7503 h 22408"/>
                <a:gd name="connsiteX6" fmla="*/ 15155 w 17926"/>
                <a:gd name="connsiteY6" fmla="*/ 22293 h 22408"/>
                <a:gd name="connsiteX7" fmla="*/ 12018 w 17926"/>
                <a:gd name="connsiteY7" fmla="*/ 23189 h 22408"/>
                <a:gd name="connsiteX8" fmla="*/ 7984 w 17926"/>
                <a:gd name="connsiteY8" fmla="*/ 4814 h 22408"/>
                <a:gd name="connsiteX9" fmla="*/ 6640 w 17926"/>
                <a:gd name="connsiteY9" fmla="*/ 5262 h 22408"/>
                <a:gd name="connsiteX10" fmla="*/ 5743 w 17926"/>
                <a:gd name="connsiteY10" fmla="*/ 14226 h 22408"/>
                <a:gd name="connsiteX11" fmla="*/ 9777 w 17926"/>
                <a:gd name="connsiteY11" fmla="*/ 18707 h 22408"/>
                <a:gd name="connsiteX12" fmla="*/ 13362 w 17926"/>
                <a:gd name="connsiteY12" fmla="*/ 19155 h 22408"/>
                <a:gd name="connsiteX13" fmla="*/ 14259 w 17926"/>
                <a:gd name="connsiteY13" fmla="*/ 10192 h 22408"/>
                <a:gd name="connsiteX14" fmla="*/ 14259 w 17926"/>
                <a:gd name="connsiteY14" fmla="*/ 10192 h 22408"/>
                <a:gd name="connsiteX15" fmla="*/ 7984 w 17926"/>
                <a:gd name="connsiteY15" fmla="*/ 481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926" h="22408">
                  <a:moveTo>
                    <a:pt x="12018" y="23189"/>
                  </a:moveTo>
                  <a:cubicBezTo>
                    <a:pt x="10673" y="23189"/>
                    <a:pt x="8880" y="22741"/>
                    <a:pt x="7536" y="21844"/>
                  </a:cubicBezTo>
                  <a:cubicBezTo>
                    <a:pt x="5295" y="20500"/>
                    <a:pt x="3054" y="18259"/>
                    <a:pt x="1710" y="15570"/>
                  </a:cubicBezTo>
                  <a:cubicBezTo>
                    <a:pt x="-1427" y="9744"/>
                    <a:pt x="-83" y="3021"/>
                    <a:pt x="4399" y="780"/>
                  </a:cubicBezTo>
                  <a:cubicBezTo>
                    <a:pt x="8880" y="-1460"/>
                    <a:pt x="14707" y="1229"/>
                    <a:pt x="17844" y="7503"/>
                  </a:cubicBezTo>
                  <a:lnTo>
                    <a:pt x="17844" y="7503"/>
                  </a:lnTo>
                  <a:cubicBezTo>
                    <a:pt x="20981" y="13329"/>
                    <a:pt x="19637" y="20052"/>
                    <a:pt x="15155" y="22293"/>
                  </a:cubicBezTo>
                  <a:cubicBezTo>
                    <a:pt x="14259" y="23189"/>
                    <a:pt x="13362" y="23189"/>
                    <a:pt x="12018" y="23189"/>
                  </a:cubicBezTo>
                  <a:close/>
                  <a:moveTo>
                    <a:pt x="7984" y="4814"/>
                  </a:moveTo>
                  <a:cubicBezTo>
                    <a:pt x="7536" y="4814"/>
                    <a:pt x="7088" y="4814"/>
                    <a:pt x="6640" y="5262"/>
                  </a:cubicBezTo>
                  <a:cubicBezTo>
                    <a:pt x="4399" y="6159"/>
                    <a:pt x="3951" y="10640"/>
                    <a:pt x="5743" y="14226"/>
                  </a:cubicBezTo>
                  <a:cubicBezTo>
                    <a:pt x="6640" y="16018"/>
                    <a:pt x="7984" y="17811"/>
                    <a:pt x="9777" y="18707"/>
                  </a:cubicBezTo>
                  <a:cubicBezTo>
                    <a:pt x="10673" y="19155"/>
                    <a:pt x="12018" y="19604"/>
                    <a:pt x="13362" y="19155"/>
                  </a:cubicBezTo>
                  <a:cubicBezTo>
                    <a:pt x="15603" y="18259"/>
                    <a:pt x="16051" y="13777"/>
                    <a:pt x="14259" y="10192"/>
                  </a:cubicBezTo>
                  <a:lnTo>
                    <a:pt x="14259" y="10192"/>
                  </a:lnTo>
                  <a:cubicBezTo>
                    <a:pt x="12466" y="6607"/>
                    <a:pt x="9777" y="4814"/>
                    <a:pt x="7984" y="4814"/>
                  </a:cubicBezTo>
                  <a:close/>
                </a:path>
              </a:pathLst>
            </a:custGeom>
            <a:solidFill>
              <a:srgbClr val="231F20"/>
            </a:solidFill>
            <a:ln w="4477" cap="flat">
              <a:noFill/>
              <a:prstDash val="solid"/>
              <a:miter/>
            </a:ln>
          </p:spPr>
          <p:txBody>
            <a:bodyPr rtlCol="0" anchor="ctr"/>
            <a:lstStyle/>
            <a:p>
              <a:endParaRPr lang="en-US"/>
            </a:p>
          </p:txBody>
        </p:sp>
        <p:sp>
          <p:nvSpPr>
            <p:cNvPr id="5465" name="Freeform: Shape 5464">
              <a:extLst>
                <a:ext uri="{FF2B5EF4-FFF2-40B4-BE49-F238E27FC236}">
                  <a16:creationId xmlns:a16="http://schemas.microsoft.com/office/drawing/2014/main" id="{D72CA883-7F36-41A2-BB80-5017C9A46D0F}"/>
                </a:ext>
              </a:extLst>
            </p:cNvPr>
            <p:cNvSpPr/>
            <p:nvPr/>
          </p:nvSpPr>
          <p:spPr>
            <a:xfrm>
              <a:off x="8938597" y="1835774"/>
              <a:ext cx="17927" cy="22409"/>
            </a:xfrm>
            <a:custGeom>
              <a:avLst/>
              <a:gdLst>
                <a:gd name="connsiteX0" fmla="*/ 11820 w 17926"/>
                <a:gd name="connsiteY0" fmla="*/ 23220 h 22408"/>
                <a:gd name="connsiteX1" fmla="*/ 1513 w 17926"/>
                <a:gd name="connsiteY1" fmla="*/ 15601 h 22408"/>
                <a:gd name="connsiteX2" fmla="*/ 168 w 17926"/>
                <a:gd name="connsiteY2" fmla="*/ 7086 h 22408"/>
                <a:gd name="connsiteX3" fmla="*/ 4202 w 17926"/>
                <a:gd name="connsiteY3" fmla="*/ 812 h 22408"/>
                <a:gd name="connsiteX4" fmla="*/ 11820 w 17926"/>
                <a:gd name="connsiteY4" fmla="*/ 1260 h 22408"/>
                <a:gd name="connsiteX5" fmla="*/ 17647 w 17926"/>
                <a:gd name="connsiteY5" fmla="*/ 7534 h 22408"/>
                <a:gd name="connsiteX6" fmla="*/ 17647 w 17926"/>
                <a:gd name="connsiteY6" fmla="*/ 7534 h 22408"/>
                <a:gd name="connsiteX7" fmla="*/ 18991 w 17926"/>
                <a:gd name="connsiteY7" fmla="*/ 16050 h 22408"/>
                <a:gd name="connsiteX8" fmla="*/ 14958 w 17926"/>
                <a:gd name="connsiteY8" fmla="*/ 22324 h 22408"/>
                <a:gd name="connsiteX9" fmla="*/ 11820 w 17926"/>
                <a:gd name="connsiteY9" fmla="*/ 23220 h 22408"/>
                <a:gd name="connsiteX10" fmla="*/ 7339 w 17926"/>
                <a:gd name="connsiteY10" fmla="*/ 4397 h 22408"/>
                <a:gd name="connsiteX11" fmla="*/ 5994 w 17926"/>
                <a:gd name="connsiteY11" fmla="*/ 4845 h 22408"/>
                <a:gd name="connsiteX12" fmla="*/ 4202 w 17926"/>
                <a:gd name="connsiteY12" fmla="*/ 7983 h 22408"/>
                <a:gd name="connsiteX13" fmla="*/ 5098 w 17926"/>
                <a:gd name="connsiteY13" fmla="*/ 13809 h 22408"/>
                <a:gd name="connsiteX14" fmla="*/ 12717 w 17926"/>
                <a:gd name="connsiteY14" fmla="*/ 18290 h 22408"/>
                <a:gd name="connsiteX15" fmla="*/ 14510 w 17926"/>
                <a:gd name="connsiteY15" fmla="*/ 15153 h 22408"/>
                <a:gd name="connsiteX16" fmla="*/ 13613 w 17926"/>
                <a:gd name="connsiteY16" fmla="*/ 9327 h 22408"/>
                <a:gd name="connsiteX17" fmla="*/ 13613 w 17926"/>
                <a:gd name="connsiteY17" fmla="*/ 9327 h 22408"/>
                <a:gd name="connsiteX18" fmla="*/ 9580 w 17926"/>
                <a:gd name="connsiteY18" fmla="*/ 4845 h 22408"/>
                <a:gd name="connsiteX19" fmla="*/ 7339 w 17926"/>
                <a:gd name="connsiteY19" fmla="*/ 4397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26" h="22408">
                  <a:moveTo>
                    <a:pt x="11820" y="23220"/>
                  </a:moveTo>
                  <a:cubicBezTo>
                    <a:pt x="7787" y="23220"/>
                    <a:pt x="3753" y="20531"/>
                    <a:pt x="1513" y="15601"/>
                  </a:cubicBezTo>
                  <a:cubicBezTo>
                    <a:pt x="168" y="12912"/>
                    <a:pt x="-280" y="9775"/>
                    <a:pt x="168" y="7086"/>
                  </a:cubicBezTo>
                  <a:cubicBezTo>
                    <a:pt x="616" y="3949"/>
                    <a:pt x="1961" y="1708"/>
                    <a:pt x="4202" y="812"/>
                  </a:cubicBezTo>
                  <a:cubicBezTo>
                    <a:pt x="6442" y="-533"/>
                    <a:pt x="9132" y="-85"/>
                    <a:pt x="11820" y="1260"/>
                  </a:cubicBezTo>
                  <a:cubicBezTo>
                    <a:pt x="14061" y="2605"/>
                    <a:pt x="16302" y="4845"/>
                    <a:pt x="17647" y="7534"/>
                  </a:cubicBezTo>
                  <a:lnTo>
                    <a:pt x="17647" y="7534"/>
                  </a:lnTo>
                  <a:cubicBezTo>
                    <a:pt x="18991" y="10223"/>
                    <a:pt x="19439" y="13361"/>
                    <a:pt x="18991" y="16050"/>
                  </a:cubicBezTo>
                  <a:cubicBezTo>
                    <a:pt x="18543" y="19187"/>
                    <a:pt x="17199" y="21428"/>
                    <a:pt x="14958" y="22324"/>
                  </a:cubicBezTo>
                  <a:cubicBezTo>
                    <a:pt x="14061" y="22772"/>
                    <a:pt x="12717" y="23220"/>
                    <a:pt x="11820" y="23220"/>
                  </a:cubicBezTo>
                  <a:close/>
                  <a:moveTo>
                    <a:pt x="7339" y="4397"/>
                  </a:moveTo>
                  <a:cubicBezTo>
                    <a:pt x="6891" y="4397"/>
                    <a:pt x="6442" y="4397"/>
                    <a:pt x="5994" y="4845"/>
                  </a:cubicBezTo>
                  <a:cubicBezTo>
                    <a:pt x="4650" y="5293"/>
                    <a:pt x="4202" y="7086"/>
                    <a:pt x="4202" y="7983"/>
                  </a:cubicBezTo>
                  <a:cubicBezTo>
                    <a:pt x="3753" y="9775"/>
                    <a:pt x="4202" y="12016"/>
                    <a:pt x="5098" y="13809"/>
                  </a:cubicBezTo>
                  <a:cubicBezTo>
                    <a:pt x="6891" y="17394"/>
                    <a:pt x="10476" y="19635"/>
                    <a:pt x="12717" y="18290"/>
                  </a:cubicBezTo>
                  <a:cubicBezTo>
                    <a:pt x="14061" y="17842"/>
                    <a:pt x="14510" y="16050"/>
                    <a:pt x="14510" y="15153"/>
                  </a:cubicBezTo>
                  <a:cubicBezTo>
                    <a:pt x="14958" y="13361"/>
                    <a:pt x="14510" y="11120"/>
                    <a:pt x="13613" y="9327"/>
                  </a:cubicBezTo>
                  <a:lnTo>
                    <a:pt x="13613" y="9327"/>
                  </a:lnTo>
                  <a:cubicBezTo>
                    <a:pt x="12717" y="7534"/>
                    <a:pt x="11372" y="5742"/>
                    <a:pt x="9580" y="4845"/>
                  </a:cubicBezTo>
                  <a:cubicBezTo>
                    <a:pt x="9132" y="4845"/>
                    <a:pt x="8235" y="4397"/>
                    <a:pt x="7339" y="4397"/>
                  </a:cubicBezTo>
                  <a:close/>
                </a:path>
              </a:pathLst>
            </a:custGeom>
            <a:solidFill>
              <a:srgbClr val="231F20"/>
            </a:solidFill>
            <a:ln w="4477" cap="flat">
              <a:noFill/>
              <a:prstDash val="solid"/>
              <a:miter/>
            </a:ln>
          </p:spPr>
          <p:txBody>
            <a:bodyPr rtlCol="0" anchor="ctr"/>
            <a:lstStyle/>
            <a:p>
              <a:endParaRPr lang="en-US"/>
            </a:p>
          </p:txBody>
        </p:sp>
        <p:sp>
          <p:nvSpPr>
            <p:cNvPr id="5466" name="Freeform: Shape 5465">
              <a:extLst>
                <a:ext uri="{FF2B5EF4-FFF2-40B4-BE49-F238E27FC236}">
                  <a16:creationId xmlns:a16="http://schemas.microsoft.com/office/drawing/2014/main" id="{1E15B058-1E21-4665-843D-4D2F8110ED3E}"/>
                </a:ext>
              </a:extLst>
            </p:cNvPr>
            <p:cNvSpPr/>
            <p:nvPr/>
          </p:nvSpPr>
          <p:spPr>
            <a:xfrm>
              <a:off x="8871274" y="1785677"/>
              <a:ext cx="22409" cy="22409"/>
            </a:xfrm>
            <a:custGeom>
              <a:avLst/>
              <a:gdLst>
                <a:gd name="connsiteX0" fmla="*/ 11918 w 22408"/>
                <a:gd name="connsiteY0" fmla="*/ 23571 h 22408"/>
                <a:gd name="connsiteX1" fmla="*/ 4748 w 22408"/>
                <a:gd name="connsiteY1" fmla="*/ 21330 h 22408"/>
                <a:gd name="connsiteX2" fmla="*/ 2507 w 22408"/>
                <a:gd name="connsiteY2" fmla="*/ 4748 h 22408"/>
                <a:gd name="connsiteX3" fmla="*/ 19089 w 22408"/>
                <a:gd name="connsiteY3" fmla="*/ 2507 h 22408"/>
                <a:gd name="connsiteX4" fmla="*/ 21330 w 22408"/>
                <a:gd name="connsiteY4" fmla="*/ 19089 h 22408"/>
                <a:gd name="connsiteX5" fmla="*/ 21330 w 22408"/>
                <a:gd name="connsiteY5" fmla="*/ 19089 h 22408"/>
                <a:gd name="connsiteX6" fmla="*/ 13711 w 22408"/>
                <a:gd name="connsiteY6" fmla="*/ 23571 h 22408"/>
                <a:gd name="connsiteX7" fmla="*/ 11918 w 22408"/>
                <a:gd name="connsiteY7" fmla="*/ 23571 h 22408"/>
                <a:gd name="connsiteX8" fmla="*/ 11918 w 22408"/>
                <a:gd name="connsiteY8" fmla="*/ 4299 h 22408"/>
                <a:gd name="connsiteX9" fmla="*/ 6092 w 22408"/>
                <a:gd name="connsiteY9" fmla="*/ 6988 h 22408"/>
                <a:gd name="connsiteX10" fmla="*/ 7437 w 22408"/>
                <a:gd name="connsiteY10" fmla="*/ 17296 h 22408"/>
                <a:gd name="connsiteX11" fmla="*/ 12815 w 22408"/>
                <a:gd name="connsiteY11" fmla="*/ 18641 h 22408"/>
                <a:gd name="connsiteX12" fmla="*/ 17744 w 22408"/>
                <a:gd name="connsiteY12" fmla="*/ 15952 h 22408"/>
                <a:gd name="connsiteX13" fmla="*/ 17744 w 22408"/>
                <a:gd name="connsiteY13" fmla="*/ 15952 h 22408"/>
                <a:gd name="connsiteX14" fmla="*/ 16400 w 22408"/>
                <a:gd name="connsiteY14" fmla="*/ 5644 h 22408"/>
                <a:gd name="connsiteX15" fmla="*/ 11918 w 22408"/>
                <a:gd name="connsiteY15" fmla="*/ 4299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11918" y="23571"/>
                  </a:moveTo>
                  <a:cubicBezTo>
                    <a:pt x="9229" y="23571"/>
                    <a:pt x="6988" y="22674"/>
                    <a:pt x="4748" y="21330"/>
                  </a:cubicBezTo>
                  <a:cubicBezTo>
                    <a:pt x="-630" y="17296"/>
                    <a:pt x="-1527" y="10126"/>
                    <a:pt x="2507" y="4748"/>
                  </a:cubicBezTo>
                  <a:cubicBezTo>
                    <a:pt x="6540" y="-631"/>
                    <a:pt x="13711" y="-1527"/>
                    <a:pt x="19089" y="2507"/>
                  </a:cubicBezTo>
                  <a:cubicBezTo>
                    <a:pt x="24467" y="6540"/>
                    <a:pt x="25363" y="13711"/>
                    <a:pt x="21330" y="19089"/>
                  </a:cubicBezTo>
                  <a:lnTo>
                    <a:pt x="21330" y="19089"/>
                  </a:lnTo>
                  <a:cubicBezTo>
                    <a:pt x="19537" y="21778"/>
                    <a:pt x="16848" y="23123"/>
                    <a:pt x="13711" y="23571"/>
                  </a:cubicBezTo>
                  <a:cubicBezTo>
                    <a:pt x="12815" y="23571"/>
                    <a:pt x="12367" y="23571"/>
                    <a:pt x="11918" y="23571"/>
                  </a:cubicBezTo>
                  <a:close/>
                  <a:moveTo>
                    <a:pt x="11918" y="4299"/>
                  </a:moveTo>
                  <a:cubicBezTo>
                    <a:pt x="9677" y="4299"/>
                    <a:pt x="7437" y="5196"/>
                    <a:pt x="6092" y="6988"/>
                  </a:cubicBezTo>
                  <a:cubicBezTo>
                    <a:pt x="3851" y="10126"/>
                    <a:pt x="4299" y="14607"/>
                    <a:pt x="7437" y="17296"/>
                  </a:cubicBezTo>
                  <a:cubicBezTo>
                    <a:pt x="8781" y="18641"/>
                    <a:pt x="11022" y="19089"/>
                    <a:pt x="12815" y="18641"/>
                  </a:cubicBezTo>
                  <a:cubicBezTo>
                    <a:pt x="14607" y="18193"/>
                    <a:pt x="16400" y="17296"/>
                    <a:pt x="17744" y="15952"/>
                  </a:cubicBezTo>
                  <a:cubicBezTo>
                    <a:pt x="17744" y="15952"/>
                    <a:pt x="17744" y="15952"/>
                    <a:pt x="17744" y="15952"/>
                  </a:cubicBezTo>
                  <a:cubicBezTo>
                    <a:pt x="19985" y="12815"/>
                    <a:pt x="19537" y="8333"/>
                    <a:pt x="16400" y="5644"/>
                  </a:cubicBezTo>
                  <a:cubicBezTo>
                    <a:pt x="15055" y="4748"/>
                    <a:pt x="13263" y="4299"/>
                    <a:pt x="11918" y="4299"/>
                  </a:cubicBezTo>
                  <a:close/>
                </a:path>
              </a:pathLst>
            </a:custGeom>
            <a:solidFill>
              <a:srgbClr val="231F20"/>
            </a:solidFill>
            <a:ln w="4477" cap="flat">
              <a:noFill/>
              <a:prstDash val="solid"/>
              <a:miter/>
            </a:ln>
          </p:spPr>
          <p:txBody>
            <a:bodyPr rtlCol="0" anchor="ctr"/>
            <a:lstStyle/>
            <a:p>
              <a:endParaRPr lang="en-US"/>
            </a:p>
          </p:txBody>
        </p:sp>
      </p:grpSp>
      <p:grpSp>
        <p:nvGrpSpPr>
          <p:cNvPr id="2464" name="Group 2463">
            <a:extLst>
              <a:ext uri="{FF2B5EF4-FFF2-40B4-BE49-F238E27FC236}">
                <a16:creationId xmlns:a16="http://schemas.microsoft.com/office/drawing/2014/main" id="{4D4BBE6F-17E3-4D9E-A87E-78675D146DAD}"/>
              </a:ext>
              <a:ext uri="{C183D7F6-B498-43B3-948B-1728B52AA6E4}">
                <adec:decorative xmlns:adec="http://schemas.microsoft.com/office/drawing/2017/decorative" val="1"/>
              </a:ext>
            </a:extLst>
          </p:cNvPr>
          <p:cNvGrpSpPr>
            <a:grpSpLocks noChangeAspect="1"/>
          </p:cNvGrpSpPr>
          <p:nvPr/>
        </p:nvGrpSpPr>
        <p:grpSpPr>
          <a:xfrm>
            <a:off x="7743738" y="3835639"/>
            <a:ext cx="152378" cy="129969"/>
            <a:chOff x="7800238" y="1779948"/>
            <a:chExt cx="152378" cy="129969"/>
          </a:xfrm>
        </p:grpSpPr>
        <p:sp>
          <p:nvSpPr>
            <p:cNvPr id="5459" name="Freeform: Shape 5458">
              <a:extLst>
                <a:ext uri="{FF2B5EF4-FFF2-40B4-BE49-F238E27FC236}">
                  <a16:creationId xmlns:a16="http://schemas.microsoft.com/office/drawing/2014/main" id="{4CE2AEFB-02B1-4BEB-93E5-C4B8BEDDB618}"/>
                </a:ext>
              </a:extLst>
            </p:cNvPr>
            <p:cNvSpPr/>
            <p:nvPr/>
          </p:nvSpPr>
          <p:spPr>
            <a:xfrm>
              <a:off x="7800238" y="1779948"/>
              <a:ext cx="152378" cy="129969"/>
            </a:xfrm>
            <a:custGeom>
              <a:avLst/>
              <a:gdLst>
                <a:gd name="connsiteX0" fmla="*/ 109976 w 152377"/>
                <a:gd name="connsiteY0" fmla="*/ 134171 h 129969"/>
                <a:gd name="connsiteX1" fmla="*/ 109976 w 152377"/>
                <a:gd name="connsiteY1" fmla="*/ 134171 h 129969"/>
                <a:gd name="connsiteX2" fmla="*/ 92497 w 152377"/>
                <a:gd name="connsiteY2" fmla="*/ 134171 h 129969"/>
                <a:gd name="connsiteX3" fmla="*/ 90256 w 152377"/>
                <a:gd name="connsiteY3" fmla="*/ 131930 h 129969"/>
                <a:gd name="connsiteX4" fmla="*/ 90256 w 152377"/>
                <a:gd name="connsiteY4" fmla="*/ 119830 h 129969"/>
                <a:gd name="connsiteX5" fmla="*/ 89808 w 152377"/>
                <a:gd name="connsiteY5" fmla="*/ 118485 h 129969"/>
                <a:gd name="connsiteX6" fmla="*/ 88464 w 152377"/>
                <a:gd name="connsiteY6" fmla="*/ 118037 h 129969"/>
                <a:gd name="connsiteX7" fmla="*/ 88464 w 152377"/>
                <a:gd name="connsiteY7" fmla="*/ 118037 h 129969"/>
                <a:gd name="connsiteX8" fmla="*/ 51266 w 152377"/>
                <a:gd name="connsiteY8" fmla="*/ 118037 h 129969"/>
                <a:gd name="connsiteX9" fmla="*/ 49473 w 152377"/>
                <a:gd name="connsiteY9" fmla="*/ 119830 h 129969"/>
                <a:gd name="connsiteX10" fmla="*/ 49473 w 152377"/>
                <a:gd name="connsiteY10" fmla="*/ 131930 h 129969"/>
                <a:gd name="connsiteX11" fmla="*/ 47232 w 152377"/>
                <a:gd name="connsiteY11" fmla="*/ 134171 h 129969"/>
                <a:gd name="connsiteX12" fmla="*/ 29305 w 152377"/>
                <a:gd name="connsiteY12" fmla="*/ 134171 h 129969"/>
                <a:gd name="connsiteX13" fmla="*/ 27065 w 152377"/>
                <a:gd name="connsiteY13" fmla="*/ 131930 h 129969"/>
                <a:gd name="connsiteX14" fmla="*/ 27065 w 152377"/>
                <a:gd name="connsiteY14" fmla="*/ 115348 h 129969"/>
                <a:gd name="connsiteX15" fmla="*/ 23031 w 152377"/>
                <a:gd name="connsiteY15" fmla="*/ 109522 h 129969"/>
                <a:gd name="connsiteX16" fmla="*/ 174 w 152377"/>
                <a:gd name="connsiteY16" fmla="*/ 62464 h 129969"/>
                <a:gd name="connsiteX17" fmla="*/ 38717 w 152377"/>
                <a:gd name="connsiteY17" fmla="*/ 11372 h 129969"/>
                <a:gd name="connsiteX18" fmla="*/ 101013 w 152377"/>
                <a:gd name="connsiteY18" fmla="*/ 11372 h 129969"/>
                <a:gd name="connsiteX19" fmla="*/ 105046 w 152377"/>
                <a:gd name="connsiteY19" fmla="*/ 11372 h 129969"/>
                <a:gd name="connsiteX20" fmla="*/ 114010 w 152377"/>
                <a:gd name="connsiteY20" fmla="*/ 1513 h 129969"/>
                <a:gd name="connsiteX21" fmla="*/ 118939 w 152377"/>
                <a:gd name="connsiteY21" fmla="*/ 168 h 129969"/>
                <a:gd name="connsiteX22" fmla="*/ 122077 w 152377"/>
                <a:gd name="connsiteY22" fmla="*/ 4650 h 129969"/>
                <a:gd name="connsiteX23" fmla="*/ 122077 w 152377"/>
                <a:gd name="connsiteY23" fmla="*/ 25714 h 129969"/>
                <a:gd name="connsiteX24" fmla="*/ 123869 w 152377"/>
                <a:gd name="connsiteY24" fmla="*/ 27506 h 129969"/>
                <a:gd name="connsiteX25" fmla="*/ 134625 w 152377"/>
                <a:gd name="connsiteY25" fmla="*/ 40952 h 129969"/>
                <a:gd name="connsiteX26" fmla="*/ 139107 w 152377"/>
                <a:gd name="connsiteY26" fmla="*/ 44089 h 129969"/>
                <a:gd name="connsiteX27" fmla="*/ 143589 w 152377"/>
                <a:gd name="connsiteY27" fmla="*/ 44089 h 129969"/>
                <a:gd name="connsiteX28" fmla="*/ 152552 w 152377"/>
                <a:gd name="connsiteY28" fmla="*/ 54397 h 129969"/>
                <a:gd name="connsiteX29" fmla="*/ 148967 w 152377"/>
                <a:gd name="connsiteY29" fmla="*/ 77253 h 129969"/>
                <a:gd name="connsiteX30" fmla="*/ 148070 w 152377"/>
                <a:gd name="connsiteY30" fmla="*/ 79494 h 129969"/>
                <a:gd name="connsiteX31" fmla="*/ 141796 w 152377"/>
                <a:gd name="connsiteY31" fmla="*/ 85320 h 129969"/>
                <a:gd name="connsiteX32" fmla="*/ 138659 w 152377"/>
                <a:gd name="connsiteY32" fmla="*/ 85769 h 129969"/>
                <a:gd name="connsiteX33" fmla="*/ 135970 w 152377"/>
                <a:gd name="connsiteY33" fmla="*/ 86217 h 129969"/>
                <a:gd name="connsiteX34" fmla="*/ 135073 w 152377"/>
                <a:gd name="connsiteY34" fmla="*/ 88458 h 129969"/>
                <a:gd name="connsiteX35" fmla="*/ 134625 w 152377"/>
                <a:gd name="connsiteY35" fmla="*/ 88906 h 129969"/>
                <a:gd name="connsiteX36" fmla="*/ 116250 w 152377"/>
                <a:gd name="connsiteY36" fmla="*/ 109970 h 129969"/>
                <a:gd name="connsiteX37" fmla="*/ 114906 w 152377"/>
                <a:gd name="connsiteY37" fmla="*/ 110866 h 129969"/>
                <a:gd name="connsiteX38" fmla="*/ 112217 w 152377"/>
                <a:gd name="connsiteY38" fmla="*/ 114452 h 129969"/>
                <a:gd name="connsiteX39" fmla="*/ 112217 w 152377"/>
                <a:gd name="connsiteY39" fmla="*/ 132378 h 129969"/>
                <a:gd name="connsiteX40" fmla="*/ 111769 w 152377"/>
                <a:gd name="connsiteY40" fmla="*/ 134171 h 129969"/>
                <a:gd name="connsiteX41" fmla="*/ 109976 w 152377"/>
                <a:gd name="connsiteY41" fmla="*/ 134171 h 129969"/>
                <a:gd name="connsiteX42" fmla="*/ 94738 w 152377"/>
                <a:gd name="connsiteY42" fmla="*/ 129689 h 129969"/>
                <a:gd name="connsiteX43" fmla="*/ 107735 w 152377"/>
                <a:gd name="connsiteY43" fmla="*/ 129689 h 129969"/>
                <a:gd name="connsiteX44" fmla="*/ 107735 w 152377"/>
                <a:gd name="connsiteY44" fmla="*/ 113555 h 129969"/>
                <a:gd name="connsiteX45" fmla="*/ 112665 w 152377"/>
                <a:gd name="connsiteY45" fmla="*/ 106384 h 129969"/>
                <a:gd name="connsiteX46" fmla="*/ 114010 w 152377"/>
                <a:gd name="connsiteY46" fmla="*/ 105488 h 129969"/>
                <a:gd name="connsiteX47" fmla="*/ 130592 w 152377"/>
                <a:gd name="connsiteY47" fmla="*/ 86665 h 129969"/>
                <a:gd name="connsiteX48" fmla="*/ 131040 w 152377"/>
                <a:gd name="connsiteY48" fmla="*/ 86217 h 129969"/>
                <a:gd name="connsiteX49" fmla="*/ 133281 w 152377"/>
                <a:gd name="connsiteY49" fmla="*/ 82183 h 129969"/>
                <a:gd name="connsiteX50" fmla="*/ 138659 w 152377"/>
                <a:gd name="connsiteY50" fmla="*/ 80839 h 129969"/>
                <a:gd name="connsiteX51" fmla="*/ 140900 w 152377"/>
                <a:gd name="connsiteY51" fmla="*/ 80391 h 129969"/>
                <a:gd name="connsiteX52" fmla="*/ 144485 w 152377"/>
                <a:gd name="connsiteY52" fmla="*/ 77253 h 129969"/>
                <a:gd name="connsiteX53" fmla="*/ 144933 w 152377"/>
                <a:gd name="connsiteY53" fmla="*/ 75909 h 129969"/>
                <a:gd name="connsiteX54" fmla="*/ 148519 w 152377"/>
                <a:gd name="connsiteY54" fmla="*/ 53500 h 129969"/>
                <a:gd name="connsiteX55" fmla="*/ 144037 w 152377"/>
                <a:gd name="connsiteY55" fmla="*/ 48122 h 129969"/>
                <a:gd name="connsiteX56" fmla="*/ 139555 w 152377"/>
                <a:gd name="connsiteY56" fmla="*/ 48122 h 129969"/>
                <a:gd name="connsiteX57" fmla="*/ 131040 w 152377"/>
                <a:gd name="connsiteY57" fmla="*/ 42744 h 129969"/>
                <a:gd name="connsiteX58" fmla="*/ 121628 w 152377"/>
                <a:gd name="connsiteY58" fmla="*/ 31092 h 129969"/>
                <a:gd name="connsiteX59" fmla="*/ 118939 w 152377"/>
                <a:gd name="connsiteY59" fmla="*/ 28403 h 129969"/>
                <a:gd name="connsiteX60" fmla="*/ 118043 w 152377"/>
                <a:gd name="connsiteY60" fmla="*/ 26610 h 129969"/>
                <a:gd name="connsiteX61" fmla="*/ 118043 w 152377"/>
                <a:gd name="connsiteY61" fmla="*/ 4650 h 129969"/>
                <a:gd name="connsiteX62" fmla="*/ 117595 w 152377"/>
                <a:gd name="connsiteY62" fmla="*/ 4202 h 129969"/>
                <a:gd name="connsiteX63" fmla="*/ 107735 w 152377"/>
                <a:gd name="connsiteY63" fmla="*/ 14958 h 129969"/>
                <a:gd name="connsiteX64" fmla="*/ 105942 w 152377"/>
                <a:gd name="connsiteY64" fmla="*/ 15854 h 129969"/>
                <a:gd name="connsiteX65" fmla="*/ 101013 w 152377"/>
                <a:gd name="connsiteY65" fmla="*/ 15854 h 129969"/>
                <a:gd name="connsiteX66" fmla="*/ 100564 w 152377"/>
                <a:gd name="connsiteY66" fmla="*/ 15854 h 129969"/>
                <a:gd name="connsiteX67" fmla="*/ 39613 w 152377"/>
                <a:gd name="connsiteY67" fmla="*/ 15854 h 129969"/>
                <a:gd name="connsiteX68" fmla="*/ 4656 w 152377"/>
                <a:gd name="connsiteY68" fmla="*/ 62912 h 129969"/>
                <a:gd name="connsiteX69" fmla="*/ 25720 w 152377"/>
                <a:gd name="connsiteY69" fmla="*/ 105936 h 129969"/>
                <a:gd name="connsiteX70" fmla="*/ 31546 w 152377"/>
                <a:gd name="connsiteY70" fmla="*/ 115796 h 129969"/>
                <a:gd name="connsiteX71" fmla="*/ 31546 w 152377"/>
                <a:gd name="connsiteY71" fmla="*/ 130137 h 129969"/>
                <a:gd name="connsiteX72" fmla="*/ 44991 w 152377"/>
                <a:gd name="connsiteY72" fmla="*/ 130137 h 129969"/>
                <a:gd name="connsiteX73" fmla="*/ 44991 w 152377"/>
                <a:gd name="connsiteY73" fmla="*/ 119830 h 129969"/>
                <a:gd name="connsiteX74" fmla="*/ 51266 w 152377"/>
                <a:gd name="connsiteY74" fmla="*/ 113555 h 129969"/>
                <a:gd name="connsiteX75" fmla="*/ 88464 w 152377"/>
                <a:gd name="connsiteY75" fmla="*/ 113555 h 129969"/>
                <a:gd name="connsiteX76" fmla="*/ 92945 w 152377"/>
                <a:gd name="connsiteY76" fmla="*/ 115348 h 129969"/>
                <a:gd name="connsiteX77" fmla="*/ 94738 w 152377"/>
                <a:gd name="connsiteY77" fmla="*/ 119830 h 129969"/>
                <a:gd name="connsiteX78" fmla="*/ 94738 w 152377"/>
                <a:gd name="connsiteY78" fmla="*/ 129689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52377" h="129969">
                  <a:moveTo>
                    <a:pt x="109976" y="134171"/>
                  </a:moveTo>
                  <a:lnTo>
                    <a:pt x="109976" y="134171"/>
                  </a:lnTo>
                  <a:lnTo>
                    <a:pt x="92497" y="134171"/>
                  </a:lnTo>
                  <a:cubicBezTo>
                    <a:pt x="91153" y="134171"/>
                    <a:pt x="90256" y="133275"/>
                    <a:pt x="90256" y="131930"/>
                  </a:cubicBezTo>
                  <a:lnTo>
                    <a:pt x="90256" y="119830"/>
                  </a:lnTo>
                  <a:cubicBezTo>
                    <a:pt x="90256" y="119381"/>
                    <a:pt x="90256" y="118933"/>
                    <a:pt x="89808" y="118485"/>
                  </a:cubicBezTo>
                  <a:cubicBezTo>
                    <a:pt x="89360" y="118037"/>
                    <a:pt x="88912" y="118037"/>
                    <a:pt x="88464" y="118037"/>
                  </a:cubicBezTo>
                  <a:cubicBezTo>
                    <a:pt x="88464" y="118037"/>
                    <a:pt x="88464" y="118037"/>
                    <a:pt x="88464" y="118037"/>
                  </a:cubicBezTo>
                  <a:lnTo>
                    <a:pt x="51266" y="118037"/>
                  </a:lnTo>
                  <a:cubicBezTo>
                    <a:pt x="50369" y="118037"/>
                    <a:pt x="49473" y="118933"/>
                    <a:pt x="49473" y="119830"/>
                  </a:cubicBezTo>
                  <a:lnTo>
                    <a:pt x="49473" y="131930"/>
                  </a:lnTo>
                  <a:cubicBezTo>
                    <a:pt x="49473" y="133275"/>
                    <a:pt x="48577" y="134171"/>
                    <a:pt x="47232" y="134171"/>
                  </a:cubicBezTo>
                  <a:lnTo>
                    <a:pt x="29305" y="134171"/>
                  </a:lnTo>
                  <a:cubicBezTo>
                    <a:pt x="27961" y="134171"/>
                    <a:pt x="27065" y="133275"/>
                    <a:pt x="27065" y="131930"/>
                  </a:cubicBezTo>
                  <a:lnTo>
                    <a:pt x="27065" y="115348"/>
                  </a:lnTo>
                  <a:cubicBezTo>
                    <a:pt x="27065" y="113107"/>
                    <a:pt x="26616" y="111314"/>
                    <a:pt x="23031" y="109522"/>
                  </a:cubicBezTo>
                  <a:cubicBezTo>
                    <a:pt x="-1618" y="93388"/>
                    <a:pt x="-274" y="63808"/>
                    <a:pt x="174" y="62464"/>
                  </a:cubicBezTo>
                  <a:cubicBezTo>
                    <a:pt x="174" y="38263"/>
                    <a:pt x="15860" y="17199"/>
                    <a:pt x="38717" y="11372"/>
                  </a:cubicBezTo>
                  <a:cubicBezTo>
                    <a:pt x="39613" y="10924"/>
                    <a:pt x="62470" y="5994"/>
                    <a:pt x="101013" y="11372"/>
                  </a:cubicBezTo>
                  <a:lnTo>
                    <a:pt x="105046" y="11372"/>
                  </a:lnTo>
                  <a:lnTo>
                    <a:pt x="114010" y="1513"/>
                  </a:lnTo>
                  <a:cubicBezTo>
                    <a:pt x="115354" y="168"/>
                    <a:pt x="117147" y="-280"/>
                    <a:pt x="118939" y="168"/>
                  </a:cubicBezTo>
                  <a:cubicBezTo>
                    <a:pt x="120732" y="1064"/>
                    <a:pt x="122077" y="2857"/>
                    <a:pt x="122077" y="4650"/>
                  </a:cubicBezTo>
                  <a:lnTo>
                    <a:pt x="122077" y="25714"/>
                  </a:lnTo>
                  <a:cubicBezTo>
                    <a:pt x="122525" y="26162"/>
                    <a:pt x="123421" y="27058"/>
                    <a:pt x="123869" y="27506"/>
                  </a:cubicBezTo>
                  <a:cubicBezTo>
                    <a:pt x="128351" y="31540"/>
                    <a:pt x="131936" y="35125"/>
                    <a:pt x="134625" y="40952"/>
                  </a:cubicBezTo>
                  <a:cubicBezTo>
                    <a:pt x="135522" y="42744"/>
                    <a:pt x="137314" y="44089"/>
                    <a:pt x="139107" y="44089"/>
                  </a:cubicBezTo>
                  <a:lnTo>
                    <a:pt x="143589" y="44089"/>
                  </a:lnTo>
                  <a:cubicBezTo>
                    <a:pt x="148967" y="44089"/>
                    <a:pt x="152552" y="48122"/>
                    <a:pt x="152552" y="54397"/>
                  </a:cubicBezTo>
                  <a:lnTo>
                    <a:pt x="148967" y="77253"/>
                  </a:lnTo>
                  <a:cubicBezTo>
                    <a:pt x="148967" y="78150"/>
                    <a:pt x="148519" y="78598"/>
                    <a:pt x="148070" y="79494"/>
                  </a:cubicBezTo>
                  <a:cubicBezTo>
                    <a:pt x="146726" y="82183"/>
                    <a:pt x="144485" y="84424"/>
                    <a:pt x="141796" y="85320"/>
                  </a:cubicBezTo>
                  <a:cubicBezTo>
                    <a:pt x="140900" y="85769"/>
                    <a:pt x="139555" y="85769"/>
                    <a:pt x="138659" y="85769"/>
                  </a:cubicBezTo>
                  <a:cubicBezTo>
                    <a:pt x="137314" y="85769"/>
                    <a:pt x="136418" y="85769"/>
                    <a:pt x="135970" y="86217"/>
                  </a:cubicBezTo>
                  <a:cubicBezTo>
                    <a:pt x="135522" y="86665"/>
                    <a:pt x="135073" y="87561"/>
                    <a:pt x="135073" y="88458"/>
                  </a:cubicBezTo>
                  <a:lnTo>
                    <a:pt x="134625" y="88906"/>
                  </a:lnTo>
                  <a:cubicBezTo>
                    <a:pt x="130144" y="99214"/>
                    <a:pt x="126110" y="104144"/>
                    <a:pt x="116250" y="109970"/>
                  </a:cubicBezTo>
                  <a:cubicBezTo>
                    <a:pt x="115802" y="110418"/>
                    <a:pt x="115354" y="110418"/>
                    <a:pt x="114906" y="110866"/>
                  </a:cubicBezTo>
                  <a:cubicBezTo>
                    <a:pt x="113113" y="111762"/>
                    <a:pt x="112665" y="112211"/>
                    <a:pt x="112217" y="114452"/>
                  </a:cubicBezTo>
                  <a:lnTo>
                    <a:pt x="112217" y="132378"/>
                  </a:lnTo>
                  <a:cubicBezTo>
                    <a:pt x="112217" y="132826"/>
                    <a:pt x="111769" y="133723"/>
                    <a:pt x="111769" y="134171"/>
                  </a:cubicBezTo>
                  <a:cubicBezTo>
                    <a:pt x="111769" y="134619"/>
                    <a:pt x="110424" y="134171"/>
                    <a:pt x="109976" y="134171"/>
                  </a:cubicBezTo>
                  <a:close/>
                  <a:moveTo>
                    <a:pt x="94738" y="129689"/>
                  </a:moveTo>
                  <a:lnTo>
                    <a:pt x="107735" y="129689"/>
                  </a:lnTo>
                  <a:lnTo>
                    <a:pt x="107735" y="113555"/>
                  </a:lnTo>
                  <a:cubicBezTo>
                    <a:pt x="108183" y="108625"/>
                    <a:pt x="110424" y="107281"/>
                    <a:pt x="112665" y="106384"/>
                  </a:cubicBezTo>
                  <a:cubicBezTo>
                    <a:pt x="113113" y="106384"/>
                    <a:pt x="113561" y="105936"/>
                    <a:pt x="114010" y="105488"/>
                  </a:cubicBezTo>
                  <a:cubicBezTo>
                    <a:pt x="122973" y="100110"/>
                    <a:pt x="126558" y="96076"/>
                    <a:pt x="130592" y="86665"/>
                  </a:cubicBezTo>
                  <a:lnTo>
                    <a:pt x="131040" y="86217"/>
                  </a:lnTo>
                  <a:cubicBezTo>
                    <a:pt x="131488" y="84872"/>
                    <a:pt x="131936" y="83528"/>
                    <a:pt x="133281" y="82183"/>
                  </a:cubicBezTo>
                  <a:cubicBezTo>
                    <a:pt x="135073" y="80839"/>
                    <a:pt x="136866" y="80839"/>
                    <a:pt x="138659" y="80839"/>
                  </a:cubicBezTo>
                  <a:cubicBezTo>
                    <a:pt x="139555" y="80839"/>
                    <a:pt x="140452" y="80839"/>
                    <a:pt x="140900" y="80391"/>
                  </a:cubicBezTo>
                  <a:cubicBezTo>
                    <a:pt x="142244" y="79942"/>
                    <a:pt x="143589" y="78598"/>
                    <a:pt x="144485" y="77253"/>
                  </a:cubicBezTo>
                  <a:cubicBezTo>
                    <a:pt x="144485" y="76805"/>
                    <a:pt x="144933" y="76357"/>
                    <a:pt x="144933" y="75909"/>
                  </a:cubicBezTo>
                  <a:lnTo>
                    <a:pt x="148519" y="53500"/>
                  </a:lnTo>
                  <a:cubicBezTo>
                    <a:pt x="148519" y="51259"/>
                    <a:pt x="147622" y="48122"/>
                    <a:pt x="144037" y="48122"/>
                  </a:cubicBezTo>
                  <a:lnTo>
                    <a:pt x="139555" y="48122"/>
                  </a:lnTo>
                  <a:cubicBezTo>
                    <a:pt x="135970" y="48122"/>
                    <a:pt x="132385" y="45881"/>
                    <a:pt x="131040" y="42744"/>
                  </a:cubicBezTo>
                  <a:cubicBezTo>
                    <a:pt x="128799" y="37814"/>
                    <a:pt x="125662" y="34677"/>
                    <a:pt x="121628" y="31092"/>
                  </a:cubicBezTo>
                  <a:cubicBezTo>
                    <a:pt x="120732" y="30195"/>
                    <a:pt x="119836" y="29299"/>
                    <a:pt x="118939" y="28403"/>
                  </a:cubicBezTo>
                  <a:cubicBezTo>
                    <a:pt x="118491" y="27955"/>
                    <a:pt x="118043" y="27506"/>
                    <a:pt x="118043" y="26610"/>
                  </a:cubicBezTo>
                  <a:lnTo>
                    <a:pt x="118043" y="4650"/>
                  </a:lnTo>
                  <a:lnTo>
                    <a:pt x="117595" y="4202"/>
                  </a:lnTo>
                  <a:lnTo>
                    <a:pt x="107735" y="14958"/>
                  </a:lnTo>
                  <a:cubicBezTo>
                    <a:pt x="107287" y="15406"/>
                    <a:pt x="106839" y="15854"/>
                    <a:pt x="105942" y="15854"/>
                  </a:cubicBezTo>
                  <a:lnTo>
                    <a:pt x="101013" y="15854"/>
                  </a:lnTo>
                  <a:cubicBezTo>
                    <a:pt x="101013" y="15854"/>
                    <a:pt x="101013" y="15854"/>
                    <a:pt x="100564" y="15854"/>
                  </a:cubicBezTo>
                  <a:cubicBezTo>
                    <a:pt x="62918" y="10476"/>
                    <a:pt x="40061" y="15854"/>
                    <a:pt x="39613" y="15854"/>
                  </a:cubicBezTo>
                  <a:cubicBezTo>
                    <a:pt x="19446" y="20784"/>
                    <a:pt x="4656" y="40503"/>
                    <a:pt x="4656" y="62912"/>
                  </a:cubicBezTo>
                  <a:cubicBezTo>
                    <a:pt x="4656" y="63360"/>
                    <a:pt x="3311" y="91147"/>
                    <a:pt x="25720" y="105936"/>
                  </a:cubicBezTo>
                  <a:cubicBezTo>
                    <a:pt x="29753" y="108625"/>
                    <a:pt x="31546" y="111762"/>
                    <a:pt x="31546" y="115796"/>
                  </a:cubicBezTo>
                  <a:lnTo>
                    <a:pt x="31546" y="130137"/>
                  </a:lnTo>
                  <a:lnTo>
                    <a:pt x="44991" y="130137"/>
                  </a:lnTo>
                  <a:lnTo>
                    <a:pt x="44991" y="119830"/>
                  </a:lnTo>
                  <a:cubicBezTo>
                    <a:pt x="44991" y="116244"/>
                    <a:pt x="47680" y="113555"/>
                    <a:pt x="51266" y="113555"/>
                  </a:cubicBezTo>
                  <a:lnTo>
                    <a:pt x="88464" y="113555"/>
                  </a:lnTo>
                  <a:cubicBezTo>
                    <a:pt x="90256" y="113555"/>
                    <a:pt x="91601" y="114003"/>
                    <a:pt x="92945" y="115348"/>
                  </a:cubicBezTo>
                  <a:cubicBezTo>
                    <a:pt x="94290" y="116692"/>
                    <a:pt x="94738" y="118037"/>
                    <a:pt x="94738" y="119830"/>
                  </a:cubicBezTo>
                  <a:lnTo>
                    <a:pt x="94738" y="129689"/>
                  </a:lnTo>
                  <a:close/>
                </a:path>
              </a:pathLst>
            </a:custGeom>
            <a:solidFill>
              <a:srgbClr val="231F20"/>
            </a:solidFill>
            <a:ln w="4477" cap="flat">
              <a:noFill/>
              <a:prstDash val="solid"/>
              <a:miter/>
            </a:ln>
          </p:spPr>
          <p:txBody>
            <a:bodyPr rtlCol="0" anchor="ctr"/>
            <a:lstStyle/>
            <a:p>
              <a:endParaRPr lang="en-US"/>
            </a:p>
          </p:txBody>
        </p:sp>
        <p:sp>
          <p:nvSpPr>
            <p:cNvPr id="5460" name="Freeform: Shape 5459">
              <a:extLst>
                <a:ext uri="{FF2B5EF4-FFF2-40B4-BE49-F238E27FC236}">
                  <a16:creationId xmlns:a16="http://schemas.microsoft.com/office/drawing/2014/main" id="{F63B9F23-2795-4BBF-A8A5-07F9867C7D21}"/>
                </a:ext>
              </a:extLst>
            </p:cNvPr>
            <p:cNvSpPr/>
            <p:nvPr/>
          </p:nvSpPr>
          <p:spPr>
            <a:xfrm>
              <a:off x="7917833" y="1819555"/>
              <a:ext cx="4482" cy="8963"/>
            </a:xfrm>
            <a:custGeom>
              <a:avLst/>
              <a:gdLst>
                <a:gd name="connsiteX0" fmla="*/ 2241 w 4481"/>
                <a:gd name="connsiteY0" fmla="*/ 12549 h 8963"/>
                <a:gd name="connsiteX1" fmla="*/ 0 w 4481"/>
                <a:gd name="connsiteY1" fmla="*/ 10308 h 8963"/>
                <a:gd name="connsiteX2" fmla="*/ 0 w 4481"/>
                <a:gd name="connsiteY2" fmla="*/ 2241 h 8963"/>
                <a:gd name="connsiteX3" fmla="*/ 2241 w 4481"/>
                <a:gd name="connsiteY3" fmla="*/ 0 h 8963"/>
                <a:gd name="connsiteX4" fmla="*/ 4482 w 4481"/>
                <a:gd name="connsiteY4" fmla="*/ 2241 h 8963"/>
                <a:gd name="connsiteX5" fmla="*/ 4482 w 4481"/>
                <a:gd name="connsiteY5" fmla="*/ 10308 h 8963"/>
                <a:gd name="connsiteX6" fmla="*/ 2241 w 4481"/>
                <a:gd name="connsiteY6" fmla="*/ 12549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12549"/>
                  </a:moveTo>
                  <a:cubicBezTo>
                    <a:pt x="896" y="12549"/>
                    <a:pt x="0" y="11652"/>
                    <a:pt x="0" y="10308"/>
                  </a:cubicBezTo>
                  <a:lnTo>
                    <a:pt x="0" y="2241"/>
                  </a:lnTo>
                  <a:cubicBezTo>
                    <a:pt x="0" y="896"/>
                    <a:pt x="896" y="0"/>
                    <a:pt x="2241" y="0"/>
                  </a:cubicBezTo>
                  <a:cubicBezTo>
                    <a:pt x="3585" y="0"/>
                    <a:pt x="4482" y="896"/>
                    <a:pt x="4482" y="2241"/>
                  </a:cubicBezTo>
                  <a:lnTo>
                    <a:pt x="4482" y="10308"/>
                  </a:lnTo>
                  <a:cubicBezTo>
                    <a:pt x="4482" y="11652"/>
                    <a:pt x="3585" y="12549"/>
                    <a:pt x="2241" y="12549"/>
                  </a:cubicBezTo>
                  <a:close/>
                </a:path>
              </a:pathLst>
            </a:custGeom>
            <a:solidFill>
              <a:srgbClr val="231F20"/>
            </a:solidFill>
            <a:ln w="4477" cap="flat">
              <a:noFill/>
              <a:prstDash val="solid"/>
              <a:miter/>
            </a:ln>
          </p:spPr>
          <p:txBody>
            <a:bodyPr rtlCol="0" anchor="ctr"/>
            <a:lstStyle/>
            <a:p>
              <a:endParaRPr lang="en-US"/>
            </a:p>
          </p:txBody>
        </p:sp>
        <p:sp>
          <p:nvSpPr>
            <p:cNvPr id="5461" name="Freeform: Shape 5460">
              <a:extLst>
                <a:ext uri="{FF2B5EF4-FFF2-40B4-BE49-F238E27FC236}">
                  <a16:creationId xmlns:a16="http://schemas.microsoft.com/office/drawing/2014/main" id="{52A7C262-E96E-4E71-9CEC-E02840F4350B}"/>
                </a:ext>
              </a:extLst>
            </p:cNvPr>
            <p:cNvSpPr/>
            <p:nvPr/>
          </p:nvSpPr>
          <p:spPr>
            <a:xfrm>
              <a:off x="7854077" y="1800396"/>
              <a:ext cx="31372" cy="4482"/>
            </a:xfrm>
            <a:custGeom>
              <a:avLst/>
              <a:gdLst>
                <a:gd name="connsiteX0" fmla="*/ 2357 w 31371"/>
                <a:gd name="connsiteY0" fmla="*/ 6162 h 4481"/>
                <a:gd name="connsiteX1" fmla="*/ 117 w 31371"/>
                <a:gd name="connsiteY1" fmla="*/ 4370 h 4481"/>
                <a:gd name="connsiteX2" fmla="*/ 1909 w 31371"/>
                <a:gd name="connsiteY2" fmla="*/ 1681 h 4481"/>
                <a:gd name="connsiteX3" fmla="*/ 29696 w 31371"/>
                <a:gd name="connsiteY3" fmla="*/ 1681 h 4481"/>
                <a:gd name="connsiteX4" fmla="*/ 31489 w 31371"/>
                <a:gd name="connsiteY4" fmla="*/ 4370 h 4481"/>
                <a:gd name="connsiteX5" fmla="*/ 28799 w 31371"/>
                <a:gd name="connsiteY5" fmla="*/ 6162 h 4481"/>
                <a:gd name="connsiteX6" fmla="*/ 2806 w 31371"/>
                <a:gd name="connsiteY6" fmla="*/ 6162 h 4481"/>
                <a:gd name="connsiteX7" fmla="*/ 2357 w 31371"/>
                <a:gd name="connsiteY7" fmla="*/ 616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71" h="4481">
                  <a:moveTo>
                    <a:pt x="2357" y="6162"/>
                  </a:moveTo>
                  <a:cubicBezTo>
                    <a:pt x="1461" y="6162"/>
                    <a:pt x="565" y="5266"/>
                    <a:pt x="117" y="4370"/>
                  </a:cubicBezTo>
                  <a:cubicBezTo>
                    <a:pt x="-332" y="3025"/>
                    <a:pt x="565" y="2129"/>
                    <a:pt x="1909" y="1681"/>
                  </a:cubicBezTo>
                  <a:cubicBezTo>
                    <a:pt x="11321" y="-560"/>
                    <a:pt x="19388" y="-560"/>
                    <a:pt x="29696" y="1681"/>
                  </a:cubicBezTo>
                  <a:cubicBezTo>
                    <a:pt x="31040" y="2129"/>
                    <a:pt x="31489" y="3025"/>
                    <a:pt x="31489" y="4370"/>
                  </a:cubicBezTo>
                  <a:cubicBezTo>
                    <a:pt x="31040" y="5714"/>
                    <a:pt x="30144" y="6162"/>
                    <a:pt x="28799" y="6162"/>
                  </a:cubicBezTo>
                  <a:cubicBezTo>
                    <a:pt x="19388" y="3921"/>
                    <a:pt x="11321" y="3921"/>
                    <a:pt x="2806" y="6162"/>
                  </a:cubicBezTo>
                  <a:cubicBezTo>
                    <a:pt x="2806" y="5714"/>
                    <a:pt x="2357" y="6162"/>
                    <a:pt x="2357" y="6162"/>
                  </a:cubicBezTo>
                  <a:close/>
                </a:path>
              </a:pathLst>
            </a:custGeom>
            <a:solidFill>
              <a:srgbClr val="231F20"/>
            </a:solidFill>
            <a:ln w="4477" cap="flat">
              <a:noFill/>
              <a:prstDash val="solid"/>
              <a:miter/>
            </a:ln>
          </p:spPr>
          <p:txBody>
            <a:bodyPr rtlCol="0" anchor="ctr"/>
            <a:lstStyle/>
            <a:p>
              <a:endParaRPr lang="en-US"/>
            </a:p>
          </p:txBody>
        </p:sp>
      </p:grpSp>
      <p:grpSp>
        <p:nvGrpSpPr>
          <p:cNvPr id="2465" name="Group 2464">
            <a:extLst>
              <a:ext uri="{FF2B5EF4-FFF2-40B4-BE49-F238E27FC236}">
                <a16:creationId xmlns:a16="http://schemas.microsoft.com/office/drawing/2014/main" id="{DC6030DC-7D18-4DD4-9C26-2542CE511CFA}"/>
              </a:ext>
              <a:ext uri="{C183D7F6-B498-43B3-948B-1728B52AA6E4}">
                <adec:decorative xmlns:adec="http://schemas.microsoft.com/office/drawing/2017/decorative" val="1"/>
              </a:ext>
            </a:extLst>
          </p:cNvPr>
          <p:cNvGrpSpPr>
            <a:grpSpLocks noChangeAspect="1"/>
          </p:cNvGrpSpPr>
          <p:nvPr/>
        </p:nvGrpSpPr>
        <p:grpSpPr>
          <a:xfrm>
            <a:off x="8014159" y="3826668"/>
            <a:ext cx="152378" cy="125488"/>
            <a:chOff x="8070659" y="1770977"/>
            <a:chExt cx="152378" cy="125488"/>
          </a:xfrm>
        </p:grpSpPr>
        <p:sp>
          <p:nvSpPr>
            <p:cNvPr id="5457" name="Freeform: Shape 5456">
              <a:extLst>
                <a:ext uri="{FF2B5EF4-FFF2-40B4-BE49-F238E27FC236}">
                  <a16:creationId xmlns:a16="http://schemas.microsoft.com/office/drawing/2014/main" id="{51D11B73-4F1F-4337-A9A1-B0102B24EB7E}"/>
                </a:ext>
              </a:extLst>
            </p:cNvPr>
            <p:cNvSpPr/>
            <p:nvPr/>
          </p:nvSpPr>
          <p:spPr>
            <a:xfrm>
              <a:off x="8070659" y="1770977"/>
              <a:ext cx="152378" cy="125488"/>
            </a:xfrm>
            <a:custGeom>
              <a:avLst/>
              <a:gdLst>
                <a:gd name="connsiteX0" fmla="*/ 146552 w 152377"/>
                <a:gd name="connsiteY0" fmla="*/ 60679 h 125487"/>
                <a:gd name="connsiteX1" fmla="*/ 138933 w 152377"/>
                <a:gd name="connsiteY1" fmla="*/ 60679 h 125487"/>
                <a:gd name="connsiteX2" fmla="*/ 138933 w 152377"/>
                <a:gd name="connsiteY2" fmla="*/ 46786 h 125487"/>
                <a:gd name="connsiteX3" fmla="*/ 124591 w 152377"/>
                <a:gd name="connsiteY3" fmla="*/ 31100 h 125487"/>
                <a:gd name="connsiteX4" fmla="*/ 107113 w 152377"/>
                <a:gd name="connsiteY4" fmla="*/ 1072 h 125487"/>
                <a:gd name="connsiteX5" fmla="*/ 103976 w 152377"/>
                <a:gd name="connsiteY5" fmla="*/ 176 h 125487"/>
                <a:gd name="connsiteX6" fmla="*/ 41680 w 152377"/>
                <a:gd name="connsiteY6" fmla="*/ 30651 h 125487"/>
                <a:gd name="connsiteX7" fmla="*/ 15686 w 152377"/>
                <a:gd name="connsiteY7" fmla="*/ 30651 h 125487"/>
                <a:gd name="connsiteX8" fmla="*/ 0 w 152377"/>
                <a:gd name="connsiteY8" fmla="*/ 46337 h 125487"/>
                <a:gd name="connsiteX9" fmla="*/ 0 w 152377"/>
                <a:gd name="connsiteY9" fmla="*/ 113563 h 125487"/>
                <a:gd name="connsiteX10" fmla="*/ 15686 w 152377"/>
                <a:gd name="connsiteY10" fmla="*/ 129249 h 125487"/>
                <a:gd name="connsiteX11" fmla="*/ 123247 w 152377"/>
                <a:gd name="connsiteY11" fmla="*/ 129249 h 125487"/>
                <a:gd name="connsiteX12" fmla="*/ 138933 w 152377"/>
                <a:gd name="connsiteY12" fmla="*/ 113563 h 125487"/>
                <a:gd name="connsiteX13" fmla="*/ 138933 w 152377"/>
                <a:gd name="connsiteY13" fmla="*/ 99670 h 125487"/>
                <a:gd name="connsiteX14" fmla="*/ 146552 w 152377"/>
                <a:gd name="connsiteY14" fmla="*/ 99670 h 125487"/>
                <a:gd name="connsiteX15" fmla="*/ 152378 w 152377"/>
                <a:gd name="connsiteY15" fmla="*/ 93843 h 125487"/>
                <a:gd name="connsiteX16" fmla="*/ 152378 w 152377"/>
                <a:gd name="connsiteY16" fmla="*/ 66057 h 125487"/>
                <a:gd name="connsiteX17" fmla="*/ 146552 w 152377"/>
                <a:gd name="connsiteY17" fmla="*/ 60679 h 125487"/>
                <a:gd name="connsiteX18" fmla="*/ 104424 w 152377"/>
                <a:gd name="connsiteY18" fmla="*/ 5106 h 125487"/>
                <a:gd name="connsiteX19" fmla="*/ 119213 w 152377"/>
                <a:gd name="connsiteY19" fmla="*/ 30651 h 125487"/>
                <a:gd name="connsiteX20" fmla="*/ 51988 w 152377"/>
                <a:gd name="connsiteY20" fmla="*/ 30651 h 125487"/>
                <a:gd name="connsiteX21" fmla="*/ 104424 w 152377"/>
                <a:gd name="connsiteY21" fmla="*/ 5106 h 125487"/>
                <a:gd name="connsiteX22" fmla="*/ 134451 w 152377"/>
                <a:gd name="connsiteY22" fmla="*/ 113563 h 125487"/>
                <a:gd name="connsiteX23" fmla="*/ 123247 w 152377"/>
                <a:gd name="connsiteY23" fmla="*/ 124767 h 125487"/>
                <a:gd name="connsiteX24" fmla="*/ 15686 w 152377"/>
                <a:gd name="connsiteY24" fmla="*/ 124767 h 125487"/>
                <a:gd name="connsiteX25" fmla="*/ 4482 w 152377"/>
                <a:gd name="connsiteY25" fmla="*/ 113563 h 125487"/>
                <a:gd name="connsiteX26" fmla="*/ 4482 w 152377"/>
                <a:gd name="connsiteY26" fmla="*/ 46337 h 125487"/>
                <a:gd name="connsiteX27" fmla="*/ 15686 w 152377"/>
                <a:gd name="connsiteY27" fmla="*/ 35133 h 125487"/>
                <a:gd name="connsiteX28" fmla="*/ 123247 w 152377"/>
                <a:gd name="connsiteY28" fmla="*/ 35133 h 125487"/>
                <a:gd name="connsiteX29" fmla="*/ 134451 w 152377"/>
                <a:gd name="connsiteY29" fmla="*/ 46337 h 125487"/>
                <a:gd name="connsiteX30" fmla="*/ 134451 w 152377"/>
                <a:gd name="connsiteY30" fmla="*/ 60231 h 125487"/>
                <a:gd name="connsiteX31" fmla="*/ 85152 w 152377"/>
                <a:gd name="connsiteY31" fmla="*/ 60231 h 125487"/>
                <a:gd name="connsiteX32" fmla="*/ 72604 w 152377"/>
                <a:gd name="connsiteY32" fmla="*/ 72779 h 125487"/>
                <a:gd name="connsiteX33" fmla="*/ 72604 w 152377"/>
                <a:gd name="connsiteY33" fmla="*/ 86225 h 125487"/>
                <a:gd name="connsiteX34" fmla="*/ 85152 w 152377"/>
                <a:gd name="connsiteY34" fmla="*/ 98773 h 125487"/>
                <a:gd name="connsiteX35" fmla="*/ 134451 w 152377"/>
                <a:gd name="connsiteY35" fmla="*/ 98773 h 125487"/>
                <a:gd name="connsiteX36" fmla="*/ 134451 w 152377"/>
                <a:gd name="connsiteY36" fmla="*/ 113563 h 125487"/>
                <a:gd name="connsiteX37" fmla="*/ 147896 w 152377"/>
                <a:gd name="connsiteY37" fmla="*/ 93843 h 125487"/>
                <a:gd name="connsiteX38" fmla="*/ 146552 w 152377"/>
                <a:gd name="connsiteY38" fmla="*/ 95188 h 125487"/>
                <a:gd name="connsiteX39" fmla="*/ 85152 w 152377"/>
                <a:gd name="connsiteY39" fmla="*/ 95188 h 125487"/>
                <a:gd name="connsiteX40" fmla="*/ 77085 w 152377"/>
                <a:gd name="connsiteY40" fmla="*/ 87121 h 125487"/>
                <a:gd name="connsiteX41" fmla="*/ 77085 w 152377"/>
                <a:gd name="connsiteY41" fmla="*/ 73676 h 125487"/>
                <a:gd name="connsiteX42" fmla="*/ 85152 w 152377"/>
                <a:gd name="connsiteY42" fmla="*/ 65609 h 125487"/>
                <a:gd name="connsiteX43" fmla="*/ 146552 w 152377"/>
                <a:gd name="connsiteY43" fmla="*/ 65609 h 125487"/>
                <a:gd name="connsiteX44" fmla="*/ 147896 w 152377"/>
                <a:gd name="connsiteY44" fmla="*/ 66953 h 125487"/>
                <a:gd name="connsiteX45" fmla="*/ 147896 w 152377"/>
                <a:gd name="connsiteY45" fmla="*/ 93843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52377" h="125487">
                  <a:moveTo>
                    <a:pt x="146552" y="60679"/>
                  </a:moveTo>
                  <a:lnTo>
                    <a:pt x="138933" y="60679"/>
                  </a:lnTo>
                  <a:lnTo>
                    <a:pt x="138933" y="46786"/>
                  </a:lnTo>
                  <a:cubicBezTo>
                    <a:pt x="138933" y="38718"/>
                    <a:pt x="132658" y="31996"/>
                    <a:pt x="124591" y="31100"/>
                  </a:cubicBezTo>
                  <a:lnTo>
                    <a:pt x="107113" y="1072"/>
                  </a:lnTo>
                  <a:cubicBezTo>
                    <a:pt x="106664" y="176"/>
                    <a:pt x="105320" y="-272"/>
                    <a:pt x="103976" y="176"/>
                  </a:cubicBezTo>
                  <a:lnTo>
                    <a:pt x="41680" y="30651"/>
                  </a:lnTo>
                  <a:lnTo>
                    <a:pt x="15686" y="30651"/>
                  </a:lnTo>
                  <a:cubicBezTo>
                    <a:pt x="7171" y="30651"/>
                    <a:pt x="0" y="37822"/>
                    <a:pt x="0" y="46337"/>
                  </a:cubicBezTo>
                  <a:lnTo>
                    <a:pt x="0" y="113563"/>
                  </a:lnTo>
                  <a:cubicBezTo>
                    <a:pt x="0" y="122078"/>
                    <a:pt x="7171" y="129249"/>
                    <a:pt x="15686" y="129249"/>
                  </a:cubicBezTo>
                  <a:lnTo>
                    <a:pt x="123247" y="129249"/>
                  </a:lnTo>
                  <a:cubicBezTo>
                    <a:pt x="131762" y="129249"/>
                    <a:pt x="138933" y="122078"/>
                    <a:pt x="138933" y="113563"/>
                  </a:cubicBezTo>
                  <a:lnTo>
                    <a:pt x="138933" y="99670"/>
                  </a:lnTo>
                  <a:lnTo>
                    <a:pt x="146552" y="99670"/>
                  </a:lnTo>
                  <a:cubicBezTo>
                    <a:pt x="149689" y="99670"/>
                    <a:pt x="152378" y="96981"/>
                    <a:pt x="152378" y="93843"/>
                  </a:cubicBezTo>
                  <a:lnTo>
                    <a:pt x="152378" y="66057"/>
                  </a:lnTo>
                  <a:cubicBezTo>
                    <a:pt x="152378" y="63368"/>
                    <a:pt x="150137" y="60679"/>
                    <a:pt x="146552" y="60679"/>
                  </a:cubicBezTo>
                  <a:close/>
                  <a:moveTo>
                    <a:pt x="104424" y="5106"/>
                  </a:moveTo>
                  <a:lnTo>
                    <a:pt x="119213" y="30651"/>
                  </a:lnTo>
                  <a:lnTo>
                    <a:pt x="51988" y="30651"/>
                  </a:lnTo>
                  <a:lnTo>
                    <a:pt x="104424" y="5106"/>
                  </a:lnTo>
                  <a:close/>
                  <a:moveTo>
                    <a:pt x="134451" y="113563"/>
                  </a:moveTo>
                  <a:cubicBezTo>
                    <a:pt x="134451" y="119837"/>
                    <a:pt x="129521" y="124767"/>
                    <a:pt x="123247" y="124767"/>
                  </a:cubicBezTo>
                  <a:lnTo>
                    <a:pt x="15686" y="124767"/>
                  </a:lnTo>
                  <a:cubicBezTo>
                    <a:pt x="9412" y="124767"/>
                    <a:pt x="4482" y="119837"/>
                    <a:pt x="4482" y="113563"/>
                  </a:cubicBezTo>
                  <a:lnTo>
                    <a:pt x="4482" y="46337"/>
                  </a:lnTo>
                  <a:cubicBezTo>
                    <a:pt x="4482" y="40063"/>
                    <a:pt x="9412" y="35133"/>
                    <a:pt x="15686" y="35133"/>
                  </a:cubicBezTo>
                  <a:lnTo>
                    <a:pt x="123247" y="35133"/>
                  </a:lnTo>
                  <a:cubicBezTo>
                    <a:pt x="129521" y="35133"/>
                    <a:pt x="134451" y="40063"/>
                    <a:pt x="134451" y="46337"/>
                  </a:cubicBezTo>
                  <a:lnTo>
                    <a:pt x="134451" y="60231"/>
                  </a:lnTo>
                  <a:lnTo>
                    <a:pt x="85152" y="60231"/>
                  </a:lnTo>
                  <a:cubicBezTo>
                    <a:pt x="77982" y="60231"/>
                    <a:pt x="72604" y="66057"/>
                    <a:pt x="72604" y="72779"/>
                  </a:cubicBezTo>
                  <a:lnTo>
                    <a:pt x="72604" y="86225"/>
                  </a:lnTo>
                  <a:cubicBezTo>
                    <a:pt x="72604" y="93395"/>
                    <a:pt x="78430" y="98773"/>
                    <a:pt x="85152" y="98773"/>
                  </a:cubicBezTo>
                  <a:lnTo>
                    <a:pt x="134451" y="98773"/>
                  </a:lnTo>
                  <a:lnTo>
                    <a:pt x="134451" y="113563"/>
                  </a:lnTo>
                  <a:close/>
                  <a:moveTo>
                    <a:pt x="147896" y="93843"/>
                  </a:moveTo>
                  <a:cubicBezTo>
                    <a:pt x="147896" y="94740"/>
                    <a:pt x="147448" y="95188"/>
                    <a:pt x="146552" y="95188"/>
                  </a:cubicBezTo>
                  <a:lnTo>
                    <a:pt x="85152" y="95188"/>
                  </a:lnTo>
                  <a:cubicBezTo>
                    <a:pt x="80671" y="95188"/>
                    <a:pt x="77085" y="91603"/>
                    <a:pt x="77085" y="87121"/>
                  </a:cubicBezTo>
                  <a:lnTo>
                    <a:pt x="77085" y="73676"/>
                  </a:lnTo>
                  <a:cubicBezTo>
                    <a:pt x="77085" y="69194"/>
                    <a:pt x="80671" y="65609"/>
                    <a:pt x="85152" y="65609"/>
                  </a:cubicBezTo>
                  <a:lnTo>
                    <a:pt x="146552" y="65609"/>
                  </a:lnTo>
                  <a:cubicBezTo>
                    <a:pt x="147448" y="65609"/>
                    <a:pt x="147896" y="66057"/>
                    <a:pt x="147896" y="66953"/>
                  </a:cubicBezTo>
                  <a:lnTo>
                    <a:pt x="147896" y="93843"/>
                  </a:lnTo>
                  <a:close/>
                </a:path>
              </a:pathLst>
            </a:custGeom>
            <a:solidFill>
              <a:srgbClr val="231F20"/>
            </a:solidFill>
            <a:ln w="4477" cap="flat">
              <a:noFill/>
              <a:prstDash val="solid"/>
              <a:miter/>
            </a:ln>
          </p:spPr>
          <p:txBody>
            <a:bodyPr rtlCol="0" anchor="ctr"/>
            <a:lstStyle/>
            <a:p>
              <a:endParaRPr lang="en-US"/>
            </a:p>
          </p:txBody>
        </p:sp>
        <p:sp>
          <p:nvSpPr>
            <p:cNvPr id="5458" name="Freeform: Shape 5457">
              <a:extLst>
                <a:ext uri="{FF2B5EF4-FFF2-40B4-BE49-F238E27FC236}">
                  <a16:creationId xmlns:a16="http://schemas.microsoft.com/office/drawing/2014/main" id="{99E73A72-9BA5-4FAE-AE80-26B83E15F5BF}"/>
                </a:ext>
              </a:extLst>
            </p:cNvPr>
            <p:cNvSpPr/>
            <p:nvPr/>
          </p:nvSpPr>
          <p:spPr>
            <a:xfrm>
              <a:off x="8151330" y="1841964"/>
              <a:ext cx="17927" cy="17927"/>
            </a:xfrm>
            <a:custGeom>
              <a:avLst/>
              <a:gdLst>
                <a:gd name="connsiteX0" fmla="*/ 8963 w 17926"/>
                <a:gd name="connsiteY0" fmla="*/ 0 h 17926"/>
                <a:gd name="connsiteX1" fmla="*/ 0 w 17926"/>
                <a:gd name="connsiteY1" fmla="*/ 8963 h 17926"/>
                <a:gd name="connsiteX2" fmla="*/ 8963 w 17926"/>
                <a:gd name="connsiteY2" fmla="*/ 17927 h 17926"/>
                <a:gd name="connsiteX3" fmla="*/ 17927 w 17926"/>
                <a:gd name="connsiteY3" fmla="*/ 8963 h 17926"/>
                <a:gd name="connsiteX4" fmla="*/ 8963 w 17926"/>
                <a:gd name="connsiteY4" fmla="*/ 0 h 17926"/>
                <a:gd name="connsiteX5" fmla="*/ 8963 w 17926"/>
                <a:gd name="connsiteY5" fmla="*/ 13445 h 17926"/>
                <a:gd name="connsiteX6" fmla="*/ 4482 w 17926"/>
                <a:gd name="connsiteY6" fmla="*/ 8963 h 17926"/>
                <a:gd name="connsiteX7" fmla="*/ 8963 w 17926"/>
                <a:gd name="connsiteY7" fmla="*/ 4482 h 17926"/>
                <a:gd name="connsiteX8" fmla="*/ 13445 w 17926"/>
                <a:gd name="connsiteY8" fmla="*/ 8963 h 17926"/>
                <a:gd name="connsiteX9" fmla="*/ 8963 w 17926"/>
                <a:gd name="connsiteY9" fmla="*/ 13445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0"/>
                  </a:moveTo>
                  <a:cubicBezTo>
                    <a:pt x="4034" y="0"/>
                    <a:pt x="0" y="4034"/>
                    <a:pt x="0" y="8963"/>
                  </a:cubicBezTo>
                  <a:cubicBezTo>
                    <a:pt x="0" y="13893"/>
                    <a:pt x="4034" y="17927"/>
                    <a:pt x="8963" y="17927"/>
                  </a:cubicBezTo>
                  <a:cubicBezTo>
                    <a:pt x="13893" y="17927"/>
                    <a:pt x="17927" y="13893"/>
                    <a:pt x="17927" y="8963"/>
                  </a:cubicBezTo>
                  <a:cubicBezTo>
                    <a:pt x="17927" y="4034"/>
                    <a:pt x="13893" y="0"/>
                    <a:pt x="8963" y="0"/>
                  </a:cubicBezTo>
                  <a:close/>
                  <a:moveTo>
                    <a:pt x="8963" y="13445"/>
                  </a:moveTo>
                  <a:cubicBezTo>
                    <a:pt x="6274" y="13445"/>
                    <a:pt x="4482" y="11652"/>
                    <a:pt x="4482" y="8963"/>
                  </a:cubicBezTo>
                  <a:cubicBezTo>
                    <a:pt x="4482" y="6274"/>
                    <a:pt x="6274" y="4482"/>
                    <a:pt x="8963" y="4482"/>
                  </a:cubicBezTo>
                  <a:cubicBezTo>
                    <a:pt x="11652" y="4482"/>
                    <a:pt x="13445" y="6274"/>
                    <a:pt x="13445" y="8963"/>
                  </a:cubicBezTo>
                  <a:cubicBezTo>
                    <a:pt x="13445" y="11652"/>
                    <a:pt x="11652" y="13445"/>
                    <a:pt x="8963" y="13445"/>
                  </a:cubicBezTo>
                  <a:close/>
                </a:path>
              </a:pathLst>
            </a:custGeom>
            <a:solidFill>
              <a:srgbClr val="231F20"/>
            </a:solidFill>
            <a:ln w="4477" cap="flat">
              <a:noFill/>
              <a:prstDash val="solid"/>
              <a:miter/>
            </a:ln>
          </p:spPr>
          <p:txBody>
            <a:bodyPr rtlCol="0" anchor="ctr"/>
            <a:lstStyle/>
            <a:p>
              <a:endParaRPr lang="en-US"/>
            </a:p>
          </p:txBody>
        </p:sp>
      </p:grpSp>
      <p:grpSp>
        <p:nvGrpSpPr>
          <p:cNvPr id="2466" name="Group 2465">
            <a:extLst>
              <a:ext uri="{FF2B5EF4-FFF2-40B4-BE49-F238E27FC236}">
                <a16:creationId xmlns:a16="http://schemas.microsoft.com/office/drawing/2014/main" id="{110B2CE9-0E49-4A3E-840B-B810BC644280}"/>
              </a:ext>
              <a:ext uri="{C183D7F6-B498-43B3-948B-1728B52AA6E4}">
                <adec:decorative xmlns:adec="http://schemas.microsoft.com/office/drawing/2017/decorative" val="1"/>
              </a:ext>
            </a:extLst>
          </p:cNvPr>
          <p:cNvGrpSpPr>
            <a:grpSpLocks noChangeAspect="1"/>
          </p:cNvGrpSpPr>
          <p:nvPr/>
        </p:nvGrpSpPr>
        <p:grpSpPr>
          <a:xfrm>
            <a:off x="8273650" y="3844323"/>
            <a:ext cx="152378" cy="98597"/>
            <a:chOff x="8330150" y="1788632"/>
            <a:chExt cx="152378" cy="98597"/>
          </a:xfrm>
        </p:grpSpPr>
        <p:sp>
          <p:nvSpPr>
            <p:cNvPr id="5452" name="Freeform: Shape 5451">
              <a:extLst>
                <a:ext uri="{FF2B5EF4-FFF2-40B4-BE49-F238E27FC236}">
                  <a16:creationId xmlns:a16="http://schemas.microsoft.com/office/drawing/2014/main" id="{BF170AD9-45BA-41F4-954B-3839BEF56069}"/>
                </a:ext>
              </a:extLst>
            </p:cNvPr>
            <p:cNvSpPr/>
            <p:nvPr/>
          </p:nvSpPr>
          <p:spPr>
            <a:xfrm>
              <a:off x="8330150" y="1788632"/>
              <a:ext cx="152378" cy="98597"/>
            </a:xfrm>
            <a:custGeom>
              <a:avLst/>
              <a:gdLst>
                <a:gd name="connsiteX0" fmla="*/ 142518 w 152377"/>
                <a:gd name="connsiteY0" fmla="*/ 0 h 98597"/>
                <a:gd name="connsiteX1" fmla="*/ 10308 w 152377"/>
                <a:gd name="connsiteY1" fmla="*/ 0 h 98597"/>
                <a:gd name="connsiteX2" fmla="*/ 0 w 152377"/>
                <a:gd name="connsiteY2" fmla="*/ 10308 h 98597"/>
                <a:gd name="connsiteX3" fmla="*/ 0 w 152377"/>
                <a:gd name="connsiteY3" fmla="*/ 88738 h 98597"/>
                <a:gd name="connsiteX4" fmla="*/ 10308 w 152377"/>
                <a:gd name="connsiteY4" fmla="*/ 99046 h 98597"/>
                <a:gd name="connsiteX5" fmla="*/ 142518 w 152377"/>
                <a:gd name="connsiteY5" fmla="*/ 99046 h 98597"/>
                <a:gd name="connsiteX6" fmla="*/ 152826 w 152377"/>
                <a:gd name="connsiteY6" fmla="*/ 88738 h 98597"/>
                <a:gd name="connsiteX7" fmla="*/ 152826 w 152377"/>
                <a:gd name="connsiteY7" fmla="*/ 10308 h 98597"/>
                <a:gd name="connsiteX8" fmla="*/ 142518 w 152377"/>
                <a:gd name="connsiteY8" fmla="*/ 0 h 98597"/>
                <a:gd name="connsiteX9" fmla="*/ 4930 w 152377"/>
                <a:gd name="connsiteY9" fmla="*/ 17927 h 98597"/>
                <a:gd name="connsiteX10" fmla="*/ 148344 w 152377"/>
                <a:gd name="connsiteY10" fmla="*/ 17927 h 98597"/>
                <a:gd name="connsiteX11" fmla="*/ 148344 w 152377"/>
                <a:gd name="connsiteY11" fmla="*/ 26890 h 98597"/>
                <a:gd name="connsiteX12" fmla="*/ 4930 w 152377"/>
                <a:gd name="connsiteY12" fmla="*/ 26890 h 98597"/>
                <a:gd name="connsiteX13" fmla="*/ 4930 w 152377"/>
                <a:gd name="connsiteY13" fmla="*/ 17927 h 98597"/>
                <a:gd name="connsiteX14" fmla="*/ 10756 w 152377"/>
                <a:gd name="connsiteY14" fmla="*/ 4482 h 98597"/>
                <a:gd name="connsiteX15" fmla="*/ 142966 w 152377"/>
                <a:gd name="connsiteY15" fmla="*/ 4482 h 98597"/>
                <a:gd name="connsiteX16" fmla="*/ 148793 w 152377"/>
                <a:gd name="connsiteY16" fmla="*/ 10308 h 98597"/>
                <a:gd name="connsiteX17" fmla="*/ 148793 w 152377"/>
                <a:gd name="connsiteY17" fmla="*/ 13445 h 98597"/>
                <a:gd name="connsiteX18" fmla="*/ 5378 w 152377"/>
                <a:gd name="connsiteY18" fmla="*/ 13445 h 98597"/>
                <a:gd name="connsiteX19" fmla="*/ 5378 w 152377"/>
                <a:gd name="connsiteY19" fmla="*/ 10308 h 98597"/>
                <a:gd name="connsiteX20" fmla="*/ 10756 w 152377"/>
                <a:gd name="connsiteY20" fmla="*/ 4482 h 98597"/>
                <a:gd name="connsiteX21" fmla="*/ 142518 w 152377"/>
                <a:gd name="connsiteY21" fmla="*/ 94116 h 98597"/>
                <a:gd name="connsiteX22" fmla="*/ 10308 w 152377"/>
                <a:gd name="connsiteY22" fmla="*/ 94116 h 98597"/>
                <a:gd name="connsiteX23" fmla="*/ 4482 w 152377"/>
                <a:gd name="connsiteY23" fmla="*/ 88290 h 98597"/>
                <a:gd name="connsiteX24" fmla="*/ 4482 w 152377"/>
                <a:gd name="connsiteY24" fmla="*/ 31372 h 98597"/>
                <a:gd name="connsiteX25" fmla="*/ 147896 w 152377"/>
                <a:gd name="connsiteY25" fmla="*/ 31372 h 98597"/>
                <a:gd name="connsiteX26" fmla="*/ 147896 w 152377"/>
                <a:gd name="connsiteY26" fmla="*/ 88290 h 98597"/>
                <a:gd name="connsiteX27" fmla="*/ 142518 w 152377"/>
                <a:gd name="connsiteY27" fmla="*/ 94116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2377" h="98597">
                  <a:moveTo>
                    <a:pt x="142518" y="0"/>
                  </a:moveTo>
                  <a:lnTo>
                    <a:pt x="10308" y="0"/>
                  </a:lnTo>
                  <a:cubicBezTo>
                    <a:pt x="4482" y="0"/>
                    <a:pt x="0" y="4482"/>
                    <a:pt x="0" y="10308"/>
                  </a:cubicBezTo>
                  <a:lnTo>
                    <a:pt x="0" y="88738"/>
                  </a:lnTo>
                  <a:cubicBezTo>
                    <a:pt x="0" y="94564"/>
                    <a:pt x="4482" y="99046"/>
                    <a:pt x="10308" y="99046"/>
                  </a:cubicBezTo>
                  <a:lnTo>
                    <a:pt x="142518" y="99046"/>
                  </a:lnTo>
                  <a:cubicBezTo>
                    <a:pt x="148344" y="99046"/>
                    <a:pt x="152826" y="94564"/>
                    <a:pt x="152826" y="88738"/>
                  </a:cubicBezTo>
                  <a:lnTo>
                    <a:pt x="152826" y="10308"/>
                  </a:lnTo>
                  <a:cubicBezTo>
                    <a:pt x="152826" y="4482"/>
                    <a:pt x="148344" y="0"/>
                    <a:pt x="142518" y="0"/>
                  </a:cubicBezTo>
                  <a:close/>
                  <a:moveTo>
                    <a:pt x="4930" y="17927"/>
                  </a:moveTo>
                  <a:lnTo>
                    <a:pt x="148344" y="17927"/>
                  </a:lnTo>
                  <a:lnTo>
                    <a:pt x="148344" y="26890"/>
                  </a:lnTo>
                  <a:lnTo>
                    <a:pt x="4930" y="26890"/>
                  </a:lnTo>
                  <a:lnTo>
                    <a:pt x="4930" y="17927"/>
                  </a:lnTo>
                  <a:close/>
                  <a:moveTo>
                    <a:pt x="10756" y="4482"/>
                  </a:moveTo>
                  <a:lnTo>
                    <a:pt x="142966" y="4482"/>
                  </a:lnTo>
                  <a:cubicBezTo>
                    <a:pt x="146104" y="4482"/>
                    <a:pt x="148793" y="7171"/>
                    <a:pt x="148793" y="10308"/>
                  </a:cubicBezTo>
                  <a:lnTo>
                    <a:pt x="148793" y="13445"/>
                  </a:lnTo>
                  <a:lnTo>
                    <a:pt x="5378" y="13445"/>
                  </a:lnTo>
                  <a:lnTo>
                    <a:pt x="5378" y="10308"/>
                  </a:lnTo>
                  <a:cubicBezTo>
                    <a:pt x="4930" y="6723"/>
                    <a:pt x="7619" y="4482"/>
                    <a:pt x="10756" y="4482"/>
                  </a:cubicBezTo>
                  <a:close/>
                  <a:moveTo>
                    <a:pt x="142518" y="94116"/>
                  </a:moveTo>
                  <a:lnTo>
                    <a:pt x="10308" y="94116"/>
                  </a:lnTo>
                  <a:cubicBezTo>
                    <a:pt x="7171" y="94116"/>
                    <a:pt x="4482" y="91427"/>
                    <a:pt x="4482" y="88290"/>
                  </a:cubicBezTo>
                  <a:lnTo>
                    <a:pt x="4482" y="31372"/>
                  </a:lnTo>
                  <a:lnTo>
                    <a:pt x="147896" y="31372"/>
                  </a:lnTo>
                  <a:lnTo>
                    <a:pt x="147896" y="88290"/>
                  </a:lnTo>
                  <a:cubicBezTo>
                    <a:pt x="148344" y="91427"/>
                    <a:pt x="145655" y="94116"/>
                    <a:pt x="142518" y="94116"/>
                  </a:cubicBezTo>
                  <a:close/>
                </a:path>
              </a:pathLst>
            </a:custGeom>
            <a:solidFill>
              <a:srgbClr val="231F20"/>
            </a:solidFill>
            <a:ln w="4477" cap="flat">
              <a:noFill/>
              <a:prstDash val="solid"/>
              <a:miter/>
            </a:ln>
          </p:spPr>
          <p:txBody>
            <a:bodyPr rtlCol="0" anchor="ctr"/>
            <a:lstStyle/>
            <a:p>
              <a:endParaRPr lang="en-US"/>
            </a:p>
          </p:txBody>
        </p:sp>
        <p:sp>
          <p:nvSpPr>
            <p:cNvPr id="5453" name="Freeform: Shape 5452">
              <a:extLst>
                <a:ext uri="{FF2B5EF4-FFF2-40B4-BE49-F238E27FC236}">
                  <a16:creationId xmlns:a16="http://schemas.microsoft.com/office/drawing/2014/main" id="{4D3C8DE0-2A65-43F7-BCBD-DAC3B87B736F}"/>
                </a:ext>
              </a:extLst>
            </p:cNvPr>
            <p:cNvSpPr/>
            <p:nvPr/>
          </p:nvSpPr>
          <p:spPr>
            <a:xfrm>
              <a:off x="8344043" y="1842412"/>
              <a:ext cx="71707" cy="4482"/>
            </a:xfrm>
            <a:custGeom>
              <a:avLst/>
              <a:gdLst>
                <a:gd name="connsiteX0" fmla="*/ 69466 w 71707"/>
                <a:gd name="connsiteY0" fmla="*/ 0 h 4481"/>
                <a:gd name="connsiteX1" fmla="*/ 2241 w 71707"/>
                <a:gd name="connsiteY1" fmla="*/ 0 h 4481"/>
                <a:gd name="connsiteX2" fmla="*/ 0 w 71707"/>
                <a:gd name="connsiteY2" fmla="*/ 2241 h 4481"/>
                <a:gd name="connsiteX3" fmla="*/ 2241 w 71707"/>
                <a:gd name="connsiteY3" fmla="*/ 4482 h 4481"/>
                <a:gd name="connsiteX4" fmla="*/ 69466 w 71707"/>
                <a:gd name="connsiteY4" fmla="*/ 4482 h 4481"/>
                <a:gd name="connsiteX5" fmla="*/ 71707 w 71707"/>
                <a:gd name="connsiteY5" fmla="*/ 2241 h 4481"/>
                <a:gd name="connsiteX6" fmla="*/ 69466 w 7170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07" h="4481">
                  <a:moveTo>
                    <a:pt x="69466" y="0"/>
                  </a:moveTo>
                  <a:lnTo>
                    <a:pt x="2241" y="0"/>
                  </a:lnTo>
                  <a:cubicBezTo>
                    <a:pt x="896" y="0"/>
                    <a:pt x="0" y="896"/>
                    <a:pt x="0" y="2241"/>
                  </a:cubicBezTo>
                  <a:cubicBezTo>
                    <a:pt x="0" y="3585"/>
                    <a:pt x="896" y="4482"/>
                    <a:pt x="2241" y="4482"/>
                  </a:cubicBezTo>
                  <a:lnTo>
                    <a:pt x="69466" y="4482"/>
                  </a:lnTo>
                  <a:cubicBezTo>
                    <a:pt x="70811" y="4482"/>
                    <a:pt x="71707" y="3585"/>
                    <a:pt x="71707" y="2241"/>
                  </a:cubicBezTo>
                  <a:cubicBezTo>
                    <a:pt x="71707" y="896"/>
                    <a:pt x="70811" y="0"/>
                    <a:pt x="69466" y="0"/>
                  </a:cubicBezTo>
                  <a:close/>
                </a:path>
              </a:pathLst>
            </a:custGeom>
            <a:solidFill>
              <a:srgbClr val="231F20"/>
            </a:solidFill>
            <a:ln w="4477" cap="flat">
              <a:noFill/>
              <a:prstDash val="solid"/>
              <a:miter/>
            </a:ln>
          </p:spPr>
          <p:txBody>
            <a:bodyPr rtlCol="0" anchor="ctr"/>
            <a:lstStyle/>
            <a:p>
              <a:endParaRPr lang="en-US"/>
            </a:p>
          </p:txBody>
        </p:sp>
        <p:sp>
          <p:nvSpPr>
            <p:cNvPr id="5454" name="Freeform: Shape 5453">
              <a:extLst>
                <a:ext uri="{FF2B5EF4-FFF2-40B4-BE49-F238E27FC236}">
                  <a16:creationId xmlns:a16="http://schemas.microsoft.com/office/drawing/2014/main" id="{5F80911A-1CB4-4B0F-B618-F7001E6BC801}"/>
                </a:ext>
              </a:extLst>
            </p:cNvPr>
            <p:cNvSpPr/>
            <p:nvPr/>
          </p:nvSpPr>
          <p:spPr>
            <a:xfrm>
              <a:off x="8383930" y="1855857"/>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027" y="0"/>
                    <a:pt x="29131" y="0"/>
                  </a:cubicBezTo>
                  <a:close/>
                </a:path>
              </a:pathLst>
            </a:custGeom>
            <a:solidFill>
              <a:srgbClr val="231F20"/>
            </a:solidFill>
            <a:ln w="4477" cap="flat">
              <a:noFill/>
              <a:prstDash val="solid"/>
              <a:miter/>
            </a:ln>
          </p:spPr>
          <p:txBody>
            <a:bodyPr rtlCol="0" anchor="ctr"/>
            <a:lstStyle/>
            <a:p>
              <a:endParaRPr lang="en-US"/>
            </a:p>
          </p:txBody>
        </p:sp>
        <p:sp>
          <p:nvSpPr>
            <p:cNvPr id="5455" name="Freeform: Shape 5454">
              <a:extLst>
                <a:ext uri="{FF2B5EF4-FFF2-40B4-BE49-F238E27FC236}">
                  <a16:creationId xmlns:a16="http://schemas.microsoft.com/office/drawing/2014/main" id="{7DF5EB53-8CDD-4C02-A468-309400B40BFA}"/>
                </a:ext>
              </a:extLst>
            </p:cNvPr>
            <p:cNvSpPr/>
            <p:nvPr/>
          </p:nvSpPr>
          <p:spPr>
            <a:xfrm>
              <a:off x="8343595" y="1855857"/>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027" y="0"/>
                    <a:pt x="29131" y="0"/>
                  </a:cubicBezTo>
                  <a:close/>
                </a:path>
              </a:pathLst>
            </a:custGeom>
            <a:solidFill>
              <a:srgbClr val="231F20"/>
            </a:solidFill>
            <a:ln w="4477" cap="flat">
              <a:noFill/>
              <a:prstDash val="solid"/>
              <a:miter/>
            </a:ln>
          </p:spPr>
          <p:txBody>
            <a:bodyPr rtlCol="0" anchor="ctr"/>
            <a:lstStyle/>
            <a:p>
              <a:endParaRPr lang="en-US"/>
            </a:p>
          </p:txBody>
        </p:sp>
        <p:sp>
          <p:nvSpPr>
            <p:cNvPr id="5456" name="Freeform: Shape 5455">
              <a:extLst>
                <a:ext uri="{FF2B5EF4-FFF2-40B4-BE49-F238E27FC236}">
                  <a16:creationId xmlns:a16="http://schemas.microsoft.com/office/drawing/2014/main" id="{FFCFA0F6-522D-4BE3-9FE3-D605462A606E}"/>
                </a:ext>
              </a:extLst>
            </p:cNvPr>
            <p:cNvSpPr/>
            <p:nvPr/>
          </p:nvSpPr>
          <p:spPr>
            <a:xfrm>
              <a:off x="8438159" y="1842412"/>
              <a:ext cx="31372" cy="17927"/>
            </a:xfrm>
            <a:custGeom>
              <a:avLst/>
              <a:gdLst>
                <a:gd name="connsiteX0" fmla="*/ 22409 w 31371"/>
                <a:gd name="connsiteY0" fmla="*/ 0 h 17926"/>
                <a:gd name="connsiteX1" fmla="*/ 8963 w 31371"/>
                <a:gd name="connsiteY1" fmla="*/ 0 h 17926"/>
                <a:gd name="connsiteX2" fmla="*/ 0 w 31371"/>
                <a:gd name="connsiteY2" fmla="*/ 8963 h 17926"/>
                <a:gd name="connsiteX3" fmla="*/ 8963 w 31371"/>
                <a:gd name="connsiteY3" fmla="*/ 17927 h 17926"/>
                <a:gd name="connsiteX4" fmla="*/ 22409 w 31371"/>
                <a:gd name="connsiteY4" fmla="*/ 17927 h 17926"/>
                <a:gd name="connsiteX5" fmla="*/ 31372 w 31371"/>
                <a:gd name="connsiteY5" fmla="*/ 8963 h 17926"/>
                <a:gd name="connsiteX6" fmla="*/ 22409 w 31371"/>
                <a:gd name="connsiteY6" fmla="*/ 0 h 17926"/>
                <a:gd name="connsiteX7" fmla="*/ 22409 w 31371"/>
                <a:gd name="connsiteY7" fmla="*/ 13445 h 17926"/>
                <a:gd name="connsiteX8" fmla="*/ 8963 w 31371"/>
                <a:gd name="connsiteY8" fmla="*/ 13445 h 17926"/>
                <a:gd name="connsiteX9" fmla="*/ 4482 w 31371"/>
                <a:gd name="connsiteY9" fmla="*/ 8963 h 17926"/>
                <a:gd name="connsiteX10" fmla="*/ 8963 w 31371"/>
                <a:gd name="connsiteY10" fmla="*/ 4482 h 17926"/>
                <a:gd name="connsiteX11" fmla="*/ 22409 w 31371"/>
                <a:gd name="connsiteY11" fmla="*/ 4482 h 17926"/>
                <a:gd name="connsiteX12" fmla="*/ 26890 w 31371"/>
                <a:gd name="connsiteY12" fmla="*/ 8963 h 17926"/>
                <a:gd name="connsiteX13" fmla="*/ 22409 w 31371"/>
                <a:gd name="connsiteY13" fmla="*/ 13445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17926">
                  <a:moveTo>
                    <a:pt x="22409" y="0"/>
                  </a:moveTo>
                  <a:lnTo>
                    <a:pt x="8963" y="0"/>
                  </a:lnTo>
                  <a:cubicBezTo>
                    <a:pt x="4034" y="0"/>
                    <a:pt x="0" y="4034"/>
                    <a:pt x="0" y="8963"/>
                  </a:cubicBezTo>
                  <a:cubicBezTo>
                    <a:pt x="0" y="13893"/>
                    <a:pt x="4034" y="17927"/>
                    <a:pt x="8963" y="17927"/>
                  </a:cubicBezTo>
                  <a:lnTo>
                    <a:pt x="22409" y="17927"/>
                  </a:lnTo>
                  <a:cubicBezTo>
                    <a:pt x="27338" y="17927"/>
                    <a:pt x="31372" y="13893"/>
                    <a:pt x="31372" y="8963"/>
                  </a:cubicBezTo>
                  <a:cubicBezTo>
                    <a:pt x="31372" y="3585"/>
                    <a:pt x="27338" y="0"/>
                    <a:pt x="22409" y="0"/>
                  </a:cubicBezTo>
                  <a:close/>
                  <a:moveTo>
                    <a:pt x="22409" y="13445"/>
                  </a:moveTo>
                  <a:lnTo>
                    <a:pt x="8963" y="13445"/>
                  </a:lnTo>
                  <a:cubicBezTo>
                    <a:pt x="6274" y="13445"/>
                    <a:pt x="4482" y="11652"/>
                    <a:pt x="4482" y="8963"/>
                  </a:cubicBezTo>
                  <a:cubicBezTo>
                    <a:pt x="4482" y="6274"/>
                    <a:pt x="6274" y="4482"/>
                    <a:pt x="8963" y="4482"/>
                  </a:cubicBezTo>
                  <a:lnTo>
                    <a:pt x="22409" y="4482"/>
                  </a:lnTo>
                  <a:cubicBezTo>
                    <a:pt x="25098" y="4482"/>
                    <a:pt x="26890" y="6274"/>
                    <a:pt x="26890" y="8963"/>
                  </a:cubicBezTo>
                  <a:cubicBezTo>
                    <a:pt x="26890" y="11204"/>
                    <a:pt x="25098" y="13445"/>
                    <a:pt x="22409" y="13445"/>
                  </a:cubicBezTo>
                  <a:close/>
                </a:path>
              </a:pathLst>
            </a:custGeom>
            <a:solidFill>
              <a:srgbClr val="231F20"/>
            </a:solidFill>
            <a:ln w="4477" cap="flat">
              <a:noFill/>
              <a:prstDash val="solid"/>
              <a:miter/>
            </a:ln>
          </p:spPr>
          <p:txBody>
            <a:bodyPr rtlCol="0" anchor="ctr"/>
            <a:lstStyle/>
            <a:p>
              <a:endParaRPr lang="en-US"/>
            </a:p>
          </p:txBody>
        </p:sp>
      </p:grpSp>
      <p:grpSp>
        <p:nvGrpSpPr>
          <p:cNvPr id="2467" name="Group 2466">
            <a:extLst>
              <a:ext uri="{FF2B5EF4-FFF2-40B4-BE49-F238E27FC236}">
                <a16:creationId xmlns:a16="http://schemas.microsoft.com/office/drawing/2014/main" id="{ADB193ED-C6D8-438B-9BBC-710B984D6101}"/>
              </a:ext>
              <a:ext uri="{C183D7F6-B498-43B3-948B-1728B52AA6E4}">
                <adec:decorative xmlns:adec="http://schemas.microsoft.com/office/drawing/2017/decorative" val="1"/>
              </a:ext>
            </a:extLst>
          </p:cNvPr>
          <p:cNvGrpSpPr>
            <a:grpSpLocks noChangeAspect="1"/>
          </p:cNvGrpSpPr>
          <p:nvPr/>
        </p:nvGrpSpPr>
        <p:grpSpPr>
          <a:xfrm>
            <a:off x="9321023" y="3844323"/>
            <a:ext cx="152378" cy="85152"/>
            <a:chOff x="9377523" y="1788632"/>
            <a:chExt cx="152378" cy="85152"/>
          </a:xfrm>
        </p:grpSpPr>
        <p:sp>
          <p:nvSpPr>
            <p:cNvPr id="5447" name="Freeform: Shape 5446">
              <a:extLst>
                <a:ext uri="{FF2B5EF4-FFF2-40B4-BE49-F238E27FC236}">
                  <a16:creationId xmlns:a16="http://schemas.microsoft.com/office/drawing/2014/main" id="{DD625820-9CB2-4D7A-9D9C-EF15A1711C74}"/>
                </a:ext>
              </a:extLst>
            </p:cNvPr>
            <p:cNvSpPr/>
            <p:nvPr/>
          </p:nvSpPr>
          <p:spPr>
            <a:xfrm>
              <a:off x="9377523" y="1788632"/>
              <a:ext cx="152378" cy="85152"/>
            </a:xfrm>
            <a:custGeom>
              <a:avLst/>
              <a:gdLst>
                <a:gd name="connsiteX0" fmla="*/ 150137 w 152377"/>
                <a:gd name="connsiteY0" fmla="*/ 85152 h 85152"/>
                <a:gd name="connsiteX1" fmla="*/ 2241 w 152377"/>
                <a:gd name="connsiteY1" fmla="*/ 85152 h 85152"/>
                <a:gd name="connsiteX2" fmla="*/ 0 w 152377"/>
                <a:gd name="connsiteY2" fmla="*/ 82912 h 85152"/>
                <a:gd name="connsiteX3" fmla="*/ 0 w 152377"/>
                <a:gd name="connsiteY3" fmla="*/ 2241 h 85152"/>
                <a:gd name="connsiteX4" fmla="*/ 2241 w 152377"/>
                <a:gd name="connsiteY4" fmla="*/ 0 h 85152"/>
                <a:gd name="connsiteX5" fmla="*/ 150137 w 152377"/>
                <a:gd name="connsiteY5" fmla="*/ 0 h 85152"/>
                <a:gd name="connsiteX6" fmla="*/ 152378 w 152377"/>
                <a:gd name="connsiteY6" fmla="*/ 2241 h 85152"/>
                <a:gd name="connsiteX7" fmla="*/ 152378 w 152377"/>
                <a:gd name="connsiteY7" fmla="*/ 82912 h 85152"/>
                <a:gd name="connsiteX8" fmla="*/ 150137 w 152377"/>
                <a:gd name="connsiteY8" fmla="*/ 85152 h 85152"/>
                <a:gd name="connsiteX9" fmla="*/ 4482 w 152377"/>
                <a:gd name="connsiteY9" fmla="*/ 80671 h 85152"/>
                <a:gd name="connsiteX10" fmla="*/ 147896 w 152377"/>
                <a:gd name="connsiteY10" fmla="*/ 80671 h 85152"/>
                <a:gd name="connsiteX11" fmla="*/ 147896 w 152377"/>
                <a:gd name="connsiteY11" fmla="*/ 4482 h 85152"/>
                <a:gd name="connsiteX12" fmla="*/ 4482 w 152377"/>
                <a:gd name="connsiteY12" fmla="*/ 4482 h 85152"/>
                <a:gd name="connsiteX13" fmla="*/ 4482 w 152377"/>
                <a:gd name="connsiteY13"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377" h="85152">
                  <a:moveTo>
                    <a:pt x="150137" y="85152"/>
                  </a:moveTo>
                  <a:lnTo>
                    <a:pt x="2241" y="85152"/>
                  </a:lnTo>
                  <a:cubicBezTo>
                    <a:pt x="896" y="85152"/>
                    <a:pt x="0" y="84256"/>
                    <a:pt x="0" y="82912"/>
                  </a:cubicBezTo>
                  <a:lnTo>
                    <a:pt x="0" y="2241"/>
                  </a:lnTo>
                  <a:cubicBezTo>
                    <a:pt x="0" y="896"/>
                    <a:pt x="896" y="0"/>
                    <a:pt x="2241" y="0"/>
                  </a:cubicBezTo>
                  <a:lnTo>
                    <a:pt x="150137" y="0"/>
                  </a:lnTo>
                  <a:cubicBezTo>
                    <a:pt x="151482" y="0"/>
                    <a:pt x="152378" y="896"/>
                    <a:pt x="152378" y="2241"/>
                  </a:cubicBezTo>
                  <a:lnTo>
                    <a:pt x="152378" y="82912"/>
                  </a:lnTo>
                  <a:cubicBezTo>
                    <a:pt x="152378" y="83808"/>
                    <a:pt x="151482" y="85152"/>
                    <a:pt x="150137" y="85152"/>
                  </a:cubicBezTo>
                  <a:close/>
                  <a:moveTo>
                    <a:pt x="4482" y="80671"/>
                  </a:moveTo>
                  <a:lnTo>
                    <a:pt x="147896" y="80671"/>
                  </a:lnTo>
                  <a:lnTo>
                    <a:pt x="147896" y="4482"/>
                  </a:lnTo>
                  <a:lnTo>
                    <a:pt x="4482" y="4482"/>
                  </a:lnTo>
                  <a:lnTo>
                    <a:pt x="4482" y="80671"/>
                  </a:lnTo>
                  <a:close/>
                </a:path>
              </a:pathLst>
            </a:custGeom>
            <a:solidFill>
              <a:srgbClr val="231F20"/>
            </a:solidFill>
            <a:ln w="4477" cap="flat">
              <a:noFill/>
              <a:prstDash val="solid"/>
              <a:miter/>
            </a:ln>
          </p:spPr>
          <p:txBody>
            <a:bodyPr rtlCol="0" anchor="ctr"/>
            <a:lstStyle/>
            <a:p>
              <a:endParaRPr lang="en-US"/>
            </a:p>
          </p:txBody>
        </p:sp>
        <p:sp>
          <p:nvSpPr>
            <p:cNvPr id="5448" name="Freeform: Shape 5447">
              <a:extLst>
                <a:ext uri="{FF2B5EF4-FFF2-40B4-BE49-F238E27FC236}">
                  <a16:creationId xmlns:a16="http://schemas.microsoft.com/office/drawing/2014/main" id="{CE9B3C48-C18E-4D54-91D5-ECEF3C0ABB9D}"/>
                </a:ext>
              </a:extLst>
            </p:cNvPr>
            <p:cNvSpPr/>
            <p:nvPr/>
          </p:nvSpPr>
          <p:spPr>
            <a:xfrm>
              <a:off x="9438026" y="1815522"/>
              <a:ext cx="31372" cy="31372"/>
            </a:xfrm>
            <a:custGeom>
              <a:avLst/>
              <a:gdLst>
                <a:gd name="connsiteX0" fmla="*/ 15686 w 31371"/>
                <a:gd name="connsiteY0" fmla="*/ 31372 h 31371"/>
                <a:gd name="connsiteX1" fmla="*/ 0 w 31371"/>
                <a:gd name="connsiteY1" fmla="*/ 15686 h 31371"/>
                <a:gd name="connsiteX2" fmla="*/ 15686 w 31371"/>
                <a:gd name="connsiteY2" fmla="*/ 0 h 31371"/>
                <a:gd name="connsiteX3" fmla="*/ 31372 w 31371"/>
                <a:gd name="connsiteY3" fmla="*/ 15686 h 31371"/>
                <a:gd name="connsiteX4" fmla="*/ 15686 w 31371"/>
                <a:gd name="connsiteY4" fmla="*/ 31372 h 31371"/>
                <a:gd name="connsiteX5" fmla="*/ 15686 w 31371"/>
                <a:gd name="connsiteY5" fmla="*/ 4482 h 31371"/>
                <a:gd name="connsiteX6" fmla="*/ 4482 w 31371"/>
                <a:gd name="connsiteY6" fmla="*/ 15686 h 31371"/>
                <a:gd name="connsiteX7" fmla="*/ 15686 w 31371"/>
                <a:gd name="connsiteY7" fmla="*/ 26890 h 31371"/>
                <a:gd name="connsiteX8" fmla="*/ 26890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7171" y="31372"/>
                    <a:pt x="0" y="24201"/>
                    <a:pt x="0" y="15686"/>
                  </a:cubicBezTo>
                  <a:cubicBezTo>
                    <a:pt x="0" y="7171"/>
                    <a:pt x="7171" y="0"/>
                    <a:pt x="15686" y="0"/>
                  </a:cubicBezTo>
                  <a:cubicBezTo>
                    <a:pt x="24201" y="0"/>
                    <a:pt x="31372" y="7171"/>
                    <a:pt x="31372" y="15686"/>
                  </a:cubicBezTo>
                  <a:cubicBezTo>
                    <a:pt x="31372" y="24201"/>
                    <a:pt x="24201" y="31372"/>
                    <a:pt x="15686" y="31372"/>
                  </a:cubicBezTo>
                  <a:close/>
                  <a:moveTo>
                    <a:pt x="15686" y="4482"/>
                  </a:moveTo>
                  <a:cubicBezTo>
                    <a:pt x="9412" y="4482"/>
                    <a:pt x="4482" y="9412"/>
                    <a:pt x="4482" y="15686"/>
                  </a:cubicBezTo>
                  <a:cubicBezTo>
                    <a:pt x="4482" y="21960"/>
                    <a:pt x="9412" y="26890"/>
                    <a:pt x="15686" y="26890"/>
                  </a:cubicBezTo>
                  <a:cubicBezTo>
                    <a:pt x="21960" y="26890"/>
                    <a:pt x="26890" y="21960"/>
                    <a:pt x="26890" y="15686"/>
                  </a:cubicBezTo>
                  <a:cubicBezTo>
                    <a:pt x="26890" y="9412"/>
                    <a:pt x="21960" y="4482"/>
                    <a:pt x="15686" y="4482"/>
                  </a:cubicBezTo>
                  <a:close/>
                </a:path>
              </a:pathLst>
            </a:custGeom>
            <a:solidFill>
              <a:srgbClr val="231F20"/>
            </a:solidFill>
            <a:ln w="4477" cap="flat">
              <a:noFill/>
              <a:prstDash val="solid"/>
              <a:miter/>
            </a:ln>
          </p:spPr>
          <p:txBody>
            <a:bodyPr rtlCol="0" anchor="ctr"/>
            <a:lstStyle/>
            <a:p>
              <a:endParaRPr lang="en-US"/>
            </a:p>
          </p:txBody>
        </p:sp>
        <p:sp>
          <p:nvSpPr>
            <p:cNvPr id="5449" name="Freeform: Shape 5448">
              <a:extLst>
                <a:ext uri="{FF2B5EF4-FFF2-40B4-BE49-F238E27FC236}">
                  <a16:creationId xmlns:a16="http://schemas.microsoft.com/office/drawing/2014/main" id="{9292BED3-FDB8-486A-9A26-3F4169ABBC5F}"/>
                </a:ext>
              </a:extLst>
            </p:cNvPr>
            <p:cNvSpPr/>
            <p:nvPr/>
          </p:nvSpPr>
          <p:spPr>
            <a:xfrm>
              <a:off x="9390520" y="1802077"/>
              <a:ext cx="125488" cy="58262"/>
            </a:xfrm>
            <a:custGeom>
              <a:avLst/>
              <a:gdLst>
                <a:gd name="connsiteX0" fmla="*/ 116076 w 125487"/>
                <a:gd name="connsiteY0" fmla="*/ 58262 h 58262"/>
                <a:gd name="connsiteX1" fmla="*/ 9860 w 125487"/>
                <a:gd name="connsiteY1" fmla="*/ 58262 h 58262"/>
                <a:gd name="connsiteX2" fmla="*/ 7619 w 125487"/>
                <a:gd name="connsiteY2" fmla="*/ 56469 h 58262"/>
                <a:gd name="connsiteX3" fmla="*/ 1793 w 125487"/>
                <a:gd name="connsiteY3" fmla="*/ 50643 h 58262"/>
                <a:gd name="connsiteX4" fmla="*/ 0 w 125487"/>
                <a:gd name="connsiteY4" fmla="*/ 48402 h 58262"/>
                <a:gd name="connsiteX5" fmla="*/ 0 w 125487"/>
                <a:gd name="connsiteY5" fmla="*/ 9860 h 58262"/>
                <a:gd name="connsiteX6" fmla="*/ 1793 w 125487"/>
                <a:gd name="connsiteY6" fmla="*/ 7619 h 58262"/>
                <a:gd name="connsiteX7" fmla="*/ 7619 w 125487"/>
                <a:gd name="connsiteY7" fmla="*/ 1793 h 58262"/>
                <a:gd name="connsiteX8" fmla="*/ 9860 w 125487"/>
                <a:gd name="connsiteY8" fmla="*/ 0 h 58262"/>
                <a:gd name="connsiteX9" fmla="*/ 116076 w 125487"/>
                <a:gd name="connsiteY9" fmla="*/ 0 h 58262"/>
                <a:gd name="connsiteX10" fmla="*/ 118317 w 125487"/>
                <a:gd name="connsiteY10" fmla="*/ 1793 h 58262"/>
                <a:gd name="connsiteX11" fmla="*/ 124143 w 125487"/>
                <a:gd name="connsiteY11" fmla="*/ 7619 h 58262"/>
                <a:gd name="connsiteX12" fmla="*/ 125936 w 125487"/>
                <a:gd name="connsiteY12" fmla="*/ 9860 h 58262"/>
                <a:gd name="connsiteX13" fmla="*/ 125936 w 125487"/>
                <a:gd name="connsiteY13" fmla="*/ 48402 h 58262"/>
                <a:gd name="connsiteX14" fmla="*/ 124143 w 125487"/>
                <a:gd name="connsiteY14" fmla="*/ 50643 h 58262"/>
                <a:gd name="connsiteX15" fmla="*/ 118317 w 125487"/>
                <a:gd name="connsiteY15" fmla="*/ 56469 h 58262"/>
                <a:gd name="connsiteX16" fmla="*/ 116076 w 125487"/>
                <a:gd name="connsiteY16" fmla="*/ 58262 h 58262"/>
                <a:gd name="connsiteX17" fmla="*/ 11652 w 125487"/>
                <a:gd name="connsiteY17" fmla="*/ 53780 h 58262"/>
                <a:gd name="connsiteX18" fmla="*/ 114283 w 125487"/>
                <a:gd name="connsiteY18" fmla="*/ 53780 h 58262"/>
                <a:gd name="connsiteX19" fmla="*/ 121006 w 125487"/>
                <a:gd name="connsiteY19" fmla="*/ 46610 h 58262"/>
                <a:gd name="connsiteX20" fmla="*/ 121006 w 125487"/>
                <a:gd name="connsiteY20" fmla="*/ 11652 h 58262"/>
                <a:gd name="connsiteX21" fmla="*/ 114283 w 125487"/>
                <a:gd name="connsiteY21" fmla="*/ 4482 h 58262"/>
                <a:gd name="connsiteX22" fmla="*/ 11652 w 125487"/>
                <a:gd name="connsiteY22" fmla="*/ 4482 h 58262"/>
                <a:gd name="connsiteX23" fmla="*/ 4930 w 125487"/>
                <a:gd name="connsiteY23" fmla="*/ 11652 h 58262"/>
                <a:gd name="connsiteX24" fmla="*/ 4930 w 125487"/>
                <a:gd name="connsiteY24" fmla="*/ 46610 h 58262"/>
                <a:gd name="connsiteX25" fmla="*/ 11652 w 125487"/>
                <a:gd name="connsiteY25"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5487" h="58262">
                  <a:moveTo>
                    <a:pt x="116076" y="58262"/>
                  </a:moveTo>
                  <a:lnTo>
                    <a:pt x="9860" y="58262"/>
                  </a:lnTo>
                  <a:cubicBezTo>
                    <a:pt x="8963" y="58262"/>
                    <a:pt x="8067" y="57366"/>
                    <a:pt x="7619" y="56469"/>
                  </a:cubicBezTo>
                  <a:cubicBezTo>
                    <a:pt x="7171" y="53332"/>
                    <a:pt x="4930" y="51091"/>
                    <a:pt x="1793" y="50643"/>
                  </a:cubicBezTo>
                  <a:cubicBezTo>
                    <a:pt x="896" y="50643"/>
                    <a:pt x="0" y="49299"/>
                    <a:pt x="0" y="48402"/>
                  </a:cubicBezTo>
                  <a:lnTo>
                    <a:pt x="0" y="9860"/>
                  </a:lnTo>
                  <a:cubicBezTo>
                    <a:pt x="0" y="8963"/>
                    <a:pt x="896" y="8067"/>
                    <a:pt x="1793" y="7619"/>
                  </a:cubicBezTo>
                  <a:cubicBezTo>
                    <a:pt x="4482" y="7171"/>
                    <a:pt x="6723" y="4482"/>
                    <a:pt x="7619" y="1793"/>
                  </a:cubicBezTo>
                  <a:cubicBezTo>
                    <a:pt x="7619" y="896"/>
                    <a:pt x="8963" y="0"/>
                    <a:pt x="9860" y="0"/>
                  </a:cubicBezTo>
                  <a:lnTo>
                    <a:pt x="116076" y="0"/>
                  </a:lnTo>
                  <a:cubicBezTo>
                    <a:pt x="116972" y="0"/>
                    <a:pt x="117869" y="896"/>
                    <a:pt x="118317" y="1793"/>
                  </a:cubicBezTo>
                  <a:cubicBezTo>
                    <a:pt x="118765" y="4930"/>
                    <a:pt x="121006" y="7171"/>
                    <a:pt x="124143" y="7619"/>
                  </a:cubicBezTo>
                  <a:cubicBezTo>
                    <a:pt x="125040" y="7619"/>
                    <a:pt x="125936" y="8963"/>
                    <a:pt x="125936" y="9860"/>
                  </a:cubicBezTo>
                  <a:lnTo>
                    <a:pt x="125936" y="48402"/>
                  </a:lnTo>
                  <a:cubicBezTo>
                    <a:pt x="125936" y="49299"/>
                    <a:pt x="125040" y="50195"/>
                    <a:pt x="124143" y="50643"/>
                  </a:cubicBezTo>
                  <a:cubicBezTo>
                    <a:pt x="121454" y="51091"/>
                    <a:pt x="119213" y="53780"/>
                    <a:pt x="118317" y="56469"/>
                  </a:cubicBezTo>
                  <a:cubicBezTo>
                    <a:pt x="118317" y="57366"/>
                    <a:pt x="117421" y="58262"/>
                    <a:pt x="116076" y="58262"/>
                  </a:cubicBezTo>
                  <a:close/>
                  <a:moveTo>
                    <a:pt x="11652" y="53780"/>
                  </a:moveTo>
                  <a:lnTo>
                    <a:pt x="114283" y="53780"/>
                  </a:lnTo>
                  <a:cubicBezTo>
                    <a:pt x="115628" y="50643"/>
                    <a:pt x="117869" y="47954"/>
                    <a:pt x="121006" y="46610"/>
                  </a:cubicBezTo>
                  <a:lnTo>
                    <a:pt x="121006" y="11652"/>
                  </a:lnTo>
                  <a:cubicBezTo>
                    <a:pt x="117869" y="10308"/>
                    <a:pt x="115180" y="7619"/>
                    <a:pt x="114283" y="4482"/>
                  </a:cubicBezTo>
                  <a:lnTo>
                    <a:pt x="11652" y="4482"/>
                  </a:lnTo>
                  <a:cubicBezTo>
                    <a:pt x="10308" y="7619"/>
                    <a:pt x="8067" y="10308"/>
                    <a:pt x="4930" y="11652"/>
                  </a:cubicBezTo>
                  <a:lnTo>
                    <a:pt x="4930" y="46610"/>
                  </a:lnTo>
                  <a:cubicBezTo>
                    <a:pt x="8067" y="47506"/>
                    <a:pt x="10756" y="50195"/>
                    <a:pt x="11652" y="53780"/>
                  </a:cubicBezTo>
                  <a:close/>
                </a:path>
              </a:pathLst>
            </a:custGeom>
            <a:solidFill>
              <a:srgbClr val="231F20"/>
            </a:solidFill>
            <a:ln w="4477" cap="flat">
              <a:noFill/>
              <a:prstDash val="solid"/>
              <a:miter/>
            </a:ln>
          </p:spPr>
          <p:txBody>
            <a:bodyPr rtlCol="0" anchor="ctr"/>
            <a:lstStyle/>
            <a:p>
              <a:endParaRPr lang="en-US"/>
            </a:p>
          </p:txBody>
        </p:sp>
        <p:sp>
          <p:nvSpPr>
            <p:cNvPr id="5450" name="Freeform: Shape 5449">
              <a:extLst>
                <a:ext uri="{FF2B5EF4-FFF2-40B4-BE49-F238E27FC236}">
                  <a16:creationId xmlns:a16="http://schemas.microsoft.com/office/drawing/2014/main" id="{A6777DD0-41AD-48C0-91DA-F48DA978EC8E}"/>
                </a:ext>
              </a:extLst>
            </p:cNvPr>
            <p:cNvSpPr/>
            <p:nvPr/>
          </p:nvSpPr>
          <p:spPr>
            <a:xfrm>
              <a:off x="9485084" y="1822244"/>
              <a:ext cx="17927" cy="17927"/>
            </a:xfrm>
            <a:custGeom>
              <a:avLst/>
              <a:gdLst>
                <a:gd name="connsiteX0" fmla="*/ 8963 w 17926"/>
                <a:gd name="connsiteY0" fmla="*/ 17927 h 17926"/>
                <a:gd name="connsiteX1" fmla="*/ 0 w 17926"/>
                <a:gd name="connsiteY1" fmla="*/ 8963 h 17926"/>
                <a:gd name="connsiteX2" fmla="*/ 8963 w 17926"/>
                <a:gd name="connsiteY2" fmla="*/ 0 h 17926"/>
                <a:gd name="connsiteX3" fmla="*/ 17927 w 17926"/>
                <a:gd name="connsiteY3" fmla="*/ 8963 h 17926"/>
                <a:gd name="connsiteX4" fmla="*/ 8963 w 17926"/>
                <a:gd name="connsiteY4" fmla="*/ 17927 h 17926"/>
                <a:gd name="connsiteX5" fmla="*/ 8963 w 17926"/>
                <a:gd name="connsiteY5" fmla="*/ 4482 h 17926"/>
                <a:gd name="connsiteX6" fmla="*/ 4482 w 17926"/>
                <a:gd name="connsiteY6" fmla="*/ 8963 h 17926"/>
                <a:gd name="connsiteX7" fmla="*/ 8963 w 17926"/>
                <a:gd name="connsiteY7" fmla="*/ 13445 h 17926"/>
                <a:gd name="connsiteX8" fmla="*/ 13445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4034" y="17927"/>
                    <a:pt x="0" y="13893"/>
                    <a:pt x="0" y="8963"/>
                  </a:cubicBezTo>
                  <a:cubicBezTo>
                    <a:pt x="0" y="4034"/>
                    <a:pt x="4034" y="0"/>
                    <a:pt x="8963" y="0"/>
                  </a:cubicBezTo>
                  <a:cubicBezTo>
                    <a:pt x="13893" y="0"/>
                    <a:pt x="17927" y="4034"/>
                    <a:pt x="17927" y="8963"/>
                  </a:cubicBezTo>
                  <a:cubicBezTo>
                    <a:pt x="17927" y="13893"/>
                    <a:pt x="13893" y="17927"/>
                    <a:pt x="8963" y="17927"/>
                  </a:cubicBezTo>
                  <a:close/>
                  <a:moveTo>
                    <a:pt x="8963" y="4482"/>
                  </a:moveTo>
                  <a:cubicBezTo>
                    <a:pt x="6274" y="4482"/>
                    <a:pt x="4482" y="6274"/>
                    <a:pt x="4482" y="8963"/>
                  </a:cubicBezTo>
                  <a:cubicBezTo>
                    <a:pt x="4482" y="11652"/>
                    <a:pt x="6274" y="13445"/>
                    <a:pt x="8963" y="13445"/>
                  </a:cubicBezTo>
                  <a:cubicBezTo>
                    <a:pt x="11653" y="13445"/>
                    <a:pt x="13445" y="11652"/>
                    <a:pt x="13445" y="8963"/>
                  </a:cubicBezTo>
                  <a:cubicBezTo>
                    <a:pt x="13445" y="6274"/>
                    <a:pt x="11204" y="4482"/>
                    <a:pt x="8963" y="4482"/>
                  </a:cubicBezTo>
                  <a:close/>
                </a:path>
              </a:pathLst>
            </a:custGeom>
            <a:solidFill>
              <a:srgbClr val="231F20"/>
            </a:solidFill>
            <a:ln w="4477" cap="flat">
              <a:noFill/>
              <a:prstDash val="solid"/>
              <a:miter/>
            </a:ln>
          </p:spPr>
          <p:txBody>
            <a:bodyPr rtlCol="0" anchor="ctr"/>
            <a:lstStyle/>
            <a:p>
              <a:endParaRPr lang="en-US"/>
            </a:p>
          </p:txBody>
        </p:sp>
        <p:sp>
          <p:nvSpPr>
            <p:cNvPr id="5451" name="Freeform: Shape 5450">
              <a:extLst>
                <a:ext uri="{FF2B5EF4-FFF2-40B4-BE49-F238E27FC236}">
                  <a16:creationId xmlns:a16="http://schemas.microsoft.com/office/drawing/2014/main" id="{1CB18FA1-D8AD-48F3-9DEA-0C5C2D0FCCAA}"/>
                </a:ext>
              </a:extLst>
            </p:cNvPr>
            <p:cNvSpPr/>
            <p:nvPr/>
          </p:nvSpPr>
          <p:spPr>
            <a:xfrm>
              <a:off x="9404414" y="1822244"/>
              <a:ext cx="17927" cy="17927"/>
            </a:xfrm>
            <a:custGeom>
              <a:avLst/>
              <a:gdLst>
                <a:gd name="connsiteX0" fmla="*/ 8963 w 17926"/>
                <a:gd name="connsiteY0" fmla="*/ 17927 h 17926"/>
                <a:gd name="connsiteX1" fmla="*/ 0 w 17926"/>
                <a:gd name="connsiteY1" fmla="*/ 8963 h 17926"/>
                <a:gd name="connsiteX2" fmla="*/ 8963 w 17926"/>
                <a:gd name="connsiteY2" fmla="*/ 0 h 17926"/>
                <a:gd name="connsiteX3" fmla="*/ 17927 w 17926"/>
                <a:gd name="connsiteY3" fmla="*/ 8963 h 17926"/>
                <a:gd name="connsiteX4" fmla="*/ 8963 w 17926"/>
                <a:gd name="connsiteY4" fmla="*/ 17927 h 17926"/>
                <a:gd name="connsiteX5" fmla="*/ 8963 w 17926"/>
                <a:gd name="connsiteY5" fmla="*/ 4482 h 17926"/>
                <a:gd name="connsiteX6" fmla="*/ 4482 w 17926"/>
                <a:gd name="connsiteY6" fmla="*/ 8963 h 17926"/>
                <a:gd name="connsiteX7" fmla="*/ 8963 w 17926"/>
                <a:gd name="connsiteY7" fmla="*/ 13445 h 17926"/>
                <a:gd name="connsiteX8" fmla="*/ 13445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4034" y="17927"/>
                    <a:pt x="0" y="13893"/>
                    <a:pt x="0" y="8963"/>
                  </a:cubicBezTo>
                  <a:cubicBezTo>
                    <a:pt x="0" y="4034"/>
                    <a:pt x="4034" y="0"/>
                    <a:pt x="8963" y="0"/>
                  </a:cubicBezTo>
                  <a:cubicBezTo>
                    <a:pt x="13893" y="0"/>
                    <a:pt x="17927" y="4034"/>
                    <a:pt x="17927" y="8963"/>
                  </a:cubicBezTo>
                  <a:cubicBezTo>
                    <a:pt x="17927" y="13893"/>
                    <a:pt x="13893" y="17927"/>
                    <a:pt x="8963" y="17927"/>
                  </a:cubicBezTo>
                  <a:close/>
                  <a:moveTo>
                    <a:pt x="8963" y="4482"/>
                  </a:moveTo>
                  <a:cubicBezTo>
                    <a:pt x="6274" y="4482"/>
                    <a:pt x="4482" y="6274"/>
                    <a:pt x="4482" y="8963"/>
                  </a:cubicBezTo>
                  <a:cubicBezTo>
                    <a:pt x="4482" y="11652"/>
                    <a:pt x="6274" y="13445"/>
                    <a:pt x="8963" y="13445"/>
                  </a:cubicBezTo>
                  <a:cubicBezTo>
                    <a:pt x="11653" y="13445"/>
                    <a:pt x="13445" y="11652"/>
                    <a:pt x="13445" y="8963"/>
                  </a:cubicBezTo>
                  <a:cubicBezTo>
                    <a:pt x="13445" y="6274"/>
                    <a:pt x="11204" y="4482"/>
                    <a:pt x="8963" y="4482"/>
                  </a:cubicBezTo>
                  <a:close/>
                </a:path>
              </a:pathLst>
            </a:custGeom>
            <a:solidFill>
              <a:srgbClr val="231F20"/>
            </a:solidFill>
            <a:ln w="4477" cap="flat">
              <a:noFill/>
              <a:prstDash val="solid"/>
              <a:miter/>
            </a:ln>
          </p:spPr>
          <p:txBody>
            <a:bodyPr rtlCol="0" anchor="ctr"/>
            <a:lstStyle/>
            <a:p>
              <a:endParaRPr lang="en-US"/>
            </a:p>
          </p:txBody>
        </p:sp>
      </p:grpSp>
      <p:grpSp>
        <p:nvGrpSpPr>
          <p:cNvPr id="2468" name="Group 2467">
            <a:extLst>
              <a:ext uri="{FF2B5EF4-FFF2-40B4-BE49-F238E27FC236}">
                <a16:creationId xmlns:a16="http://schemas.microsoft.com/office/drawing/2014/main" id="{0E42806E-8927-43CB-9B3B-50FFE2CD3D72}"/>
              </a:ext>
              <a:ext uri="{C183D7F6-B498-43B3-948B-1728B52AA6E4}">
                <adec:decorative xmlns:adec="http://schemas.microsoft.com/office/drawing/2017/decorative" val="1"/>
              </a:ext>
            </a:extLst>
          </p:cNvPr>
          <p:cNvGrpSpPr>
            <a:grpSpLocks noChangeAspect="1"/>
          </p:cNvGrpSpPr>
          <p:nvPr/>
        </p:nvGrpSpPr>
        <p:grpSpPr>
          <a:xfrm>
            <a:off x="9851657" y="3844323"/>
            <a:ext cx="147896" cy="98597"/>
            <a:chOff x="9908157" y="1788632"/>
            <a:chExt cx="147896" cy="98597"/>
          </a:xfrm>
        </p:grpSpPr>
        <p:sp>
          <p:nvSpPr>
            <p:cNvPr id="5444" name="Freeform: Shape 5443">
              <a:extLst>
                <a:ext uri="{FF2B5EF4-FFF2-40B4-BE49-F238E27FC236}">
                  <a16:creationId xmlns:a16="http://schemas.microsoft.com/office/drawing/2014/main" id="{BDA7C2DD-CB5A-4005-8B0B-20E0565052DD}"/>
                </a:ext>
              </a:extLst>
            </p:cNvPr>
            <p:cNvSpPr/>
            <p:nvPr/>
          </p:nvSpPr>
          <p:spPr>
            <a:xfrm>
              <a:off x="9933254" y="1843757"/>
              <a:ext cx="13445" cy="13445"/>
            </a:xfrm>
            <a:custGeom>
              <a:avLst/>
              <a:gdLst>
                <a:gd name="connsiteX0" fmla="*/ 6723 w 13445"/>
                <a:gd name="connsiteY0" fmla="*/ 13445 h 13445"/>
                <a:gd name="connsiteX1" fmla="*/ 13445 w 13445"/>
                <a:gd name="connsiteY1" fmla="*/ 6723 h 13445"/>
                <a:gd name="connsiteX2" fmla="*/ 6723 w 13445"/>
                <a:gd name="connsiteY2" fmla="*/ 0 h 13445"/>
                <a:gd name="connsiteX3" fmla="*/ 0 w 13445"/>
                <a:gd name="connsiteY3" fmla="*/ 6723 h 13445"/>
                <a:gd name="connsiteX4" fmla="*/ 6723 w 13445"/>
                <a:gd name="connsiteY4" fmla="*/ 13445 h 13445"/>
                <a:gd name="connsiteX5" fmla="*/ 6723 w 13445"/>
                <a:gd name="connsiteY5" fmla="*/ 4482 h 13445"/>
                <a:gd name="connsiteX6" fmla="*/ 8963 w 13445"/>
                <a:gd name="connsiteY6" fmla="*/ 6723 h 13445"/>
                <a:gd name="connsiteX7" fmla="*/ 6723 w 13445"/>
                <a:gd name="connsiteY7" fmla="*/ 8963 h 13445"/>
                <a:gd name="connsiteX8" fmla="*/ 4482 w 13445"/>
                <a:gd name="connsiteY8" fmla="*/ 6723 h 13445"/>
                <a:gd name="connsiteX9" fmla="*/ 6723 w 13445"/>
                <a:gd name="connsiteY9"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13445"/>
                  </a:moveTo>
                  <a:cubicBezTo>
                    <a:pt x="10308" y="13445"/>
                    <a:pt x="13445" y="10308"/>
                    <a:pt x="13445" y="6723"/>
                  </a:cubicBezTo>
                  <a:cubicBezTo>
                    <a:pt x="13445" y="3137"/>
                    <a:pt x="10308" y="0"/>
                    <a:pt x="6723" y="0"/>
                  </a:cubicBezTo>
                  <a:cubicBezTo>
                    <a:pt x="3137" y="0"/>
                    <a:pt x="0" y="3137"/>
                    <a:pt x="0" y="6723"/>
                  </a:cubicBezTo>
                  <a:cubicBezTo>
                    <a:pt x="0" y="10756"/>
                    <a:pt x="2689" y="13445"/>
                    <a:pt x="6723" y="13445"/>
                  </a:cubicBezTo>
                  <a:close/>
                  <a:moveTo>
                    <a:pt x="6723" y="4482"/>
                  </a:moveTo>
                  <a:cubicBezTo>
                    <a:pt x="8067" y="4482"/>
                    <a:pt x="8963" y="5378"/>
                    <a:pt x="8963" y="6723"/>
                  </a:cubicBezTo>
                  <a:cubicBezTo>
                    <a:pt x="8963" y="8067"/>
                    <a:pt x="8067" y="8963"/>
                    <a:pt x="6723" y="8963"/>
                  </a:cubicBezTo>
                  <a:cubicBezTo>
                    <a:pt x="5378" y="8963"/>
                    <a:pt x="4482" y="8067"/>
                    <a:pt x="4482" y="6723"/>
                  </a:cubicBezTo>
                  <a:cubicBezTo>
                    <a:pt x="4482" y="5378"/>
                    <a:pt x="5378" y="4482"/>
                    <a:pt x="6723" y="4482"/>
                  </a:cubicBezTo>
                  <a:close/>
                </a:path>
              </a:pathLst>
            </a:custGeom>
            <a:solidFill>
              <a:srgbClr val="231F20"/>
            </a:solidFill>
            <a:ln w="4477" cap="flat">
              <a:noFill/>
              <a:prstDash val="solid"/>
              <a:miter/>
            </a:ln>
          </p:spPr>
          <p:txBody>
            <a:bodyPr rtlCol="0" anchor="ctr"/>
            <a:lstStyle/>
            <a:p>
              <a:endParaRPr lang="en-US"/>
            </a:p>
          </p:txBody>
        </p:sp>
        <p:sp>
          <p:nvSpPr>
            <p:cNvPr id="5445" name="Freeform: Shape 5444">
              <a:extLst>
                <a:ext uri="{FF2B5EF4-FFF2-40B4-BE49-F238E27FC236}">
                  <a16:creationId xmlns:a16="http://schemas.microsoft.com/office/drawing/2014/main" id="{284CCA25-1366-481C-B437-13828156A87F}"/>
                </a:ext>
              </a:extLst>
            </p:cNvPr>
            <p:cNvSpPr/>
            <p:nvPr/>
          </p:nvSpPr>
          <p:spPr>
            <a:xfrm>
              <a:off x="9999136" y="1844205"/>
              <a:ext cx="13445" cy="13445"/>
            </a:xfrm>
            <a:custGeom>
              <a:avLst/>
              <a:gdLst>
                <a:gd name="connsiteX0" fmla="*/ 6723 w 13445"/>
                <a:gd name="connsiteY0" fmla="*/ 0 h 13445"/>
                <a:gd name="connsiteX1" fmla="*/ 0 w 13445"/>
                <a:gd name="connsiteY1" fmla="*/ 6723 h 13445"/>
                <a:gd name="connsiteX2" fmla="*/ 6723 w 13445"/>
                <a:gd name="connsiteY2" fmla="*/ 13445 h 13445"/>
                <a:gd name="connsiteX3" fmla="*/ 13445 w 13445"/>
                <a:gd name="connsiteY3" fmla="*/ 6723 h 13445"/>
                <a:gd name="connsiteX4" fmla="*/ 6723 w 13445"/>
                <a:gd name="connsiteY4" fmla="*/ 0 h 13445"/>
                <a:gd name="connsiteX5" fmla="*/ 6723 w 13445"/>
                <a:gd name="connsiteY5" fmla="*/ 9412 h 13445"/>
                <a:gd name="connsiteX6" fmla="*/ 4482 w 13445"/>
                <a:gd name="connsiteY6" fmla="*/ 7171 h 13445"/>
                <a:gd name="connsiteX7" fmla="*/ 6723 w 13445"/>
                <a:gd name="connsiteY7" fmla="*/ 4930 h 13445"/>
                <a:gd name="connsiteX8" fmla="*/ 8963 w 13445"/>
                <a:gd name="connsiteY8" fmla="*/ 7171 h 13445"/>
                <a:gd name="connsiteX9" fmla="*/ 6723 w 13445"/>
                <a:gd name="connsiteY9" fmla="*/ 941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0"/>
                  </a:moveTo>
                  <a:cubicBezTo>
                    <a:pt x="3137" y="0"/>
                    <a:pt x="0" y="3137"/>
                    <a:pt x="0" y="6723"/>
                  </a:cubicBezTo>
                  <a:cubicBezTo>
                    <a:pt x="0" y="10308"/>
                    <a:pt x="3137" y="13445"/>
                    <a:pt x="6723" y="13445"/>
                  </a:cubicBezTo>
                  <a:cubicBezTo>
                    <a:pt x="10308" y="13445"/>
                    <a:pt x="13445" y="10308"/>
                    <a:pt x="13445" y="6723"/>
                  </a:cubicBezTo>
                  <a:cubicBezTo>
                    <a:pt x="13445" y="3137"/>
                    <a:pt x="10756" y="0"/>
                    <a:pt x="6723" y="0"/>
                  </a:cubicBezTo>
                  <a:close/>
                  <a:moveTo>
                    <a:pt x="6723" y="9412"/>
                  </a:moveTo>
                  <a:cubicBezTo>
                    <a:pt x="5378" y="9412"/>
                    <a:pt x="4482" y="8515"/>
                    <a:pt x="4482" y="7171"/>
                  </a:cubicBezTo>
                  <a:cubicBezTo>
                    <a:pt x="4482" y="5826"/>
                    <a:pt x="5378" y="4930"/>
                    <a:pt x="6723" y="4930"/>
                  </a:cubicBezTo>
                  <a:cubicBezTo>
                    <a:pt x="8067" y="4930"/>
                    <a:pt x="8963" y="5826"/>
                    <a:pt x="8963" y="7171"/>
                  </a:cubicBezTo>
                  <a:cubicBezTo>
                    <a:pt x="8963" y="8067"/>
                    <a:pt x="8067" y="9412"/>
                    <a:pt x="6723" y="9412"/>
                  </a:cubicBezTo>
                  <a:close/>
                </a:path>
              </a:pathLst>
            </a:custGeom>
            <a:solidFill>
              <a:srgbClr val="231F20"/>
            </a:solidFill>
            <a:ln w="4477" cap="flat">
              <a:noFill/>
              <a:prstDash val="solid"/>
              <a:miter/>
            </a:ln>
          </p:spPr>
          <p:txBody>
            <a:bodyPr rtlCol="0" anchor="ctr"/>
            <a:lstStyle/>
            <a:p>
              <a:endParaRPr lang="en-US"/>
            </a:p>
          </p:txBody>
        </p:sp>
        <p:sp>
          <p:nvSpPr>
            <p:cNvPr id="5446" name="Freeform: Shape 5445">
              <a:extLst>
                <a:ext uri="{FF2B5EF4-FFF2-40B4-BE49-F238E27FC236}">
                  <a16:creationId xmlns:a16="http://schemas.microsoft.com/office/drawing/2014/main" id="{A3198F63-20DE-4C77-91A8-8D26C032F1CB}"/>
                </a:ext>
              </a:extLst>
            </p:cNvPr>
            <p:cNvSpPr/>
            <p:nvPr/>
          </p:nvSpPr>
          <p:spPr>
            <a:xfrm>
              <a:off x="9908157" y="1788632"/>
              <a:ext cx="147896" cy="98597"/>
            </a:xfrm>
            <a:custGeom>
              <a:avLst/>
              <a:gdLst>
                <a:gd name="connsiteX0" fmla="*/ 149689 w 147896"/>
                <a:gd name="connsiteY0" fmla="*/ 3585 h 98597"/>
                <a:gd name="connsiteX1" fmla="*/ 107561 w 147896"/>
                <a:gd name="connsiteY1" fmla="*/ 3585 h 98597"/>
                <a:gd name="connsiteX2" fmla="*/ 108009 w 147896"/>
                <a:gd name="connsiteY2" fmla="*/ 1345 h 98597"/>
                <a:gd name="connsiteX3" fmla="*/ 105768 w 147896"/>
                <a:gd name="connsiteY3" fmla="*/ 0 h 98597"/>
                <a:gd name="connsiteX4" fmla="*/ 75741 w 147896"/>
                <a:gd name="connsiteY4" fmla="*/ 0 h 98597"/>
                <a:gd name="connsiteX5" fmla="*/ 73948 w 147896"/>
                <a:gd name="connsiteY5" fmla="*/ 896 h 98597"/>
                <a:gd name="connsiteX6" fmla="*/ 71259 w 147896"/>
                <a:gd name="connsiteY6" fmla="*/ 4034 h 98597"/>
                <a:gd name="connsiteX7" fmla="*/ 24201 w 147896"/>
                <a:gd name="connsiteY7" fmla="*/ 4034 h 98597"/>
                <a:gd name="connsiteX8" fmla="*/ 21960 w 147896"/>
                <a:gd name="connsiteY8" fmla="*/ 6274 h 98597"/>
                <a:gd name="connsiteX9" fmla="*/ 24201 w 147896"/>
                <a:gd name="connsiteY9" fmla="*/ 8515 h 98597"/>
                <a:gd name="connsiteX10" fmla="*/ 67226 w 147896"/>
                <a:gd name="connsiteY10" fmla="*/ 8515 h 98597"/>
                <a:gd name="connsiteX11" fmla="*/ 61847 w 147896"/>
                <a:gd name="connsiteY11" fmla="*/ 14341 h 98597"/>
                <a:gd name="connsiteX12" fmla="*/ 12997 w 147896"/>
                <a:gd name="connsiteY12" fmla="*/ 14341 h 98597"/>
                <a:gd name="connsiteX13" fmla="*/ 10756 w 147896"/>
                <a:gd name="connsiteY13" fmla="*/ 16582 h 98597"/>
                <a:gd name="connsiteX14" fmla="*/ 12997 w 147896"/>
                <a:gd name="connsiteY14" fmla="*/ 18823 h 98597"/>
                <a:gd name="connsiteX15" fmla="*/ 57814 w 147896"/>
                <a:gd name="connsiteY15" fmla="*/ 18823 h 98597"/>
                <a:gd name="connsiteX16" fmla="*/ 49747 w 147896"/>
                <a:gd name="connsiteY16" fmla="*/ 27338 h 98597"/>
                <a:gd name="connsiteX17" fmla="*/ 2241 w 147896"/>
                <a:gd name="connsiteY17" fmla="*/ 27338 h 98597"/>
                <a:gd name="connsiteX18" fmla="*/ 0 w 147896"/>
                <a:gd name="connsiteY18" fmla="*/ 29579 h 98597"/>
                <a:gd name="connsiteX19" fmla="*/ 0 w 147896"/>
                <a:gd name="connsiteY19" fmla="*/ 96805 h 98597"/>
                <a:gd name="connsiteX20" fmla="*/ 2241 w 147896"/>
                <a:gd name="connsiteY20" fmla="*/ 99046 h 98597"/>
                <a:gd name="connsiteX21" fmla="*/ 50643 w 147896"/>
                <a:gd name="connsiteY21" fmla="*/ 99046 h 98597"/>
                <a:gd name="connsiteX22" fmla="*/ 50643 w 147896"/>
                <a:gd name="connsiteY22" fmla="*/ 99046 h 98597"/>
                <a:gd name="connsiteX23" fmla="*/ 79774 w 147896"/>
                <a:gd name="connsiteY23" fmla="*/ 99046 h 98597"/>
                <a:gd name="connsiteX24" fmla="*/ 79774 w 147896"/>
                <a:gd name="connsiteY24" fmla="*/ 99046 h 98597"/>
                <a:gd name="connsiteX25" fmla="*/ 127280 w 147896"/>
                <a:gd name="connsiteY25" fmla="*/ 99046 h 98597"/>
                <a:gd name="connsiteX26" fmla="*/ 129521 w 147896"/>
                <a:gd name="connsiteY26" fmla="*/ 96805 h 98597"/>
                <a:gd name="connsiteX27" fmla="*/ 129521 w 147896"/>
                <a:gd name="connsiteY27" fmla="*/ 29579 h 98597"/>
                <a:gd name="connsiteX28" fmla="*/ 127280 w 147896"/>
                <a:gd name="connsiteY28" fmla="*/ 27338 h 98597"/>
                <a:gd name="connsiteX29" fmla="*/ 85152 w 147896"/>
                <a:gd name="connsiteY29" fmla="*/ 27338 h 98597"/>
                <a:gd name="connsiteX30" fmla="*/ 93668 w 147896"/>
                <a:gd name="connsiteY30" fmla="*/ 18823 h 98597"/>
                <a:gd name="connsiteX31" fmla="*/ 93668 w 147896"/>
                <a:gd name="connsiteY31" fmla="*/ 18823 h 98597"/>
                <a:gd name="connsiteX32" fmla="*/ 135796 w 147896"/>
                <a:gd name="connsiteY32" fmla="*/ 18823 h 98597"/>
                <a:gd name="connsiteX33" fmla="*/ 135796 w 147896"/>
                <a:gd name="connsiteY33" fmla="*/ 84256 h 98597"/>
                <a:gd name="connsiteX34" fmla="*/ 138036 w 147896"/>
                <a:gd name="connsiteY34" fmla="*/ 86497 h 98597"/>
                <a:gd name="connsiteX35" fmla="*/ 140277 w 147896"/>
                <a:gd name="connsiteY35" fmla="*/ 84256 h 98597"/>
                <a:gd name="connsiteX36" fmla="*/ 140277 w 147896"/>
                <a:gd name="connsiteY36" fmla="*/ 16134 h 98597"/>
                <a:gd name="connsiteX37" fmla="*/ 138036 w 147896"/>
                <a:gd name="connsiteY37" fmla="*/ 13893 h 98597"/>
                <a:gd name="connsiteX38" fmla="*/ 97701 w 147896"/>
                <a:gd name="connsiteY38" fmla="*/ 13893 h 98597"/>
                <a:gd name="connsiteX39" fmla="*/ 103527 w 147896"/>
                <a:gd name="connsiteY39" fmla="*/ 8067 h 98597"/>
                <a:gd name="connsiteX40" fmla="*/ 103976 w 147896"/>
                <a:gd name="connsiteY40" fmla="*/ 8067 h 98597"/>
                <a:gd name="connsiteX41" fmla="*/ 147448 w 147896"/>
                <a:gd name="connsiteY41" fmla="*/ 8067 h 98597"/>
                <a:gd name="connsiteX42" fmla="*/ 147448 w 147896"/>
                <a:gd name="connsiteY42" fmla="*/ 70363 h 98597"/>
                <a:gd name="connsiteX43" fmla="*/ 149689 w 147896"/>
                <a:gd name="connsiteY43" fmla="*/ 72604 h 98597"/>
                <a:gd name="connsiteX44" fmla="*/ 151930 w 147896"/>
                <a:gd name="connsiteY44" fmla="*/ 70363 h 98597"/>
                <a:gd name="connsiteX45" fmla="*/ 151930 w 147896"/>
                <a:gd name="connsiteY45" fmla="*/ 5826 h 98597"/>
                <a:gd name="connsiteX46" fmla="*/ 149689 w 147896"/>
                <a:gd name="connsiteY46" fmla="*/ 3585 h 98597"/>
                <a:gd name="connsiteX47" fmla="*/ 47954 w 147896"/>
                <a:gd name="connsiteY47" fmla="*/ 84256 h 98597"/>
                <a:gd name="connsiteX48" fmla="*/ 19271 w 147896"/>
                <a:gd name="connsiteY48" fmla="*/ 84256 h 98597"/>
                <a:gd name="connsiteX49" fmla="*/ 13445 w 147896"/>
                <a:gd name="connsiteY49" fmla="*/ 77982 h 98597"/>
                <a:gd name="connsiteX50" fmla="*/ 13445 w 147896"/>
                <a:gd name="connsiteY50" fmla="*/ 47506 h 98597"/>
                <a:gd name="connsiteX51" fmla="*/ 19271 w 147896"/>
                <a:gd name="connsiteY51" fmla="*/ 41232 h 98597"/>
                <a:gd name="connsiteX52" fmla="*/ 47954 w 147896"/>
                <a:gd name="connsiteY52" fmla="*/ 41232 h 98597"/>
                <a:gd name="connsiteX53" fmla="*/ 47954 w 147896"/>
                <a:gd name="connsiteY53" fmla="*/ 84256 h 98597"/>
                <a:gd name="connsiteX54" fmla="*/ 4034 w 147896"/>
                <a:gd name="connsiteY54" fmla="*/ 31372 h 98597"/>
                <a:gd name="connsiteX55" fmla="*/ 47954 w 147896"/>
                <a:gd name="connsiteY55" fmla="*/ 31372 h 98597"/>
                <a:gd name="connsiteX56" fmla="*/ 47954 w 147896"/>
                <a:gd name="connsiteY56" fmla="*/ 36750 h 98597"/>
                <a:gd name="connsiteX57" fmla="*/ 17927 w 147896"/>
                <a:gd name="connsiteY57" fmla="*/ 36750 h 98597"/>
                <a:gd name="connsiteX58" fmla="*/ 15686 w 147896"/>
                <a:gd name="connsiteY58" fmla="*/ 38543 h 98597"/>
                <a:gd name="connsiteX59" fmla="*/ 10756 w 147896"/>
                <a:gd name="connsiteY59" fmla="*/ 43473 h 98597"/>
                <a:gd name="connsiteX60" fmla="*/ 8963 w 147896"/>
                <a:gd name="connsiteY60" fmla="*/ 45713 h 98597"/>
                <a:gd name="connsiteX61" fmla="*/ 8963 w 147896"/>
                <a:gd name="connsiteY61" fmla="*/ 79774 h 98597"/>
                <a:gd name="connsiteX62" fmla="*/ 10756 w 147896"/>
                <a:gd name="connsiteY62" fmla="*/ 82015 h 98597"/>
                <a:gd name="connsiteX63" fmla="*/ 15686 w 147896"/>
                <a:gd name="connsiteY63" fmla="*/ 86945 h 98597"/>
                <a:gd name="connsiteX64" fmla="*/ 17927 w 147896"/>
                <a:gd name="connsiteY64" fmla="*/ 88738 h 98597"/>
                <a:gd name="connsiteX65" fmla="*/ 47954 w 147896"/>
                <a:gd name="connsiteY65" fmla="*/ 88738 h 98597"/>
                <a:gd name="connsiteX66" fmla="*/ 47954 w 147896"/>
                <a:gd name="connsiteY66" fmla="*/ 94116 h 98597"/>
                <a:gd name="connsiteX67" fmla="*/ 4034 w 147896"/>
                <a:gd name="connsiteY67" fmla="*/ 94116 h 98597"/>
                <a:gd name="connsiteX68" fmla="*/ 4034 w 147896"/>
                <a:gd name="connsiteY68" fmla="*/ 31372 h 98597"/>
                <a:gd name="connsiteX69" fmla="*/ 82015 w 147896"/>
                <a:gd name="connsiteY69" fmla="*/ 41232 h 98597"/>
                <a:gd name="connsiteX70" fmla="*/ 109802 w 147896"/>
                <a:gd name="connsiteY70" fmla="*/ 41232 h 98597"/>
                <a:gd name="connsiteX71" fmla="*/ 115628 w 147896"/>
                <a:gd name="connsiteY71" fmla="*/ 47506 h 98597"/>
                <a:gd name="connsiteX72" fmla="*/ 115628 w 147896"/>
                <a:gd name="connsiteY72" fmla="*/ 77982 h 98597"/>
                <a:gd name="connsiteX73" fmla="*/ 109802 w 147896"/>
                <a:gd name="connsiteY73" fmla="*/ 84256 h 98597"/>
                <a:gd name="connsiteX74" fmla="*/ 82015 w 147896"/>
                <a:gd name="connsiteY74" fmla="*/ 84256 h 98597"/>
                <a:gd name="connsiteX75" fmla="*/ 82015 w 147896"/>
                <a:gd name="connsiteY75" fmla="*/ 41232 h 98597"/>
                <a:gd name="connsiteX76" fmla="*/ 125040 w 147896"/>
                <a:gd name="connsiteY76" fmla="*/ 94116 h 98597"/>
                <a:gd name="connsiteX77" fmla="*/ 82015 w 147896"/>
                <a:gd name="connsiteY77" fmla="*/ 94116 h 98597"/>
                <a:gd name="connsiteX78" fmla="*/ 82015 w 147896"/>
                <a:gd name="connsiteY78" fmla="*/ 88738 h 98597"/>
                <a:gd name="connsiteX79" fmla="*/ 111146 w 147896"/>
                <a:gd name="connsiteY79" fmla="*/ 88738 h 98597"/>
                <a:gd name="connsiteX80" fmla="*/ 113387 w 147896"/>
                <a:gd name="connsiteY80" fmla="*/ 86945 h 98597"/>
                <a:gd name="connsiteX81" fmla="*/ 118317 w 147896"/>
                <a:gd name="connsiteY81" fmla="*/ 82015 h 98597"/>
                <a:gd name="connsiteX82" fmla="*/ 120110 w 147896"/>
                <a:gd name="connsiteY82" fmla="*/ 79774 h 98597"/>
                <a:gd name="connsiteX83" fmla="*/ 120110 w 147896"/>
                <a:gd name="connsiteY83" fmla="*/ 45713 h 98597"/>
                <a:gd name="connsiteX84" fmla="*/ 118317 w 147896"/>
                <a:gd name="connsiteY84" fmla="*/ 43473 h 98597"/>
                <a:gd name="connsiteX85" fmla="*/ 113387 w 147896"/>
                <a:gd name="connsiteY85" fmla="*/ 38543 h 98597"/>
                <a:gd name="connsiteX86" fmla="*/ 111146 w 147896"/>
                <a:gd name="connsiteY86" fmla="*/ 36750 h 98597"/>
                <a:gd name="connsiteX87" fmla="*/ 82015 w 147896"/>
                <a:gd name="connsiteY87" fmla="*/ 36750 h 98597"/>
                <a:gd name="connsiteX88" fmla="*/ 82015 w 147896"/>
                <a:gd name="connsiteY88" fmla="*/ 31372 h 98597"/>
                <a:gd name="connsiteX89" fmla="*/ 125040 w 147896"/>
                <a:gd name="connsiteY89" fmla="*/ 31372 h 98597"/>
                <a:gd name="connsiteX90" fmla="*/ 125040 w 147896"/>
                <a:gd name="connsiteY90" fmla="*/ 94116 h 98597"/>
                <a:gd name="connsiteX91" fmla="*/ 77982 w 147896"/>
                <a:gd name="connsiteY91" fmla="*/ 27338 h 98597"/>
                <a:gd name="connsiteX92" fmla="*/ 77533 w 147896"/>
                <a:gd name="connsiteY92" fmla="*/ 28683 h 98597"/>
                <a:gd name="connsiteX93" fmla="*/ 77533 w 147896"/>
                <a:gd name="connsiteY93" fmla="*/ 93668 h 98597"/>
                <a:gd name="connsiteX94" fmla="*/ 52884 w 147896"/>
                <a:gd name="connsiteY94" fmla="*/ 93668 h 98597"/>
                <a:gd name="connsiteX95" fmla="*/ 52884 w 147896"/>
                <a:gd name="connsiteY95" fmla="*/ 29579 h 98597"/>
                <a:gd name="connsiteX96" fmla="*/ 77085 w 147896"/>
                <a:gd name="connsiteY96" fmla="*/ 4034 h 98597"/>
                <a:gd name="connsiteX97" fmla="*/ 100838 w 147896"/>
                <a:gd name="connsiteY97" fmla="*/ 4034 h 98597"/>
                <a:gd name="connsiteX98" fmla="*/ 77982 w 147896"/>
                <a:gd name="connsiteY98" fmla="*/ 27338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7896" h="98597">
                  <a:moveTo>
                    <a:pt x="149689" y="3585"/>
                  </a:moveTo>
                  <a:lnTo>
                    <a:pt x="107561" y="3585"/>
                  </a:lnTo>
                  <a:cubicBezTo>
                    <a:pt x="108009" y="3137"/>
                    <a:pt x="108457" y="2241"/>
                    <a:pt x="108009" y="1345"/>
                  </a:cubicBezTo>
                  <a:cubicBezTo>
                    <a:pt x="107561" y="448"/>
                    <a:pt x="106664" y="0"/>
                    <a:pt x="105768" y="0"/>
                  </a:cubicBezTo>
                  <a:lnTo>
                    <a:pt x="75741" y="0"/>
                  </a:lnTo>
                  <a:cubicBezTo>
                    <a:pt x="75293" y="0"/>
                    <a:pt x="74396" y="448"/>
                    <a:pt x="73948" y="896"/>
                  </a:cubicBezTo>
                  <a:lnTo>
                    <a:pt x="71259" y="4034"/>
                  </a:lnTo>
                  <a:lnTo>
                    <a:pt x="24201" y="4034"/>
                  </a:lnTo>
                  <a:cubicBezTo>
                    <a:pt x="22857" y="4034"/>
                    <a:pt x="21960" y="4930"/>
                    <a:pt x="21960" y="6274"/>
                  </a:cubicBezTo>
                  <a:cubicBezTo>
                    <a:pt x="21960" y="7619"/>
                    <a:pt x="22857" y="8515"/>
                    <a:pt x="24201" y="8515"/>
                  </a:cubicBezTo>
                  <a:lnTo>
                    <a:pt x="67226" y="8515"/>
                  </a:lnTo>
                  <a:lnTo>
                    <a:pt x="61847" y="14341"/>
                  </a:lnTo>
                  <a:lnTo>
                    <a:pt x="12997" y="14341"/>
                  </a:lnTo>
                  <a:cubicBezTo>
                    <a:pt x="11652" y="14341"/>
                    <a:pt x="10756" y="15238"/>
                    <a:pt x="10756" y="16582"/>
                  </a:cubicBezTo>
                  <a:cubicBezTo>
                    <a:pt x="10756" y="17927"/>
                    <a:pt x="11652" y="18823"/>
                    <a:pt x="12997" y="18823"/>
                  </a:cubicBezTo>
                  <a:lnTo>
                    <a:pt x="57814" y="18823"/>
                  </a:lnTo>
                  <a:lnTo>
                    <a:pt x="49747" y="27338"/>
                  </a:lnTo>
                  <a:lnTo>
                    <a:pt x="2241" y="27338"/>
                  </a:lnTo>
                  <a:cubicBezTo>
                    <a:pt x="896" y="27338"/>
                    <a:pt x="0" y="28235"/>
                    <a:pt x="0" y="29579"/>
                  </a:cubicBezTo>
                  <a:lnTo>
                    <a:pt x="0" y="96805"/>
                  </a:lnTo>
                  <a:cubicBezTo>
                    <a:pt x="0" y="98149"/>
                    <a:pt x="896" y="99046"/>
                    <a:pt x="2241" y="99046"/>
                  </a:cubicBezTo>
                  <a:lnTo>
                    <a:pt x="50643" y="99046"/>
                  </a:lnTo>
                  <a:cubicBezTo>
                    <a:pt x="50643" y="99046"/>
                    <a:pt x="50643" y="99046"/>
                    <a:pt x="50643" y="99046"/>
                  </a:cubicBezTo>
                  <a:lnTo>
                    <a:pt x="79774" y="99046"/>
                  </a:lnTo>
                  <a:cubicBezTo>
                    <a:pt x="79774" y="99046"/>
                    <a:pt x="79774" y="99046"/>
                    <a:pt x="79774" y="99046"/>
                  </a:cubicBezTo>
                  <a:lnTo>
                    <a:pt x="127280" y="99046"/>
                  </a:lnTo>
                  <a:cubicBezTo>
                    <a:pt x="128625" y="99046"/>
                    <a:pt x="129521" y="98149"/>
                    <a:pt x="129521" y="96805"/>
                  </a:cubicBezTo>
                  <a:lnTo>
                    <a:pt x="129521" y="29579"/>
                  </a:lnTo>
                  <a:cubicBezTo>
                    <a:pt x="129521" y="28235"/>
                    <a:pt x="128625" y="27338"/>
                    <a:pt x="127280" y="27338"/>
                  </a:cubicBezTo>
                  <a:lnTo>
                    <a:pt x="85152" y="27338"/>
                  </a:lnTo>
                  <a:lnTo>
                    <a:pt x="93668" y="18823"/>
                  </a:lnTo>
                  <a:cubicBezTo>
                    <a:pt x="93668" y="18823"/>
                    <a:pt x="93668" y="18823"/>
                    <a:pt x="93668" y="18823"/>
                  </a:cubicBezTo>
                  <a:lnTo>
                    <a:pt x="135796" y="18823"/>
                  </a:lnTo>
                  <a:lnTo>
                    <a:pt x="135796" y="84256"/>
                  </a:lnTo>
                  <a:cubicBezTo>
                    <a:pt x="135796" y="85601"/>
                    <a:pt x="136692" y="86497"/>
                    <a:pt x="138036" y="86497"/>
                  </a:cubicBezTo>
                  <a:cubicBezTo>
                    <a:pt x="139381" y="86497"/>
                    <a:pt x="140277" y="85601"/>
                    <a:pt x="140277" y="84256"/>
                  </a:cubicBezTo>
                  <a:lnTo>
                    <a:pt x="140277" y="16134"/>
                  </a:lnTo>
                  <a:cubicBezTo>
                    <a:pt x="140277" y="14790"/>
                    <a:pt x="139381" y="13893"/>
                    <a:pt x="138036" y="13893"/>
                  </a:cubicBezTo>
                  <a:lnTo>
                    <a:pt x="97701" y="13893"/>
                  </a:lnTo>
                  <a:lnTo>
                    <a:pt x="103527" y="8067"/>
                  </a:lnTo>
                  <a:cubicBezTo>
                    <a:pt x="103527" y="8067"/>
                    <a:pt x="103976" y="8067"/>
                    <a:pt x="103976" y="8067"/>
                  </a:cubicBezTo>
                  <a:lnTo>
                    <a:pt x="147448" y="8067"/>
                  </a:lnTo>
                  <a:lnTo>
                    <a:pt x="147448" y="70363"/>
                  </a:lnTo>
                  <a:cubicBezTo>
                    <a:pt x="147448" y="71707"/>
                    <a:pt x="148344" y="72604"/>
                    <a:pt x="149689" y="72604"/>
                  </a:cubicBezTo>
                  <a:cubicBezTo>
                    <a:pt x="151033" y="72604"/>
                    <a:pt x="151930" y="71707"/>
                    <a:pt x="151930" y="70363"/>
                  </a:cubicBezTo>
                  <a:lnTo>
                    <a:pt x="151930" y="5826"/>
                  </a:lnTo>
                  <a:cubicBezTo>
                    <a:pt x="151930" y="4482"/>
                    <a:pt x="151033" y="3585"/>
                    <a:pt x="149689" y="3585"/>
                  </a:cubicBezTo>
                  <a:close/>
                  <a:moveTo>
                    <a:pt x="47954" y="84256"/>
                  </a:moveTo>
                  <a:lnTo>
                    <a:pt x="19271" y="84256"/>
                  </a:lnTo>
                  <a:cubicBezTo>
                    <a:pt x="18375" y="81567"/>
                    <a:pt x="16134" y="79326"/>
                    <a:pt x="13445" y="77982"/>
                  </a:cubicBezTo>
                  <a:lnTo>
                    <a:pt x="13445" y="47506"/>
                  </a:lnTo>
                  <a:cubicBezTo>
                    <a:pt x="16134" y="46162"/>
                    <a:pt x="18375" y="44369"/>
                    <a:pt x="19271" y="41232"/>
                  </a:cubicBezTo>
                  <a:lnTo>
                    <a:pt x="47954" y="41232"/>
                  </a:lnTo>
                  <a:lnTo>
                    <a:pt x="47954" y="84256"/>
                  </a:lnTo>
                  <a:close/>
                  <a:moveTo>
                    <a:pt x="4034" y="31372"/>
                  </a:moveTo>
                  <a:lnTo>
                    <a:pt x="47954" y="31372"/>
                  </a:lnTo>
                  <a:lnTo>
                    <a:pt x="47954" y="36750"/>
                  </a:lnTo>
                  <a:lnTo>
                    <a:pt x="17927" y="36750"/>
                  </a:lnTo>
                  <a:cubicBezTo>
                    <a:pt x="17030" y="36750"/>
                    <a:pt x="16134" y="37646"/>
                    <a:pt x="15686" y="38543"/>
                  </a:cubicBezTo>
                  <a:cubicBezTo>
                    <a:pt x="15238" y="41232"/>
                    <a:pt x="13445" y="43024"/>
                    <a:pt x="10756" y="43473"/>
                  </a:cubicBezTo>
                  <a:cubicBezTo>
                    <a:pt x="9860" y="43473"/>
                    <a:pt x="8963" y="44817"/>
                    <a:pt x="8963" y="45713"/>
                  </a:cubicBezTo>
                  <a:lnTo>
                    <a:pt x="8963" y="79774"/>
                  </a:lnTo>
                  <a:cubicBezTo>
                    <a:pt x="8963" y="80671"/>
                    <a:pt x="9860" y="81567"/>
                    <a:pt x="10756" y="82015"/>
                  </a:cubicBezTo>
                  <a:cubicBezTo>
                    <a:pt x="12997" y="82463"/>
                    <a:pt x="15238" y="84704"/>
                    <a:pt x="15686" y="86945"/>
                  </a:cubicBezTo>
                  <a:cubicBezTo>
                    <a:pt x="15686" y="87841"/>
                    <a:pt x="17030" y="88738"/>
                    <a:pt x="17927" y="88738"/>
                  </a:cubicBezTo>
                  <a:lnTo>
                    <a:pt x="47954" y="88738"/>
                  </a:lnTo>
                  <a:lnTo>
                    <a:pt x="47954" y="94116"/>
                  </a:lnTo>
                  <a:lnTo>
                    <a:pt x="4034" y="94116"/>
                  </a:lnTo>
                  <a:lnTo>
                    <a:pt x="4034" y="31372"/>
                  </a:lnTo>
                  <a:close/>
                  <a:moveTo>
                    <a:pt x="82015" y="41232"/>
                  </a:moveTo>
                  <a:lnTo>
                    <a:pt x="109802" y="41232"/>
                  </a:lnTo>
                  <a:cubicBezTo>
                    <a:pt x="110698" y="43921"/>
                    <a:pt x="112939" y="46162"/>
                    <a:pt x="115628" y="47506"/>
                  </a:cubicBezTo>
                  <a:lnTo>
                    <a:pt x="115628" y="77982"/>
                  </a:lnTo>
                  <a:cubicBezTo>
                    <a:pt x="112939" y="78878"/>
                    <a:pt x="110698" y="81119"/>
                    <a:pt x="109802" y="84256"/>
                  </a:cubicBezTo>
                  <a:lnTo>
                    <a:pt x="82015" y="84256"/>
                  </a:lnTo>
                  <a:lnTo>
                    <a:pt x="82015" y="41232"/>
                  </a:lnTo>
                  <a:close/>
                  <a:moveTo>
                    <a:pt x="125040" y="94116"/>
                  </a:moveTo>
                  <a:lnTo>
                    <a:pt x="82015" y="94116"/>
                  </a:lnTo>
                  <a:lnTo>
                    <a:pt x="82015" y="88738"/>
                  </a:lnTo>
                  <a:lnTo>
                    <a:pt x="111146" y="88738"/>
                  </a:lnTo>
                  <a:cubicBezTo>
                    <a:pt x="112043" y="88738"/>
                    <a:pt x="112939" y="87841"/>
                    <a:pt x="113387" y="86945"/>
                  </a:cubicBezTo>
                  <a:cubicBezTo>
                    <a:pt x="113835" y="84256"/>
                    <a:pt x="115628" y="82463"/>
                    <a:pt x="118317" y="82015"/>
                  </a:cubicBezTo>
                  <a:cubicBezTo>
                    <a:pt x="119213" y="82015"/>
                    <a:pt x="120110" y="80671"/>
                    <a:pt x="120110" y="79774"/>
                  </a:cubicBezTo>
                  <a:lnTo>
                    <a:pt x="120110" y="45713"/>
                  </a:lnTo>
                  <a:cubicBezTo>
                    <a:pt x="120110" y="44817"/>
                    <a:pt x="119213" y="43921"/>
                    <a:pt x="118317" y="43473"/>
                  </a:cubicBezTo>
                  <a:cubicBezTo>
                    <a:pt x="116076" y="43024"/>
                    <a:pt x="113835" y="40784"/>
                    <a:pt x="113387" y="38543"/>
                  </a:cubicBezTo>
                  <a:cubicBezTo>
                    <a:pt x="113387" y="37646"/>
                    <a:pt x="112043" y="36750"/>
                    <a:pt x="111146" y="36750"/>
                  </a:cubicBezTo>
                  <a:lnTo>
                    <a:pt x="82015" y="36750"/>
                  </a:lnTo>
                  <a:lnTo>
                    <a:pt x="82015" y="31372"/>
                  </a:lnTo>
                  <a:lnTo>
                    <a:pt x="125040" y="31372"/>
                  </a:lnTo>
                  <a:lnTo>
                    <a:pt x="125040" y="94116"/>
                  </a:lnTo>
                  <a:close/>
                  <a:moveTo>
                    <a:pt x="77982" y="27338"/>
                  </a:moveTo>
                  <a:cubicBezTo>
                    <a:pt x="77533" y="27787"/>
                    <a:pt x="77533" y="28235"/>
                    <a:pt x="77533" y="28683"/>
                  </a:cubicBezTo>
                  <a:lnTo>
                    <a:pt x="77533" y="93668"/>
                  </a:lnTo>
                  <a:lnTo>
                    <a:pt x="52884" y="93668"/>
                  </a:lnTo>
                  <a:lnTo>
                    <a:pt x="52884" y="29579"/>
                  </a:lnTo>
                  <a:lnTo>
                    <a:pt x="77085" y="4034"/>
                  </a:lnTo>
                  <a:lnTo>
                    <a:pt x="100838" y="4034"/>
                  </a:lnTo>
                  <a:lnTo>
                    <a:pt x="77982" y="27338"/>
                  </a:lnTo>
                  <a:close/>
                </a:path>
              </a:pathLst>
            </a:custGeom>
            <a:solidFill>
              <a:srgbClr val="231F20"/>
            </a:solidFill>
            <a:ln w="4477" cap="flat">
              <a:noFill/>
              <a:prstDash val="solid"/>
              <a:miter/>
            </a:ln>
          </p:spPr>
          <p:txBody>
            <a:bodyPr rtlCol="0" anchor="ctr"/>
            <a:lstStyle/>
            <a:p>
              <a:endParaRPr lang="en-US"/>
            </a:p>
          </p:txBody>
        </p:sp>
      </p:grpSp>
      <p:grpSp>
        <p:nvGrpSpPr>
          <p:cNvPr id="2469" name="Group 2468">
            <a:extLst>
              <a:ext uri="{FF2B5EF4-FFF2-40B4-BE49-F238E27FC236}">
                <a16:creationId xmlns:a16="http://schemas.microsoft.com/office/drawing/2014/main" id="{6A32AED5-9512-493D-BC1A-FF3731ABDE7F}"/>
              </a:ext>
              <a:ext uri="{C183D7F6-B498-43B3-948B-1728B52AA6E4}">
                <adec:decorative xmlns:adec="http://schemas.microsoft.com/office/drawing/2017/decorative" val="1"/>
              </a:ext>
            </a:extLst>
          </p:cNvPr>
          <p:cNvGrpSpPr>
            <a:grpSpLocks noChangeAspect="1"/>
          </p:cNvGrpSpPr>
          <p:nvPr/>
        </p:nvGrpSpPr>
        <p:grpSpPr>
          <a:xfrm>
            <a:off x="10111148" y="3830877"/>
            <a:ext cx="152377" cy="138933"/>
            <a:chOff x="10167648" y="1775186"/>
            <a:chExt cx="152377" cy="138933"/>
          </a:xfrm>
        </p:grpSpPr>
        <p:sp>
          <p:nvSpPr>
            <p:cNvPr id="5441" name="Freeform: Shape 5440">
              <a:extLst>
                <a:ext uri="{FF2B5EF4-FFF2-40B4-BE49-F238E27FC236}">
                  <a16:creationId xmlns:a16="http://schemas.microsoft.com/office/drawing/2014/main" id="{8A26A547-744A-47E7-98BD-F7BF27E44F9B}"/>
                </a:ext>
              </a:extLst>
            </p:cNvPr>
            <p:cNvSpPr/>
            <p:nvPr/>
          </p:nvSpPr>
          <p:spPr>
            <a:xfrm>
              <a:off x="10167648" y="1775186"/>
              <a:ext cx="85152" cy="138933"/>
            </a:xfrm>
            <a:custGeom>
              <a:avLst/>
              <a:gdLst>
                <a:gd name="connsiteX0" fmla="*/ 65881 w 85152"/>
                <a:gd name="connsiteY0" fmla="*/ 129521 h 138932"/>
                <a:gd name="connsiteX1" fmla="*/ 61847 w 85152"/>
                <a:gd name="connsiteY1" fmla="*/ 131314 h 138932"/>
                <a:gd name="connsiteX2" fmla="*/ 42576 w 85152"/>
                <a:gd name="connsiteY2" fmla="*/ 134451 h 138932"/>
                <a:gd name="connsiteX3" fmla="*/ 4482 w 85152"/>
                <a:gd name="connsiteY3" fmla="*/ 113387 h 138932"/>
                <a:gd name="connsiteX4" fmla="*/ 4482 w 85152"/>
                <a:gd name="connsiteY4" fmla="*/ 112491 h 138932"/>
                <a:gd name="connsiteX5" fmla="*/ 4482 w 85152"/>
                <a:gd name="connsiteY5" fmla="*/ 111594 h 138932"/>
                <a:gd name="connsiteX6" fmla="*/ 4482 w 85152"/>
                <a:gd name="connsiteY6" fmla="*/ 95012 h 138932"/>
                <a:gd name="connsiteX7" fmla="*/ 42576 w 85152"/>
                <a:gd name="connsiteY7" fmla="*/ 109354 h 138932"/>
                <a:gd name="connsiteX8" fmla="*/ 53780 w 85152"/>
                <a:gd name="connsiteY8" fmla="*/ 108457 h 138932"/>
                <a:gd name="connsiteX9" fmla="*/ 55573 w 85152"/>
                <a:gd name="connsiteY9" fmla="*/ 105768 h 138932"/>
                <a:gd name="connsiteX10" fmla="*/ 52884 w 85152"/>
                <a:gd name="connsiteY10" fmla="*/ 103975 h 138932"/>
                <a:gd name="connsiteX11" fmla="*/ 42576 w 85152"/>
                <a:gd name="connsiteY11" fmla="*/ 104872 h 138932"/>
                <a:gd name="connsiteX12" fmla="*/ 4482 w 85152"/>
                <a:gd name="connsiteY12" fmla="*/ 83808 h 138932"/>
                <a:gd name="connsiteX13" fmla="*/ 4482 w 85152"/>
                <a:gd name="connsiteY13" fmla="*/ 65881 h 138932"/>
                <a:gd name="connsiteX14" fmla="*/ 42576 w 85152"/>
                <a:gd name="connsiteY14" fmla="*/ 80223 h 138932"/>
                <a:gd name="connsiteX15" fmla="*/ 56917 w 85152"/>
                <a:gd name="connsiteY15" fmla="*/ 78878 h 138932"/>
                <a:gd name="connsiteX16" fmla="*/ 58710 w 85152"/>
                <a:gd name="connsiteY16" fmla="*/ 76189 h 138932"/>
                <a:gd name="connsiteX17" fmla="*/ 56021 w 85152"/>
                <a:gd name="connsiteY17" fmla="*/ 74396 h 138932"/>
                <a:gd name="connsiteX18" fmla="*/ 42576 w 85152"/>
                <a:gd name="connsiteY18" fmla="*/ 75741 h 138932"/>
                <a:gd name="connsiteX19" fmla="*/ 4482 w 85152"/>
                <a:gd name="connsiteY19" fmla="*/ 54677 h 138932"/>
                <a:gd name="connsiteX20" fmla="*/ 4482 w 85152"/>
                <a:gd name="connsiteY20" fmla="*/ 37198 h 138932"/>
                <a:gd name="connsiteX21" fmla="*/ 42576 w 85152"/>
                <a:gd name="connsiteY21" fmla="*/ 51091 h 138932"/>
                <a:gd name="connsiteX22" fmla="*/ 80671 w 85152"/>
                <a:gd name="connsiteY22" fmla="*/ 37198 h 138932"/>
                <a:gd name="connsiteX23" fmla="*/ 80671 w 85152"/>
                <a:gd name="connsiteY23" fmla="*/ 50195 h 138932"/>
                <a:gd name="connsiteX24" fmla="*/ 82911 w 85152"/>
                <a:gd name="connsiteY24" fmla="*/ 52436 h 138932"/>
                <a:gd name="connsiteX25" fmla="*/ 85152 w 85152"/>
                <a:gd name="connsiteY25" fmla="*/ 50195 h 138932"/>
                <a:gd name="connsiteX26" fmla="*/ 85152 w 85152"/>
                <a:gd name="connsiteY26" fmla="*/ 25994 h 138932"/>
                <a:gd name="connsiteX27" fmla="*/ 85152 w 85152"/>
                <a:gd name="connsiteY27" fmla="*/ 25994 h 138932"/>
                <a:gd name="connsiteX28" fmla="*/ 85152 w 85152"/>
                <a:gd name="connsiteY28" fmla="*/ 25546 h 138932"/>
                <a:gd name="connsiteX29" fmla="*/ 42576 w 85152"/>
                <a:gd name="connsiteY29" fmla="*/ 0 h 138932"/>
                <a:gd name="connsiteX30" fmla="*/ 0 w 85152"/>
                <a:gd name="connsiteY30" fmla="*/ 25546 h 138932"/>
                <a:gd name="connsiteX31" fmla="*/ 0 w 85152"/>
                <a:gd name="connsiteY31" fmla="*/ 25546 h 138932"/>
                <a:gd name="connsiteX32" fmla="*/ 0 w 85152"/>
                <a:gd name="connsiteY32" fmla="*/ 25546 h 138932"/>
                <a:gd name="connsiteX33" fmla="*/ 0 w 85152"/>
                <a:gd name="connsiteY33" fmla="*/ 54677 h 138932"/>
                <a:gd name="connsiteX34" fmla="*/ 0 w 85152"/>
                <a:gd name="connsiteY34" fmla="*/ 54677 h 138932"/>
                <a:gd name="connsiteX35" fmla="*/ 0 w 85152"/>
                <a:gd name="connsiteY35" fmla="*/ 54677 h 138932"/>
                <a:gd name="connsiteX36" fmla="*/ 0 w 85152"/>
                <a:gd name="connsiteY36" fmla="*/ 83808 h 138932"/>
                <a:gd name="connsiteX37" fmla="*/ 0 w 85152"/>
                <a:gd name="connsiteY37" fmla="*/ 83808 h 138932"/>
                <a:gd name="connsiteX38" fmla="*/ 0 w 85152"/>
                <a:gd name="connsiteY38" fmla="*/ 83808 h 138932"/>
                <a:gd name="connsiteX39" fmla="*/ 0 w 85152"/>
                <a:gd name="connsiteY39" fmla="*/ 111594 h 138932"/>
                <a:gd name="connsiteX40" fmla="*/ 0 w 85152"/>
                <a:gd name="connsiteY40" fmla="*/ 112491 h 138932"/>
                <a:gd name="connsiteX41" fmla="*/ 0 w 85152"/>
                <a:gd name="connsiteY41" fmla="*/ 113387 h 138932"/>
                <a:gd name="connsiteX42" fmla="*/ 42576 w 85152"/>
                <a:gd name="connsiteY42" fmla="*/ 138933 h 138932"/>
                <a:gd name="connsiteX43" fmla="*/ 63192 w 85152"/>
                <a:gd name="connsiteY43" fmla="*/ 135796 h 138932"/>
                <a:gd name="connsiteX44" fmla="*/ 67674 w 85152"/>
                <a:gd name="connsiteY44" fmla="*/ 134003 h 138932"/>
                <a:gd name="connsiteX45" fmla="*/ 68570 w 85152"/>
                <a:gd name="connsiteY45" fmla="*/ 130866 h 138932"/>
                <a:gd name="connsiteX46" fmla="*/ 65881 w 85152"/>
                <a:gd name="connsiteY46" fmla="*/ 129521 h 138932"/>
                <a:gd name="connsiteX47" fmla="*/ 42576 w 85152"/>
                <a:gd name="connsiteY47" fmla="*/ 4482 h 138932"/>
                <a:gd name="connsiteX48" fmla="*/ 80671 w 85152"/>
                <a:gd name="connsiteY48" fmla="*/ 25546 h 138932"/>
                <a:gd name="connsiteX49" fmla="*/ 42576 w 85152"/>
                <a:gd name="connsiteY49" fmla="*/ 46610 h 138932"/>
                <a:gd name="connsiteX50" fmla="*/ 4482 w 85152"/>
                <a:gd name="connsiteY50" fmla="*/ 25546 h 138932"/>
                <a:gd name="connsiteX51" fmla="*/ 42576 w 85152"/>
                <a:gd name="connsiteY51" fmla="*/ 448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5152" h="138932">
                  <a:moveTo>
                    <a:pt x="65881" y="129521"/>
                  </a:moveTo>
                  <a:cubicBezTo>
                    <a:pt x="64536" y="130418"/>
                    <a:pt x="61847" y="131314"/>
                    <a:pt x="61847" y="131314"/>
                  </a:cubicBezTo>
                  <a:cubicBezTo>
                    <a:pt x="56021" y="133107"/>
                    <a:pt x="49299" y="134451"/>
                    <a:pt x="42576" y="134451"/>
                  </a:cubicBezTo>
                  <a:cubicBezTo>
                    <a:pt x="21960" y="134451"/>
                    <a:pt x="4482" y="124591"/>
                    <a:pt x="4482" y="113387"/>
                  </a:cubicBezTo>
                  <a:cubicBezTo>
                    <a:pt x="4482" y="112939"/>
                    <a:pt x="4482" y="112939"/>
                    <a:pt x="4482" y="112491"/>
                  </a:cubicBezTo>
                  <a:cubicBezTo>
                    <a:pt x="4482" y="112043"/>
                    <a:pt x="4482" y="112043"/>
                    <a:pt x="4482" y="111594"/>
                  </a:cubicBezTo>
                  <a:lnTo>
                    <a:pt x="4482" y="95012"/>
                  </a:lnTo>
                  <a:cubicBezTo>
                    <a:pt x="11652" y="103527"/>
                    <a:pt x="25994" y="109354"/>
                    <a:pt x="42576" y="109354"/>
                  </a:cubicBezTo>
                  <a:cubicBezTo>
                    <a:pt x="47058" y="109354"/>
                    <a:pt x="50195" y="108905"/>
                    <a:pt x="53780" y="108457"/>
                  </a:cubicBezTo>
                  <a:cubicBezTo>
                    <a:pt x="55125" y="108457"/>
                    <a:pt x="56021" y="107113"/>
                    <a:pt x="55573" y="105768"/>
                  </a:cubicBezTo>
                  <a:cubicBezTo>
                    <a:pt x="55125" y="104424"/>
                    <a:pt x="54228" y="103527"/>
                    <a:pt x="52884" y="103975"/>
                  </a:cubicBezTo>
                  <a:cubicBezTo>
                    <a:pt x="49747" y="104424"/>
                    <a:pt x="46610" y="104872"/>
                    <a:pt x="42576" y="104872"/>
                  </a:cubicBezTo>
                  <a:cubicBezTo>
                    <a:pt x="21960" y="104872"/>
                    <a:pt x="4482" y="95012"/>
                    <a:pt x="4482" y="83808"/>
                  </a:cubicBezTo>
                  <a:lnTo>
                    <a:pt x="4482" y="65881"/>
                  </a:lnTo>
                  <a:cubicBezTo>
                    <a:pt x="11652" y="74396"/>
                    <a:pt x="25994" y="80223"/>
                    <a:pt x="42576" y="80223"/>
                  </a:cubicBezTo>
                  <a:cubicBezTo>
                    <a:pt x="46161" y="80223"/>
                    <a:pt x="51988" y="79774"/>
                    <a:pt x="56917" y="78878"/>
                  </a:cubicBezTo>
                  <a:cubicBezTo>
                    <a:pt x="58262" y="78430"/>
                    <a:pt x="58710" y="77533"/>
                    <a:pt x="58710" y="76189"/>
                  </a:cubicBezTo>
                  <a:cubicBezTo>
                    <a:pt x="58262" y="74844"/>
                    <a:pt x="57366" y="74396"/>
                    <a:pt x="56021" y="74396"/>
                  </a:cubicBezTo>
                  <a:cubicBezTo>
                    <a:pt x="51540" y="75741"/>
                    <a:pt x="46161" y="75741"/>
                    <a:pt x="42576" y="75741"/>
                  </a:cubicBezTo>
                  <a:cubicBezTo>
                    <a:pt x="21960" y="75741"/>
                    <a:pt x="4482" y="65881"/>
                    <a:pt x="4482" y="54677"/>
                  </a:cubicBezTo>
                  <a:lnTo>
                    <a:pt x="4482" y="37198"/>
                  </a:lnTo>
                  <a:cubicBezTo>
                    <a:pt x="11204" y="45713"/>
                    <a:pt x="25545" y="51091"/>
                    <a:pt x="42576" y="51091"/>
                  </a:cubicBezTo>
                  <a:cubicBezTo>
                    <a:pt x="59607" y="51091"/>
                    <a:pt x="73948" y="45265"/>
                    <a:pt x="80671" y="37198"/>
                  </a:cubicBezTo>
                  <a:lnTo>
                    <a:pt x="80671" y="50195"/>
                  </a:lnTo>
                  <a:cubicBezTo>
                    <a:pt x="80671" y="51540"/>
                    <a:pt x="81567" y="52436"/>
                    <a:pt x="82911" y="52436"/>
                  </a:cubicBezTo>
                  <a:cubicBezTo>
                    <a:pt x="84256" y="52436"/>
                    <a:pt x="85152" y="51540"/>
                    <a:pt x="85152" y="50195"/>
                  </a:cubicBezTo>
                  <a:lnTo>
                    <a:pt x="85152" y="25994"/>
                  </a:lnTo>
                  <a:cubicBezTo>
                    <a:pt x="85152" y="25994"/>
                    <a:pt x="85152" y="25994"/>
                    <a:pt x="85152" y="25994"/>
                  </a:cubicBezTo>
                  <a:cubicBezTo>
                    <a:pt x="85152" y="25994"/>
                    <a:pt x="85152" y="25546"/>
                    <a:pt x="85152" y="25546"/>
                  </a:cubicBezTo>
                  <a:cubicBezTo>
                    <a:pt x="85152" y="11204"/>
                    <a:pt x="66329" y="0"/>
                    <a:pt x="42576" y="0"/>
                  </a:cubicBezTo>
                  <a:cubicBezTo>
                    <a:pt x="18823" y="0"/>
                    <a:pt x="0" y="11204"/>
                    <a:pt x="0" y="25546"/>
                  </a:cubicBezTo>
                  <a:cubicBezTo>
                    <a:pt x="0" y="25546"/>
                    <a:pt x="0" y="25546"/>
                    <a:pt x="0" y="25546"/>
                  </a:cubicBezTo>
                  <a:cubicBezTo>
                    <a:pt x="0" y="25546"/>
                    <a:pt x="0" y="25546"/>
                    <a:pt x="0" y="25546"/>
                  </a:cubicBezTo>
                  <a:lnTo>
                    <a:pt x="0" y="54677"/>
                  </a:lnTo>
                  <a:cubicBezTo>
                    <a:pt x="0" y="54677"/>
                    <a:pt x="0" y="54677"/>
                    <a:pt x="0" y="54677"/>
                  </a:cubicBezTo>
                  <a:cubicBezTo>
                    <a:pt x="0" y="54677"/>
                    <a:pt x="0" y="54677"/>
                    <a:pt x="0" y="54677"/>
                  </a:cubicBezTo>
                  <a:lnTo>
                    <a:pt x="0" y="83808"/>
                  </a:lnTo>
                  <a:cubicBezTo>
                    <a:pt x="0" y="83808"/>
                    <a:pt x="0" y="83808"/>
                    <a:pt x="0" y="83808"/>
                  </a:cubicBezTo>
                  <a:lnTo>
                    <a:pt x="0" y="83808"/>
                  </a:lnTo>
                  <a:lnTo>
                    <a:pt x="0" y="111594"/>
                  </a:lnTo>
                  <a:cubicBezTo>
                    <a:pt x="0" y="112043"/>
                    <a:pt x="0" y="112043"/>
                    <a:pt x="0" y="112491"/>
                  </a:cubicBezTo>
                  <a:cubicBezTo>
                    <a:pt x="0" y="112939"/>
                    <a:pt x="0" y="112939"/>
                    <a:pt x="0" y="113387"/>
                  </a:cubicBezTo>
                  <a:cubicBezTo>
                    <a:pt x="0" y="127729"/>
                    <a:pt x="18823" y="138933"/>
                    <a:pt x="42576" y="138933"/>
                  </a:cubicBezTo>
                  <a:cubicBezTo>
                    <a:pt x="49747" y="138933"/>
                    <a:pt x="56917" y="138036"/>
                    <a:pt x="63192" y="135796"/>
                  </a:cubicBezTo>
                  <a:cubicBezTo>
                    <a:pt x="63192" y="135796"/>
                    <a:pt x="65881" y="134899"/>
                    <a:pt x="67674" y="134003"/>
                  </a:cubicBezTo>
                  <a:cubicBezTo>
                    <a:pt x="68570" y="133555"/>
                    <a:pt x="69466" y="132210"/>
                    <a:pt x="68570" y="130866"/>
                  </a:cubicBezTo>
                  <a:cubicBezTo>
                    <a:pt x="68570" y="129521"/>
                    <a:pt x="67226" y="129073"/>
                    <a:pt x="65881" y="129521"/>
                  </a:cubicBezTo>
                  <a:close/>
                  <a:moveTo>
                    <a:pt x="42576" y="4482"/>
                  </a:moveTo>
                  <a:cubicBezTo>
                    <a:pt x="63192" y="4482"/>
                    <a:pt x="80671" y="14341"/>
                    <a:pt x="80671" y="25546"/>
                  </a:cubicBezTo>
                  <a:cubicBezTo>
                    <a:pt x="80671" y="37198"/>
                    <a:pt x="63192" y="46610"/>
                    <a:pt x="42576" y="46610"/>
                  </a:cubicBezTo>
                  <a:cubicBezTo>
                    <a:pt x="21960" y="46610"/>
                    <a:pt x="4482" y="36750"/>
                    <a:pt x="4482" y="25546"/>
                  </a:cubicBezTo>
                  <a:cubicBezTo>
                    <a:pt x="4482" y="13893"/>
                    <a:pt x="21960" y="4482"/>
                    <a:pt x="42576" y="4482"/>
                  </a:cubicBezTo>
                  <a:close/>
                </a:path>
              </a:pathLst>
            </a:custGeom>
            <a:solidFill>
              <a:srgbClr val="231F20"/>
            </a:solidFill>
            <a:ln w="4477" cap="flat">
              <a:noFill/>
              <a:prstDash val="solid"/>
              <a:miter/>
            </a:ln>
          </p:spPr>
          <p:txBody>
            <a:bodyPr rtlCol="0" anchor="ctr"/>
            <a:lstStyle/>
            <a:p>
              <a:endParaRPr lang="en-US"/>
            </a:p>
          </p:txBody>
        </p:sp>
        <p:sp>
          <p:nvSpPr>
            <p:cNvPr id="5442" name="Freeform: Shape 5441">
              <a:extLst>
                <a:ext uri="{FF2B5EF4-FFF2-40B4-BE49-F238E27FC236}">
                  <a16:creationId xmlns:a16="http://schemas.microsoft.com/office/drawing/2014/main" id="{0227CBC6-8D72-4A13-A265-C9FC934AC200}"/>
                </a:ext>
              </a:extLst>
            </p:cNvPr>
            <p:cNvSpPr/>
            <p:nvPr/>
          </p:nvSpPr>
          <p:spPr>
            <a:xfrm>
              <a:off x="10234873" y="1828967"/>
              <a:ext cx="85152" cy="85152"/>
            </a:xfrm>
            <a:custGeom>
              <a:avLst/>
              <a:gdLst>
                <a:gd name="connsiteX0" fmla="*/ 42576 w 85152"/>
                <a:gd name="connsiteY0" fmla="*/ 0 h 85152"/>
                <a:gd name="connsiteX1" fmla="*/ 0 w 85152"/>
                <a:gd name="connsiteY1" fmla="*/ 42576 h 85152"/>
                <a:gd name="connsiteX2" fmla="*/ 13893 w 85152"/>
                <a:gd name="connsiteY2" fmla="*/ 74396 h 85152"/>
                <a:gd name="connsiteX3" fmla="*/ 42576 w 85152"/>
                <a:gd name="connsiteY3" fmla="*/ 85152 h 85152"/>
                <a:gd name="connsiteX4" fmla="*/ 85152 w 85152"/>
                <a:gd name="connsiteY4" fmla="*/ 42576 h 85152"/>
                <a:gd name="connsiteX5" fmla="*/ 42576 w 85152"/>
                <a:gd name="connsiteY5" fmla="*/ 0 h 85152"/>
                <a:gd name="connsiteX6" fmla="*/ 42576 w 85152"/>
                <a:gd name="connsiteY6" fmla="*/ 80671 h 85152"/>
                <a:gd name="connsiteX7" fmla="*/ 17030 w 85152"/>
                <a:gd name="connsiteY7" fmla="*/ 70811 h 85152"/>
                <a:gd name="connsiteX8" fmla="*/ 4482 w 85152"/>
                <a:gd name="connsiteY8" fmla="*/ 42576 h 85152"/>
                <a:gd name="connsiteX9" fmla="*/ 42576 w 85152"/>
                <a:gd name="connsiteY9" fmla="*/ 4482 h 85152"/>
                <a:gd name="connsiteX10" fmla="*/ 80671 w 85152"/>
                <a:gd name="connsiteY10" fmla="*/ 42576 h 85152"/>
                <a:gd name="connsiteX11" fmla="*/ 42576 w 85152"/>
                <a:gd name="connsiteY11"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52" h="85152">
                  <a:moveTo>
                    <a:pt x="42576" y="0"/>
                  </a:moveTo>
                  <a:cubicBezTo>
                    <a:pt x="19271" y="0"/>
                    <a:pt x="0" y="19271"/>
                    <a:pt x="0" y="42576"/>
                  </a:cubicBezTo>
                  <a:cubicBezTo>
                    <a:pt x="0" y="54677"/>
                    <a:pt x="4930" y="66329"/>
                    <a:pt x="13893" y="74396"/>
                  </a:cubicBezTo>
                  <a:cubicBezTo>
                    <a:pt x="21512" y="81567"/>
                    <a:pt x="31820" y="85152"/>
                    <a:pt x="42576" y="85152"/>
                  </a:cubicBezTo>
                  <a:cubicBezTo>
                    <a:pt x="65881" y="85152"/>
                    <a:pt x="85152" y="65881"/>
                    <a:pt x="85152" y="42576"/>
                  </a:cubicBezTo>
                  <a:cubicBezTo>
                    <a:pt x="85152" y="19271"/>
                    <a:pt x="65881" y="0"/>
                    <a:pt x="42576" y="0"/>
                  </a:cubicBezTo>
                  <a:close/>
                  <a:moveTo>
                    <a:pt x="42576" y="80671"/>
                  </a:moveTo>
                  <a:cubicBezTo>
                    <a:pt x="33164" y="80671"/>
                    <a:pt x="24201" y="77085"/>
                    <a:pt x="17030" y="70811"/>
                  </a:cubicBezTo>
                  <a:cubicBezTo>
                    <a:pt x="8963" y="63640"/>
                    <a:pt x="4482" y="53332"/>
                    <a:pt x="4482" y="42576"/>
                  </a:cubicBezTo>
                  <a:cubicBezTo>
                    <a:pt x="4482" y="21512"/>
                    <a:pt x="21512" y="4482"/>
                    <a:pt x="42576" y="4482"/>
                  </a:cubicBezTo>
                  <a:cubicBezTo>
                    <a:pt x="63640" y="4482"/>
                    <a:pt x="80671" y="21512"/>
                    <a:pt x="80671" y="42576"/>
                  </a:cubicBezTo>
                  <a:cubicBezTo>
                    <a:pt x="80671" y="63640"/>
                    <a:pt x="63640" y="80671"/>
                    <a:pt x="42576" y="80671"/>
                  </a:cubicBezTo>
                  <a:close/>
                </a:path>
              </a:pathLst>
            </a:custGeom>
            <a:solidFill>
              <a:srgbClr val="231F20"/>
            </a:solidFill>
            <a:ln w="4477" cap="flat">
              <a:noFill/>
              <a:prstDash val="solid"/>
              <a:miter/>
            </a:ln>
          </p:spPr>
          <p:txBody>
            <a:bodyPr rtlCol="0" anchor="ctr"/>
            <a:lstStyle/>
            <a:p>
              <a:endParaRPr lang="en-US"/>
            </a:p>
          </p:txBody>
        </p:sp>
        <p:sp>
          <p:nvSpPr>
            <p:cNvPr id="5443" name="Freeform: Shape 5442">
              <a:extLst>
                <a:ext uri="{FF2B5EF4-FFF2-40B4-BE49-F238E27FC236}">
                  <a16:creationId xmlns:a16="http://schemas.microsoft.com/office/drawing/2014/main" id="{A8F2C976-5BF7-45BE-BC21-E116517E283F}"/>
                </a:ext>
              </a:extLst>
            </p:cNvPr>
            <p:cNvSpPr/>
            <p:nvPr/>
          </p:nvSpPr>
          <p:spPr>
            <a:xfrm>
              <a:off x="10268934" y="1841964"/>
              <a:ext cx="13445" cy="58262"/>
            </a:xfrm>
            <a:custGeom>
              <a:avLst/>
              <a:gdLst>
                <a:gd name="connsiteX0" fmla="*/ 10756 w 13445"/>
                <a:gd name="connsiteY0" fmla="*/ 9412 h 58262"/>
                <a:gd name="connsiteX1" fmla="*/ 10756 w 13445"/>
                <a:gd name="connsiteY1" fmla="*/ 2241 h 58262"/>
                <a:gd name="connsiteX2" fmla="*/ 8515 w 13445"/>
                <a:gd name="connsiteY2" fmla="*/ 0 h 58262"/>
                <a:gd name="connsiteX3" fmla="*/ 6274 w 13445"/>
                <a:gd name="connsiteY3" fmla="*/ 2241 h 58262"/>
                <a:gd name="connsiteX4" fmla="*/ 6274 w 13445"/>
                <a:gd name="connsiteY4" fmla="*/ 9412 h 58262"/>
                <a:gd name="connsiteX5" fmla="*/ 0 w 13445"/>
                <a:gd name="connsiteY5" fmla="*/ 17479 h 58262"/>
                <a:gd name="connsiteX6" fmla="*/ 0 w 13445"/>
                <a:gd name="connsiteY6" fmla="*/ 19719 h 58262"/>
                <a:gd name="connsiteX7" fmla="*/ 3585 w 13445"/>
                <a:gd name="connsiteY7" fmla="*/ 27787 h 58262"/>
                <a:gd name="connsiteX8" fmla="*/ 10756 w 13445"/>
                <a:gd name="connsiteY8" fmla="*/ 34509 h 58262"/>
                <a:gd name="connsiteX9" fmla="*/ 12997 w 13445"/>
                <a:gd name="connsiteY9" fmla="*/ 39439 h 58262"/>
                <a:gd name="connsiteX10" fmla="*/ 12997 w 13445"/>
                <a:gd name="connsiteY10" fmla="*/ 41680 h 58262"/>
                <a:gd name="connsiteX11" fmla="*/ 8963 w 13445"/>
                <a:gd name="connsiteY11" fmla="*/ 45713 h 58262"/>
                <a:gd name="connsiteX12" fmla="*/ 4930 w 13445"/>
                <a:gd name="connsiteY12" fmla="*/ 41680 h 58262"/>
                <a:gd name="connsiteX13" fmla="*/ 4930 w 13445"/>
                <a:gd name="connsiteY13" fmla="*/ 38543 h 58262"/>
                <a:gd name="connsiteX14" fmla="*/ 2689 w 13445"/>
                <a:gd name="connsiteY14" fmla="*/ 36302 h 58262"/>
                <a:gd name="connsiteX15" fmla="*/ 448 w 13445"/>
                <a:gd name="connsiteY15" fmla="*/ 38543 h 58262"/>
                <a:gd name="connsiteX16" fmla="*/ 448 w 13445"/>
                <a:gd name="connsiteY16" fmla="*/ 41680 h 58262"/>
                <a:gd name="connsiteX17" fmla="*/ 6723 w 13445"/>
                <a:gd name="connsiteY17" fmla="*/ 49747 h 58262"/>
                <a:gd name="connsiteX18" fmla="*/ 6723 w 13445"/>
                <a:gd name="connsiteY18" fmla="*/ 56918 h 58262"/>
                <a:gd name="connsiteX19" fmla="*/ 8963 w 13445"/>
                <a:gd name="connsiteY19" fmla="*/ 59158 h 58262"/>
                <a:gd name="connsiteX20" fmla="*/ 11204 w 13445"/>
                <a:gd name="connsiteY20" fmla="*/ 56918 h 58262"/>
                <a:gd name="connsiteX21" fmla="*/ 11204 w 13445"/>
                <a:gd name="connsiteY21" fmla="*/ 49747 h 58262"/>
                <a:gd name="connsiteX22" fmla="*/ 17479 w 13445"/>
                <a:gd name="connsiteY22" fmla="*/ 41680 h 58262"/>
                <a:gd name="connsiteX23" fmla="*/ 17479 w 13445"/>
                <a:gd name="connsiteY23" fmla="*/ 39439 h 58262"/>
                <a:gd name="connsiteX24" fmla="*/ 13893 w 13445"/>
                <a:gd name="connsiteY24" fmla="*/ 31372 h 58262"/>
                <a:gd name="connsiteX25" fmla="*/ 6723 w 13445"/>
                <a:gd name="connsiteY25" fmla="*/ 24649 h 58262"/>
                <a:gd name="connsiteX26" fmla="*/ 4482 w 13445"/>
                <a:gd name="connsiteY26" fmla="*/ 19719 h 58262"/>
                <a:gd name="connsiteX27" fmla="*/ 4482 w 13445"/>
                <a:gd name="connsiteY27" fmla="*/ 17479 h 58262"/>
                <a:gd name="connsiteX28" fmla="*/ 8515 w 13445"/>
                <a:gd name="connsiteY28" fmla="*/ 13445 h 58262"/>
                <a:gd name="connsiteX29" fmla="*/ 12549 w 13445"/>
                <a:gd name="connsiteY29" fmla="*/ 17479 h 58262"/>
                <a:gd name="connsiteX30" fmla="*/ 12549 w 13445"/>
                <a:gd name="connsiteY30" fmla="*/ 20616 h 58262"/>
                <a:gd name="connsiteX31" fmla="*/ 14790 w 13445"/>
                <a:gd name="connsiteY31" fmla="*/ 22857 h 58262"/>
                <a:gd name="connsiteX32" fmla="*/ 17030 w 13445"/>
                <a:gd name="connsiteY32" fmla="*/ 20616 h 58262"/>
                <a:gd name="connsiteX33" fmla="*/ 17030 w 13445"/>
                <a:gd name="connsiteY33" fmla="*/ 17479 h 58262"/>
                <a:gd name="connsiteX34" fmla="*/ 10756 w 13445"/>
                <a:gd name="connsiteY34" fmla="*/ 941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445" h="58262">
                  <a:moveTo>
                    <a:pt x="10756" y="9412"/>
                  </a:moveTo>
                  <a:lnTo>
                    <a:pt x="10756" y="2241"/>
                  </a:lnTo>
                  <a:cubicBezTo>
                    <a:pt x="10756" y="896"/>
                    <a:pt x="9860" y="0"/>
                    <a:pt x="8515" y="0"/>
                  </a:cubicBezTo>
                  <a:cubicBezTo>
                    <a:pt x="7171" y="0"/>
                    <a:pt x="6274" y="896"/>
                    <a:pt x="6274" y="2241"/>
                  </a:cubicBezTo>
                  <a:lnTo>
                    <a:pt x="6274" y="9412"/>
                  </a:lnTo>
                  <a:cubicBezTo>
                    <a:pt x="2689" y="10308"/>
                    <a:pt x="0" y="13445"/>
                    <a:pt x="0" y="17479"/>
                  </a:cubicBezTo>
                  <a:lnTo>
                    <a:pt x="0" y="19719"/>
                  </a:lnTo>
                  <a:cubicBezTo>
                    <a:pt x="0" y="22857"/>
                    <a:pt x="1344" y="25546"/>
                    <a:pt x="3585" y="27787"/>
                  </a:cubicBezTo>
                  <a:lnTo>
                    <a:pt x="10756" y="34509"/>
                  </a:lnTo>
                  <a:cubicBezTo>
                    <a:pt x="12101" y="35854"/>
                    <a:pt x="12997" y="37646"/>
                    <a:pt x="12997" y="39439"/>
                  </a:cubicBezTo>
                  <a:lnTo>
                    <a:pt x="12997" y="41680"/>
                  </a:lnTo>
                  <a:cubicBezTo>
                    <a:pt x="12997" y="43921"/>
                    <a:pt x="11204" y="45713"/>
                    <a:pt x="8963" y="45713"/>
                  </a:cubicBezTo>
                  <a:cubicBezTo>
                    <a:pt x="6723" y="45713"/>
                    <a:pt x="4930" y="43921"/>
                    <a:pt x="4930" y="41680"/>
                  </a:cubicBezTo>
                  <a:lnTo>
                    <a:pt x="4930" y="38543"/>
                  </a:lnTo>
                  <a:cubicBezTo>
                    <a:pt x="4930" y="37198"/>
                    <a:pt x="4034" y="36302"/>
                    <a:pt x="2689" y="36302"/>
                  </a:cubicBezTo>
                  <a:cubicBezTo>
                    <a:pt x="1344" y="36302"/>
                    <a:pt x="448" y="37198"/>
                    <a:pt x="448" y="38543"/>
                  </a:cubicBezTo>
                  <a:lnTo>
                    <a:pt x="448" y="41680"/>
                  </a:lnTo>
                  <a:cubicBezTo>
                    <a:pt x="448" y="45713"/>
                    <a:pt x="3137" y="48851"/>
                    <a:pt x="6723" y="49747"/>
                  </a:cubicBezTo>
                  <a:lnTo>
                    <a:pt x="6723" y="56918"/>
                  </a:lnTo>
                  <a:cubicBezTo>
                    <a:pt x="6723" y="58262"/>
                    <a:pt x="7619" y="59158"/>
                    <a:pt x="8963" y="59158"/>
                  </a:cubicBezTo>
                  <a:cubicBezTo>
                    <a:pt x="10308" y="59158"/>
                    <a:pt x="11204" y="58262"/>
                    <a:pt x="11204" y="56918"/>
                  </a:cubicBezTo>
                  <a:lnTo>
                    <a:pt x="11204" y="49747"/>
                  </a:lnTo>
                  <a:cubicBezTo>
                    <a:pt x="14790" y="48851"/>
                    <a:pt x="17479" y="45713"/>
                    <a:pt x="17479" y="41680"/>
                  </a:cubicBezTo>
                  <a:lnTo>
                    <a:pt x="17479" y="39439"/>
                  </a:lnTo>
                  <a:cubicBezTo>
                    <a:pt x="17479" y="36302"/>
                    <a:pt x="16134" y="33613"/>
                    <a:pt x="13893" y="31372"/>
                  </a:cubicBezTo>
                  <a:lnTo>
                    <a:pt x="6723" y="24649"/>
                  </a:lnTo>
                  <a:cubicBezTo>
                    <a:pt x="5378" y="23305"/>
                    <a:pt x="4482" y="21512"/>
                    <a:pt x="4482" y="19719"/>
                  </a:cubicBezTo>
                  <a:lnTo>
                    <a:pt x="4482" y="17479"/>
                  </a:lnTo>
                  <a:cubicBezTo>
                    <a:pt x="4482" y="15238"/>
                    <a:pt x="6274" y="13445"/>
                    <a:pt x="8515" y="13445"/>
                  </a:cubicBezTo>
                  <a:cubicBezTo>
                    <a:pt x="10756" y="13445"/>
                    <a:pt x="12549" y="15238"/>
                    <a:pt x="12549" y="17479"/>
                  </a:cubicBezTo>
                  <a:lnTo>
                    <a:pt x="12549" y="20616"/>
                  </a:lnTo>
                  <a:cubicBezTo>
                    <a:pt x="12549" y="21960"/>
                    <a:pt x="13445" y="22857"/>
                    <a:pt x="14790" y="22857"/>
                  </a:cubicBezTo>
                  <a:cubicBezTo>
                    <a:pt x="16134" y="22857"/>
                    <a:pt x="17030" y="21960"/>
                    <a:pt x="17030" y="20616"/>
                  </a:cubicBezTo>
                  <a:lnTo>
                    <a:pt x="17030" y="17479"/>
                  </a:lnTo>
                  <a:cubicBezTo>
                    <a:pt x="17030" y="13445"/>
                    <a:pt x="14342" y="10308"/>
                    <a:pt x="10756" y="9412"/>
                  </a:cubicBezTo>
                  <a:close/>
                </a:path>
              </a:pathLst>
            </a:custGeom>
            <a:solidFill>
              <a:srgbClr val="231F20"/>
            </a:solidFill>
            <a:ln w="4477" cap="flat">
              <a:noFill/>
              <a:prstDash val="solid"/>
              <a:miter/>
            </a:ln>
          </p:spPr>
          <p:txBody>
            <a:bodyPr rtlCol="0" anchor="ctr"/>
            <a:lstStyle/>
            <a:p>
              <a:endParaRPr lang="en-US"/>
            </a:p>
          </p:txBody>
        </p:sp>
      </p:grpSp>
      <p:grpSp>
        <p:nvGrpSpPr>
          <p:cNvPr id="2470" name="Group 2469">
            <a:extLst>
              <a:ext uri="{FF2B5EF4-FFF2-40B4-BE49-F238E27FC236}">
                <a16:creationId xmlns:a16="http://schemas.microsoft.com/office/drawing/2014/main" id="{C22B437D-A567-45B6-9DD1-D85FA8F5CE43}"/>
              </a:ext>
              <a:ext uri="{C183D7F6-B498-43B3-948B-1728B52AA6E4}">
                <adec:decorative xmlns:adec="http://schemas.microsoft.com/office/drawing/2017/decorative" val="1"/>
              </a:ext>
            </a:extLst>
          </p:cNvPr>
          <p:cNvGrpSpPr>
            <a:grpSpLocks noChangeAspect="1"/>
          </p:cNvGrpSpPr>
          <p:nvPr/>
        </p:nvGrpSpPr>
        <p:grpSpPr>
          <a:xfrm>
            <a:off x="11183170" y="3817432"/>
            <a:ext cx="98597" cy="152378"/>
            <a:chOff x="11239670" y="1761741"/>
            <a:chExt cx="98597" cy="152378"/>
          </a:xfrm>
        </p:grpSpPr>
        <p:sp>
          <p:nvSpPr>
            <p:cNvPr id="5438" name="Freeform: Shape 5437">
              <a:extLst>
                <a:ext uri="{FF2B5EF4-FFF2-40B4-BE49-F238E27FC236}">
                  <a16:creationId xmlns:a16="http://schemas.microsoft.com/office/drawing/2014/main" id="{98DFEDE1-ACB4-4724-9756-6F3563D64696}"/>
                </a:ext>
              </a:extLst>
            </p:cNvPr>
            <p:cNvSpPr/>
            <p:nvPr/>
          </p:nvSpPr>
          <p:spPr>
            <a:xfrm>
              <a:off x="11239670" y="1761741"/>
              <a:ext cx="98597" cy="152378"/>
            </a:xfrm>
            <a:custGeom>
              <a:avLst/>
              <a:gdLst>
                <a:gd name="connsiteX0" fmla="*/ 90082 w 98597"/>
                <a:gd name="connsiteY0" fmla="*/ 0 h 152377"/>
                <a:gd name="connsiteX1" fmla="*/ 8515 w 98597"/>
                <a:gd name="connsiteY1" fmla="*/ 0 h 152377"/>
                <a:gd name="connsiteX2" fmla="*/ 0 w 98597"/>
                <a:gd name="connsiteY2" fmla="*/ 8515 h 152377"/>
                <a:gd name="connsiteX3" fmla="*/ 0 w 98597"/>
                <a:gd name="connsiteY3" fmla="*/ 143863 h 152377"/>
                <a:gd name="connsiteX4" fmla="*/ 8515 w 98597"/>
                <a:gd name="connsiteY4" fmla="*/ 152378 h 152377"/>
                <a:gd name="connsiteX5" fmla="*/ 90082 w 98597"/>
                <a:gd name="connsiteY5" fmla="*/ 152378 h 152377"/>
                <a:gd name="connsiteX6" fmla="*/ 98597 w 98597"/>
                <a:gd name="connsiteY6" fmla="*/ 143863 h 152377"/>
                <a:gd name="connsiteX7" fmla="*/ 98597 w 98597"/>
                <a:gd name="connsiteY7" fmla="*/ 8515 h 152377"/>
                <a:gd name="connsiteX8" fmla="*/ 90082 w 98597"/>
                <a:gd name="connsiteY8" fmla="*/ 0 h 152377"/>
                <a:gd name="connsiteX9" fmla="*/ 8515 w 98597"/>
                <a:gd name="connsiteY9" fmla="*/ 4482 h 152377"/>
                <a:gd name="connsiteX10" fmla="*/ 90082 w 98597"/>
                <a:gd name="connsiteY10" fmla="*/ 4482 h 152377"/>
                <a:gd name="connsiteX11" fmla="*/ 94116 w 98597"/>
                <a:gd name="connsiteY11" fmla="*/ 8515 h 152377"/>
                <a:gd name="connsiteX12" fmla="*/ 94116 w 98597"/>
                <a:gd name="connsiteY12" fmla="*/ 53780 h 152377"/>
                <a:gd name="connsiteX13" fmla="*/ 4482 w 98597"/>
                <a:gd name="connsiteY13" fmla="*/ 53780 h 152377"/>
                <a:gd name="connsiteX14" fmla="*/ 4482 w 98597"/>
                <a:gd name="connsiteY14" fmla="*/ 8515 h 152377"/>
                <a:gd name="connsiteX15" fmla="*/ 8515 w 98597"/>
                <a:gd name="connsiteY15" fmla="*/ 4482 h 152377"/>
                <a:gd name="connsiteX16" fmla="*/ 31372 w 98597"/>
                <a:gd name="connsiteY16" fmla="*/ 111594 h 152377"/>
                <a:gd name="connsiteX17" fmla="*/ 31372 w 98597"/>
                <a:gd name="connsiteY17" fmla="*/ 98149 h 152377"/>
                <a:gd name="connsiteX18" fmla="*/ 67226 w 98597"/>
                <a:gd name="connsiteY18" fmla="*/ 98149 h 152377"/>
                <a:gd name="connsiteX19" fmla="*/ 67226 w 98597"/>
                <a:gd name="connsiteY19" fmla="*/ 111594 h 152377"/>
                <a:gd name="connsiteX20" fmla="*/ 50643 w 98597"/>
                <a:gd name="connsiteY20" fmla="*/ 128177 h 152377"/>
                <a:gd name="connsiteX21" fmla="*/ 48403 w 98597"/>
                <a:gd name="connsiteY21" fmla="*/ 128177 h 152377"/>
                <a:gd name="connsiteX22" fmla="*/ 31372 w 98597"/>
                <a:gd name="connsiteY22" fmla="*/ 111594 h 152377"/>
                <a:gd name="connsiteX23" fmla="*/ 71707 w 98597"/>
                <a:gd name="connsiteY23" fmla="*/ 103079 h 152377"/>
                <a:gd name="connsiteX24" fmla="*/ 80671 w 98597"/>
                <a:gd name="connsiteY24" fmla="*/ 106216 h 152377"/>
                <a:gd name="connsiteX25" fmla="*/ 71259 w 98597"/>
                <a:gd name="connsiteY25" fmla="*/ 116076 h 152377"/>
                <a:gd name="connsiteX26" fmla="*/ 71707 w 98597"/>
                <a:gd name="connsiteY26" fmla="*/ 111594 h 152377"/>
                <a:gd name="connsiteX27" fmla="*/ 71707 w 98597"/>
                <a:gd name="connsiteY27" fmla="*/ 103079 h 152377"/>
                <a:gd name="connsiteX28" fmla="*/ 68570 w 98597"/>
                <a:gd name="connsiteY28" fmla="*/ 122799 h 152377"/>
                <a:gd name="connsiteX29" fmla="*/ 72155 w 98597"/>
                <a:gd name="connsiteY29" fmla="*/ 121006 h 152377"/>
                <a:gd name="connsiteX30" fmla="*/ 84704 w 98597"/>
                <a:gd name="connsiteY30" fmla="*/ 105320 h 152377"/>
                <a:gd name="connsiteX31" fmla="*/ 71707 w 98597"/>
                <a:gd name="connsiteY31" fmla="*/ 99046 h 152377"/>
                <a:gd name="connsiteX32" fmla="*/ 71707 w 98597"/>
                <a:gd name="connsiteY32" fmla="*/ 96357 h 152377"/>
                <a:gd name="connsiteX33" fmla="*/ 69466 w 98597"/>
                <a:gd name="connsiteY33" fmla="*/ 94116 h 152377"/>
                <a:gd name="connsiteX34" fmla="*/ 29131 w 98597"/>
                <a:gd name="connsiteY34" fmla="*/ 94116 h 152377"/>
                <a:gd name="connsiteX35" fmla="*/ 26890 w 98597"/>
                <a:gd name="connsiteY35" fmla="*/ 96357 h 152377"/>
                <a:gd name="connsiteX36" fmla="*/ 26890 w 98597"/>
                <a:gd name="connsiteY36" fmla="*/ 112043 h 152377"/>
                <a:gd name="connsiteX37" fmla="*/ 35406 w 98597"/>
                <a:gd name="connsiteY37" fmla="*/ 128625 h 152377"/>
                <a:gd name="connsiteX38" fmla="*/ 4482 w 98597"/>
                <a:gd name="connsiteY38" fmla="*/ 128625 h 152377"/>
                <a:gd name="connsiteX39" fmla="*/ 4482 w 98597"/>
                <a:gd name="connsiteY39" fmla="*/ 58262 h 152377"/>
                <a:gd name="connsiteX40" fmla="*/ 30924 w 98597"/>
                <a:gd name="connsiteY40" fmla="*/ 58262 h 152377"/>
                <a:gd name="connsiteX41" fmla="*/ 30924 w 98597"/>
                <a:gd name="connsiteY41" fmla="*/ 75293 h 152377"/>
                <a:gd name="connsiteX42" fmla="*/ 33165 w 98597"/>
                <a:gd name="connsiteY42" fmla="*/ 77533 h 152377"/>
                <a:gd name="connsiteX43" fmla="*/ 37198 w 98597"/>
                <a:gd name="connsiteY43" fmla="*/ 77533 h 152377"/>
                <a:gd name="connsiteX44" fmla="*/ 37198 w 98597"/>
                <a:gd name="connsiteY44" fmla="*/ 84704 h 152377"/>
                <a:gd name="connsiteX45" fmla="*/ 39439 w 98597"/>
                <a:gd name="connsiteY45" fmla="*/ 86945 h 152377"/>
                <a:gd name="connsiteX46" fmla="*/ 41680 w 98597"/>
                <a:gd name="connsiteY46" fmla="*/ 84704 h 152377"/>
                <a:gd name="connsiteX47" fmla="*/ 41680 w 98597"/>
                <a:gd name="connsiteY47" fmla="*/ 77533 h 152377"/>
                <a:gd name="connsiteX48" fmla="*/ 56469 w 98597"/>
                <a:gd name="connsiteY48" fmla="*/ 77533 h 152377"/>
                <a:gd name="connsiteX49" fmla="*/ 56469 w 98597"/>
                <a:gd name="connsiteY49" fmla="*/ 84704 h 152377"/>
                <a:gd name="connsiteX50" fmla="*/ 58710 w 98597"/>
                <a:gd name="connsiteY50" fmla="*/ 86945 h 152377"/>
                <a:gd name="connsiteX51" fmla="*/ 60951 w 98597"/>
                <a:gd name="connsiteY51" fmla="*/ 84704 h 152377"/>
                <a:gd name="connsiteX52" fmla="*/ 60951 w 98597"/>
                <a:gd name="connsiteY52" fmla="*/ 77533 h 152377"/>
                <a:gd name="connsiteX53" fmla="*/ 64985 w 98597"/>
                <a:gd name="connsiteY53" fmla="*/ 77533 h 152377"/>
                <a:gd name="connsiteX54" fmla="*/ 67226 w 98597"/>
                <a:gd name="connsiteY54" fmla="*/ 75293 h 152377"/>
                <a:gd name="connsiteX55" fmla="*/ 67226 w 98597"/>
                <a:gd name="connsiteY55" fmla="*/ 58262 h 152377"/>
                <a:gd name="connsiteX56" fmla="*/ 93668 w 98597"/>
                <a:gd name="connsiteY56" fmla="*/ 58262 h 152377"/>
                <a:gd name="connsiteX57" fmla="*/ 93668 w 98597"/>
                <a:gd name="connsiteY57" fmla="*/ 128625 h 152377"/>
                <a:gd name="connsiteX58" fmla="*/ 62744 w 98597"/>
                <a:gd name="connsiteY58" fmla="*/ 128625 h 152377"/>
                <a:gd name="connsiteX59" fmla="*/ 68570 w 98597"/>
                <a:gd name="connsiteY59" fmla="*/ 122799 h 152377"/>
                <a:gd name="connsiteX60" fmla="*/ 63192 w 98597"/>
                <a:gd name="connsiteY60" fmla="*/ 58262 h 152377"/>
                <a:gd name="connsiteX61" fmla="*/ 63192 w 98597"/>
                <a:gd name="connsiteY61" fmla="*/ 73052 h 152377"/>
                <a:gd name="connsiteX62" fmla="*/ 35406 w 98597"/>
                <a:gd name="connsiteY62" fmla="*/ 73052 h 152377"/>
                <a:gd name="connsiteX63" fmla="*/ 35406 w 98597"/>
                <a:gd name="connsiteY63" fmla="*/ 58262 h 152377"/>
                <a:gd name="connsiteX64" fmla="*/ 63192 w 98597"/>
                <a:gd name="connsiteY64" fmla="*/ 58262 h 152377"/>
                <a:gd name="connsiteX65" fmla="*/ 90082 w 98597"/>
                <a:gd name="connsiteY65" fmla="*/ 147896 h 152377"/>
                <a:gd name="connsiteX66" fmla="*/ 8515 w 98597"/>
                <a:gd name="connsiteY66" fmla="*/ 147896 h 152377"/>
                <a:gd name="connsiteX67" fmla="*/ 4482 w 98597"/>
                <a:gd name="connsiteY67" fmla="*/ 143863 h 152377"/>
                <a:gd name="connsiteX68" fmla="*/ 4482 w 98597"/>
                <a:gd name="connsiteY68" fmla="*/ 133107 h 152377"/>
                <a:gd name="connsiteX69" fmla="*/ 47955 w 98597"/>
                <a:gd name="connsiteY69" fmla="*/ 133107 h 152377"/>
                <a:gd name="connsiteX70" fmla="*/ 50195 w 98597"/>
                <a:gd name="connsiteY70" fmla="*/ 133107 h 152377"/>
                <a:gd name="connsiteX71" fmla="*/ 93668 w 98597"/>
                <a:gd name="connsiteY71" fmla="*/ 133107 h 152377"/>
                <a:gd name="connsiteX72" fmla="*/ 93668 w 98597"/>
                <a:gd name="connsiteY72" fmla="*/ 143863 h 152377"/>
                <a:gd name="connsiteX73" fmla="*/ 90082 w 98597"/>
                <a:gd name="connsiteY73"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98597" h="152377">
                  <a:moveTo>
                    <a:pt x="90082" y="0"/>
                  </a:moveTo>
                  <a:lnTo>
                    <a:pt x="8515" y="0"/>
                  </a:lnTo>
                  <a:cubicBezTo>
                    <a:pt x="3586" y="0"/>
                    <a:pt x="0" y="4034"/>
                    <a:pt x="0" y="8515"/>
                  </a:cubicBezTo>
                  <a:lnTo>
                    <a:pt x="0" y="143863"/>
                  </a:lnTo>
                  <a:cubicBezTo>
                    <a:pt x="0" y="148793"/>
                    <a:pt x="4034" y="152378"/>
                    <a:pt x="8515" y="152378"/>
                  </a:cubicBezTo>
                  <a:lnTo>
                    <a:pt x="90082" y="152378"/>
                  </a:lnTo>
                  <a:cubicBezTo>
                    <a:pt x="95012" y="152378"/>
                    <a:pt x="98597" y="148344"/>
                    <a:pt x="98597" y="143863"/>
                  </a:cubicBezTo>
                  <a:lnTo>
                    <a:pt x="98597" y="8515"/>
                  </a:lnTo>
                  <a:cubicBezTo>
                    <a:pt x="98597" y="3585"/>
                    <a:pt x="94564" y="0"/>
                    <a:pt x="90082" y="0"/>
                  </a:cubicBezTo>
                  <a:close/>
                  <a:moveTo>
                    <a:pt x="8515" y="4482"/>
                  </a:moveTo>
                  <a:lnTo>
                    <a:pt x="90082" y="4482"/>
                  </a:lnTo>
                  <a:cubicBezTo>
                    <a:pt x="92323" y="4482"/>
                    <a:pt x="94116" y="6274"/>
                    <a:pt x="94116" y="8515"/>
                  </a:cubicBezTo>
                  <a:lnTo>
                    <a:pt x="94116" y="53780"/>
                  </a:lnTo>
                  <a:lnTo>
                    <a:pt x="4482" y="53780"/>
                  </a:lnTo>
                  <a:lnTo>
                    <a:pt x="4482" y="8515"/>
                  </a:lnTo>
                  <a:cubicBezTo>
                    <a:pt x="4482" y="6274"/>
                    <a:pt x="6274" y="4482"/>
                    <a:pt x="8515" y="4482"/>
                  </a:cubicBezTo>
                  <a:close/>
                  <a:moveTo>
                    <a:pt x="31372" y="111594"/>
                  </a:moveTo>
                  <a:lnTo>
                    <a:pt x="31372" y="98149"/>
                  </a:lnTo>
                  <a:lnTo>
                    <a:pt x="67226" y="98149"/>
                  </a:lnTo>
                  <a:lnTo>
                    <a:pt x="67226" y="111594"/>
                  </a:lnTo>
                  <a:cubicBezTo>
                    <a:pt x="67226" y="121006"/>
                    <a:pt x="59607" y="128177"/>
                    <a:pt x="50643" y="128177"/>
                  </a:cubicBezTo>
                  <a:lnTo>
                    <a:pt x="48403" y="128177"/>
                  </a:lnTo>
                  <a:cubicBezTo>
                    <a:pt x="38543" y="128625"/>
                    <a:pt x="31372" y="121006"/>
                    <a:pt x="31372" y="111594"/>
                  </a:cubicBezTo>
                  <a:close/>
                  <a:moveTo>
                    <a:pt x="71707" y="103079"/>
                  </a:moveTo>
                  <a:cubicBezTo>
                    <a:pt x="76189" y="103079"/>
                    <a:pt x="79775" y="103079"/>
                    <a:pt x="80671" y="106216"/>
                  </a:cubicBezTo>
                  <a:cubicBezTo>
                    <a:pt x="82015" y="110250"/>
                    <a:pt x="77086" y="113387"/>
                    <a:pt x="71259" y="116076"/>
                  </a:cubicBezTo>
                  <a:cubicBezTo>
                    <a:pt x="71707" y="114732"/>
                    <a:pt x="71707" y="112939"/>
                    <a:pt x="71707" y="111594"/>
                  </a:cubicBezTo>
                  <a:lnTo>
                    <a:pt x="71707" y="103079"/>
                  </a:lnTo>
                  <a:close/>
                  <a:moveTo>
                    <a:pt x="68570" y="122799"/>
                  </a:moveTo>
                  <a:cubicBezTo>
                    <a:pt x="69466" y="122351"/>
                    <a:pt x="70811" y="121454"/>
                    <a:pt x="72155" y="121006"/>
                  </a:cubicBezTo>
                  <a:cubicBezTo>
                    <a:pt x="77982" y="117869"/>
                    <a:pt x="87393" y="113387"/>
                    <a:pt x="84704" y="105320"/>
                  </a:cubicBezTo>
                  <a:cubicBezTo>
                    <a:pt x="82911" y="99046"/>
                    <a:pt x="76189" y="99046"/>
                    <a:pt x="71707" y="99046"/>
                  </a:cubicBezTo>
                  <a:lnTo>
                    <a:pt x="71707" y="96357"/>
                  </a:lnTo>
                  <a:cubicBezTo>
                    <a:pt x="71707" y="95012"/>
                    <a:pt x="70811" y="94116"/>
                    <a:pt x="69466" y="94116"/>
                  </a:cubicBezTo>
                  <a:lnTo>
                    <a:pt x="29131" y="94116"/>
                  </a:lnTo>
                  <a:cubicBezTo>
                    <a:pt x="27787" y="94116"/>
                    <a:pt x="26890" y="95012"/>
                    <a:pt x="26890" y="96357"/>
                  </a:cubicBezTo>
                  <a:lnTo>
                    <a:pt x="26890" y="112043"/>
                  </a:lnTo>
                  <a:cubicBezTo>
                    <a:pt x="26890" y="118765"/>
                    <a:pt x="30028" y="125040"/>
                    <a:pt x="35406" y="128625"/>
                  </a:cubicBezTo>
                  <a:lnTo>
                    <a:pt x="4482" y="128625"/>
                  </a:lnTo>
                  <a:lnTo>
                    <a:pt x="4482" y="58262"/>
                  </a:lnTo>
                  <a:lnTo>
                    <a:pt x="30924" y="58262"/>
                  </a:lnTo>
                  <a:lnTo>
                    <a:pt x="30924" y="75293"/>
                  </a:lnTo>
                  <a:cubicBezTo>
                    <a:pt x="30924" y="76637"/>
                    <a:pt x="31820" y="77533"/>
                    <a:pt x="33165" y="77533"/>
                  </a:cubicBezTo>
                  <a:lnTo>
                    <a:pt x="37198" y="77533"/>
                  </a:lnTo>
                  <a:lnTo>
                    <a:pt x="37198" y="84704"/>
                  </a:lnTo>
                  <a:cubicBezTo>
                    <a:pt x="37198" y="86049"/>
                    <a:pt x="38094" y="86945"/>
                    <a:pt x="39439" y="86945"/>
                  </a:cubicBezTo>
                  <a:cubicBezTo>
                    <a:pt x="40783" y="86945"/>
                    <a:pt x="41680" y="86049"/>
                    <a:pt x="41680" y="84704"/>
                  </a:cubicBezTo>
                  <a:lnTo>
                    <a:pt x="41680" y="77533"/>
                  </a:lnTo>
                  <a:lnTo>
                    <a:pt x="56469" y="77533"/>
                  </a:lnTo>
                  <a:lnTo>
                    <a:pt x="56469" y="84704"/>
                  </a:lnTo>
                  <a:cubicBezTo>
                    <a:pt x="56469" y="86049"/>
                    <a:pt x="57366" y="86945"/>
                    <a:pt x="58710" y="86945"/>
                  </a:cubicBezTo>
                  <a:cubicBezTo>
                    <a:pt x="60055" y="86945"/>
                    <a:pt x="60951" y="86049"/>
                    <a:pt x="60951" y="84704"/>
                  </a:cubicBezTo>
                  <a:lnTo>
                    <a:pt x="60951" y="77533"/>
                  </a:lnTo>
                  <a:lnTo>
                    <a:pt x="64985" y="77533"/>
                  </a:lnTo>
                  <a:cubicBezTo>
                    <a:pt x="66329" y="77533"/>
                    <a:pt x="67226" y="76637"/>
                    <a:pt x="67226" y="75293"/>
                  </a:cubicBezTo>
                  <a:lnTo>
                    <a:pt x="67226" y="58262"/>
                  </a:lnTo>
                  <a:lnTo>
                    <a:pt x="93668" y="58262"/>
                  </a:lnTo>
                  <a:lnTo>
                    <a:pt x="93668" y="128625"/>
                  </a:lnTo>
                  <a:lnTo>
                    <a:pt x="62744" y="128625"/>
                  </a:lnTo>
                  <a:cubicBezTo>
                    <a:pt x="65433" y="126832"/>
                    <a:pt x="67226" y="125040"/>
                    <a:pt x="68570" y="122799"/>
                  </a:cubicBezTo>
                  <a:close/>
                  <a:moveTo>
                    <a:pt x="63192" y="58262"/>
                  </a:moveTo>
                  <a:lnTo>
                    <a:pt x="63192" y="73052"/>
                  </a:lnTo>
                  <a:lnTo>
                    <a:pt x="35406" y="73052"/>
                  </a:lnTo>
                  <a:lnTo>
                    <a:pt x="35406" y="58262"/>
                  </a:lnTo>
                  <a:lnTo>
                    <a:pt x="63192" y="58262"/>
                  </a:lnTo>
                  <a:close/>
                  <a:moveTo>
                    <a:pt x="90082" y="147896"/>
                  </a:moveTo>
                  <a:lnTo>
                    <a:pt x="8515" y="147896"/>
                  </a:lnTo>
                  <a:cubicBezTo>
                    <a:pt x="6274" y="147896"/>
                    <a:pt x="4482" y="146104"/>
                    <a:pt x="4482" y="143863"/>
                  </a:cubicBezTo>
                  <a:lnTo>
                    <a:pt x="4482" y="133107"/>
                  </a:lnTo>
                  <a:lnTo>
                    <a:pt x="47955" y="133107"/>
                  </a:lnTo>
                  <a:lnTo>
                    <a:pt x="50195" y="133107"/>
                  </a:lnTo>
                  <a:lnTo>
                    <a:pt x="93668" y="133107"/>
                  </a:lnTo>
                  <a:lnTo>
                    <a:pt x="93668" y="143863"/>
                  </a:lnTo>
                  <a:cubicBezTo>
                    <a:pt x="94116" y="145655"/>
                    <a:pt x="92323" y="147896"/>
                    <a:pt x="90082" y="147896"/>
                  </a:cubicBezTo>
                  <a:close/>
                </a:path>
              </a:pathLst>
            </a:custGeom>
            <a:solidFill>
              <a:srgbClr val="231F20"/>
            </a:solidFill>
            <a:ln w="4477" cap="flat">
              <a:noFill/>
              <a:prstDash val="solid"/>
              <a:miter/>
            </a:ln>
          </p:spPr>
          <p:txBody>
            <a:bodyPr rtlCol="0" anchor="ctr"/>
            <a:lstStyle/>
            <a:p>
              <a:endParaRPr lang="en-US"/>
            </a:p>
          </p:txBody>
        </p:sp>
        <p:sp>
          <p:nvSpPr>
            <p:cNvPr id="5439" name="Freeform: Shape 5438">
              <a:extLst>
                <a:ext uri="{FF2B5EF4-FFF2-40B4-BE49-F238E27FC236}">
                  <a16:creationId xmlns:a16="http://schemas.microsoft.com/office/drawing/2014/main" id="{B4711B0F-7792-46D7-A319-6D65E5863649}"/>
                </a:ext>
              </a:extLst>
            </p:cNvPr>
            <p:cNvSpPr/>
            <p:nvPr/>
          </p:nvSpPr>
          <p:spPr>
            <a:xfrm>
              <a:off x="11270594" y="1775186"/>
              <a:ext cx="35854" cy="17927"/>
            </a:xfrm>
            <a:custGeom>
              <a:avLst/>
              <a:gdLst>
                <a:gd name="connsiteX0" fmla="*/ 2241 w 35853"/>
                <a:gd name="connsiteY0" fmla="*/ 17927 h 17926"/>
                <a:gd name="connsiteX1" fmla="*/ 34509 w 35853"/>
                <a:gd name="connsiteY1" fmla="*/ 17927 h 17926"/>
                <a:gd name="connsiteX2" fmla="*/ 36750 w 35853"/>
                <a:gd name="connsiteY2" fmla="*/ 15686 h 17926"/>
                <a:gd name="connsiteX3" fmla="*/ 36750 w 35853"/>
                <a:gd name="connsiteY3" fmla="*/ 2241 h 17926"/>
                <a:gd name="connsiteX4" fmla="*/ 34509 w 35853"/>
                <a:gd name="connsiteY4" fmla="*/ 0 h 17926"/>
                <a:gd name="connsiteX5" fmla="*/ 2241 w 35853"/>
                <a:gd name="connsiteY5" fmla="*/ 0 h 17926"/>
                <a:gd name="connsiteX6" fmla="*/ 0 w 35853"/>
                <a:gd name="connsiteY6" fmla="*/ 2241 h 17926"/>
                <a:gd name="connsiteX7" fmla="*/ 0 w 35853"/>
                <a:gd name="connsiteY7" fmla="*/ 15686 h 17926"/>
                <a:gd name="connsiteX8" fmla="*/ 2241 w 35853"/>
                <a:gd name="connsiteY8" fmla="*/ 17927 h 17926"/>
                <a:gd name="connsiteX9" fmla="*/ 4482 w 35853"/>
                <a:gd name="connsiteY9" fmla="*/ 4482 h 17926"/>
                <a:gd name="connsiteX10" fmla="*/ 32268 w 35853"/>
                <a:gd name="connsiteY10" fmla="*/ 4482 h 17926"/>
                <a:gd name="connsiteX11" fmla="*/ 32268 w 35853"/>
                <a:gd name="connsiteY11" fmla="*/ 13445 h 17926"/>
                <a:gd name="connsiteX12" fmla="*/ 4482 w 35853"/>
                <a:gd name="connsiteY12" fmla="*/ 13445 h 17926"/>
                <a:gd name="connsiteX13" fmla="*/ 4482 w 35853"/>
                <a:gd name="connsiteY13"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53" h="17926">
                  <a:moveTo>
                    <a:pt x="2241" y="17927"/>
                  </a:moveTo>
                  <a:lnTo>
                    <a:pt x="34509" y="17927"/>
                  </a:lnTo>
                  <a:cubicBezTo>
                    <a:pt x="35854" y="17927"/>
                    <a:pt x="36750" y="17030"/>
                    <a:pt x="36750" y="15686"/>
                  </a:cubicBezTo>
                  <a:lnTo>
                    <a:pt x="36750" y="2241"/>
                  </a:lnTo>
                  <a:cubicBezTo>
                    <a:pt x="36750" y="896"/>
                    <a:pt x="35854" y="0"/>
                    <a:pt x="34509" y="0"/>
                  </a:cubicBezTo>
                  <a:lnTo>
                    <a:pt x="2241" y="0"/>
                  </a:lnTo>
                  <a:cubicBezTo>
                    <a:pt x="896" y="0"/>
                    <a:pt x="0" y="896"/>
                    <a:pt x="0" y="2241"/>
                  </a:cubicBezTo>
                  <a:lnTo>
                    <a:pt x="0" y="15686"/>
                  </a:lnTo>
                  <a:cubicBezTo>
                    <a:pt x="0" y="16582"/>
                    <a:pt x="896" y="17927"/>
                    <a:pt x="2241" y="17927"/>
                  </a:cubicBezTo>
                  <a:close/>
                  <a:moveTo>
                    <a:pt x="4482" y="4482"/>
                  </a:moveTo>
                  <a:lnTo>
                    <a:pt x="32268" y="4482"/>
                  </a:lnTo>
                  <a:lnTo>
                    <a:pt x="32268" y="13445"/>
                  </a:lnTo>
                  <a:lnTo>
                    <a:pt x="4482" y="13445"/>
                  </a:lnTo>
                  <a:lnTo>
                    <a:pt x="4482" y="4482"/>
                  </a:lnTo>
                  <a:close/>
                </a:path>
              </a:pathLst>
            </a:custGeom>
            <a:solidFill>
              <a:srgbClr val="231F20"/>
            </a:solidFill>
            <a:ln w="4477" cap="flat">
              <a:noFill/>
              <a:prstDash val="solid"/>
              <a:miter/>
            </a:ln>
          </p:spPr>
          <p:txBody>
            <a:bodyPr rtlCol="0" anchor="ctr"/>
            <a:lstStyle/>
            <a:p>
              <a:endParaRPr lang="en-US"/>
            </a:p>
          </p:txBody>
        </p:sp>
        <p:sp>
          <p:nvSpPr>
            <p:cNvPr id="5440" name="Freeform: Shape 5439">
              <a:extLst>
                <a:ext uri="{FF2B5EF4-FFF2-40B4-BE49-F238E27FC236}">
                  <a16:creationId xmlns:a16="http://schemas.microsoft.com/office/drawing/2014/main" id="{1BF0D24F-ACA0-4EB0-971D-C00ECEE5893B}"/>
                </a:ext>
              </a:extLst>
            </p:cNvPr>
            <p:cNvSpPr/>
            <p:nvPr/>
          </p:nvSpPr>
          <p:spPr>
            <a:xfrm>
              <a:off x="11266561" y="1802077"/>
              <a:ext cx="44817" cy="4482"/>
            </a:xfrm>
            <a:custGeom>
              <a:avLst/>
              <a:gdLst>
                <a:gd name="connsiteX0" fmla="*/ 2241 w 44817"/>
                <a:gd name="connsiteY0" fmla="*/ 4482 h 4481"/>
                <a:gd name="connsiteX1" fmla="*/ 42576 w 44817"/>
                <a:gd name="connsiteY1" fmla="*/ 4482 h 4481"/>
                <a:gd name="connsiteX2" fmla="*/ 44817 w 44817"/>
                <a:gd name="connsiteY2" fmla="*/ 2241 h 4481"/>
                <a:gd name="connsiteX3" fmla="*/ 42576 w 44817"/>
                <a:gd name="connsiteY3" fmla="*/ 0 h 4481"/>
                <a:gd name="connsiteX4" fmla="*/ 2241 w 44817"/>
                <a:gd name="connsiteY4" fmla="*/ 0 h 4481"/>
                <a:gd name="connsiteX5" fmla="*/ 0 w 44817"/>
                <a:gd name="connsiteY5" fmla="*/ 2241 h 4481"/>
                <a:gd name="connsiteX6" fmla="*/ 2241 w 44817"/>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7" h="4481">
                  <a:moveTo>
                    <a:pt x="2241" y="4482"/>
                  </a:moveTo>
                  <a:lnTo>
                    <a:pt x="42576" y="4482"/>
                  </a:lnTo>
                  <a:cubicBezTo>
                    <a:pt x="43921" y="4482"/>
                    <a:pt x="44817" y="3585"/>
                    <a:pt x="44817" y="2241"/>
                  </a:cubicBezTo>
                  <a:cubicBezTo>
                    <a:pt x="44817" y="896"/>
                    <a:pt x="43921" y="0"/>
                    <a:pt x="42576" y="0"/>
                  </a:cubicBezTo>
                  <a:lnTo>
                    <a:pt x="2241" y="0"/>
                  </a:lnTo>
                  <a:cubicBezTo>
                    <a:pt x="897" y="0"/>
                    <a:pt x="0" y="896"/>
                    <a:pt x="0" y="2241"/>
                  </a:cubicBezTo>
                  <a:cubicBezTo>
                    <a:pt x="0" y="3137"/>
                    <a:pt x="897" y="4482"/>
                    <a:pt x="2241" y="4482"/>
                  </a:cubicBezTo>
                  <a:close/>
                </a:path>
              </a:pathLst>
            </a:custGeom>
            <a:solidFill>
              <a:srgbClr val="231F20"/>
            </a:solidFill>
            <a:ln w="4477" cap="flat">
              <a:noFill/>
              <a:prstDash val="solid"/>
              <a:miter/>
            </a:ln>
          </p:spPr>
          <p:txBody>
            <a:bodyPr rtlCol="0" anchor="ctr"/>
            <a:lstStyle/>
            <a:p>
              <a:endParaRPr lang="en-US"/>
            </a:p>
          </p:txBody>
        </p:sp>
      </p:grpSp>
      <p:grpSp>
        <p:nvGrpSpPr>
          <p:cNvPr id="2471" name="Group 2470">
            <a:extLst>
              <a:ext uri="{FF2B5EF4-FFF2-40B4-BE49-F238E27FC236}">
                <a16:creationId xmlns:a16="http://schemas.microsoft.com/office/drawing/2014/main" id="{C988C3AD-F471-4442-B5EE-2739E29FF18A}"/>
              </a:ext>
              <a:ext uri="{C183D7F6-B498-43B3-948B-1728B52AA6E4}">
                <adec:decorative xmlns:adec="http://schemas.microsoft.com/office/drawing/2017/decorative" val="1"/>
              </a:ext>
            </a:extLst>
          </p:cNvPr>
          <p:cNvGrpSpPr>
            <a:grpSpLocks noChangeAspect="1"/>
          </p:cNvGrpSpPr>
          <p:nvPr/>
        </p:nvGrpSpPr>
        <p:grpSpPr>
          <a:xfrm>
            <a:off x="9061085" y="3859112"/>
            <a:ext cx="112043" cy="67226"/>
            <a:chOff x="9117585" y="1803421"/>
            <a:chExt cx="112043" cy="67226"/>
          </a:xfrm>
        </p:grpSpPr>
        <p:sp>
          <p:nvSpPr>
            <p:cNvPr id="5428" name="Freeform: Shape 5427">
              <a:extLst>
                <a:ext uri="{FF2B5EF4-FFF2-40B4-BE49-F238E27FC236}">
                  <a16:creationId xmlns:a16="http://schemas.microsoft.com/office/drawing/2014/main" id="{6D7BE74D-7948-46A6-A300-4532ADBC7ADD}"/>
                </a:ext>
              </a:extLst>
            </p:cNvPr>
            <p:cNvSpPr/>
            <p:nvPr/>
          </p:nvSpPr>
          <p:spPr>
            <a:xfrm>
              <a:off x="9117585"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29" name="Freeform: Shape 5428">
              <a:extLst>
                <a:ext uri="{FF2B5EF4-FFF2-40B4-BE49-F238E27FC236}">
                  <a16:creationId xmlns:a16="http://schemas.microsoft.com/office/drawing/2014/main" id="{2C10C492-0CFA-4ACB-A8B7-15A470DDAE69}"/>
                </a:ext>
              </a:extLst>
            </p:cNvPr>
            <p:cNvSpPr/>
            <p:nvPr/>
          </p:nvSpPr>
          <p:spPr>
            <a:xfrm>
              <a:off x="9131478"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0" name="Freeform: Shape 5429">
              <a:extLst>
                <a:ext uri="{FF2B5EF4-FFF2-40B4-BE49-F238E27FC236}">
                  <a16:creationId xmlns:a16="http://schemas.microsoft.com/office/drawing/2014/main" id="{486E6350-F674-446D-AFC3-6A89147940AB}"/>
                </a:ext>
              </a:extLst>
            </p:cNvPr>
            <p:cNvSpPr/>
            <p:nvPr/>
          </p:nvSpPr>
          <p:spPr>
            <a:xfrm>
              <a:off x="9166884"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1" name="Freeform: Shape 5430">
              <a:extLst>
                <a:ext uri="{FF2B5EF4-FFF2-40B4-BE49-F238E27FC236}">
                  <a16:creationId xmlns:a16="http://schemas.microsoft.com/office/drawing/2014/main" id="{49F578A4-62BC-4415-BF89-92357B1E2E96}"/>
                </a:ext>
              </a:extLst>
            </p:cNvPr>
            <p:cNvSpPr/>
            <p:nvPr/>
          </p:nvSpPr>
          <p:spPr>
            <a:xfrm>
              <a:off x="9126548"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2" name="Freeform: Shape 5431">
              <a:extLst>
                <a:ext uri="{FF2B5EF4-FFF2-40B4-BE49-F238E27FC236}">
                  <a16:creationId xmlns:a16="http://schemas.microsoft.com/office/drawing/2014/main" id="{7AC7350D-0273-4535-9C3A-C73A553895A1}"/>
                </a:ext>
              </a:extLst>
            </p:cNvPr>
            <p:cNvSpPr/>
            <p:nvPr/>
          </p:nvSpPr>
          <p:spPr>
            <a:xfrm>
              <a:off x="9200496"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3" name="Freeform: Shape 5432">
              <a:extLst>
                <a:ext uri="{FF2B5EF4-FFF2-40B4-BE49-F238E27FC236}">
                  <a16:creationId xmlns:a16="http://schemas.microsoft.com/office/drawing/2014/main" id="{06FCB572-3E24-456B-8F62-704ED452D66F}"/>
                </a:ext>
              </a:extLst>
            </p:cNvPr>
            <p:cNvSpPr/>
            <p:nvPr/>
          </p:nvSpPr>
          <p:spPr>
            <a:xfrm>
              <a:off x="9218423"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4" name="Freeform: Shape 5433">
              <a:extLst>
                <a:ext uri="{FF2B5EF4-FFF2-40B4-BE49-F238E27FC236}">
                  <a16:creationId xmlns:a16="http://schemas.microsoft.com/office/drawing/2014/main" id="{C1488329-2CF4-4EAC-B52C-B148F601F275}"/>
                </a:ext>
              </a:extLst>
            </p:cNvPr>
            <p:cNvSpPr/>
            <p:nvPr/>
          </p:nvSpPr>
          <p:spPr>
            <a:xfrm>
              <a:off x="9151198"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5" name="Freeform: Shape 5434">
              <a:extLst>
                <a:ext uri="{FF2B5EF4-FFF2-40B4-BE49-F238E27FC236}">
                  <a16:creationId xmlns:a16="http://schemas.microsoft.com/office/drawing/2014/main" id="{BD59021A-C174-4250-86B0-2F9C7EC0C85D}"/>
                </a:ext>
              </a:extLst>
            </p:cNvPr>
            <p:cNvSpPr/>
            <p:nvPr/>
          </p:nvSpPr>
          <p:spPr>
            <a:xfrm>
              <a:off x="9187051"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6" name="Freeform: Shape 5435">
              <a:extLst>
                <a:ext uri="{FF2B5EF4-FFF2-40B4-BE49-F238E27FC236}">
                  <a16:creationId xmlns:a16="http://schemas.microsoft.com/office/drawing/2014/main" id="{F84E610A-5FED-4971-AF99-D6B6D16E9B68}"/>
                </a:ext>
              </a:extLst>
            </p:cNvPr>
            <p:cNvSpPr/>
            <p:nvPr/>
          </p:nvSpPr>
          <p:spPr>
            <a:xfrm>
              <a:off x="9225146"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sp>
          <p:nvSpPr>
            <p:cNvPr id="5437" name="Freeform: Shape 5436">
              <a:extLst>
                <a:ext uri="{FF2B5EF4-FFF2-40B4-BE49-F238E27FC236}">
                  <a16:creationId xmlns:a16="http://schemas.microsoft.com/office/drawing/2014/main" id="{8B209F60-B4AC-44B7-9D28-D3D7CB8608C9}"/>
                </a:ext>
              </a:extLst>
            </p:cNvPr>
            <p:cNvSpPr/>
            <p:nvPr/>
          </p:nvSpPr>
          <p:spPr>
            <a:xfrm>
              <a:off x="9137753" y="1803421"/>
              <a:ext cx="4482" cy="67226"/>
            </a:xfrm>
            <a:custGeom>
              <a:avLst/>
              <a:gdLst>
                <a:gd name="connsiteX0" fmla="*/ 0 w 4481"/>
                <a:gd name="connsiteY0" fmla="*/ 0 h 67225"/>
                <a:gd name="connsiteX1" fmla="*/ 4482 w 4481"/>
                <a:gd name="connsiteY1" fmla="*/ 0 h 67225"/>
                <a:gd name="connsiteX2" fmla="*/ 4482 w 4481"/>
                <a:gd name="connsiteY2" fmla="*/ 67226 h 67225"/>
                <a:gd name="connsiteX3" fmla="*/ 0 w 4481"/>
                <a:gd name="connsiteY3" fmla="*/ 67226 h 67225"/>
              </a:gdLst>
              <a:ahLst/>
              <a:cxnLst>
                <a:cxn ang="0">
                  <a:pos x="connsiteX0" y="connsiteY0"/>
                </a:cxn>
                <a:cxn ang="0">
                  <a:pos x="connsiteX1" y="connsiteY1"/>
                </a:cxn>
                <a:cxn ang="0">
                  <a:pos x="connsiteX2" y="connsiteY2"/>
                </a:cxn>
                <a:cxn ang="0">
                  <a:pos x="connsiteX3" y="connsiteY3"/>
                </a:cxn>
              </a:cxnLst>
              <a:rect l="l" t="t" r="r" b="b"/>
              <a:pathLst>
                <a:path w="4481" h="67225">
                  <a:moveTo>
                    <a:pt x="0" y="0"/>
                  </a:moveTo>
                  <a:lnTo>
                    <a:pt x="4482" y="0"/>
                  </a:lnTo>
                  <a:lnTo>
                    <a:pt x="4482" y="67226"/>
                  </a:lnTo>
                  <a:lnTo>
                    <a:pt x="0" y="67226"/>
                  </a:lnTo>
                  <a:close/>
                </a:path>
              </a:pathLst>
            </a:custGeom>
            <a:solidFill>
              <a:srgbClr val="231F20"/>
            </a:solidFill>
            <a:ln w="4477" cap="flat">
              <a:noFill/>
              <a:prstDash val="solid"/>
              <a:miter/>
            </a:ln>
          </p:spPr>
          <p:txBody>
            <a:bodyPr rtlCol="0" anchor="ctr"/>
            <a:lstStyle/>
            <a:p>
              <a:endParaRPr lang="en-US"/>
            </a:p>
          </p:txBody>
        </p:sp>
      </p:grpSp>
      <p:grpSp>
        <p:nvGrpSpPr>
          <p:cNvPr id="2472" name="Group 2471">
            <a:extLst>
              <a:ext uri="{FF2B5EF4-FFF2-40B4-BE49-F238E27FC236}">
                <a16:creationId xmlns:a16="http://schemas.microsoft.com/office/drawing/2014/main" id="{8EA616A1-5D78-4D3E-AD07-DEB2EB7655EE}"/>
              </a:ext>
              <a:ext uri="{C183D7F6-B498-43B3-948B-1728B52AA6E4}">
                <adec:decorative xmlns:adec="http://schemas.microsoft.com/office/drawing/2017/decorative" val="1"/>
              </a:ext>
            </a:extLst>
          </p:cNvPr>
          <p:cNvGrpSpPr>
            <a:grpSpLocks noChangeAspect="1"/>
          </p:cNvGrpSpPr>
          <p:nvPr/>
        </p:nvGrpSpPr>
        <p:grpSpPr>
          <a:xfrm>
            <a:off x="10641333" y="3830877"/>
            <a:ext cx="152377" cy="138933"/>
            <a:chOff x="10697833" y="1775186"/>
            <a:chExt cx="152377" cy="138933"/>
          </a:xfrm>
        </p:grpSpPr>
        <p:sp>
          <p:nvSpPr>
            <p:cNvPr id="5425" name="Freeform: Shape 5424">
              <a:extLst>
                <a:ext uri="{FF2B5EF4-FFF2-40B4-BE49-F238E27FC236}">
                  <a16:creationId xmlns:a16="http://schemas.microsoft.com/office/drawing/2014/main" id="{778E9015-24F8-4C23-92FE-8BC6FB17D4E8}"/>
                </a:ext>
              </a:extLst>
            </p:cNvPr>
            <p:cNvSpPr/>
            <p:nvPr/>
          </p:nvSpPr>
          <p:spPr>
            <a:xfrm>
              <a:off x="10765058" y="1828967"/>
              <a:ext cx="85152" cy="85152"/>
            </a:xfrm>
            <a:custGeom>
              <a:avLst/>
              <a:gdLst>
                <a:gd name="connsiteX0" fmla="*/ 42576 w 85152"/>
                <a:gd name="connsiteY0" fmla="*/ 0 h 85152"/>
                <a:gd name="connsiteX1" fmla="*/ 0 w 85152"/>
                <a:gd name="connsiteY1" fmla="*/ 42576 h 85152"/>
                <a:gd name="connsiteX2" fmla="*/ 13893 w 85152"/>
                <a:gd name="connsiteY2" fmla="*/ 74396 h 85152"/>
                <a:gd name="connsiteX3" fmla="*/ 42576 w 85152"/>
                <a:gd name="connsiteY3" fmla="*/ 85152 h 85152"/>
                <a:gd name="connsiteX4" fmla="*/ 85152 w 85152"/>
                <a:gd name="connsiteY4" fmla="*/ 42576 h 85152"/>
                <a:gd name="connsiteX5" fmla="*/ 42576 w 85152"/>
                <a:gd name="connsiteY5" fmla="*/ 0 h 85152"/>
                <a:gd name="connsiteX6" fmla="*/ 42576 w 85152"/>
                <a:gd name="connsiteY6" fmla="*/ 80671 h 85152"/>
                <a:gd name="connsiteX7" fmla="*/ 17030 w 85152"/>
                <a:gd name="connsiteY7" fmla="*/ 70811 h 85152"/>
                <a:gd name="connsiteX8" fmla="*/ 4482 w 85152"/>
                <a:gd name="connsiteY8" fmla="*/ 42576 h 85152"/>
                <a:gd name="connsiteX9" fmla="*/ 42576 w 85152"/>
                <a:gd name="connsiteY9" fmla="*/ 4482 h 85152"/>
                <a:gd name="connsiteX10" fmla="*/ 80671 w 85152"/>
                <a:gd name="connsiteY10" fmla="*/ 42576 h 85152"/>
                <a:gd name="connsiteX11" fmla="*/ 42576 w 85152"/>
                <a:gd name="connsiteY11"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52" h="85152">
                  <a:moveTo>
                    <a:pt x="42576" y="0"/>
                  </a:moveTo>
                  <a:cubicBezTo>
                    <a:pt x="19271" y="0"/>
                    <a:pt x="0" y="19271"/>
                    <a:pt x="0" y="42576"/>
                  </a:cubicBezTo>
                  <a:cubicBezTo>
                    <a:pt x="0" y="54677"/>
                    <a:pt x="4930" y="66329"/>
                    <a:pt x="13893" y="74396"/>
                  </a:cubicBezTo>
                  <a:cubicBezTo>
                    <a:pt x="21512" y="81567"/>
                    <a:pt x="31820" y="85152"/>
                    <a:pt x="42576" y="85152"/>
                  </a:cubicBezTo>
                  <a:cubicBezTo>
                    <a:pt x="65881" y="85152"/>
                    <a:pt x="85152" y="65881"/>
                    <a:pt x="85152" y="42576"/>
                  </a:cubicBezTo>
                  <a:cubicBezTo>
                    <a:pt x="85152" y="19271"/>
                    <a:pt x="65881" y="0"/>
                    <a:pt x="42576" y="0"/>
                  </a:cubicBezTo>
                  <a:close/>
                  <a:moveTo>
                    <a:pt x="42576" y="80671"/>
                  </a:moveTo>
                  <a:cubicBezTo>
                    <a:pt x="33164" y="80671"/>
                    <a:pt x="24201" y="77085"/>
                    <a:pt x="17030" y="70811"/>
                  </a:cubicBezTo>
                  <a:cubicBezTo>
                    <a:pt x="8963" y="63640"/>
                    <a:pt x="4482" y="53332"/>
                    <a:pt x="4482" y="42576"/>
                  </a:cubicBezTo>
                  <a:cubicBezTo>
                    <a:pt x="4482" y="21512"/>
                    <a:pt x="21512" y="4482"/>
                    <a:pt x="42576" y="4482"/>
                  </a:cubicBezTo>
                  <a:cubicBezTo>
                    <a:pt x="63640" y="4482"/>
                    <a:pt x="80671" y="21512"/>
                    <a:pt x="80671" y="42576"/>
                  </a:cubicBezTo>
                  <a:cubicBezTo>
                    <a:pt x="80671" y="63640"/>
                    <a:pt x="63640" y="80671"/>
                    <a:pt x="42576" y="80671"/>
                  </a:cubicBezTo>
                  <a:close/>
                </a:path>
              </a:pathLst>
            </a:custGeom>
            <a:solidFill>
              <a:srgbClr val="231F20"/>
            </a:solidFill>
            <a:ln w="4477" cap="flat">
              <a:noFill/>
              <a:prstDash val="solid"/>
              <a:miter/>
            </a:ln>
          </p:spPr>
          <p:txBody>
            <a:bodyPr rtlCol="0" anchor="ctr"/>
            <a:lstStyle/>
            <a:p>
              <a:endParaRPr lang="en-US"/>
            </a:p>
          </p:txBody>
        </p:sp>
        <p:sp>
          <p:nvSpPr>
            <p:cNvPr id="5426" name="Freeform: Shape 5425">
              <a:extLst>
                <a:ext uri="{FF2B5EF4-FFF2-40B4-BE49-F238E27FC236}">
                  <a16:creationId xmlns:a16="http://schemas.microsoft.com/office/drawing/2014/main" id="{8B55E5D6-2839-42AC-9AD8-942D277D655C}"/>
                </a:ext>
              </a:extLst>
            </p:cNvPr>
            <p:cNvSpPr/>
            <p:nvPr/>
          </p:nvSpPr>
          <p:spPr>
            <a:xfrm>
              <a:off x="10697833" y="1775186"/>
              <a:ext cx="85152" cy="138933"/>
            </a:xfrm>
            <a:custGeom>
              <a:avLst/>
              <a:gdLst>
                <a:gd name="connsiteX0" fmla="*/ 65881 w 85152"/>
                <a:gd name="connsiteY0" fmla="*/ 129521 h 138932"/>
                <a:gd name="connsiteX1" fmla="*/ 61847 w 85152"/>
                <a:gd name="connsiteY1" fmla="*/ 131314 h 138932"/>
                <a:gd name="connsiteX2" fmla="*/ 42576 w 85152"/>
                <a:gd name="connsiteY2" fmla="*/ 134451 h 138932"/>
                <a:gd name="connsiteX3" fmla="*/ 4482 w 85152"/>
                <a:gd name="connsiteY3" fmla="*/ 113387 h 138932"/>
                <a:gd name="connsiteX4" fmla="*/ 4482 w 85152"/>
                <a:gd name="connsiteY4" fmla="*/ 95908 h 138932"/>
                <a:gd name="connsiteX5" fmla="*/ 42576 w 85152"/>
                <a:gd name="connsiteY5" fmla="*/ 109802 h 138932"/>
                <a:gd name="connsiteX6" fmla="*/ 53780 w 85152"/>
                <a:gd name="connsiteY6" fmla="*/ 108905 h 138932"/>
                <a:gd name="connsiteX7" fmla="*/ 55573 w 85152"/>
                <a:gd name="connsiteY7" fmla="*/ 106216 h 138932"/>
                <a:gd name="connsiteX8" fmla="*/ 52884 w 85152"/>
                <a:gd name="connsiteY8" fmla="*/ 104424 h 138932"/>
                <a:gd name="connsiteX9" fmla="*/ 42576 w 85152"/>
                <a:gd name="connsiteY9" fmla="*/ 105320 h 138932"/>
                <a:gd name="connsiteX10" fmla="*/ 4482 w 85152"/>
                <a:gd name="connsiteY10" fmla="*/ 84256 h 138932"/>
                <a:gd name="connsiteX11" fmla="*/ 4482 w 85152"/>
                <a:gd name="connsiteY11" fmla="*/ 66329 h 138932"/>
                <a:gd name="connsiteX12" fmla="*/ 42576 w 85152"/>
                <a:gd name="connsiteY12" fmla="*/ 80223 h 138932"/>
                <a:gd name="connsiteX13" fmla="*/ 56918 w 85152"/>
                <a:gd name="connsiteY13" fmla="*/ 78878 h 138932"/>
                <a:gd name="connsiteX14" fmla="*/ 58710 w 85152"/>
                <a:gd name="connsiteY14" fmla="*/ 76189 h 138932"/>
                <a:gd name="connsiteX15" fmla="*/ 56021 w 85152"/>
                <a:gd name="connsiteY15" fmla="*/ 74396 h 138932"/>
                <a:gd name="connsiteX16" fmla="*/ 42576 w 85152"/>
                <a:gd name="connsiteY16" fmla="*/ 75741 h 138932"/>
                <a:gd name="connsiteX17" fmla="*/ 4482 w 85152"/>
                <a:gd name="connsiteY17" fmla="*/ 54677 h 138932"/>
                <a:gd name="connsiteX18" fmla="*/ 4482 w 85152"/>
                <a:gd name="connsiteY18" fmla="*/ 37198 h 138932"/>
                <a:gd name="connsiteX19" fmla="*/ 42576 w 85152"/>
                <a:gd name="connsiteY19" fmla="*/ 51091 h 138932"/>
                <a:gd name="connsiteX20" fmla="*/ 80671 w 85152"/>
                <a:gd name="connsiteY20" fmla="*/ 37198 h 138932"/>
                <a:gd name="connsiteX21" fmla="*/ 80671 w 85152"/>
                <a:gd name="connsiteY21" fmla="*/ 50195 h 138932"/>
                <a:gd name="connsiteX22" fmla="*/ 82911 w 85152"/>
                <a:gd name="connsiteY22" fmla="*/ 52436 h 138932"/>
                <a:gd name="connsiteX23" fmla="*/ 85152 w 85152"/>
                <a:gd name="connsiteY23" fmla="*/ 50195 h 138932"/>
                <a:gd name="connsiteX24" fmla="*/ 85152 w 85152"/>
                <a:gd name="connsiteY24" fmla="*/ 27338 h 138932"/>
                <a:gd name="connsiteX25" fmla="*/ 85152 w 85152"/>
                <a:gd name="connsiteY25" fmla="*/ 26890 h 138932"/>
                <a:gd name="connsiteX26" fmla="*/ 85152 w 85152"/>
                <a:gd name="connsiteY26" fmla="*/ 25546 h 138932"/>
                <a:gd name="connsiteX27" fmla="*/ 42576 w 85152"/>
                <a:gd name="connsiteY27" fmla="*/ 0 h 138932"/>
                <a:gd name="connsiteX28" fmla="*/ 0 w 85152"/>
                <a:gd name="connsiteY28" fmla="*/ 25546 h 138932"/>
                <a:gd name="connsiteX29" fmla="*/ 0 w 85152"/>
                <a:gd name="connsiteY29" fmla="*/ 26890 h 138932"/>
                <a:gd name="connsiteX30" fmla="*/ 0 w 85152"/>
                <a:gd name="connsiteY30" fmla="*/ 27338 h 138932"/>
                <a:gd name="connsiteX31" fmla="*/ 0 w 85152"/>
                <a:gd name="connsiteY31" fmla="*/ 113835 h 138932"/>
                <a:gd name="connsiteX32" fmla="*/ 0 w 85152"/>
                <a:gd name="connsiteY32" fmla="*/ 114283 h 138932"/>
                <a:gd name="connsiteX33" fmla="*/ 42576 w 85152"/>
                <a:gd name="connsiteY33" fmla="*/ 139381 h 138932"/>
                <a:gd name="connsiteX34" fmla="*/ 63192 w 85152"/>
                <a:gd name="connsiteY34" fmla="*/ 136244 h 138932"/>
                <a:gd name="connsiteX35" fmla="*/ 67674 w 85152"/>
                <a:gd name="connsiteY35" fmla="*/ 134451 h 138932"/>
                <a:gd name="connsiteX36" fmla="*/ 68570 w 85152"/>
                <a:gd name="connsiteY36" fmla="*/ 131314 h 138932"/>
                <a:gd name="connsiteX37" fmla="*/ 65881 w 85152"/>
                <a:gd name="connsiteY37" fmla="*/ 129521 h 138932"/>
                <a:gd name="connsiteX38" fmla="*/ 42576 w 85152"/>
                <a:gd name="connsiteY38" fmla="*/ 4482 h 138932"/>
                <a:gd name="connsiteX39" fmla="*/ 80671 w 85152"/>
                <a:gd name="connsiteY39" fmla="*/ 25546 h 138932"/>
                <a:gd name="connsiteX40" fmla="*/ 42576 w 85152"/>
                <a:gd name="connsiteY40" fmla="*/ 46610 h 138932"/>
                <a:gd name="connsiteX41" fmla="*/ 4482 w 85152"/>
                <a:gd name="connsiteY41" fmla="*/ 25546 h 138932"/>
                <a:gd name="connsiteX42" fmla="*/ 42576 w 85152"/>
                <a:gd name="connsiteY42" fmla="*/ 448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152" h="138932">
                  <a:moveTo>
                    <a:pt x="65881" y="129521"/>
                  </a:moveTo>
                  <a:cubicBezTo>
                    <a:pt x="64536" y="130418"/>
                    <a:pt x="61847" y="131314"/>
                    <a:pt x="61847" y="131314"/>
                  </a:cubicBezTo>
                  <a:cubicBezTo>
                    <a:pt x="56021" y="133107"/>
                    <a:pt x="49299" y="134451"/>
                    <a:pt x="42576" y="134451"/>
                  </a:cubicBezTo>
                  <a:cubicBezTo>
                    <a:pt x="21960" y="134451"/>
                    <a:pt x="4482" y="124591"/>
                    <a:pt x="4482" y="113387"/>
                  </a:cubicBezTo>
                  <a:lnTo>
                    <a:pt x="4482" y="95908"/>
                  </a:lnTo>
                  <a:cubicBezTo>
                    <a:pt x="11204" y="104424"/>
                    <a:pt x="25546" y="109802"/>
                    <a:pt x="42576" y="109802"/>
                  </a:cubicBezTo>
                  <a:cubicBezTo>
                    <a:pt x="47058" y="109802"/>
                    <a:pt x="50195" y="109354"/>
                    <a:pt x="53780" y="108905"/>
                  </a:cubicBezTo>
                  <a:cubicBezTo>
                    <a:pt x="55125" y="108905"/>
                    <a:pt x="56021" y="107561"/>
                    <a:pt x="55573" y="106216"/>
                  </a:cubicBezTo>
                  <a:cubicBezTo>
                    <a:pt x="55573" y="104872"/>
                    <a:pt x="54228" y="103975"/>
                    <a:pt x="52884" y="104424"/>
                  </a:cubicBezTo>
                  <a:cubicBezTo>
                    <a:pt x="49747" y="104872"/>
                    <a:pt x="46610" y="105320"/>
                    <a:pt x="42576" y="105320"/>
                  </a:cubicBezTo>
                  <a:cubicBezTo>
                    <a:pt x="21960" y="105320"/>
                    <a:pt x="4482" y="95460"/>
                    <a:pt x="4482" y="84256"/>
                  </a:cubicBezTo>
                  <a:lnTo>
                    <a:pt x="4482" y="66329"/>
                  </a:lnTo>
                  <a:cubicBezTo>
                    <a:pt x="11204" y="74844"/>
                    <a:pt x="25546" y="80223"/>
                    <a:pt x="42576" y="80223"/>
                  </a:cubicBezTo>
                  <a:cubicBezTo>
                    <a:pt x="46161" y="80223"/>
                    <a:pt x="51988" y="79774"/>
                    <a:pt x="56918" y="78878"/>
                  </a:cubicBezTo>
                  <a:cubicBezTo>
                    <a:pt x="58262" y="78430"/>
                    <a:pt x="58710" y="77533"/>
                    <a:pt x="58710" y="76189"/>
                  </a:cubicBezTo>
                  <a:cubicBezTo>
                    <a:pt x="58262" y="74844"/>
                    <a:pt x="57366" y="74396"/>
                    <a:pt x="56021" y="74396"/>
                  </a:cubicBezTo>
                  <a:cubicBezTo>
                    <a:pt x="51540" y="75741"/>
                    <a:pt x="46161" y="75741"/>
                    <a:pt x="42576" y="75741"/>
                  </a:cubicBezTo>
                  <a:cubicBezTo>
                    <a:pt x="21960" y="75741"/>
                    <a:pt x="4482" y="65881"/>
                    <a:pt x="4482" y="54677"/>
                  </a:cubicBezTo>
                  <a:lnTo>
                    <a:pt x="4482" y="37198"/>
                  </a:lnTo>
                  <a:cubicBezTo>
                    <a:pt x="11204" y="45713"/>
                    <a:pt x="25546" y="51091"/>
                    <a:pt x="42576" y="51091"/>
                  </a:cubicBezTo>
                  <a:cubicBezTo>
                    <a:pt x="59607" y="51091"/>
                    <a:pt x="73948" y="45265"/>
                    <a:pt x="80671" y="37198"/>
                  </a:cubicBezTo>
                  <a:lnTo>
                    <a:pt x="80671" y="50195"/>
                  </a:lnTo>
                  <a:cubicBezTo>
                    <a:pt x="80671" y="51540"/>
                    <a:pt x="81567" y="52436"/>
                    <a:pt x="82911" y="52436"/>
                  </a:cubicBezTo>
                  <a:cubicBezTo>
                    <a:pt x="84256" y="52436"/>
                    <a:pt x="85152" y="51540"/>
                    <a:pt x="85152" y="50195"/>
                  </a:cubicBezTo>
                  <a:lnTo>
                    <a:pt x="85152" y="27338"/>
                  </a:lnTo>
                  <a:cubicBezTo>
                    <a:pt x="85152" y="27338"/>
                    <a:pt x="85152" y="26890"/>
                    <a:pt x="85152" y="26890"/>
                  </a:cubicBezTo>
                  <a:cubicBezTo>
                    <a:pt x="85152" y="26442"/>
                    <a:pt x="85152" y="25994"/>
                    <a:pt x="85152" y="25546"/>
                  </a:cubicBezTo>
                  <a:cubicBezTo>
                    <a:pt x="85152" y="11204"/>
                    <a:pt x="66329" y="0"/>
                    <a:pt x="42576" y="0"/>
                  </a:cubicBezTo>
                  <a:cubicBezTo>
                    <a:pt x="18823" y="0"/>
                    <a:pt x="0" y="11204"/>
                    <a:pt x="0" y="25546"/>
                  </a:cubicBezTo>
                  <a:cubicBezTo>
                    <a:pt x="0" y="25994"/>
                    <a:pt x="0" y="26442"/>
                    <a:pt x="0" y="26890"/>
                  </a:cubicBezTo>
                  <a:cubicBezTo>
                    <a:pt x="0" y="26890"/>
                    <a:pt x="0" y="27338"/>
                    <a:pt x="0" y="27338"/>
                  </a:cubicBezTo>
                  <a:lnTo>
                    <a:pt x="0" y="113835"/>
                  </a:lnTo>
                  <a:cubicBezTo>
                    <a:pt x="0" y="113835"/>
                    <a:pt x="0" y="113835"/>
                    <a:pt x="0" y="114283"/>
                  </a:cubicBezTo>
                  <a:cubicBezTo>
                    <a:pt x="448" y="128177"/>
                    <a:pt x="18823" y="139381"/>
                    <a:pt x="42576" y="139381"/>
                  </a:cubicBezTo>
                  <a:cubicBezTo>
                    <a:pt x="49747" y="139381"/>
                    <a:pt x="56918" y="138485"/>
                    <a:pt x="63192" y="136244"/>
                  </a:cubicBezTo>
                  <a:cubicBezTo>
                    <a:pt x="63192" y="136244"/>
                    <a:pt x="65881" y="135347"/>
                    <a:pt x="67674" y="134451"/>
                  </a:cubicBezTo>
                  <a:cubicBezTo>
                    <a:pt x="68570" y="134003"/>
                    <a:pt x="69466" y="132658"/>
                    <a:pt x="68570" y="131314"/>
                  </a:cubicBezTo>
                  <a:cubicBezTo>
                    <a:pt x="68570" y="129521"/>
                    <a:pt x="67226" y="129073"/>
                    <a:pt x="65881" y="129521"/>
                  </a:cubicBezTo>
                  <a:close/>
                  <a:moveTo>
                    <a:pt x="42576" y="4482"/>
                  </a:moveTo>
                  <a:cubicBezTo>
                    <a:pt x="63192" y="4482"/>
                    <a:pt x="80671" y="14341"/>
                    <a:pt x="80671" y="25546"/>
                  </a:cubicBezTo>
                  <a:cubicBezTo>
                    <a:pt x="80671" y="37198"/>
                    <a:pt x="63192" y="46610"/>
                    <a:pt x="42576" y="46610"/>
                  </a:cubicBezTo>
                  <a:cubicBezTo>
                    <a:pt x="21512" y="46610"/>
                    <a:pt x="4482" y="37198"/>
                    <a:pt x="4482" y="25546"/>
                  </a:cubicBezTo>
                  <a:cubicBezTo>
                    <a:pt x="4482" y="13893"/>
                    <a:pt x="21512" y="4482"/>
                    <a:pt x="42576" y="4482"/>
                  </a:cubicBezTo>
                  <a:close/>
                </a:path>
              </a:pathLst>
            </a:custGeom>
            <a:solidFill>
              <a:srgbClr val="231F20"/>
            </a:solidFill>
            <a:ln w="4477" cap="flat">
              <a:noFill/>
              <a:prstDash val="solid"/>
              <a:miter/>
            </a:ln>
          </p:spPr>
          <p:txBody>
            <a:bodyPr rtlCol="0" anchor="ctr"/>
            <a:lstStyle/>
            <a:p>
              <a:endParaRPr lang="en-US"/>
            </a:p>
          </p:txBody>
        </p:sp>
        <p:sp>
          <p:nvSpPr>
            <p:cNvPr id="5427" name="Freeform: Shape 5426">
              <a:extLst>
                <a:ext uri="{FF2B5EF4-FFF2-40B4-BE49-F238E27FC236}">
                  <a16:creationId xmlns:a16="http://schemas.microsoft.com/office/drawing/2014/main" id="{F9FCF64E-8F93-4BB2-9D20-9F9300A9BEF1}"/>
                </a:ext>
              </a:extLst>
            </p:cNvPr>
            <p:cNvSpPr/>
            <p:nvPr/>
          </p:nvSpPr>
          <p:spPr>
            <a:xfrm>
              <a:off x="10787915" y="1850927"/>
              <a:ext cx="31372" cy="40335"/>
            </a:xfrm>
            <a:custGeom>
              <a:avLst/>
              <a:gdLst>
                <a:gd name="connsiteX0" fmla="*/ 32268 w 31371"/>
                <a:gd name="connsiteY0" fmla="*/ 4482 h 40335"/>
                <a:gd name="connsiteX1" fmla="*/ 34509 w 31371"/>
                <a:gd name="connsiteY1" fmla="*/ 2241 h 40335"/>
                <a:gd name="connsiteX2" fmla="*/ 32268 w 31371"/>
                <a:gd name="connsiteY2" fmla="*/ 0 h 40335"/>
                <a:gd name="connsiteX3" fmla="*/ 10756 w 31371"/>
                <a:gd name="connsiteY3" fmla="*/ 0 h 40335"/>
                <a:gd name="connsiteX4" fmla="*/ 8515 w 31371"/>
                <a:gd name="connsiteY4" fmla="*/ 2241 h 40335"/>
                <a:gd name="connsiteX5" fmla="*/ 8515 w 31371"/>
                <a:gd name="connsiteY5" fmla="*/ 24649 h 40335"/>
                <a:gd name="connsiteX6" fmla="*/ 2241 w 31371"/>
                <a:gd name="connsiteY6" fmla="*/ 24649 h 40335"/>
                <a:gd name="connsiteX7" fmla="*/ 0 w 31371"/>
                <a:gd name="connsiteY7" fmla="*/ 26890 h 40335"/>
                <a:gd name="connsiteX8" fmla="*/ 2241 w 31371"/>
                <a:gd name="connsiteY8" fmla="*/ 29131 h 40335"/>
                <a:gd name="connsiteX9" fmla="*/ 8515 w 31371"/>
                <a:gd name="connsiteY9" fmla="*/ 29131 h 40335"/>
                <a:gd name="connsiteX10" fmla="*/ 8515 w 31371"/>
                <a:gd name="connsiteY10" fmla="*/ 38543 h 40335"/>
                <a:gd name="connsiteX11" fmla="*/ 10756 w 31371"/>
                <a:gd name="connsiteY11" fmla="*/ 40783 h 40335"/>
                <a:gd name="connsiteX12" fmla="*/ 12997 w 31371"/>
                <a:gd name="connsiteY12" fmla="*/ 38543 h 40335"/>
                <a:gd name="connsiteX13" fmla="*/ 12997 w 31371"/>
                <a:gd name="connsiteY13" fmla="*/ 29131 h 40335"/>
                <a:gd name="connsiteX14" fmla="*/ 22857 w 31371"/>
                <a:gd name="connsiteY14" fmla="*/ 29131 h 40335"/>
                <a:gd name="connsiteX15" fmla="*/ 25098 w 31371"/>
                <a:gd name="connsiteY15" fmla="*/ 26890 h 40335"/>
                <a:gd name="connsiteX16" fmla="*/ 22857 w 31371"/>
                <a:gd name="connsiteY16" fmla="*/ 24649 h 40335"/>
                <a:gd name="connsiteX17" fmla="*/ 12997 w 31371"/>
                <a:gd name="connsiteY17" fmla="*/ 24649 h 40335"/>
                <a:gd name="connsiteX18" fmla="*/ 12997 w 31371"/>
                <a:gd name="connsiteY18" fmla="*/ 17479 h 40335"/>
                <a:gd name="connsiteX19" fmla="*/ 32268 w 31371"/>
                <a:gd name="connsiteY19" fmla="*/ 17479 h 40335"/>
                <a:gd name="connsiteX20" fmla="*/ 34509 w 31371"/>
                <a:gd name="connsiteY20" fmla="*/ 15238 h 40335"/>
                <a:gd name="connsiteX21" fmla="*/ 32268 w 31371"/>
                <a:gd name="connsiteY21" fmla="*/ 12997 h 40335"/>
                <a:gd name="connsiteX22" fmla="*/ 12997 w 31371"/>
                <a:gd name="connsiteY22" fmla="*/ 12997 h 40335"/>
                <a:gd name="connsiteX23" fmla="*/ 12997 w 31371"/>
                <a:gd name="connsiteY23" fmla="*/ 4034 h 40335"/>
                <a:gd name="connsiteX24" fmla="*/ 32268 w 31371"/>
                <a:gd name="connsiteY24" fmla="*/ 4034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371" h="40335">
                  <a:moveTo>
                    <a:pt x="32268" y="4482"/>
                  </a:moveTo>
                  <a:cubicBezTo>
                    <a:pt x="33613" y="4482"/>
                    <a:pt x="34509" y="3585"/>
                    <a:pt x="34509" y="2241"/>
                  </a:cubicBezTo>
                  <a:cubicBezTo>
                    <a:pt x="34509" y="896"/>
                    <a:pt x="33613" y="0"/>
                    <a:pt x="32268" y="0"/>
                  </a:cubicBezTo>
                  <a:lnTo>
                    <a:pt x="10756" y="0"/>
                  </a:lnTo>
                  <a:cubicBezTo>
                    <a:pt x="9412" y="0"/>
                    <a:pt x="8515" y="896"/>
                    <a:pt x="8515" y="2241"/>
                  </a:cubicBezTo>
                  <a:lnTo>
                    <a:pt x="8515" y="24649"/>
                  </a:lnTo>
                  <a:lnTo>
                    <a:pt x="2241" y="24649"/>
                  </a:lnTo>
                  <a:cubicBezTo>
                    <a:pt x="896" y="24649"/>
                    <a:pt x="0" y="25546"/>
                    <a:pt x="0" y="26890"/>
                  </a:cubicBezTo>
                  <a:cubicBezTo>
                    <a:pt x="0" y="28235"/>
                    <a:pt x="896" y="29131"/>
                    <a:pt x="2241" y="29131"/>
                  </a:cubicBezTo>
                  <a:lnTo>
                    <a:pt x="8515" y="29131"/>
                  </a:lnTo>
                  <a:lnTo>
                    <a:pt x="8515" y="38543"/>
                  </a:lnTo>
                  <a:cubicBezTo>
                    <a:pt x="8515" y="39887"/>
                    <a:pt x="9412" y="40783"/>
                    <a:pt x="10756" y="40783"/>
                  </a:cubicBezTo>
                  <a:cubicBezTo>
                    <a:pt x="12101" y="40783"/>
                    <a:pt x="12997" y="39887"/>
                    <a:pt x="12997" y="38543"/>
                  </a:cubicBezTo>
                  <a:lnTo>
                    <a:pt x="12997" y="29131"/>
                  </a:lnTo>
                  <a:lnTo>
                    <a:pt x="22857" y="29131"/>
                  </a:lnTo>
                  <a:cubicBezTo>
                    <a:pt x="24201" y="29131"/>
                    <a:pt x="25098" y="28235"/>
                    <a:pt x="25098" y="26890"/>
                  </a:cubicBezTo>
                  <a:cubicBezTo>
                    <a:pt x="25098" y="25546"/>
                    <a:pt x="24201" y="24649"/>
                    <a:pt x="22857" y="24649"/>
                  </a:cubicBezTo>
                  <a:lnTo>
                    <a:pt x="12997" y="24649"/>
                  </a:lnTo>
                  <a:lnTo>
                    <a:pt x="12997" y="17479"/>
                  </a:lnTo>
                  <a:lnTo>
                    <a:pt x="32268" y="17479"/>
                  </a:lnTo>
                  <a:cubicBezTo>
                    <a:pt x="33613" y="17479"/>
                    <a:pt x="34509" y="16582"/>
                    <a:pt x="34509" y="15238"/>
                  </a:cubicBezTo>
                  <a:cubicBezTo>
                    <a:pt x="34509" y="13893"/>
                    <a:pt x="33613" y="12997"/>
                    <a:pt x="32268" y="12997"/>
                  </a:cubicBezTo>
                  <a:lnTo>
                    <a:pt x="12997" y="12997"/>
                  </a:lnTo>
                  <a:lnTo>
                    <a:pt x="12997" y="4034"/>
                  </a:lnTo>
                  <a:lnTo>
                    <a:pt x="32268" y="4034"/>
                  </a:lnTo>
                  <a:close/>
                </a:path>
              </a:pathLst>
            </a:custGeom>
            <a:solidFill>
              <a:srgbClr val="231F20"/>
            </a:solidFill>
            <a:ln w="4477" cap="flat">
              <a:noFill/>
              <a:prstDash val="solid"/>
              <a:miter/>
            </a:ln>
          </p:spPr>
          <p:txBody>
            <a:bodyPr rtlCol="0" anchor="ctr"/>
            <a:lstStyle/>
            <a:p>
              <a:endParaRPr lang="en-US"/>
            </a:p>
          </p:txBody>
        </p:sp>
      </p:grpSp>
      <p:grpSp>
        <p:nvGrpSpPr>
          <p:cNvPr id="2473" name="Group 2472">
            <a:extLst>
              <a:ext uri="{FF2B5EF4-FFF2-40B4-BE49-F238E27FC236}">
                <a16:creationId xmlns:a16="http://schemas.microsoft.com/office/drawing/2014/main" id="{FAD9FAB0-0D1C-4D90-BF73-1DE9F662CC5C}"/>
              </a:ext>
              <a:ext uri="{C183D7F6-B498-43B3-948B-1728B52AA6E4}">
                <adec:decorative xmlns:adec="http://schemas.microsoft.com/office/drawing/2017/decorative" val="1"/>
              </a:ext>
            </a:extLst>
          </p:cNvPr>
          <p:cNvGrpSpPr>
            <a:grpSpLocks noChangeAspect="1"/>
          </p:cNvGrpSpPr>
          <p:nvPr/>
        </p:nvGrpSpPr>
        <p:grpSpPr>
          <a:xfrm>
            <a:off x="10381394" y="3830429"/>
            <a:ext cx="152378" cy="138933"/>
            <a:chOff x="10437894" y="1774738"/>
            <a:chExt cx="152378" cy="138933"/>
          </a:xfrm>
        </p:grpSpPr>
        <p:sp>
          <p:nvSpPr>
            <p:cNvPr id="5422" name="Freeform: Shape 5421">
              <a:extLst>
                <a:ext uri="{FF2B5EF4-FFF2-40B4-BE49-F238E27FC236}">
                  <a16:creationId xmlns:a16="http://schemas.microsoft.com/office/drawing/2014/main" id="{68C6DA02-7CC5-4602-9035-64C9F744DC4F}"/>
                </a:ext>
              </a:extLst>
            </p:cNvPr>
            <p:cNvSpPr/>
            <p:nvPr/>
          </p:nvSpPr>
          <p:spPr>
            <a:xfrm>
              <a:off x="10505120" y="1828519"/>
              <a:ext cx="85152" cy="85152"/>
            </a:xfrm>
            <a:custGeom>
              <a:avLst/>
              <a:gdLst>
                <a:gd name="connsiteX0" fmla="*/ 42576 w 85152"/>
                <a:gd name="connsiteY0" fmla="*/ 0 h 85152"/>
                <a:gd name="connsiteX1" fmla="*/ 0 w 85152"/>
                <a:gd name="connsiteY1" fmla="*/ 42576 h 85152"/>
                <a:gd name="connsiteX2" fmla="*/ 13893 w 85152"/>
                <a:gd name="connsiteY2" fmla="*/ 74396 h 85152"/>
                <a:gd name="connsiteX3" fmla="*/ 42576 w 85152"/>
                <a:gd name="connsiteY3" fmla="*/ 85152 h 85152"/>
                <a:gd name="connsiteX4" fmla="*/ 85152 w 85152"/>
                <a:gd name="connsiteY4" fmla="*/ 42576 h 85152"/>
                <a:gd name="connsiteX5" fmla="*/ 42576 w 85152"/>
                <a:gd name="connsiteY5" fmla="*/ 0 h 85152"/>
                <a:gd name="connsiteX6" fmla="*/ 42576 w 85152"/>
                <a:gd name="connsiteY6" fmla="*/ 80671 h 85152"/>
                <a:gd name="connsiteX7" fmla="*/ 17030 w 85152"/>
                <a:gd name="connsiteY7" fmla="*/ 70811 h 85152"/>
                <a:gd name="connsiteX8" fmla="*/ 4482 w 85152"/>
                <a:gd name="connsiteY8" fmla="*/ 42576 h 85152"/>
                <a:gd name="connsiteX9" fmla="*/ 42576 w 85152"/>
                <a:gd name="connsiteY9" fmla="*/ 4482 h 85152"/>
                <a:gd name="connsiteX10" fmla="*/ 80671 w 85152"/>
                <a:gd name="connsiteY10" fmla="*/ 42576 h 85152"/>
                <a:gd name="connsiteX11" fmla="*/ 42576 w 85152"/>
                <a:gd name="connsiteY11"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52" h="85152">
                  <a:moveTo>
                    <a:pt x="42576" y="0"/>
                  </a:moveTo>
                  <a:cubicBezTo>
                    <a:pt x="19271" y="0"/>
                    <a:pt x="0" y="19271"/>
                    <a:pt x="0" y="42576"/>
                  </a:cubicBezTo>
                  <a:cubicBezTo>
                    <a:pt x="0" y="54677"/>
                    <a:pt x="4930" y="66329"/>
                    <a:pt x="13893" y="74396"/>
                  </a:cubicBezTo>
                  <a:cubicBezTo>
                    <a:pt x="21512" y="81567"/>
                    <a:pt x="31820" y="85152"/>
                    <a:pt x="42576" y="85152"/>
                  </a:cubicBezTo>
                  <a:cubicBezTo>
                    <a:pt x="65881" y="85152"/>
                    <a:pt x="85152" y="65881"/>
                    <a:pt x="85152" y="42576"/>
                  </a:cubicBezTo>
                  <a:cubicBezTo>
                    <a:pt x="85152" y="19271"/>
                    <a:pt x="65881" y="0"/>
                    <a:pt x="42576" y="0"/>
                  </a:cubicBezTo>
                  <a:close/>
                  <a:moveTo>
                    <a:pt x="42576" y="80671"/>
                  </a:moveTo>
                  <a:cubicBezTo>
                    <a:pt x="33164" y="80671"/>
                    <a:pt x="24201" y="77085"/>
                    <a:pt x="17030" y="70811"/>
                  </a:cubicBezTo>
                  <a:cubicBezTo>
                    <a:pt x="8963" y="63640"/>
                    <a:pt x="4482" y="53332"/>
                    <a:pt x="4482" y="42576"/>
                  </a:cubicBezTo>
                  <a:cubicBezTo>
                    <a:pt x="4482" y="21512"/>
                    <a:pt x="21512" y="4482"/>
                    <a:pt x="42576" y="4482"/>
                  </a:cubicBezTo>
                  <a:cubicBezTo>
                    <a:pt x="63640" y="4482"/>
                    <a:pt x="80671" y="21512"/>
                    <a:pt x="80671" y="42576"/>
                  </a:cubicBezTo>
                  <a:cubicBezTo>
                    <a:pt x="80671" y="63640"/>
                    <a:pt x="63640" y="80671"/>
                    <a:pt x="42576" y="80671"/>
                  </a:cubicBezTo>
                  <a:close/>
                </a:path>
              </a:pathLst>
            </a:custGeom>
            <a:solidFill>
              <a:srgbClr val="231F20"/>
            </a:solidFill>
            <a:ln w="4477" cap="flat">
              <a:noFill/>
              <a:prstDash val="solid"/>
              <a:miter/>
            </a:ln>
          </p:spPr>
          <p:txBody>
            <a:bodyPr rtlCol="0" anchor="ctr"/>
            <a:lstStyle/>
            <a:p>
              <a:endParaRPr lang="en-US"/>
            </a:p>
          </p:txBody>
        </p:sp>
        <p:sp>
          <p:nvSpPr>
            <p:cNvPr id="5423" name="Freeform: Shape 5422">
              <a:extLst>
                <a:ext uri="{FF2B5EF4-FFF2-40B4-BE49-F238E27FC236}">
                  <a16:creationId xmlns:a16="http://schemas.microsoft.com/office/drawing/2014/main" id="{1B2078BC-7E99-4F1C-9350-904CD71AED6D}"/>
                </a:ext>
              </a:extLst>
            </p:cNvPr>
            <p:cNvSpPr/>
            <p:nvPr/>
          </p:nvSpPr>
          <p:spPr>
            <a:xfrm>
              <a:off x="10532458" y="1851375"/>
              <a:ext cx="26890" cy="35854"/>
            </a:xfrm>
            <a:custGeom>
              <a:avLst/>
              <a:gdLst>
                <a:gd name="connsiteX0" fmla="*/ 17479 w 26890"/>
                <a:gd name="connsiteY0" fmla="*/ 3585 h 35853"/>
                <a:gd name="connsiteX1" fmla="*/ 26890 w 26890"/>
                <a:gd name="connsiteY1" fmla="*/ 10756 h 35853"/>
                <a:gd name="connsiteX2" fmla="*/ 28683 w 26890"/>
                <a:gd name="connsiteY2" fmla="*/ 12549 h 35853"/>
                <a:gd name="connsiteX3" fmla="*/ 30476 w 26890"/>
                <a:gd name="connsiteY3" fmla="*/ 10756 h 35853"/>
                <a:gd name="connsiteX4" fmla="*/ 17479 w 26890"/>
                <a:gd name="connsiteY4" fmla="*/ 0 h 35853"/>
                <a:gd name="connsiteX5" fmla="*/ 5378 w 26890"/>
                <a:gd name="connsiteY5" fmla="*/ 7171 h 35853"/>
                <a:gd name="connsiteX6" fmla="*/ 3585 w 26890"/>
                <a:gd name="connsiteY6" fmla="*/ 14341 h 35853"/>
                <a:gd name="connsiteX7" fmla="*/ 1793 w 26890"/>
                <a:gd name="connsiteY7" fmla="*/ 14341 h 35853"/>
                <a:gd name="connsiteX8" fmla="*/ 0 w 26890"/>
                <a:gd name="connsiteY8" fmla="*/ 16134 h 35853"/>
                <a:gd name="connsiteX9" fmla="*/ 1793 w 26890"/>
                <a:gd name="connsiteY9" fmla="*/ 17927 h 35853"/>
                <a:gd name="connsiteX10" fmla="*/ 3137 w 26890"/>
                <a:gd name="connsiteY10" fmla="*/ 17927 h 35853"/>
                <a:gd name="connsiteX11" fmla="*/ 3137 w 26890"/>
                <a:gd name="connsiteY11" fmla="*/ 19720 h 35853"/>
                <a:gd name="connsiteX12" fmla="*/ 3137 w 26890"/>
                <a:gd name="connsiteY12" fmla="*/ 22409 h 35853"/>
                <a:gd name="connsiteX13" fmla="*/ 1793 w 26890"/>
                <a:gd name="connsiteY13" fmla="*/ 22409 h 35853"/>
                <a:gd name="connsiteX14" fmla="*/ 0 w 26890"/>
                <a:gd name="connsiteY14" fmla="*/ 24201 h 35853"/>
                <a:gd name="connsiteX15" fmla="*/ 1793 w 26890"/>
                <a:gd name="connsiteY15" fmla="*/ 25994 h 35853"/>
                <a:gd name="connsiteX16" fmla="*/ 3585 w 26890"/>
                <a:gd name="connsiteY16" fmla="*/ 25994 h 35853"/>
                <a:gd name="connsiteX17" fmla="*/ 5826 w 26890"/>
                <a:gd name="connsiteY17" fmla="*/ 33613 h 35853"/>
                <a:gd name="connsiteX18" fmla="*/ 17030 w 26890"/>
                <a:gd name="connsiteY18" fmla="*/ 39439 h 35853"/>
                <a:gd name="connsiteX19" fmla="*/ 30027 w 26890"/>
                <a:gd name="connsiteY19" fmla="*/ 28683 h 35853"/>
                <a:gd name="connsiteX20" fmla="*/ 28235 w 26890"/>
                <a:gd name="connsiteY20" fmla="*/ 26890 h 35853"/>
                <a:gd name="connsiteX21" fmla="*/ 26442 w 26890"/>
                <a:gd name="connsiteY21" fmla="*/ 28683 h 35853"/>
                <a:gd name="connsiteX22" fmla="*/ 17030 w 26890"/>
                <a:gd name="connsiteY22" fmla="*/ 35854 h 35853"/>
                <a:gd name="connsiteX23" fmla="*/ 8515 w 26890"/>
                <a:gd name="connsiteY23" fmla="*/ 31820 h 35853"/>
                <a:gd name="connsiteX24" fmla="*/ 6723 w 26890"/>
                <a:gd name="connsiteY24" fmla="*/ 25994 h 35853"/>
                <a:gd name="connsiteX25" fmla="*/ 17479 w 26890"/>
                <a:gd name="connsiteY25" fmla="*/ 25994 h 35853"/>
                <a:gd name="connsiteX26" fmla="*/ 19271 w 26890"/>
                <a:gd name="connsiteY26" fmla="*/ 24201 h 35853"/>
                <a:gd name="connsiteX27" fmla="*/ 17479 w 26890"/>
                <a:gd name="connsiteY27" fmla="*/ 22409 h 35853"/>
                <a:gd name="connsiteX28" fmla="*/ 6274 w 26890"/>
                <a:gd name="connsiteY28" fmla="*/ 22409 h 35853"/>
                <a:gd name="connsiteX29" fmla="*/ 6274 w 26890"/>
                <a:gd name="connsiteY29" fmla="*/ 19720 h 35853"/>
                <a:gd name="connsiteX30" fmla="*/ 6274 w 26890"/>
                <a:gd name="connsiteY30" fmla="*/ 17927 h 35853"/>
                <a:gd name="connsiteX31" fmla="*/ 17479 w 26890"/>
                <a:gd name="connsiteY31" fmla="*/ 17927 h 35853"/>
                <a:gd name="connsiteX32" fmla="*/ 19271 w 26890"/>
                <a:gd name="connsiteY32" fmla="*/ 16134 h 35853"/>
                <a:gd name="connsiteX33" fmla="*/ 17479 w 26890"/>
                <a:gd name="connsiteY33" fmla="*/ 14341 h 35853"/>
                <a:gd name="connsiteX34" fmla="*/ 6274 w 26890"/>
                <a:gd name="connsiteY34" fmla="*/ 14341 h 35853"/>
                <a:gd name="connsiteX35" fmla="*/ 7619 w 26890"/>
                <a:gd name="connsiteY35" fmla="*/ 8963 h 35853"/>
                <a:gd name="connsiteX36" fmla="*/ 17479 w 26890"/>
                <a:gd name="connsiteY36" fmla="*/ 3585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6890" h="35853">
                  <a:moveTo>
                    <a:pt x="17479" y="3585"/>
                  </a:moveTo>
                  <a:cubicBezTo>
                    <a:pt x="22857" y="3585"/>
                    <a:pt x="26890" y="6723"/>
                    <a:pt x="26890" y="10756"/>
                  </a:cubicBezTo>
                  <a:cubicBezTo>
                    <a:pt x="26890" y="11652"/>
                    <a:pt x="27787" y="12549"/>
                    <a:pt x="28683" y="12549"/>
                  </a:cubicBezTo>
                  <a:cubicBezTo>
                    <a:pt x="29579" y="12549"/>
                    <a:pt x="30476" y="11652"/>
                    <a:pt x="30476" y="10756"/>
                  </a:cubicBezTo>
                  <a:cubicBezTo>
                    <a:pt x="30476" y="4930"/>
                    <a:pt x="24649" y="0"/>
                    <a:pt x="17479" y="0"/>
                  </a:cubicBezTo>
                  <a:cubicBezTo>
                    <a:pt x="12101" y="0"/>
                    <a:pt x="7619" y="2689"/>
                    <a:pt x="5378" y="7171"/>
                  </a:cubicBezTo>
                  <a:cubicBezTo>
                    <a:pt x="4482" y="9412"/>
                    <a:pt x="4034" y="11652"/>
                    <a:pt x="3585" y="14341"/>
                  </a:cubicBezTo>
                  <a:lnTo>
                    <a:pt x="1793" y="14341"/>
                  </a:lnTo>
                  <a:cubicBezTo>
                    <a:pt x="896" y="14341"/>
                    <a:pt x="0" y="15238"/>
                    <a:pt x="0" y="16134"/>
                  </a:cubicBezTo>
                  <a:cubicBezTo>
                    <a:pt x="0" y="17030"/>
                    <a:pt x="896" y="17927"/>
                    <a:pt x="1793" y="17927"/>
                  </a:cubicBezTo>
                  <a:lnTo>
                    <a:pt x="3137" y="17927"/>
                  </a:lnTo>
                  <a:cubicBezTo>
                    <a:pt x="3137" y="18375"/>
                    <a:pt x="3137" y="19271"/>
                    <a:pt x="3137" y="19720"/>
                  </a:cubicBezTo>
                  <a:cubicBezTo>
                    <a:pt x="3137" y="20616"/>
                    <a:pt x="3137" y="21512"/>
                    <a:pt x="3137" y="22409"/>
                  </a:cubicBezTo>
                  <a:lnTo>
                    <a:pt x="1793" y="22409"/>
                  </a:lnTo>
                  <a:cubicBezTo>
                    <a:pt x="896" y="22409"/>
                    <a:pt x="0" y="23305"/>
                    <a:pt x="0" y="24201"/>
                  </a:cubicBezTo>
                  <a:cubicBezTo>
                    <a:pt x="0" y="25098"/>
                    <a:pt x="896" y="25994"/>
                    <a:pt x="1793" y="25994"/>
                  </a:cubicBezTo>
                  <a:lnTo>
                    <a:pt x="3585" y="25994"/>
                  </a:lnTo>
                  <a:cubicBezTo>
                    <a:pt x="4034" y="28683"/>
                    <a:pt x="4930" y="31372"/>
                    <a:pt x="5826" y="33613"/>
                  </a:cubicBezTo>
                  <a:cubicBezTo>
                    <a:pt x="8067" y="37198"/>
                    <a:pt x="12549" y="39439"/>
                    <a:pt x="17030" y="39439"/>
                  </a:cubicBezTo>
                  <a:cubicBezTo>
                    <a:pt x="24201" y="39439"/>
                    <a:pt x="30027" y="34509"/>
                    <a:pt x="30027" y="28683"/>
                  </a:cubicBezTo>
                  <a:cubicBezTo>
                    <a:pt x="30027" y="27787"/>
                    <a:pt x="29131" y="26890"/>
                    <a:pt x="28235" y="26890"/>
                  </a:cubicBezTo>
                  <a:cubicBezTo>
                    <a:pt x="27339" y="26890"/>
                    <a:pt x="26442" y="27787"/>
                    <a:pt x="26442" y="28683"/>
                  </a:cubicBezTo>
                  <a:cubicBezTo>
                    <a:pt x="26442" y="32716"/>
                    <a:pt x="21960" y="35854"/>
                    <a:pt x="17030" y="35854"/>
                  </a:cubicBezTo>
                  <a:cubicBezTo>
                    <a:pt x="13445" y="35854"/>
                    <a:pt x="10308" y="34061"/>
                    <a:pt x="8515" y="31820"/>
                  </a:cubicBezTo>
                  <a:cubicBezTo>
                    <a:pt x="7619" y="30027"/>
                    <a:pt x="7171" y="28235"/>
                    <a:pt x="6723" y="25994"/>
                  </a:cubicBezTo>
                  <a:lnTo>
                    <a:pt x="17479" y="25994"/>
                  </a:lnTo>
                  <a:cubicBezTo>
                    <a:pt x="18375" y="25994"/>
                    <a:pt x="19271" y="25098"/>
                    <a:pt x="19271" y="24201"/>
                  </a:cubicBezTo>
                  <a:cubicBezTo>
                    <a:pt x="19271" y="23305"/>
                    <a:pt x="18375" y="22409"/>
                    <a:pt x="17479" y="22409"/>
                  </a:cubicBezTo>
                  <a:lnTo>
                    <a:pt x="6274" y="22409"/>
                  </a:lnTo>
                  <a:cubicBezTo>
                    <a:pt x="6274" y="21512"/>
                    <a:pt x="6274" y="20616"/>
                    <a:pt x="6274" y="19720"/>
                  </a:cubicBezTo>
                  <a:cubicBezTo>
                    <a:pt x="6274" y="18823"/>
                    <a:pt x="6274" y="18375"/>
                    <a:pt x="6274" y="17927"/>
                  </a:cubicBezTo>
                  <a:lnTo>
                    <a:pt x="17479" y="17927"/>
                  </a:lnTo>
                  <a:cubicBezTo>
                    <a:pt x="18375" y="17927"/>
                    <a:pt x="19271" y="17030"/>
                    <a:pt x="19271" y="16134"/>
                  </a:cubicBezTo>
                  <a:cubicBezTo>
                    <a:pt x="19271" y="15238"/>
                    <a:pt x="18375" y="14341"/>
                    <a:pt x="17479" y="14341"/>
                  </a:cubicBezTo>
                  <a:lnTo>
                    <a:pt x="6274" y="14341"/>
                  </a:lnTo>
                  <a:cubicBezTo>
                    <a:pt x="6723" y="12101"/>
                    <a:pt x="7171" y="10308"/>
                    <a:pt x="7619" y="8963"/>
                  </a:cubicBezTo>
                  <a:cubicBezTo>
                    <a:pt x="10308" y="5378"/>
                    <a:pt x="13445" y="3585"/>
                    <a:pt x="17479" y="3585"/>
                  </a:cubicBezTo>
                  <a:close/>
                </a:path>
              </a:pathLst>
            </a:custGeom>
            <a:solidFill>
              <a:srgbClr val="231F20"/>
            </a:solidFill>
            <a:ln w="4477" cap="flat">
              <a:noFill/>
              <a:prstDash val="solid"/>
              <a:miter/>
            </a:ln>
          </p:spPr>
          <p:txBody>
            <a:bodyPr rtlCol="0" anchor="ctr"/>
            <a:lstStyle/>
            <a:p>
              <a:endParaRPr lang="en-US"/>
            </a:p>
          </p:txBody>
        </p:sp>
        <p:sp>
          <p:nvSpPr>
            <p:cNvPr id="5424" name="Freeform: Shape 5423">
              <a:extLst>
                <a:ext uri="{FF2B5EF4-FFF2-40B4-BE49-F238E27FC236}">
                  <a16:creationId xmlns:a16="http://schemas.microsoft.com/office/drawing/2014/main" id="{DDE00625-2192-497E-BCE7-520D5386947D}"/>
                </a:ext>
              </a:extLst>
            </p:cNvPr>
            <p:cNvSpPr/>
            <p:nvPr/>
          </p:nvSpPr>
          <p:spPr>
            <a:xfrm>
              <a:off x="10437894" y="1774738"/>
              <a:ext cx="85152" cy="138933"/>
            </a:xfrm>
            <a:custGeom>
              <a:avLst/>
              <a:gdLst>
                <a:gd name="connsiteX0" fmla="*/ 65881 w 85152"/>
                <a:gd name="connsiteY0" fmla="*/ 129521 h 138932"/>
                <a:gd name="connsiteX1" fmla="*/ 61847 w 85152"/>
                <a:gd name="connsiteY1" fmla="*/ 131314 h 138932"/>
                <a:gd name="connsiteX2" fmla="*/ 42576 w 85152"/>
                <a:gd name="connsiteY2" fmla="*/ 134451 h 138932"/>
                <a:gd name="connsiteX3" fmla="*/ 4482 w 85152"/>
                <a:gd name="connsiteY3" fmla="*/ 113387 h 138932"/>
                <a:gd name="connsiteX4" fmla="*/ 4482 w 85152"/>
                <a:gd name="connsiteY4" fmla="*/ 113387 h 138932"/>
                <a:gd name="connsiteX5" fmla="*/ 4482 w 85152"/>
                <a:gd name="connsiteY5" fmla="*/ 95460 h 138932"/>
                <a:gd name="connsiteX6" fmla="*/ 42576 w 85152"/>
                <a:gd name="connsiteY6" fmla="*/ 109802 h 138932"/>
                <a:gd name="connsiteX7" fmla="*/ 53780 w 85152"/>
                <a:gd name="connsiteY7" fmla="*/ 108905 h 138932"/>
                <a:gd name="connsiteX8" fmla="*/ 55573 w 85152"/>
                <a:gd name="connsiteY8" fmla="*/ 106216 h 138932"/>
                <a:gd name="connsiteX9" fmla="*/ 52884 w 85152"/>
                <a:gd name="connsiteY9" fmla="*/ 104424 h 138932"/>
                <a:gd name="connsiteX10" fmla="*/ 42576 w 85152"/>
                <a:gd name="connsiteY10" fmla="*/ 105320 h 138932"/>
                <a:gd name="connsiteX11" fmla="*/ 4482 w 85152"/>
                <a:gd name="connsiteY11" fmla="*/ 84256 h 138932"/>
                <a:gd name="connsiteX12" fmla="*/ 4482 w 85152"/>
                <a:gd name="connsiteY12" fmla="*/ 84256 h 138932"/>
                <a:gd name="connsiteX13" fmla="*/ 4482 w 85152"/>
                <a:gd name="connsiteY13" fmla="*/ 66329 h 138932"/>
                <a:gd name="connsiteX14" fmla="*/ 42576 w 85152"/>
                <a:gd name="connsiteY14" fmla="*/ 80222 h 138932"/>
                <a:gd name="connsiteX15" fmla="*/ 56918 w 85152"/>
                <a:gd name="connsiteY15" fmla="*/ 78878 h 138932"/>
                <a:gd name="connsiteX16" fmla="*/ 58710 w 85152"/>
                <a:gd name="connsiteY16" fmla="*/ 76189 h 138932"/>
                <a:gd name="connsiteX17" fmla="*/ 56021 w 85152"/>
                <a:gd name="connsiteY17" fmla="*/ 74396 h 138932"/>
                <a:gd name="connsiteX18" fmla="*/ 42576 w 85152"/>
                <a:gd name="connsiteY18" fmla="*/ 75741 h 138932"/>
                <a:gd name="connsiteX19" fmla="*/ 4482 w 85152"/>
                <a:gd name="connsiteY19" fmla="*/ 54677 h 138932"/>
                <a:gd name="connsiteX20" fmla="*/ 4482 w 85152"/>
                <a:gd name="connsiteY20" fmla="*/ 54677 h 138932"/>
                <a:gd name="connsiteX21" fmla="*/ 4482 w 85152"/>
                <a:gd name="connsiteY21" fmla="*/ 37198 h 138932"/>
                <a:gd name="connsiteX22" fmla="*/ 42576 w 85152"/>
                <a:gd name="connsiteY22" fmla="*/ 51091 h 138932"/>
                <a:gd name="connsiteX23" fmla="*/ 80671 w 85152"/>
                <a:gd name="connsiteY23" fmla="*/ 37198 h 138932"/>
                <a:gd name="connsiteX24" fmla="*/ 80671 w 85152"/>
                <a:gd name="connsiteY24" fmla="*/ 50195 h 138932"/>
                <a:gd name="connsiteX25" fmla="*/ 82911 w 85152"/>
                <a:gd name="connsiteY25" fmla="*/ 52436 h 138932"/>
                <a:gd name="connsiteX26" fmla="*/ 85152 w 85152"/>
                <a:gd name="connsiteY26" fmla="*/ 50195 h 138932"/>
                <a:gd name="connsiteX27" fmla="*/ 85152 w 85152"/>
                <a:gd name="connsiteY27" fmla="*/ 25994 h 138932"/>
                <a:gd name="connsiteX28" fmla="*/ 85152 w 85152"/>
                <a:gd name="connsiteY28" fmla="*/ 25994 h 138932"/>
                <a:gd name="connsiteX29" fmla="*/ 85152 w 85152"/>
                <a:gd name="connsiteY29" fmla="*/ 25546 h 138932"/>
                <a:gd name="connsiteX30" fmla="*/ 42576 w 85152"/>
                <a:gd name="connsiteY30" fmla="*/ 0 h 138932"/>
                <a:gd name="connsiteX31" fmla="*/ 0 w 85152"/>
                <a:gd name="connsiteY31" fmla="*/ 25546 h 138932"/>
                <a:gd name="connsiteX32" fmla="*/ 0 w 85152"/>
                <a:gd name="connsiteY32" fmla="*/ 25546 h 138932"/>
                <a:gd name="connsiteX33" fmla="*/ 0 w 85152"/>
                <a:gd name="connsiteY33" fmla="*/ 25546 h 138932"/>
                <a:gd name="connsiteX34" fmla="*/ 0 w 85152"/>
                <a:gd name="connsiteY34" fmla="*/ 113387 h 138932"/>
                <a:gd name="connsiteX35" fmla="*/ 0 w 85152"/>
                <a:gd name="connsiteY35" fmla="*/ 113835 h 138932"/>
                <a:gd name="connsiteX36" fmla="*/ 42576 w 85152"/>
                <a:gd name="connsiteY36" fmla="*/ 138933 h 138932"/>
                <a:gd name="connsiteX37" fmla="*/ 63192 w 85152"/>
                <a:gd name="connsiteY37" fmla="*/ 135796 h 138932"/>
                <a:gd name="connsiteX38" fmla="*/ 67674 w 85152"/>
                <a:gd name="connsiteY38" fmla="*/ 134003 h 138932"/>
                <a:gd name="connsiteX39" fmla="*/ 68570 w 85152"/>
                <a:gd name="connsiteY39" fmla="*/ 130866 h 138932"/>
                <a:gd name="connsiteX40" fmla="*/ 65881 w 85152"/>
                <a:gd name="connsiteY40" fmla="*/ 129521 h 138932"/>
                <a:gd name="connsiteX41" fmla="*/ 42576 w 85152"/>
                <a:gd name="connsiteY41" fmla="*/ 4482 h 138932"/>
                <a:gd name="connsiteX42" fmla="*/ 80671 w 85152"/>
                <a:gd name="connsiteY42" fmla="*/ 25546 h 138932"/>
                <a:gd name="connsiteX43" fmla="*/ 42576 w 85152"/>
                <a:gd name="connsiteY43" fmla="*/ 46610 h 138932"/>
                <a:gd name="connsiteX44" fmla="*/ 4482 w 85152"/>
                <a:gd name="connsiteY44" fmla="*/ 25546 h 138932"/>
                <a:gd name="connsiteX45" fmla="*/ 42576 w 85152"/>
                <a:gd name="connsiteY45" fmla="*/ 448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5152" h="138932">
                  <a:moveTo>
                    <a:pt x="65881" y="129521"/>
                  </a:moveTo>
                  <a:cubicBezTo>
                    <a:pt x="64536" y="130418"/>
                    <a:pt x="61847" y="131314"/>
                    <a:pt x="61847" y="131314"/>
                  </a:cubicBezTo>
                  <a:cubicBezTo>
                    <a:pt x="56021" y="133107"/>
                    <a:pt x="49299" y="134451"/>
                    <a:pt x="42576" y="134451"/>
                  </a:cubicBezTo>
                  <a:cubicBezTo>
                    <a:pt x="21960" y="134451"/>
                    <a:pt x="4482" y="124591"/>
                    <a:pt x="4482" y="113387"/>
                  </a:cubicBezTo>
                  <a:cubicBezTo>
                    <a:pt x="4482" y="113387"/>
                    <a:pt x="4482" y="113387"/>
                    <a:pt x="4482" y="113387"/>
                  </a:cubicBezTo>
                  <a:lnTo>
                    <a:pt x="4482" y="95460"/>
                  </a:lnTo>
                  <a:cubicBezTo>
                    <a:pt x="11652" y="103975"/>
                    <a:pt x="25994" y="109802"/>
                    <a:pt x="42576" y="109802"/>
                  </a:cubicBezTo>
                  <a:cubicBezTo>
                    <a:pt x="47058" y="109802"/>
                    <a:pt x="50195" y="109354"/>
                    <a:pt x="53780" y="108905"/>
                  </a:cubicBezTo>
                  <a:cubicBezTo>
                    <a:pt x="55125" y="108905"/>
                    <a:pt x="56021" y="107561"/>
                    <a:pt x="55573" y="106216"/>
                  </a:cubicBezTo>
                  <a:cubicBezTo>
                    <a:pt x="55573" y="104872"/>
                    <a:pt x="54228" y="103975"/>
                    <a:pt x="52884" y="104424"/>
                  </a:cubicBezTo>
                  <a:cubicBezTo>
                    <a:pt x="49747" y="104872"/>
                    <a:pt x="46610" y="105320"/>
                    <a:pt x="42576" y="105320"/>
                  </a:cubicBezTo>
                  <a:cubicBezTo>
                    <a:pt x="21960" y="105320"/>
                    <a:pt x="4482" y="95460"/>
                    <a:pt x="4482" y="84256"/>
                  </a:cubicBezTo>
                  <a:cubicBezTo>
                    <a:pt x="4482" y="84256"/>
                    <a:pt x="4482" y="84256"/>
                    <a:pt x="4482" y="84256"/>
                  </a:cubicBezTo>
                  <a:lnTo>
                    <a:pt x="4482" y="66329"/>
                  </a:lnTo>
                  <a:cubicBezTo>
                    <a:pt x="11204" y="74844"/>
                    <a:pt x="25546" y="80222"/>
                    <a:pt x="42576" y="80222"/>
                  </a:cubicBezTo>
                  <a:cubicBezTo>
                    <a:pt x="46161" y="80222"/>
                    <a:pt x="51988" y="79774"/>
                    <a:pt x="56918" y="78878"/>
                  </a:cubicBezTo>
                  <a:cubicBezTo>
                    <a:pt x="58262" y="78430"/>
                    <a:pt x="58710" y="77533"/>
                    <a:pt x="58710" y="76189"/>
                  </a:cubicBezTo>
                  <a:cubicBezTo>
                    <a:pt x="58262" y="74844"/>
                    <a:pt x="57366" y="74396"/>
                    <a:pt x="56021" y="74396"/>
                  </a:cubicBezTo>
                  <a:cubicBezTo>
                    <a:pt x="51540" y="75741"/>
                    <a:pt x="46161" y="75741"/>
                    <a:pt x="42576" y="75741"/>
                  </a:cubicBezTo>
                  <a:cubicBezTo>
                    <a:pt x="21960" y="75741"/>
                    <a:pt x="4482" y="65881"/>
                    <a:pt x="4482" y="54677"/>
                  </a:cubicBezTo>
                  <a:cubicBezTo>
                    <a:pt x="4482" y="54677"/>
                    <a:pt x="4482" y="54677"/>
                    <a:pt x="4482" y="54677"/>
                  </a:cubicBezTo>
                  <a:lnTo>
                    <a:pt x="4482" y="37198"/>
                  </a:lnTo>
                  <a:cubicBezTo>
                    <a:pt x="11204" y="45713"/>
                    <a:pt x="25546" y="51091"/>
                    <a:pt x="42576" y="51091"/>
                  </a:cubicBezTo>
                  <a:cubicBezTo>
                    <a:pt x="59607" y="51091"/>
                    <a:pt x="73948" y="45265"/>
                    <a:pt x="80671" y="37198"/>
                  </a:cubicBezTo>
                  <a:lnTo>
                    <a:pt x="80671" y="50195"/>
                  </a:lnTo>
                  <a:cubicBezTo>
                    <a:pt x="80671" y="51540"/>
                    <a:pt x="81567" y="52436"/>
                    <a:pt x="82911" y="52436"/>
                  </a:cubicBezTo>
                  <a:cubicBezTo>
                    <a:pt x="84256" y="52436"/>
                    <a:pt x="85152" y="51540"/>
                    <a:pt x="85152" y="50195"/>
                  </a:cubicBezTo>
                  <a:lnTo>
                    <a:pt x="85152" y="25994"/>
                  </a:lnTo>
                  <a:cubicBezTo>
                    <a:pt x="85152" y="25994"/>
                    <a:pt x="85152" y="25994"/>
                    <a:pt x="85152" y="25994"/>
                  </a:cubicBezTo>
                  <a:cubicBezTo>
                    <a:pt x="85152" y="25994"/>
                    <a:pt x="85152" y="25546"/>
                    <a:pt x="85152" y="25546"/>
                  </a:cubicBezTo>
                  <a:cubicBezTo>
                    <a:pt x="85152" y="11204"/>
                    <a:pt x="66329" y="0"/>
                    <a:pt x="42576" y="0"/>
                  </a:cubicBezTo>
                  <a:cubicBezTo>
                    <a:pt x="18823" y="0"/>
                    <a:pt x="0" y="11204"/>
                    <a:pt x="0" y="25546"/>
                  </a:cubicBezTo>
                  <a:cubicBezTo>
                    <a:pt x="0" y="25546"/>
                    <a:pt x="0" y="25546"/>
                    <a:pt x="0" y="25546"/>
                  </a:cubicBezTo>
                  <a:cubicBezTo>
                    <a:pt x="0" y="25546"/>
                    <a:pt x="0" y="25546"/>
                    <a:pt x="0" y="25546"/>
                  </a:cubicBezTo>
                  <a:lnTo>
                    <a:pt x="0" y="113387"/>
                  </a:lnTo>
                  <a:cubicBezTo>
                    <a:pt x="0" y="113387"/>
                    <a:pt x="0" y="113387"/>
                    <a:pt x="0" y="113835"/>
                  </a:cubicBezTo>
                  <a:cubicBezTo>
                    <a:pt x="448" y="127729"/>
                    <a:pt x="19271" y="138933"/>
                    <a:pt x="42576" y="138933"/>
                  </a:cubicBezTo>
                  <a:cubicBezTo>
                    <a:pt x="49747" y="138933"/>
                    <a:pt x="56918" y="138036"/>
                    <a:pt x="63192" y="135796"/>
                  </a:cubicBezTo>
                  <a:cubicBezTo>
                    <a:pt x="63192" y="135796"/>
                    <a:pt x="65881" y="134899"/>
                    <a:pt x="67674" y="134003"/>
                  </a:cubicBezTo>
                  <a:cubicBezTo>
                    <a:pt x="68570" y="133555"/>
                    <a:pt x="69466" y="132210"/>
                    <a:pt x="68570" y="130866"/>
                  </a:cubicBezTo>
                  <a:cubicBezTo>
                    <a:pt x="68570" y="129521"/>
                    <a:pt x="67226" y="129073"/>
                    <a:pt x="65881" y="129521"/>
                  </a:cubicBezTo>
                  <a:close/>
                  <a:moveTo>
                    <a:pt x="42576" y="4482"/>
                  </a:moveTo>
                  <a:cubicBezTo>
                    <a:pt x="63192" y="4482"/>
                    <a:pt x="80671" y="14341"/>
                    <a:pt x="80671" y="25546"/>
                  </a:cubicBezTo>
                  <a:cubicBezTo>
                    <a:pt x="80671" y="37198"/>
                    <a:pt x="63192" y="46610"/>
                    <a:pt x="42576" y="46610"/>
                  </a:cubicBezTo>
                  <a:cubicBezTo>
                    <a:pt x="21960" y="46610"/>
                    <a:pt x="4482" y="36750"/>
                    <a:pt x="4482" y="25546"/>
                  </a:cubicBezTo>
                  <a:cubicBezTo>
                    <a:pt x="4482" y="13893"/>
                    <a:pt x="21960" y="4482"/>
                    <a:pt x="42576" y="4482"/>
                  </a:cubicBezTo>
                  <a:close/>
                </a:path>
              </a:pathLst>
            </a:custGeom>
            <a:solidFill>
              <a:srgbClr val="231F20"/>
            </a:solidFill>
            <a:ln w="4477" cap="flat">
              <a:noFill/>
              <a:prstDash val="solid"/>
              <a:miter/>
            </a:ln>
          </p:spPr>
          <p:txBody>
            <a:bodyPr rtlCol="0" anchor="ctr"/>
            <a:lstStyle/>
            <a:p>
              <a:endParaRPr lang="en-US"/>
            </a:p>
          </p:txBody>
        </p:sp>
      </p:grpSp>
      <p:grpSp>
        <p:nvGrpSpPr>
          <p:cNvPr id="2474" name="Group 2473">
            <a:extLst>
              <a:ext uri="{FF2B5EF4-FFF2-40B4-BE49-F238E27FC236}">
                <a16:creationId xmlns:a16="http://schemas.microsoft.com/office/drawing/2014/main" id="{19B8D88D-1E20-4999-8086-838D0CA1A7EA}"/>
              </a:ext>
              <a:ext uri="{C183D7F6-B498-43B3-948B-1728B52AA6E4}">
                <adec:decorative xmlns:adec="http://schemas.microsoft.com/office/drawing/2017/decorative" val="1"/>
              </a:ext>
            </a:extLst>
          </p:cNvPr>
          <p:cNvGrpSpPr>
            <a:grpSpLocks noChangeAspect="1"/>
          </p:cNvGrpSpPr>
          <p:nvPr/>
        </p:nvGrpSpPr>
        <p:grpSpPr>
          <a:xfrm>
            <a:off x="9581818" y="3828749"/>
            <a:ext cx="152378" cy="134451"/>
            <a:chOff x="9638318" y="1773058"/>
            <a:chExt cx="152378" cy="134451"/>
          </a:xfrm>
        </p:grpSpPr>
        <p:sp>
          <p:nvSpPr>
            <p:cNvPr id="5419" name="Freeform: Shape 5418">
              <a:extLst>
                <a:ext uri="{FF2B5EF4-FFF2-40B4-BE49-F238E27FC236}">
                  <a16:creationId xmlns:a16="http://schemas.microsoft.com/office/drawing/2014/main" id="{5B45F9E4-8B69-4CB4-A73B-4075BCBF77D4}"/>
                </a:ext>
              </a:extLst>
            </p:cNvPr>
            <p:cNvSpPr/>
            <p:nvPr/>
          </p:nvSpPr>
          <p:spPr>
            <a:xfrm>
              <a:off x="9731538" y="1803127"/>
              <a:ext cx="8963" cy="4482"/>
            </a:xfrm>
            <a:custGeom>
              <a:avLst/>
              <a:gdLst>
                <a:gd name="connsiteX0" fmla="*/ 5867 w 8963"/>
                <a:gd name="connsiteY0" fmla="*/ 294 h 4481"/>
                <a:gd name="connsiteX1" fmla="*/ 937 w 8963"/>
                <a:gd name="connsiteY1" fmla="*/ 4328 h 4481"/>
                <a:gd name="connsiteX2" fmla="*/ 489 w 8963"/>
                <a:gd name="connsiteY2" fmla="*/ 7465 h 4481"/>
                <a:gd name="connsiteX3" fmla="*/ 2281 w 8963"/>
                <a:gd name="connsiteY3" fmla="*/ 8361 h 4481"/>
                <a:gd name="connsiteX4" fmla="*/ 3626 w 8963"/>
                <a:gd name="connsiteY4" fmla="*/ 7913 h 4481"/>
                <a:gd name="connsiteX5" fmla="*/ 8556 w 8963"/>
                <a:gd name="connsiteY5" fmla="*/ 3880 h 4481"/>
                <a:gd name="connsiteX6" fmla="*/ 9004 w 8963"/>
                <a:gd name="connsiteY6" fmla="*/ 743 h 4481"/>
                <a:gd name="connsiteX7" fmla="*/ 5867 w 8963"/>
                <a:gd name="connsiteY7" fmla="*/ 294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5867" y="294"/>
                  </a:moveTo>
                  <a:lnTo>
                    <a:pt x="937" y="4328"/>
                  </a:lnTo>
                  <a:cubicBezTo>
                    <a:pt x="40" y="5224"/>
                    <a:pt x="-408" y="6569"/>
                    <a:pt x="489" y="7465"/>
                  </a:cubicBezTo>
                  <a:cubicBezTo>
                    <a:pt x="937" y="7913"/>
                    <a:pt x="1385" y="8361"/>
                    <a:pt x="2281" y="8361"/>
                  </a:cubicBezTo>
                  <a:cubicBezTo>
                    <a:pt x="2730" y="8361"/>
                    <a:pt x="3178" y="8361"/>
                    <a:pt x="3626" y="7913"/>
                  </a:cubicBezTo>
                  <a:lnTo>
                    <a:pt x="8556" y="3880"/>
                  </a:lnTo>
                  <a:cubicBezTo>
                    <a:pt x="9452" y="2983"/>
                    <a:pt x="9900" y="1639"/>
                    <a:pt x="9004" y="743"/>
                  </a:cubicBezTo>
                  <a:cubicBezTo>
                    <a:pt x="8108" y="-154"/>
                    <a:pt x="6763" y="-154"/>
                    <a:pt x="5867" y="294"/>
                  </a:cubicBezTo>
                  <a:close/>
                </a:path>
              </a:pathLst>
            </a:custGeom>
            <a:solidFill>
              <a:srgbClr val="231F20"/>
            </a:solidFill>
            <a:ln w="4477" cap="flat">
              <a:noFill/>
              <a:prstDash val="solid"/>
              <a:miter/>
            </a:ln>
          </p:spPr>
          <p:txBody>
            <a:bodyPr rtlCol="0" anchor="ctr"/>
            <a:lstStyle/>
            <a:p>
              <a:endParaRPr lang="en-US"/>
            </a:p>
          </p:txBody>
        </p:sp>
        <p:sp>
          <p:nvSpPr>
            <p:cNvPr id="5420" name="Freeform: Shape 5419">
              <a:extLst>
                <a:ext uri="{FF2B5EF4-FFF2-40B4-BE49-F238E27FC236}">
                  <a16:creationId xmlns:a16="http://schemas.microsoft.com/office/drawing/2014/main" id="{381E46E4-802A-4373-B7B8-472594E5A49C}"/>
                </a:ext>
              </a:extLst>
            </p:cNvPr>
            <p:cNvSpPr/>
            <p:nvPr/>
          </p:nvSpPr>
          <p:spPr>
            <a:xfrm>
              <a:off x="9686272" y="1832512"/>
              <a:ext cx="8963" cy="4482"/>
            </a:xfrm>
            <a:custGeom>
              <a:avLst/>
              <a:gdLst>
                <a:gd name="connsiteX0" fmla="*/ 2281 w 8963"/>
                <a:gd name="connsiteY0" fmla="*/ 8556 h 4481"/>
                <a:gd name="connsiteX1" fmla="*/ 3626 w 8963"/>
                <a:gd name="connsiteY1" fmla="*/ 8107 h 4481"/>
                <a:gd name="connsiteX2" fmla="*/ 8556 w 8963"/>
                <a:gd name="connsiteY2" fmla="*/ 4074 h 4481"/>
                <a:gd name="connsiteX3" fmla="*/ 9004 w 8963"/>
                <a:gd name="connsiteY3" fmla="*/ 937 h 4481"/>
                <a:gd name="connsiteX4" fmla="*/ 5867 w 8963"/>
                <a:gd name="connsiteY4" fmla="*/ 489 h 4481"/>
                <a:gd name="connsiteX5" fmla="*/ 937 w 8963"/>
                <a:gd name="connsiteY5" fmla="*/ 4522 h 4481"/>
                <a:gd name="connsiteX6" fmla="*/ 488 w 8963"/>
                <a:gd name="connsiteY6" fmla="*/ 7659 h 4481"/>
                <a:gd name="connsiteX7" fmla="*/ 2281 w 8963"/>
                <a:gd name="connsiteY7" fmla="*/ 8556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2281" y="8556"/>
                  </a:moveTo>
                  <a:cubicBezTo>
                    <a:pt x="2729" y="8556"/>
                    <a:pt x="3178" y="8556"/>
                    <a:pt x="3626" y="8107"/>
                  </a:cubicBezTo>
                  <a:lnTo>
                    <a:pt x="8556" y="4074"/>
                  </a:lnTo>
                  <a:cubicBezTo>
                    <a:pt x="9452" y="3178"/>
                    <a:pt x="9900" y="1833"/>
                    <a:pt x="9004" y="937"/>
                  </a:cubicBezTo>
                  <a:cubicBezTo>
                    <a:pt x="8107" y="40"/>
                    <a:pt x="6763" y="-408"/>
                    <a:pt x="5867" y="489"/>
                  </a:cubicBezTo>
                  <a:lnTo>
                    <a:pt x="937" y="4522"/>
                  </a:lnTo>
                  <a:cubicBezTo>
                    <a:pt x="40" y="5418"/>
                    <a:pt x="-408" y="6763"/>
                    <a:pt x="488" y="7659"/>
                  </a:cubicBezTo>
                  <a:cubicBezTo>
                    <a:pt x="937" y="8107"/>
                    <a:pt x="1385" y="8556"/>
                    <a:pt x="2281" y="8556"/>
                  </a:cubicBezTo>
                  <a:close/>
                </a:path>
              </a:pathLst>
            </a:custGeom>
            <a:solidFill>
              <a:srgbClr val="231F20"/>
            </a:solidFill>
            <a:ln w="4477" cap="flat">
              <a:noFill/>
              <a:prstDash val="solid"/>
              <a:miter/>
            </a:ln>
          </p:spPr>
          <p:txBody>
            <a:bodyPr rtlCol="0" anchor="ctr"/>
            <a:lstStyle/>
            <a:p>
              <a:endParaRPr lang="en-US"/>
            </a:p>
          </p:txBody>
        </p:sp>
        <p:sp>
          <p:nvSpPr>
            <p:cNvPr id="5421" name="Freeform: Shape 5420">
              <a:extLst>
                <a:ext uri="{FF2B5EF4-FFF2-40B4-BE49-F238E27FC236}">
                  <a16:creationId xmlns:a16="http://schemas.microsoft.com/office/drawing/2014/main" id="{E085C90A-0C37-4240-B47C-DAB1D9BAEDFF}"/>
                </a:ext>
              </a:extLst>
            </p:cNvPr>
            <p:cNvSpPr/>
            <p:nvPr/>
          </p:nvSpPr>
          <p:spPr>
            <a:xfrm>
              <a:off x="9638318" y="1773058"/>
              <a:ext cx="152378" cy="134451"/>
            </a:xfrm>
            <a:custGeom>
              <a:avLst/>
              <a:gdLst>
                <a:gd name="connsiteX0" fmla="*/ 150177 w 152377"/>
                <a:gd name="connsiteY0" fmla="*/ 55461 h 134451"/>
                <a:gd name="connsiteX1" fmla="*/ 151074 w 152377"/>
                <a:gd name="connsiteY1" fmla="*/ 52324 h 134451"/>
                <a:gd name="connsiteX2" fmla="*/ 147936 w 152377"/>
                <a:gd name="connsiteY2" fmla="*/ 51876 h 134451"/>
                <a:gd name="connsiteX3" fmla="*/ 116117 w 152377"/>
                <a:gd name="connsiteY3" fmla="*/ 72492 h 134451"/>
                <a:gd name="connsiteX4" fmla="*/ 116117 w 152377"/>
                <a:gd name="connsiteY4" fmla="*/ 58598 h 134451"/>
                <a:gd name="connsiteX5" fmla="*/ 150626 w 152377"/>
                <a:gd name="connsiteY5" fmla="*/ 36638 h 134451"/>
                <a:gd name="connsiteX6" fmla="*/ 151522 w 152377"/>
                <a:gd name="connsiteY6" fmla="*/ 34845 h 134451"/>
                <a:gd name="connsiteX7" fmla="*/ 150626 w 152377"/>
                <a:gd name="connsiteY7" fmla="*/ 33053 h 134451"/>
                <a:gd name="connsiteX8" fmla="*/ 99086 w 152377"/>
                <a:gd name="connsiteY8" fmla="*/ 336 h 134451"/>
                <a:gd name="connsiteX9" fmla="*/ 96845 w 152377"/>
                <a:gd name="connsiteY9" fmla="*/ 336 h 134451"/>
                <a:gd name="connsiteX10" fmla="*/ 62784 w 152377"/>
                <a:gd name="connsiteY10" fmla="*/ 22296 h 134451"/>
                <a:gd name="connsiteX11" fmla="*/ 60543 w 152377"/>
                <a:gd name="connsiteY11" fmla="*/ 20952 h 134451"/>
                <a:gd name="connsiteX12" fmla="*/ 58302 w 152377"/>
                <a:gd name="connsiteY12" fmla="*/ 20952 h 134451"/>
                <a:gd name="connsiteX13" fmla="*/ 34549 w 152377"/>
                <a:gd name="connsiteY13" fmla="*/ 35742 h 134451"/>
                <a:gd name="connsiteX14" fmla="*/ 33653 w 152377"/>
                <a:gd name="connsiteY14" fmla="*/ 37534 h 134451"/>
                <a:gd name="connsiteX15" fmla="*/ 34549 w 152377"/>
                <a:gd name="connsiteY15" fmla="*/ 39327 h 134451"/>
                <a:gd name="connsiteX16" fmla="*/ 35894 w 152377"/>
                <a:gd name="connsiteY16" fmla="*/ 40223 h 134451"/>
                <a:gd name="connsiteX17" fmla="*/ 937 w 152377"/>
                <a:gd name="connsiteY17" fmla="*/ 62184 h 134451"/>
                <a:gd name="connsiteX18" fmla="*/ 40 w 152377"/>
                <a:gd name="connsiteY18" fmla="*/ 63976 h 134451"/>
                <a:gd name="connsiteX19" fmla="*/ 937 w 152377"/>
                <a:gd name="connsiteY19" fmla="*/ 65769 h 134451"/>
                <a:gd name="connsiteX20" fmla="*/ 52476 w 152377"/>
                <a:gd name="connsiteY20" fmla="*/ 98485 h 134451"/>
                <a:gd name="connsiteX21" fmla="*/ 53821 w 152377"/>
                <a:gd name="connsiteY21" fmla="*/ 98934 h 134451"/>
                <a:gd name="connsiteX22" fmla="*/ 55165 w 152377"/>
                <a:gd name="connsiteY22" fmla="*/ 98485 h 134451"/>
                <a:gd name="connsiteX23" fmla="*/ 86985 w 152377"/>
                <a:gd name="connsiteY23" fmla="*/ 77870 h 134451"/>
                <a:gd name="connsiteX24" fmla="*/ 86985 w 152377"/>
                <a:gd name="connsiteY24" fmla="*/ 91763 h 134451"/>
                <a:gd name="connsiteX25" fmla="*/ 53821 w 152377"/>
                <a:gd name="connsiteY25" fmla="*/ 112827 h 134451"/>
                <a:gd name="connsiteX26" fmla="*/ 3626 w 152377"/>
                <a:gd name="connsiteY26" fmla="*/ 77870 h 134451"/>
                <a:gd name="connsiteX27" fmla="*/ 489 w 152377"/>
                <a:gd name="connsiteY27" fmla="*/ 78318 h 134451"/>
                <a:gd name="connsiteX28" fmla="*/ 937 w 152377"/>
                <a:gd name="connsiteY28" fmla="*/ 81455 h 134451"/>
                <a:gd name="connsiteX29" fmla="*/ 52476 w 152377"/>
                <a:gd name="connsiteY29" fmla="*/ 117309 h 134451"/>
                <a:gd name="connsiteX30" fmla="*/ 53821 w 152377"/>
                <a:gd name="connsiteY30" fmla="*/ 117757 h 134451"/>
                <a:gd name="connsiteX31" fmla="*/ 55165 w 152377"/>
                <a:gd name="connsiteY31" fmla="*/ 117309 h 134451"/>
                <a:gd name="connsiteX32" fmla="*/ 86985 w 152377"/>
                <a:gd name="connsiteY32" fmla="*/ 96693 h 134451"/>
                <a:gd name="connsiteX33" fmla="*/ 86985 w 152377"/>
                <a:gd name="connsiteY33" fmla="*/ 111931 h 134451"/>
                <a:gd name="connsiteX34" fmla="*/ 53821 w 152377"/>
                <a:gd name="connsiteY34" fmla="*/ 132995 h 134451"/>
                <a:gd name="connsiteX35" fmla="*/ 3626 w 152377"/>
                <a:gd name="connsiteY35" fmla="*/ 98037 h 134451"/>
                <a:gd name="connsiteX36" fmla="*/ 489 w 152377"/>
                <a:gd name="connsiteY36" fmla="*/ 98485 h 134451"/>
                <a:gd name="connsiteX37" fmla="*/ 937 w 152377"/>
                <a:gd name="connsiteY37" fmla="*/ 101623 h 134451"/>
                <a:gd name="connsiteX38" fmla="*/ 52476 w 152377"/>
                <a:gd name="connsiteY38" fmla="*/ 137476 h 134451"/>
                <a:gd name="connsiteX39" fmla="*/ 53821 w 152377"/>
                <a:gd name="connsiteY39" fmla="*/ 137924 h 134451"/>
                <a:gd name="connsiteX40" fmla="*/ 55165 w 152377"/>
                <a:gd name="connsiteY40" fmla="*/ 137476 h 134451"/>
                <a:gd name="connsiteX41" fmla="*/ 90571 w 152377"/>
                <a:gd name="connsiteY41" fmla="*/ 114620 h 134451"/>
                <a:gd name="connsiteX42" fmla="*/ 116117 w 152377"/>
                <a:gd name="connsiteY42" fmla="*/ 98037 h 134451"/>
                <a:gd name="connsiteX43" fmla="*/ 116117 w 152377"/>
                <a:gd name="connsiteY43" fmla="*/ 98037 h 134451"/>
                <a:gd name="connsiteX44" fmla="*/ 151522 w 152377"/>
                <a:gd name="connsiteY44" fmla="*/ 75181 h 134451"/>
                <a:gd name="connsiteX45" fmla="*/ 152418 w 152377"/>
                <a:gd name="connsiteY45" fmla="*/ 72043 h 134451"/>
                <a:gd name="connsiteX46" fmla="*/ 149281 w 152377"/>
                <a:gd name="connsiteY46" fmla="*/ 71147 h 134451"/>
                <a:gd name="connsiteX47" fmla="*/ 117461 w 152377"/>
                <a:gd name="connsiteY47" fmla="*/ 91763 h 134451"/>
                <a:gd name="connsiteX48" fmla="*/ 117461 w 152377"/>
                <a:gd name="connsiteY48" fmla="*/ 77421 h 134451"/>
                <a:gd name="connsiteX49" fmla="*/ 150177 w 152377"/>
                <a:gd name="connsiteY49" fmla="*/ 55461 h 134451"/>
                <a:gd name="connsiteX50" fmla="*/ 97741 w 152377"/>
                <a:gd name="connsiteY50" fmla="*/ 4370 h 134451"/>
                <a:gd name="connsiteX51" fmla="*/ 144799 w 152377"/>
                <a:gd name="connsiteY51" fmla="*/ 34397 h 134451"/>
                <a:gd name="connsiteX52" fmla="*/ 113427 w 152377"/>
                <a:gd name="connsiteY52" fmla="*/ 54565 h 134451"/>
                <a:gd name="connsiteX53" fmla="*/ 107153 w 152377"/>
                <a:gd name="connsiteY53" fmla="*/ 50531 h 134451"/>
                <a:gd name="connsiteX54" fmla="*/ 122391 w 152377"/>
                <a:gd name="connsiteY54" fmla="*/ 40671 h 134451"/>
                <a:gd name="connsiteX55" fmla="*/ 123287 w 152377"/>
                <a:gd name="connsiteY55" fmla="*/ 38879 h 134451"/>
                <a:gd name="connsiteX56" fmla="*/ 122391 w 152377"/>
                <a:gd name="connsiteY56" fmla="*/ 37086 h 134451"/>
                <a:gd name="connsiteX57" fmla="*/ 121046 w 152377"/>
                <a:gd name="connsiteY57" fmla="*/ 35742 h 134451"/>
                <a:gd name="connsiteX58" fmla="*/ 122391 w 152377"/>
                <a:gd name="connsiteY58" fmla="*/ 34397 h 134451"/>
                <a:gd name="connsiteX59" fmla="*/ 123287 w 152377"/>
                <a:gd name="connsiteY59" fmla="*/ 32604 h 134451"/>
                <a:gd name="connsiteX60" fmla="*/ 122391 w 152377"/>
                <a:gd name="connsiteY60" fmla="*/ 30812 h 134451"/>
                <a:gd name="connsiteX61" fmla="*/ 102223 w 152377"/>
                <a:gd name="connsiteY61" fmla="*/ 17815 h 134451"/>
                <a:gd name="connsiteX62" fmla="*/ 99982 w 152377"/>
                <a:gd name="connsiteY62" fmla="*/ 17815 h 134451"/>
                <a:gd name="connsiteX63" fmla="*/ 92364 w 152377"/>
                <a:gd name="connsiteY63" fmla="*/ 17815 h 134451"/>
                <a:gd name="connsiteX64" fmla="*/ 90123 w 152377"/>
                <a:gd name="connsiteY64" fmla="*/ 17815 h 134451"/>
                <a:gd name="connsiteX65" fmla="*/ 72644 w 152377"/>
                <a:gd name="connsiteY65" fmla="*/ 29019 h 134451"/>
                <a:gd name="connsiteX66" fmla="*/ 66818 w 152377"/>
                <a:gd name="connsiteY66" fmla="*/ 24986 h 134451"/>
                <a:gd name="connsiteX67" fmla="*/ 97741 w 152377"/>
                <a:gd name="connsiteY67" fmla="*/ 4370 h 134451"/>
                <a:gd name="connsiteX68" fmla="*/ 117909 w 152377"/>
                <a:gd name="connsiteY68" fmla="*/ 38431 h 134451"/>
                <a:gd name="connsiteX69" fmla="*/ 103119 w 152377"/>
                <a:gd name="connsiteY69" fmla="*/ 47842 h 134451"/>
                <a:gd name="connsiteX70" fmla="*/ 76678 w 152377"/>
                <a:gd name="connsiteY70" fmla="*/ 31260 h 134451"/>
                <a:gd name="connsiteX71" fmla="*/ 91019 w 152377"/>
                <a:gd name="connsiteY71" fmla="*/ 21848 h 134451"/>
                <a:gd name="connsiteX72" fmla="*/ 100879 w 152377"/>
                <a:gd name="connsiteY72" fmla="*/ 21848 h 134451"/>
                <a:gd name="connsiteX73" fmla="*/ 117461 w 152377"/>
                <a:gd name="connsiteY73" fmla="*/ 32604 h 134451"/>
                <a:gd name="connsiteX74" fmla="*/ 116565 w 152377"/>
                <a:gd name="connsiteY74" fmla="*/ 35293 h 134451"/>
                <a:gd name="connsiteX75" fmla="*/ 117909 w 152377"/>
                <a:gd name="connsiteY75" fmla="*/ 38431 h 134451"/>
                <a:gd name="connsiteX76" fmla="*/ 52924 w 152377"/>
                <a:gd name="connsiteY76" fmla="*/ 93556 h 134451"/>
                <a:gd name="connsiteX77" fmla="*/ 5866 w 152377"/>
                <a:gd name="connsiteY77" fmla="*/ 63528 h 134451"/>
                <a:gd name="connsiteX78" fmla="*/ 39479 w 152377"/>
                <a:gd name="connsiteY78" fmla="*/ 42464 h 134451"/>
                <a:gd name="connsiteX79" fmla="*/ 45306 w 152377"/>
                <a:gd name="connsiteY79" fmla="*/ 46498 h 134451"/>
                <a:gd name="connsiteX80" fmla="*/ 28275 w 152377"/>
                <a:gd name="connsiteY80" fmla="*/ 57702 h 134451"/>
                <a:gd name="connsiteX81" fmla="*/ 27379 w 152377"/>
                <a:gd name="connsiteY81" fmla="*/ 59495 h 134451"/>
                <a:gd name="connsiteX82" fmla="*/ 28275 w 152377"/>
                <a:gd name="connsiteY82" fmla="*/ 61287 h 134451"/>
                <a:gd name="connsiteX83" fmla="*/ 29620 w 152377"/>
                <a:gd name="connsiteY83" fmla="*/ 62632 h 134451"/>
                <a:gd name="connsiteX84" fmla="*/ 28275 w 152377"/>
                <a:gd name="connsiteY84" fmla="*/ 63976 h 134451"/>
                <a:gd name="connsiteX85" fmla="*/ 27379 w 152377"/>
                <a:gd name="connsiteY85" fmla="*/ 65769 h 134451"/>
                <a:gd name="connsiteX86" fmla="*/ 28275 w 152377"/>
                <a:gd name="connsiteY86" fmla="*/ 67562 h 134451"/>
                <a:gd name="connsiteX87" fmla="*/ 48443 w 152377"/>
                <a:gd name="connsiteY87" fmla="*/ 80559 h 134451"/>
                <a:gd name="connsiteX88" fmla="*/ 50683 w 152377"/>
                <a:gd name="connsiteY88" fmla="*/ 80559 h 134451"/>
                <a:gd name="connsiteX89" fmla="*/ 58302 w 152377"/>
                <a:gd name="connsiteY89" fmla="*/ 80559 h 134451"/>
                <a:gd name="connsiteX90" fmla="*/ 59647 w 152377"/>
                <a:gd name="connsiteY90" fmla="*/ 81007 h 134451"/>
                <a:gd name="connsiteX91" fmla="*/ 60992 w 152377"/>
                <a:gd name="connsiteY91" fmla="*/ 80559 h 134451"/>
                <a:gd name="connsiteX92" fmla="*/ 78918 w 152377"/>
                <a:gd name="connsiteY92" fmla="*/ 68906 h 134451"/>
                <a:gd name="connsiteX93" fmla="*/ 84745 w 152377"/>
                <a:gd name="connsiteY93" fmla="*/ 72940 h 134451"/>
                <a:gd name="connsiteX94" fmla="*/ 52924 w 152377"/>
                <a:gd name="connsiteY94" fmla="*/ 93556 h 134451"/>
                <a:gd name="connsiteX95" fmla="*/ 32309 w 152377"/>
                <a:gd name="connsiteY95" fmla="*/ 59495 h 134451"/>
                <a:gd name="connsiteX96" fmla="*/ 48891 w 152377"/>
                <a:gd name="connsiteY96" fmla="*/ 48739 h 134451"/>
                <a:gd name="connsiteX97" fmla="*/ 73988 w 152377"/>
                <a:gd name="connsiteY97" fmla="*/ 66217 h 134451"/>
                <a:gd name="connsiteX98" fmla="*/ 58751 w 152377"/>
                <a:gd name="connsiteY98" fmla="*/ 76077 h 134451"/>
                <a:gd name="connsiteX99" fmla="*/ 48891 w 152377"/>
                <a:gd name="connsiteY99" fmla="*/ 76077 h 134451"/>
                <a:gd name="connsiteX100" fmla="*/ 32309 w 152377"/>
                <a:gd name="connsiteY100" fmla="*/ 65321 h 134451"/>
                <a:gd name="connsiteX101" fmla="*/ 33205 w 152377"/>
                <a:gd name="connsiteY101" fmla="*/ 62632 h 134451"/>
                <a:gd name="connsiteX102" fmla="*/ 32309 w 152377"/>
                <a:gd name="connsiteY102" fmla="*/ 59495 h 134451"/>
                <a:gd name="connsiteX103" fmla="*/ 111635 w 152377"/>
                <a:gd name="connsiteY103" fmla="*/ 95348 h 134451"/>
                <a:gd name="connsiteX104" fmla="*/ 90571 w 152377"/>
                <a:gd name="connsiteY104" fmla="*/ 108793 h 134451"/>
                <a:gd name="connsiteX105" fmla="*/ 90571 w 152377"/>
                <a:gd name="connsiteY105" fmla="*/ 72940 h 134451"/>
                <a:gd name="connsiteX106" fmla="*/ 89674 w 152377"/>
                <a:gd name="connsiteY106" fmla="*/ 71147 h 134451"/>
                <a:gd name="connsiteX107" fmla="*/ 50683 w 152377"/>
                <a:gd name="connsiteY107" fmla="*/ 44257 h 134451"/>
                <a:gd name="connsiteX108" fmla="*/ 50683 w 152377"/>
                <a:gd name="connsiteY108" fmla="*/ 44257 h 134451"/>
                <a:gd name="connsiteX109" fmla="*/ 41272 w 152377"/>
                <a:gd name="connsiteY109" fmla="*/ 37534 h 134451"/>
                <a:gd name="connsiteX110" fmla="*/ 41272 w 152377"/>
                <a:gd name="connsiteY110" fmla="*/ 37534 h 134451"/>
                <a:gd name="connsiteX111" fmla="*/ 39928 w 152377"/>
                <a:gd name="connsiteY111" fmla="*/ 36638 h 134451"/>
                <a:gd name="connsiteX112" fmla="*/ 59647 w 152377"/>
                <a:gd name="connsiteY112" fmla="*/ 24537 h 134451"/>
                <a:gd name="connsiteX113" fmla="*/ 112083 w 152377"/>
                <a:gd name="connsiteY113" fmla="*/ 58150 h 134451"/>
                <a:gd name="connsiteX114" fmla="*/ 112083 w 152377"/>
                <a:gd name="connsiteY114" fmla="*/ 95348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52377" h="134451">
                  <a:moveTo>
                    <a:pt x="150177" y="55461"/>
                  </a:moveTo>
                  <a:cubicBezTo>
                    <a:pt x="151074" y="55013"/>
                    <a:pt x="151522" y="53220"/>
                    <a:pt x="151074" y="52324"/>
                  </a:cubicBezTo>
                  <a:cubicBezTo>
                    <a:pt x="150626" y="51428"/>
                    <a:pt x="148833" y="50979"/>
                    <a:pt x="147936" y="51876"/>
                  </a:cubicBezTo>
                  <a:lnTo>
                    <a:pt x="116117" y="72492"/>
                  </a:lnTo>
                  <a:lnTo>
                    <a:pt x="116117" y="58598"/>
                  </a:lnTo>
                  <a:lnTo>
                    <a:pt x="150626" y="36638"/>
                  </a:lnTo>
                  <a:cubicBezTo>
                    <a:pt x="151074" y="36190"/>
                    <a:pt x="151522" y="35293"/>
                    <a:pt x="151522" y="34845"/>
                  </a:cubicBezTo>
                  <a:cubicBezTo>
                    <a:pt x="151522" y="33949"/>
                    <a:pt x="151074" y="33501"/>
                    <a:pt x="150626" y="33053"/>
                  </a:cubicBezTo>
                  <a:lnTo>
                    <a:pt x="99086" y="336"/>
                  </a:lnTo>
                  <a:cubicBezTo>
                    <a:pt x="98190" y="-112"/>
                    <a:pt x="97293" y="-112"/>
                    <a:pt x="96845" y="336"/>
                  </a:cubicBezTo>
                  <a:lnTo>
                    <a:pt x="62784" y="22296"/>
                  </a:lnTo>
                  <a:lnTo>
                    <a:pt x="60543" y="20952"/>
                  </a:lnTo>
                  <a:cubicBezTo>
                    <a:pt x="59647" y="20504"/>
                    <a:pt x="58751" y="20504"/>
                    <a:pt x="58302" y="20952"/>
                  </a:cubicBezTo>
                  <a:lnTo>
                    <a:pt x="34549" y="35742"/>
                  </a:lnTo>
                  <a:cubicBezTo>
                    <a:pt x="34101" y="36190"/>
                    <a:pt x="33653" y="36638"/>
                    <a:pt x="33653" y="37534"/>
                  </a:cubicBezTo>
                  <a:cubicBezTo>
                    <a:pt x="33653" y="38431"/>
                    <a:pt x="34101" y="38879"/>
                    <a:pt x="34549" y="39327"/>
                  </a:cubicBezTo>
                  <a:lnTo>
                    <a:pt x="35894" y="40223"/>
                  </a:lnTo>
                  <a:lnTo>
                    <a:pt x="937" y="62184"/>
                  </a:lnTo>
                  <a:cubicBezTo>
                    <a:pt x="489" y="62632"/>
                    <a:pt x="40" y="63528"/>
                    <a:pt x="40" y="63976"/>
                  </a:cubicBezTo>
                  <a:cubicBezTo>
                    <a:pt x="40" y="64873"/>
                    <a:pt x="489" y="65321"/>
                    <a:pt x="937" y="65769"/>
                  </a:cubicBezTo>
                  <a:lnTo>
                    <a:pt x="52476" y="98485"/>
                  </a:lnTo>
                  <a:cubicBezTo>
                    <a:pt x="52924" y="98934"/>
                    <a:pt x="53373" y="98934"/>
                    <a:pt x="53821" y="98934"/>
                  </a:cubicBezTo>
                  <a:cubicBezTo>
                    <a:pt x="54269" y="98934"/>
                    <a:pt x="54717" y="98934"/>
                    <a:pt x="55165" y="98485"/>
                  </a:cubicBezTo>
                  <a:lnTo>
                    <a:pt x="86985" y="77870"/>
                  </a:lnTo>
                  <a:lnTo>
                    <a:pt x="86985" y="91763"/>
                  </a:lnTo>
                  <a:lnTo>
                    <a:pt x="53821" y="112827"/>
                  </a:lnTo>
                  <a:lnTo>
                    <a:pt x="3626" y="77870"/>
                  </a:lnTo>
                  <a:cubicBezTo>
                    <a:pt x="2730" y="76973"/>
                    <a:pt x="1385" y="77421"/>
                    <a:pt x="489" y="78318"/>
                  </a:cubicBezTo>
                  <a:cubicBezTo>
                    <a:pt x="-408" y="79214"/>
                    <a:pt x="40" y="80559"/>
                    <a:pt x="937" y="81455"/>
                  </a:cubicBezTo>
                  <a:lnTo>
                    <a:pt x="52476" y="117309"/>
                  </a:lnTo>
                  <a:cubicBezTo>
                    <a:pt x="52924" y="117757"/>
                    <a:pt x="53373" y="117757"/>
                    <a:pt x="53821" y="117757"/>
                  </a:cubicBezTo>
                  <a:cubicBezTo>
                    <a:pt x="54269" y="117757"/>
                    <a:pt x="54717" y="117757"/>
                    <a:pt x="55165" y="117309"/>
                  </a:cubicBezTo>
                  <a:lnTo>
                    <a:pt x="86985" y="96693"/>
                  </a:lnTo>
                  <a:lnTo>
                    <a:pt x="86985" y="111931"/>
                  </a:lnTo>
                  <a:lnTo>
                    <a:pt x="53821" y="132995"/>
                  </a:lnTo>
                  <a:lnTo>
                    <a:pt x="3626" y="98037"/>
                  </a:lnTo>
                  <a:cubicBezTo>
                    <a:pt x="2730" y="97141"/>
                    <a:pt x="1385" y="97589"/>
                    <a:pt x="489" y="98485"/>
                  </a:cubicBezTo>
                  <a:cubicBezTo>
                    <a:pt x="-408" y="99382"/>
                    <a:pt x="40" y="100726"/>
                    <a:pt x="937" y="101623"/>
                  </a:cubicBezTo>
                  <a:lnTo>
                    <a:pt x="52476" y="137476"/>
                  </a:lnTo>
                  <a:cubicBezTo>
                    <a:pt x="52924" y="137924"/>
                    <a:pt x="53373" y="137924"/>
                    <a:pt x="53821" y="137924"/>
                  </a:cubicBezTo>
                  <a:cubicBezTo>
                    <a:pt x="54269" y="137924"/>
                    <a:pt x="54717" y="137924"/>
                    <a:pt x="55165" y="137476"/>
                  </a:cubicBezTo>
                  <a:lnTo>
                    <a:pt x="90571" y="114620"/>
                  </a:lnTo>
                  <a:lnTo>
                    <a:pt x="116117" y="98037"/>
                  </a:lnTo>
                  <a:cubicBezTo>
                    <a:pt x="116117" y="98037"/>
                    <a:pt x="116117" y="98037"/>
                    <a:pt x="116117" y="98037"/>
                  </a:cubicBezTo>
                  <a:lnTo>
                    <a:pt x="151522" y="75181"/>
                  </a:lnTo>
                  <a:cubicBezTo>
                    <a:pt x="152418" y="74732"/>
                    <a:pt x="152867" y="72940"/>
                    <a:pt x="152418" y="72043"/>
                  </a:cubicBezTo>
                  <a:cubicBezTo>
                    <a:pt x="151970" y="71147"/>
                    <a:pt x="150177" y="70699"/>
                    <a:pt x="149281" y="71147"/>
                  </a:cubicBezTo>
                  <a:lnTo>
                    <a:pt x="117461" y="91763"/>
                  </a:lnTo>
                  <a:lnTo>
                    <a:pt x="117461" y="77421"/>
                  </a:lnTo>
                  <a:lnTo>
                    <a:pt x="150177" y="55461"/>
                  </a:lnTo>
                  <a:close/>
                  <a:moveTo>
                    <a:pt x="97741" y="4370"/>
                  </a:moveTo>
                  <a:lnTo>
                    <a:pt x="144799" y="34397"/>
                  </a:lnTo>
                  <a:lnTo>
                    <a:pt x="113427" y="54565"/>
                  </a:lnTo>
                  <a:lnTo>
                    <a:pt x="107153" y="50531"/>
                  </a:lnTo>
                  <a:lnTo>
                    <a:pt x="122391" y="40671"/>
                  </a:lnTo>
                  <a:cubicBezTo>
                    <a:pt x="122839" y="40223"/>
                    <a:pt x="123287" y="39327"/>
                    <a:pt x="123287" y="38879"/>
                  </a:cubicBezTo>
                  <a:cubicBezTo>
                    <a:pt x="123287" y="37982"/>
                    <a:pt x="122839" y="37534"/>
                    <a:pt x="122391" y="37086"/>
                  </a:cubicBezTo>
                  <a:cubicBezTo>
                    <a:pt x="121495" y="36638"/>
                    <a:pt x="121046" y="35742"/>
                    <a:pt x="121046" y="35742"/>
                  </a:cubicBezTo>
                  <a:cubicBezTo>
                    <a:pt x="121046" y="35742"/>
                    <a:pt x="121495" y="34845"/>
                    <a:pt x="122391" y="34397"/>
                  </a:cubicBezTo>
                  <a:cubicBezTo>
                    <a:pt x="122839" y="33949"/>
                    <a:pt x="123287" y="33053"/>
                    <a:pt x="123287" y="32604"/>
                  </a:cubicBezTo>
                  <a:cubicBezTo>
                    <a:pt x="123287" y="31708"/>
                    <a:pt x="122839" y="31260"/>
                    <a:pt x="122391" y="30812"/>
                  </a:cubicBezTo>
                  <a:lnTo>
                    <a:pt x="102223" y="17815"/>
                  </a:lnTo>
                  <a:cubicBezTo>
                    <a:pt x="101327" y="17367"/>
                    <a:pt x="100431" y="17367"/>
                    <a:pt x="99982" y="17815"/>
                  </a:cubicBezTo>
                  <a:cubicBezTo>
                    <a:pt x="97293" y="19607"/>
                    <a:pt x="94156" y="19159"/>
                    <a:pt x="92364" y="17815"/>
                  </a:cubicBezTo>
                  <a:cubicBezTo>
                    <a:pt x="91467" y="17367"/>
                    <a:pt x="90571" y="17367"/>
                    <a:pt x="90123" y="17815"/>
                  </a:cubicBezTo>
                  <a:lnTo>
                    <a:pt x="72644" y="29019"/>
                  </a:lnTo>
                  <a:lnTo>
                    <a:pt x="66818" y="24986"/>
                  </a:lnTo>
                  <a:lnTo>
                    <a:pt x="97741" y="4370"/>
                  </a:lnTo>
                  <a:close/>
                  <a:moveTo>
                    <a:pt x="117909" y="38431"/>
                  </a:moveTo>
                  <a:lnTo>
                    <a:pt x="103119" y="47842"/>
                  </a:lnTo>
                  <a:lnTo>
                    <a:pt x="76678" y="31260"/>
                  </a:lnTo>
                  <a:lnTo>
                    <a:pt x="91019" y="21848"/>
                  </a:lnTo>
                  <a:cubicBezTo>
                    <a:pt x="94156" y="23193"/>
                    <a:pt x="97741" y="23193"/>
                    <a:pt x="100879" y="21848"/>
                  </a:cubicBezTo>
                  <a:lnTo>
                    <a:pt x="117461" y="32604"/>
                  </a:lnTo>
                  <a:cubicBezTo>
                    <a:pt x="116565" y="33501"/>
                    <a:pt x="116565" y="34845"/>
                    <a:pt x="116565" y="35293"/>
                  </a:cubicBezTo>
                  <a:cubicBezTo>
                    <a:pt x="117013" y="36638"/>
                    <a:pt x="117461" y="37534"/>
                    <a:pt x="117909" y="38431"/>
                  </a:cubicBezTo>
                  <a:close/>
                  <a:moveTo>
                    <a:pt x="52924" y="93556"/>
                  </a:moveTo>
                  <a:lnTo>
                    <a:pt x="5866" y="63528"/>
                  </a:lnTo>
                  <a:lnTo>
                    <a:pt x="39479" y="42464"/>
                  </a:lnTo>
                  <a:lnTo>
                    <a:pt x="45306" y="46498"/>
                  </a:lnTo>
                  <a:lnTo>
                    <a:pt x="28275" y="57702"/>
                  </a:lnTo>
                  <a:cubicBezTo>
                    <a:pt x="27827" y="58150"/>
                    <a:pt x="27379" y="59046"/>
                    <a:pt x="27379" y="59495"/>
                  </a:cubicBezTo>
                  <a:cubicBezTo>
                    <a:pt x="27379" y="59943"/>
                    <a:pt x="27827" y="60839"/>
                    <a:pt x="28275" y="61287"/>
                  </a:cubicBezTo>
                  <a:cubicBezTo>
                    <a:pt x="29171" y="61735"/>
                    <a:pt x="29620" y="62632"/>
                    <a:pt x="29620" y="62632"/>
                  </a:cubicBezTo>
                  <a:cubicBezTo>
                    <a:pt x="29620" y="62632"/>
                    <a:pt x="29171" y="63528"/>
                    <a:pt x="28275" y="63976"/>
                  </a:cubicBezTo>
                  <a:cubicBezTo>
                    <a:pt x="27827" y="64425"/>
                    <a:pt x="27379" y="65321"/>
                    <a:pt x="27379" y="65769"/>
                  </a:cubicBezTo>
                  <a:cubicBezTo>
                    <a:pt x="27379" y="66217"/>
                    <a:pt x="27827" y="67113"/>
                    <a:pt x="28275" y="67562"/>
                  </a:cubicBezTo>
                  <a:lnTo>
                    <a:pt x="48443" y="80559"/>
                  </a:lnTo>
                  <a:cubicBezTo>
                    <a:pt x="49339" y="81007"/>
                    <a:pt x="50235" y="81007"/>
                    <a:pt x="50683" y="80559"/>
                  </a:cubicBezTo>
                  <a:cubicBezTo>
                    <a:pt x="52476" y="79214"/>
                    <a:pt x="55614" y="78766"/>
                    <a:pt x="58302" y="80559"/>
                  </a:cubicBezTo>
                  <a:cubicBezTo>
                    <a:pt x="58751" y="81007"/>
                    <a:pt x="59199" y="81007"/>
                    <a:pt x="59647" y="81007"/>
                  </a:cubicBezTo>
                  <a:cubicBezTo>
                    <a:pt x="60095" y="81007"/>
                    <a:pt x="60543" y="81007"/>
                    <a:pt x="60992" y="80559"/>
                  </a:cubicBezTo>
                  <a:lnTo>
                    <a:pt x="78918" y="68906"/>
                  </a:lnTo>
                  <a:lnTo>
                    <a:pt x="84745" y="72940"/>
                  </a:lnTo>
                  <a:lnTo>
                    <a:pt x="52924" y="93556"/>
                  </a:lnTo>
                  <a:close/>
                  <a:moveTo>
                    <a:pt x="32309" y="59495"/>
                  </a:moveTo>
                  <a:lnTo>
                    <a:pt x="48891" y="48739"/>
                  </a:lnTo>
                  <a:lnTo>
                    <a:pt x="73988" y="66217"/>
                  </a:lnTo>
                  <a:lnTo>
                    <a:pt x="58751" y="76077"/>
                  </a:lnTo>
                  <a:cubicBezTo>
                    <a:pt x="55614" y="74732"/>
                    <a:pt x="52028" y="74732"/>
                    <a:pt x="48891" y="76077"/>
                  </a:cubicBezTo>
                  <a:lnTo>
                    <a:pt x="32309" y="65321"/>
                  </a:lnTo>
                  <a:cubicBezTo>
                    <a:pt x="32757" y="64425"/>
                    <a:pt x="33205" y="63528"/>
                    <a:pt x="33205" y="62632"/>
                  </a:cubicBezTo>
                  <a:cubicBezTo>
                    <a:pt x="33653" y="61735"/>
                    <a:pt x="33205" y="60839"/>
                    <a:pt x="32309" y="59495"/>
                  </a:cubicBezTo>
                  <a:close/>
                  <a:moveTo>
                    <a:pt x="111635" y="95348"/>
                  </a:moveTo>
                  <a:lnTo>
                    <a:pt x="90571" y="108793"/>
                  </a:lnTo>
                  <a:lnTo>
                    <a:pt x="90571" y="72940"/>
                  </a:lnTo>
                  <a:cubicBezTo>
                    <a:pt x="90571" y="72043"/>
                    <a:pt x="90123" y="71595"/>
                    <a:pt x="89674" y="71147"/>
                  </a:cubicBezTo>
                  <a:lnTo>
                    <a:pt x="50683" y="44257"/>
                  </a:lnTo>
                  <a:cubicBezTo>
                    <a:pt x="50683" y="44257"/>
                    <a:pt x="50683" y="44257"/>
                    <a:pt x="50683" y="44257"/>
                  </a:cubicBezTo>
                  <a:lnTo>
                    <a:pt x="41272" y="37534"/>
                  </a:lnTo>
                  <a:cubicBezTo>
                    <a:pt x="41272" y="37534"/>
                    <a:pt x="41272" y="37534"/>
                    <a:pt x="41272" y="37534"/>
                  </a:cubicBezTo>
                  <a:lnTo>
                    <a:pt x="39928" y="36638"/>
                  </a:lnTo>
                  <a:lnTo>
                    <a:pt x="59647" y="24537"/>
                  </a:lnTo>
                  <a:lnTo>
                    <a:pt x="112083" y="58150"/>
                  </a:lnTo>
                  <a:lnTo>
                    <a:pt x="112083" y="95348"/>
                  </a:lnTo>
                  <a:close/>
                </a:path>
              </a:pathLst>
            </a:custGeom>
            <a:solidFill>
              <a:srgbClr val="231F20"/>
            </a:solidFill>
            <a:ln w="4477" cap="flat">
              <a:noFill/>
              <a:prstDash val="solid"/>
              <a:miter/>
            </a:ln>
          </p:spPr>
          <p:txBody>
            <a:bodyPr rtlCol="0" anchor="ctr"/>
            <a:lstStyle/>
            <a:p>
              <a:endParaRPr lang="en-US"/>
            </a:p>
          </p:txBody>
        </p:sp>
      </p:grpSp>
      <p:grpSp>
        <p:nvGrpSpPr>
          <p:cNvPr id="2475" name="Group 2474">
            <a:extLst>
              <a:ext uri="{FF2B5EF4-FFF2-40B4-BE49-F238E27FC236}">
                <a16:creationId xmlns:a16="http://schemas.microsoft.com/office/drawing/2014/main" id="{2343080C-BF49-46A2-A59A-61FD78E6E67E}"/>
              </a:ext>
              <a:ext uri="{C183D7F6-B498-43B3-948B-1728B52AA6E4}">
                <adec:decorative xmlns:adec="http://schemas.microsoft.com/office/drawing/2017/decorative" val="1"/>
              </a:ext>
            </a:extLst>
          </p:cNvPr>
          <p:cNvGrpSpPr>
            <a:grpSpLocks noChangeAspect="1"/>
          </p:cNvGrpSpPr>
          <p:nvPr/>
        </p:nvGrpSpPr>
        <p:grpSpPr>
          <a:xfrm>
            <a:off x="11444006" y="3817432"/>
            <a:ext cx="98597" cy="152378"/>
            <a:chOff x="11500506" y="1761741"/>
            <a:chExt cx="98597" cy="152378"/>
          </a:xfrm>
        </p:grpSpPr>
        <p:sp>
          <p:nvSpPr>
            <p:cNvPr id="5415" name="Freeform: Shape 5414">
              <a:extLst>
                <a:ext uri="{FF2B5EF4-FFF2-40B4-BE49-F238E27FC236}">
                  <a16:creationId xmlns:a16="http://schemas.microsoft.com/office/drawing/2014/main" id="{048D0F16-1528-464E-AFB5-C4E6675D0D38}"/>
                </a:ext>
              </a:extLst>
            </p:cNvPr>
            <p:cNvSpPr/>
            <p:nvPr/>
          </p:nvSpPr>
          <p:spPr>
            <a:xfrm>
              <a:off x="11500506" y="1761741"/>
              <a:ext cx="98597" cy="152378"/>
            </a:xfrm>
            <a:custGeom>
              <a:avLst/>
              <a:gdLst>
                <a:gd name="connsiteX0" fmla="*/ 90082 w 98597"/>
                <a:gd name="connsiteY0" fmla="*/ 0 h 152377"/>
                <a:gd name="connsiteX1" fmla="*/ 8515 w 98597"/>
                <a:gd name="connsiteY1" fmla="*/ 0 h 152377"/>
                <a:gd name="connsiteX2" fmla="*/ 0 w 98597"/>
                <a:gd name="connsiteY2" fmla="*/ 8515 h 152377"/>
                <a:gd name="connsiteX3" fmla="*/ 0 w 98597"/>
                <a:gd name="connsiteY3" fmla="*/ 143863 h 152377"/>
                <a:gd name="connsiteX4" fmla="*/ 8515 w 98597"/>
                <a:gd name="connsiteY4" fmla="*/ 152378 h 152377"/>
                <a:gd name="connsiteX5" fmla="*/ 90082 w 98597"/>
                <a:gd name="connsiteY5" fmla="*/ 152378 h 152377"/>
                <a:gd name="connsiteX6" fmla="*/ 98597 w 98597"/>
                <a:gd name="connsiteY6" fmla="*/ 143863 h 152377"/>
                <a:gd name="connsiteX7" fmla="*/ 98597 w 98597"/>
                <a:gd name="connsiteY7" fmla="*/ 8515 h 152377"/>
                <a:gd name="connsiteX8" fmla="*/ 90082 w 98597"/>
                <a:gd name="connsiteY8" fmla="*/ 0 h 152377"/>
                <a:gd name="connsiteX9" fmla="*/ 4482 w 98597"/>
                <a:gd name="connsiteY9" fmla="*/ 31372 h 152377"/>
                <a:gd name="connsiteX10" fmla="*/ 94116 w 98597"/>
                <a:gd name="connsiteY10" fmla="*/ 31372 h 152377"/>
                <a:gd name="connsiteX11" fmla="*/ 94116 w 98597"/>
                <a:gd name="connsiteY11" fmla="*/ 93668 h 152377"/>
                <a:gd name="connsiteX12" fmla="*/ 4482 w 98597"/>
                <a:gd name="connsiteY12" fmla="*/ 93668 h 152377"/>
                <a:gd name="connsiteX13" fmla="*/ 4482 w 98597"/>
                <a:gd name="connsiteY13" fmla="*/ 31372 h 152377"/>
                <a:gd name="connsiteX14" fmla="*/ 8515 w 98597"/>
                <a:gd name="connsiteY14" fmla="*/ 4482 h 152377"/>
                <a:gd name="connsiteX15" fmla="*/ 90082 w 98597"/>
                <a:gd name="connsiteY15" fmla="*/ 4482 h 152377"/>
                <a:gd name="connsiteX16" fmla="*/ 94116 w 98597"/>
                <a:gd name="connsiteY16" fmla="*/ 8515 h 152377"/>
                <a:gd name="connsiteX17" fmla="*/ 94116 w 98597"/>
                <a:gd name="connsiteY17" fmla="*/ 26890 h 152377"/>
                <a:gd name="connsiteX18" fmla="*/ 4482 w 98597"/>
                <a:gd name="connsiteY18" fmla="*/ 26890 h 152377"/>
                <a:gd name="connsiteX19" fmla="*/ 4482 w 98597"/>
                <a:gd name="connsiteY19" fmla="*/ 8515 h 152377"/>
                <a:gd name="connsiteX20" fmla="*/ 8515 w 98597"/>
                <a:gd name="connsiteY20" fmla="*/ 4482 h 152377"/>
                <a:gd name="connsiteX21" fmla="*/ 90082 w 98597"/>
                <a:gd name="connsiteY21" fmla="*/ 147896 h 152377"/>
                <a:gd name="connsiteX22" fmla="*/ 8515 w 98597"/>
                <a:gd name="connsiteY22" fmla="*/ 147896 h 152377"/>
                <a:gd name="connsiteX23" fmla="*/ 4482 w 98597"/>
                <a:gd name="connsiteY23" fmla="*/ 143863 h 152377"/>
                <a:gd name="connsiteX24" fmla="*/ 4482 w 98597"/>
                <a:gd name="connsiteY24" fmla="*/ 98597 h 152377"/>
                <a:gd name="connsiteX25" fmla="*/ 94116 w 98597"/>
                <a:gd name="connsiteY25" fmla="*/ 98597 h 152377"/>
                <a:gd name="connsiteX26" fmla="*/ 94116 w 98597"/>
                <a:gd name="connsiteY26" fmla="*/ 143863 h 152377"/>
                <a:gd name="connsiteX27" fmla="*/ 90082 w 98597"/>
                <a:gd name="connsiteY27"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8597" h="152377">
                  <a:moveTo>
                    <a:pt x="90082" y="0"/>
                  </a:moveTo>
                  <a:lnTo>
                    <a:pt x="8515" y="0"/>
                  </a:lnTo>
                  <a:cubicBezTo>
                    <a:pt x="3585" y="0"/>
                    <a:pt x="0" y="4034"/>
                    <a:pt x="0" y="8515"/>
                  </a:cubicBezTo>
                  <a:lnTo>
                    <a:pt x="0" y="143863"/>
                  </a:lnTo>
                  <a:cubicBezTo>
                    <a:pt x="0" y="148793"/>
                    <a:pt x="4033" y="152378"/>
                    <a:pt x="8515" y="152378"/>
                  </a:cubicBezTo>
                  <a:lnTo>
                    <a:pt x="90082" y="152378"/>
                  </a:lnTo>
                  <a:cubicBezTo>
                    <a:pt x="95012" y="152378"/>
                    <a:pt x="98597" y="148344"/>
                    <a:pt x="98597" y="143863"/>
                  </a:cubicBezTo>
                  <a:lnTo>
                    <a:pt x="98597" y="8515"/>
                  </a:lnTo>
                  <a:cubicBezTo>
                    <a:pt x="98597" y="3585"/>
                    <a:pt x="94564" y="0"/>
                    <a:pt x="90082" y="0"/>
                  </a:cubicBezTo>
                  <a:close/>
                  <a:moveTo>
                    <a:pt x="4482" y="31372"/>
                  </a:moveTo>
                  <a:lnTo>
                    <a:pt x="94116" y="31372"/>
                  </a:lnTo>
                  <a:lnTo>
                    <a:pt x="94116" y="93668"/>
                  </a:lnTo>
                  <a:lnTo>
                    <a:pt x="4482" y="93668"/>
                  </a:lnTo>
                  <a:lnTo>
                    <a:pt x="4482" y="31372"/>
                  </a:lnTo>
                  <a:close/>
                  <a:moveTo>
                    <a:pt x="8515" y="4482"/>
                  </a:moveTo>
                  <a:lnTo>
                    <a:pt x="90082" y="4482"/>
                  </a:lnTo>
                  <a:cubicBezTo>
                    <a:pt x="92323" y="4482"/>
                    <a:pt x="94116" y="6274"/>
                    <a:pt x="94116" y="8515"/>
                  </a:cubicBezTo>
                  <a:lnTo>
                    <a:pt x="94116" y="26890"/>
                  </a:lnTo>
                  <a:lnTo>
                    <a:pt x="4482" y="26890"/>
                  </a:lnTo>
                  <a:lnTo>
                    <a:pt x="4482" y="8515"/>
                  </a:lnTo>
                  <a:cubicBezTo>
                    <a:pt x="4482" y="6274"/>
                    <a:pt x="6274" y="4482"/>
                    <a:pt x="8515" y="4482"/>
                  </a:cubicBezTo>
                  <a:close/>
                  <a:moveTo>
                    <a:pt x="90082" y="147896"/>
                  </a:moveTo>
                  <a:lnTo>
                    <a:pt x="8515" y="147896"/>
                  </a:lnTo>
                  <a:cubicBezTo>
                    <a:pt x="6274" y="147896"/>
                    <a:pt x="4482" y="146104"/>
                    <a:pt x="4482" y="143863"/>
                  </a:cubicBezTo>
                  <a:lnTo>
                    <a:pt x="4482" y="98597"/>
                  </a:lnTo>
                  <a:lnTo>
                    <a:pt x="94116" y="98597"/>
                  </a:lnTo>
                  <a:lnTo>
                    <a:pt x="94116" y="143863"/>
                  </a:lnTo>
                  <a:cubicBezTo>
                    <a:pt x="94116" y="145655"/>
                    <a:pt x="92323" y="147896"/>
                    <a:pt x="90082" y="147896"/>
                  </a:cubicBezTo>
                  <a:close/>
                </a:path>
              </a:pathLst>
            </a:custGeom>
            <a:solidFill>
              <a:srgbClr val="231F20"/>
            </a:solidFill>
            <a:ln w="4477" cap="flat">
              <a:noFill/>
              <a:prstDash val="solid"/>
              <a:miter/>
            </a:ln>
          </p:spPr>
          <p:txBody>
            <a:bodyPr rtlCol="0" anchor="ctr"/>
            <a:lstStyle/>
            <a:p>
              <a:endParaRPr lang="en-US"/>
            </a:p>
          </p:txBody>
        </p:sp>
        <p:sp>
          <p:nvSpPr>
            <p:cNvPr id="5416" name="Freeform: Shape 5415">
              <a:extLst>
                <a:ext uri="{FF2B5EF4-FFF2-40B4-BE49-F238E27FC236}">
                  <a16:creationId xmlns:a16="http://schemas.microsoft.com/office/drawing/2014/main" id="{2FD41C35-6659-48C9-9412-0CFFFD5BC66A}"/>
                </a:ext>
              </a:extLst>
            </p:cNvPr>
            <p:cNvSpPr/>
            <p:nvPr/>
          </p:nvSpPr>
          <p:spPr>
            <a:xfrm>
              <a:off x="11547564" y="1774962"/>
              <a:ext cx="4482" cy="4482"/>
            </a:xfrm>
            <a:custGeom>
              <a:avLst/>
              <a:gdLst>
                <a:gd name="connsiteX0" fmla="*/ 1792 w 0"/>
                <a:gd name="connsiteY0" fmla="*/ 4706 h 4481"/>
                <a:gd name="connsiteX1" fmla="*/ 3585 w 0"/>
                <a:gd name="connsiteY1" fmla="*/ 4258 h 4481"/>
                <a:gd name="connsiteX2" fmla="*/ 4033 w 0"/>
                <a:gd name="connsiteY2" fmla="*/ 2465 h 4481"/>
                <a:gd name="connsiteX3" fmla="*/ 3585 w 0"/>
                <a:gd name="connsiteY3" fmla="*/ 672 h 4481"/>
                <a:gd name="connsiteX4" fmla="*/ 448 w 0"/>
                <a:gd name="connsiteY4" fmla="*/ 672 h 4481"/>
                <a:gd name="connsiteX5" fmla="*/ 0 w 0"/>
                <a:gd name="connsiteY5" fmla="*/ 2465 h 4481"/>
                <a:gd name="connsiteX6" fmla="*/ 448 w 0"/>
                <a:gd name="connsiteY6" fmla="*/ 4258 h 4481"/>
                <a:gd name="connsiteX7" fmla="*/ 1792 w 0"/>
                <a:gd name="connsiteY7" fmla="*/ 4706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81">
                  <a:moveTo>
                    <a:pt x="1792" y="4706"/>
                  </a:moveTo>
                  <a:cubicBezTo>
                    <a:pt x="2241" y="4706"/>
                    <a:pt x="3137" y="4258"/>
                    <a:pt x="3585" y="4258"/>
                  </a:cubicBezTo>
                  <a:cubicBezTo>
                    <a:pt x="4033" y="3809"/>
                    <a:pt x="4033" y="3361"/>
                    <a:pt x="4033" y="2465"/>
                  </a:cubicBezTo>
                  <a:cubicBezTo>
                    <a:pt x="4033" y="2017"/>
                    <a:pt x="3585" y="1120"/>
                    <a:pt x="3585" y="672"/>
                  </a:cubicBezTo>
                  <a:cubicBezTo>
                    <a:pt x="2689" y="-224"/>
                    <a:pt x="1344" y="-224"/>
                    <a:pt x="448" y="672"/>
                  </a:cubicBezTo>
                  <a:cubicBezTo>
                    <a:pt x="0" y="1120"/>
                    <a:pt x="0" y="1569"/>
                    <a:pt x="0" y="2465"/>
                  </a:cubicBezTo>
                  <a:cubicBezTo>
                    <a:pt x="0" y="2913"/>
                    <a:pt x="448" y="3809"/>
                    <a:pt x="448" y="4258"/>
                  </a:cubicBezTo>
                  <a:cubicBezTo>
                    <a:pt x="896" y="4258"/>
                    <a:pt x="1344" y="4706"/>
                    <a:pt x="1792" y="4706"/>
                  </a:cubicBezTo>
                  <a:close/>
                </a:path>
              </a:pathLst>
            </a:custGeom>
            <a:solidFill>
              <a:srgbClr val="231F20"/>
            </a:solidFill>
            <a:ln w="4477" cap="flat">
              <a:noFill/>
              <a:prstDash val="solid"/>
              <a:miter/>
            </a:ln>
          </p:spPr>
          <p:txBody>
            <a:bodyPr rtlCol="0" anchor="ctr"/>
            <a:lstStyle/>
            <a:p>
              <a:endParaRPr lang="en-US"/>
            </a:p>
          </p:txBody>
        </p:sp>
        <p:sp>
          <p:nvSpPr>
            <p:cNvPr id="5417" name="Freeform: Shape 5416">
              <a:extLst>
                <a:ext uri="{FF2B5EF4-FFF2-40B4-BE49-F238E27FC236}">
                  <a16:creationId xmlns:a16="http://schemas.microsoft.com/office/drawing/2014/main" id="{60B89B8F-EB12-4C51-9A84-5717ACA5E637}"/>
                </a:ext>
              </a:extLst>
            </p:cNvPr>
            <p:cNvSpPr/>
            <p:nvPr/>
          </p:nvSpPr>
          <p:spPr>
            <a:xfrm>
              <a:off x="11513951" y="1819555"/>
              <a:ext cx="4482" cy="26890"/>
            </a:xfrm>
            <a:custGeom>
              <a:avLst/>
              <a:gdLst>
                <a:gd name="connsiteX0" fmla="*/ 2241 w 4481"/>
                <a:gd name="connsiteY0" fmla="*/ 0 h 26890"/>
                <a:gd name="connsiteX1" fmla="*/ 0 w 4481"/>
                <a:gd name="connsiteY1" fmla="*/ 2241 h 26890"/>
                <a:gd name="connsiteX2" fmla="*/ 0 w 4481"/>
                <a:gd name="connsiteY2" fmla="*/ 27787 h 26890"/>
                <a:gd name="connsiteX3" fmla="*/ 2241 w 4481"/>
                <a:gd name="connsiteY3" fmla="*/ 30027 h 26890"/>
                <a:gd name="connsiteX4" fmla="*/ 4482 w 4481"/>
                <a:gd name="connsiteY4" fmla="*/ 27787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787"/>
                  </a:lnTo>
                  <a:cubicBezTo>
                    <a:pt x="0" y="29131"/>
                    <a:pt x="896" y="30027"/>
                    <a:pt x="2241" y="30027"/>
                  </a:cubicBezTo>
                  <a:cubicBezTo>
                    <a:pt x="3585" y="30027"/>
                    <a:pt x="4482" y="29131"/>
                    <a:pt x="4482" y="2778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5418" name="Freeform: Shape 5417">
              <a:extLst>
                <a:ext uri="{FF2B5EF4-FFF2-40B4-BE49-F238E27FC236}">
                  <a16:creationId xmlns:a16="http://schemas.microsoft.com/office/drawing/2014/main" id="{D9F749FE-B59E-4E84-8583-E0D9F93B4179}"/>
                </a:ext>
              </a:extLst>
            </p:cNvPr>
            <p:cNvSpPr/>
            <p:nvPr/>
          </p:nvSpPr>
          <p:spPr>
            <a:xfrm>
              <a:off x="11513951" y="1864372"/>
              <a:ext cx="4482" cy="26890"/>
            </a:xfrm>
            <a:custGeom>
              <a:avLst/>
              <a:gdLst>
                <a:gd name="connsiteX0" fmla="*/ 2241 w 4481"/>
                <a:gd name="connsiteY0" fmla="*/ 0 h 26890"/>
                <a:gd name="connsiteX1" fmla="*/ 0 w 4481"/>
                <a:gd name="connsiteY1" fmla="*/ 2241 h 26890"/>
                <a:gd name="connsiteX2" fmla="*/ 0 w 4481"/>
                <a:gd name="connsiteY2" fmla="*/ 27787 h 26890"/>
                <a:gd name="connsiteX3" fmla="*/ 2241 w 4481"/>
                <a:gd name="connsiteY3" fmla="*/ 30027 h 26890"/>
                <a:gd name="connsiteX4" fmla="*/ 4482 w 4481"/>
                <a:gd name="connsiteY4" fmla="*/ 27787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787"/>
                  </a:lnTo>
                  <a:cubicBezTo>
                    <a:pt x="0" y="29131"/>
                    <a:pt x="896" y="30027"/>
                    <a:pt x="2241" y="30027"/>
                  </a:cubicBezTo>
                  <a:cubicBezTo>
                    <a:pt x="3585" y="30027"/>
                    <a:pt x="4482" y="29131"/>
                    <a:pt x="4482" y="2778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sp>
        <p:nvSpPr>
          <p:cNvPr id="2476" name="Freeform: Shape 2475">
            <a:extLst>
              <a:ext uri="{FF2B5EF4-FFF2-40B4-BE49-F238E27FC236}">
                <a16:creationId xmlns:a16="http://schemas.microsoft.com/office/drawing/2014/main" id="{57E87298-B025-45B0-BBE6-338F5969AA3B}"/>
              </a:ext>
              <a:ext uri="{C183D7F6-B498-43B3-948B-1728B52AA6E4}">
                <adec:decorative xmlns:adec="http://schemas.microsoft.com/office/drawing/2017/decorative" val="1"/>
              </a:ext>
            </a:extLst>
          </p:cNvPr>
          <p:cNvSpPr>
            <a:spLocks noChangeAspect="1"/>
          </p:cNvSpPr>
          <p:nvPr/>
        </p:nvSpPr>
        <p:spPr>
          <a:xfrm>
            <a:off x="8534933" y="4528679"/>
            <a:ext cx="152378" cy="138933"/>
          </a:xfrm>
          <a:custGeom>
            <a:avLst/>
            <a:gdLst>
              <a:gd name="connsiteX0" fmla="*/ 109353 w 152377"/>
              <a:gd name="connsiteY0" fmla="*/ 0 h 138932"/>
              <a:gd name="connsiteX1" fmla="*/ 77085 w 152377"/>
              <a:gd name="connsiteY1" fmla="*/ 15686 h 138932"/>
              <a:gd name="connsiteX2" fmla="*/ 76189 w 152377"/>
              <a:gd name="connsiteY2" fmla="*/ 17031 h 138932"/>
              <a:gd name="connsiteX3" fmla="*/ 75293 w 152377"/>
              <a:gd name="connsiteY3" fmla="*/ 15686 h 138932"/>
              <a:gd name="connsiteX4" fmla="*/ 43024 w 152377"/>
              <a:gd name="connsiteY4" fmla="*/ 0 h 138932"/>
              <a:gd name="connsiteX5" fmla="*/ 0 w 152377"/>
              <a:gd name="connsiteY5" fmla="*/ 43921 h 138932"/>
              <a:gd name="connsiteX6" fmla="*/ 12101 w 152377"/>
              <a:gd name="connsiteY6" fmla="*/ 74844 h 138932"/>
              <a:gd name="connsiteX7" fmla="*/ 74396 w 152377"/>
              <a:gd name="connsiteY7" fmla="*/ 138485 h 138932"/>
              <a:gd name="connsiteX8" fmla="*/ 76189 w 152377"/>
              <a:gd name="connsiteY8" fmla="*/ 138933 h 138932"/>
              <a:gd name="connsiteX9" fmla="*/ 77982 w 152377"/>
              <a:gd name="connsiteY9" fmla="*/ 138485 h 138932"/>
              <a:gd name="connsiteX10" fmla="*/ 140277 w 152377"/>
              <a:gd name="connsiteY10" fmla="*/ 74844 h 138932"/>
              <a:gd name="connsiteX11" fmla="*/ 152378 w 152377"/>
              <a:gd name="connsiteY11" fmla="*/ 44369 h 138932"/>
              <a:gd name="connsiteX12" fmla="*/ 109353 w 152377"/>
              <a:gd name="connsiteY12" fmla="*/ 0 h 138932"/>
              <a:gd name="connsiteX13" fmla="*/ 43024 w 152377"/>
              <a:gd name="connsiteY13" fmla="*/ 4482 h 138932"/>
              <a:gd name="connsiteX14" fmla="*/ 71707 w 152377"/>
              <a:gd name="connsiteY14" fmla="*/ 18823 h 138932"/>
              <a:gd name="connsiteX15" fmla="*/ 74396 w 152377"/>
              <a:gd name="connsiteY15" fmla="*/ 21960 h 138932"/>
              <a:gd name="connsiteX16" fmla="*/ 77982 w 152377"/>
              <a:gd name="connsiteY16" fmla="*/ 21960 h 138932"/>
              <a:gd name="connsiteX17" fmla="*/ 80671 w 152377"/>
              <a:gd name="connsiteY17" fmla="*/ 18823 h 138932"/>
              <a:gd name="connsiteX18" fmla="*/ 109353 w 152377"/>
              <a:gd name="connsiteY18" fmla="*/ 4482 h 138932"/>
              <a:gd name="connsiteX19" fmla="*/ 147896 w 152377"/>
              <a:gd name="connsiteY19" fmla="*/ 43921 h 138932"/>
              <a:gd name="connsiteX20" fmla="*/ 140277 w 152377"/>
              <a:gd name="connsiteY20" fmla="*/ 67226 h 138932"/>
              <a:gd name="connsiteX21" fmla="*/ 111146 w 152377"/>
              <a:gd name="connsiteY21" fmla="*/ 67226 h 138932"/>
              <a:gd name="connsiteX22" fmla="*/ 103975 w 152377"/>
              <a:gd name="connsiteY22" fmla="*/ 49299 h 138932"/>
              <a:gd name="connsiteX23" fmla="*/ 101735 w 152377"/>
              <a:gd name="connsiteY23" fmla="*/ 47954 h 138932"/>
              <a:gd name="connsiteX24" fmla="*/ 99494 w 152377"/>
              <a:gd name="connsiteY24" fmla="*/ 49747 h 138932"/>
              <a:gd name="connsiteX25" fmla="*/ 88289 w 152377"/>
              <a:gd name="connsiteY25" fmla="*/ 91427 h 138932"/>
              <a:gd name="connsiteX26" fmla="*/ 77085 w 152377"/>
              <a:gd name="connsiteY26" fmla="*/ 31372 h 138932"/>
              <a:gd name="connsiteX27" fmla="*/ 75293 w 152377"/>
              <a:gd name="connsiteY27" fmla="*/ 29579 h 138932"/>
              <a:gd name="connsiteX28" fmla="*/ 73052 w 152377"/>
              <a:gd name="connsiteY28" fmla="*/ 30924 h 138932"/>
              <a:gd name="connsiteX29" fmla="*/ 58262 w 152377"/>
              <a:gd name="connsiteY29" fmla="*/ 69915 h 138932"/>
              <a:gd name="connsiteX30" fmla="*/ 51988 w 152377"/>
              <a:gd name="connsiteY30" fmla="*/ 52436 h 138932"/>
              <a:gd name="connsiteX31" fmla="*/ 50195 w 152377"/>
              <a:gd name="connsiteY31" fmla="*/ 51091 h 138932"/>
              <a:gd name="connsiteX32" fmla="*/ 47954 w 152377"/>
              <a:gd name="connsiteY32" fmla="*/ 51988 h 138932"/>
              <a:gd name="connsiteX33" fmla="*/ 38991 w 152377"/>
              <a:gd name="connsiteY33" fmla="*/ 67226 h 138932"/>
              <a:gd name="connsiteX34" fmla="*/ 11204 w 152377"/>
              <a:gd name="connsiteY34" fmla="*/ 67226 h 138932"/>
              <a:gd name="connsiteX35" fmla="*/ 3585 w 152377"/>
              <a:gd name="connsiteY35" fmla="*/ 43921 h 138932"/>
              <a:gd name="connsiteX36" fmla="*/ 43024 w 152377"/>
              <a:gd name="connsiteY36" fmla="*/ 4482 h 138932"/>
              <a:gd name="connsiteX37" fmla="*/ 76189 w 152377"/>
              <a:gd name="connsiteY37" fmla="*/ 133555 h 138932"/>
              <a:gd name="connsiteX38" fmla="*/ 15686 w 152377"/>
              <a:gd name="connsiteY38" fmla="*/ 71707 h 138932"/>
              <a:gd name="connsiteX39" fmla="*/ 40783 w 152377"/>
              <a:gd name="connsiteY39" fmla="*/ 71707 h 138932"/>
              <a:gd name="connsiteX40" fmla="*/ 42576 w 152377"/>
              <a:gd name="connsiteY40" fmla="*/ 70363 h 138932"/>
              <a:gd name="connsiteX41" fmla="*/ 49747 w 152377"/>
              <a:gd name="connsiteY41" fmla="*/ 58262 h 138932"/>
              <a:gd name="connsiteX42" fmla="*/ 56469 w 152377"/>
              <a:gd name="connsiteY42" fmla="*/ 77085 h 138932"/>
              <a:gd name="connsiteX43" fmla="*/ 58710 w 152377"/>
              <a:gd name="connsiteY43" fmla="*/ 78430 h 138932"/>
              <a:gd name="connsiteX44" fmla="*/ 60951 w 152377"/>
              <a:gd name="connsiteY44" fmla="*/ 77085 h 138932"/>
              <a:gd name="connsiteX45" fmla="*/ 74844 w 152377"/>
              <a:gd name="connsiteY45" fmla="*/ 39887 h 138932"/>
              <a:gd name="connsiteX46" fmla="*/ 86049 w 152377"/>
              <a:gd name="connsiteY46" fmla="*/ 102183 h 138932"/>
              <a:gd name="connsiteX47" fmla="*/ 88289 w 152377"/>
              <a:gd name="connsiteY47" fmla="*/ 103976 h 138932"/>
              <a:gd name="connsiteX48" fmla="*/ 88289 w 152377"/>
              <a:gd name="connsiteY48" fmla="*/ 103976 h 138932"/>
              <a:gd name="connsiteX49" fmla="*/ 90530 w 152377"/>
              <a:gd name="connsiteY49" fmla="*/ 102183 h 138932"/>
              <a:gd name="connsiteX50" fmla="*/ 102631 w 152377"/>
              <a:gd name="connsiteY50" fmla="*/ 57366 h 138932"/>
              <a:gd name="connsiteX51" fmla="*/ 107561 w 152377"/>
              <a:gd name="connsiteY51" fmla="*/ 70363 h 138932"/>
              <a:gd name="connsiteX52" fmla="*/ 109802 w 152377"/>
              <a:gd name="connsiteY52" fmla="*/ 71707 h 138932"/>
              <a:gd name="connsiteX53" fmla="*/ 136692 w 152377"/>
              <a:gd name="connsiteY53" fmla="*/ 71707 h 138932"/>
              <a:gd name="connsiteX54" fmla="*/ 76189 w 152377"/>
              <a:gd name="connsiteY54" fmla="*/ 133555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52377" h="138932">
                <a:moveTo>
                  <a:pt x="109353" y="0"/>
                </a:moveTo>
                <a:cubicBezTo>
                  <a:pt x="97701" y="0"/>
                  <a:pt x="86049" y="5826"/>
                  <a:pt x="77085" y="15686"/>
                </a:cubicBezTo>
                <a:lnTo>
                  <a:pt x="76189" y="17031"/>
                </a:lnTo>
                <a:lnTo>
                  <a:pt x="75293" y="15686"/>
                </a:lnTo>
                <a:cubicBezTo>
                  <a:pt x="66777" y="5826"/>
                  <a:pt x="54677" y="0"/>
                  <a:pt x="43024" y="0"/>
                </a:cubicBezTo>
                <a:cubicBezTo>
                  <a:pt x="19271" y="0"/>
                  <a:pt x="0" y="19719"/>
                  <a:pt x="0" y="43921"/>
                </a:cubicBezTo>
                <a:cubicBezTo>
                  <a:pt x="0" y="55573"/>
                  <a:pt x="4482" y="66329"/>
                  <a:pt x="12101" y="74844"/>
                </a:cubicBezTo>
                <a:lnTo>
                  <a:pt x="74396" y="138485"/>
                </a:lnTo>
                <a:cubicBezTo>
                  <a:pt x="74844" y="138933"/>
                  <a:pt x="75293" y="138933"/>
                  <a:pt x="76189" y="138933"/>
                </a:cubicBezTo>
                <a:cubicBezTo>
                  <a:pt x="77085" y="138933"/>
                  <a:pt x="77533" y="138485"/>
                  <a:pt x="77982" y="138485"/>
                </a:cubicBezTo>
                <a:lnTo>
                  <a:pt x="140277" y="74844"/>
                </a:lnTo>
                <a:cubicBezTo>
                  <a:pt x="148344" y="66777"/>
                  <a:pt x="152378" y="55573"/>
                  <a:pt x="152378" y="44369"/>
                </a:cubicBezTo>
                <a:cubicBezTo>
                  <a:pt x="152378" y="19719"/>
                  <a:pt x="133106" y="0"/>
                  <a:pt x="109353" y="0"/>
                </a:cubicBezTo>
                <a:close/>
                <a:moveTo>
                  <a:pt x="43024" y="4482"/>
                </a:moveTo>
                <a:cubicBezTo>
                  <a:pt x="53332" y="4482"/>
                  <a:pt x="64088" y="9860"/>
                  <a:pt x="71707" y="18823"/>
                </a:cubicBezTo>
                <a:lnTo>
                  <a:pt x="74396" y="21960"/>
                </a:lnTo>
                <a:cubicBezTo>
                  <a:pt x="75293" y="22857"/>
                  <a:pt x="77085" y="22857"/>
                  <a:pt x="77982" y="21960"/>
                </a:cubicBezTo>
                <a:lnTo>
                  <a:pt x="80671" y="18823"/>
                </a:lnTo>
                <a:cubicBezTo>
                  <a:pt x="88738" y="9860"/>
                  <a:pt x="99046" y="4482"/>
                  <a:pt x="109353" y="4482"/>
                </a:cubicBezTo>
                <a:cubicBezTo>
                  <a:pt x="130417" y="4482"/>
                  <a:pt x="147896" y="21960"/>
                  <a:pt x="147896" y="43921"/>
                </a:cubicBezTo>
                <a:cubicBezTo>
                  <a:pt x="147896" y="52436"/>
                  <a:pt x="145207" y="60503"/>
                  <a:pt x="140277" y="67226"/>
                </a:cubicBezTo>
                <a:lnTo>
                  <a:pt x="111146" y="67226"/>
                </a:lnTo>
                <a:lnTo>
                  <a:pt x="103975" y="49299"/>
                </a:lnTo>
                <a:cubicBezTo>
                  <a:pt x="103527" y="48402"/>
                  <a:pt x="102631" y="47954"/>
                  <a:pt x="101735" y="47954"/>
                </a:cubicBezTo>
                <a:cubicBezTo>
                  <a:pt x="100838" y="47954"/>
                  <a:pt x="99942" y="48851"/>
                  <a:pt x="99494" y="49747"/>
                </a:cubicBezTo>
                <a:lnTo>
                  <a:pt x="88289" y="91427"/>
                </a:lnTo>
                <a:lnTo>
                  <a:pt x="77085" y="31372"/>
                </a:lnTo>
                <a:cubicBezTo>
                  <a:pt x="77085" y="30476"/>
                  <a:pt x="76189" y="29579"/>
                  <a:pt x="75293" y="29579"/>
                </a:cubicBezTo>
                <a:cubicBezTo>
                  <a:pt x="74396" y="29579"/>
                  <a:pt x="73500" y="30027"/>
                  <a:pt x="73052" y="30924"/>
                </a:cubicBezTo>
                <a:lnTo>
                  <a:pt x="58262" y="69915"/>
                </a:lnTo>
                <a:lnTo>
                  <a:pt x="51988" y="52436"/>
                </a:lnTo>
                <a:cubicBezTo>
                  <a:pt x="51540" y="51540"/>
                  <a:pt x="51091" y="51091"/>
                  <a:pt x="50195" y="51091"/>
                </a:cubicBezTo>
                <a:cubicBezTo>
                  <a:pt x="49299" y="51091"/>
                  <a:pt x="48402" y="51540"/>
                  <a:pt x="47954" y="51988"/>
                </a:cubicBezTo>
                <a:lnTo>
                  <a:pt x="38991" y="67226"/>
                </a:lnTo>
                <a:lnTo>
                  <a:pt x="11204" y="67226"/>
                </a:lnTo>
                <a:cubicBezTo>
                  <a:pt x="6274" y="60503"/>
                  <a:pt x="3585" y="52436"/>
                  <a:pt x="3585" y="43921"/>
                </a:cubicBezTo>
                <a:cubicBezTo>
                  <a:pt x="4482" y="22409"/>
                  <a:pt x="21512" y="4482"/>
                  <a:pt x="43024" y="4482"/>
                </a:cubicBezTo>
                <a:close/>
                <a:moveTo>
                  <a:pt x="76189" y="133555"/>
                </a:moveTo>
                <a:lnTo>
                  <a:pt x="15686" y="71707"/>
                </a:lnTo>
                <a:lnTo>
                  <a:pt x="40783" y="71707"/>
                </a:lnTo>
                <a:cubicBezTo>
                  <a:pt x="41680" y="71707"/>
                  <a:pt x="42128" y="71259"/>
                  <a:pt x="42576" y="70363"/>
                </a:cubicBezTo>
                <a:lnTo>
                  <a:pt x="49747" y="58262"/>
                </a:lnTo>
                <a:lnTo>
                  <a:pt x="56469" y="77085"/>
                </a:lnTo>
                <a:cubicBezTo>
                  <a:pt x="56918" y="77982"/>
                  <a:pt x="57814" y="78430"/>
                  <a:pt x="58710" y="78430"/>
                </a:cubicBezTo>
                <a:cubicBezTo>
                  <a:pt x="59607" y="78430"/>
                  <a:pt x="60503" y="77982"/>
                  <a:pt x="60951" y="77085"/>
                </a:cubicBezTo>
                <a:lnTo>
                  <a:pt x="74844" y="39887"/>
                </a:lnTo>
                <a:lnTo>
                  <a:pt x="86049" y="102183"/>
                </a:lnTo>
                <a:cubicBezTo>
                  <a:pt x="86049" y="103079"/>
                  <a:pt x="86945" y="103976"/>
                  <a:pt x="88289" y="103976"/>
                </a:cubicBezTo>
                <a:cubicBezTo>
                  <a:pt x="88289" y="103976"/>
                  <a:pt x="88289" y="103976"/>
                  <a:pt x="88289" y="103976"/>
                </a:cubicBezTo>
                <a:cubicBezTo>
                  <a:pt x="89186" y="103976"/>
                  <a:pt x="90082" y="103079"/>
                  <a:pt x="90530" y="102183"/>
                </a:cubicBezTo>
                <a:lnTo>
                  <a:pt x="102631" y="57366"/>
                </a:lnTo>
                <a:lnTo>
                  <a:pt x="107561" y="70363"/>
                </a:lnTo>
                <a:cubicBezTo>
                  <a:pt x="108009" y="71259"/>
                  <a:pt x="108905" y="71707"/>
                  <a:pt x="109802" y="71707"/>
                </a:cubicBezTo>
                <a:lnTo>
                  <a:pt x="136692" y="71707"/>
                </a:lnTo>
                <a:lnTo>
                  <a:pt x="76189" y="133555"/>
                </a:lnTo>
                <a:close/>
              </a:path>
            </a:pathLst>
          </a:custGeom>
          <a:solidFill>
            <a:srgbClr val="231F20"/>
          </a:solidFill>
          <a:ln w="4477" cap="flat">
            <a:noFill/>
            <a:prstDash val="solid"/>
            <a:miter/>
          </a:ln>
        </p:spPr>
        <p:txBody>
          <a:bodyPr rtlCol="0" anchor="ctr"/>
          <a:lstStyle/>
          <a:p>
            <a:endParaRPr lang="en-US"/>
          </a:p>
        </p:txBody>
      </p:sp>
      <p:grpSp>
        <p:nvGrpSpPr>
          <p:cNvPr id="2477" name="Group 2476">
            <a:extLst>
              <a:ext uri="{FF2B5EF4-FFF2-40B4-BE49-F238E27FC236}">
                <a16:creationId xmlns:a16="http://schemas.microsoft.com/office/drawing/2014/main" id="{63F48781-A7D8-4BB5-A761-241DD723A891}"/>
              </a:ext>
              <a:ext uri="{C183D7F6-B498-43B3-948B-1728B52AA6E4}">
                <adec:decorative xmlns:adec="http://schemas.microsoft.com/office/drawing/2017/decorative" val="1"/>
              </a:ext>
            </a:extLst>
          </p:cNvPr>
          <p:cNvGrpSpPr>
            <a:grpSpLocks noChangeAspect="1"/>
          </p:cNvGrpSpPr>
          <p:nvPr/>
        </p:nvGrpSpPr>
        <p:grpSpPr>
          <a:xfrm>
            <a:off x="9374804" y="4501788"/>
            <a:ext cx="44817" cy="165824"/>
            <a:chOff x="9431304" y="2446097"/>
            <a:chExt cx="44817" cy="165824"/>
          </a:xfrm>
        </p:grpSpPr>
        <p:sp>
          <p:nvSpPr>
            <p:cNvPr id="5412" name="Freeform: Shape 5411">
              <a:extLst>
                <a:ext uri="{FF2B5EF4-FFF2-40B4-BE49-F238E27FC236}">
                  <a16:creationId xmlns:a16="http://schemas.microsoft.com/office/drawing/2014/main" id="{0885FF9C-C788-4515-BCD0-68313F5AEE1F}"/>
                </a:ext>
              </a:extLst>
            </p:cNvPr>
            <p:cNvSpPr/>
            <p:nvPr/>
          </p:nvSpPr>
          <p:spPr>
            <a:xfrm>
              <a:off x="9431304" y="2486433"/>
              <a:ext cx="44817" cy="125488"/>
            </a:xfrm>
            <a:custGeom>
              <a:avLst/>
              <a:gdLst>
                <a:gd name="connsiteX0" fmla="*/ 42576 w 44817"/>
                <a:gd name="connsiteY0" fmla="*/ 0 h 125487"/>
                <a:gd name="connsiteX1" fmla="*/ 2241 w 44817"/>
                <a:gd name="connsiteY1" fmla="*/ 0 h 125487"/>
                <a:gd name="connsiteX2" fmla="*/ 0 w 44817"/>
                <a:gd name="connsiteY2" fmla="*/ 2241 h 125487"/>
                <a:gd name="connsiteX3" fmla="*/ 0 w 44817"/>
                <a:gd name="connsiteY3" fmla="*/ 106665 h 125487"/>
                <a:gd name="connsiteX4" fmla="*/ 22409 w 44817"/>
                <a:gd name="connsiteY4" fmla="*/ 125936 h 125487"/>
                <a:gd name="connsiteX5" fmla="*/ 44817 w 44817"/>
                <a:gd name="connsiteY5" fmla="*/ 106665 h 125487"/>
                <a:gd name="connsiteX6" fmla="*/ 44817 w 44817"/>
                <a:gd name="connsiteY6" fmla="*/ 2241 h 125487"/>
                <a:gd name="connsiteX7" fmla="*/ 42576 w 44817"/>
                <a:gd name="connsiteY7" fmla="*/ 0 h 125487"/>
                <a:gd name="connsiteX8" fmla="*/ 40335 w 44817"/>
                <a:gd name="connsiteY8" fmla="*/ 4482 h 125487"/>
                <a:gd name="connsiteX9" fmla="*/ 40335 w 44817"/>
                <a:gd name="connsiteY9" fmla="*/ 51540 h 125487"/>
                <a:gd name="connsiteX10" fmla="*/ 23753 w 44817"/>
                <a:gd name="connsiteY10" fmla="*/ 53780 h 125487"/>
                <a:gd name="connsiteX11" fmla="*/ 4482 w 44817"/>
                <a:gd name="connsiteY11" fmla="*/ 51988 h 125487"/>
                <a:gd name="connsiteX12" fmla="*/ 4482 w 44817"/>
                <a:gd name="connsiteY12" fmla="*/ 4034 h 125487"/>
                <a:gd name="connsiteX13" fmla="*/ 40335 w 44817"/>
                <a:gd name="connsiteY13" fmla="*/ 4034 h 125487"/>
                <a:gd name="connsiteX14" fmla="*/ 22409 w 44817"/>
                <a:gd name="connsiteY14" fmla="*/ 121006 h 125487"/>
                <a:gd name="connsiteX15" fmla="*/ 4482 w 44817"/>
                <a:gd name="connsiteY15" fmla="*/ 106216 h 125487"/>
                <a:gd name="connsiteX16" fmla="*/ 4482 w 44817"/>
                <a:gd name="connsiteY16" fmla="*/ 56918 h 125487"/>
                <a:gd name="connsiteX17" fmla="*/ 21064 w 44817"/>
                <a:gd name="connsiteY17" fmla="*/ 57366 h 125487"/>
                <a:gd name="connsiteX18" fmla="*/ 29579 w 44817"/>
                <a:gd name="connsiteY18" fmla="*/ 60055 h 125487"/>
                <a:gd name="connsiteX19" fmla="*/ 39887 w 44817"/>
                <a:gd name="connsiteY19" fmla="*/ 56918 h 125487"/>
                <a:gd name="connsiteX20" fmla="*/ 39887 w 44817"/>
                <a:gd name="connsiteY20" fmla="*/ 106216 h 125487"/>
                <a:gd name="connsiteX21" fmla="*/ 22409 w 44817"/>
                <a:gd name="connsiteY21" fmla="*/ 121006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817" h="125487">
                  <a:moveTo>
                    <a:pt x="42576" y="0"/>
                  </a:moveTo>
                  <a:lnTo>
                    <a:pt x="2241" y="0"/>
                  </a:lnTo>
                  <a:cubicBezTo>
                    <a:pt x="896" y="0"/>
                    <a:pt x="0" y="896"/>
                    <a:pt x="0" y="2241"/>
                  </a:cubicBezTo>
                  <a:lnTo>
                    <a:pt x="0" y="106665"/>
                  </a:lnTo>
                  <a:cubicBezTo>
                    <a:pt x="0" y="116972"/>
                    <a:pt x="9860" y="125936"/>
                    <a:pt x="22409" y="125936"/>
                  </a:cubicBezTo>
                  <a:cubicBezTo>
                    <a:pt x="34957" y="125936"/>
                    <a:pt x="44817" y="117421"/>
                    <a:pt x="44817" y="106665"/>
                  </a:cubicBezTo>
                  <a:lnTo>
                    <a:pt x="44817" y="2241"/>
                  </a:lnTo>
                  <a:cubicBezTo>
                    <a:pt x="44817" y="896"/>
                    <a:pt x="43921" y="0"/>
                    <a:pt x="42576" y="0"/>
                  </a:cubicBezTo>
                  <a:close/>
                  <a:moveTo>
                    <a:pt x="40335" y="4482"/>
                  </a:moveTo>
                  <a:lnTo>
                    <a:pt x="40335" y="51540"/>
                  </a:lnTo>
                  <a:cubicBezTo>
                    <a:pt x="38094" y="53332"/>
                    <a:pt x="30924" y="58710"/>
                    <a:pt x="23753" y="53780"/>
                  </a:cubicBezTo>
                  <a:cubicBezTo>
                    <a:pt x="16134" y="48851"/>
                    <a:pt x="8963" y="50643"/>
                    <a:pt x="4482" y="51988"/>
                  </a:cubicBezTo>
                  <a:lnTo>
                    <a:pt x="4482" y="4034"/>
                  </a:lnTo>
                  <a:lnTo>
                    <a:pt x="40335" y="4034"/>
                  </a:lnTo>
                  <a:close/>
                  <a:moveTo>
                    <a:pt x="22409" y="121006"/>
                  </a:moveTo>
                  <a:cubicBezTo>
                    <a:pt x="12549" y="121006"/>
                    <a:pt x="4482" y="114283"/>
                    <a:pt x="4482" y="106216"/>
                  </a:cubicBezTo>
                  <a:lnTo>
                    <a:pt x="4482" y="56918"/>
                  </a:lnTo>
                  <a:cubicBezTo>
                    <a:pt x="7171" y="55573"/>
                    <a:pt x="13893" y="52884"/>
                    <a:pt x="21064" y="57366"/>
                  </a:cubicBezTo>
                  <a:cubicBezTo>
                    <a:pt x="23753" y="59159"/>
                    <a:pt x="26890" y="60055"/>
                    <a:pt x="29579" y="60055"/>
                  </a:cubicBezTo>
                  <a:cubicBezTo>
                    <a:pt x="33613" y="60055"/>
                    <a:pt x="37198" y="58710"/>
                    <a:pt x="39887" y="56918"/>
                  </a:cubicBezTo>
                  <a:lnTo>
                    <a:pt x="39887" y="106216"/>
                  </a:lnTo>
                  <a:cubicBezTo>
                    <a:pt x="40335" y="114732"/>
                    <a:pt x="32268" y="121006"/>
                    <a:pt x="22409" y="121006"/>
                  </a:cubicBezTo>
                  <a:close/>
                </a:path>
              </a:pathLst>
            </a:custGeom>
            <a:solidFill>
              <a:srgbClr val="231F20"/>
            </a:solidFill>
            <a:ln w="4477" cap="flat">
              <a:noFill/>
              <a:prstDash val="solid"/>
              <a:miter/>
            </a:ln>
          </p:spPr>
          <p:txBody>
            <a:bodyPr rtlCol="0" anchor="ctr"/>
            <a:lstStyle/>
            <a:p>
              <a:endParaRPr lang="en-US"/>
            </a:p>
          </p:txBody>
        </p:sp>
        <p:sp>
          <p:nvSpPr>
            <p:cNvPr id="5413" name="Freeform: Shape 5412">
              <a:extLst>
                <a:ext uri="{FF2B5EF4-FFF2-40B4-BE49-F238E27FC236}">
                  <a16:creationId xmlns:a16="http://schemas.microsoft.com/office/drawing/2014/main" id="{296B4BD9-55F7-423F-9329-F0D79AD71EA0}"/>
                </a:ext>
              </a:extLst>
            </p:cNvPr>
            <p:cNvSpPr/>
            <p:nvPr/>
          </p:nvSpPr>
          <p:spPr>
            <a:xfrm>
              <a:off x="9431304" y="2459543"/>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4" y="0"/>
                    <a:pt x="0" y="4034"/>
                    <a:pt x="0" y="8963"/>
                  </a:cubicBezTo>
                  <a:cubicBezTo>
                    <a:pt x="0" y="13893"/>
                    <a:pt x="4034" y="17927"/>
                    <a:pt x="8963" y="17927"/>
                  </a:cubicBezTo>
                  <a:close/>
                  <a:moveTo>
                    <a:pt x="8963" y="4482"/>
                  </a:moveTo>
                  <a:cubicBezTo>
                    <a:pt x="11653" y="4482"/>
                    <a:pt x="13445" y="6274"/>
                    <a:pt x="13445" y="8963"/>
                  </a:cubicBezTo>
                  <a:cubicBezTo>
                    <a:pt x="13445" y="11652"/>
                    <a:pt x="11653" y="13445"/>
                    <a:pt x="8963" y="13445"/>
                  </a:cubicBezTo>
                  <a:cubicBezTo>
                    <a:pt x="6274" y="13445"/>
                    <a:pt x="4482" y="11652"/>
                    <a:pt x="4482" y="8963"/>
                  </a:cubicBezTo>
                  <a:cubicBezTo>
                    <a:pt x="4482" y="6274"/>
                    <a:pt x="6274" y="4482"/>
                    <a:pt x="8963" y="4482"/>
                  </a:cubicBezTo>
                  <a:close/>
                </a:path>
              </a:pathLst>
            </a:custGeom>
            <a:solidFill>
              <a:srgbClr val="231F20"/>
            </a:solidFill>
            <a:ln w="4477" cap="flat">
              <a:noFill/>
              <a:prstDash val="solid"/>
              <a:miter/>
            </a:ln>
          </p:spPr>
          <p:txBody>
            <a:bodyPr rtlCol="0" anchor="ctr"/>
            <a:lstStyle/>
            <a:p>
              <a:endParaRPr lang="en-US"/>
            </a:p>
          </p:txBody>
        </p:sp>
        <p:sp>
          <p:nvSpPr>
            <p:cNvPr id="5414" name="Freeform: Shape 5413">
              <a:extLst>
                <a:ext uri="{FF2B5EF4-FFF2-40B4-BE49-F238E27FC236}">
                  <a16:creationId xmlns:a16="http://schemas.microsoft.com/office/drawing/2014/main" id="{7A325B82-3575-4710-A89B-E37930A94FBD}"/>
                </a:ext>
              </a:extLst>
            </p:cNvPr>
            <p:cNvSpPr/>
            <p:nvPr/>
          </p:nvSpPr>
          <p:spPr>
            <a:xfrm>
              <a:off x="9458194" y="2446097"/>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4" y="0"/>
                    <a:pt x="0" y="4034"/>
                    <a:pt x="0" y="8963"/>
                  </a:cubicBezTo>
                  <a:cubicBezTo>
                    <a:pt x="0" y="13893"/>
                    <a:pt x="4034" y="17927"/>
                    <a:pt x="8963" y="17927"/>
                  </a:cubicBezTo>
                  <a:close/>
                  <a:moveTo>
                    <a:pt x="8963" y="4482"/>
                  </a:moveTo>
                  <a:cubicBezTo>
                    <a:pt x="11653" y="4482"/>
                    <a:pt x="13445" y="6274"/>
                    <a:pt x="13445" y="8963"/>
                  </a:cubicBezTo>
                  <a:cubicBezTo>
                    <a:pt x="13445" y="11652"/>
                    <a:pt x="11653" y="13445"/>
                    <a:pt x="8963" y="13445"/>
                  </a:cubicBezTo>
                  <a:cubicBezTo>
                    <a:pt x="6274" y="13445"/>
                    <a:pt x="4482" y="11652"/>
                    <a:pt x="4482" y="8963"/>
                  </a:cubicBezTo>
                  <a:cubicBezTo>
                    <a:pt x="4482" y="6723"/>
                    <a:pt x="6274" y="4482"/>
                    <a:pt x="8963" y="4482"/>
                  </a:cubicBezTo>
                  <a:close/>
                </a:path>
              </a:pathLst>
            </a:custGeom>
            <a:solidFill>
              <a:srgbClr val="231F20"/>
            </a:solidFill>
            <a:ln w="4477" cap="flat">
              <a:noFill/>
              <a:prstDash val="solid"/>
              <a:miter/>
            </a:ln>
          </p:spPr>
          <p:txBody>
            <a:bodyPr rtlCol="0" anchor="ctr"/>
            <a:lstStyle/>
            <a:p>
              <a:endParaRPr lang="en-US"/>
            </a:p>
          </p:txBody>
        </p:sp>
      </p:grpSp>
      <p:sp>
        <p:nvSpPr>
          <p:cNvPr id="2478" name="Freeform: Shape 2477">
            <a:extLst>
              <a:ext uri="{FF2B5EF4-FFF2-40B4-BE49-F238E27FC236}">
                <a16:creationId xmlns:a16="http://schemas.microsoft.com/office/drawing/2014/main" id="{1403B35C-E87F-4956-8698-737CF3D13F2B}"/>
              </a:ext>
              <a:ext uri="{C183D7F6-B498-43B3-948B-1728B52AA6E4}">
                <adec:decorative xmlns:adec="http://schemas.microsoft.com/office/drawing/2017/decorative" val="1"/>
              </a:ext>
            </a:extLst>
          </p:cNvPr>
          <p:cNvSpPr>
            <a:spLocks noChangeAspect="1"/>
          </p:cNvSpPr>
          <p:nvPr/>
        </p:nvSpPr>
        <p:spPr>
          <a:xfrm>
            <a:off x="9580565" y="4515682"/>
            <a:ext cx="152378" cy="152378"/>
          </a:xfrm>
          <a:custGeom>
            <a:avLst/>
            <a:gdLst>
              <a:gd name="connsiteX0" fmla="*/ 150534 w 152377"/>
              <a:gd name="connsiteY0" fmla="*/ 135796 h 152377"/>
              <a:gd name="connsiteX1" fmla="*/ 98546 w 152377"/>
              <a:gd name="connsiteY1" fmla="*/ 68570 h 152377"/>
              <a:gd name="connsiteX2" fmla="*/ 98546 w 152377"/>
              <a:gd name="connsiteY2" fmla="*/ 4482 h 152377"/>
              <a:gd name="connsiteX3" fmla="*/ 109750 w 152377"/>
              <a:gd name="connsiteY3" fmla="*/ 4482 h 152377"/>
              <a:gd name="connsiteX4" fmla="*/ 111991 w 152377"/>
              <a:gd name="connsiteY4" fmla="*/ 2241 h 152377"/>
              <a:gd name="connsiteX5" fmla="*/ 109750 w 152377"/>
              <a:gd name="connsiteY5" fmla="*/ 0 h 152377"/>
              <a:gd name="connsiteX6" fmla="*/ 96305 w 152377"/>
              <a:gd name="connsiteY6" fmla="*/ 0 h 152377"/>
              <a:gd name="connsiteX7" fmla="*/ 55970 w 152377"/>
              <a:gd name="connsiteY7" fmla="*/ 0 h 152377"/>
              <a:gd name="connsiteX8" fmla="*/ 42525 w 152377"/>
              <a:gd name="connsiteY8" fmla="*/ 0 h 152377"/>
              <a:gd name="connsiteX9" fmla="*/ 40284 w 152377"/>
              <a:gd name="connsiteY9" fmla="*/ 2241 h 152377"/>
              <a:gd name="connsiteX10" fmla="*/ 42525 w 152377"/>
              <a:gd name="connsiteY10" fmla="*/ 4482 h 152377"/>
              <a:gd name="connsiteX11" fmla="*/ 53729 w 152377"/>
              <a:gd name="connsiteY11" fmla="*/ 4482 h 152377"/>
              <a:gd name="connsiteX12" fmla="*/ 53729 w 152377"/>
              <a:gd name="connsiteY12" fmla="*/ 68570 h 152377"/>
              <a:gd name="connsiteX13" fmla="*/ 33561 w 152377"/>
              <a:gd name="connsiteY13" fmla="*/ 95012 h 152377"/>
              <a:gd name="connsiteX14" fmla="*/ 33561 w 152377"/>
              <a:gd name="connsiteY14" fmla="*/ 95012 h 152377"/>
              <a:gd name="connsiteX15" fmla="*/ 1741 w 152377"/>
              <a:gd name="connsiteY15" fmla="*/ 136244 h 152377"/>
              <a:gd name="connsiteX16" fmla="*/ 1293 w 152377"/>
              <a:gd name="connsiteY16" fmla="*/ 146104 h 152377"/>
              <a:gd name="connsiteX17" fmla="*/ 12497 w 152377"/>
              <a:gd name="connsiteY17" fmla="*/ 152378 h 152377"/>
              <a:gd name="connsiteX18" fmla="*/ 140226 w 152377"/>
              <a:gd name="connsiteY18" fmla="*/ 152378 h 152377"/>
              <a:gd name="connsiteX19" fmla="*/ 151430 w 152377"/>
              <a:gd name="connsiteY19" fmla="*/ 146104 h 152377"/>
              <a:gd name="connsiteX20" fmla="*/ 150534 w 152377"/>
              <a:gd name="connsiteY20" fmla="*/ 135796 h 152377"/>
              <a:gd name="connsiteX21" fmla="*/ 58211 w 152377"/>
              <a:gd name="connsiteY21" fmla="*/ 70363 h 152377"/>
              <a:gd name="connsiteX22" fmla="*/ 58659 w 152377"/>
              <a:gd name="connsiteY22" fmla="*/ 69018 h 152377"/>
              <a:gd name="connsiteX23" fmla="*/ 58659 w 152377"/>
              <a:gd name="connsiteY23" fmla="*/ 4034 h 152377"/>
              <a:gd name="connsiteX24" fmla="*/ 94512 w 152377"/>
              <a:gd name="connsiteY24" fmla="*/ 4034 h 152377"/>
              <a:gd name="connsiteX25" fmla="*/ 94512 w 152377"/>
              <a:gd name="connsiteY25" fmla="*/ 69018 h 152377"/>
              <a:gd name="connsiteX26" fmla="*/ 94961 w 152377"/>
              <a:gd name="connsiteY26" fmla="*/ 70363 h 152377"/>
              <a:gd name="connsiteX27" fmla="*/ 113784 w 152377"/>
              <a:gd name="connsiteY27" fmla="*/ 95012 h 152377"/>
              <a:gd name="connsiteX28" fmla="*/ 77930 w 152377"/>
              <a:gd name="connsiteY28" fmla="*/ 92771 h 152377"/>
              <a:gd name="connsiteX29" fmla="*/ 42525 w 152377"/>
              <a:gd name="connsiteY29" fmla="*/ 90979 h 152377"/>
              <a:gd name="connsiteX30" fmla="*/ 58211 w 152377"/>
              <a:gd name="connsiteY30" fmla="*/ 70363 h 152377"/>
              <a:gd name="connsiteX31" fmla="*/ 147845 w 152377"/>
              <a:gd name="connsiteY31" fmla="*/ 143415 h 152377"/>
              <a:gd name="connsiteX32" fmla="*/ 140674 w 152377"/>
              <a:gd name="connsiteY32" fmla="*/ 147448 h 152377"/>
              <a:gd name="connsiteX33" fmla="*/ 12946 w 152377"/>
              <a:gd name="connsiteY33" fmla="*/ 147448 h 152377"/>
              <a:gd name="connsiteX34" fmla="*/ 5775 w 152377"/>
              <a:gd name="connsiteY34" fmla="*/ 143415 h 152377"/>
              <a:gd name="connsiteX35" fmla="*/ 5775 w 152377"/>
              <a:gd name="connsiteY35" fmla="*/ 138485 h 152377"/>
              <a:gd name="connsiteX36" fmla="*/ 37147 w 152377"/>
              <a:gd name="connsiteY36" fmla="*/ 97701 h 152377"/>
              <a:gd name="connsiteX37" fmla="*/ 76138 w 152377"/>
              <a:gd name="connsiteY37" fmla="*/ 96805 h 152377"/>
              <a:gd name="connsiteX38" fmla="*/ 98546 w 152377"/>
              <a:gd name="connsiteY38" fmla="*/ 101735 h 152377"/>
              <a:gd name="connsiteX39" fmla="*/ 116921 w 152377"/>
              <a:gd name="connsiteY39" fmla="*/ 98597 h 152377"/>
              <a:gd name="connsiteX40" fmla="*/ 147397 w 152377"/>
              <a:gd name="connsiteY40" fmla="*/ 138036 h 152377"/>
              <a:gd name="connsiteX41" fmla="*/ 147845 w 152377"/>
              <a:gd name="connsiteY41" fmla="*/ 14341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2377" h="152377">
                <a:moveTo>
                  <a:pt x="150534" y="135796"/>
                </a:moveTo>
                <a:lnTo>
                  <a:pt x="98546" y="68570"/>
                </a:lnTo>
                <a:lnTo>
                  <a:pt x="98546" y="4482"/>
                </a:lnTo>
                <a:lnTo>
                  <a:pt x="109750" y="4482"/>
                </a:lnTo>
                <a:cubicBezTo>
                  <a:pt x="111095" y="4482"/>
                  <a:pt x="111991" y="3585"/>
                  <a:pt x="111991" y="2241"/>
                </a:cubicBezTo>
                <a:cubicBezTo>
                  <a:pt x="111991" y="896"/>
                  <a:pt x="111095" y="0"/>
                  <a:pt x="109750" y="0"/>
                </a:cubicBezTo>
                <a:lnTo>
                  <a:pt x="96305" y="0"/>
                </a:lnTo>
                <a:lnTo>
                  <a:pt x="55970" y="0"/>
                </a:lnTo>
                <a:lnTo>
                  <a:pt x="42525" y="0"/>
                </a:lnTo>
                <a:cubicBezTo>
                  <a:pt x="41180" y="0"/>
                  <a:pt x="40284" y="896"/>
                  <a:pt x="40284" y="2241"/>
                </a:cubicBezTo>
                <a:cubicBezTo>
                  <a:pt x="40284" y="3585"/>
                  <a:pt x="41180" y="4482"/>
                  <a:pt x="42525" y="4482"/>
                </a:cubicBezTo>
                <a:lnTo>
                  <a:pt x="53729" y="4482"/>
                </a:lnTo>
                <a:lnTo>
                  <a:pt x="53729" y="68570"/>
                </a:lnTo>
                <a:lnTo>
                  <a:pt x="33561" y="95012"/>
                </a:lnTo>
                <a:cubicBezTo>
                  <a:pt x="33561" y="95012"/>
                  <a:pt x="33561" y="95012"/>
                  <a:pt x="33561" y="95012"/>
                </a:cubicBezTo>
                <a:lnTo>
                  <a:pt x="1741" y="136244"/>
                </a:lnTo>
                <a:cubicBezTo>
                  <a:pt x="-499" y="139381"/>
                  <a:pt x="-499" y="142966"/>
                  <a:pt x="1293" y="146104"/>
                </a:cubicBezTo>
                <a:cubicBezTo>
                  <a:pt x="3534" y="150137"/>
                  <a:pt x="7568" y="152378"/>
                  <a:pt x="12497" y="152378"/>
                </a:cubicBezTo>
                <a:lnTo>
                  <a:pt x="140226" y="152378"/>
                </a:lnTo>
                <a:cubicBezTo>
                  <a:pt x="145156" y="152378"/>
                  <a:pt x="149638" y="150137"/>
                  <a:pt x="151430" y="146104"/>
                </a:cubicBezTo>
                <a:cubicBezTo>
                  <a:pt x="153223" y="142518"/>
                  <a:pt x="152774" y="138485"/>
                  <a:pt x="150534" y="135796"/>
                </a:cubicBezTo>
                <a:close/>
                <a:moveTo>
                  <a:pt x="58211" y="70363"/>
                </a:moveTo>
                <a:cubicBezTo>
                  <a:pt x="58659" y="69915"/>
                  <a:pt x="58659" y="69466"/>
                  <a:pt x="58659" y="69018"/>
                </a:cubicBezTo>
                <a:lnTo>
                  <a:pt x="58659" y="4034"/>
                </a:lnTo>
                <a:lnTo>
                  <a:pt x="94512" y="4034"/>
                </a:lnTo>
                <a:lnTo>
                  <a:pt x="94512" y="69018"/>
                </a:lnTo>
                <a:cubicBezTo>
                  <a:pt x="94512" y="69466"/>
                  <a:pt x="94512" y="69915"/>
                  <a:pt x="94961" y="70363"/>
                </a:cubicBezTo>
                <a:lnTo>
                  <a:pt x="113784" y="95012"/>
                </a:lnTo>
                <a:cubicBezTo>
                  <a:pt x="107957" y="96805"/>
                  <a:pt x="93168" y="99942"/>
                  <a:pt x="77930" y="92771"/>
                </a:cubicBezTo>
                <a:cubicBezTo>
                  <a:pt x="64037" y="86049"/>
                  <a:pt x="50592" y="88290"/>
                  <a:pt x="42525" y="90979"/>
                </a:cubicBezTo>
                <a:lnTo>
                  <a:pt x="58211" y="70363"/>
                </a:lnTo>
                <a:close/>
                <a:moveTo>
                  <a:pt x="147845" y="143415"/>
                </a:moveTo>
                <a:cubicBezTo>
                  <a:pt x="146500" y="145655"/>
                  <a:pt x="143811" y="147448"/>
                  <a:pt x="140674" y="147448"/>
                </a:cubicBezTo>
                <a:lnTo>
                  <a:pt x="12946" y="147448"/>
                </a:lnTo>
                <a:cubicBezTo>
                  <a:pt x="9808" y="147448"/>
                  <a:pt x="7119" y="146104"/>
                  <a:pt x="5775" y="143415"/>
                </a:cubicBezTo>
                <a:cubicBezTo>
                  <a:pt x="4878" y="141622"/>
                  <a:pt x="4878" y="139829"/>
                  <a:pt x="5775" y="138485"/>
                </a:cubicBezTo>
                <a:lnTo>
                  <a:pt x="37147" y="97701"/>
                </a:lnTo>
                <a:cubicBezTo>
                  <a:pt x="39836" y="96357"/>
                  <a:pt x="57763" y="88290"/>
                  <a:pt x="76138" y="96805"/>
                </a:cubicBezTo>
                <a:cubicBezTo>
                  <a:pt x="84205" y="100390"/>
                  <a:pt x="91823" y="101735"/>
                  <a:pt x="98546" y="101735"/>
                </a:cubicBezTo>
                <a:cubicBezTo>
                  <a:pt x="107061" y="101735"/>
                  <a:pt x="114232" y="99494"/>
                  <a:pt x="116921" y="98597"/>
                </a:cubicBezTo>
                <a:lnTo>
                  <a:pt x="147397" y="138036"/>
                </a:lnTo>
                <a:cubicBezTo>
                  <a:pt x="148293" y="139829"/>
                  <a:pt x="148741" y="142070"/>
                  <a:pt x="147845" y="143415"/>
                </a:cubicBezTo>
                <a:close/>
              </a:path>
            </a:pathLst>
          </a:custGeom>
          <a:solidFill>
            <a:srgbClr val="231F20"/>
          </a:solidFill>
          <a:ln w="4477" cap="flat">
            <a:noFill/>
            <a:prstDash val="solid"/>
            <a:miter/>
          </a:ln>
        </p:spPr>
        <p:txBody>
          <a:bodyPr rtlCol="0" anchor="ctr"/>
          <a:lstStyle/>
          <a:p>
            <a:endParaRPr lang="en-US"/>
          </a:p>
        </p:txBody>
      </p:sp>
      <p:sp>
        <p:nvSpPr>
          <p:cNvPr id="2479" name="Freeform: Shape 2478">
            <a:extLst>
              <a:ext uri="{FF2B5EF4-FFF2-40B4-BE49-F238E27FC236}">
                <a16:creationId xmlns:a16="http://schemas.microsoft.com/office/drawing/2014/main" id="{79E1F688-4427-4158-81E1-3B34214C0EDC}"/>
              </a:ext>
              <a:ext uri="{C183D7F6-B498-43B3-948B-1728B52AA6E4}">
                <adec:decorative xmlns:adec="http://schemas.microsoft.com/office/drawing/2017/decorative" val="1"/>
              </a:ext>
            </a:extLst>
          </p:cNvPr>
          <p:cNvSpPr>
            <a:spLocks noChangeAspect="1"/>
          </p:cNvSpPr>
          <p:nvPr/>
        </p:nvSpPr>
        <p:spPr>
          <a:xfrm>
            <a:off x="10367949" y="4542124"/>
            <a:ext cx="165823" cy="125488"/>
          </a:xfrm>
          <a:custGeom>
            <a:avLst/>
            <a:gdLst>
              <a:gd name="connsiteX0" fmla="*/ 163582 w 165822"/>
              <a:gd name="connsiteY0" fmla="*/ 53780 h 125487"/>
              <a:gd name="connsiteX1" fmla="*/ 152378 w 165822"/>
              <a:gd name="connsiteY1" fmla="*/ 53780 h 125487"/>
              <a:gd name="connsiteX2" fmla="*/ 152378 w 165822"/>
              <a:gd name="connsiteY2" fmla="*/ 4482 h 125487"/>
              <a:gd name="connsiteX3" fmla="*/ 156860 w 165822"/>
              <a:gd name="connsiteY3" fmla="*/ 4482 h 125487"/>
              <a:gd name="connsiteX4" fmla="*/ 159100 w 165822"/>
              <a:gd name="connsiteY4" fmla="*/ 2241 h 125487"/>
              <a:gd name="connsiteX5" fmla="*/ 156860 w 165822"/>
              <a:gd name="connsiteY5" fmla="*/ 0 h 125487"/>
              <a:gd name="connsiteX6" fmla="*/ 150137 w 165822"/>
              <a:gd name="connsiteY6" fmla="*/ 0 h 125487"/>
              <a:gd name="connsiteX7" fmla="*/ 123247 w 165822"/>
              <a:gd name="connsiteY7" fmla="*/ 0 h 125487"/>
              <a:gd name="connsiteX8" fmla="*/ 116524 w 165822"/>
              <a:gd name="connsiteY8" fmla="*/ 0 h 125487"/>
              <a:gd name="connsiteX9" fmla="*/ 114283 w 165822"/>
              <a:gd name="connsiteY9" fmla="*/ 2241 h 125487"/>
              <a:gd name="connsiteX10" fmla="*/ 116524 w 165822"/>
              <a:gd name="connsiteY10" fmla="*/ 4482 h 125487"/>
              <a:gd name="connsiteX11" fmla="*/ 121006 w 165822"/>
              <a:gd name="connsiteY11" fmla="*/ 4482 h 125487"/>
              <a:gd name="connsiteX12" fmla="*/ 121006 w 165822"/>
              <a:gd name="connsiteY12" fmla="*/ 53780 h 125487"/>
              <a:gd name="connsiteX13" fmla="*/ 98597 w 165822"/>
              <a:gd name="connsiteY13" fmla="*/ 53780 h 125487"/>
              <a:gd name="connsiteX14" fmla="*/ 98597 w 165822"/>
              <a:gd name="connsiteY14" fmla="*/ 4482 h 125487"/>
              <a:gd name="connsiteX15" fmla="*/ 103079 w 165822"/>
              <a:gd name="connsiteY15" fmla="*/ 4482 h 125487"/>
              <a:gd name="connsiteX16" fmla="*/ 105320 w 165822"/>
              <a:gd name="connsiteY16" fmla="*/ 2241 h 125487"/>
              <a:gd name="connsiteX17" fmla="*/ 103079 w 165822"/>
              <a:gd name="connsiteY17" fmla="*/ 0 h 125487"/>
              <a:gd name="connsiteX18" fmla="*/ 96357 w 165822"/>
              <a:gd name="connsiteY18" fmla="*/ 0 h 125487"/>
              <a:gd name="connsiteX19" fmla="*/ 69466 w 165822"/>
              <a:gd name="connsiteY19" fmla="*/ 0 h 125487"/>
              <a:gd name="connsiteX20" fmla="*/ 62744 w 165822"/>
              <a:gd name="connsiteY20" fmla="*/ 0 h 125487"/>
              <a:gd name="connsiteX21" fmla="*/ 60503 w 165822"/>
              <a:gd name="connsiteY21" fmla="*/ 2241 h 125487"/>
              <a:gd name="connsiteX22" fmla="*/ 62744 w 165822"/>
              <a:gd name="connsiteY22" fmla="*/ 4482 h 125487"/>
              <a:gd name="connsiteX23" fmla="*/ 67226 w 165822"/>
              <a:gd name="connsiteY23" fmla="*/ 4482 h 125487"/>
              <a:gd name="connsiteX24" fmla="*/ 67226 w 165822"/>
              <a:gd name="connsiteY24" fmla="*/ 53780 h 125487"/>
              <a:gd name="connsiteX25" fmla="*/ 44817 w 165822"/>
              <a:gd name="connsiteY25" fmla="*/ 53780 h 125487"/>
              <a:gd name="connsiteX26" fmla="*/ 44817 w 165822"/>
              <a:gd name="connsiteY26" fmla="*/ 4482 h 125487"/>
              <a:gd name="connsiteX27" fmla="*/ 49299 w 165822"/>
              <a:gd name="connsiteY27" fmla="*/ 4482 h 125487"/>
              <a:gd name="connsiteX28" fmla="*/ 51540 w 165822"/>
              <a:gd name="connsiteY28" fmla="*/ 2241 h 125487"/>
              <a:gd name="connsiteX29" fmla="*/ 49299 w 165822"/>
              <a:gd name="connsiteY29" fmla="*/ 0 h 125487"/>
              <a:gd name="connsiteX30" fmla="*/ 42576 w 165822"/>
              <a:gd name="connsiteY30" fmla="*/ 0 h 125487"/>
              <a:gd name="connsiteX31" fmla="*/ 15686 w 165822"/>
              <a:gd name="connsiteY31" fmla="*/ 0 h 125487"/>
              <a:gd name="connsiteX32" fmla="*/ 8963 w 165822"/>
              <a:gd name="connsiteY32" fmla="*/ 0 h 125487"/>
              <a:gd name="connsiteX33" fmla="*/ 6723 w 165822"/>
              <a:gd name="connsiteY33" fmla="*/ 2241 h 125487"/>
              <a:gd name="connsiteX34" fmla="*/ 8963 w 165822"/>
              <a:gd name="connsiteY34" fmla="*/ 4482 h 125487"/>
              <a:gd name="connsiteX35" fmla="*/ 13445 w 165822"/>
              <a:gd name="connsiteY35" fmla="*/ 4482 h 125487"/>
              <a:gd name="connsiteX36" fmla="*/ 13445 w 165822"/>
              <a:gd name="connsiteY36" fmla="*/ 53780 h 125487"/>
              <a:gd name="connsiteX37" fmla="*/ 2241 w 165822"/>
              <a:gd name="connsiteY37" fmla="*/ 53780 h 125487"/>
              <a:gd name="connsiteX38" fmla="*/ 0 w 165822"/>
              <a:gd name="connsiteY38" fmla="*/ 56021 h 125487"/>
              <a:gd name="connsiteX39" fmla="*/ 2241 w 165822"/>
              <a:gd name="connsiteY39" fmla="*/ 58262 h 125487"/>
              <a:gd name="connsiteX40" fmla="*/ 13445 w 165822"/>
              <a:gd name="connsiteY40" fmla="*/ 58262 h 125487"/>
              <a:gd name="connsiteX41" fmla="*/ 13445 w 165822"/>
              <a:gd name="connsiteY41" fmla="*/ 108905 h 125487"/>
              <a:gd name="connsiteX42" fmla="*/ 29131 w 165822"/>
              <a:gd name="connsiteY42" fmla="*/ 125488 h 125487"/>
              <a:gd name="connsiteX43" fmla="*/ 44817 w 165822"/>
              <a:gd name="connsiteY43" fmla="*/ 108905 h 125487"/>
              <a:gd name="connsiteX44" fmla="*/ 44817 w 165822"/>
              <a:gd name="connsiteY44" fmla="*/ 58262 h 125487"/>
              <a:gd name="connsiteX45" fmla="*/ 67226 w 165822"/>
              <a:gd name="connsiteY45" fmla="*/ 58262 h 125487"/>
              <a:gd name="connsiteX46" fmla="*/ 67226 w 165822"/>
              <a:gd name="connsiteY46" fmla="*/ 108905 h 125487"/>
              <a:gd name="connsiteX47" fmla="*/ 82911 w 165822"/>
              <a:gd name="connsiteY47" fmla="*/ 125488 h 125487"/>
              <a:gd name="connsiteX48" fmla="*/ 98597 w 165822"/>
              <a:gd name="connsiteY48" fmla="*/ 108905 h 125487"/>
              <a:gd name="connsiteX49" fmla="*/ 98597 w 165822"/>
              <a:gd name="connsiteY49" fmla="*/ 58262 h 125487"/>
              <a:gd name="connsiteX50" fmla="*/ 121006 w 165822"/>
              <a:gd name="connsiteY50" fmla="*/ 58262 h 125487"/>
              <a:gd name="connsiteX51" fmla="*/ 121006 w 165822"/>
              <a:gd name="connsiteY51" fmla="*/ 108905 h 125487"/>
              <a:gd name="connsiteX52" fmla="*/ 136692 w 165822"/>
              <a:gd name="connsiteY52" fmla="*/ 125488 h 125487"/>
              <a:gd name="connsiteX53" fmla="*/ 152378 w 165822"/>
              <a:gd name="connsiteY53" fmla="*/ 108905 h 125487"/>
              <a:gd name="connsiteX54" fmla="*/ 152378 w 165822"/>
              <a:gd name="connsiteY54" fmla="*/ 58262 h 125487"/>
              <a:gd name="connsiteX55" fmla="*/ 163582 w 165822"/>
              <a:gd name="connsiteY55" fmla="*/ 58262 h 125487"/>
              <a:gd name="connsiteX56" fmla="*/ 165823 w 165822"/>
              <a:gd name="connsiteY56" fmla="*/ 56021 h 125487"/>
              <a:gd name="connsiteX57" fmla="*/ 163582 w 165822"/>
              <a:gd name="connsiteY57" fmla="*/ 53780 h 125487"/>
              <a:gd name="connsiteX58" fmla="*/ 17927 w 165822"/>
              <a:gd name="connsiteY58" fmla="*/ 4482 h 125487"/>
              <a:gd name="connsiteX59" fmla="*/ 40335 w 165822"/>
              <a:gd name="connsiteY59" fmla="*/ 4482 h 125487"/>
              <a:gd name="connsiteX60" fmla="*/ 40335 w 165822"/>
              <a:gd name="connsiteY60" fmla="*/ 53780 h 125487"/>
              <a:gd name="connsiteX61" fmla="*/ 17927 w 165822"/>
              <a:gd name="connsiteY61" fmla="*/ 53780 h 125487"/>
              <a:gd name="connsiteX62" fmla="*/ 17927 w 165822"/>
              <a:gd name="connsiteY62" fmla="*/ 4482 h 125487"/>
              <a:gd name="connsiteX63" fmla="*/ 40335 w 165822"/>
              <a:gd name="connsiteY63" fmla="*/ 108905 h 125487"/>
              <a:gd name="connsiteX64" fmla="*/ 29131 w 165822"/>
              <a:gd name="connsiteY64" fmla="*/ 121006 h 125487"/>
              <a:gd name="connsiteX65" fmla="*/ 17927 w 165822"/>
              <a:gd name="connsiteY65" fmla="*/ 108905 h 125487"/>
              <a:gd name="connsiteX66" fmla="*/ 17927 w 165822"/>
              <a:gd name="connsiteY66" fmla="*/ 58262 h 125487"/>
              <a:gd name="connsiteX67" fmla="*/ 40335 w 165822"/>
              <a:gd name="connsiteY67" fmla="*/ 58262 h 125487"/>
              <a:gd name="connsiteX68" fmla="*/ 40335 w 165822"/>
              <a:gd name="connsiteY68" fmla="*/ 108905 h 125487"/>
              <a:gd name="connsiteX69" fmla="*/ 71707 w 165822"/>
              <a:gd name="connsiteY69" fmla="*/ 4482 h 125487"/>
              <a:gd name="connsiteX70" fmla="*/ 94116 w 165822"/>
              <a:gd name="connsiteY70" fmla="*/ 4482 h 125487"/>
              <a:gd name="connsiteX71" fmla="*/ 94116 w 165822"/>
              <a:gd name="connsiteY71" fmla="*/ 53780 h 125487"/>
              <a:gd name="connsiteX72" fmla="*/ 71707 w 165822"/>
              <a:gd name="connsiteY72" fmla="*/ 53780 h 125487"/>
              <a:gd name="connsiteX73" fmla="*/ 71707 w 165822"/>
              <a:gd name="connsiteY73" fmla="*/ 4482 h 125487"/>
              <a:gd name="connsiteX74" fmla="*/ 94116 w 165822"/>
              <a:gd name="connsiteY74" fmla="*/ 108905 h 125487"/>
              <a:gd name="connsiteX75" fmla="*/ 82911 w 165822"/>
              <a:gd name="connsiteY75" fmla="*/ 121006 h 125487"/>
              <a:gd name="connsiteX76" fmla="*/ 71707 w 165822"/>
              <a:gd name="connsiteY76" fmla="*/ 108905 h 125487"/>
              <a:gd name="connsiteX77" fmla="*/ 71707 w 165822"/>
              <a:gd name="connsiteY77" fmla="*/ 58262 h 125487"/>
              <a:gd name="connsiteX78" fmla="*/ 94116 w 165822"/>
              <a:gd name="connsiteY78" fmla="*/ 58262 h 125487"/>
              <a:gd name="connsiteX79" fmla="*/ 94116 w 165822"/>
              <a:gd name="connsiteY79" fmla="*/ 108905 h 125487"/>
              <a:gd name="connsiteX80" fmla="*/ 125488 w 165822"/>
              <a:gd name="connsiteY80" fmla="*/ 4482 h 125487"/>
              <a:gd name="connsiteX81" fmla="*/ 147896 w 165822"/>
              <a:gd name="connsiteY81" fmla="*/ 4482 h 125487"/>
              <a:gd name="connsiteX82" fmla="*/ 147896 w 165822"/>
              <a:gd name="connsiteY82" fmla="*/ 53780 h 125487"/>
              <a:gd name="connsiteX83" fmla="*/ 125488 w 165822"/>
              <a:gd name="connsiteY83" fmla="*/ 53780 h 125487"/>
              <a:gd name="connsiteX84" fmla="*/ 125488 w 165822"/>
              <a:gd name="connsiteY84" fmla="*/ 4482 h 125487"/>
              <a:gd name="connsiteX85" fmla="*/ 147896 w 165822"/>
              <a:gd name="connsiteY85" fmla="*/ 108905 h 125487"/>
              <a:gd name="connsiteX86" fmla="*/ 136692 w 165822"/>
              <a:gd name="connsiteY86" fmla="*/ 121006 h 125487"/>
              <a:gd name="connsiteX87" fmla="*/ 125488 w 165822"/>
              <a:gd name="connsiteY87" fmla="*/ 108905 h 125487"/>
              <a:gd name="connsiteX88" fmla="*/ 125488 w 165822"/>
              <a:gd name="connsiteY88" fmla="*/ 58262 h 125487"/>
              <a:gd name="connsiteX89" fmla="*/ 147896 w 165822"/>
              <a:gd name="connsiteY89" fmla="*/ 58262 h 125487"/>
              <a:gd name="connsiteX90" fmla="*/ 147896 w 165822"/>
              <a:gd name="connsiteY90" fmla="*/ 10890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822" h="125487">
                <a:moveTo>
                  <a:pt x="163582" y="53780"/>
                </a:moveTo>
                <a:lnTo>
                  <a:pt x="152378" y="53780"/>
                </a:lnTo>
                <a:lnTo>
                  <a:pt x="152378" y="4482"/>
                </a:lnTo>
                <a:lnTo>
                  <a:pt x="156860" y="4482"/>
                </a:lnTo>
                <a:cubicBezTo>
                  <a:pt x="158204" y="4482"/>
                  <a:pt x="159100" y="3585"/>
                  <a:pt x="159100" y="2241"/>
                </a:cubicBezTo>
                <a:cubicBezTo>
                  <a:pt x="159100" y="896"/>
                  <a:pt x="158204" y="0"/>
                  <a:pt x="156860" y="0"/>
                </a:cubicBezTo>
                <a:lnTo>
                  <a:pt x="150137" y="0"/>
                </a:lnTo>
                <a:lnTo>
                  <a:pt x="123247" y="0"/>
                </a:lnTo>
                <a:lnTo>
                  <a:pt x="116524" y="0"/>
                </a:lnTo>
                <a:cubicBezTo>
                  <a:pt x="115180" y="0"/>
                  <a:pt x="114283" y="896"/>
                  <a:pt x="114283" y="2241"/>
                </a:cubicBezTo>
                <a:cubicBezTo>
                  <a:pt x="114283" y="3585"/>
                  <a:pt x="115180" y="4482"/>
                  <a:pt x="116524" y="4482"/>
                </a:cubicBezTo>
                <a:lnTo>
                  <a:pt x="121006" y="4482"/>
                </a:lnTo>
                <a:lnTo>
                  <a:pt x="121006" y="53780"/>
                </a:lnTo>
                <a:lnTo>
                  <a:pt x="98597" y="53780"/>
                </a:lnTo>
                <a:lnTo>
                  <a:pt x="98597" y="4482"/>
                </a:lnTo>
                <a:lnTo>
                  <a:pt x="103079" y="4482"/>
                </a:lnTo>
                <a:cubicBezTo>
                  <a:pt x="104424" y="4482"/>
                  <a:pt x="105320" y="3585"/>
                  <a:pt x="105320" y="2241"/>
                </a:cubicBezTo>
                <a:cubicBezTo>
                  <a:pt x="105320" y="896"/>
                  <a:pt x="104424" y="0"/>
                  <a:pt x="103079" y="0"/>
                </a:cubicBezTo>
                <a:lnTo>
                  <a:pt x="96357" y="0"/>
                </a:lnTo>
                <a:lnTo>
                  <a:pt x="69466" y="0"/>
                </a:lnTo>
                <a:lnTo>
                  <a:pt x="62744" y="0"/>
                </a:lnTo>
                <a:cubicBezTo>
                  <a:pt x="61399" y="0"/>
                  <a:pt x="60503" y="896"/>
                  <a:pt x="60503" y="2241"/>
                </a:cubicBezTo>
                <a:cubicBezTo>
                  <a:pt x="60503" y="3585"/>
                  <a:pt x="61399" y="4482"/>
                  <a:pt x="62744" y="4482"/>
                </a:cubicBezTo>
                <a:lnTo>
                  <a:pt x="67226" y="4482"/>
                </a:lnTo>
                <a:lnTo>
                  <a:pt x="67226" y="53780"/>
                </a:lnTo>
                <a:lnTo>
                  <a:pt x="44817" y="53780"/>
                </a:lnTo>
                <a:lnTo>
                  <a:pt x="44817" y="4482"/>
                </a:lnTo>
                <a:lnTo>
                  <a:pt x="49299" y="4482"/>
                </a:lnTo>
                <a:cubicBezTo>
                  <a:pt x="50643" y="4482"/>
                  <a:pt x="51540" y="3585"/>
                  <a:pt x="51540" y="2241"/>
                </a:cubicBezTo>
                <a:cubicBezTo>
                  <a:pt x="51540" y="896"/>
                  <a:pt x="50643" y="0"/>
                  <a:pt x="49299" y="0"/>
                </a:cubicBezTo>
                <a:lnTo>
                  <a:pt x="42576" y="0"/>
                </a:lnTo>
                <a:lnTo>
                  <a:pt x="15686" y="0"/>
                </a:lnTo>
                <a:lnTo>
                  <a:pt x="8963" y="0"/>
                </a:lnTo>
                <a:cubicBezTo>
                  <a:pt x="7619" y="0"/>
                  <a:pt x="6723" y="896"/>
                  <a:pt x="6723" y="2241"/>
                </a:cubicBezTo>
                <a:cubicBezTo>
                  <a:pt x="6723" y="3585"/>
                  <a:pt x="7619" y="4482"/>
                  <a:pt x="8963" y="4482"/>
                </a:cubicBezTo>
                <a:lnTo>
                  <a:pt x="13445" y="4482"/>
                </a:lnTo>
                <a:lnTo>
                  <a:pt x="13445" y="53780"/>
                </a:lnTo>
                <a:lnTo>
                  <a:pt x="2241" y="53780"/>
                </a:lnTo>
                <a:cubicBezTo>
                  <a:pt x="896" y="53780"/>
                  <a:pt x="0" y="54677"/>
                  <a:pt x="0" y="56021"/>
                </a:cubicBezTo>
                <a:cubicBezTo>
                  <a:pt x="0" y="57366"/>
                  <a:pt x="896" y="58262"/>
                  <a:pt x="2241" y="58262"/>
                </a:cubicBezTo>
                <a:lnTo>
                  <a:pt x="13445" y="58262"/>
                </a:lnTo>
                <a:lnTo>
                  <a:pt x="13445" y="108905"/>
                </a:lnTo>
                <a:cubicBezTo>
                  <a:pt x="13445" y="117869"/>
                  <a:pt x="20616" y="125488"/>
                  <a:pt x="29131" y="125488"/>
                </a:cubicBezTo>
                <a:cubicBezTo>
                  <a:pt x="37646" y="125488"/>
                  <a:pt x="44817" y="118317"/>
                  <a:pt x="44817" y="108905"/>
                </a:cubicBezTo>
                <a:lnTo>
                  <a:pt x="44817" y="58262"/>
                </a:lnTo>
                <a:lnTo>
                  <a:pt x="67226" y="58262"/>
                </a:lnTo>
                <a:lnTo>
                  <a:pt x="67226" y="108905"/>
                </a:lnTo>
                <a:cubicBezTo>
                  <a:pt x="67226" y="117869"/>
                  <a:pt x="74396" y="125488"/>
                  <a:pt x="82911" y="125488"/>
                </a:cubicBezTo>
                <a:cubicBezTo>
                  <a:pt x="91427" y="125488"/>
                  <a:pt x="98597" y="118317"/>
                  <a:pt x="98597" y="108905"/>
                </a:cubicBezTo>
                <a:lnTo>
                  <a:pt x="98597" y="58262"/>
                </a:lnTo>
                <a:lnTo>
                  <a:pt x="121006" y="58262"/>
                </a:lnTo>
                <a:lnTo>
                  <a:pt x="121006" y="108905"/>
                </a:lnTo>
                <a:cubicBezTo>
                  <a:pt x="121006" y="117869"/>
                  <a:pt x="128177" y="125488"/>
                  <a:pt x="136692" y="125488"/>
                </a:cubicBezTo>
                <a:cubicBezTo>
                  <a:pt x="145207" y="125488"/>
                  <a:pt x="152378" y="118317"/>
                  <a:pt x="152378" y="108905"/>
                </a:cubicBezTo>
                <a:lnTo>
                  <a:pt x="152378" y="58262"/>
                </a:lnTo>
                <a:lnTo>
                  <a:pt x="163582" y="58262"/>
                </a:lnTo>
                <a:cubicBezTo>
                  <a:pt x="164927" y="58262"/>
                  <a:pt x="165823" y="57366"/>
                  <a:pt x="165823" y="56021"/>
                </a:cubicBezTo>
                <a:cubicBezTo>
                  <a:pt x="165823" y="54677"/>
                  <a:pt x="164927" y="53780"/>
                  <a:pt x="163582" y="53780"/>
                </a:cubicBezTo>
                <a:close/>
                <a:moveTo>
                  <a:pt x="17927" y="4482"/>
                </a:moveTo>
                <a:lnTo>
                  <a:pt x="40335" y="4482"/>
                </a:lnTo>
                <a:lnTo>
                  <a:pt x="40335" y="53780"/>
                </a:lnTo>
                <a:lnTo>
                  <a:pt x="17927" y="53780"/>
                </a:lnTo>
                <a:lnTo>
                  <a:pt x="17927" y="4482"/>
                </a:lnTo>
                <a:close/>
                <a:moveTo>
                  <a:pt x="40335" y="108905"/>
                </a:moveTo>
                <a:cubicBezTo>
                  <a:pt x="40335" y="115628"/>
                  <a:pt x="35405" y="121006"/>
                  <a:pt x="29131" y="121006"/>
                </a:cubicBezTo>
                <a:cubicBezTo>
                  <a:pt x="22857" y="121006"/>
                  <a:pt x="17927" y="115628"/>
                  <a:pt x="17927" y="108905"/>
                </a:cubicBezTo>
                <a:lnTo>
                  <a:pt x="17927" y="58262"/>
                </a:lnTo>
                <a:lnTo>
                  <a:pt x="40335" y="58262"/>
                </a:lnTo>
                <a:lnTo>
                  <a:pt x="40335" y="108905"/>
                </a:lnTo>
                <a:close/>
                <a:moveTo>
                  <a:pt x="71707" y="4482"/>
                </a:moveTo>
                <a:lnTo>
                  <a:pt x="94116" y="4482"/>
                </a:lnTo>
                <a:lnTo>
                  <a:pt x="94116" y="53780"/>
                </a:lnTo>
                <a:lnTo>
                  <a:pt x="71707" y="53780"/>
                </a:lnTo>
                <a:lnTo>
                  <a:pt x="71707" y="4482"/>
                </a:lnTo>
                <a:close/>
                <a:moveTo>
                  <a:pt x="94116" y="108905"/>
                </a:moveTo>
                <a:cubicBezTo>
                  <a:pt x="94116" y="115628"/>
                  <a:pt x="89186" y="121006"/>
                  <a:pt x="82911" y="121006"/>
                </a:cubicBezTo>
                <a:cubicBezTo>
                  <a:pt x="76637" y="121006"/>
                  <a:pt x="71707" y="115628"/>
                  <a:pt x="71707" y="108905"/>
                </a:cubicBezTo>
                <a:lnTo>
                  <a:pt x="71707" y="58262"/>
                </a:lnTo>
                <a:lnTo>
                  <a:pt x="94116" y="58262"/>
                </a:lnTo>
                <a:lnTo>
                  <a:pt x="94116" y="108905"/>
                </a:lnTo>
                <a:close/>
                <a:moveTo>
                  <a:pt x="125488" y="4482"/>
                </a:moveTo>
                <a:lnTo>
                  <a:pt x="147896" y="4482"/>
                </a:lnTo>
                <a:lnTo>
                  <a:pt x="147896" y="53780"/>
                </a:lnTo>
                <a:lnTo>
                  <a:pt x="125488" y="53780"/>
                </a:lnTo>
                <a:lnTo>
                  <a:pt x="125488" y="4482"/>
                </a:lnTo>
                <a:close/>
                <a:moveTo>
                  <a:pt x="147896" y="108905"/>
                </a:moveTo>
                <a:cubicBezTo>
                  <a:pt x="147896" y="115628"/>
                  <a:pt x="142966" y="121006"/>
                  <a:pt x="136692" y="121006"/>
                </a:cubicBezTo>
                <a:cubicBezTo>
                  <a:pt x="130417" y="121006"/>
                  <a:pt x="125488" y="115628"/>
                  <a:pt x="125488" y="108905"/>
                </a:cubicBezTo>
                <a:lnTo>
                  <a:pt x="125488" y="58262"/>
                </a:lnTo>
                <a:lnTo>
                  <a:pt x="147896" y="58262"/>
                </a:lnTo>
                <a:lnTo>
                  <a:pt x="147896" y="108905"/>
                </a:lnTo>
                <a:close/>
              </a:path>
            </a:pathLst>
          </a:custGeom>
          <a:solidFill>
            <a:srgbClr val="231F20"/>
          </a:solidFill>
          <a:ln w="4477" cap="flat">
            <a:noFill/>
            <a:prstDash val="solid"/>
            <a:miter/>
          </a:ln>
        </p:spPr>
        <p:txBody>
          <a:bodyPr rtlCol="0" anchor="ctr"/>
          <a:lstStyle/>
          <a:p>
            <a:endParaRPr lang="en-US"/>
          </a:p>
        </p:txBody>
      </p:sp>
      <p:sp>
        <p:nvSpPr>
          <p:cNvPr id="2480" name="Freeform: Shape 2479">
            <a:extLst>
              <a:ext uri="{FF2B5EF4-FFF2-40B4-BE49-F238E27FC236}">
                <a16:creationId xmlns:a16="http://schemas.microsoft.com/office/drawing/2014/main" id="{44511B58-9DC1-4A62-A4BC-40309E4061DB}"/>
              </a:ext>
              <a:ext uri="{C183D7F6-B498-43B3-948B-1728B52AA6E4}">
                <adec:decorative xmlns:adec="http://schemas.microsoft.com/office/drawing/2017/decorative" val="1"/>
              </a:ext>
            </a:extLst>
          </p:cNvPr>
          <p:cNvSpPr>
            <a:spLocks noChangeAspect="1"/>
          </p:cNvSpPr>
          <p:nvPr/>
        </p:nvSpPr>
        <p:spPr>
          <a:xfrm>
            <a:off x="8275106" y="4555569"/>
            <a:ext cx="147896" cy="112043"/>
          </a:xfrm>
          <a:custGeom>
            <a:avLst/>
            <a:gdLst>
              <a:gd name="connsiteX0" fmla="*/ 151818 w 147896"/>
              <a:gd name="connsiteY0" fmla="*/ 82015 h 112042"/>
              <a:gd name="connsiteX1" fmla="*/ 137028 w 147896"/>
              <a:gd name="connsiteY1" fmla="*/ 55125 h 112042"/>
              <a:gd name="connsiteX2" fmla="*/ 135235 w 147896"/>
              <a:gd name="connsiteY2" fmla="*/ 53780 h 112042"/>
              <a:gd name="connsiteX3" fmla="*/ 107001 w 147896"/>
              <a:gd name="connsiteY3" fmla="*/ 53780 h 112042"/>
              <a:gd name="connsiteX4" fmla="*/ 92659 w 147896"/>
              <a:gd name="connsiteY4" fmla="*/ 28235 h 112042"/>
              <a:gd name="connsiteX5" fmla="*/ 90866 w 147896"/>
              <a:gd name="connsiteY5" fmla="*/ 26890 h 112042"/>
              <a:gd name="connsiteX6" fmla="*/ 62632 w 147896"/>
              <a:gd name="connsiteY6" fmla="*/ 26890 h 112042"/>
              <a:gd name="connsiteX7" fmla="*/ 48290 w 147896"/>
              <a:gd name="connsiteY7" fmla="*/ 1345 h 112042"/>
              <a:gd name="connsiteX8" fmla="*/ 46498 w 147896"/>
              <a:gd name="connsiteY8" fmla="*/ 0 h 112042"/>
              <a:gd name="connsiteX9" fmla="*/ 16918 w 147896"/>
              <a:gd name="connsiteY9" fmla="*/ 0 h 112042"/>
              <a:gd name="connsiteX10" fmla="*/ 15126 w 147896"/>
              <a:gd name="connsiteY10" fmla="*/ 1345 h 112042"/>
              <a:gd name="connsiteX11" fmla="*/ 336 w 147896"/>
              <a:gd name="connsiteY11" fmla="*/ 28235 h 112042"/>
              <a:gd name="connsiteX12" fmla="*/ 336 w 147896"/>
              <a:gd name="connsiteY12" fmla="*/ 30476 h 112042"/>
              <a:gd name="connsiteX13" fmla="*/ 14678 w 147896"/>
              <a:gd name="connsiteY13" fmla="*/ 56469 h 112042"/>
              <a:gd name="connsiteX14" fmla="*/ 336 w 147896"/>
              <a:gd name="connsiteY14" fmla="*/ 82463 h 112042"/>
              <a:gd name="connsiteX15" fmla="*/ 336 w 147896"/>
              <a:gd name="connsiteY15" fmla="*/ 84704 h 112042"/>
              <a:gd name="connsiteX16" fmla="*/ 15126 w 147896"/>
              <a:gd name="connsiteY16" fmla="*/ 111594 h 112042"/>
              <a:gd name="connsiteX17" fmla="*/ 16918 w 147896"/>
              <a:gd name="connsiteY17" fmla="*/ 112939 h 112042"/>
              <a:gd name="connsiteX18" fmla="*/ 46498 w 147896"/>
              <a:gd name="connsiteY18" fmla="*/ 112939 h 112042"/>
              <a:gd name="connsiteX19" fmla="*/ 48290 w 147896"/>
              <a:gd name="connsiteY19" fmla="*/ 111594 h 112042"/>
              <a:gd name="connsiteX20" fmla="*/ 62632 w 147896"/>
              <a:gd name="connsiteY20" fmla="*/ 86049 h 112042"/>
              <a:gd name="connsiteX21" fmla="*/ 89522 w 147896"/>
              <a:gd name="connsiteY21" fmla="*/ 86049 h 112042"/>
              <a:gd name="connsiteX22" fmla="*/ 103863 w 147896"/>
              <a:gd name="connsiteY22" fmla="*/ 111594 h 112042"/>
              <a:gd name="connsiteX23" fmla="*/ 105656 w 147896"/>
              <a:gd name="connsiteY23" fmla="*/ 112939 h 112042"/>
              <a:gd name="connsiteX24" fmla="*/ 135235 w 147896"/>
              <a:gd name="connsiteY24" fmla="*/ 112939 h 112042"/>
              <a:gd name="connsiteX25" fmla="*/ 137028 w 147896"/>
              <a:gd name="connsiteY25" fmla="*/ 111594 h 112042"/>
              <a:gd name="connsiteX26" fmla="*/ 151818 w 147896"/>
              <a:gd name="connsiteY26" fmla="*/ 84704 h 112042"/>
              <a:gd name="connsiteX27" fmla="*/ 151818 w 147896"/>
              <a:gd name="connsiteY27" fmla="*/ 82015 h 112042"/>
              <a:gd name="connsiteX28" fmla="*/ 102967 w 147896"/>
              <a:gd name="connsiteY28" fmla="*/ 56021 h 112042"/>
              <a:gd name="connsiteX29" fmla="*/ 89522 w 147896"/>
              <a:gd name="connsiteY29" fmla="*/ 80671 h 112042"/>
              <a:gd name="connsiteX30" fmla="*/ 62632 w 147896"/>
              <a:gd name="connsiteY30" fmla="*/ 80671 h 112042"/>
              <a:gd name="connsiteX31" fmla="*/ 49187 w 147896"/>
              <a:gd name="connsiteY31" fmla="*/ 56021 h 112042"/>
              <a:gd name="connsiteX32" fmla="*/ 62632 w 147896"/>
              <a:gd name="connsiteY32" fmla="*/ 31372 h 112042"/>
              <a:gd name="connsiteX33" fmla="*/ 89522 w 147896"/>
              <a:gd name="connsiteY33" fmla="*/ 31372 h 112042"/>
              <a:gd name="connsiteX34" fmla="*/ 102967 w 147896"/>
              <a:gd name="connsiteY34" fmla="*/ 56021 h 112042"/>
              <a:gd name="connsiteX35" fmla="*/ 17815 w 147896"/>
              <a:gd name="connsiteY35" fmla="*/ 4482 h 112042"/>
              <a:gd name="connsiteX36" fmla="*/ 44705 w 147896"/>
              <a:gd name="connsiteY36" fmla="*/ 4482 h 112042"/>
              <a:gd name="connsiteX37" fmla="*/ 58150 w 147896"/>
              <a:gd name="connsiteY37" fmla="*/ 29131 h 112042"/>
              <a:gd name="connsiteX38" fmla="*/ 44705 w 147896"/>
              <a:gd name="connsiteY38" fmla="*/ 53780 h 112042"/>
              <a:gd name="connsiteX39" fmla="*/ 17815 w 147896"/>
              <a:gd name="connsiteY39" fmla="*/ 53780 h 112042"/>
              <a:gd name="connsiteX40" fmla="*/ 4370 w 147896"/>
              <a:gd name="connsiteY40" fmla="*/ 29131 h 112042"/>
              <a:gd name="connsiteX41" fmla="*/ 17815 w 147896"/>
              <a:gd name="connsiteY41" fmla="*/ 4482 h 112042"/>
              <a:gd name="connsiteX42" fmla="*/ 44705 w 147896"/>
              <a:gd name="connsiteY42" fmla="*/ 107561 h 112042"/>
              <a:gd name="connsiteX43" fmla="*/ 17815 w 147896"/>
              <a:gd name="connsiteY43" fmla="*/ 107561 h 112042"/>
              <a:gd name="connsiteX44" fmla="*/ 4370 w 147896"/>
              <a:gd name="connsiteY44" fmla="*/ 82912 h 112042"/>
              <a:gd name="connsiteX45" fmla="*/ 17815 w 147896"/>
              <a:gd name="connsiteY45" fmla="*/ 58262 h 112042"/>
              <a:gd name="connsiteX46" fmla="*/ 44705 w 147896"/>
              <a:gd name="connsiteY46" fmla="*/ 58262 h 112042"/>
              <a:gd name="connsiteX47" fmla="*/ 58150 w 147896"/>
              <a:gd name="connsiteY47" fmla="*/ 82912 h 112042"/>
              <a:gd name="connsiteX48" fmla="*/ 44705 w 147896"/>
              <a:gd name="connsiteY48" fmla="*/ 107561 h 112042"/>
              <a:gd name="connsiteX49" fmla="*/ 133443 w 147896"/>
              <a:gd name="connsiteY49" fmla="*/ 107561 h 112042"/>
              <a:gd name="connsiteX50" fmla="*/ 106552 w 147896"/>
              <a:gd name="connsiteY50" fmla="*/ 107561 h 112042"/>
              <a:gd name="connsiteX51" fmla="*/ 93107 w 147896"/>
              <a:gd name="connsiteY51" fmla="*/ 82912 h 112042"/>
              <a:gd name="connsiteX52" fmla="*/ 106552 w 147896"/>
              <a:gd name="connsiteY52" fmla="*/ 58262 h 112042"/>
              <a:gd name="connsiteX53" fmla="*/ 133443 w 147896"/>
              <a:gd name="connsiteY53" fmla="*/ 58262 h 112042"/>
              <a:gd name="connsiteX54" fmla="*/ 146888 w 147896"/>
              <a:gd name="connsiteY54" fmla="*/ 82912 h 112042"/>
              <a:gd name="connsiteX55" fmla="*/ 133443 w 147896"/>
              <a:gd name="connsiteY55" fmla="*/ 107561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7896" h="112042">
                <a:moveTo>
                  <a:pt x="151818" y="82015"/>
                </a:moveTo>
                <a:lnTo>
                  <a:pt x="137028" y="55125"/>
                </a:lnTo>
                <a:cubicBezTo>
                  <a:pt x="136580" y="54229"/>
                  <a:pt x="135683" y="53780"/>
                  <a:pt x="135235" y="53780"/>
                </a:cubicBezTo>
                <a:lnTo>
                  <a:pt x="107001" y="53780"/>
                </a:lnTo>
                <a:lnTo>
                  <a:pt x="92659" y="28235"/>
                </a:lnTo>
                <a:cubicBezTo>
                  <a:pt x="92211" y="27338"/>
                  <a:pt x="91315" y="26890"/>
                  <a:pt x="90866" y="26890"/>
                </a:cubicBezTo>
                <a:lnTo>
                  <a:pt x="62632" y="26890"/>
                </a:lnTo>
                <a:lnTo>
                  <a:pt x="48290" y="1345"/>
                </a:lnTo>
                <a:cubicBezTo>
                  <a:pt x="47842" y="448"/>
                  <a:pt x="46946" y="0"/>
                  <a:pt x="46498" y="0"/>
                </a:cubicBezTo>
                <a:lnTo>
                  <a:pt x="16918" y="0"/>
                </a:lnTo>
                <a:cubicBezTo>
                  <a:pt x="16022" y="0"/>
                  <a:pt x="15126" y="448"/>
                  <a:pt x="15126" y="1345"/>
                </a:cubicBezTo>
                <a:lnTo>
                  <a:pt x="336" y="28235"/>
                </a:lnTo>
                <a:cubicBezTo>
                  <a:pt x="-112" y="29131"/>
                  <a:pt x="-112" y="29579"/>
                  <a:pt x="336" y="30476"/>
                </a:cubicBezTo>
                <a:lnTo>
                  <a:pt x="14678" y="56469"/>
                </a:lnTo>
                <a:lnTo>
                  <a:pt x="336" y="82463"/>
                </a:lnTo>
                <a:cubicBezTo>
                  <a:pt x="-112" y="83360"/>
                  <a:pt x="-112" y="83808"/>
                  <a:pt x="336" y="84704"/>
                </a:cubicBezTo>
                <a:lnTo>
                  <a:pt x="15126" y="111594"/>
                </a:lnTo>
                <a:cubicBezTo>
                  <a:pt x="15574" y="112491"/>
                  <a:pt x="16470" y="112939"/>
                  <a:pt x="16918" y="112939"/>
                </a:cubicBezTo>
                <a:lnTo>
                  <a:pt x="46498" y="112939"/>
                </a:lnTo>
                <a:cubicBezTo>
                  <a:pt x="47394" y="112939"/>
                  <a:pt x="48290" y="112491"/>
                  <a:pt x="48290" y="111594"/>
                </a:cubicBezTo>
                <a:lnTo>
                  <a:pt x="62632" y="86049"/>
                </a:lnTo>
                <a:lnTo>
                  <a:pt x="89522" y="86049"/>
                </a:lnTo>
                <a:lnTo>
                  <a:pt x="103863" y="111594"/>
                </a:lnTo>
                <a:cubicBezTo>
                  <a:pt x="104312" y="112491"/>
                  <a:pt x="105208" y="112939"/>
                  <a:pt x="105656" y="112939"/>
                </a:cubicBezTo>
                <a:lnTo>
                  <a:pt x="135235" y="112939"/>
                </a:lnTo>
                <a:cubicBezTo>
                  <a:pt x="136132" y="112939"/>
                  <a:pt x="137028" y="112491"/>
                  <a:pt x="137028" y="111594"/>
                </a:cubicBezTo>
                <a:lnTo>
                  <a:pt x="151818" y="84704"/>
                </a:lnTo>
                <a:cubicBezTo>
                  <a:pt x="151818" y="83360"/>
                  <a:pt x="151818" y="82463"/>
                  <a:pt x="151818" y="82015"/>
                </a:cubicBezTo>
                <a:close/>
                <a:moveTo>
                  <a:pt x="102967" y="56021"/>
                </a:moveTo>
                <a:lnTo>
                  <a:pt x="89522" y="80671"/>
                </a:lnTo>
                <a:lnTo>
                  <a:pt x="62632" y="80671"/>
                </a:lnTo>
                <a:lnTo>
                  <a:pt x="49187" y="56021"/>
                </a:lnTo>
                <a:lnTo>
                  <a:pt x="62632" y="31372"/>
                </a:lnTo>
                <a:lnTo>
                  <a:pt x="89522" y="31372"/>
                </a:lnTo>
                <a:lnTo>
                  <a:pt x="102967" y="56021"/>
                </a:lnTo>
                <a:close/>
                <a:moveTo>
                  <a:pt x="17815" y="4482"/>
                </a:moveTo>
                <a:lnTo>
                  <a:pt x="44705" y="4482"/>
                </a:lnTo>
                <a:lnTo>
                  <a:pt x="58150" y="29131"/>
                </a:lnTo>
                <a:lnTo>
                  <a:pt x="44705" y="53780"/>
                </a:lnTo>
                <a:lnTo>
                  <a:pt x="17815" y="53780"/>
                </a:lnTo>
                <a:lnTo>
                  <a:pt x="4370" y="29131"/>
                </a:lnTo>
                <a:lnTo>
                  <a:pt x="17815" y="4482"/>
                </a:lnTo>
                <a:close/>
                <a:moveTo>
                  <a:pt x="44705" y="107561"/>
                </a:moveTo>
                <a:lnTo>
                  <a:pt x="17815" y="107561"/>
                </a:lnTo>
                <a:lnTo>
                  <a:pt x="4370" y="82912"/>
                </a:lnTo>
                <a:lnTo>
                  <a:pt x="17815" y="58262"/>
                </a:lnTo>
                <a:lnTo>
                  <a:pt x="44705" y="58262"/>
                </a:lnTo>
                <a:lnTo>
                  <a:pt x="58150" y="82912"/>
                </a:lnTo>
                <a:lnTo>
                  <a:pt x="44705" y="107561"/>
                </a:lnTo>
                <a:close/>
                <a:moveTo>
                  <a:pt x="133443" y="107561"/>
                </a:moveTo>
                <a:lnTo>
                  <a:pt x="106552" y="107561"/>
                </a:lnTo>
                <a:lnTo>
                  <a:pt x="93107" y="82912"/>
                </a:lnTo>
                <a:lnTo>
                  <a:pt x="106552" y="58262"/>
                </a:lnTo>
                <a:lnTo>
                  <a:pt x="133443" y="58262"/>
                </a:lnTo>
                <a:lnTo>
                  <a:pt x="146888" y="82912"/>
                </a:lnTo>
                <a:lnTo>
                  <a:pt x="133443" y="107561"/>
                </a:lnTo>
                <a:close/>
              </a:path>
            </a:pathLst>
          </a:custGeom>
          <a:solidFill>
            <a:srgbClr val="231F20"/>
          </a:solidFill>
          <a:ln w="4477" cap="flat">
            <a:noFill/>
            <a:prstDash val="solid"/>
            <a:miter/>
          </a:ln>
        </p:spPr>
        <p:txBody>
          <a:bodyPr rtlCol="0" anchor="ctr"/>
          <a:lstStyle/>
          <a:p>
            <a:endParaRPr lang="en-US"/>
          </a:p>
        </p:txBody>
      </p:sp>
      <p:grpSp>
        <p:nvGrpSpPr>
          <p:cNvPr id="2481" name="Group 2480">
            <a:extLst>
              <a:ext uri="{FF2B5EF4-FFF2-40B4-BE49-F238E27FC236}">
                <a16:creationId xmlns:a16="http://schemas.microsoft.com/office/drawing/2014/main" id="{D0B0B0B3-37D7-4A7A-86AF-63F0566C8476}"/>
              </a:ext>
              <a:ext uri="{C183D7F6-B498-43B3-948B-1728B52AA6E4}">
                <adec:decorative xmlns:adec="http://schemas.microsoft.com/office/drawing/2017/decorative" val="1"/>
              </a:ext>
            </a:extLst>
          </p:cNvPr>
          <p:cNvGrpSpPr>
            <a:grpSpLocks noChangeAspect="1"/>
          </p:cNvGrpSpPr>
          <p:nvPr/>
        </p:nvGrpSpPr>
        <p:grpSpPr>
          <a:xfrm>
            <a:off x="10120783" y="4515234"/>
            <a:ext cx="129969" cy="152378"/>
            <a:chOff x="10177283" y="2459543"/>
            <a:chExt cx="129969" cy="152378"/>
          </a:xfrm>
        </p:grpSpPr>
        <p:sp>
          <p:nvSpPr>
            <p:cNvPr id="5406" name="Freeform: Shape 5405">
              <a:extLst>
                <a:ext uri="{FF2B5EF4-FFF2-40B4-BE49-F238E27FC236}">
                  <a16:creationId xmlns:a16="http://schemas.microsoft.com/office/drawing/2014/main" id="{07DC16A0-6283-4CF8-8EEF-92E39486B340}"/>
                </a:ext>
              </a:extLst>
            </p:cNvPr>
            <p:cNvSpPr/>
            <p:nvPr/>
          </p:nvSpPr>
          <p:spPr>
            <a:xfrm>
              <a:off x="10177283" y="2459543"/>
              <a:ext cx="129969" cy="152378"/>
            </a:xfrm>
            <a:custGeom>
              <a:avLst/>
              <a:gdLst>
                <a:gd name="connsiteX0" fmla="*/ 130642 w 129969"/>
                <a:gd name="connsiteY0" fmla="*/ 129521 h 152377"/>
                <a:gd name="connsiteX1" fmla="*/ 82687 w 129969"/>
                <a:gd name="connsiteY1" fmla="*/ 47058 h 152377"/>
                <a:gd name="connsiteX2" fmla="*/ 82687 w 129969"/>
                <a:gd name="connsiteY2" fmla="*/ 4482 h 152377"/>
                <a:gd name="connsiteX3" fmla="*/ 89858 w 129969"/>
                <a:gd name="connsiteY3" fmla="*/ 4482 h 152377"/>
                <a:gd name="connsiteX4" fmla="*/ 92099 w 129969"/>
                <a:gd name="connsiteY4" fmla="*/ 2241 h 152377"/>
                <a:gd name="connsiteX5" fmla="*/ 89858 w 129969"/>
                <a:gd name="connsiteY5" fmla="*/ 0 h 152377"/>
                <a:gd name="connsiteX6" fmla="*/ 80446 w 129969"/>
                <a:gd name="connsiteY6" fmla="*/ 0 h 152377"/>
                <a:gd name="connsiteX7" fmla="*/ 52660 w 129969"/>
                <a:gd name="connsiteY7" fmla="*/ 0 h 152377"/>
                <a:gd name="connsiteX8" fmla="*/ 43248 w 129969"/>
                <a:gd name="connsiteY8" fmla="*/ 0 h 152377"/>
                <a:gd name="connsiteX9" fmla="*/ 41008 w 129969"/>
                <a:gd name="connsiteY9" fmla="*/ 2241 h 152377"/>
                <a:gd name="connsiteX10" fmla="*/ 43248 w 129969"/>
                <a:gd name="connsiteY10" fmla="*/ 4482 h 152377"/>
                <a:gd name="connsiteX11" fmla="*/ 50419 w 129969"/>
                <a:gd name="connsiteY11" fmla="*/ 4482 h 152377"/>
                <a:gd name="connsiteX12" fmla="*/ 50419 w 129969"/>
                <a:gd name="connsiteY12" fmla="*/ 47058 h 152377"/>
                <a:gd name="connsiteX13" fmla="*/ 2017 w 129969"/>
                <a:gd name="connsiteY13" fmla="*/ 129521 h 152377"/>
                <a:gd name="connsiteX14" fmla="*/ 2017 w 129969"/>
                <a:gd name="connsiteY14" fmla="*/ 144759 h 152377"/>
                <a:gd name="connsiteX15" fmla="*/ 15910 w 129969"/>
                <a:gd name="connsiteY15" fmla="*/ 152378 h 152377"/>
                <a:gd name="connsiteX16" fmla="*/ 117196 w 129969"/>
                <a:gd name="connsiteY16" fmla="*/ 152378 h 152377"/>
                <a:gd name="connsiteX17" fmla="*/ 131090 w 129969"/>
                <a:gd name="connsiteY17" fmla="*/ 144759 h 152377"/>
                <a:gd name="connsiteX18" fmla="*/ 130642 w 129969"/>
                <a:gd name="connsiteY18" fmla="*/ 129521 h 152377"/>
                <a:gd name="connsiteX19" fmla="*/ 54453 w 129969"/>
                <a:gd name="connsiteY19" fmla="*/ 48851 h 152377"/>
                <a:gd name="connsiteX20" fmla="*/ 54901 w 129969"/>
                <a:gd name="connsiteY20" fmla="*/ 47506 h 152377"/>
                <a:gd name="connsiteX21" fmla="*/ 54901 w 129969"/>
                <a:gd name="connsiteY21" fmla="*/ 4482 h 152377"/>
                <a:gd name="connsiteX22" fmla="*/ 78206 w 129969"/>
                <a:gd name="connsiteY22" fmla="*/ 4482 h 152377"/>
                <a:gd name="connsiteX23" fmla="*/ 78206 w 129969"/>
                <a:gd name="connsiteY23" fmla="*/ 47506 h 152377"/>
                <a:gd name="connsiteX24" fmla="*/ 78654 w 129969"/>
                <a:gd name="connsiteY24" fmla="*/ 48851 h 152377"/>
                <a:gd name="connsiteX25" fmla="*/ 101511 w 129969"/>
                <a:gd name="connsiteY25" fmla="*/ 87841 h 152377"/>
                <a:gd name="connsiteX26" fmla="*/ 32492 w 129969"/>
                <a:gd name="connsiteY26" fmla="*/ 87841 h 152377"/>
                <a:gd name="connsiteX27" fmla="*/ 54453 w 129969"/>
                <a:gd name="connsiteY27" fmla="*/ 48851 h 152377"/>
                <a:gd name="connsiteX28" fmla="*/ 127056 w 129969"/>
                <a:gd name="connsiteY28" fmla="*/ 142518 h 152377"/>
                <a:gd name="connsiteX29" fmla="*/ 117196 w 129969"/>
                <a:gd name="connsiteY29" fmla="*/ 147896 h 152377"/>
                <a:gd name="connsiteX30" fmla="*/ 15910 w 129969"/>
                <a:gd name="connsiteY30" fmla="*/ 147896 h 152377"/>
                <a:gd name="connsiteX31" fmla="*/ 6050 w 129969"/>
                <a:gd name="connsiteY31" fmla="*/ 142518 h 152377"/>
                <a:gd name="connsiteX32" fmla="*/ 6050 w 129969"/>
                <a:gd name="connsiteY32" fmla="*/ 131762 h 152377"/>
                <a:gd name="connsiteX33" fmla="*/ 29355 w 129969"/>
                <a:gd name="connsiteY33" fmla="*/ 91875 h 152377"/>
                <a:gd name="connsiteX34" fmla="*/ 29803 w 129969"/>
                <a:gd name="connsiteY34" fmla="*/ 91875 h 152377"/>
                <a:gd name="connsiteX35" fmla="*/ 103751 w 129969"/>
                <a:gd name="connsiteY35" fmla="*/ 91875 h 152377"/>
                <a:gd name="connsiteX36" fmla="*/ 127056 w 129969"/>
                <a:gd name="connsiteY36" fmla="*/ 131762 h 152377"/>
                <a:gd name="connsiteX37" fmla="*/ 127056 w 129969"/>
                <a:gd name="connsiteY37" fmla="*/ 14251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9969" h="152377">
                  <a:moveTo>
                    <a:pt x="130642" y="129521"/>
                  </a:moveTo>
                  <a:lnTo>
                    <a:pt x="82687" y="47058"/>
                  </a:lnTo>
                  <a:lnTo>
                    <a:pt x="82687" y="4482"/>
                  </a:lnTo>
                  <a:lnTo>
                    <a:pt x="89858" y="4482"/>
                  </a:lnTo>
                  <a:cubicBezTo>
                    <a:pt x="91203" y="4482"/>
                    <a:pt x="92099" y="3585"/>
                    <a:pt x="92099" y="2241"/>
                  </a:cubicBezTo>
                  <a:cubicBezTo>
                    <a:pt x="92099" y="896"/>
                    <a:pt x="91203" y="0"/>
                    <a:pt x="89858" y="0"/>
                  </a:cubicBezTo>
                  <a:lnTo>
                    <a:pt x="80446" y="0"/>
                  </a:lnTo>
                  <a:lnTo>
                    <a:pt x="52660" y="0"/>
                  </a:lnTo>
                  <a:lnTo>
                    <a:pt x="43248" y="0"/>
                  </a:lnTo>
                  <a:cubicBezTo>
                    <a:pt x="41904" y="0"/>
                    <a:pt x="41008" y="896"/>
                    <a:pt x="41008" y="2241"/>
                  </a:cubicBezTo>
                  <a:cubicBezTo>
                    <a:pt x="41008" y="3585"/>
                    <a:pt x="41904" y="4482"/>
                    <a:pt x="43248" y="4482"/>
                  </a:cubicBezTo>
                  <a:lnTo>
                    <a:pt x="50419" y="4482"/>
                  </a:lnTo>
                  <a:lnTo>
                    <a:pt x="50419" y="47058"/>
                  </a:lnTo>
                  <a:lnTo>
                    <a:pt x="2017" y="129521"/>
                  </a:lnTo>
                  <a:cubicBezTo>
                    <a:pt x="-672" y="134451"/>
                    <a:pt x="-672" y="139829"/>
                    <a:pt x="2017" y="144759"/>
                  </a:cubicBezTo>
                  <a:cubicBezTo>
                    <a:pt x="4706" y="149689"/>
                    <a:pt x="10084" y="152378"/>
                    <a:pt x="15910" y="152378"/>
                  </a:cubicBezTo>
                  <a:lnTo>
                    <a:pt x="117196" y="152378"/>
                  </a:lnTo>
                  <a:cubicBezTo>
                    <a:pt x="123023" y="152378"/>
                    <a:pt x="127952" y="149241"/>
                    <a:pt x="131090" y="144759"/>
                  </a:cubicBezTo>
                  <a:cubicBezTo>
                    <a:pt x="133779" y="139829"/>
                    <a:pt x="133330" y="134003"/>
                    <a:pt x="130642" y="129521"/>
                  </a:cubicBezTo>
                  <a:close/>
                  <a:moveTo>
                    <a:pt x="54453" y="48851"/>
                  </a:moveTo>
                  <a:cubicBezTo>
                    <a:pt x="54453" y="48402"/>
                    <a:pt x="54901" y="47954"/>
                    <a:pt x="54901" y="47506"/>
                  </a:cubicBezTo>
                  <a:lnTo>
                    <a:pt x="54901" y="4482"/>
                  </a:lnTo>
                  <a:lnTo>
                    <a:pt x="78206" y="4482"/>
                  </a:lnTo>
                  <a:lnTo>
                    <a:pt x="78206" y="47506"/>
                  </a:lnTo>
                  <a:cubicBezTo>
                    <a:pt x="78206" y="47954"/>
                    <a:pt x="78206" y="48402"/>
                    <a:pt x="78654" y="48851"/>
                  </a:cubicBezTo>
                  <a:lnTo>
                    <a:pt x="101511" y="87841"/>
                  </a:lnTo>
                  <a:lnTo>
                    <a:pt x="32492" y="87841"/>
                  </a:lnTo>
                  <a:lnTo>
                    <a:pt x="54453" y="48851"/>
                  </a:lnTo>
                  <a:close/>
                  <a:moveTo>
                    <a:pt x="127056" y="142518"/>
                  </a:moveTo>
                  <a:cubicBezTo>
                    <a:pt x="125263" y="146104"/>
                    <a:pt x="121230" y="147896"/>
                    <a:pt x="117196" y="147896"/>
                  </a:cubicBezTo>
                  <a:lnTo>
                    <a:pt x="15910" y="147896"/>
                  </a:lnTo>
                  <a:cubicBezTo>
                    <a:pt x="11876" y="147896"/>
                    <a:pt x="8291" y="145655"/>
                    <a:pt x="6050" y="142518"/>
                  </a:cubicBezTo>
                  <a:cubicBezTo>
                    <a:pt x="4258" y="139381"/>
                    <a:pt x="4258" y="135347"/>
                    <a:pt x="6050" y="131762"/>
                  </a:cubicBezTo>
                  <a:lnTo>
                    <a:pt x="29355" y="91875"/>
                  </a:lnTo>
                  <a:cubicBezTo>
                    <a:pt x="29355" y="91875"/>
                    <a:pt x="29803" y="91875"/>
                    <a:pt x="29803" y="91875"/>
                  </a:cubicBezTo>
                  <a:lnTo>
                    <a:pt x="103751" y="91875"/>
                  </a:lnTo>
                  <a:lnTo>
                    <a:pt x="127056" y="131762"/>
                  </a:lnTo>
                  <a:cubicBezTo>
                    <a:pt x="128849" y="134899"/>
                    <a:pt x="128849" y="138933"/>
                    <a:pt x="127056" y="142518"/>
                  </a:cubicBezTo>
                  <a:close/>
                </a:path>
              </a:pathLst>
            </a:custGeom>
            <a:solidFill>
              <a:srgbClr val="231F20"/>
            </a:solidFill>
            <a:ln w="4477" cap="flat">
              <a:noFill/>
              <a:prstDash val="solid"/>
              <a:miter/>
            </a:ln>
          </p:spPr>
          <p:txBody>
            <a:bodyPr rtlCol="0" anchor="ctr"/>
            <a:lstStyle/>
            <a:p>
              <a:endParaRPr lang="en-US"/>
            </a:p>
          </p:txBody>
        </p:sp>
        <p:sp>
          <p:nvSpPr>
            <p:cNvPr id="5407" name="Freeform: Shape 5406">
              <a:extLst>
                <a:ext uri="{FF2B5EF4-FFF2-40B4-BE49-F238E27FC236}">
                  <a16:creationId xmlns:a16="http://schemas.microsoft.com/office/drawing/2014/main" id="{2E870C24-8250-42FB-A7EC-F89789306300}"/>
                </a:ext>
              </a:extLst>
            </p:cNvPr>
            <p:cNvSpPr/>
            <p:nvPr/>
          </p:nvSpPr>
          <p:spPr>
            <a:xfrm>
              <a:off x="10286861" y="2587271"/>
              <a:ext cx="8963" cy="4482"/>
            </a:xfrm>
            <a:custGeom>
              <a:avLst/>
              <a:gdLst>
                <a:gd name="connsiteX0" fmla="*/ 8067 w 8963"/>
                <a:gd name="connsiteY0" fmla="*/ 0 h 4481"/>
                <a:gd name="connsiteX1" fmla="*/ 2241 w 8963"/>
                <a:gd name="connsiteY1" fmla="*/ 0 h 4481"/>
                <a:gd name="connsiteX2" fmla="*/ 0 w 8963"/>
                <a:gd name="connsiteY2" fmla="*/ 2241 h 4481"/>
                <a:gd name="connsiteX3" fmla="*/ 2241 w 8963"/>
                <a:gd name="connsiteY3" fmla="*/ 4482 h 4481"/>
                <a:gd name="connsiteX4" fmla="*/ 8067 w 8963"/>
                <a:gd name="connsiteY4" fmla="*/ 4482 h 4481"/>
                <a:gd name="connsiteX5" fmla="*/ 10308 w 8963"/>
                <a:gd name="connsiteY5" fmla="*/ 2241 h 4481"/>
                <a:gd name="connsiteX6" fmla="*/ 8067 w 8963"/>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8067" y="0"/>
                  </a:moveTo>
                  <a:lnTo>
                    <a:pt x="2241" y="0"/>
                  </a:lnTo>
                  <a:cubicBezTo>
                    <a:pt x="896" y="0"/>
                    <a:pt x="0" y="896"/>
                    <a:pt x="0" y="2241"/>
                  </a:cubicBezTo>
                  <a:cubicBezTo>
                    <a:pt x="0" y="3585"/>
                    <a:pt x="896" y="4482"/>
                    <a:pt x="2241" y="4482"/>
                  </a:cubicBezTo>
                  <a:lnTo>
                    <a:pt x="8067" y="4482"/>
                  </a:lnTo>
                  <a:cubicBezTo>
                    <a:pt x="9411" y="4482"/>
                    <a:pt x="10308" y="3585"/>
                    <a:pt x="10308" y="2241"/>
                  </a:cubicBezTo>
                  <a:cubicBezTo>
                    <a:pt x="10308" y="896"/>
                    <a:pt x="8963" y="0"/>
                    <a:pt x="8067" y="0"/>
                  </a:cubicBezTo>
                  <a:close/>
                </a:path>
              </a:pathLst>
            </a:custGeom>
            <a:solidFill>
              <a:srgbClr val="231F20"/>
            </a:solidFill>
            <a:ln w="4477" cap="flat">
              <a:noFill/>
              <a:prstDash val="solid"/>
              <a:miter/>
            </a:ln>
          </p:spPr>
          <p:txBody>
            <a:bodyPr rtlCol="0" anchor="ctr"/>
            <a:lstStyle/>
            <a:p>
              <a:endParaRPr lang="en-US"/>
            </a:p>
          </p:txBody>
        </p:sp>
        <p:sp>
          <p:nvSpPr>
            <p:cNvPr id="5408" name="Freeform: Shape 5407">
              <a:extLst>
                <a:ext uri="{FF2B5EF4-FFF2-40B4-BE49-F238E27FC236}">
                  <a16:creationId xmlns:a16="http://schemas.microsoft.com/office/drawing/2014/main" id="{18FDEE46-1192-4F24-9757-A1DBE2B88616}"/>
                </a:ext>
              </a:extLst>
            </p:cNvPr>
            <p:cNvSpPr/>
            <p:nvPr/>
          </p:nvSpPr>
          <p:spPr>
            <a:xfrm>
              <a:off x="10279242" y="2573826"/>
              <a:ext cx="8963" cy="4482"/>
            </a:xfrm>
            <a:custGeom>
              <a:avLst/>
              <a:gdLst>
                <a:gd name="connsiteX0" fmla="*/ 10308 w 8963"/>
                <a:gd name="connsiteY0" fmla="*/ 2241 h 4481"/>
                <a:gd name="connsiteX1" fmla="*/ 8067 w 8963"/>
                <a:gd name="connsiteY1" fmla="*/ 0 h 4481"/>
                <a:gd name="connsiteX2" fmla="*/ 2241 w 8963"/>
                <a:gd name="connsiteY2" fmla="*/ 0 h 4481"/>
                <a:gd name="connsiteX3" fmla="*/ 0 w 8963"/>
                <a:gd name="connsiteY3" fmla="*/ 2241 h 4481"/>
                <a:gd name="connsiteX4" fmla="*/ 2241 w 8963"/>
                <a:gd name="connsiteY4" fmla="*/ 4482 h 4481"/>
                <a:gd name="connsiteX5" fmla="*/ 8067 w 8963"/>
                <a:gd name="connsiteY5" fmla="*/ 4482 h 4481"/>
                <a:gd name="connsiteX6" fmla="*/ 10308 w 8963"/>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10308" y="2241"/>
                  </a:moveTo>
                  <a:cubicBezTo>
                    <a:pt x="10308" y="896"/>
                    <a:pt x="9412" y="0"/>
                    <a:pt x="8067" y="0"/>
                  </a:cubicBezTo>
                  <a:lnTo>
                    <a:pt x="2241" y="0"/>
                  </a:lnTo>
                  <a:cubicBezTo>
                    <a:pt x="896" y="0"/>
                    <a:pt x="0" y="896"/>
                    <a:pt x="0" y="2241"/>
                  </a:cubicBezTo>
                  <a:cubicBezTo>
                    <a:pt x="0" y="3585"/>
                    <a:pt x="896" y="4482"/>
                    <a:pt x="2241" y="4482"/>
                  </a:cubicBezTo>
                  <a:lnTo>
                    <a:pt x="8067" y="4482"/>
                  </a:lnTo>
                  <a:cubicBezTo>
                    <a:pt x="8963" y="4482"/>
                    <a:pt x="10308" y="3585"/>
                    <a:pt x="10308" y="2241"/>
                  </a:cubicBezTo>
                  <a:close/>
                </a:path>
              </a:pathLst>
            </a:custGeom>
            <a:solidFill>
              <a:srgbClr val="231F20"/>
            </a:solidFill>
            <a:ln w="4477" cap="flat">
              <a:noFill/>
              <a:prstDash val="solid"/>
              <a:miter/>
            </a:ln>
          </p:spPr>
          <p:txBody>
            <a:bodyPr rtlCol="0" anchor="ctr"/>
            <a:lstStyle/>
            <a:p>
              <a:endParaRPr lang="en-US"/>
            </a:p>
          </p:txBody>
        </p:sp>
        <p:sp>
          <p:nvSpPr>
            <p:cNvPr id="5409" name="Freeform: Shape 5408">
              <a:extLst>
                <a:ext uri="{FF2B5EF4-FFF2-40B4-BE49-F238E27FC236}">
                  <a16:creationId xmlns:a16="http://schemas.microsoft.com/office/drawing/2014/main" id="{F05AF1B3-A9DB-451C-8E91-4C51A925279D}"/>
                </a:ext>
              </a:extLst>
            </p:cNvPr>
            <p:cNvSpPr/>
            <p:nvPr/>
          </p:nvSpPr>
          <p:spPr>
            <a:xfrm>
              <a:off x="10271623" y="2560381"/>
              <a:ext cx="8963" cy="4482"/>
            </a:xfrm>
            <a:custGeom>
              <a:avLst/>
              <a:gdLst>
                <a:gd name="connsiteX0" fmla="*/ 10308 w 8963"/>
                <a:gd name="connsiteY0" fmla="*/ 2241 h 4481"/>
                <a:gd name="connsiteX1" fmla="*/ 8067 w 8963"/>
                <a:gd name="connsiteY1" fmla="*/ 0 h 4481"/>
                <a:gd name="connsiteX2" fmla="*/ 2241 w 8963"/>
                <a:gd name="connsiteY2" fmla="*/ 0 h 4481"/>
                <a:gd name="connsiteX3" fmla="*/ 0 w 8963"/>
                <a:gd name="connsiteY3" fmla="*/ 2241 h 4481"/>
                <a:gd name="connsiteX4" fmla="*/ 2241 w 8963"/>
                <a:gd name="connsiteY4" fmla="*/ 4482 h 4481"/>
                <a:gd name="connsiteX5" fmla="*/ 8067 w 8963"/>
                <a:gd name="connsiteY5" fmla="*/ 4482 h 4481"/>
                <a:gd name="connsiteX6" fmla="*/ 10308 w 8963"/>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10308" y="2241"/>
                  </a:moveTo>
                  <a:cubicBezTo>
                    <a:pt x="10308" y="896"/>
                    <a:pt x="9412" y="0"/>
                    <a:pt x="8067" y="0"/>
                  </a:cubicBezTo>
                  <a:lnTo>
                    <a:pt x="2241" y="0"/>
                  </a:lnTo>
                  <a:cubicBezTo>
                    <a:pt x="896" y="0"/>
                    <a:pt x="0" y="896"/>
                    <a:pt x="0" y="2241"/>
                  </a:cubicBezTo>
                  <a:cubicBezTo>
                    <a:pt x="0" y="3585"/>
                    <a:pt x="896" y="4482"/>
                    <a:pt x="2241" y="4482"/>
                  </a:cubicBezTo>
                  <a:lnTo>
                    <a:pt x="8067" y="4482"/>
                  </a:lnTo>
                  <a:cubicBezTo>
                    <a:pt x="9412" y="4482"/>
                    <a:pt x="10308" y="3585"/>
                    <a:pt x="10308" y="2241"/>
                  </a:cubicBezTo>
                  <a:close/>
                </a:path>
              </a:pathLst>
            </a:custGeom>
            <a:solidFill>
              <a:srgbClr val="231F20"/>
            </a:solidFill>
            <a:ln w="4477" cap="flat">
              <a:noFill/>
              <a:prstDash val="solid"/>
              <a:miter/>
            </a:ln>
          </p:spPr>
          <p:txBody>
            <a:bodyPr rtlCol="0" anchor="ctr"/>
            <a:lstStyle/>
            <a:p>
              <a:endParaRPr lang="en-US"/>
            </a:p>
          </p:txBody>
        </p:sp>
        <p:sp>
          <p:nvSpPr>
            <p:cNvPr id="5410" name="Freeform: Shape 5409">
              <a:extLst>
                <a:ext uri="{FF2B5EF4-FFF2-40B4-BE49-F238E27FC236}">
                  <a16:creationId xmlns:a16="http://schemas.microsoft.com/office/drawing/2014/main" id="{907B14BA-69CF-48E3-A7A5-1F41122560BF}"/>
                </a:ext>
              </a:extLst>
            </p:cNvPr>
            <p:cNvSpPr/>
            <p:nvPr/>
          </p:nvSpPr>
          <p:spPr>
            <a:xfrm>
              <a:off x="10256385" y="2533491"/>
              <a:ext cx="8963" cy="4482"/>
            </a:xfrm>
            <a:custGeom>
              <a:avLst/>
              <a:gdLst>
                <a:gd name="connsiteX0" fmla="*/ 0 w 8963"/>
                <a:gd name="connsiteY0" fmla="*/ 2241 h 4481"/>
                <a:gd name="connsiteX1" fmla="*/ 2241 w 8963"/>
                <a:gd name="connsiteY1" fmla="*/ 4482 h 4481"/>
                <a:gd name="connsiteX2" fmla="*/ 8067 w 8963"/>
                <a:gd name="connsiteY2" fmla="*/ 4482 h 4481"/>
                <a:gd name="connsiteX3" fmla="*/ 10308 w 8963"/>
                <a:gd name="connsiteY3" fmla="*/ 2241 h 4481"/>
                <a:gd name="connsiteX4" fmla="*/ 8067 w 8963"/>
                <a:gd name="connsiteY4" fmla="*/ 0 h 4481"/>
                <a:gd name="connsiteX5" fmla="*/ 2241 w 8963"/>
                <a:gd name="connsiteY5" fmla="*/ 0 h 4481"/>
                <a:gd name="connsiteX6" fmla="*/ 0 w 8963"/>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0" y="2241"/>
                  </a:moveTo>
                  <a:cubicBezTo>
                    <a:pt x="0" y="3585"/>
                    <a:pt x="896" y="4482"/>
                    <a:pt x="2241" y="4482"/>
                  </a:cubicBezTo>
                  <a:lnTo>
                    <a:pt x="8067" y="4482"/>
                  </a:lnTo>
                  <a:cubicBezTo>
                    <a:pt x="9411" y="4482"/>
                    <a:pt x="10308" y="3585"/>
                    <a:pt x="10308" y="2241"/>
                  </a:cubicBezTo>
                  <a:cubicBezTo>
                    <a:pt x="10308" y="896"/>
                    <a:pt x="9411" y="0"/>
                    <a:pt x="8067" y="0"/>
                  </a:cubicBezTo>
                  <a:lnTo>
                    <a:pt x="2241" y="0"/>
                  </a:ln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5411" name="Freeform: Shape 5410">
              <a:extLst>
                <a:ext uri="{FF2B5EF4-FFF2-40B4-BE49-F238E27FC236}">
                  <a16:creationId xmlns:a16="http://schemas.microsoft.com/office/drawing/2014/main" id="{74CBAC9F-BA5B-4D5F-B392-F591648DC754}"/>
                </a:ext>
              </a:extLst>
            </p:cNvPr>
            <p:cNvSpPr/>
            <p:nvPr/>
          </p:nvSpPr>
          <p:spPr>
            <a:xfrm>
              <a:off x="10248318" y="252004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1" y="4482"/>
                    <a:pt x="10308" y="3585"/>
                    <a:pt x="10308" y="2241"/>
                  </a:cubicBezTo>
                  <a:cubicBezTo>
                    <a:pt x="10308" y="896"/>
                    <a:pt x="9411"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grpSp>
        <p:nvGrpSpPr>
          <p:cNvPr id="2482" name="Group 2481">
            <a:extLst>
              <a:ext uri="{FF2B5EF4-FFF2-40B4-BE49-F238E27FC236}">
                <a16:creationId xmlns:a16="http://schemas.microsoft.com/office/drawing/2014/main" id="{2D0BC6AC-2CF8-4720-ADB3-408F081823F6}"/>
              </a:ext>
              <a:ext uri="{C183D7F6-B498-43B3-948B-1728B52AA6E4}">
                <adec:decorative xmlns:adec="http://schemas.microsoft.com/office/drawing/2017/decorative" val="1"/>
              </a:ext>
            </a:extLst>
          </p:cNvPr>
          <p:cNvGrpSpPr>
            <a:grpSpLocks noChangeAspect="1"/>
          </p:cNvGrpSpPr>
          <p:nvPr/>
        </p:nvGrpSpPr>
        <p:grpSpPr>
          <a:xfrm>
            <a:off x="7744079" y="4530763"/>
            <a:ext cx="150538" cy="133429"/>
            <a:chOff x="7800579" y="2475072"/>
            <a:chExt cx="150538" cy="133429"/>
          </a:xfrm>
        </p:grpSpPr>
        <p:sp>
          <p:nvSpPr>
            <p:cNvPr id="5403" name="Freeform: Shape 5402">
              <a:extLst>
                <a:ext uri="{FF2B5EF4-FFF2-40B4-BE49-F238E27FC236}">
                  <a16:creationId xmlns:a16="http://schemas.microsoft.com/office/drawing/2014/main" id="{0908EFAF-783A-480E-A218-DF590145E240}"/>
                </a:ext>
              </a:extLst>
            </p:cNvPr>
            <p:cNvSpPr/>
            <p:nvPr/>
          </p:nvSpPr>
          <p:spPr>
            <a:xfrm>
              <a:off x="7870527" y="2475072"/>
              <a:ext cx="26890" cy="26890"/>
            </a:xfrm>
            <a:custGeom>
              <a:avLst/>
              <a:gdLst>
                <a:gd name="connsiteX0" fmla="*/ 6075 w 26890"/>
                <a:gd name="connsiteY0" fmla="*/ 25702 h 26890"/>
                <a:gd name="connsiteX1" fmla="*/ 13694 w 26890"/>
                <a:gd name="connsiteY1" fmla="*/ 27943 h 26890"/>
                <a:gd name="connsiteX2" fmla="*/ 25346 w 26890"/>
                <a:gd name="connsiteY2" fmla="*/ 21668 h 26890"/>
                <a:gd name="connsiteX3" fmla="*/ 27587 w 26890"/>
                <a:gd name="connsiteY3" fmla="*/ 11360 h 26890"/>
                <a:gd name="connsiteX4" fmla="*/ 21761 w 26890"/>
                <a:gd name="connsiteY4" fmla="*/ 2397 h 26890"/>
                <a:gd name="connsiteX5" fmla="*/ 11453 w 26890"/>
                <a:gd name="connsiteY5" fmla="*/ 156 h 26890"/>
                <a:gd name="connsiteX6" fmla="*/ 2490 w 26890"/>
                <a:gd name="connsiteY6" fmla="*/ 5982 h 26890"/>
                <a:gd name="connsiteX7" fmla="*/ 6075 w 26890"/>
                <a:gd name="connsiteY7" fmla="*/ 25702 h 26890"/>
                <a:gd name="connsiteX8" fmla="*/ 6075 w 26890"/>
                <a:gd name="connsiteY8" fmla="*/ 8671 h 26890"/>
                <a:gd name="connsiteX9" fmla="*/ 11901 w 26890"/>
                <a:gd name="connsiteY9" fmla="*/ 4638 h 26890"/>
                <a:gd name="connsiteX10" fmla="*/ 13694 w 26890"/>
                <a:gd name="connsiteY10" fmla="*/ 4638 h 26890"/>
                <a:gd name="connsiteX11" fmla="*/ 19072 w 26890"/>
                <a:gd name="connsiteY11" fmla="*/ 6431 h 26890"/>
                <a:gd name="connsiteX12" fmla="*/ 23105 w 26890"/>
                <a:gd name="connsiteY12" fmla="*/ 12257 h 26890"/>
                <a:gd name="connsiteX13" fmla="*/ 21761 w 26890"/>
                <a:gd name="connsiteY13" fmla="*/ 19428 h 26890"/>
                <a:gd name="connsiteX14" fmla="*/ 8764 w 26890"/>
                <a:gd name="connsiteY14" fmla="*/ 22117 h 26890"/>
                <a:gd name="connsiteX15" fmla="*/ 6075 w 26890"/>
                <a:gd name="connsiteY15" fmla="*/ 867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6075" y="25702"/>
                  </a:moveTo>
                  <a:cubicBezTo>
                    <a:pt x="8316" y="27495"/>
                    <a:pt x="11005" y="27943"/>
                    <a:pt x="13694" y="27943"/>
                  </a:cubicBezTo>
                  <a:cubicBezTo>
                    <a:pt x="18176" y="27943"/>
                    <a:pt x="22657" y="25702"/>
                    <a:pt x="25346" y="21668"/>
                  </a:cubicBezTo>
                  <a:cubicBezTo>
                    <a:pt x="27587" y="18531"/>
                    <a:pt x="28035" y="14946"/>
                    <a:pt x="27587" y="11360"/>
                  </a:cubicBezTo>
                  <a:cubicBezTo>
                    <a:pt x="26691" y="7775"/>
                    <a:pt x="24898" y="4638"/>
                    <a:pt x="21761" y="2397"/>
                  </a:cubicBezTo>
                  <a:cubicBezTo>
                    <a:pt x="18624" y="156"/>
                    <a:pt x="15038" y="-292"/>
                    <a:pt x="11453" y="156"/>
                  </a:cubicBezTo>
                  <a:cubicBezTo>
                    <a:pt x="7868" y="1053"/>
                    <a:pt x="4730" y="2845"/>
                    <a:pt x="2490" y="5982"/>
                  </a:cubicBezTo>
                  <a:cubicBezTo>
                    <a:pt x="-1992" y="12705"/>
                    <a:pt x="-199" y="21220"/>
                    <a:pt x="6075" y="25702"/>
                  </a:cubicBezTo>
                  <a:close/>
                  <a:moveTo>
                    <a:pt x="6075" y="8671"/>
                  </a:moveTo>
                  <a:cubicBezTo>
                    <a:pt x="7419" y="6431"/>
                    <a:pt x="9660" y="5086"/>
                    <a:pt x="11901" y="4638"/>
                  </a:cubicBezTo>
                  <a:cubicBezTo>
                    <a:pt x="12349" y="4638"/>
                    <a:pt x="13246" y="4638"/>
                    <a:pt x="13694" y="4638"/>
                  </a:cubicBezTo>
                  <a:cubicBezTo>
                    <a:pt x="15486" y="4638"/>
                    <a:pt x="17279" y="5086"/>
                    <a:pt x="19072" y="6431"/>
                  </a:cubicBezTo>
                  <a:cubicBezTo>
                    <a:pt x="21313" y="7775"/>
                    <a:pt x="22657" y="10016"/>
                    <a:pt x="23105" y="12257"/>
                  </a:cubicBezTo>
                  <a:cubicBezTo>
                    <a:pt x="23554" y="14946"/>
                    <a:pt x="23105" y="17187"/>
                    <a:pt x="21761" y="19428"/>
                  </a:cubicBezTo>
                  <a:cubicBezTo>
                    <a:pt x="18624" y="23909"/>
                    <a:pt x="12798" y="24806"/>
                    <a:pt x="8764" y="22117"/>
                  </a:cubicBezTo>
                  <a:cubicBezTo>
                    <a:pt x="4282" y="18979"/>
                    <a:pt x="2938" y="13153"/>
                    <a:pt x="6075" y="8671"/>
                  </a:cubicBezTo>
                  <a:close/>
                </a:path>
              </a:pathLst>
            </a:custGeom>
            <a:solidFill>
              <a:srgbClr val="231F20"/>
            </a:solidFill>
            <a:ln w="4477" cap="flat">
              <a:noFill/>
              <a:prstDash val="solid"/>
              <a:miter/>
            </a:ln>
          </p:spPr>
          <p:txBody>
            <a:bodyPr rtlCol="0" anchor="ctr"/>
            <a:lstStyle/>
            <a:p>
              <a:endParaRPr lang="en-US"/>
            </a:p>
          </p:txBody>
        </p:sp>
        <p:sp>
          <p:nvSpPr>
            <p:cNvPr id="5404" name="Freeform: Shape 5403">
              <a:extLst>
                <a:ext uri="{FF2B5EF4-FFF2-40B4-BE49-F238E27FC236}">
                  <a16:creationId xmlns:a16="http://schemas.microsoft.com/office/drawing/2014/main" id="{76746DDB-8781-48F4-AB21-958E7C8A7763}"/>
                </a:ext>
              </a:extLst>
            </p:cNvPr>
            <p:cNvSpPr/>
            <p:nvPr/>
          </p:nvSpPr>
          <p:spPr>
            <a:xfrm>
              <a:off x="7812184" y="2483013"/>
              <a:ext cx="138933" cy="125488"/>
            </a:xfrm>
            <a:custGeom>
              <a:avLst/>
              <a:gdLst>
                <a:gd name="connsiteX0" fmla="*/ 140159 w 138932"/>
                <a:gd name="connsiteY0" fmla="*/ 50926 h 125487"/>
                <a:gd name="connsiteX1" fmla="*/ 131643 w 138932"/>
                <a:gd name="connsiteY1" fmla="*/ 38377 h 125487"/>
                <a:gd name="connsiteX2" fmla="*/ 104305 w 138932"/>
                <a:gd name="connsiteY2" fmla="*/ 43755 h 125487"/>
                <a:gd name="connsiteX3" fmla="*/ 101168 w 138932"/>
                <a:gd name="connsiteY3" fmla="*/ 53166 h 125487"/>
                <a:gd name="connsiteX4" fmla="*/ 85482 w 138932"/>
                <a:gd name="connsiteY4" fmla="*/ 54959 h 125487"/>
                <a:gd name="connsiteX5" fmla="*/ 75622 w 138932"/>
                <a:gd name="connsiteY5" fmla="*/ 39273 h 125487"/>
                <a:gd name="connsiteX6" fmla="*/ 75622 w 138932"/>
                <a:gd name="connsiteY6" fmla="*/ 39273 h 125487"/>
                <a:gd name="connsiteX7" fmla="*/ 45146 w 138932"/>
                <a:gd name="connsiteY7" fmla="*/ 42859 h 125487"/>
                <a:gd name="connsiteX8" fmla="*/ 34390 w 138932"/>
                <a:gd name="connsiteY8" fmla="*/ 32999 h 125487"/>
                <a:gd name="connsiteX9" fmla="*/ 36183 w 138932"/>
                <a:gd name="connsiteY9" fmla="*/ 30758 h 125487"/>
                <a:gd name="connsiteX10" fmla="*/ 30805 w 138932"/>
                <a:gd name="connsiteY10" fmla="*/ 3419 h 125487"/>
                <a:gd name="connsiteX11" fmla="*/ 30805 w 138932"/>
                <a:gd name="connsiteY11" fmla="*/ 3419 h 125487"/>
                <a:gd name="connsiteX12" fmla="*/ 3467 w 138932"/>
                <a:gd name="connsiteY12" fmla="*/ 8798 h 125487"/>
                <a:gd name="connsiteX13" fmla="*/ 329 w 138932"/>
                <a:gd name="connsiteY13" fmla="*/ 23587 h 125487"/>
                <a:gd name="connsiteX14" fmla="*/ 8845 w 138932"/>
                <a:gd name="connsiteY14" fmla="*/ 36136 h 125487"/>
                <a:gd name="connsiteX15" fmla="*/ 20049 w 138932"/>
                <a:gd name="connsiteY15" fmla="*/ 39721 h 125487"/>
                <a:gd name="connsiteX16" fmla="*/ 31701 w 138932"/>
                <a:gd name="connsiteY16" fmla="*/ 36136 h 125487"/>
                <a:gd name="connsiteX17" fmla="*/ 42906 w 138932"/>
                <a:gd name="connsiteY17" fmla="*/ 46444 h 125487"/>
                <a:gd name="connsiteX18" fmla="*/ 39768 w 138932"/>
                <a:gd name="connsiteY18" fmla="*/ 63474 h 125487"/>
                <a:gd name="connsiteX19" fmla="*/ 49628 w 138932"/>
                <a:gd name="connsiteY19" fmla="*/ 78712 h 125487"/>
                <a:gd name="connsiteX20" fmla="*/ 51869 w 138932"/>
                <a:gd name="connsiteY20" fmla="*/ 80057 h 125487"/>
                <a:gd name="connsiteX21" fmla="*/ 45146 w 138932"/>
                <a:gd name="connsiteY21" fmla="*/ 101569 h 125487"/>
                <a:gd name="connsiteX22" fmla="*/ 33494 w 138932"/>
                <a:gd name="connsiteY22" fmla="*/ 107843 h 125487"/>
                <a:gd name="connsiteX23" fmla="*/ 37079 w 138932"/>
                <a:gd name="connsiteY23" fmla="*/ 127115 h 125487"/>
                <a:gd name="connsiteX24" fmla="*/ 44698 w 138932"/>
                <a:gd name="connsiteY24" fmla="*/ 129355 h 125487"/>
                <a:gd name="connsiteX25" fmla="*/ 47387 w 138932"/>
                <a:gd name="connsiteY25" fmla="*/ 128907 h 125487"/>
                <a:gd name="connsiteX26" fmla="*/ 56351 w 138932"/>
                <a:gd name="connsiteY26" fmla="*/ 123081 h 125487"/>
                <a:gd name="connsiteX27" fmla="*/ 52765 w 138932"/>
                <a:gd name="connsiteY27" fmla="*/ 103810 h 125487"/>
                <a:gd name="connsiteX28" fmla="*/ 52765 w 138932"/>
                <a:gd name="connsiteY28" fmla="*/ 103810 h 125487"/>
                <a:gd name="connsiteX29" fmla="*/ 49180 w 138932"/>
                <a:gd name="connsiteY29" fmla="*/ 102017 h 125487"/>
                <a:gd name="connsiteX30" fmla="*/ 55454 w 138932"/>
                <a:gd name="connsiteY30" fmla="*/ 81401 h 125487"/>
                <a:gd name="connsiteX31" fmla="*/ 62177 w 138932"/>
                <a:gd name="connsiteY31" fmla="*/ 82297 h 125487"/>
                <a:gd name="connsiteX32" fmla="*/ 81896 w 138932"/>
                <a:gd name="connsiteY32" fmla="*/ 71990 h 125487"/>
                <a:gd name="connsiteX33" fmla="*/ 85930 w 138932"/>
                <a:gd name="connsiteY33" fmla="*/ 59441 h 125487"/>
                <a:gd name="connsiteX34" fmla="*/ 101168 w 138932"/>
                <a:gd name="connsiteY34" fmla="*/ 57648 h 125487"/>
                <a:gd name="connsiteX35" fmla="*/ 109683 w 138932"/>
                <a:gd name="connsiteY35" fmla="*/ 71093 h 125487"/>
                <a:gd name="connsiteX36" fmla="*/ 120887 w 138932"/>
                <a:gd name="connsiteY36" fmla="*/ 74679 h 125487"/>
                <a:gd name="connsiteX37" fmla="*/ 137470 w 138932"/>
                <a:gd name="connsiteY37" fmla="*/ 66163 h 125487"/>
                <a:gd name="connsiteX38" fmla="*/ 140159 w 138932"/>
                <a:gd name="connsiteY38" fmla="*/ 50926 h 125487"/>
                <a:gd name="connsiteX39" fmla="*/ 52765 w 138932"/>
                <a:gd name="connsiteY39" fmla="*/ 120392 h 125487"/>
                <a:gd name="connsiteX40" fmla="*/ 46939 w 138932"/>
                <a:gd name="connsiteY40" fmla="*/ 124425 h 125487"/>
                <a:gd name="connsiteX41" fmla="*/ 39768 w 138932"/>
                <a:gd name="connsiteY41" fmla="*/ 123081 h 125487"/>
                <a:gd name="connsiteX42" fmla="*/ 37079 w 138932"/>
                <a:gd name="connsiteY42" fmla="*/ 110084 h 125487"/>
                <a:gd name="connsiteX43" fmla="*/ 44698 w 138932"/>
                <a:gd name="connsiteY43" fmla="*/ 106050 h 125487"/>
                <a:gd name="connsiteX44" fmla="*/ 50076 w 138932"/>
                <a:gd name="connsiteY44" fmla="*/ 107843 h 125487"/>
                <a:gd name="connsiteX45" fmla="*/ 52765 w 138932"/>
                <a:gd name="connsiteY45" fmla="*/ 120392 h 125487"/>
                <a:gd name="connsiteX46" fmla="*/ 11085 w 138932"/>
                <a:gd name="connsiteY46" fmla="*/ 32551 h 125487"/>
                <a:gd name="connsiteX47" fmla="*/ 4811 w 138932"/>
                <a:gd name="connsiteY47" fmla="*/ 22691 h 125487"/>
                <a:gd name="connsiteX48" fmla="*/ 7052 w 138932"/>
                <a:gd name="connsiteY48" fmla="*/ 11038 h 125487"/>
                <a:gd name="connsiteX49" fmla="*/ 19601 w 138932"/>
                <a:gd name="connsiteY49" fmla="*/ 4316 h 125487"/>
                <a:gd name="connsiteX50" fmla="*/ 28116 w 138932"/>
                <a:gd name="connsiteY50" fmla="*/ 7005 h 125487"/>
                <a:gd name="connsiteX51" fmla="*/ 32150 w 138932"/>
                <a:gd name="connsiteY51" fmla="*/ 28069 h 125487"/>
                <a:gd name="connsiteX52" fmla="*/ 11085 w 138932"/>
                <a:gd name="connsiteY52" fmla="*/ 32551 h 125487"/>
                <a:gd name="connsiteX53" fmla="*/ 78311 w 138932"/>
                <a:gd name="connsiteY53" fmla="*/ 69301 h 125487"/>
                <a:gd name="connsiteX54" fmla="*/ 51869 w 138932"/>
                <a:gd name="connsiteY54" fmla="*/ 74230 h 125487"/>
                <a:gd name="connsiteX55" fmla="*/ 43802 w 138932"/>
                <a:gd name="connsiteY55" fmla="*/ 62130 h 125487"/>
                <a:gd name="connsiteX56" fmla="*/ 46939 w 138932"/>
                <a:gd name="connsiteY56" fmla="*/ 47788 h 125487"/>
                <a:gd name="connsiteX57" fmla="*/ 62625 w 138932"/>
                <a:gd name="connsiteY57" fmla="*/ 39273 h 125487"/>
                <a:gd name="connsiteX58" fmla="*/ 73381 w 138932"/>
                <a:gd name="connsiteY58" fmla="*/ 42410 h 125487"/>
                <a:gd name="connsiteX59" fmla="*/ 73381 w 138932"/>
                <a:gd name="connsiteY59" fmla="*/ 42410 h 125487"/>
                <a:gd name="connsiteX60" fmla="*/ 78311 w 138932"/>
                <a:gd name="connsiteY60" fmla="*/ 69301 h 125487"/>
                <a:gd name="connsiteX61" fmla="*/ 133436 w 138932"/>
                <a:gd name="connsiteY61" fmla="*/ 63474 h 125487"/>
                <a:gd name="connsiteX62" fmla="*/ 112372 w 138932"/>
                <a:gd name="connsiteY62" fmla="*/ 67508 h 125487"/>
                <a:gd name="connsiteX63" fmla="*/ 108338 w 138932"/>
                <a:gd name="connsiteY63" fmla="*/ 46444 h 125487"/>
                <a:gd name="connsiteX64" fmla="*/ 120887 w 138932"/>
                <a:gd name="connsiteY64" fmla="*/ 39721 h 125487"/>
                <a:gd name="connsiteX65" fmla="*/ 129402 w 138932"/>
                <a:gd name="connsiteY65" fmla="*/ 42410 h 125487"/>
                <a:gd name="connsiteX66" fmla="*/ 135677 w 138932"/>
                <a:gd name="connsiteY66" fmla="*/ 52270 h 125487"/>
                <a:gd name="connsiteX67" fmla="*/ 133436 w 138932"/>
                <a:gd name="connsiteY67" fmla="*/ 63474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38932" h="125487">
                  <a:moveTo>
                    <a:pt x="140159" y="50926"/>
                  </a:moveTo>
                  <a:cubicBezTo>
                    <a:pt x="139262" y="45547"/>
                    <a:pt x="136125" y="41066"/>
                    <a:pt x="131643" y="38377"/>
                  </a:cubicBezTo>
                  <a:cubicBezTo>
                    <a:pt x="122680" y="32102"/>
                    <a:pt x="110131" y="34791"/>
                    <a:pt x="104305" y="43755"/>
                  </a:cubicBezTo>
                  <a:cubicBezTo>
                    <a:pt x="102512" y="46444"/>
                    <a:pt x="101168" y="50029"/>
                    <a:pt x="101168" y="53166"/>
                  </a:cubicBezTo>
                  <a:lnTo>
                    <a:pt x="85482" y="54959"/>
                  </a:lnTo>
                  <a:cubicBezTo>
                    <a:pt x="84585" y="48685"/>
                    <a:pt x="81000" y="43307"/>
                    <a:pt x="75622" y="39273"/>
                  </a:cubicBezTo>
                  <a:lnTo>
                    <a:pt x="75622" y="39273"/>
                  </a:lnTo>
                  <a:cubicBezTo>
                    <a:pt x="65762" y="32551"/>
                    <a:pt x="52765" y="34343"/>
                    <a:pt x="45146" y="42859"/>
                  </a:cubicBezTo>
                  <a:lnTo>
                    <a:pt x="34390" y="32999"/>
                  </a:lnTo>
                  <a:cubicBezTo>
                    <a:pt x="34839" y="32551"/>
                    <a:pt x="35287" y="31654"/>
                    <a:pt x="36183" y="30758"/>
                  </a:cubicBezTo>
                  <a:cubicBezTo>
                    <a:pt x="42457" y="21794"/>
                    <a:pt x="39768" y="9246"/>
                    <a:pt x="30805" y="3419"/>
                  </a:cubicBezTo>
                  <a:cubicBezTo>
                    <a:pt x="30805" y="3419"/>
                    <a:pt x="30805" y="3419"/>
                    <a:pt x="30805" y="3419"/>
                  </a:cubicBezTo>
                  <a:cubicBezTo>
                    <a:pt x="21842" y="-2855"/>
                    <a:pt x="9293" y="-166"/>
                    <a:pt x="3467" y="8798"/>
                  </a:cubicBezTo>
                  <a:cubicBezTo>
                    <a:pt x="329" y="13279"/>
                    <a:pt x="-567" y="18209"/>
                    <a:pt x="329" y="23587"/>
                  </a:cubicBezTo>
                  <a:cubicBezTo>
                    <a:pt x="1226" y="28965"/>
                    <a:pt x="4363" y="33447"/>
                    <a:pt x="8845" y="36136"/>
                  </a:cubicBezTo>
                  <a:cubicBezTo>
                    <a:pt x="12430" y="38377"/>
                    <a:pt x="16015" y="39721"/>
                    <a:pt x="20049" y="39721"/>
                  </a:cubicBezTo>
                  <a:cubicBezTo>
                    <a:pt x="24083" y="39721"/>
                    <a:pt x="28116" y="38377"/>
                    <a:pt x="31701" y="36136"/>
                  </a:cubicBezTo>
                  <a:lnTo>
                    <a:pt x="42906" y="46444"/>
                  </a:lnTo>
                  <a:cubicBezTo>
                    <a:pt x="39768" y="51374"/>
                    <a:pt x="38424" y="57200"/>
                    <a:pt x="39768" y="63474"/>
                  </a:cubicBezTo>
                  <a:cubicBezTo>
                    <a:pt x="41113" y="69749"/>
                    <a:pt x="44698" y="75127"/>
                    <a:pt x="49628" y="78712"/>
                  </a:cubicBezTo>
                  <a:cubicBezTo>
                    <a:pt x="50525" y="79160"/>
                    <a:pt x="50973" y="79608"/>
                    <a:pt x="51869" y="80057"/>
                  </a:cubicBezTo>
                  <a:lnTo>
                    <a:pt x="45146" y="101569"/>
                  </a:lnTo>
                  <a:cubicBezTo>
                    <a:pt x="40665" y="101569"/>
                    <a:pt x="36183" y="103810"/>
                    <a:pt x="33494" y="107843"/>
                  </a:cubicBezTo>
                  <a:cubicBezTo>
                    <a:pt x="29012" y="114118"/>
                    <a:pt x="30805" y="123081"/>
                    <a:pt x="37079" y="127115"/>
                  </a:cubicBezTo>
                  <a:cubicBezTo>
                    <a:pt x="39320" y="128907"/>
                    <a:pt x="42009" y="129355"/>
                    <a:pt x="44698" y="129355"/>
                  </a:cubicBezTo>
                  <a:cubicBezTo>
                    <a:pt x="45595" y="129355"/>
                    <a:pt x="46491" y="129355"/>
                    <a:pt x="47387" y="128907"/>
                  </a:cubicBezTo>
                  <a:cubicBezTo>
                    <a:pt x="50973" y="128011"/>
                    <a:pt x="54110" y="126218"/>
                    <a:pt x="56351" y="123081"/>
                  </a:cubicBezTo>
                  <a:cubicBezTo>
                    <a:pt x="60832" y="116807"/>
                    <a:pt x="59040" y="107843"/>
                    <a:pt x="52765" y="103810"/>
                  </a:cubicBezTo>
                  <a:lnTo>
                    <a:pt x="52765" y="103810"/>
                  </a:lnTo>
                  <a:cubicBezTo>
                    <a:pt x="51869" y="102913"/>
                    <a:pt x="50525" y="102465"/>
                    <a:pt x="49180" y="102017"/>
                  </a:cubicBezTo>
                  <a:lnTo>
                    <a:pt x="55454" y="81401"/>
                  </a:lnTo>
                  <a:cubicBezTo>
                    <a:pt x="57695" y="81849"/>
                    <a:pt x="59936" y="82297"/>
                    <a:pt x="62177" y="82297"/>
                  </a:cubicBezTo>
                  <a:cubicBezTo>
                    <a:pt x="69796" y="82297"/>
                    <a:pt x="77415" y="78712"/>
                    <a:pt x="81896" y="71990"/>
                  </a:cubicBezTo>
                  <a:cubicBezTo>
                    <a:pt x="84585" y="67956"/>
                    <a:pt x="85930" y="63474"/>
                    <a:pt x="85930" y="59441"/>
                  </a:cubicBezTo>
                  <a:lnTo>
                    <a:pt x="101168" y="57648"/>
                  </a:lnTo>
                  <a:cubicBezTo>
                    <a:pt x="102064" y="63026"/>
                    <a:pt x="104753" y="67956"/>
                    <a:pt x="109683" y="71093"/>
                  </a:cubicBezTo>
                  <a:cubicBezTo>
                    <a:pt x="113268" y="73334"/>
                    <a:pt x="116854" y="74679"/>
                    <a:pt x="120887" y="74679"/>
                  </a:cubicBezTo>
                  <a:cubicBezTo>
                    <a:pt x="127162" y="74679"/>
                    <a:pt x="133436" y="71541"/>
                    <a:pt x="137470" y="66163"/>
                  </a:cubicBezTo>
                  <a:cubicBezTo>
                    <a:pt x="140159" y="61682"/>
                    <a:pt x="141055" y="56304"/>
                    <a:pt x="140159" y="50926"/>
                  </a:cubicBezTo>
                  <a:close/>
                  <a:moveTo>
                    <a:pt x="52765" y="120392"/>
                  </a:moveTo>
                  <a:cubicBezTo>
                    <a:pt x="51421" y="122633"/>
                    <a:pt x="49180" y="123977"/>
                    <a:pt x="46939" y="124425"/>
                  </a:cubicBezTo>
                  <a:cubicBezTo>
                    <a:pt x="44250" y="124874"/>
                    <a:pt x="42009" y="124425"/>
                    <a:pt x="39768" y="123081"/>
                  </a:cubicBezTo>
                  <a:cubicBezTo>
                    <a:pt x="35287" y="119944"/>
                    <a:pt x="34390" y="114118"/>
                    <a:pt x="37079" y="110084"/>
                  </a:cubicBezTo>
                  <a:cubicBezTo>
                    <a:pt x="38872" y="107395"/>
                    <a:pt x="42009" y="106050"/>
                    <a:pt x="44698" y="106050"/>
                  </a:cubicBezTo>
                  <a:cubicBezTo>
                    <a:pt x="46491" y="106050"/>
                    <a:pt x="48284" y="106499"/>
                    <a:pt x="50076" y="107843"/>
                  </a:cubicBezTo>
                  <a:cubicBezTo>
                    <a:pt x="54558" y="110084"/>
                    <a:pt x="55902" y="115910"/>
                    <a:pt x="52765" y="120392"/>
                  </a:cubicBezTo>
                  <a:close/>
                  <a:moveTo>
                    <a:pt x="11085" y="32551"/>
                  </a:moveTo>
                  <a:cubicBezTo>
                    <a:pt x="7500" y="30310"/>
                    <a:pt x="5259" y="26724"/>
                    <a:pt x="4811" y="22691"/>
                  </a:cubicBezTo>
                  <a:cubicBezTo>
                    <a:pt x="3915" y="18657"/>
                    <a:pt x="4811" y="14624"/>
                    <a:pt x="7052" y="11038"/>
                  </a:cubicBezTo>
                  <a:cubicBezTo>
                    <a:pt x="10189" y="6557"/>
                    <a:pt x="14671" y="4316"/>
                    <a:pt x="19601" y="4316"/>
                  </a:cubicBezTo>
                  <a:cubicBezTo>
                    <a:pt x="22738" y="4316"/>
                    <a:pt x="25427" y="5212"/>
                    <a:pt x="28116" y="7005"/>
                  </a:cubicBezTo>
                  <a:cubicBezTo>
                    <a:pt x="35287" y="11935"/>
                    <a:pt x="37079" y="21346"/>
                    <a:pt x="32150" y="28069"/>
                  </a:cubicBezTo>
                  <a:cubicBezTo>
                    <a:pt x="27668" y="35240"/>
                    <a:pt x="18256" y="37032"/>
                    <a:pt x="11085" y="32551"/>
                  </a:cubicBezTo>
                  <a:close/>
                  <a:moveTo>
                    <a:pt x="78311" y="69301"/>
                  </a:moveTo>
                  <a:cubicBezTo>
                    <a:pt x="72485" y="78264"/>
                    <a:pt x="60384" y="80505"/>
                    <a:pt x="51869" y="74230"/>
                  </a:cubicBezTo>
                  <a:cubicBezTo>
                    <a:pt x="47835" y="71541"/>
                    <a:pt x="44698" y="67060"/>
                    <a:pt x="43802" y="62130"/>
                  </a:cubicBezTo>
                  <a:cubicBezTo>
                    <a:pt x="42906" y="57200"/>
                    <a:pt x="43802" y="51822"/>
                    <a:pt x="46939" y="47788"/>
                  </a:cubicBezTo>
                  <a:cubicBezTo>
                    <a:pt x="50525" y="42410"/>
                    <a:pt x="56799" y="39273"/>
                    <a:pt x="62625" y="39273"/>
                  </a:cubicBezTo>
                  <a:cubicBezTo>
                    <a:pt x="66210" y="39273"/>
                    <a:pt x="70244" y="40170"/>
                    <a:pt x="73381" y="42410"/>
                  </a:cubicBezTo>
                  <a:lnTo>
                    <a:pt x="73381" y="42410"/>
                  </a:lnTo>
                  <a:cubicBezTo>
                    <a:pt x="81896" y="48685"/>
                    <a:pt x="84137" y="60785"/>
                    <a:pt x="78311" y="69301"/>
                  </a:cubicBezTo>
                  <a:close/>
                  <a:moveTo>
                    <a:pt x="133436" y="63474"/>
                  </a:moveTo>
                  <a:cubicBezTo>
                    <a:pt x="128506" y="70645"/>
                    <a:pt x="119094" y="72438"/>
                    <a:pt x="112372" y="67508"/>
                  </a:cubicBezTo>
                  <a:cubicBezTo>
                    <a:pt x="105201" y="62578"/>
                    <a:pt x="103409" y="53166"/>
                    <a:pt x="108338" y="46444"/>
                  </a:cubicBezTo>
                  <a:cubicBezTo>
                    <a:pt x="111476" y="41962"/>
                    <a:pt x="115957" y="39721"/>
                    <a:pt x="120887" y="39721"/>
                  </a:cubicBezTo>
                  <a:cubicBezTo>
                    <a:pt x="124024" y="39721"/>
                    <a:pt x="126713" y="40618"/>
                    <a:pt x="129402" y="42410"/>
                  </a:cubicBezTo>
                  <a:cubicBezTo>
                    <a:pt x="132988" y="44651"/>
                    <a:pt x="135229" y="48237"/>
                    <a:pt x="135677" y="52270"/>
                  </a:cubicBezTo>
                  <a:cubicBezTo>
                    <a:pt x="136573" y="55855"/>
                    <a:pt x="135677" y="59889"/>
                    <a:pt x="133436" y="63474"/>
                  </a:cubicBezTo>
                  <a:close/>
                </a:path>
              </a:pathLst>
            </a:custGeom>
            <a:solidFill>
              <a:srgbClr val="231F20"/>
            </a:solidFill>
            <a:ln w="4477" cap="flat">
              <a:noFill/>
              <a:prstDash val="solid"/>
              <a:miter/>
            </a:ln>
          </p:spPr>
          <p:txBody>
            <a:bodyPr rtlCol="0" anchor="ctr"/>
            <a:lstStyle/>
            <a:p>
              <a:endParaRPr lang="en-US"/>
            </a:p>
          </p:txBody>
        </p:sp>
        <p:sp>
          <p:nvSpPr>
            <p:cNvPr id="5405" name="Freeform: Shape 5404">
              <a:extLst>
                <a:ext uri="{FF2B5EF4-FFF2-40B4-BE49-F238E27FC236}">
                  <a16:creationId xmlns:a16="http://schemas.microsoft.com/office/drawing/2014/main" id="{8F9CD65F-FF00-4240-BFF8-8D4B966F4CA4}"/>
                </a:ext>
              </a:extLst>
            </p:cNvPr>
            <p:cNvSpPr/>
            <p:nvPr/>
          </p:nvSpPr>
          <p:spPr>
            <a:xfrm>
              <a:off x="7800579" y="2541228"/>
              <a:ext cx="35854" cy="35854"/>
            </a:xfrm>
            <a:custGeom>
              <a:avLst/>
              <a:gdLst>
                <a:gd name="connsiteX0" fmla="*/ 30758 w 35853"/>
                <a:gd name="connsiteY0" fmla="*/ 3467 h 35853"/>
                <a:gd name="connsiteX1" fmla="*/ 15968 w 35853"/>
                <a:gd name="connsiteY1" fmla="*/ 329 h 35853"/>
                <a:gd name="connsiteX2" fmla="*/ 3419 w 35853"/>
                <a:gd name="connsiteY2" fmla="*/ 8845 h 35853"/>
                <a:gd name="connsiteX3" fmla="*/ 8798 w 35853"/>
                <a:gd name="connsiteY3" fmla="*/ 36183 h 35853"/>
                <a:gd name="connsiteX4" fmla="*/ 20002 w 35853"/>
                <a:gd name="connsiteY4" fmla="*/ 39768 h 35853"/>
                <a:gd name="connsiteX5" fmla="*/ 23587 w 35853"/>
                <a:gd name="connsiteY5" fmla="*/ 39320 h 35853"/>
                <a:gd name="connsiteX6" fmla="*/ 36136 w 35853"/>
                <a:gd name="connsiteY6" fmla="*/ 30805 h 35853"/>
                <a:gd name="connsiteX7" fmla="*/ 30758 w 35853"/>
                <a:gd name="connsiteY7" fmla="*/ 3467 h 35853"/>
                <a:gd name="connsiteX8" fmla="*/ 32102 w 35853"/>
                <a:gd name="connsiteY8" fmla="*/ 28564 h 35853"/>
                <a:gd name="connsiteX9" fmla="*/ 22243 w 35853"/>
                <a:gd name="connsiteY9" fmla="*/ 34838 h 35853"/>
                <a:gd name="connsiteX10" fmla="*/ 10590 w 35853"/>
                <a:gd name="connsiteY10" fmla="*/ 32598 h 35853"/>
                <a:gd name="connsiteX11" fmla="*/ 6557 w 35853"/>
                <a:gd name="connsiteY11" fmla="*/ 11534 h 35853"/>
                <a:gd name="connsiteX12" fmla="*/ 16416 w 35853"/>
                <a:gd name="connsiteY12" fmla="*/ 5259 h 35853"/>
                <a:gd name="connsiteX13" fmla="*/ 19554 w 35853"/>
                <a:gd name="connsiteY13" fmla="*/ 4811 h 35853"/>
                <a:gd name="connsiteX14" fmla="*/ 28069 w 35853"/>
                <a:gd name="connsiteY14" fmla="*/ 7500 h 35853"/>
                <a:gd name="connsiteX15" fmla="*/ 28069 w 35853"/>
                <a:gd name="connsiteY15" fmla="*/ 7500 h 35853"/>
                <a:gd name="connsiteX16" fmla="*/ 32102 w 35853"/>
                <a:gd name="connsiteY16" fmla="*/ 2856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30758" y="3467"/>
                  </a:moveTo>
                  <a:cubicBezTo>
                    <a:pt x="26276" y="329"/>
                    <a:pt x="21346" y="-567"/>
                    <a:pt x="15968" y="329"/>
                  </a:cubicBezTo>
                  <a:cubicBezTo>
                    <a:pt x="10590" y="1226"/>
                    <a:pt x="6109" y="4363"/>
                    <a:pt x="3419" y="8845"/>
                  </a:cubicBezTo>
                  <a:cubicBezTo>
                    <a:pt x="-2855" y="17808"/>
                    <a:pt x="-166" y="30357"/>
                    <a:pt x="8798" y="36183"/>
                  </a:cubicBezTo>
                  <a:cubicBezTo>
                    <a:pt x="11935" y="38424"/>
                    <a:pt x="15968" y="39768"/>
                    <a:pt x="20002" y="39768"/>
                  </a:cubicBezTo>
                  <a:cubicBezTo>
                    <a:pt x="21346" y="39768"/>
                    <a:pt x="22691" y="39768"/>
                    <a:pt x="23587" y="39320"/>
                  </a:cubicBezTo>
                  <a:cubicBezTo>
                    <a:pt x="28965" y="38424"/>
                    <a:pt x="33447" y="35287"/>
                    <a:pt x="36136" y="30805"/>
                  </a:cubicBezTo>
                  <a:cubicBezTo>
                    <a:pt x="41962" y="21842"/>
                    <a:pt x="39721" y="9741"/>
                    <a:pt x="30758" y="3467"/>
                  </a:cubicBezTo>
                  <a:close/>
                  <a:moveTo>
                    <a:pt x="32102" y="28564"/>
                  </a:moveTo>
                  <a:cubicBezTo>
                    <a:pt x="29861" y="32149"/>
                    <a:pt x="26276" y="34390"/>
                    <a:pt x="22243" y="34838"/>
                  </a:cubicBezTo>
                  <a:cubicBezTo>
                    <a:pt x="18209" y="35735"/>
                    <a:pt x="14176" y="34838"/>
                    <a:pt x="10590" y="32598"/>
                  </a:cubicBezTo>
                  <a:cubicBezTo>
                    <a:pt x="3419" y="27668"/>
                    <a:pt x="1627" y="18256"/>
                    <a:pt x="6557" y="11534"/>
                  </a:cubicBezTo>
                  <a:cubicBezTo>
                    <a:pt x="8798" y="7948"/>
                    <a:pt x="12383" y="5707"/>
                    <a:pt x="16416" y="5259"/>
                  </a:cubicBezTo>
                  <a:cubicBezTo>
                    <a:pt x="17313" y="5259"/>
                    <a:pt x="18209" y="4811"/>
                    <a:pt x="19554" y="4811"/>
                  </a:cubicBezTo>
                  <a:cubicBezTo>
                    <a:pt x="22691" y="4811"/>
                    <a:pt x="25380" y="5707"/>
                    <a:pt x="28069" y="7500"/>
                  </a:cubicBezTo>
                  <a:lnTo>
                    <a:pt x="28069" y="7500"/>
                  </a:lnTo>
                  <a:cubicBezTo>
                    <a:pt x="35240" y="11982"/>
                    <a:pt x="37032" y="21393"/>
                    <a:pt x="32102" y="28564"/>
                  </a:cubicBezTo>
                  <a:close/>
                </a:path>
              </a:pathLst>
            </a:custGeom>
            <a:solidFill>
              <a:srgbClr val="231F20"/>
            </a:solidFill>
            <a:ln w="4477" cap="flat">
              <a:noFill/>
              <a:prstDash val="solid"/>
              <a:miter/>
            </a:ln>
          </p:spPr>
          <p:txBody>
            <a:bodyPr rtlCol="0" anchor="ctr"/>
            <a:lstStyle/>
            <a:p>
              <a:endParaRPr lang="en-US"/>
            </a:p>
          </p:txBody>
        </p:sp>
      </p:grpSp>
      <p:grpSp>
        <p:nvGrpSpPr>
          <p:cNvPr id="2483" name="Group 2482">
            <a:extLst>
              <a:ext uri="{FF2B5EF4-FFF2-40B4-BE49-F238E27FC236}">
                <a16:creationId xmlns:a16="http://schemas.microsoft.com/office/drawing/2014/main" id="{2CCDA3FD-31B8-4AD7-ADC7-79A839B949CC}"/>
              </a:ext>
              <a:ext uri="{C183D7F6-B498-43B3-948B-1728B52AA6E4}">
                <adec:decorative xmlns:adec="http://schemas.microsoft.com/office/drawing/2017/decorative" val="1"/>
              </a:ext>
            </a:extLst>
          </p:cNvPr>
          <p:cNvGrpSpPr>
            <a:grpSpLocks noChangeAspect="1"/>
          </p:cNvGrpSpPr>
          <p:nvPr/>
        </p:nvGrpSpPr>
        <p:grpSpPr>
          <a:xfrm>
            <a:off x="8022635" y="4515234"/>
            <a:ext cx="134451" cy="147896"/>
            <a:chOff x="8079135" y="2459543"/>
            <a:chExt cx="134451" cy="147896"/>
          </a:xfrm>
        </p:grpSpPr>
        <p:sp>
          <p:nvSpPr>
            <p:cNvPr id="5401" name="Freeform: Shape 5400">
              <a:extLst>
                <a:ext uri="{FF2B5EF4-FFF2-40B4-BE49-F238E27FC236}">
                  <a16:creationId xmlns:a16="http://schemas.microsoft.com/office/drawing/2014/main" id="{A8EFEE51-576B-4764-88E7-F6FE31FA7209}"/>
                </a:ext>
              </a:extLst>
            </p:cNvPr>
            <p:cNvSpPr/>
            <p:nvPr/>
          </p:nvSpPr>
          <p:spPr>
            <a:xfrm>
              <a:off x="8137885" y="2526768"/>
              <a:ext cx="17927" cy="17927"/>
            </a:xfrm>
            <a:custGeom>
              <a:avLst/>
              <a:gdLst>
                <a:gd name="connsiteX0" fmla="*/ 8963 w 17926"/>
                <a:gd name="connsiteY0" fmla="*/ 17927 h 17926"/>
                <a:gd name="connsiteX1" fmla="*/ 17927 w 17926"/>
                <a:gd name="connsiteY1" fmla="*/ 8963 h 17926"/>
                <a:gd name="connsiteX2" fmla="*/ 8963 w 17926"/>
                <a:gd name="connsiteY2" fmla="*/ 0 h 17926"/>
                <a:gd name="connsiteX3" fmla="*/ 0 w 17926"/>
                <a:gd name="connsiteY3" fmla="*/ 8963 h 17926"/>
                <a:gd name="connsiteX4" fmla="*/ 8963 w 17926"/>
                <a:gd name="connsiteY4" fmla="*/ 17927 h 17926"/>
                <a:gd name="connsiteX5" fmla="*/ 8963 w 17926"/>
                <a:gd name="connsiteY5" fmla="*/ 4482 h 17926"/>
                <a:gd name="connsiteX6" fmla="*/ 13445 w 17926"/>
                <a:gd name="connsiteY6" fmla="*/ 8963 h 17926"/>
                <a:gd name="connsiteX7" fmla="*/ 8963 w 17926"/>
                <a:gd name="connsiteY7" fmla="*/ 13445 h 17926"/>
                <a:gd name="connsiteX8" fmla="*/ 4482 w 17926"/>
                <a:gd name="connsiteY8" fmla="*/ 8963 h 17926"/>
                <a:gd name="connsiteX9" fmla="*/ 8963 w 17926"/>
                <a:gd name="connsiteY9"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8963" y="17927"/>
                  </a:moveTo>
                  <a:cubicBezTo>
                    <a:pt x="13893" y="17927"/>
                    <a:pt x="17927" y="13893"/>
                    <a:pt x="17927" y="8963"/>
                  </a:cubicBezTo>
                  <a:cubicBezTo>
                    <a:pt x="17927" y="4034"/>
                    <a:pt x="13893" y="0"/>
                    <a:pt x="8963" y="0"/>
                  </a:cubicBezTo>
                  <a:cubicBezTo>
                    <a:pt x="4034" y="0"/>
                    <a:pt x="0" y="4034"/>
                    <a:pt x="0" y="8963"/>
                  </a:cubicBezTo>
                  <a:cubicBezTo>
                    <a:pt x="0" y="13893"/>
                    <a:pt x="4034" y="17927"/>
                    <a:pt x="8963" y="17927"/>
                  </a:cubicBezTo>
                  <a:close/>
                  <a:moveTo>
                    <a:pt x="8963" y="4482"/>
                  </a:moveTo>
                  <a:cubicBezTo>
                    <a:pt x="11652" y="4482"/>
                    <a:pt x="13445" y="6274"/>
                    <a:pt x="13445" y="8963"/>
                  </a:cubicBezTo>
                  <a:cubicBezTo>
                    <a:pt x="13445" y="11652"/>
                    <a:pt x="11652" y="13445"/>
                    <a:pt x="8963" y="13445"/>
                  </a:cubicBezTo>
                  <a:cubicBezTo>
                    <a:pt x="6274" y="13445"/>
                    <a:pt x="4482" y="11652"/>
                    <a:pt x="4482" y="8963"/>
                  </a:cubicBezTo>
                  <a:cubicBezTo>
                    <a:pt x="4482" y="6723"/>
                    <a:pt x="6723" y="4482"/>
                    <a:pt x="8963" y="4482"/>
                  </a:cubicBezTo>
                  <a:close/>
                </a:path>
              </a:pathLst>
            </a:custGeom>
            <a:solidFill>
              <a:srgbClr val="231F20"/>
            </a:solidFill>
            <a:ln w="4477" cap="flat">
              <a:noFill/>
              <a:prstDash val="solid"/>
              <a:miter/>
            </a:ln>
          </p:spPr>
          <p:txBody>
            <a:bodyPr rtlCol="0" anchor="ctr"/>
            <a:lstStyle/>
            <a:p>
              <a:endParaRPr lang="en-US"/>
            </a:p>
          </p:txBody>
        </p:sp>
        <p:sp>
          <p:nvSpPr>
            <p:cNvPr id="5402" name="Freeform: Shape 5401">
              <a:extLst>
                <a:ext uri="{FF2B5EF4-FFF2-40B4-BE49-F238E27FC236}">
                  <a16:creationId xmlns:a16="http://schemas.microsoft.com/office/drawing/2014/main" id="{28394689-7E34-4737-9696-2C6E59DFE0B6}"/>
                </a:ext>
              </a:extLst>
            </p:cNvPr>
            <p:cNvSpPr/>
            <p:nvPr/>
          </p:nvSpPr>
          <p:spPr>
            <a:xfrm>
              <a:off x="8079135" y="2459543"/>
              <a:ext cx="134451" cy="147896"/>
            </a:xfrm>
            <a:custGeom>
              <a:avLst/>
              <a:gdLst>
                <a:gd name="connsiteX0" fmla="*/ 116564 w 134451"/>
                <a:gd name="connsiteY0" fmla="*/ 81567 h 147896"/>
                <a:gd name="connsiteX1" fmla="*/ 116564 w 134451"/>
                <a:gd name="connsiteY1" fmla="*/ 84704 h 147896"/>
                <a:gd name="connsiteX2" fmla="*/ 130457 w 134451"/>
                <a:gd name="connsiteY2" fmla="*/ 117421 h 147896"/>
                <a:gd name="connsiteX3" fmla="*/ 123286 w 134451"/>
                <a:gd name="connsiteY3" fmla="*/ 121902 h 147896"/>
                <a:gd name="connsiteX4" fmla="*/ 92811 w 134451"/>
                <a:gd name="connsiteY4" fmla="*/ 117421 h 147896"/>
                <a:gd name="connsiteX5" fmla="*/ 96844 w 134451"/>
                <a:gd name="connsiteY5" fmla="*/ 90979 h 147896"/>
                <a:gd name="connsiteX6" fmla="*/ 134042 w 134451"/>
                <a:gd name="connsiteY6" fmla="*/ 25098 h 147896"/>
                <a:gd name="connsiteX7" fmla="*/ 124183 w 134451"/>
                <a:gd name="connsiteY7" fmla="*/ 19719 h 147896"/>
                <a:gd name="connsiteX8" fmla="*/ 91018 w 134451"/>
                <a:gd name="connsiteY8" fmla="*/ 27787 h 147896"/>
                <a:gd name="connsiteX9" fmla="*/ 68161 w 134451"/>
                <a:gd name="connsiteY9" fmla="*/ 0 h 147896"/>
                <a:gd name="connsiteX10" fmla="*/ 46201 w 134451"/>
                <a:gd name="connsiteY10" fmla="*/ 25546 h 147896"/>
                <a:gd name="connsiteX11" fmla="*/ 47546 w 134451"/>
                <a:gd name="connsiteY11" fmla="*/ 28235 h 147896"/>
                <a:gd name="connsiteX12" fmla="*/ 50235 w 134451"/>
                <a:gd name="connsiteY12" fmla="*/ 26890 h 147896"/>
                <a:gd name="connsiteX13" fmla="*/ 68161 w 134451"/>
                <a:gd name="connsiteY13" fmla="*/ 4034 h 147896"/>
                <a:gd name="connsiteX14" fmla="*/ 86984 w 134451"/>
                <a:gd name="connsiteY14" fmla="*/ 29131 h 147896"/>
                <a:gd name="connsiteX15" fmla="*/ 66817 w 134451"/>
                <a:gd name="connsiteY15" fmla="*/ 40784 h 147896"/>
                <a:gd name="connsiteX16" fmla="*/ 12140 w 134451"/>
                <a:gd name="connsiteY16" fmla="*/ 26442 h 147896"/>
                <a:gd name="connsiteX17" fmla="*/ 2280 w 134451"/>
                <a:gd name="connsiteY17" fmla="*/ 32717 h 147896"/>
                <a:gd name="connsiteX18" fmla="*/ 22896 w 134451"/>
                <a:gd name="connsiteY18" fmla="*/ 77534 h 147896"/>
                <a:gd name="connsiteX19" fmla="*/ 2280 w 134451"/>
                <a:gd name="connsiteY19" fmla="*/ 126832 h 147896"/>
                <a:gd name="connsiteX20" fmla="*/ 16174 w 134451"/>
                <a:gd name="connsiteY20" fmla="*/ 132210 h 147896"/>
                <a:gd name="connsiteX21" fmla="*/ 45753 w 134451"/>
                <a:gd name="connsiteY21" fmla="*/ 124143 h 147896"/>
                <a:gd name="connsiteX22" fmla="*/ 68161 w 134451"/>
                <a:gd name="connsiteY22" fmla="*/ 151482 h 147896"/>
                <a:gd name="connsiteX23" fmla="*/ 91914 w 134451"/>
                <a:gd name="connsiteY23" fmla="*/ 121006 h 147896"/>
                <a:gd name="connsiteX24" fmla="*/ 117460 w 134451"/>
                <a:gd name="connsiteY24" fmla="*/ 126384 h 147896"/>
                <a:gd name="connsiteX25" fmla="*/ 124631 w 134451"/>
                <a:gd name="connsiteY25" fmla="*/ 125488 h 147896"/>
                <a:gd name="connsiteX26" fmla="*/ 134491 w 134451"/>
                <a:gd name="connsiteY26" fmla="*/ 119213 h 147896"/>
                <a:gd name="connsiteX27" fmla="*/ 120149 w 134451"/>
                <a:gd name="connsiteY27" fmla="*/ 81119 h 147896"/>
                <a:gd name="connsiteX28" fmla="*/ 116564 w 134451"/>
                <a:gd name="connsiteY28" fmla="*/ 81567 h 147896"/>
                <a:gd name="connsiteX29" fmla="*/ 88329 w 134451"/>
                <a:gd name="connsiteY29" fmla="*/ 116076 h 147896"/>
                <a:gd name="connsiteX30" fmla="*/ 73091 w 134451"/>
                <a:gd name="connsiteY30" fmla="*/ 109354 h 147896"/>
                <a:gd name="connsiteX31" fmla="*/ 85192 w 134451"/>
                <a:gd name="connsiteY31" fmla="*/ 100390 h 147896"/>
                <a:gd name="connsiteX32" fmla="*/ 91466 w 134451"/>
                <a:gd name="connsiteY32" fmla="*/ 95460 h 147896"/>
                <a:gd name="connsiteX33" fmla="*/ 88329 w 134451"/>
                <a:gd name="connsiteY33" fmla="*/ 116076 h 147896"/>
                <a:gd name="connsiteX34" fmla="*/ 43064 w 134451"/>
                <a:gd name="connsiteY34" fmla="*/ 76189 h 147896"/>
                <a:gd name="connsiteX35" fmla="*/ 43512 w 134451"/>
                <a:gd name="connsiteY35" fmla="*/ 64088 h 147896"/>
                <a:gd name="connsiteX36" fmla="*/ 52924 w 134451"/>
                <a:gd name="connsiteY36" fmla="*/ 56469 h 147896"/>
                <a:gd name="connsiteX37" fmla="*/ 66369 w 134451"/>
                <a:gd name="connsiteY37" fmla="*/ 46610 h 147896"/>
                <a:gd name="connsiteX38" fmla="*/ 81158 w 134451"/>
                <a:gd name="connsiteY38" fmla="*/ 55125 h 147896"/>
                <a:gd name="connsiteX39" fmla="*/ 91914 w 134451"/>
                <a:gd name="connsiteY39" fmla="*/ 62744 h 147896"/>
                <a:gd name="connsiteX40" fmla="*/ 92363 w 134451"/>
                <a:gd name="connsiteY40" fmla="*/ 75741 h 147896"/>
                <a:gd name="connsiteX41" fmla="*/ 91914 w 134451"/>
                <a:gd name="connsiteY41" fmla="*/ 88290 h 147896"/>
                <a:gd name="connsiteX42" fmla="*/ 82503 w 134451"/>
                <a:gd name="connsiteY42" fmla="*/ 95908 h 147896"/>
                <a:gd name="connsiteX43" fmla="*/ 68610 w 134451"/>
                <a:gd name="connsiteY43" fmla="*/ 105768 h 147896"/>
                <a:gd name="connsiteX44" fmla="*/ 54268 w 134451"/>
                <a:gd name="connsiteY44" fmla="*/ 97253 h 147896"/>
                <a:gd name="connsiteX45" fmla="*/ 43512 w 134451"/>
                <a:gd name="connsiteY45" fmla="*/ 89634 h 147896"/>
                <a:gd name="connsiteX46" fmla="*/ 43064 w 134451"/>
                <a:gd name="connsiteY46" fmla="*/ 76189 h 147896"/>
                <a:gd name="connsiteX47" fmla="*/ 39030 w 134451"/>
                <a:gd name="connsiteY47" fmla="*/ 86945 h 147896"/>
                <a:gd name="connsiteX48" fmla="*/ 28722 w 134451"/>
                <a:gd name="connsiteY48" fmla="*/ 77982 h 147896"/>
                <a:gd name="connsiteX49" fmla="*/ 39030 w 134451"/>
                <a:gd name="connsiteY49" fmla="*/ 68122 h 147896"/>
                <a:gd name="connsiteX50" fmla="*/ 39030 w 134451"/>
                <a:gd name="connsiteY50" fmla="*/ 76189 h 147896"/>
                <a:gd name="connsiteX51" fmla="*/ 39030 w 134451"/>
                <a:gd name="connsiteY51" fmla="*/ 86945 h 147896"/>
                <a:gd name="connsiteX52" fmla="*/ 96844 w 134451"/>
                <a:gd name="connsiteY52" fmla="*/ 84704 h 147896"/>
                <a:gd name="connsiteX53" fmla="*/ 96844 w 134451"/>
                <a:gd name="connsiteY53" fmla="*/ 76189 h 147896"/>
                <a:gd name="connsiteX54" fmla="*/ 96396 w 134451"/>
                <a:gd name="connsiteY54" fmla="*/ 66777 h 147896"/>
                <a:gd name="connsiteX55" fmla="*/ 106256 w 134451"/>
                <a:gd name="connsiteY55" fmla="*/ 75293 h 147896"/>
                <a:gd name="connsiteX56" fmla="*/ 96844 w 134451"/>
                <a:gd name="connsiteY56" fmla="*/ 84704 h 147896"/>
                <a:gd name="connsiteX57" fmla="*/ 123286 w 134451"/>
                <a:gd name="connsiteY57" fmla="*/ 24649 h 147896"/>
                <a:gd name="connsiteX58" fmla="*/ 130457 w 134451"/>
                <a:gd name="connsiteY58" fmla="*/ 28235 h 147896"/>
                <a:gd name="connsiteX59" fmla="*/ 110289 w 134451"/>
                <a:gd name="connsiteY59" fmla="*/ 72155 h 147896"/>
                <a:gd name="connsiteX60" fmla="*/ 96844 w 134451"/>
                <a:gd name="connsiteY60" fmla="*/ 60951 h 147896"/>
                <a:gd name="connsiteX61" fmla="*/ 92363 w 134451"/>
                <a:gd name="connsiteY61" fmla="*/ 32268 h 147896"/>
                <a:gd name="connsiteX62" fmla="*/ 123286 w 134451"/>
                <a:gd name="connsiteY62" fmla="*/ 24649 h 147896"/>
                <a:gd name="connsiteX63" fmla="*/ 87881 w 134451"/>
                <a:gd name="connsiteY63" fmla="*/ 34509 h 147896"/>
                <a:gd name="connsiteX64" fmla="*/ 91914 w 134451"/>
                <a:gd name="connsiteY64" fmla="*/ 57366 h 147896"/>
                <a:gd name="connsiteX65" fmla="*/ 83847 w 134451"/>
                <a:gd name="connsiteY65" fmla="*/ 51988 h 147896"/>
                <a:gd name="connsiteX66" fmla="*/ 70850 w 134451"/>
                <a:gd name="connsiteY66" fmla="*/ 44369 h 147896"/>
                <a:gd name="connsiteX67" fmla="*/ 87881 w 134451"/>
                <a:gd name="connsiteY67" fmla="*/ 34509 h 147896"/>
                <a:gd name="connsiteX68" fmla="*/ 50235 w 134451"/>
                <a:gd name="connsiteY68" fmla="*/ 52884 h 147896"/>
                <a:gd name="connsiteX69" fmla="*/ 43960 w 134451"/>
                <a:gd name="connsiteY69" fmla="*/ 57814 h 147896"/>
                <a:gd name="connsiteX70" fmla="*/ 47097 w 134451"/>
                <a:gd name="connsiteY70" fmla="*/ 37646 h 147896"/>
                <a:gd name="connsiteX71" fmla="*/ 61887 w 134451"/>
                <a:gd name="connsiteY71" fmla="*/ 44369 h 147896"/>
                <a:gd name="connsiteX72" fmla="*/ 50235 w 134451"/>
                <a:gd name="connsiteY72" fmla="*/ 52884 h 147896"/>
                <a:gd name="connsiteX73" fmla="*/ 5418 w 134451"/>
                <a:gd name="connsiteY73" fmla="*/ 36302 h 147896"/>
                <a:gd name="connsiteX74" fmla="*/ 12588 w 134451"/>
                <a:gd name="connsiteY74" fmla="*/ 31820 h 147896"/>
                <a:gd name="connsiteX75" fmla="*/ 42616 w 134451"/>
                <a:gd name="connsiteY75" fmla="*/ 36302 h 147896"/>
                <a:gd name="connsiteX76" fmla="*/ 39030 w 134451"/>
                <a:gd name="connsiteY76" fmla="*/ 62296 h 147896"/>
                <a:gd name="connsiteX77" fmla="*/ 25137 w 134451"/>
                <a:gd name="connsiteY77" fmla="*/ 75293 h 147896"/>
                <a:gd name="connsiteX78" fmla="*/ 5418 w 134451"/>
                <a:gd name="connsiteY78" fmla="*/ 36302 h 147896"/>
                <a:gd name="connsiteX79" fmla="*/ 5418 w 134451"/>
                <a:gd name="connsiteY79" fmla="*/ 125039 h 147896"/>
                <a:gd name="connsiteX80" fmla="*/ 25585 w 134451"/>
                <a:gd name="connsiteY80" fmla="*/ 81567 h 147896"/>
                <a:gd name="connsiteX81" fmla="*/ 39479 w 134451"/>
                <a:gd name="connsiteY81" fmla="*/ 93220 h 147896"/>
                <a:gd name="connsiteX82" fmla="*/ 44408 w 134451"/>
                <a:gd name="connsiteY82" fmla="*/ 121006 h 147896"/>
                <a:gd name="connsiteX83" fmla="*/ 5418 w 134451"/>
                <a:gd name="connsiteY83" fmla="*/ 125039 h 147896"/>
                <a:gd name="connsiteX84" fmla="*/ 67713 w 134451"/>
                <a:gd name="connsiteY84" fmla="*/ 147896 h 147896"/>
                <a:gd name="connsiteX85" fmla="*/ 49338 w 134451"/>
                <a:gd name="connsiteY85" fmla="*/ 123247 h 147896"/>
                <a:gd name="connsiteX86" fmla="*/ 59198 w 134451"/>
                <a:gd name="connsiteY86" fmla="*/ 117869 h 147896"/>
                <a:gd name="connsiteX87" fmla="*/ 60094 w 134451"/>
                <a:gd name="connsiteY87" fmla="*/ 114732 h 147896"/>
                <a:gd name="connsiteX88" fmla="*/ 56957 w 134451"/>
                <a:gd name="connsiteY88" fmla="*/ 113835 h 147896"/>
                <a:gd name="connsiteX89" fmla="*/ 47994 w 134451"/>
                <a:gd name="connsiteY89" fmla="*/ 118765 h 147896"/>
                <a:gd name="connsiteX90" fmla="*/ 43960 w 134451"/>
                <a:gd name="connsiteY90" fmla="*/ 96357 h 147896"/>
                <a:gd name="connsiteX91" fmla="*/ 52027 w 134451"/>
                <a:gd name="connsiteY91" fmla="*/ 101735 h 147896"/>
                <a:gd name="connsiteX92" fmla="*/ 86984 w 134451"/>
                <a:gd name="connsiteY92" fmla="*/ 120110 h 147896"/>
                <a:gd name="connsiteX93" fmla="*/ 67713 w 134451"/>
                <a:gd name="connsiteY93" fmla="*/ 147896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34451" h="147896">
                  <a:moveTo>
                    <a:pt x="116564" y="81567"/>
                  </a:moveTo>
                  <a:cubicBezTo>
                    <a:pt x="115667" y="82463"/>
                    <a:pt x="115667" y="83808"/>
                    <a:pt x="116564" y="84704"/>
                  </a:cubicBezTo>
                  <a:cubicBezTo>
                    <a:pt x="129113" y="98597"/>
                    <a:pt x="134491" y="111146"/>
                    <a:pt x="130457" y="117421"/>
                  </a:cubicBezTo>
                  <a:cubicBezTo>
                    <a:pt x="129113" y="119662"/>
                    <a:pt x="126872" y="121006"/>
                    <a:pt x="123286" y="121902"/>
                  </a:cubicBezTo>
                  <a:cubicBezTo>
                    <a:pt x="116116" y="123695"/>
                    <a:pt x="105359" y="121902"/>
                    <a:pt x="92811" y="117421"/>
                  </a:cubicBezTo>
                  <a:cubicBezTo>
                    <a:pt x="94603" y="109354"/>
                    <a:pt x="95948" y="100838"/>
                    <a:pt x="96844" y="90979"/>
                  </a:cubicBezTo>
                  <a:cubicBezTo>
                    <a:pt x="126872" y="64536"/>
                    <a:pt x="143006" y="37198"/>
                    <a:pt x="134042" y="25098"/>
                  </a:cubicBezTo>
                  <a:cubicBezTo>
                    <a:pt x="131802" y="22409"/>
                    <a:pt x="128664" y="20616"/>
                    <a:pt x="124183" y="19719"/>
                  </a:cubicBezTo>
                  <a:cubicBezTo>
                    <a:pt x="116116" y="18823"/>
                    <a:pt x="104463" y="21512"/>
                    <a:pt x="91018" y="27787"/>
                  </a:cubicBezTo>
                  <a:cubicBezTo>
                    <a:pt x="85640" y="10756"/>
                    <a:pt x="77573" y="0"/>
                    <a:pt x="68161" y="0"/>
                  </a:cubicBezTo>
                  <a:cubicBezTo>
                    <a:pt x="59646" y="0"/>
                    <a:pt x="51579" y="8963"/>
                    <a:pt x="46201" y="25546"/>
                  </a:cubicBezTo>
                  <a:cubicBezTo>
                    <a:pt x="45753" y="26890"/>
                    <a:pt x="46649" y="27787"/>
                    <a:pt x="47546" y="28235"/>
                  </a:cubicBezTo>
                  <a:cubicBezTo>
                    <a:pt x="48890" y="28683"/>
                    <a:pt x="49786" y="27787"/>
                    <a:pt x="50235" y="26890"/>
                  </a:cubicBezTo>
                  <a:cubicBezTo>
                    <a:pt x="55165" y="12549"/>
                    <a:pt x="61439" y="4034"/>
                    <a:pt x="68161" y="4034"/>
                  </a:cubicBezTo>
                  <a:cubicBezTo>
                    <a:pt x="74884" y="4034"/>
                    <a:pt x="82055" y="13445"/>
                    <a:pt x="86984" y="29131"/>
                  </a:cubicBezTo>
                  <a:cubicBezTo>
                    <a:pt x="80262" y="32268"/>
                    <a:pt x="73539" y="36302"/>
                    <a:pt x="66817" y="40784"/>
                  </a:cubicBezTo>
                  <a:cubicBezTo>
                    <a:pt x="44857" y="29131"/>
                    <a:pt x="24689" y="23753"/>
                    <a:pt x="12140" y="26442"/>
                  </a:cubicBezTo>
                  <a:cubicBezTo>
                    <a:pt x="7658" y="27338"/>
                    <a:pt x="4073" y="29579"/>
                    <a:pt x="2280" y="32717"/>
                  </a:cubicBezTo>
                  <a:cubicBezTo>
                    <a:pt x="-3994" y="42576"/>
                    <a:pt x="4969" y="59607"/>
                    <a:pt x="22896" y="77534"/>
                  </a:cubicBezTo>
                  <a:cubicBezTo>
                    <a:pt x="4073" y="98149"/>
                    <a:pt x="-4442" y="117421"/>
                    <a:pt x="2280" y="126832"/>
                  </a:cubicBezTo>
                  <a:cubicBezTo>
                    <a:pt x="4969" y="130418"/>
                    <a:pt x="9899" y="132210"/>
                    <a:pt x="16174" y="132210"/>
                  </a:cubicBezTo>
                  <a:cubicBezTo>
                    <a:pt x="23793" y="132210"/>
                    <a:pt x="34100" y="129521"/>
                    <a:pt x="45753" y="124143"/>
                  </a:cubicBezTo>
                  <a:cubicBezTo>
                    <a:pt x="51131" y="140725"/>
                    <a:pt x="59198" y="151482"/>
                    <a:pt x="68161" y="151482"/>
                  </a:cubicBezTo>
                  <a:cubicBezTo>
                    <a:pt x="78021" y="151482"/>
                    <a:pt x="86536" y="139381"/>
                    <a:pt x="91914" y="121006"/>
                  </a:cubicBezTo>
                  <a:cubicBezTo>
                    <a:pt x="101326" y="124143"/>
                    <a:pt x="110289" y="126384"/>
                    <a:pt x="117460" y="126384"/>
                  </a:cubicBezTo>
                  <a:cubicBezTo>
                    <a:pt x="120149" y="126384"/>
                    <a:pt x="122390" y="125936"/>
                    <a:pt x="124631" y="125488"/>
                  </a:cubicBezTo>
                  <a:cubicBezTo>
                    <a:pt x="129113" y="124591"/>
                    <a:pt x="132698" y="122351"/>
                    <a:pt x="134491" y="119213"/>
                  </a:cubicBezTo>
                  <a:cubicBezTo>
                    <a:pt x="139869" y="110698"/>
                    <a:pt x="134491" y="96805"/>
                    <a:pt x="120149" y="81119"/>
                  </a:cubicBezTo>
                  <a:cubicBezTo>
                    <a:pt x="118805" y="81119"/>
                    <a:pt x="117460" y="80671"/>
                    <a:pt x="116564" y="81567"/>
                  </a:cubicBezTo>
                  <a:close/>
                  <a:moveTo>
                    <a:pt x="88329" y="116076"/>
                  </a:moveTo>
                  <a:cubicBezTo>
                    <a:pt x="83399" y="114283"/>
                    <a:pt x="78469" y="112043"/>
                    <a:pt x="73091" y="109354"/>
                  </a:cubicBezTo>
                  <a:cubicBezTo>
                    <a:pt x="77125" y="106665"/>
                    <a:pt x="81158" y="103527"/>
                    <a:pt x="85192" y="100390"/>
                  </a:cubicBezTo>
                  <a:cubicBezTo>
                    <a:pt x="87433" y="98597"/>
                    <a:pt x="89225" y="97253"/>
                    <a:pt x="91466" y="95460"/>
                  </a:cubicBezTo>
                  <a:cubicBezTo>
                    <a:pt x="91018" y="103079"/>
                    <a:pt x="89674" y="109802"/>
                    <a:pt x="88329" y="116076"/>
                  </a:cubicBezTo>
                  <a:close/>
                  <a:moveTo>
                    <a:pt x="43064" y="76189"/>
                  </a:moveTo>
                  <a:cubicBezTo>
                    <a:pt x="43064" y="72155"/>
                    <a:pt x="43064" y="68122"/>
                    <a:pt x="43512" y="64088"/>
                  </a:cubicBezTo>
                  <a:cubicBezTo>
                    <a:pt x="46649" y="61399"/>
                    <a:pt x="49786" y="58710"/>
                    <a:pt x="52924" y="56469"/>
                  </a:cubicBezTo>
                  <a:cubicBezTo>
                    <a:pt x="57405" y="52884"/>
                    <a:pt x="61887" y="49747"/>
                    <a:pt x="66369" y="46610"/>
                  </a:cubicBezTo>
                  <a:cubicBezTo>
                    <a:pt x="71299" y="49299"/>
                    <a:pt x="76228" y="51988"/>
                    <a:pt x="81158" y="55125"/>
                  </a:cubicBezTo>
                  <a:cubicBezTo>
                    <a:pt x="85192" y="57814"/>
                    <a:pt x="88777" y="60055"/>
                    <a:pt x="91914" y="62744"/>
                  </a:cubicBezTo>
                  <a:cubicBezTo>
                    <a:pt x="92363" y="66777"/>
                    <a:pt x="92363" y="71259"/>
                    <a:pt x="92363" y="75741"/>
                  </a:cubicBezTo>
                  <a:cubicBezTo>
                    <a:pt x="92363" y="80222"/>
                    <a:pt x="92363" y="84256"/>
                    <a:pt x="91914" y="88290"/>
                  </a:cubicBezTo>
                  <a:cubicBezTo>
                    <a:pt x="88777" y="90979"/>
                    <a:pt x="85640" y="93220"/>
                    <a:pt x="82503" y="95908"/>
                  </a:cubicBezTo>
                  <a:cubicBezTo>
                    <a:pt x="78021" y="99494"/>
                    <a:pt x="73091" y="102631"/>
                    <a:pt x="68610" y="105768"/>
                  </a:cubicBezTo>
                  <a:cubicBezTo>
                    <a:pt x="63680" y="103079"/>
                    <a:pt x="59198" y="100390"/>
                    <a:pt x="54268" y="97253"/>
                  </a:cubicBezTo>
                  <a:cubicBezTo>
                    <a:pt x="50235" y="94564"/>
                    <a:pt x="46649" y="92323"/>
                    <a:pt x="43512" y="89634"/>
                  </a:cubicBezTo>
                  <a:cubicBezTo>
                    <a:pt x="43064" y="86049"/>
                    <a:pt x="43064" y="81119"/>
                    <a:pt x="43064" y="76189"/>
                  </a:cubicBezTo>
                  <a:close/>
                  <a:moveTo>
                    <a:pt x="39030" y="86945"/>
                  </a:moveTo>
                  <a:cubicBezTo>
                    <a:pt x="35445" y="83808"/>
                    <a:pt x="31860" y="81119"/>
                    <a:pt x="28722" y="77982"/>
                  </a:cubicBezTo>
                  <a:cubicBezTo>
                    <a:pt x="31860" y="74844"/>
                    <a:pt x="35445" y="71259"/>
                    <a:pt x="39030" y="68122"/>
                  </a:cubicBezTo>
                  <a:cubicBezTo>
                    <a:pt x="39030" y="70811"/>
                    <a:pt x="39030" y="73500"/>
                    <a:pt x="39030" y="76189"/>
                  </a:cubicBezTo>
                  <a:cubicBezTo>
                    <a:pt x="38582" y="79774"/>
                    <a:pt x="38582" y="83360"/>
                    <a:pt x="39030" y="86945"/>
                  </a:cubicBezTo>
                  <a:close/>
                  <a:moveTo>
                    <a:pt x="96844" y="84704"/>
                  </a:moveTo>
                  <a:cubicBezTo>
                    <a:pt x="96844" y="82015"/>
                    <a:pt x="96844" y="78878"/>
                    <a:pt x="96844" y="76189"/>
                  </a:cubicBezTo>
                  <a:cubicBezTo>
                    <a:pt x="96844" y="73052"/>
                    <a:pt x="96844" y="69915"/>
                    <a:pt x="96396" y="66777"/>
                  </a:cubicBezTo>
                  <a:cubicBezTo>
                    <a:pt x="99982" y="69466"/>
                    <a:pt x="103119" y="72604"/>
                    <a:pt x="106256" y="75293"/>
                  </a:cubicBezTo>
                  <a:cubicBezTo>
                    <a:pt x="103567" y="78430"/>
                    <a:pt x="100430" y="81567"/>
                    <a:pt x="96844" y="84704"/>
                  </a:cubicBezTo>
                  <a:close/>
                  <a:moveTo>
                    <a:pt x="123286" y="24649"/>
                  </a:moveTo>
                  <a:cubicBezTo>
                    <a:pt x="126424" y="25098"/>
                    <a:pt x="129113" y="26442"/>
                    <a:pt x="130457" y="28235"/>
                  </a:cubicBezTo>
                  <a:cubicBezTo>
                    <a:pt x="135835" y="34957"/>
                    <a:pt x="128216" y="52436"/>
                    <a:pt x="110289" y="72155"/>
                  </a:cubicBezTo>
                  <a:cubicBezTo>
                    <a:pt x="106256" y="68122"/>
                    <a:pt x="101774" y="64536"/>
                    <a:pt x="96844" y="60951"/>
                  </a:cubicBezTo>
                  <a:cubicBezTo>
                    <a:pt x="95948" y="50643"/>
                    <a:pt x="94603" y="40784"/>
                    <a:pt x="92363" y="32268"/>
                  </a:cubicBezTo>
                  <a:cubicBezTo>
                    <a:pt x="104463" y="26442"/>
                    <a:pt x="115667" y="23753"/>
                    <a:pt x="123286" y="24649"/>
                  </a:cubicBezTo>
                  <a:close/>
                  <a:moveTo>
                    <a:pt x="87881" y="34509"/>
                  </a:moveTo>
                  <a:cubicBezTo>
                    <a:pt x="89674" y="41232"/>
                    <a:pt x="91018" y="48851"/>
                    <a:pt x="91914" y="57366"/>
                  </a:cubicBezTo>
                  <a:cubicBezTo>
                    <a:pt x="89225" y="55573"/>
                    <a:pt x="86536" y="53780"/>
                    <a:pt x="83847" y="51988"/>
                  </a:cubicBezTo>
                  <a:cubicBezTo>
                    <a:pt x="79366" y="49299"/>
                    <a:pt x="75332" y="46610"/>
                    <a:pt x="70850" y="44369"/>
                  </a:cubicBezTo>
                  <a:cubicBezTo>
                    <a:pt x="76677" y="40335"/>
                    <a:pt x="82503" y="37198"/>
                    <a:pt x="87881" y="34509"/>
                  </a:cubicBezTo>
                  <a:close/>
                  <a:moveTo>
                    <a:pt x="50235" y="52884"/>
                  </a:moveTo>
                  <a:cubicBezTo>
                    <a:pt x="47994" y="54677"/>
                    <a:pt x="46201" y="56021"/>
                    <a:pt x="43960" y="57814"/>
                  </a:cubicBezTo>
                  <a:cubicBezTo>
                    <a:pt x="44857" y="50643"/>
                    <a:pt x="45753" y="43921"/>
                    <a:pt x="47097" y="37646"/>
                  </a:cubicBezTo>
                  <a:cubicBezTo>
                    <a:pt x="52027" y="39439"/>
                    <a:pt x="56957" y="41680"/>
                    <a:pt x="61887" y="44369"/>
                  </a:cubicBezTo>
                  <a:cubicBezTo>
                    <a:pt x="57853" y="47058"/>
                    <a:pt x="54268" y="49747"/>
                    <a:pt x="50235" y="52884"/>
                  </a:cubicBezTo>
                  <a:close/>
                  <a:moveTo>
                    <a:pt x="5418" y="36302"/>
                  </a:moveTo>
                  <a:cubicBezTo>
                    <a:pt x="6762" y="34061"/>
                    <a:pt x="9003" y="32717"/>
                    <a:pt x="12588" y="31820"/>
                  </a:cubicBezTo>
                  <a:cubicBezTo>
                    <a:pt x="19759" y="30027"/>
                    <a:pt x="30515" y="31820"/>
                    <a:pt x="42616" y="36302"/>
                  </a:cubicBezTo>
                  <a:cubicBezTo>
                    <a:pt x="40823" y="44369"/>
                    <a:pt x="39479" y="52884"/>
                    <a:pt x="39030" y="62296"/>
                  </a:cubicBezTo>
                  <a:cubicBezTo>
                    <a:pt x="34100" y="66777"/>
                    <a:pt x="29619" y="71259"/>
                    <a:pt x="25137" y="75293"/>
                  </a:cubicBezTo>
                  <a:cubicBezTo>
                    <a:pt x="8107" y="58710"/>
                    <a:pt x="936" y="43473"/>
                    <a:pt x="5418" y="36302"/>
                  </a:cubicBezTo>
                  <a:close/>
                  <a:moveTo>
                    <a:pt x="5418" y="125039"/>
                  </a:moveTo>
                  <a:cubicBezTo>
                    <a:pt x="488" y="118317"/>
                    <a:pt x="7658" y="101287"/>
                    <a:pt x="25585" y="81567"/>
                  </a:cubicBezTo>
                  <a:cubicBezTo>
                    <a:pt x="29619" y="85601"/>
                    <a:pt x="34100" y="89186"/>
                    <a:pt x="39479" y="93220"/>
                  </a:cubicBezTo>
                  <a:cubicBezTo>
                    <a:pt x="40375" y="103527"/>
                    <a:pt x="42167" y="112939"/>
                    <a:pt x="44408" y="121006"/>
                  </a:cubicBezTo>
                  <a:cubicBezTo>
                    <a:pt x="25137" y="129521"/>
                    <a:pt x="10347" y="131314"/>
                    <a:pt x="5418" y="125039"/>
                  </a:cubicBezTo>
                  <a:close/>
                  <a:moveTo>
                    <a:pt x="67713" y="147896"/>
                  </a:moveTo>
                  <a:cubicBezTo>
                    <a:pt x="60991" y="147896"/>
                    <a:pt x="53820" y="138933"/>
                    <a:pt x="49338" y="123247"/>
                  </a:cubicBezTo>
                  <a:cubicBezTo>
                    <a:pt x="52475" y="121454"/>
                    <a:pt x="55613" y="120110"/>
                    <a:pt x="59198" y="117869"/>
                  </a:cubicBezTo>
                  <a:cubicBezTo>
                    <a:pt x="60094" y="117421"/>
                    <a:pt x="60542" y="116076"/>
                    <a:pt x="60094" y="114732"/>
                  </a:cubicBezTo>
                  <a:cubicBezTo>
                    <a:pt x="59646" y="113835"/>
                    <a:pt x="58302" y="113387"/>
                    <a:pt x="56957" y="113835"/>
                  </a:cubicBezTo>
                  <a:cubicBezTo>
                    <a:pt x="53820" y="115628"/>
                    <a:pt x="51131" y="116972"/>
                    <a:pt x="47994" y="118765"/>
                  </a:cubicBezTo>
                  <a:cubicBezTo>
                    <a:pt x="46201" y="112043"/>
                    <a:pt x="44857" y="104872"/>
                    <a:pt x="43960" y="96357"/>
                  </a:cubicBezTo>
                  <a:cubicBezTo>
                    <a:pt x="46649" y="98149"/>
                    <a:pt x="49338" y="99942"/>
                    <a:pt x="52027" y="101735"/>
                  </a:cubicBezTo>
                  <a:cubicBezTo>
                    <a:pt x="64128" y="109354"/>
                    <a:pt x="76228" y="115628"/>
                    <a:pt x="86984" y="120110"/>
                  </a:cubicBezTo>
                  <a:cubicBezTo>
                    <a:pt x="82503" y="137588"/>
                    <a:pt x="74884" y="147896"/>
                    <a:pt x="67713" y="147896"/>
                  </a:cubicBezTo>
                  <a:close/>
                </a:path>
              </a:pathLst>
            </a:custGeom>
            <a:solidFill>
              <a:srgbClr val="231F20"/>
            </a:solidFill>
            <a:ln w="4477" cap="flat">
              <a:noFill/>
              <a:prstDash val="solid"/>
              <a:miter/>
            </a:ln>
          </p:spPr>
          <p:txBody>
            <a:bodyPr rtlCol="0" anchor="ctr"/>
            <a:lstStyle/>
            <a:p>
              <a:endParaRPr lang="en-US"/>
            </a:p>
          </p:txBody>
        </p:sp>
      </p:grpSp>
      <p:sp>
        <p:nvSpPr>
          <p:cNvPr id="2484" name="Freeform: Shape 2483">
            <a:extLst>
              <a:ext uri="{FF2B5EF4-FFF2-40B4-BE49-F238E27FC236}">
                <a16:creationId xmlns:a16="http://schemas.microsoft.com/office/drawing/2014/main" id="{CDAB98A8-0C96-40BB-BDB7-9C72D1CB4EAE}"/>
              </a:ext>
              <a:ext uri="{C183D7F6-B498-43B3-948B-1728B52AA6E4}">
                <adec:decorative xmlns:adec="http://schemas.microsoft.com/office/drawing/2017/decorative" val="1"/>
              </a:ext>
            </a:extLst>
          </p:cNvPr>
          <p:cNvSpPr>
            <a:spLocks noChangeAspect="1"/>
          </p:cNvSpPr>
          <p:nvPr/>
        </p:nvSpPr>
        <p:spPr>
          <a:xfrm>
            <a:off x="8818177" y="4515234"/>
            <a:ext cx="98597" cy="152378"/>
          </a:xfrm>
          <a:custGeom>
            <a:avLst/>
            <a:gdLst>
              <a:gd name="connsiteX0" fmla="*/ 84704 w 98597"/>
              <a:gd name="connsiteY0" fmla="*/ 37646 h 152377"/>
              <a:gd name="connsiteX1" fmla="*/ 84704 w 98597"/>
              <a:gd name="connsiteY1" fmla="*/ 32268 h 152377"/>
              <a:gd name="connsiteX2" fmla="*/ 94564 w 98597"/>
              <a:gd name="connsiteY2" fmla="*/ 21064 h 152377"/>
              <a:gd name="connsiteX3" fmla="*/ 94564 w 98597"/>
              <a:gd name="connsiteY3" fmla="*/ 11652 h 152377"/>
              <a:gd name="connsiteX4" fmla="*/ 81567 w 98597"/>
              <a:gd name="connsiteY4" fmla="*/ 0 h 152377"/>
              <a:gd name="connsiteX5" fmla="*/ 16582 w 98597"/>
              <a:gd name="connsiteY5" fmla="*/ 0 h 152377"/>
              <a:gd name="connsiteX6" fmla="*/ 3585 w 98597"/>
              <a:gd name="connsiteY6" fmla="*/ 11652 h 152377"/>
              <a:gd name="connsiteX7" fmla="*/ 3585 w 98597"/>
              <a:gd name="connsiteY7" fmla="*/ 21064 h 152377"/>
              <a:gd name="connsiteX8" fmla="*/ 13445 w 98597"/>
              <a:gd name="connsiteY8" fmla="*/ 32268 h 152377"/>
              <a:gd name="connsiteX9" fmla="*/ 13445 w 98597"/>
              <a:gd name="connsiteY9" fmla="*/ 37646 h 152377"/>
              <a:gd name="connsiteX10" fmla="*/ 0 w 98597"/>
              <a:gd name="connsiteY10" fmla="*/ 55573 h 152377"/>
              <a:gd name="connsiteX11" fmla="*/ 0 w 98597"/>
              <a:gd name="connsiteY11" fmla="*/ 69466 h 152377"/>
              <a:gd name="connsiteX12" fmla="*/ 0 w 98597"/>
              <a:gd name="connsiteY12" fmla="*/ 123247 h 152377"/>
              <a:gd name="connsiteX13" fmla="*/ 0 w 98597"/>
              <a:gd name="connsiteY13" fmla="*/ 140725 h 152377"/>
              <a:gd name="connsiteX14" fmla="*/ 12997 w 98597"/>
              <a:gd name="connsiteY14" fmla="*/ 152378 h 152377"/>
              <a:gd name="connsiteX15" fmla="*/ 85600 w 98597"/>
              <a:gd name="connsiteY15" fmla="*/ 152378 h 152377"/>
              <a:gd name="connsiteX16" fmla="*/ 98597 w 98597"/>
              <a:gd name="connsiteY16" fmla="*/ 140725 h 152377"/>
              <a:gd name="connsiteX17" fmla="*/ 98597 w 98597"/>
              <a:gd name="connsiteY17" fmla="*/ 123247 h 152377"/>
              <a:gd name="connsiteX18" fmla="*/ 98597 w 98597"/>
              <a:gd name="connsiteY18" fmla="*/ 69466 h 152377"/>
              <a:gd name="connsiteX19" fmla="*/ 98597 w 98597"/>
              <a:gd name="connsiteY19" fmla="*/ 55573 h 152377"/>
              <a:gd name="connsiteX20" fmla="*/ 84704 w 98597"/>
              <a:gd name="connsiteY20" fmla="*/ 37646 h 152377"/>
              <a:gd name="connsiteX21" fmla="*/ 7619 w 98597"/>
              <a:gd name="connsiteY21" fmla="*/ 21064 h 152377"/>
              <a:gd name="connsiteX22" fmla="*/ 7619 w 98597"/>
              <a:gd name="connsiteY22" fmla="*/ 11652 h 152377"/>
              <a:gd name="connsiteX23" fmla="*/ 16134 w 98597"/>
              <a:gd name="connsiteY23" fmla="*/ 4482 h 152377"/>
              <a:gd name="connsiteX24" fmla="*/ 81119 w 98597"/>
              <a:gd name="connsiteY24" fmla="*/ 4482 h 152377"/>
              <a:gd name="connsiteX25" fmla="*/ 89634 w 98597"/>
              <a:gd name="connsiteY25" fmla="*/ 11652 h 152377"/>
              <a:gd name="connsiteX26" fmla="*/ 89634 w 98597"/>
              <a:gd name="connsiteY26" fmla="*/ 21064 h 152377"/>
              <a:gd name="connsiteX27" fmla="*/ 81119 w 98597"/>
              <a:gd name="connsiteY27" fmla="*/ 28235 h 152377"/>
              <a:gd name="connsiteX28" fmla="*/ 16134 w 98597"/>
              <a:gd name="connsiteY28" fmla="*/ 28235 h 152377"/>
              <a:gd name="connsiteX29" fmla="*/ 7619 w 98597"/>
              <a:gd name="connsiteY29" fmla="*/ 21064 h 152377"/>
              <a:gd name="connsiteX30" fmla="*/ 15686 w 98597"/>
              <a:gd name="connsiteY30" fmla="*/ 41232 h 152377"/>
              <a:gd name="connsiteX31" fmla="*/ 17030 w 98597"/>
              <a:gd name="connsiteY31" fmla="*/ 38991 h 152377"/>
              <a:gd name="connsiteX32" fmla="*/ 17030 w 98597"/>
              <a:gd name="connsiteY32" fmla="*/ 32717 h 152377"/>
              <a:gd name="connsiteX33" fmla="*/ 79774 w 98597"/>
              <a:gd name="connsiteY33" fmla="*/ 32717 h 152377"/>
              <a:gd name="connsiteX34" fmla="*/ 79774 w 98597"/>
              <a:gd name="connsiteY34" fmla="*/ 38991 h 152377"/>
              <a:gd name="connsiteX35" fmla="*/ 81119 w 98597"/>
              <a:gd name="connsiteY35" fmla="*/ 41232 h 152377"/>
              <a:gd name="connsiteX36" fmla="*/ 93219 w 98597"/>
              <a:gd name="connsiteY36" fmla="*/ 55573 h 152377"/>
              <a:gd name="connsiteX37" fmla="*/ 93219 w 98597"/>
              <a:gd name="connsiteY37" fmla="*/ 67226 h 152377"/>
              <a:gd name="connsiteX38" fmla="*/ 3585 w 98597"/>
              <a:gd name="connsiteY38" fmla="*/ 67226 h 152377"/>
              <a:gd name="connsiteX39" fmla="*/ 3585 w 98597"/>
              <a:gd name="connsiteY39" fmla="*/ 55573 h 152377"/>
              <a:gd name="connsiteX40" fmla="*/ 15686 w 98597"/>
              <a:gd name="connsiteY40" fmla="*/ 41232 h 152377"/>
              <a:gd name="connsiteX41" fmla="*/ 93667 w 98597"/>
              <a:gd name="connsiteY41" fmla="*/ 121006 h 152377"/>
              <a:gd name="connsiteX42" fmla="*/ 4033 w 98597"/>
              <a:gd name="connsiteY42" fmla="*/ 121006 h 152377"/>
              <a:gd name="connsiteX43" fmla="*/ 4033 w 98597"/>
              <a:gd name="connsiteY43" fmla="*/ 71707 h 152377"/>
              <a:gd name="connsiteX44" fmla="*/ 93667 w 98597"/>
              <a:gd name="connsiteY44" fmla="*/ 71707 h 152377"/>
              <a:gd name="connsiteX45" fmla="*/ 93667 w 98597"/>
              <a:gd name="connsiteY45" fmla="*/ 121006 h 152377"/>
              <a:gd name="connsiteX46" fmla="*/ 85152 w 98597"/>
              <a:gd name="connsiteY46" fmla="*/ 147896 h 152377"/>
              <a:gd name="connsiteX47" fmla="*/ 12549 w 98597"/>
              <a:gd name="connsiteY47" fmla="*/ 147896 h 152377"/>
              <a:gd name="connsiteX48" fmla="*/ 4033 w 98597"/>
              <a:gd name="connsiteY48" fmla="*/ 140725 h 152377"/>
              <a:gd name="connsiteX49" fmla="*/ 4033 w 98597"/>
              <a:gd name="connsiteY49" fmla="*/ 125488 h 152377"/>
              <a:gd name="connsiteX50" fmla="*/ 93667 w 98597"/>
              <a:gd name="connsiteY50" fmla="*/ 125488 h 152377"/>
              <a:gd name="connsiteX51" fmla="*/ 93667 w 98597"/>
              <a:gd name="connsiteY51" fmla="*/ 140725 h 152377"/>
              <a:gd name="connsiteX52" fmla="*/ 85152 w 98597"/>
              <a:gd name="connsiteY52"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8597" h="152377">
                <a:moveTo>
                  <a:pt x="84704" y="37646"/>
                </a:moveTo>
                <a:lnTo>
                  <a:pt x="84704" y="32268"/>
                </a:lnTo>
                <a:cubicBezTo>
                  <a:pt x="90530" y="30924"/>
                  <a:pt x="94564" y="26442"/>
                  <a:pt x="94564" y="21064"/>
                </a:cubicBezTo>
                <a:lnTo>
                  <a:pt x="94564" y="11652"/>
                </a:lnTo>
                <a:cubicBezTo>
                  <a:pt x="94564" y="5378"/>
                  <a:pt x="88738" y="0"/>
                  <a:pt x="81567" y="0"/>
                </a:cubicBezTo>
                <a:lnTo>
                  <a:pt x="16582" y="0"/>
                </a:lnTo>
                <a:cubicBezTo>
                  <a:pt x="9411" y="0"/>
                  <a:pt x="3585" y="5378"/>
                  <a:pt x="3585" y="11652"/>
                </a:cubicBezTo>
                <a:lnTo>
                  <a:pt x="3585" y="21064"/>
                </a:lnTo>
                <a:cubicBezTo>
                  <a:pt x="3585" y="26442"/>
                  <a:pt x="7619" y="30924"/>
                  <a:pt x="13445" y="32268"/>
                </a:cubicBezTo>
                <a:lnTo>
                  <a:pt x="13445" y="37646"/>
                </a:lnTo>
                <a:cubicBezTo>
                  <a:pt x="2241" y="42128"/>
                  <a:pt x="0" y="49747"/>
                  <a:pt x="0" y="55573"/>
                </a:cubicBezTo>
                <a:lnTo>
                  <a:pt x="0" y="69466"/>
                </a:lnTo>
                <a:lnTo>
                  <a:pt x="0" y="123247"/>
                </a:lnTo>
                <a:lnTo>
                  <a:pt x="0" y="140725"/>
                </a:lnTo>
                <a:cubicBezTo>
                  <a:pt x="0" y="147000"/>
                  <a:pt x="5826" y="152378"/>
                  <a:pt x="12997" y="152378"/>
                </a:cubicBezTo>
                <a:lnTo>
                  <a:pt x="85600" y="152378"/>
                </a:lnTo>
                <a:cubicBezTo>
                  <a:pt x="92771" y="152378"/>
                  <a:pt x="98597" y="147000"/>
                  <a:pt x="98597" y="140725"/>
                </a:cubicBezTo>
                <a:lnTo>
                  <a:pt x="98597" y="123247"/>
                </a:lnTo>
                <a:lnTo>
                  <a:pt x="98597" y="69466"/>
                </a:lnTo>
                <a:lnTo>
                  <a:pt x="98597" y="55573"/>
                </a:lnTo>
                <a:cubicBezTo>
                  <a:pt x="98149" y="49747"/>
                  <a:pt x="95908" y="42128"/>
                  <a:pt x="84704" y="37646"/>
                </a:cubicBezTo>
                <a:close/>
                <a:moveTo>
                  <a:pt x="7619" y="21064"/>
                </a:moveTo>
                <a:lnTo>
                  <a:pt x="7619" y="11652"/>
                </a:lnTo>
                <a:cubicBezTo>
                  <a:pt x="7619" y="7619"/>
                  <a:pt x="11652" y="4482"/>
                  <a:pt x="16134" y="4482"/>
                </a:cubicBezTo>
                <a:lnTo>
                  <a:pt x="81119" y="4482"/>
                </a:lnTo>
                <a:cubicBezTo>
                  <a:pt x="86048" y="4482"/>
                  <a:pt x="89634" y="7619"/>
                  <a:pt x="89634" y="11652"/>
                </a:cubicBezTo>
                <a:lnTo>
                  <a:pt x="89634" y="21064"/>
                </a:lnTo>
                <a:cubicBezTo>
                  <a:pt x="89634" y="25098"/>
                  <a:pt x="85600" y="28235"/>
                  <a:pt x="81119" y="28235"/>
                </a:cubicBezTo>
                <a:lnTo>
                  <a:pt x="16134" y="28235"/>
                </a:lnTo>
                <a:cubicBezTo>
                  <a:pt x="11652" y="28235"/>
                  <a:pt x="7619" y="25098"/>
                  <a:pt x="7619" y="21064"/>
                </a:cubicBezTo>
                <a:close/>
                <a:moveTo>
                  <a:pt x="15686" y="41232"/>
                </a:moveTo>
                <a:cubicBezTo>
                  <a:pt x="16582" y="40784"/>
                  <a:pt x="17030" y="39887"/>
                  <a:pt x="17030" y="38991"/>
                </a:cubicBezTo>
                <a:lnTo>
                  <a:pt x="17030" y="32717"/>
                </a:lnTo>
                <a:lnTo>
                  <a:pt x="79774" y="32717"/>
                </a:lnTo>
                <a:lnTo>
                  <a:pt x="79774" y="38991"/>
                </a:lnTo>
                <a:cubicBezTo>
                  <a:pt x="79774" y="39887"/>
                  <a:pt x="80222" y="40784"/>
                  <a:pt x="81119" y="41232"/>
                </a:cubicBezTo>
                <a:cubicBezTo>
                  <a:pt x="89186" y="43921"/>
                  <a:pt x="93219" y="48851"/>
                  <a:pt x="93219" y="55573"/>
                </a:cubicBezTo>
                <a:lnTo>
                  <a:pt x="93219" y="67226"/>
                </a:lnTo>
                <a:lnTo>
                  <a:pt x="3585" y="67226"/>
                </a:lnTo>
                <a:lnTo>
                  <a:pt x="3585" y="55573"/>
                </a:lnTo>
                <a:cubicBezTo>
                  <a:pt x="4033" y="48851"/>
                  <a:pt x="8067" y="44369"/>
                  <a:pt x="15686" y="41232"/>
                </a:cubicBezTo>
                <a:close/>
                <a:moveTo>
                  <a:pt x="93667" y="121006"/>
                </a:moveTo>
                <a:lnTo>
                  <a:pt x="4033" y="121006"/>
                </a:lnTo>
                <a:lnTo>
                  <a:pt x="4033" y="71707"/>
                </a:lnTo>
                <a:lnTo>
                  <a:pt x="93667" y="71707"/>
                </a:lnTo>
                <a:lnTo>
                  <a:pt x="93667" y="121006"/>
                </a:lnTo>
                <a:close/>
                <a:moveTo>
                  <a:pt x="85152" y="147896"/>
                </a:moveTo>
                <a:lnTo>
                  <a:pt x="12549" y="147896"/>
                </a:lnTo>
                <a:cubicBezTo>
                  <a:pt x="7619" y="147896"/>
                  <a:pt x="4033" y="144759"/>
                  <a:pt x="4033" y="140725"/>
                </a:cubicBezTo>
                <a:lnTo>
                  <a:pt x="4033" y="125488"/>
                </a:lnTo>
                <a:lnTo>
                  <a:pt x="93667" y="125488"/>
                </a:lnTo>
                <a:lnTo>
                  <a:pt x="93667" y="140725"/>
                </a:lnTo>
                <a:cubicBezTo>
                  <a:pt x="93667" y="144759"/>
                  <a:pt x="89634" y="147896"/>
                  <a:pt x="85152" y="147896"/>
                </a:cubicBezTo>
                <a:close/>
              </a:path>
            </a:pathLst>
          </a:custGeom>
          <a:solidFill>
            <a:srgbClr val="231F20"/>
          </a:solidFill>
          <a:ln w="4477" cap="flat">
            <a:noFill/>
            <a:prstDash val="solid"/>
            <a:miter/>
          </a:ln>
        </p:spPr>
        <p:txBody>
          <a:bodyPr rtlCol="0" anchor="ctr"/>
          <a:lstStyle/>
          <a:p>
            <a:endParaRPr lang="en-US"/>
          </a:p>
        </p:txBody>
      </p:sp>
      <p:grpSp>
        <p:nvGrpSpPr>
          <p:cNvPr id="2485" name="Group 2484">
            <a:extLst>
              <a:ext uri="{FF2B5EF4-FFF2-40B4-BE49-F238E27FC236}">
                <a16:creationId xmlns:a16="http://schemas.microsoft.com/office/drawing/2014/main" id="{FCE2B6DC-E95A-4644-9474-C73E6AF993C4}"/>
              </a:ext>
              <a:ext uri="{C183D7F6-B498-43B3-948B-1728B52AA6E4}">
                <adec:decorative xmlns:adec="http://schemas.microsoft.com/office/drawing/2017/decorative" val="1"/>
              </a:ext>
            </a:extLst>
          </p:cNvPr>
          <p:cNvGrpSpPr>
            <a:grpSpLocks noChangeAspect="1"/>
          </p:cNvGrpSpPr>
          <p:nvPr/>
        </p:nvGrpSpPr>
        <p:grpSpPr>
          <a:xfrm>
            <a:off x="9063774" y="4528679"/>
            <a:ext cx="125488" cy="138933"/>
            <a:chOff x="9120274" y="2472988"/>
            <a:chExt cx="125488" cy="138933"/>
          </a:xfrm>
        </p:grpSpPr>
        <p:sp>
          <p:nvSpPr>
            <p:cNvPr id="5398" name="Freeform: Shape 5397">
              <a:extLst>
                <a:ext uri="{FF2B5EF4-FFF2-40B4-BE49-F238E27FC236}">
                  <a16:creationId xmlns:a16="http://schemas.microsoft.com/office/drawing/2014/main" id="{34724803-BD9D-49AF-AB6E-53896EB2749E}"/>
                </a:ext>
              </a:extLst>
            </p:cNvPr>
            <p:cNvSpPr/>
            <p:nvPr/>
          </p:nvSpPr>
          <p:spPr>
            <a:xfrm>
              <a:off x="9120274" y="2472988"/>
              <a:ext cx="125488" cy="138933"/>
            </a:xfrm>
            <a:custGeom>
              <a:avLst/>
              <a:gdLst>
                <a:gd name="connsiteX0" fmla="*/ 108457 w 125487"/>
                <a:gd name="connsiteY0" fmla="*/ 0 h 138932"/>
                <a:gd name="connsiteX1" fmla="*/ 17478 w 125487"/>
                <a:gd name="connsiteY1" fmla="*/ 0 h 138932"/>
                <a:gd name="connsiteX2" fmla="*/ 0 w 125487"/>
                <a:gd name="connsiteY2" fmla="*/ 17479 h 138932"/>
                <a:gd name="connsiteX3" fmla="*/ 0 w 125487"/>
                <a:gd name="connsiteY3" fmla="*/ 121902 h 138932"/>
                <a:gd name="connsiteX4" fmla="*/ 17478 w 125487"/>
                <a:gd name="connsiteY4" fmla="*/ 139381 h 138932"/>
                <a:gd name="connsiteX5" fmla="*/ 108457 w 125487"/>
                <a:gd name="connsiteY5" fmla="*/ 139381 h 138932"/>
                <a:gd name="connsiteX6" fmla="*/ 125936 w 125487"/>
                <a:gd name="connsiteY6" fmla="*/ 121902 h 138932"/>
                <a:gd name="connsiteX7" fmla="*/ 125936 w 125487"/>
                <a:gd name="connsiteY7" fmla="*/ 17479 h 138932"/>
                <a:gd name="connsiteX8" fmla="*/ 108457 w 125487"/>
                <a:gd name="connsiteY8" fmla="*/ 0 h 138932"/>
                <a:gd name="connsiteX9" fmla="*/ 121454 w 125487"/>
                <a:gd name="connsiteY9" fmla="*/ 121902 h 138932"/>
                <a:gd name="connsiteX10" fmla="*/ 108457 w 125487"/>
                <a:gd name="connsiteY10" fmla="*/ 134899 h 138932"/>
                <a:gd name="connsiteX11" fmla="*/ 17478 w 125487"/>
                <a:gd name="connsiteY11" fmla="*/ 134899 h 138932"/>
                <a:gd name="connsiteX12" fmla="*/ 4482 w 125487"/>
                <a:gd name="connsiteY12" fmla="*/ 121902 h 138932"/>
                <a:gd name="connsiteX13" fmla="*/ 4482 w 125487"/>
                <a:gd name="connsiteY13" fmla="*/ 17479 h 138932"/>
                <a:gd name="connsiteX14" fmla="*/ 17478 w 125487"/>
                <a:gd name="connsiteY14" fmla="*/ 4482 h 138932"/>
                <a:gd name="connsiteX15" fmla="*/ 108457 w 125487"/>
                <a:gd name="connsiteY15" fmla="*/ 4482 h 138932"/>
                <a:gd name="connsiteX16" fmla="*/ 121454 w 125487"/>
                <a:gd name="connsiteY16" fmla="*/ 17479 h 138932"/>
                <a:gd name="connsiteX17" fmla="*/ 121454 w 125487"/>
                <a:gd name="connsiteY17" fmla="*/ 12190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7" h="138932">
                  <a:moveTo>
                    <a:pt x="108457" y="0"/>
                  </a:moveTo>
                  <a:lnTo>
                    <a:pt x="17478" y="0"/>
                  </a:lnTo>
                  <a:cubicBezTo>
                    <a:pt x="8067" y="0"/>
                    <a:pt x="0" y="7619"/>
                    <a:pt x="0" y="17479"/>
                  </a:cubicBezTo>
                  <a:lnTo>
                    <a:pt x="0" y="121902"/>
                  </a:lnTo>
                  <a:cubicBezTo>
                    <a:pt x="0" y="131314"/>
                    <a:pt x="7619" y="139381"/>
                    <a:pt x="17478" y="139381"/>
                  </a:cubicBezTo>
                  <a:lnTo>
                    <a:pt x="108457" y="139381"/>
                  </a:lnTo>
                  <a:cubicBezTo>
                    <a:pt x="117869" y="139381"/>
                    <a:pt x="125936" y="131762"/>
                    <a:pt x="125936" y="121902"/>
                  </a:cubicBezTo>
                  <a:lnTo>
                    <a:pt x="125936" y="17479"/>
                  </a:lnTo>
                  <a:cubicBezTo>
                    <a:pt x="125936" y="8067"/>
                    <a:pt x="117869" y="0"/>
                    <a:pt x="108457" y="0"/>
                  </a:cubicBezTo>
                  <a:close/>
                  <a:moveTo>
                    <a:pt x="121454" y="121902"/>
                  </a:moveTo>
                  <a:cubicBezTo>
                    <a:pt x="121454" y="129073"/>
                    <a:pt x="115628" y="134899"/>
                    <a:pt x="108457" y="134899"/>
                  </a:cubicBezTo>
                  <a:lnTo>
                    <a:pt x="17478" y="134899"/>
                  </a:lnTo>
                  <a:cubicBezTo>
                    <a:pt x="10308" y="134899"/>
                    <a:pt x="4482" y="129073"/>
                    <a:pt x="4482" y="121902"/>
                  </a:cubicBezTo>
                  <a:lnTo>
                    <a:pt x="4482" y="17479"/>
                  </a:lnTo>
                  <a:cubicBezTo>
                    <a:pt x="4482" y="10308"/>
                    <a:pt x="10308" y="4482"/>
                    <a:pt x="17478" y="4482"/>
                  </a:cubicBezTo>
                  <a:lnTo>
                    <a:pt x="108457" y="4482"/>
                  </a:lnTo>
                  <a:cubicBezTo>
                    <a:pt x="115628" y="4482"/>
                    <a:pt x="121454" y="10308"/>
                    <a:pt x="121454" y="17479"/>
                  </a:cubicBezTo>
                  <a:lnTo>
                    <a:pt x="121454" y="121902"/>
                  </a:lnTo>
                  <a:close/>
                </a:path>
              </a:pathLst>
            </a:custGeom>
            <a:solidFill>
              <a:srgbClr val="231F20"/>
            </a:solidFill>
            <a:ln w="4477" cap="flat">
              <a:noFill/>
              <a:prstDash val="solid"/>
              <a:miter/>
            </a:ln>
          </p:spPr>
          <p:txBody>
            <a:bodyPr rtlCol="0" anchor="ctr"/>
            <a:lstStyle/>
            <a:p>
              <a:endParaRPr lang="en-US"/>
            </a:p>
          </p:txBody>
        </p:sp>
        <p:sp>
          <p:nvSpPr>
            <p:cNvPr id="5399" name="Freeform: Shape 5398">
              <a:extLst>
                <a:ext uri="{FF2B5EF4-FFF2-40B4-BE49-F238E27FC236}">
                  <a16:creationId xmlns:a16="http://schemas.microsoft.com/office/drawing/2014/main" id="{E0F9BFD9-C650-4171-9B35-4313FA70E66D}"/>
                </a:ext>
              </a:extLst>
            </p:cNvPr>
            <p:cNvSpPr/>
            <p:nvPr/>
          </p:nvSpPr>
          <p:spPr>
            <a:xfrm>
              <a:off x="9143130" y="2545143"/>
              <a:ext cx="76189" cy="31372"/>
            </a:xfrm>
            <a:custGeom>
              <a:avLst/>
              <a:gdLst>
                <a:gd name="connsiteX0" fmla="*/ 62744 w 76188"/>
                <a:gd name="connsiteY0" fmla="*/ 0 h 31371"/>
                <a:gd name="connsiteX1" fmla="*/ 17479 w 76188"/>
                <a:gd name="connsiteY1" fmla="*/ 0 h 31371"/>
                <a:gd name="connsiteX2" fmla="*/ 0 w 76188"/>
                <a:gd name="connsiteY2" fmla="*/ 17479 h 31371"/>
                <a:gd name="connsiteX3" fmla="*/ 17479 w 76188"/>
                <a:gd name="connsiteY3" fmla="*/ 34957 h 31371"/>
                <a:gd name="connsiteX4" fmla="*/ 62744 w 76188"/>
                <a:gd name="connsiteY4" fmla="*/ 34957 h 31371"/>
                <a:gd name="connsiteX5" fmla="*/ 80223 w 76188"/>
                <a:gd name="connsiteY5" fmla="*/ 17479 h 31371"/>
                <a:gd name="connsiteX6" fmla="*/ 62744 w 76188"/>
                <a:gd name="connsiteY6" fmla="*/ 0 h 31371"/>
                <a:gd name="connsiteX7" fmla="*/ 4482 w 76188"/>
                <a:gd name="connsiteY7" fmla="*/ 17479 h 31371"/>
                <a:gd name="connsiteX8" fmla="*/ 17479 w 76188"/>
                <a:gd name="connsiteY8" fmla="*/ 4482 h 31371"/>
                <a:gd name="connsiteX9" fmla="*/ 38094 w 76188"/>
                <a:gd name="connsiteY9" fmla="*/ 4482 h 31371"/>
                <a:gd name="connsiteX10" fmla="*/ 38094 w 76188"/>
                <a:gd name="connsiteY10" fmla="*/ 30476 h 31371"/>
                <a:gd name="connsiteX11" fmla="*/ 17479 w 76188"/>
                <a:gd name="connsiteY11" fmla="*/ 30476 h 31371"/>
                <a:gd name="connsiteX12" fmla="*/ 4482 w 76188"/>
                <a:gd name="connsiteY12" fmla="*/ 17479 h 31371"/>
                <a:gd name="connsiteX13" fmla="*/ 62744 w 76188"/>
                <a:gd name="connsiteY13" fmla="*/ 30476 h 31371"/>
                <a:gd name="connsiteX14" fmla="*/ 42128 w 76188"/>
                <a:gd name="connsiteY14" fmla="*/ 30476 h 31371"/>
                <a:gd name="connsiteX15" fmla="*/ 42128 w 76188"/>
                <a:gd name="connsiteY15" fmla="*/ 4482 h 31371"/>
                <a:gd name="connsiteX16" fmla="*/ 62744 w 76188"/>
                <a:gd name="connsiteY16" fmla="*/ 4482 h 31371"/>
                <a:gd name="connsiteX17" fmla="*/ 75741 w 76188"/>
                <a:gd name="connsiteY17" fmla="*/ 17479 h 31371"/>
                <a:gd name="connsiteX18" fmla="*/ 62744 w 76188"/>
                <a:gd name="connsiteY18" fmla="*/ 3047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188" h="31371">
                  <a:moveTo>
                    <a:pt x="62744" y="0"/>
                  </a:moveTo>
                  <a:lnTo>
                    <a:pt x="17479" y="0"/>
                  </a:lnTo>
                  <a:cubicBezTo>
                    <a:pt x="8067" y="0"/>
                    <a:pt x="0" y="7619"/>
                    <a:pt x="0" y="17479"/>
                  </a:cubicBezTo>
                  <a:cubicBezTo>
                    <a:pt x="0" y="27338"/>
                    <a:pt x="7619" y="34957"/>
                    <a:pt x="17479" y="34957"/>
                  </a:cubicBezTo>
                  <a:lnTo>
                    <a:pt x="62744" y="34957"/>
                  </a:lnTo>
                  <a:cubicBezTo>
                    <a:pt x="72156" y="34957"/>
                    <a:pt x="80223" y="27338"/>
                    <a:pt x="80223" y="17479"/>
                  </a:cubicBezTo>
                  <a:cubicBezTo>
                    <a:pt x="80223" y="7619"/>
                    <a:pt x="72604" y="0"/>
                    <a:pt x="62744" y="0"/>
                  </a:cubicBezTo>
                  <a:close/>
                  <a:moveTo>
                    <a:pt x="4482" y="17479"/>
                  </a:moveTo>
                  <a:cubicBezTo>
                    <a:pt x="4482" y="10308"/>
                    <a:pt x="10308" y="4482"/>
                    <a:pt x="17479" y="4482"/>
                  </a:cubicBezTo>
                  <a:lnTo>
                    <a:pt x="38094" y="4482"/>
                  </a:lnTo>
                  <a:lnTo>
                    <a:pt x="38094" y="30476"/>
                  </a:lnTo>
                  <a:lnTo>
                    <a:pt x="17479" y="30476"/>
                  </a:lnTo>
                  <a:cubicBezTo>
                    <a:pt x="10308" y="30476"/>
                    <a:pt x="4482" y="24649"/>
                    <a:pt x="4482" y="17479"/>
                  </a:cubicBezTo>
                  <a:close/>
                  <a:moveTo>
                    <a:pt x="62744" y="30476"/>
                  </a:moveTo>
                  <a:lnTo>
                    <a:pt x="42128" y="30476"/>
                  </a:lnTo>
                  <a:lnTo>
                    <a:pt x="42128" y="4482"/>
                  </a:lnTo>
                  <a:lnTo>
                    <a:pt x="62744" y="4482"/>
                  </a:lnTo>
                  <a:cubicBezTo>
                    <a:pt x="69915" y="4482"/>
                    <a:pt x="75741" y="10308"/>
                    <a:pt x="75741" y="17479"/>
                  </a:cubicBezTo>
                  <a:cubicBezTo>
                    <a:pt x="75741" y="24649"/>
                    <a:pt x="69915" y="30476"/>
                    <a:pt x="62744" y="30476"/>
                  </a:cubicBezTo>
                  <a:close/>
                </a:path>
              </a:pathLst>
            </a:custGeom>
            <a:solidFill>
              <a:srgbClr val="231F20"/>
            </a:solidFill>
            <a:ln w="4477" cap="flat">
              <a:noFill/>
              <a:prstDash val="solid"/>
              <a:miter/>
            </a:ln>
          </p:spPr>
          <p:txBody>
            <a:bodyPr rtlCol="0" anchor="ctr"/>
            <a:lstStyle/>
            <a:p>
              <a:endParaRPr lang="en-US"/>
            </a:p>
          </p:txBody>
        </p:sp>
        <p:sp>
          <p:nvSpPr>
            <p:cNvPr id="5400" name="Freeform: Shape 5399">
              <a:extLst>
                <a:ext uri="{FF2B5EF4-FFF2-40B4-BE49-F238E27FC236}">
                  <a16:creationId xmlns:a16="http://schemas.microsoft.com/office/drawing/2014/main" id="{EE6225A6-F019-4AA8-9961-80FFF1171912}"/>
                </a:ext>
              </a:extLst>
            </p:cNvPr>
            <p:cNvSpPr/>
            <p:nvPr/>
          </p:nvSpPr>
          <p:spPr>
            <a:xfrm>
              <a:off x="9143130" y="2503463"/>
              <a:ext cx="76189" cy="31372"/>
            </a:xfrm>
            <a:custGeom>
              <a:avLst/>
              <a:gdLst>
                <a:gd name="connsiteX0" fmla="*/ 62744 w 76188"/>
                <a:gd name="connsiteY0" fmla="*/ 0 h 31371"/>
                <a:gd name="connsiteX1" fmla="*/ 17479 w 76188"/>
                <a:gd name="connsiteY1" fmla="*/ 0 h 31371"/>
                <a:gd name="connsiteX2" fmla="*/ 0 w 76188"/>
                <a:gd name="connsiteY2" fmla="*/ 17479 h 31371"/>
                <a:gd name="connsiteX3" fmla="*/ 17479 w 76188"/>
                <a:gd name="connsiteY3" fmla="*/ 34957 h 31371"/>
                <a:gd name="connsiteX4" fmla="*/ 62744 w 76188"/>
                <a:gd name="connsiteY4" fmla="*/ 34957 h 31371"/>
                <a:gd name="connsiteX5" fmla="*/ 80223 w 76188"/>
                <a:gd name="connsiteY5" fmla="*/ 17479 h 31371"/>
                <a:gd name="connsiteX6" fmla="*/ 62744 w 76188"/>
                <a:gd name="connsiteY6" fmla="*/ 0 h 31371"/>
                <a:gd name="connsiteX7" fmla="*/ 4482 w 76188"/>
                <a:gd name="connsiteY7" fmla="*/ 17030 h 31371"/>
                <a:gd name="connsiteX8" fmla="*/ 17479 w 76188"/>
                <a:gd name="connsiteY8" fmla="*/ 4034 h 31371"/>
                <a:gd name="connsiteX9" fmla="*/ 38094 w 76188"/>
                <a:gd name="connsiteY9" fmla="*/ 4034 h 31371"/>
                <a:gd name="connsiteX10" fmla="*/ 38094 w 76188"/>
                <a:gd name="connsiteY10" fmla="*/ 30027 h 31371"/>
                <a:gd name="connsiteX11" fmla="*/ 17479 w 76188"/>
                <a:gd name="connsiteY11" fmla="*/ 30027 h 31371"/>
                <a:gd name="connsiteX12" fmla="*/ 4482 w 76188"/>
                <a:gd name="connsiteY12" fmla="*/ 17030 h 31371"/>
                <a:gd name="connsiteX13" fmla="*/ 62744 w 76188"/>
                <a:gd name="connsiteY13" fmla="*/ 30027 h 31371"/>
                <a:gd name="connsiteX14" fmla="*/ 42128 w 76188"/>
                <a:gd name="connsiteY14" fmla="*/ 30027 h 31371"/>
                <a:gd name="connsiteX15" fmla="*/ 42128 w 76188"/>
                <a:gd name="connsiteY15" fmla="*/ 4034 h 31371"/>
                <a:gd name="connsiteX16" fmla="*/ 62744 w 76188"/>
                <a:gd name="connsiteY16" fmla="*/ 4034 h 31371"/>
                <a:gd name="connsiteX17" fmla="*/ 75741 w 76188"/>
                <a:gd name="connsiteY17" fmla="*/ 17030 h 31371"/>
                <a:gd name="connsiteX18" fmla="*/ 62744 w 76188"/>
                <a:gd name="connsiteY18" fmla="*/ 30027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188" h="31371">
                  <a:moveTo>
                    <a:pt x="62744" y="0"/>
                  </a:moveTo>
                  <a:lnTo>
                    <a:pt x="17479" y="0"/>
                  </a:lnTo>
                  <a:cubicBezTo>
                    <a:pt x="8067" y="0"/>
                    <a:pt x="0" y="7619"/>
                    <a:pt x="0" y="17479"/>
                  </a:cubicBezTo>
                  <a:cubicBezTo>
                    <a:pt x="0" y="27338"/>
                    <a:pt x="7619" y="34957"/>
                    <a:pt x="17479" y="34957"/>
                  </a:cubicBezTo>
                  <a:lnTo>
                    <a:pt x="62744" y="34957"/>
                  </a:lnTo>
                  <a:cubicBezTo>
                    <a:pt x="72156" y="34957"/>
                    <a:pt x="80223" y="27338"/>
                    <a:pt x="80223" y="17479"/>
                  </a:cubicBezTo>
                  <a:cubicBezTo>
                    <a:pt x="80223" y="7619"/>
                    <a:pt x="72604" y="0"/>
                    <a:pt x="62744" y="0"/>
                  </a:cubicBezTo>
                  <a:close/>
                  <a:moveTo>
                    <a:pt x="4482" y="17030"/>
                  </a:moveTo>
                  <a:cubicBezTo>
                    <a:pt x="4482" y="9860"/>
                    <a:pt x="10308" y="4034"/>
                    <a:pt x="17479" y="4034"/>
                  </a:cubicBezTo>
                  <a:lnTo>
                    <a:pt x="38094" y="4034"/>
                  </a:lnTo>
                  <a:lnTo>
                    <a:pt x="38094" y="30027"/>
                  </a:lnTo>
                  <a:lnTo>
                    <a:pt x="17479" y="30027"/>
                  </a:lnTo>
                  <a:cubicBezTo>
                    <a:pt x="10308" y="30027"/>
                    <a:pt x="4482" y="24201"/>
                    <a:pt x="4482" y="17030"/>
                  </a:cubicBezTo>
                  <a:close/>
                  <a:moveTo>
                    <a:pt x="62744" y="30027"/>
                  </a:moveTo>
                  <a:lnTo>
                    <a:pt x="42128" y="30027"/>
                  </a:lnTo>
                  <a:lnTo>
                    <a:pt x="42128" y="4034"/>
                  </a:lnTo>
                  <a:lnTo>
                    <a:pt x="62744" y="4034"/>
                  </a:lnTo>
                  <a:cubicBezTo>
                    <a:pt x="69915" y="4034"/>
                    <a:pt x="75741" y="9860"/>
                    <a:pt x="75741" y="17030"/>
                  </a:cubicBezTo>
                  <a:cubicBezTo>
                    <a:pt x="75741" y="24201"/>
                    <a:pt x="69915" y="30027"/>
                    <a:pt x="62744" y="30027"/>
                  </a:cubicBezTo>
                  <a:close/>
                </a:path>
              </a:pathLst>
            </a:custGeom>
            <a:solidFill>
              <a:srgbClr val="231F20"/>
            </a:solidFill>
            <a:ln w="4477" cap="flat">
              <a:noFill/>
              <a:prstDash val="solid"/>
              <a:miter/>
            </a:ln>
          </p:spPr>
          <p:txBody>
            <a:bodyPr rtlCol="0" anchor="ctr"/>
            <a:lstStyle/>
            <a:p>
              <a:endParaRPr lang="en-US"/>
            </a:p>
          </p:txBody>
        </p:sp>
      </p:grpSp>
      <p:grpSp>
        <p:nvGrpSpPr>
          <p:cNvPr id="2486" name="Group 2485">
            <a:extLst>
              <a:ext uri="{FF2B5EF4-FFF2-40B4-BE49-F238E27FC236}">
                <a16:creationId xmlns:a16="http://schemas.microsoft.com/office/drawing/2014/main" id="{383E2987-4593-469C-827C-8A1F8B1D5DBA}"/>
              </a:ext>
              <a:ext uri="{C183D7F6-B498-43B3-948B-1728B52AA6E4}">
                <adec:decorative xmlns:adec="http://schemas.microsoft.com/office/drawing/2017/decorative" val="1"/>
              </a:ext>
            </a:extLst>
          </p:cNvPr>
          <p:cNvGrpSpPr>
            <a:grpSpLocks noChangeAspect="1"/>
          </p:cNvGrpSpPr>
          <p:nvPr/>
        </p:nvGrpSpPr>
        <p:grpSpPr>
          <a:xfrm>
            <a:off x="7214624" y="4528230"/>
            <a:ext cx="151481" cy="139381"/>
            <a:chOff x="7271124" y="2472539"/>
            <a:chExt cx="151481" cy="139381"/>
          </a:xfrm>
        </p:grpSpPr>
        <p:sp>
          <p:nvSpPr>
            <p:cNvPr id="5395" name="Freeform: Shape 5394">
              <a:extLst>
                <a:ext uri="{FF2B5EF4-FFF2-40B4-BE49-F238E27FC236}">
                  <a16:creationId xmlns:a16="http://schemas.microsoft.com/office/drawing/2014/main" id="{33D59C24-CB48-4F05-A5A9-2A972B238626}"/>
                </a:ext>
              </a:extLst>
            </p:cNvPr>
            <p:cNvSpPr/>
            <p:nvPr/>
          </p:nvSpPr>
          <p:spPr>
            <a:xfrm>
              <a:off x="7271124" y="2472539"/>
              <a:ext cx="134451" cy="138933"/>
            </a:xfrm>
            <a:custGeom>
              <a:avLst/>
              <a:gdLst>
                <a:gd name="connsiteX0" fmla="*/ 81119 w 134451"/>
                <a:gd name="connsiteY0" fmla="*/ 129969 h 138932"/>
                <a:gd name="connsiteX1" fmla="*/ 70811 w 134451"/>
                <a:gd name="connsiteY1" fmla="*/ 134003 h 138932"/>
                <a:gd name="connsiteX2" fmla="*/ 70811 w 134451"/>
                <a:gd name="connsiteY2" fmla="*/ 57366 h 138932"/>
                <a:gd name="connsiteX3" fmla="*/ 133555 w 134451"/>
                <a:gd name="connsiteY3" fmla="*/ 32717 h 138932"/>
                <a:gd name="connsiteX4" fmla="*/ 133555 w 134451"/>
                <a:gd name="connsiteY4" fmla="*/ 64985 h 138932"/>
                <a:gd name="connsiteX5" fmla="*/ 135796 w 134451"/>
                <a:gd name="connsiteY5" fmla="*/ 67226 h 138932"/>
                <a:gd name="connsiteX6" fmla="*/ 138036 w 134451"/>
                <a:gd name="connsiteY6" fmla="*/ 64985 h 138932"/>
                <a:gd name="connsiteX7" fmla="*/ 138036 w 134451"/>
                <a:gd name="connsiteY7" fmla="*/ 29579 h 138932"/>
                <a:gd name="connsiteX8" fmla="*/ 138036 w 134451"/>
                <a:gd name="connsiteY8" fmla="*/ 29579 h 138932"/>
                <a:gd name="connsiteX9" fmla="*/ 138036 w 134451"/>
                <a:gd name="connsiteY9" fmla="*/ 28683 h 138932"/>
                <a:gd name="connsiteX10" fmla="*/ 138036 w 134451"/>
                <a:gd name="connsiteY10" fmla="*/ 28235 h 138932"/>
                <a:gd name="connsiteX11" fmla="*/ 138036 w 134451"/>
                <a:gd name="connsiteY11" fmla="*/ 27787 h 138932"/>
                <a:gd name="connsiteX12" fmla="*/ 137140 w 134451"/>
                <a:gd name="connsiteY12" fmla="*/ 26890 h 138932"/>
                <a:gd name="connsiteX13" fmla="*/ 137140 w 134451"/>
                <a:gd name="connsiteY13" fmla="*/ 26890 h 138932"/>
                <a:gd name="connsiteX14" fmla="*/ 69915 w 134451"/>
                <a:gd name="connsiteY14" fmla="*/ 0 h 138932"/>
                <a:gd name="connsiteX15" fmla="*/ 68122 w 134451"/>
                <a:gd name="connsiteY15" fmla="*/ 0 h 138932"/>
                <a:gd name="connsiteX16" fmla="*/ 896 w 134451"/>
                <a:gd name="connsiteY16" fmla="*/ 26890 h 138932"/>
                <a:gd name="connsiteX17" fmla="*/ 896 w 134451"/>
                <a:gd name="connsiteY17" fmla="*/ 26890 h 138932"/>
                <a:gd name="connsiteX18" fmla="*/ 0 w 134451"/>
                <a:gd name="connsiteY18" fmla="*/ 27787 h 138932"/>
                <a:gd name="connsiteX19" fmla="*/ 0 w 134451"/>
                <a:gd name="connsiteY19" fmla="*/ 28235 h 138932"/>
                <a:gd name="connsiteX20" fmla="*/ 0 w 134451"/>
                <a:gd name="connsiteY20" fmla="*/ 28683 h 138932"/>
                <a:gd name="connsiteX21" fmla="*/ 0 w 134451"/>
                <a:gd name="connsiteY21" fmla="*/ 29579 h 138932"/>
                <a:gd name="connsiteX22" fmla="*/ 0 w 134451"/>
                <a:gd name="connsiteY22" fmla="*/ 29579 h 138932"/>
                <a:gd name="connsiteX23" fmla="*/ 0 w 134451"/>
                <a:gd name="connsiteY23" fmla="*/ 110250 h 138932"/>
                <a:gd name="connsiteX24" fmla="*/ 1344 w 134451"/>
                <a:gd name="connsiteY24" fmla="*/ 112491 h 138932"/>
                <a:gd name="connsiteX25" fmla="*/ 68122 w 134451"/>
                <a:gd name="connsiteY25" fmla="*/ 138933 h 138932"/>
                <a:gd name="connsiteX26" fmla="*/ 69466 w 134451"/>
                <a:gd name="connsiteY26" fmla="*/ 139381 h 138932"/>
                <a:gd name="connsiteX27" fmla="*/ 70811 w 134451"/>
                <a:gd name="connsiteY27" fmla="*/ 138933 h 138932"/>
                <a:gd name="connsiteX28" fmla="*/ 83808 w 134451"/>
                <a:gd name="connsiteY28" fmla="*/ 134003 h 138932"/>
                <a:gd name="connsiteX29" fmla="*/ 85152 w 134451"/>
                <a:gd name="connsiteY29" fmla="*/ 131314 h 138932"/>
                <a:gd name="connsiteX30" fmla="*/ 81119 w 134451"/>
                <a:gd name="connsiteY30" fmla="*/ 129969 h 138932"/>
                <a:gd name="connsiteX31" fmla="*/ 129521 w 134451"/>
                <a:gd name="connsiteY31" fmla="*/ 29579 h 138932"/>
                <a:gd name="connsiteX32" fmla="*/ 68570 w 134451"/>
                <a:gd name="connsiteY32" fmla="*/ 53332 h 138932"/>
                <a:gd name="connsiteX33" fmla="*/ 39887 w 134451"/>
                <a:gd name="connsiteY33" fmla="*/ 42128 h 138932"/>
                <a:gd name="connsiteX34" fmla="*/ 102183 w 134451"/>
                <a:gd name="connsiteY34" fmla="*/ 18375 h 138932"/>
                <a:gd name="connsiteX35" fmla="*/ 129521 w 134451"/>
                <a:gd name="connsiteY35" fmla="*/ 29579 h 138932"/>
                <a:gd name="connsiteX36" fmla="*/ 68570 w 134451"/>
                <a:gd name="connsiteY36" fmla="*/ 4930 h 138932"/>
                <a:gd name="connsiteX37" fmla="*/ 95908 w 134451"/>
                <a:gd name="connsiteY37" fmla="*/ 16134 h 138932"/>
                <a:gd name="connsiteX38" fmla="*/ 33613 w 134451"/>
                <a:gd name="connsiteY38" fmla="*/ 39887 h 138932"/>
                <a:gd name="connsiteX39" fmla="*/ 7171 w 134451"/>
                <a:gd name="connsiteY39" fmla="*/ 29579 h 138932"/>
                <a:gd name="connsiteX40" fmla="*/ 68570 w 134451"/>
                <a:gd name="connsiteY40" fmla="*/ 4930 h 138932"/>
                <a:gd name="connsiteX41" fmla="*/ 3585 w 134451"/>
                <a:gd name="connsiteY41" fmla="*/ 32717 h 138932"/>
                <a:gd name="connsiteX42" fmla="*/ 31820 w 134451"/>
                <a:gd name="connsiteY42" fmla="*/ 43921 h 138932"/>
                <a:gd name="connsiteX43" fmla="*/ 31820 w 134451"/>
                <a:gd name="connsiteY43" fmla="*/ 69915 h 138932"/>
                <a:gd name="connsiteX44" fmla="*/ 34061 w 134451"/>
                <a:gd name="connsiteY44" fmla="*/ 72155 h 138932"/>
                <a:gd name="connsiteX45" fmla="*/ 36302 w 134451"/>
                <a:gd name="connsiteY45" fmla="*/ 69915 h 138932"/>
                <a:gd name="connsiteX46" fmla="*/ 36302 w 134451"/>
                <a:gd name="connsiteY46" fmla="*/ 45713 h 138932"/>
                <a:gd name="connsiteX47" fmla="*/ 66329 w 134451"/>
                <a:gd name="connsiteY47" fmla="*/ 57366 h 138932"/>
                <a:gd name="connsiteX48" fmla="*/ 66329 w 134451"/>
                <a:gd name="connsiteY48" fmla="*/ 134003 h 138932"/>
                <a:gd name="connsiteX49" fmla="*/ 3585 w 134451"/>
                <a:gd name="connsiteY49" fmla="*/ 108905 h 138932"/>
                <a:gd name="connsiteX50" fmla="*/ 3585 w 134451"/>
                <a:gd name="connsiteY50" fmla="*/ 32717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4451" h="138932">
                  <a:moveTo>
                    <a:pt x="81119" y="129969"/>
                  </a:moveTo>
                  <a:lnTo>
                    <a:pt x="70811" y="134003"/>
                  </a:lnTo>
                  <a:lnTo>
                    <a:pt x="70811" y="57366"/>
                  </a:lnTo>
                  <a:lnTo>
                    <a:pt x="133555" y="32717"/>
                  </a:lnTo>
                  <a:lnTo>
                    <a:pt x="133555" y="64985"/>
                  </a:lnTo>
                  <a:cubicBezTo>
                    <a:pt x="133555" y="66329"/>
                    <a:pt x="134451" y="67226"/>
                    <a:pt x="135796" y="67226"/>
                  </a:cubicBezTo>
                  <a:cubicBezTo>
                    <a:pt x="137140" y="67226"/>
                    <a:pt x="138036" y="66329"/>
                    <a:pt x="138036" y="64985"/>
                  </a:cubicBezTo>
                  <a:lnTo>
                    <a:pt x="138036" y="29579"/>
                  </a:lnTo>
                  <a:cubicBezTo>
                    <a:pt x="138036" y="29579"/>
                    <a:pt x="138036" y="29579"/>
                    <a:pt x="138036" y="29579"/>
                  </a:cubicBezTo>
                  <a:cubicBezTo>
                    <a:pt x="138036" y="29131"/>
                    <a:pt x="138036" y="29131"/>
                    <a:pt x="138036" y="28683"/>
                  </a:cubicBezTo>
                  <a:cubicBezTo>
                    <a:pt x="138036" y="28683"/>
                    <a:pt x="138036" y="28683"/>
                    <a:pt x="138036" y="28235"/>
                  </a:cubicBezTo>
                  <a:cubicBezTo>
                    <a:pt x="138036" y="28235"/>
                    <a:pt x="138036" y="28235"/>
                    <a:pt x="138036" y="27787"/>
                  </a:cubicBezTo>
                  <a:cubicBezTo>
                    <a:pt x="137588" y="27338"/>
                    <a:pt x="137588" y="27338"/>
                    <a:pt x="137140" y="26890"/>
                  </a:cubicBezTo>
                  <a:cubicBezTo>
                    <a:pt x="137140" y="26890"/>
                    <a:pt x="137140" y="26890"/>
                    <a:pt x="137140" y="26890"/>
                  </a:cubicBezTo>
                  <a:lnTo>
                    <a:pt x="69915" y="0"/>
                  </a:lnTo>
                  <a:cubicBezTo>
                    <a:pt x="69466" y="0"/>
                    <a:pt x="68570" y="0"/>
                    <a:pt x="68122" y="0"/>
                  </a:cubicBezTo>
                  <a:lnTo>
                    <a:pt x="896" y="26890"/>
                  </a:lnTo>
                  <a:cubicBezTo>
                    <a:pt x="896" y="26890"/>
                    <a:pt x="896" y="26890"/>
                    <a:pt x="896" y="26890"/>
                  </a:cubicBezTo>
                  <a:cubicBezTo>
                    <a:pt x="448" y="26890"/>
                    <a:pt x="448" y="27338"/>
                    <a:pt x="0" y="27787"/>
                  </a:cubicBezTo>
                  <a:cubicBezTo>
                    <a:pt x="0" y="27787"/>
                    <a:pt x="0" y="27787"/>
                    <a:pt x="0" y="28235"/>
                  </a:cubicBezTo>
                  <a:cubicBezTo>
                    <a:pt x="0" y="28235"/>
                    <a:pt x="0" y="28235"/>
                    <a:pt x="0" y="28683"/>
                  </a:cubicBezTo>
                  <a:cubicBezTo>
                    <a:pt x="0" y="29131"/>
                    <a:pt x="0" y="29131"/>
                    <a:pt x="0" y="29579"/>
                  </a:cubicBezTo>
                  <a:cubicBezTo>
                    <a:pt x="0" y="29579"/>
                    <a:pt x="0" y="29579"/>
                    <a:pt x="0" y="29579"/>
                  </a:cubicBezTo>
                  <a:lnTo>
                    <a:pt x="0" y="110250"/>
                  </a:lnTo>
                  <a:cubicBezTo>
                    <a:pt x="0" y="111146"/>
                    <a:pt x="448" y="112043"/>
                    <a:pt x="1344" y="112491"/>
                  </a:cubicBezTo>
                  <a:lnTo>
                    <a:pt x="68122" y="138933"/>
                  </a:lnTo>
                  <a:cubicBezTo>
                    <a:pt x="68570" y="139381"/>
                    <a:pt x="69018" y="139381"/>
                    <a:pt x="69466" y="139381"/>
                  </a:cubicBezTo>
                  <a:cubicBezTo>
                    <a:pt x="69915" y="139381"/>
                    <a:pt x="70363" y="139381"/>
                    <a:pt x="70811" y="138933"/>
                  </a:cubicBezTo>
                  <a:lnTo>
                    <a:pt x="83808" y="134003"/>
                  </a:lnTo>
                  <a:cubicBezTo>
                    <a:pt x="85152" y="133555"/>
                    <a:pt x="85600" y="132210"/>
                    <a:pt x="85152" y="131314"/>
                  </a:cubicBezTo>
                  <a:cubicBezTo>
                    <a:pt x="83808" y="129969"/>
                    <a:pt x="82463" y="129521"/>
                    <a:pt x="81119" y="129969"/>
                  </a:cubicBezTo>
                  <a:close/>
                  <a:moveTo>
                    <a:pt x="129521" y="29579"/>
                  </a:moveTo>
                  <a:lnTo>
                    <a:pt x="68570" y="53332"/>
                  </a:lnTo>
                  <a:lnTo>
                    <a:pt x="39887" y="42128"/>
                  </a:lnTo>
                  <a:lnTo>
                    <a:pt x="102183" y="18375"/>
                  </a:lnTo>
                  <a:lnTo>
                    <a:pt x="129521" y="29579"/>
                  </a:lnTo>
                  <a:close/>
                  <a:moveTo>
                    <a:pt x="68570" y="4930"/>
                  </a:moveTo>
                  <a:lnTo>
                    <a:pt x="95908" y="16134"/>
                  </a:lnTo>
                  <a:lnTo>
                    <a:pt x="33613" y="39887"/>
                  </a:lnTo>
                  <a:lnTo>
                    <a:pt x="7171" y="29579"/>
                  </a:lnTo>
                  <a:lnTo>
                    <a:pt x="68570" y="4930"/>
                  </a:lnTo>
                  <a:close/>
                  <a:moveTo>
                    <a:pt x="3585" y="32717"/>
                  </a:moveTo>
                  <a:lnTo>
                    <a:pt x="31820" y="43921"/>
                  </a:lnTo>
                  <a:lnTo>
                    <a:pt x="31820" y="69915"/>
                  </a:lnTo>
                  <a:cubicBezTo>
                    <a:pt x="31820" y="71259"/>
                    <a:pt x="32716" y="72155"/>
                    <a:pt x="34061" y="72155"/>
                  </a:cubicBezTo>
                  <a:cubicBezTo>
                    <a:pt x="35405" y="72155"/>
                    <a:pt x="36302" y="71259"/>
                    <a:pt x="36302" y="69915"/>
                  </a:cubicBezTo>
                  <a:lnTo>
                    <a:pt x="36302" y="45713"/>
                  </a:lnTo>
                  <a:lnTo>
                    <a:pt x="66329" y="57366"/>
                  </a:lnTo>
                  <a:lnTo>
                    <a:pt x="66329" y="134003"/>
                  </a:lnTo>
                  <a:lnTo>
                    <a:pt x="3585" y="108905"/>
                  </a:lnTo>
                  <a:lnTo>
                    <a:pt x="3585" y="32717"/>
                  </a:lnTo>
                  <a:close/>
                </a:path>
              </a:pathLst>
            </a:custGeom>
            <a:solidFill>
              <a:srgbClr val="231F20"/>
            </a:solidFill>
            <a:ln w="4477" cap="flat">
              <a:noFill/>
              <a:prstDash val="solid"/>
              <a:miter/>
            </a:ln>
          </p:spPr>
          <p:txBody>
            <a:bodyPr rtlCol="0" anchor="ctr"/>
            <a:lstStyle/>
            <a:p>
              <a:endParaRPr lang="en-US"/>
            </a:p>
          </p:txBody>
        </p:sp>
        <p:sp>
          <p:nvSpPr>
            <p:cNvPr id="5396" name="Freeform: Shape 5395">
              <a:extLst>
                <a:ext uri="{FF2B5EF4-FFF2-40B4-BE49-F238E27FC236}">
                  <a16:creationId xmlns:a16="http://schemas.microsoft.com/office/drawing/2014/main" id="{70C2C6B7-05EC-4E48-B58F-FC2F13F8024B}"/>
                </a:ext>
              </a:extLst>
            </p:cNvPr>
            <p:cNvSpPr/>
            <p:nvPr/>
          </p:nvSpPr>
          <p:spPr>
            <a:xfrm>
              <a:off x="7350898" y="2540213"/>
              <a:ext cx="71707" cy="71707"/>
            </a:xfrm>
            <a:custGeom>
              <a:avLst/>
              <a:gdLst>
                <a:gd name="connsiteX0" fmla="*/ 35854 w 71707"/>
                <a:gd name="connsiteY0" fmla="*/ 0 h 71707"/>
                <a:gd name="connsiteX1" fmla="*/ 0 w 71707"/>
                <a:gd name="connsiteY1" fmla="*/ 35854 h 71707"/>
                <a:gd name="connsiteX2" fmla="*/ 35854 w 71707"/>
                <a:gd name="connsiteY2" fmla="*/ 71707 h 71707"/>
                <a:gd name="connsiteX3" fmla="*/ 71707 w 71707"/>
                <a:gd name="connsiteY3" fmla="*/ 35854 h 71707"/>
                <a:gd name="connsiteX4" fmla="*/ 35854 w 71707"/>
                <a:gd name="connsiteY4" fmla="*/ 0 h 71707"/>
                <a:gd name="connsiteX5" fmla="*/ 35854 w 71707"/>
                <a:gd name="connsiteY5" fmla="*/ 67226 h 71707"/>
                <a:gd name="connsiteX6" fmla="*/ 4482 w 71707"/>
                <a:gd name="connsiteY6" fmla="*/ 35854 h 71707"/>
                <a:gd name="connsiteX7" fmla="*/ 35854 w 71707"/>
                <a:gd name="connsiteY7" fmla="*/ 4482 h 71707"/>
                <a:gd name="connsiteX8" fmla="*/ 67226 w 71707"/>
                <a:gd name="connsiteY8" fmla="*/ 35854 h 71707"/>
                <a:gd name="connsiteX9" fmla="*/ 35854 w 71707"/>
                <a:gd name="connsiteY9"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07" h="71707">
                  <a:moveTo>
                    <a:pt x="35854" y="0"/>
                  </a:moveTo>
                  <a:cubicBezTo>
                    <a:pt x="16134" y="0"/>
                    <a:pt x="0" y="16134"/>
                    <a:pt x="0" y="35854"/>
                  </a:cubicBezTo>
                  <a:cubicBezTo>
                    <a:pt x="0" y="55573"/>
                    <a:pt x="16134" y="71707"/>
                    <a:pt x="35854" y="71707"/>
                  </a:cubicBezTo>
                  <a:cubicBezTo>
                    <a:pt x="55573" y="71707"/>
                    <a:pt x="71707" y="55573"/>
                    <a:pt x="71707" y="35854"/>
                  </a:cubicBezTo>
                  <a:cubicBezTo>
                    <a:pt x="71707" y="16134"/>
                    <a:pt x="55573" y="0"/>
                    <a:pt x="35854" y="0"/>
                  </a:cubicBezTo>
                  <a:close/>
                  <a:moveTo>
                    <a:pt x="35854" y="67226"/>
                  </a:moveTo>
                  <a:cubicBezTo>
                    <a:pt x="18375" y="67226"/>
                    <a:pt x="4482" y="53332"/>
                    <a:pt x="4482" y="35854"/>
                  </a:cubicBezTo>
                  <a:cubicBezTo>
                    <a:pt x="4482" y="18375"/>
                    <a:pt x="18375" y="4482"/>
                    <a:pt x="35854" y="4482"/>
                  </a:cubicBezTo>
                  <a:cubicBezTo>
                    <a:pt x="53332" y="4482"/>
                    <a:pt x="67226" y="18375"/>
                    <a:pt x="67226" y="35854"/>
                  </a:cubicBezTo>
                  <a:cubicBezTo>
                    <a:pt x="67226" y="53332"/>
                    <a:pt x="53332" y="67226"/>
                    <a:pt x="35854" y="67226"/>
                  </a:cubicBezTo>
                  <a:close/>
                </a:path>
              </a:pathLst>
            </a:custGeom>
            <a:solidFill>
              <a:srgbClr val="231F20"/>
            </a:solidFill>
            <a:ln w="4477" cap="flat">
              <a:noFill/>
              <a:prstDash val="solid"/>
              <a:miter/>
            </a:ln>
          </p:spPr>
          <p:txBody>
            <a:bodyPr rtlCol="0" anchor="ctr"/>
            <a:lstStyle/>
            <a:p>
              <a:endParaRPr lang="en-US"/>
            </a:p>
          </p:txBody>
        </p:sp>
        <p:sp>
          <p:nvSpPr>
            <p:cNvPr id="5397" name="Freeform: Shape 5396">
              <a:extLst>
                <a:ext uri="{FF2B5EF4-FFF2-40B4-BE49-F238E27FC236}">
                  <a16:creationId xmlns:a16="http://schemas.microsoft.com/office/drawing/2014/main" id="{D330480D-269A-47BC-9039-77F853A3130A}"/>
                </a:ext>
              </a:extLst>
            </p:cNvPr>
            <p:cNvSpPr/>
            <p:nvPr/>
          </p:nvSpPr>
          <p:spPr>
            <a:xfrm>
              <a:off x="7368377" y="2557692"/>
              <a:ext cx="35854" cy="35854"/>
            </a:xfrm>
            <a:custGeom>
              <a:avLst/>
              <a:gdLst>
                <a:gd name="connsiteX0" fmla="*/ 34509 w 35853"/>
                <a:gd name="connsiteY0" fmla="*/ 16134 h 35853"/>
                <a:gd name="connsiteX1" fmla="*/ 20616 w 35853"/>
                <a:gd name="connsiteY1" fmla="*/ 16134 h 35853"/>
                <a:gd name="connsiteX2" fmla="*/ 20616 w 35853"/>
                <a:gd name="connsiteY2" fmla="*/ 2241 h 35853"/>
                <a:gd name="connsiteX3" fmla="*/ 18375 w 35853"/>
                <a:gd name="connsiteY3" fmla="*/ 0 h 35853"/>
                <a:gd name="connsiteX4" fmla="*/ 16134 w 35853"/>
                <a:gd name="connsiteY4" fmla="*/ 2241 h 35853"/>
                <a:gd name="connsiteX5" fmla="*/ 16134 w 35853"/>
                <a:gd name="connsiteY5" fmla="*/ 16134 h 35853"/>
                <a:gd name="connsiteX6" fmla="*/ 2241 w 35853"/>
                <a:gd name="connsiteY6" fmla="*/ 16134 h 35853"/>
                <a:gd name="connsiteX7" fmla="*/ 0 w 35853"/>
                <a:gd name="connsiteY7" fmla="*/ 18375 h 35853"/>
                <a:gd name="connsiteX8" fmla="*/ 2241 w 35853"/>
                <a:gd name="connsiteY8" fmla="*/ 20616 h 35853"/>
                <a:gd name="connsiteX9" fmla="*/ 16134 w 35853"/>
                <a:gd name="connsiteY9" fmla="*/ 20616 h 35853"/>
                <a:gd name="connsiteX10" fmla="*/ 16134 w 35853"/>
                <a:gd name="connsiteY10" fmla="*/ 34509 h 35853"/>
                <a:gd name="connsiteX11" fmla="*/ 18375 w 35853"/>
                <a:gd name="connsiteY11" fmla="*/ 36750 h 35853"/>
                <a:gd name="connsiteX12" fmla="*/ 20616 w 35853"/>
                <a:gd name="connsiteY12" fmla="*/ 34509 h 35853"/>
                <a:gd name="connsiteX13" fmla="*/ 20616 w 35853"/>
                <a:gd name="connsiteY13" fmla="*/ 20616 h 35853"/>
                <a:gd name="connsiteX14" fmla="*/ 34509 w 35853"/>
                <a:gd name="connsiteY14" fmla="*/ 20616 h 35853"/>
                <a:gd name="connsiteX15" fmla="*/ 36750 w 35853"/>
                <a:gd name="connsiteY15" fmla="*/ 18375 h 35853"/>
                <a:gd name="connsiteX16" fmla="*/ 34509 w 35853"/>
                <a:gd name="connsiteY16" fmla="*/ 1613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34509" y="16134"/>
                  </a:moveTo>
                  <a:lnTo>
                    <a:pt x="20616" y="16134"/>
                  </a:lnTo>
                  <a:lnTo>
                    <a:pt x="20616" y="2241"/>
                  </a:lnTo>
                  <a:cubicBezTo>
                    <a:pt x="20616" y="896"/>
                    <a:pt x="19719" y="0"/>
                    <a:pt x="18375" y="0"/>
                  </a:cubicBezTo>
                  <a:cubicBezTo>
                    <a:pt x="17030" y="0"/>
                    <a:pt x="16134" y="896"/>
                    <a:pt x="16134" y="2241"/>
                  </a:cubicBezTo>
                  <a:lnTo>
                    <a:pt x="16134" y="16134"/>
                  </a:lnTo>
                  <a:lnTo>
                    <a:pt x="2241" y="16134"/>
                  </a:lnTo>
                  <a:cubicBezTo>
                    <a:pt x="896" y="16134"/>
                    <a:pt x="0" y="17031"/>
                    <a:pt x="0" y="18375"/>
                  </a:cubicBezTo>
                  <a:cubicBezTo>
                    <a:pt x="0" y="19720"/>
                    <a:pt x="896" y="20616"/>
                    <a:pt x="2241" y="20616"/>
                  </a:cubicBezTo>
                  <a:lnTo>
                    <a:pt x="16134" y="20616"/>
                  </a:lnTo>
                  <a:lnTo>
                    <a:pt x="16134" y="34509"/>
                  </a:lnTo>
                  <a:cubicBezTo>
                    <a:pt x="16134" y="35854"/>
                    <a:pt x="17030" y="36750"/>
                    <a:pt x="18375" y="36750"/>
                  </a:cubicBezTo>
                  <a:cubicBezTo>
                    <a:pt x="19719" y="36750"/>
                    <a:pt x="20616" y="35854"/>
                    <a:pt x="20616" y="34509"/>
                  </a:cubicBezTo>
                  <a:lnTo>
                    <a:pt x="20616" y="20616"/>
                  </a:lnTo>
                  <a:lnTo>
                    <a:pt x="34509" y="20616"/>
                  </a:lnTo>
                  <a:cubicBezTo>
                    <a:pt x="35854" y="20616"/>
                    <a:pt x="36750" y="19720"/>
                    <a:pt x="36750" y="18375"/>
                  </a:cubicBezTo>
                  <a:cubicBezTo>
                    <a:pt x="36750" y="17031"/>
                    <a:pt x="35854" y="16134"/>
                    <a:pt x="34509" y="16134"/>
                  </a:cubicBezTo>
                  <a:close/>
                </a:path>
              </a:pathLst>
            </a:custGeom>
            <a:solidFill>
              <a:srgbClr val="231F20"/>
            </a:solidFill>
            <a:ln w="4477" cap="flat">
              <a:noFill/>
              <a:prstDash val="solid"/>
              <a:miter/>
            </a:ln>
          </p:spPr>
          <p:txBody>
            <a:bodyPr rtlCol="0" anchor="ctr"/>
            <a:lstStyle/>
            <a:p>
              <a:endParaRPr lang="en-US"/>
            </a:p>
          </p:txBody>
        </p:sp>
      </p:grpSp>
      <p:grpSp>
        <p:nvGrpSpPr>
          <p:cNvPr id="2487" name="Group 2486">
            <a:extLst>
              <a:ext uri="{FF2B5EF4-FFF2-40B4-BE49-F238E27FC236}">
                <a16:creationId xmlns:a16="http://schemas.microsoft.com/office/drawing/2014/main" id="{5EAD42AF-872B-437A-8CA0-C6C9E6DABC85}"/>
              </a:ext>
              <a:ext uri="{C183D7F6-B498-43B3-948B-1728B52AA6E4}">
                <adec:decorative xmlns:adec="http://schemas.microsoft.com/office/drawing/2017/decorative" val="1"/>
              </a:ext>
            </a:extLst>
          </p:cNvPr>
          <p:cNvGrpSpPr>
            <a:grpSpLocks noChangeAspect="1"/>
          </p:cNvGrpSpPr>
          <p:nvPr/>
        </p:nvGrpSpPr>
        <p:grpSpPr>
          <a:xfrm>
            <a:off x="7484870" y="4528230"/>
            <a:ext cx="147449" cy="138933"/>
            <a:chOff x="7541370" y="2472539"/>
            <a:chExt cx="147449" cy="138933"/>
          </a:xfrm>
        </p:grpSpPr>
        <p:sp>
          <p:nvSpPr>
            <p:cNvPr id="5393" name="Freeform: Shape 5392">
              <a:extLst>
                <a:ext uri="{FF2B5EF4-FFF2-40B4-BE49-F238E27FC236}">
                  <a16:creationId xmlns:a16="http://schemas.microsoft.com/office/drawing/2014/main" id="{DEF8F37E-595C-4377-A767-C2AC149ACC0F}"/>
                </a:ext>
              </a:extLst>
            </p:cNvPr>
            <p:cNvSpPr/>
            <p:nvPr/>
          </p:nvSpPr>
          <p:spPr>
            <a:xfrm>
              <a:off x="7541370" y="2472539"/>
              <a:ext cx="134451" cy="138933"/>
            </a:xfrm>
            <a:custGeom>
              <a:avLst/>
              <a:gdLst>
                <a:gd name="connsiteX0" fmla="*/ 81119 w 134451"/>
                <a:gd name="connsiteY0" fmla="*/ 129969 h 138932"/>
                <a:gd name="connsiteX1" fmla="*/ 70811 w 134451"/>
                <a:gd name="connsiteY1" fmla="*/ 134003 h 138932"/>
                <a:gd name="connsiteX2" fmla="*/ 70811 w 134451"/>
                <a:gd name="connsiteY2" fmla="*/ 57366 h 138932"/>
                <a:gd name="connsiteX3" fmla="*/ 133555 w 134451"/>
                <a:gd name="connsiteY3" fmla="*/ 32717 h 138932"/>
                <a:gd name="connsiteX4" fmla="*/ 133555 w 134451"/>
                <a:gd name="connsiteY4" fmla="*/ 64985 h 138932"/>
                <a:gd name="connsiteX5" fmla="*/ 135796 w 134451"/>
                <a:gd name="connsiteY5" fmla="*/ 67226 h 138932"/>
                <a:gd name="connsiteX6" fmla="*/ 138037 w 134451"/>
                <a:gd name="connsiteY6" fmla="*/ 64985 h 138932"/>
                <a:gd name="connsiteX7" fmla="*/ 138037 w 134451"/>
                <a:gd name="connsiteY7" fmla="*/ 29579 h 138932"/>
                <a:gd name="connsiteX8" fmla="*/ 138037 w 134451"/>
                <a:gd name="connsiteY8" fmla="*/ 29579 h 138932"/>
                <a:gd name="connsiteX9" fmla="*/ 138037 w 134451"/>
                <a:gd name="connsiteY9" fmla="*/ 28683 h 138932"/>
                <a:gd name="connsiteX10" fmla="*/ 138037 w 134451"/>
                <a:gd name="connsiteY10" fmla="*/ 28235 h 138932"/>
                <a:gd name="connsiteX11" fmla="*/ 138037 w 134451"/>
                <a:gd name="connsiteY11" fmla="*/ 27787 h 138932"/>
                <a:gd name="connsiteX12" fmla="*/ 137140 w 134451"/>
                <a:gd name="connsiteY12" fmla="*/ 26890 h 138932"/>
                <a:gd name="connsiteX13" fmla="*/ 137140 w 134451"/>
                <a:gd name="connsiteY13" fmla="*/ 26890 h 138932"/>
                <a:gd name="connsiteX14" fmla="*/ 69915 w 134451"/>
                <a:gd name="connsiteY14" fmla="*/ 0 h 138932"/>
                <a:gd name="connsiteX15" fmla="*/ 68122 w 134451"/>
                <a:gd name="connsiteY15" fmla="*/ 0 h 138932"/>
                <a:gd name="connsiteX16" fmla="*/ 896 w 134451"/>
                <a:gd name="connsiteY16" fmla="*/ 26890 h 138932"/>
                <a:gd name="connsiteX17" fmla="*/ 896 w 134451"/>
                <a:gd name="connsiteY17" fmla="*/ 26890 h 138932"/>
                <a:gd name="connsiteX18" fmla="*/ 0 w 134451"/>
                <a:gd name="connsiteY18" fmla="*/ 27787 h 138932"/>
                <a:gd name="connsiteX19" fmla="*/ 0 w 134451"/>
                <a:gd name="connsiteY19" fmla="*/ 28235 h 138932"/>
                <a:gd name="connsiteX20" fmla="*/ 0 w 134451"/>
                <a:gd name="connsiteY20" fmla="*/ 28683 h 138932"/>
                <a:gd name="connsiteX21" fmla="*/ 0 w 134451"/>
                <a:gd name="connsiteY21" fmla="*/ 29579 h 138932"/>
                <a:gd name="connsiteX22" fmla="*/ 0 w 134451"/>
                <a:gd name="connsiteY22" fmla="*/ 29579 h 138932"/>
                <a:gd name="connsiteX23" fmla="*/ 0 w 134451"/>
                <a:gd name="connsiteY23" fmla="*/ 110250 h 138932"/>
                <a:gd name="connsiteX24" fmla="*/ 1345 w 134451"/>
                <a:gd name="connsiteY24" fmla="*/ 112491 h 138932"/>
                <a:gd name="connsiteX25" fmla="*/ 68122 w 134451"/>
                <a:gd name="connsiteY25" fmla="*/ 138933 h 138932"/>
                <a:gd name="connsiteX26" fmla="*/ 69466 w 134451"/>
                <a:gd name="connsiteY26" fmla="*/ 139381 h 138932"/>
                <a:gd name="connsiteX27" fmla="*/ 70811 w 134451"/>
                <a:gd name="connsiteY27" fmla="*/ 138933 h 138932"/>
                <a:gd name="connsiteX28" fmla="*/ 83808 w 134451"/>
                <a:gd name="connsiteY28" fmla="*/ 134003 h 138932"/>
                <a:gd name="connsiteX29" fmla="*/ 85152 w 134451"/>
                <a:gd name="connsiteY29" fmla="*/ 131314 h 138932"/>
                <a:gd name="connsiteX30" fmla="*/ 81119 w 134451"/>
                <a:gd name="connsiteY30" fmla="*/ 129969 h 138932"/>
                <a:gd name="connsiteX31" fmla="*/ 129969 w 134451"/>
                <a:gd name="connsiteY31" fmla="*/ 29579 h 138932"/>
                <a:gd name="connsiteX32" fmla="*/ 69018 w 134451"/>
                <a:gd name="connsiteY32" fmla="*/ 53332 h 138932"/>
                <a:gd name="connsiteX33" fmla="*/ 41680 w 134451"/>
                <a:gd name="connsiteY33" fmla="*/ 42576 h 138932"/>
                <a:gd name="connsiteX34" fmla="*/ 102631 w 134451"/>
                <a:gd name="connsiteY34" fmla="*/ 18375 h 138932"/>
                <a:gd name="connsiteX35" fmla="*/ 129969 w 134451"/>
                <a:gd name="connsiteY35" fmla="*/ 29579 h 138932"/>
                <a:gd name="connsiteX36" fmla="*/ 68570 w 134451"/>
                <a:gd name="connsiteY36" fmla="*/ 4930 h 138932"/>
                <a:gd name="connsiteX37" fmla="*/ 95908 w 134451"/>
                <a:gd name="connsiteY37" fmla="*/ 16134 h 138932"/>
                <a:gd name="connsiteX38" fmla="*/ 34957 w 134451"/>
                <a:gd name="connsiteY38" fmla="*/ 40335 h 138932"/>
                <a:gd name="connsiteX39" fmla="*/ 7619 w 134451"/>
                <a:gd name="connsiteY39" fmla="*/ 29579 h 138932"/>
                <a:gd name="connsiteX40" fmla="*/ 68570 w 134451"/>
                <a:gd name="connsiteY40" fmla="*/ 4930 h 138932"/>
                <a:gd name="connsiteX41" fmla="*/ 3585 w 134451"/>
                <a:gd name="connsiteY41" fmla="*/ 32717 h 138932"/>
                <a:gd name="connsiteX42" fmla="*/ 32716 w 134451"/>
                <a:gd name="connsiteY42" fmla="*/ 43921 h 138932"/>
                <a:gd name="connsiteX43" fmla="*/ 32716 w 134451"/>
                <a:gd name="connsiteY43" fmla="*/ 69466 h 138932"/>
                <a:gd name="connsiteX44" fmla="*/ 34957 w 134451"/>
                <a:gd name="connsiteY44" fmla="*/ 71707 h 138932"/>
                <a:gd name="connsiteX45" fmla="*/ 37198 w 134451"/>
                <a:gd name="connsiteY45" fmla="*/ 69466 h 138932"/>
                <a:gd name="connsiteX46" fmla="*/ 37198 w 134451"/>
                <a:gd name="connsiteY46" fmla="*/ 45713 h 138932"/>
                <a:gd name="connsiteX47" fmla="*/ 66329 w 134451"/>
                <a:gd name="connsiteY47" fmla="*/ 56918 h 138932"/>
                <a:gd name="connsiteX48" fmla="*/ 66329 w 134451"/>
                <a:gd name="connsiteY48" fmla="*/ 133555 h 138932"/>
                <a:gd name="connsiteX49" fmla="*/ 3585 w 134451"/>
                <a:gd name="connsiteY49" fmla="*/ 108457 h 138932"/>
                <a:gd name="connsiteX50" fmla="*/ 3585 w 134451"/>
                <a:gd name="connsiteY50" fmla="*/ 32717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4451" h="138932">
                  <a:moveTo>
                    <a:pt x="81119" y="129969"/>
                  </a:moveTo>
                  <a:lnTo>
                    <a:pt x="70811" y="134003"/>
                  </a:lnTo>
                  <a:lnTo>
                    <a:pt x="70811" y="57366"/>
                  </a:lnTo>
                  <a:lnTo>
                    <a:pt x="133555" y="32717"/>
                  </a:lnTo>
                  <a:lnTo>
                    <a:pt x="133555" y="64985"/>
                  </a:lnTo>
                  <a:cubicBezTo>
                    <a:pt x="133555" y="66329"/>
                    <a:pt x="134451" y="67226"/>
                    <a:pt x="135796" y="67226"/>
                  </a:cubicBezTo>
                  <a:cubicBezTo>
                    <a:pt x="137140" y="67226"/>
                    <a:pt x="138037" y="66329"/>
                    <a:pt x="138037" y="64985"/>
                  </a:cubicBezTo>
                  <a:lnTo>
                    <a:pt x="138037" y="29579"/>
                  </a:lnTo>
                  <a:cubicBezTo>
                    <a:pt x="138037" y="29579"/>
                    <a:pt x="138037" y="29579"/>
                    <a:pt x="138037" y="29579"/>
                  </a:cubicBezTo>
                  <a:cubicBezTo>
                    <a:pt x="138037" y="29131"/>
                    <a:pt x="138037" y="29131"/>
                    <a:pt x="138037" y="28683"/>
                  </a:cubicBezTo>
                  <a:cubicBezTo>
                    <a:pt x="138037" y="28683"/>
                    <a:pt x="138037" y="28683"/>
                    <a:pt x="138037" y="28235"/>
                  </a:cubicBezTo>
                  <a:cubicBezTo>
                    <a:pt x="138037" y="28235"/>
                    <a:pt x="138037" y="28235"/>
                    <a:pt x="138037" y="27787"/>
                  </a:cubicBezTo>
                  <a:cubicBezTo>
                    <a:pt x="137588" y="27338"/>
                    <a:pt x="137588" y="27338"/>
                    <a:pt x="137140" y="26890"/>
                  </a:cubicBezTo>
                  <a:cubicBezTo>
                    <a:pt x="137140" y="26890"/>
                    <a:pt x="137140" y="26890"/>
                    <a:pt x="137140" y="26890"/>
                  </a:cubicBezTo>
                  <a:lnTo>
                    <a:pt x="69915" y="0"/>
                  </a:lnTo>
                  <a:cubicBezTo>
                    <a:pt x="69466" y="0"/>
                    <a:pt x="68570" y="0"/>
                    <a:pt x="68122" y="0"/>
                  </a:cubicBezTo>
                  <a:lnTo>
                    <a:pt x="896" y="26890"/>
                  </a:lnTo>
                  <a:cubicBezTo>
                    <a:pt x="896" y="26890"/>
                    <a:pt x="896" y="26890"/>
                    <a:pt x="896" y="26890"/>
                  </a:cubicBezTo>
                  <a:cubicBezTo>
                    <a:pt x="448" y="26890"/>
                    <a:pt x="448" y="27338"/>
                    <a:pt x="0" y="27787"/>
                  </a:cubicBezTo>
                  <a:cubicBezTo>
                    <a:pt x="0" y="27787"/>
                    <a:pt x="0" y="27787"/>
                    <a:pt x="0" y="28235"/>
                  </a:cubicBezTo>
                  <a:cubicBezTo>
                    <a:pt x="0" y="28235"/>
                    <a:pt x="0" y="28235"/>
                    <a:pt x="0" y="28683"/>
                  </a:cubicBezTo>
                  <a:cubicBezTo>
                    <a:pt x="0" y="29131"/>
                    <a:pt x="0" y="29131"/>
                    <a:pt x="0" y="29579"/>
                  </a:cubicBezTo>
                  <a:cubicBezTo>
                    <a:pt x="0" y="29579"/>
                    <a:pt x="0" y="29579"/>
                    <a:pt x="0" y="29579"/>
                  </a:cubicBezTo>
                  <a:lnTo>
                    <a:pt x="0" y="110250"/>
                  </a:lnTo>
                  <a:cubicBezTo>
                    <a:pt x="0" y="111146"/>
                    <a:pt x="448" y="112043"/>
                    <a:pt x="1345" y="112491"/>
                  </a:cubicBezTo>
                  <a:lnTo>
                    <a:pt x="68122" y="138933"/>
                  </a:lnTo>
                  <a:cubicBezTo>
                    <a:pt x="68570" y="139381"/>
                    <a:pt x="69018" y="139381"/>
                    <a:pt x="69466" y="139381"/>
                  </a:cubicBezTo>
                  <a:cubicBezTo>
                    <a:pt x="69915" y="139381"/>
                    <a:pt x="70363" y="139381"/>
                    <a:pt x="70811" y="138933"/>
                  </a:cubicBezTo>
                  <a:lnTo>
                    <a:pt x="83808" y="134003"/>
                  </a:lnTo>
                  <a:cubicBezTo>
                    <a:pt x="85152" y="133555"/>
                    <a:pt x="85601" y="132210"/>
                    <a:pt x="85152" y="131314"/>
                  </a:cubicBezTo>
                  <a:cubicBezTo>
                    <a:pt x="84704" y="130418"/>
                    <a:pt x="82463" y="129521"/>
                    <a:pt x="81119" y="129969"/>
                  </a:cubicBezTo>
                  <a:close/>
                  <a:moveTo>
                    <a:pt x="129969" y="29579"/>
                  </a:moveTo>
                  <a:lnTo>
                    <a:pt x="69018" y="53332"/>
                  </a:lnTo>
                  <a:lnTo>
                    <a:pt x="41680" y="42576"/>
                  </a:lnTo>
                  <a:lnTo>
                    <a:pt x="102631" y="18375"/>
                  </a:lnTo>
                  <a:lnTo>
                    <a:pt x="129969" y="29579"/>
                  </a:lnTo>
                  <a:close/>
                  <a:moveTo>
                    <a:pt x="68570" y="4930"/>
                  </a:moveTo>
                  <a:lnTo>
                    <a:pt x="95908" y="16134"/>
                  </a:lnTo>
                  <a:lnTo>
                    <a:pt x="34957" y="40335"/>
                  </a:lnTo>
                  <a:lnTo>
                    <a:pt x="7619" y="29579"/>
                  </a:lnTo>
                  <a:lnTo>
                    <a:pt x="68570" y="4930"/>
                  </a:lnTo>
                  <a:close/>
                  <a:moveTo>
                    <a:pt x="3585" y="32717"/>
                  </a:moveTo>
                  <a:lnTo>
                    <a:pt x="32716" y="43921"/>
                  </a:lnTo>
                  <a:lnTo>
                    <a:pt x="32716" y="69466"/>
                  </a:lnTo>
                  <a:cubicBezTo>
                    <a:pt x="32716" y="70811"/>
                    <a:pt x="33613" y="71707"/>
                    <a:pt x="34957" y="71707"/>
                  </a:cubicBezTo>
                  <a:cubicBezTo>
                    <a:pt x="36302" y="71707"/>
                    <a:pt x="37198" y="70811"/>
                    <a:pt x="37198" y="69466"/>
                  </a:cubicBezTo>
                  <a:lnTo>
                    <a:pt x="37198" y="45713"/>
                  </a:lnTo>
                  <a:lnTo>
                    <a:pt x="66329" y="56918"/>
                  </a:lnTo>
                  <a:lnTo>
                    <a:pt x="66329" y="133555"/>
                  </a:lnTo>
                  <a:lnTo>
                    <a:pt x="3585" y="108457"/>
                  </a:lnTo>
                  <a:lnTo>
                    <a:pt x="3585" y="32717"/>
                  </a:lnTo>
                  <a:close/>
                </a:path>
              </a:pathLst>
            </a:custGeom>
            <a:solidFill>
              <a:srgbClr val="231F20"/>
            </a:solidFill>
            <a:ln w="4477" cap="flat">
              <a:noFill/>
              <a:prstDash val="solid"/>
              <a:miter/>
            </a:ln>
          </p:spPr>
          <p:txBody>
            <a:bodyPr rtlCol="0" anchor="ctr"/>
            <a:lstStyle/>
            <a:p>
              <a:endParaRPr lang="en-US"/>
            </a:p>
          </p:txBody>
        </p:sp>
        <p:sp>
          <p:nvSpPr>
            <p:cNvPr id="5394" name="Freeform: Shape 5393">
              <a:extLst>
                <a:ext uri="{FF2B5EF4-FFF2-40B4-BE49-F238E27FC236}">
                  <a16:creationId xmlns:a16="http://schemas.microsoft.com/office/drawing/2014/main" id="{3252DCFC-9BD8-4785-9753-8F094E5CE955}"/>
                </a:ext>
              </a:extLst>
            </p:cNvPr>
            <p:cNvSpPr/>
            <p:nvPr/>
          </p:nvSpPr>
          <p:spPr>
            <a:xfrm>
              <a:off x="7621593" y="2540213"/>
              <a:ext cx="67226" cy="67226"/>
            </a:xfrm>
            <a:custGeom>
              <a:avLst/>
              <a:gdLst>
                <a:gd name="connsiteX0" fmla="*/ 60951 w 67225"/>
                <a:gd name="connsiteY0" fmla="*/ 60951 h 67225"/>
                <a:gd name="connsiteX1" fmla="*/ 71259 w 67225"/>
                <a:gd name="connsiteY1" fmla="*/ 35854 h 67225"/>
                <a:gd name="connsiteX2" fmla="*/ 35406 w 67225"/>
                <a:gd name="connsiteY2" fmla="*/ 0 h 67225"/>
                <a:gd name="connsiteX3" fmla="*/ 10308 w 67225"/>
                <a:gd name="connsiteY3" fmla="*/ 10308 h 67225"/>
                <a:gd name="connsiteX4" fmla="*/ 10308 w 67225"/>
                <a:gd name="connsiteY4" fmla="*/ 10308 h 67225"/>
                <a:gd name="connsiteX5" fmla="*/ 10308 w 67225"/>
                <a:gd name="connsiteY5" fmla="*/ 10308 h 67225"/>
                <a:gd name="connsiteX6" fmla="*/ 0 w 67225"/>
                <a:gd name="connsiteY6" fmla="*/ 35405 h 67225"/>
                <a:gd name="connsiteX7" fmla="*/ 35854 w 67225"/>
                <a:gd name="connsiteY7" fmla="*/ 71259 h 67225"/>
                <a:gd name="connsiteX8" fmla="*/ 60951 w 67225"/>
                <a:gd name="connsiteY8" fmla="*/ 60951 h 67225"/>
                <a:gd name="connsiteX9" fmla="*/ 60951 w 67225"/>
                <a:gd name="connsiteY9" fmla="*/ 60951 h 67225"/>
                <a:gd name="connsiteX10" fmla="*/ 60951 w 67225"/>
                <a:gd name="connsiteY10" fmla="*/ 60951 h 67225"/>
                <a:gd name="connsiteX11" fmla="*/ 66777 w 67225"/>
                <a:gd name="connsiteY11" fmla="*/ 35854 h 67225"/>
                <a:gd name="connsiteX12" fmla="*/ 59159 w 67225"/>
                <a:gd name="connsiteY12" fmla="*/ 56469 h 67225"/>
                <a:gd name="connsiteX13" fmla="*/ 14790 w 67225"/>
                <a:gd name="connsiteY13" fmla="*/ 12101 h 67225"/>
                <a:gd name="connsiteX14" fmla="*/ 35406 w 67225"/>
                <a:gd name="connsiteY14" fmla="*/ 4482 h 67225"/>
                <a:gd name="connsiteX15" fmla="*/ 66777 w 67225"/>
                <a:gd name="connsiteY15" fmla="*/ 35854 h 67225"/>
                <a:gd name="connsiteX16" fmla="*/ 4034 w 67225"/>
                <a:gd name="connsiteY16" fmla="*/ 35854 h 67225"/>
                <a:gd name="connsiteX17" fmla="*/ 11652 w 67225"/>
                <a:gd name="connsiteY17" fmla="*/ 15238 h 67225"/>
                <a:gd name="connsiteX18" fmla="*/ 56021 w 67225"/>
                <a:gd name="connsiteY18" fmla="*/ 59607 h 67225"/>
                <a:gd name="connsiteX19" fmla="*/ 35406 w 67225"/>
                <a:gd name="connsiteY19" fmla="*/ 67226 h 67225"/>
                <a:gd name="connsiteX20" fmla="*/ 4034 w 67225"/>
                <a:gd name="connsiteY20" fmla="*/ 35854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225" h="67225">
                  <a:moveTo>
                    <a:pt x="60951" y="60951"/>
                  </a:moveTo>
                  <a:cubicBezTo>
                    <a:pt x="67226" y="54677"/>
                    <a:pt x="71259" y="45713"/>
                    <a:pt x="71259" y="35854"/>
                  </a:cubicBezTo>
                  <a:cubicBezTo>
                    <a:pt x="71259" y="16134"/>
                    <a:pt x="55125" y="0"/>
                    <a:pt x="35406" y="0"/>
                  </a:cubicBezTo>
                  <a:cubicBezTo>
                    <a:pt x="25546" y="0"/>
                    <a:pt x="16582" y="4034"/>
                    <a:pt x="10308" y="10308"/>
                  </a:cubicBezTo>
                  <a:cubicBezTo>
                    <a:pt x="10308" y="10308"/>
                    <a:pt x="10308" y="10308"/>
                    <a:pt x="10308" y="10308"/>
                  </a:cubicBezTo>
                  <a:cubicBezTo>
                    <a:pt x="10308" y="10308"/>
                    <a:pt x="10308" y="10308"/>
                    <a:pt x="10308" y="10308"/>
                  </a:cubicBezTo>
                  <a:cubicBezTo>
                    <a:pt x="4034" y="16582"/>
                    <a:pt x="0" y="25546"/>
                    <a:pt x="0" y="35405"/>
                  </a:cubicBezTo>
                  <a:cubicBezTo>
                    <a:pt x="0" y="55125"/>
                    <a:pt x="16134" y="71259"/>
                    <a:pt x="35854" y="71259"/>
                  </a:cubicBezTo>
                  <a:cubicBezTo>
                    <a:pt x="45265" y="71707"/>
                    <a:pt x="54229" y="67674"/>
                    <a:pt x="60951" y="60951"/>
                  </a:cubicBezTo>
                  <a:cubicBezTo>
                    <a:pt x="60951" y="61399"/>
                    <a:pt x="60951" y="60951"/>
                    <a:pt x="60951" y="60951"/>
                  </a:cubicBezTo>
                  <a:cubicBezTo>
                    <a:pt x="60951" y="60951"/>
                    <a:pt x="60951" y="60951"/>
                    <a:pt x="60951" y="60951"/>
                  </a:cubicBezTo>
                  <a:close/>
                  <a:moveTo>
                    <a:pt x="66777" y="35854"/>
                  </a:moveTo>
                  <a:cubicBezTo>
                    <a:pt x="66777" y="43921"/>
                    <a:pt x="64088" y="50643"/>
                    <a:pt x="59159" y="56469"/>
                  </a:cubicBezTo>
                  <a:lnTo>
                    <a:pt x="14790" y="12101"/>
                  </a:lnTo>
                  <a:cubicBezTo>
                    <a:pt x="20168" y="7171"/>
                    <a:pt x="27338" y="4482"/>
                    <a:pt x="35406" y="4482"/>
                  </a:cubicBezTo>
                  <a:cubicBezTo>
                    <a:pt x="52884" y="4482"/>
                    <a:pt x="66777" y="18375"/>
                    <a:pt x="66777" y="35854"/>
                  </a:cubicBezTo>
                  <a:close/>
                  <a:moveTo>
                    <a:pt x="4034" y="35854"/>
                  </a:moveTo>
                  <a:cubicBezTo>
                    <a:pt x="4034" y="27787"/>
                    <a:pt x="7171" y="21064"/>
                    <a:pt x="11652" y="15238"/>
                  </a:cubicBezTo>
                  <a:lnTo>
                    <a:pt x="56021" y="59607"/>
                  </a:lnTo>
                  <a:cubicBezTo>
                    <a:pt x="50643" y="64536"/>
                    <a:pt x="43473" y="67226"/>
                    <a:pt x="35406" y="67226"/>
                  </a:cubicBezTo>
                  <a:cubicBezTo>
                    <a:pt x="18375" y="67226"/>
                    <a:pt x="4034" y="52884"/>
                    <a:pt x="4034" y="35854"/>
                  </a:cubicBezTo>
                  <a:close/>
                </a:path>
              </a:pathLst>
            </a:custGeom>
            <a:solidFill>
              <a:srgbClr val="231F20"/>
            </a:solidFill>
            <a:ln w="4477" cap="flat">
              <a:noFill/>
              <a:prstDash val="solid"/>
              <a:miter/>
            </a:ln>
          </p:spPr>
          <p:txBody>
            <a:bodyPr rtlCol="0" anchor="ctr"/>
            <a:lstStyle/>
            <a:p>
              <a:endParaRPr lang="en-US"/>
            </a:p>
          </p:txBody>
        </p:sp>
      </p:grpSp>
      <p:sp>
        <p:nvSpPr>
          <p:cNvPr id="2488" name="Freeform: Shape 2487">
            <a:extLst>
              <a:ext uri="{FF2B5EF4-FFF2-40B4-BE49-F238E27FC236}">
                <a16:creationId xmlns:a16="http://schemas.microsoft.com/office/drawing/2014/main" id="{C6517179-EE46-4141-AB74-4D870DAE5EBE}"/>
              </a:ext>
              <a:ext uri="{C183D7F6-B498-43B3-948B-1728B52AA6E4}">
                <adec:decorative xmlns:adec="http://schemas.microsoft.com/office/drawing/2017/decorative" val="1"/>
              </a:ext>
            </a:extLst>
          </p:cNvPr>
          <p:cNvSpPr>
            <a:spLocks noChangeAspect="1"/>
          </p:cNvSpPr>
          <p:nvPr/>
        </p:nvSpPr>
        <p:spPr>
          <a:xfrm>
            <a:off x="9590150" y="4858756"/>
            <a:ext cx="147896" cy="147896"/>
          </a:xfrm>
          <a:custGeom>
            <a:avLst/>
            <a:gdLst>
              <a:gd name="connsiteX0" fmla="*/ 148568 w 147896"/>
              <a:gd name="connsiteY0" fmla="*/ 32044 h 147896"/>
              <a:gd name="connsiteX1" fmla="*/ 132883 w 147896"/>
              <a:gd name="connsiteY1" fmla="*/ 16358 h 147896"/>
              <a:gd name="connsiteX2" fmla="*/ 132883 w 147896"/>
              <a:gd name="connsiteY2" fmla="*/ 16358 h 147896"/>
              <a:gd name="connsiteX3" fmla="*/ 132883 w 147896"/>
              <a:gd name="connsiteY3" fmla="*/ 16358 h 147896"/>
              <a:gd name="connsiteX4" fmla="*/ 117197 w 147896"/>
              <a:gd name="connsiteY4" fmla="*/ 672 h 147896"/>
              <a:gd name="connsiteX5" fmla="*/ 114059 w 147896"/>
              <a:gd name="connsiteY5" fmla="*/ 672 h 147896"/>
              <a:gd name="connsiteX6" fmla="*/ 114059 w 147896"/>
              <a:gd name="connsiteY6" fmla="*/ 3809 h 147896"/>
              <a:gd name="connsiteX7" fmla="*/ 128401 w 147896"/>
              <a:gd name="connsiteY7" fmla="*/ 18151 h 147896"/>
              <a:gd name="connsiteX8" fmla="*/ 102407 w 147896"/>
              <a:gd name="connsiteY8" fmla="*/ 44145 h 147896"/>
              <a:gd name="connsiteX9" fmla="*/ 75517 w 147896"/>
              <a:gd name="connsiteY9" fmla="*/ 17255 h 147896"/>
              <a:gd name="connsiteX10" fmla="*/ 72380 w 147896"/>
              <a:gd name="connsiteY10" fmla="*/ 17255 h 147896"/>
              <a:gd name="connsiteX11" fmla="*/ 72380 w 147896"/>
              <a:gd name="connsiteY11" fmla="*/ 20392 h 147896"/>
              <a:gd name="connsiteX12" fmla="*/ 84928 w 147896"/>
              <a:gd name="connsiteY12" fmla="*/ 32940 h 147896"/>
              <a:gd name="connsiteX13" fmla="*/ 47730 w 147896"/>
              <a:gd name="connsiteY13" fmla="*/ 70139 h 147896"/>
              <a:gd name="connsiteX14" fmla="*/ 47730 w 147896"/>
              <a:gd name="connsiteY14" fmla="*/ 70139 h 147896"/>
              <a:gd name="connsiteX15" fmla="*/ 47730 w 147896"/>
              <a:gd name="connsiteY15" fmla="*/ 70139 h 147896"/>
              <a:gd name="connsiteX16" fmla="*/ 32044 w 147896"/>
              <a:gd name="connsiteY16" fmla="*/ 85825 h 147896"/>
              <a:gd name="connsiteX17" fmla="*/ 32044 w 147896"/>
              <a:gd name="connsiteY17" fmla="*/ 85825 h 147896"/>
              <a:gd name="connsiteX18" fmla="*/ 32044 w 147896"/>
              <a:gd name="connsiteY18" fmla="*/ 85825 h 147896"/>
              <a:gd name="connsiteX19" fmla="*/ 19495 w 147896"/>
              <a:gd name="connsiteY19" fmla="*/ 98373 h 147896"/>
              <a:gd name="connsiteX20" fmla="*/ 19047 w 147896"/>
              <a:gd name="connsiteY20" fmla="*/ 99270 h 147896"/>
              <a:gd name="connsiteX21" fmla="*/ 19047 w 147896"/>
              <a:gd name="connsiteY21" fmla="*/ 100166 h 147896"/>
              <a:gd name="connsiteX22" fmla="*/ 19047 w 147896"/>
              <a:gd name="connsiteY22" fmla="*/ 128401 h 147896"/>
              <a:gd name="connsiteX23" fmla="*/ 672 w 147896"/>
              <a:gd name="connsiteY23" fmla="*/ 146776 h 147896"/>
              <a:gd name="connsiteX24" fmla="*/ 672 w 147896"/>
              <a:gd name="connsiteY24" fmla="*/ 149913 h 147896"/>
              <a:gd name="connsiteX25" fmla="*/ 2465 w 147896"/>
              <a:gd name="connsiteY25" fmla="*/ 150361 h 147896"/>
              <a:gd name="connsiteX26" fmla="*/ 4258 w 147896"/>
              <a:gd name="connsiteY26" fmla="*/ 149913 h 147896"/>
              <a:gd name="connsiteX27" fmla="*/ 22633 w 147896"/>
              <a:gd name="connsiteY27" fmla="*/ 131538 h 147896"/>
              <a:gd name="connsiteX28" fmla="*/ 50867 w 147896"/>
              <a:gd name="connsiteY28" fmla="*/ 131538 h 147896"/>
              <a:gd name="connsiteX29" fmla="*/ 51764 w 147896"/>
              <a:gd name="connsiteY29" fmla="*/ 131538 h 147896"/>
              <a:gd name="connsiteX30" fmla="*/ 52660 w 147896"/>
              <a:gd name="connsiteY30" fmla="*/ 131090 h 147896"/>
              <a:gd name="connsiteX31" fmla="*/ 118093 w 147896"/>
              <a:gd name="connsiteY31" fmla="*/ 65657 h 147896"/>
              <a:gd name="connsiteX32" fmla="*/ 130642 w 147896"/>
              <a:gd name="connsiteY32" fmla="*/ 78206 h 147896"/>
              <a:gd name="connsiteX33" fmla="*/ 132434 w 147896"/>
              <a:gd name="connsiteY33" fmla="*/ 78654 h 147896"/>
              <a:gd name="connsiteX34" fmla="*/ 134227 w 147896"/>
              <a:gd name="connsiteY34" fmla="*/ 78206 h 147896"/>
              <a:gd name="connsiteX35" fmla="*/ 134227 w 147896"/>
              <a:gd name="connsiteY35" fmla="*/ 75068 h 147896"/>
              <a:gd name="connsiteX36" fmla="*/ 107337 w 147896"/>
              <a:gd name="connsiteY36" fmla="*/ 48178 h 147896"/>
              <a:gd name="connsiteX37" fmla="*/ 133331 w 147896"/>
              <a:gd name="connsiteY37" fmla="*/ 22184 h 147896"/>
              <a:gd name="connsiteX38" fmla="*/ 147672 w 147896"/>
              <a:gd name="connsiteY38" fmla="*/ 36526 h 147896"/>
              <a:gd name="connsiteX39" fmla="*/ 149465 w 147896"/>
              <a:gd name="connsiteY39" fmla="*/ 36974 h 147896"/>
              <a:gd name="connsiteX40" fmla="*/ 151258 w 147896"/>
              <a:gd name="connsiteY40" fmla="*/ 36526 h 147896"/>
              <a:gd name="connsiteX41" fmla="*/ 148568 w 147896"/>
              <a:gd name="connsiteY41" fmla="*/ 32044 h 147896"/>
              <a:gd name="connsiteX42" fmla="*/ 48178 w 147896"/>
              <a:gd name="connsiteY42" fmla="*/ 126608 h 147896"/>
              <a:gd name="connsiteX43" fmla="*/ 22184 w 147896"/>
              <a:gd name="connsiteY43" fmla="*/ 126608 h 147896"/>
              <a:gd name="connsiteX44" fmla="*/ 22184 w 147896"/>
              <a:gd name="connsiteY44" fmla="*/ 100614 h 147896"/>
              <a:gd name="connsiteX45" fmla="*/ 32493 w 147896"/>
              <a:gd name="connsiteY45" fmla="*/ 90306 h 147896"/>
              <a:gd name="connsiteX46" fmla="*/ 40560 w 147896"/>
              <a:gd name="connsiteY46" fmla="*/ 98373 h 147896"/>
              <a:gd name="connsiteX47" fmla="*/ 42352 w 147896"/>
              <a:gd name="connsiteY47" fmla="*/ 98822 h 147896"/>
              <a:gd name="connsiteX48" fmla="*/ 44145 w 147896"/>
              <a:gd name="connsiteY48" fmla="*/ 98373 h 147896"/>
              <a:gd name="connsiteX49" fmla="*/ 44145 w 147896"/>
              <a:gd name="connsiteY49" fmla="*/ 95236 h 147896"/>
              <a:gd name="connsiteX50" fmla="*/ 35181 w 147896"/>
              <a:gd name="connsiteY50" fmla="*/ 87169 h 147896"/>
              <a:gd name="connsiteX51" fmla="*/ 47730 w 147896"/>
              <a:gd name="connsiteY51" fmla="*/ 74620 h 147896"/>
              <a:gd name="connsiteX52" fmla="*/ 55797 w 147896"/>
              <a:gd name="connsiteY52" fmla="*/ 82687 h 147896"/>
              <a:gd name="connsiteX53" fmla="*/ 57590 w 147896"/>
              <a:gd name="connsiteY53" fmla="*/ 83136 h 147896"/>
              <a:gd name="connsiteX54" fmla="*/ 59383 w 147896"/>
              <a:gd name="connsiteY54" fmla="*/ 82687 h 147896"/>
              <a:gd name="connsiteX55" fmla="*/ 59383 w 147896"/>
              <a:gd name="connsiteY55" fmla="*/ 79550 h 147896"/>
              <a:gd name="connsiteX56" fmla="*/ 51315 w 147896"/>
              <a:gd name="connsiteY56" fmla="*/ 71483 h 147896"/>
              <a:gd name="connsiteX57" fmla="*/ 63864 w 147896"/>
              <a:gd name="connsiteY57" fmla="*/ 58934 h 147896"/>
              <a:gd name="connsiteX58" fmla="*/ 71931 w 147896"/>
              <a:gd name="connsiteY58" fmla="*/ 67001 h 147896"/>
              <a:gd name="connsiteX59" fmla="*/ 73724 w 147896"/>
              <a:gd name="connsiteY59" fmla="*/ 67450 h 147896"/>
              <a:gd name="connsiteX60" fmla="*/ 75517 w 147896"/>
              <a:gd name="connsiteY60" fmla="*/ 67001 h 147896"/>
              <a:gd name="connsiteX61" fmla="*/ 75517 w 147896"/>
              <a:gd name="connsiteY61" fmla="*/ 63864 h 147896"/>
              <a:gd name="connsiteX62" fmla="*/ 67450 w 147896"/>
              <a:gd name="connsiteY62" fmla="*/ 55797 h 147896"/>
              <a:gd name="connsiteX63" fmla="*/ 87169 w 147896"/>
              <a:gd name="connsiteY63" fmla="*/ 36078 h 147896"/>
              <a:gd name="connsiteX64" fmla="*/ 113163 w 147896"/>
              <a:gd name="connsiteY64" fmla="*/ 62072 h 147896"/>
              <a:gd name="connsiteX65" fmla="*/ 48178 w 147896"/>
              <a:gd name="connsiteY65" fmla="*/ 12660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47896" h="147896">
                <a:moveTo>
                  <a:pt x="148568" y="32044"/>
                </a:moveTo>
                <a:lnTo>
                  <a:pt x="132883" y="16358"/>
                </a:lnTo>
                <a:cubicBezTo>
                  <a:pt x="132883" y="16358"/>
                  <a:pt x="132883" y="16358"/>
                  <a:pt x="132883" y="16358"/>
                </a:cubicBezTo>
                <a:cubicBezTo>
                  <a:pt x="132883" y="16358"/>
                  <a:pt x="132883" y="16358"/>
                  <a:pt x="132883" y="16358"/>
                </a:cubicBezTo>
                <a:lnTo>
                  <a:pt x="117197" y="672"/>
                </a:lnTo>
                <a:cubicBezTo>
                  <a:pt x="116300" y="-224"/>
                  <a:pt x="114956" y="-224"/>
                  <a:pt x="114059" y="672"/>
                </a:cubicBezTo>
                <a:cubicBezTo>
                  <a:pt x="113163" y="1569"/>
                  <a:pt x="113163" y="2913"/>
                  <a:pt x="114059" y="3809"/>
                </a:cubicBezTo>
                <a:lnTo>
                  <a:pt x="128401" y="18151"/>
                </a:lnTo>
                <a:lnTo>
                  <a:pt x="102407" y="44145"/>
                </a:lnTo>
                <a:lnTo>
                  <a:pt x="75517" y="17255"/>
                </a:lnTo>
                <a:cubicBezTo>
                  <a:pt x="74620" y="16358"/>
                  <a:pt x="73276" y="16358"/>
                  <a:pt x="72380" y="17255"/>
                </a:cubicBezTo>
                <a:cubicBezTo>
                  <a:pt x="71483" y="18151"/>
                  <a:pt x="71483" y="19495"/>
                  <a:pt x="72380" y="20392"/>
                </a:cubicBezTo>
                <a:lnTo>
                  <a:pt x="84928" y="32940"/>
                </a:lnTo>
                <a:lnTo>
                  <a:pt x="47730" y="70139"/>
                </a:lnTo>
                <a:cubicBezTo>
                  <a:pt x="47730" y="70139"/>
                  <a:pt x="47730" y="70139"/>
                  <a:pt x="47730" y="70139"/>
                </a:cubicBezTo>
                <a:cubicBezTo>
                  <a:pt x="47730" y="70139"/>
                  <a:pt x="47730" y="70139"/>
                  <a:pt x="47730" y="70139"/>
                </a:cubicBezTo>
                <a:lnTo>
                  <a:pt x="32044" y="85825"/>
                </a:lnTo>
                <a:cubicBezTo>
                  <a:pt x="32044" y="85825"/>
                  <a:pt x="32044" y="85825"/>
                  <a:pt x="32044" y="85825"/>
                </a:cubicBezTo>
                <a:cubicBezTo>
                  <a:pt x="32044" y="85825"/>
                  <a:pt x="32044" y="85825"/>
                  <a:pt x="32044" y="85825"/>
                </a:cubicBezTo>
                <a:lnTo>
                  <a:pt x="19495" y="98373"/>
                </a:lnTo>
                <a:cubicBezTo>
                  <a:pt x="19495" y="98373"/>
                  <a:pt x="19047" y="98822"/>
                  <a:pt x="19047" y="99270"/>
                </a:cubicBezTo>
                <a:cubicBezTo>
                  <a:pt x="19047" y="99718"/>
                  <a:pt x="19047" y="99718"/>
                  <a:pt x="19047" y="100166"/>
                </a:cubicBezTo>
                <a:lnTo>
                  <a:pt x="19047" y="128401"/>
                </a:lnTo>
                <a:lnTo>
                  <a:pt x="672" y="146776"/>
                </a:lnTo>
                <a:cubicBezTo>
                  <a:pt x="-224" y="147672"/>
                  <a:pt x="-224" y="149017"/>
                  <a:pt x="672" y="149913"/>
                </a:cubicBezTo>
                <a:cubicBezTo>
                  <a:pt x="1121" y="150361"/>
                  <a:pt x="1569" y="150361"/>
                  <a:pt x="2465" y="150361"/>
                </a:cubicBezTo>
                <a:cubicBezTo>
                  <a:pt x="3361" y="150361"/>
                  <a:pt x="3810" y="150361"/>
                  <a:pt x="4258" y="149913"/>
                </a:cubicBezTo>
                <a:lnTo>
                  <a:pt x="22633" y="131538"/>
                </a:lnTo>
                <a:lnTo>
                  <a:pt x="50867" y="131538"/>
                </a:lnTo>
                <a:cubicBezTo>
                  <a:pt x="51315" y="131538"/>
                  <a:pt x="51315" y="131538"/>
                  <a:pt x="51764" y="131538"/>
                </a:cubicBezTo>
                <a:cubicBezTo>
                  <a:pt x="52212" y="131538"/>
                  <a:pt x="52212" y="131090"/>
                  <a:pt x="52660" y="131090"/>
                </a:cubicBezTo>
                <a:lnTo>
                  <a:pt x="118093" y="65657"/>
                </a:lnTo>
                <a:lnTo>
                  <a:pt x="130642" y="78206"/>
                </a:lnTo>
                <a:cubicBezTo>
                  <a:pt x="131090" y="78654"/>
                  <a:pt x="131538" y="78654"/>
                  <a:pt x="132434" y="78654"/>
                </a:cubicBezTo>
                <a:cubicBezTo>
                  <a:pt x="133331" y="78654"/>
                  <a:pt x="133779" y="78654"/>
                  <a:pt x="134227" y="78206"/>
                </a:cubicBezTo>
                <a:cubicBezTo>
                  <a:pt x="135123" y="77309"/>
                  <a:pt x="135123" y="75965"/>
                  <a:pt x="134227" y="75068"/>
                </a:cubicBezTo>
                <a:lnTo>
                  <a:pt x="107337" y="48178"/>
                </a:lnTo>
                <a:lnTo>
                  <a:pt x="133331" y="22184"/>
                </a:lnTo>
                <a:lnTo>
                  <a:pt x="147672" y="36526"/>
                </a:lnTo>
                <a:cubicBezTo>
                  <a:pt x="148120" y="36974"/>
                  <a:pt x="148568" y="36974"/>
                  <a:pt x="149465" y="36974"/>
                </a:cubicBezTo>
                <a:cubicBezTo>
                  <a:pt x="150361" y="36974"/>
                  <a:pt x="150809" y="36974"/>
                  <a:pt x="151258" y="36526"/>
                </a:cubicBezTo>
                <a:cubicBezTo>
                  <a:pt x="149465" y="34285"/>
                  <a:pt x="149465" y="32940"/>
                  <a:pt x="148568" y="32044"/>
                </a:cubicBezTo>
                <a:close/>
                <a:moveTo>
                  <a:pt x="48178" y="126608"/>
                </a:moveTo>
                <a:lnTo>
                  <a:pt x="22184" y="126608"/>
                </a:lnTo>
                <a:lnTo>
                  <a:pt x="22184" y="100614"/>
                </a:lnTo>
                <a:lnTo>
                  <a:pt x="32493" y="90306"/>
                </a:lnTo>
                <a:lnTo>
                  <a:pt x="40560" y="98373"/>
                </a:lnTo>
                <a:cubicBezTo>
                  <a:pt x="41008" y="98822"/>
                  <a:pt x="41456" y="98822"/>
                  <a:pt x="42352" y="98822"/>
                </a:cubicBezTo>
                <a:cubicBezTo>
                  <a:pt x="43248" y="98822"/>
                  <a:pt x="43697" y="98822"/>
                  <a:pt x="44145" y="98373"/>
                </a:cubicBezTo>
                <a:cubicBezTo>
                  <a:pt x="45041" y="97477"/>
                  <a:pt x="45041" y="96133"/>
                  <a:pt x="44145" y="95236"/>
                </a:cubicBezTo>
                <a:lnTo>
                  <a:pt x="35181" y="87169"/>
                </a:lnTo>
                <a:lnTo>
                  <a:pt x="47730" y="74620"/>
                </a:lnTo>
                <a:lnTo>
                  <a:pt x="55797" y="82687"/>
                </a:lnTo>
                <a:cubicBezTo>
                  <a:pt x="56246" y="83136"/>
                  <a:pt x="56694" y="83136"/>
                  <a:pt x="57590" y="83136"/>
                </a:cubicBezTo>
                <a:cubicBezTo>
                  <a:pt x="58486" y="83136"/>
                  <a:pt x="58934" y="83136"/>
                  <a:pt x="59383" y="82687"/>
                </a:cubicBezTo>
                <a:cubicBezTo>
                  <a:pt x="60279" y="81791"/>
                  <a:pt x="60279" y="80447"/>
                  <a:pt x="59383" y="79550"/>
                </a:cubicBezTo>
                <a:lnTo>
                  <a:pt x="51315" y="71483"/>
                </a:lnTo>
                <a:lnTo>
                  <a:pt x="63864" y="58934"/>
                </a:lnTo>
                <a:lnTo>
                  <a:pt x="71931" y="67001"/>
                </a:lnTo>
                <a:cubicBezTo>
                  <a:pt x="72380" y="67450"/>
                  <a:pt x="72828" y="67450"/>
                  <a:pt x="73724" y="67450"/>
                </a:cubicBezTo>
                <a:cubicBezTo>
                  <a:pt x="74620" y="67450"/>
                  <a:pt x="75069" y="67450"/>
                  <a:pt x="75517" y="67001"/>
                </a:cubicBezTo>
                <a:cubicBezTo>
                  <a:pt x="76413" y="66105"/>
                  <a:pt x="76413" y="64761"/>
                  <a:pt x="75517" y="63864"/>
                </a:cubicBezTo>
                <a:lnTo>
                  <a:pt x="67450" y="55797"/>
                </a:lnTo>
                <a:lnTo>
                  <a:pt x="87169" y="36078"/>
                </a:lnTo>
                <a:lnTo>
                  <a:pt x="113163" y="62072"/>
                </a:lnTo>
                <a:lnTo>
                  <a:pt x="48178" y="126608"/>
                </a:lnTo>
                <a:close/>
              </a:path>
            </a:pathLst>
          </a:custGeom>
          <a:solidFill>
            <a:srgbClr val="231F20"/>
          </a:solidFill>
          <a:ln w="4477" cap="flat">
            <a:noFill/>
            <a:prstDash val="solid"/>
            <a:miter/>
          </a:ln>
        </p:spPr>
        <p:txBody>
          <a:bodyPr rtlCol="0" anchor="ctr"/>
          <a:lstStyle/>
          <a:p>
            <a:endParaRPr lang="en-US"/>
          </a:p>
        </p:txBody>
      </p:sp>
      <p:sp>
        <p:nvSpPr>
          <p:cNvPr id="2489" name="Freeform: Shape 2488">
            <a:extLst>
              <a:ext uri="{FF2B5EF4-FFF2-40B4-BE49-F238E27FC236}">
                <a16:creationId xmlns:a16="http://schemas.microsoft.com/office/drawing/2014/main" id="{F0CA93E5-A944-4D8D-ABA4-C99C1BAF45C6}"/>
              </a:ext>
              <a:ext uri="{C183D7F6-B498-43B3-948B-1728B52AA6E4}">
                <adec:decorative xmlns:adec="http://schemas.microsoft.com/office/drawing/2017/decorative" val="1"/>
              </a:ext>
            </a:extLst>
          </p:cNvPr>
          <p:cNvSpPr>
            <a:spLocks noChangeAspect="1"/>
          </p:cNvSpPr>
          <p:nvPr/>
        </p:nvSpPr>
        <p:spPr>
          <a:xfrm>
            <a:off x="9050441" y="4873546"/>
            <a:ext cx="138933" cy="138933"/>
          </a:xfrm>
          <a:custGeom>
            <a:avLst/>
            <a:gdLst>
              <a:gd name="connsiteX0" fmla="*/ 142854 w 138932"/>
              <a:gd name="connsiteY0" fmla="*/ 49523 h 138932"/>
              <a:gd name="connsiteX1" fmla="*/ 94004 w 138932"/>
              <a:gd name="connsiteY1" fmla="*/ 672 h 138932"/>
              <a:gd name="connsiteX2" fmla="*/ 90866 w 138932"/>
              <a:gd name="connsiteY2" fmla="*/ 672 h 138932"/>
              <a:gd name="connsiteX3" fmla="*/ 90866 w 138932"/>
              <a:gd name="connsiteY3" fmla="*/ 3810 h 138932"/>
              <a:gd name="connsiteX4" fmla="*/ 98037 w 138932"/>
              <a:gd name="connsiteY4" fmla="*/ 10980 h 138932"/>
              <a:gd name="connsiteX5" fmla="*/ 76525 w 138932"/>
              <a:gd name="connsiteY5" fmla="*/ 32492 h 138932"/>
              <a:gd name="connsiteX6" fmla="*/ 76525 w 138932"/>
              <a:gd name="connsiteY6" fmla="*/ 32492 h 138932"/>
              <a:gd name="connsiteX7" fmla="*/ 76525 w 138932"/>
              <a:gd name="connsiteY7" fmla="*/ 32492 h 138932"/>
              <a:gd name="connsiteX8" fmla="*/ 7059 w 138932"/>
              <a:gd name="connsiteY8" fmla="*/ 101959 h 138932"/>
              <a:gd name="connsiteX9" fmla="*/ 7059 w 138932"/>
              <a:gd name="connsiteY9" fmla="*/ 136020 h 138932"/>
              <a:gd name="connsiteX10" fmla="*/ 24089 w 138932"/>
              <a:gd name="connsiteY10" fmla="*/ 143190 h 138932"/>
              <a:gd name="connsiteX11" fmla="*/ 41120 w 138932"/>
              <a:gd name="connsiteY11" fmla="*/ 136020 h 138932"/>
              <a:gd name="connsiteX12" fmla="*/ 131650 w 138932"/>
              <a:gd name="connsiteY12" fmla="*/ 45489 h 138932"/>
              <a:gd name="connsiteX13" fmla="*/ 138821 w 138932"/>
              <a:gd name="connsiteY13" fmla="*/ 52660 h 138932"/>
              <a:gd name="connsiteX14" fmla="*/ 140613 w 138932"/>
              <a:gd name="connsiteY14" fmla="*/ 53108 h 138932"/>
              <a:gd name="connsiteX15" fmla="*/ 142406 w 138932"/>
              <a:gd name="connsiteY15" fmla="*/ 52660 h 138932"/>
              <a:gd name="connsiteX16" fmla="*/ 142854 w 138932"/>
              <a:gd name="connsiteY16" fmla="*/ 49523 h 138932"/>
              <a:gd name="connsiteX17" fmla="*/ 38431 w 138932"/>
              <a:gd name="connsiteY17" fmla="*/ 132883 h 138932"/>
              <a:gd name="connsiteX18" fmla="*/ 24537 w 138932"/>
              <a:gd name="connsiteY18" fmla="*/ 138709 h 138932"/>
              <a:gd name="connsiteX19" fmla="*/ 10644 w 138932"/>
              <a:gd name="connsiteY19" fmla="*/ 132883 h 138932"/>
              <a:gd name="connsiteX20" fmla="*/ 10644 w 138932"/>
              <a:gd name="connsiteY20" fmla="*/ 105096 h 138932"/>
              <a:gd name="connsiteX21" fmla="*/ 23641 w 138932"/>
              <a:gd name="connsiteY21" fmla="*/ 92099 h 138932"/>
              <a:gd name="connsiteX22" fmla="*/ 31708 w 138932"/>
              <a:gd name="connsiteY22" fmla="*/ 100166 h 138932"/>
              <a:gd name="connsiteX23" fmla="*/ 33501 w 138932"/>
              <a:gd name="connsiteY23" fmla="*/ 100614 h 138932"/>
              <a:gd name="connsiteX24" fmla="*/ 35293 w 138932"/>
              <a:gd name="connsiteY24" fmla="*/ 100166 h 138932"/>
              <a:gd name="connsiteX25" fmla="*/ 35293 w 138932"/>
              <a:gd name="connsiteY25" fmla="*/ 97029 h 138932"/>
              <a:gd name="connsiteX26" fmla="*/ 27226 w 138932"/>
              <a:gd name="connsiteY26" fmla="*/ 88962 h 138932"/>
              <a:gd name="connsiteX27" fmla="*/ 42464 w 138932"/>
              <a:gd name="connsiteY27" fmla="*/ 73724 h 138932"/>
              <a:gd name="connsiteX28" fmla="*/ 50531 w 138932"/>
              <a:gd name="connsiteY28" fmla="*/ 81791 h 138932"/>
              <a:gd name="connsiteX29" fmla="*/ 52324 w 138932"/>
              <a:gd name="connsiteY29" fmla="*/ 82239 h 138932"/>
              <a:gd name="connsiteX30" fmla="*/ 54116 w 138932"/>
              <a:gd name="connsiteY30" fmla="*/ 81791 h 138932"/>
              <a:gd name="connsiteX31" fmla="*/ 54116 w 138932"/>
              <a:gd name="connsiteY31" fmla="*/ 78654 h 138932"/>
              <a:gd name="connsiteX32" fmla="*/ 46049 w 138932"/>
              <a:gd name="connsiteY32" fmla="*/ 70587 h 138932"/>
              <a:gd name="connsiteX33" fmla="*/ 61287 w 138932"/>
              <a:gd name="connsiteY33" fmla="*/ 55349 h 138932"/>
              <a:gd name="connsiteX34" fmla="*/ 69354 w 138932"/>
              <a:gd name="connsiteY34" fmla="*/ 63416 h 138932"/>
              <a:gd name="connsiteX35" fmla="*/ 71147 w 138932"/>
              <a:gd name="connsiteY35" fmla="*/ 63864 h 138932"/>
              <a:gd name="connsiteX36" fmla="*/ 72940 w 138932"/>
              <a:gd name="connsiteY36" fmla="*/ 63416 h 138932"/>
              <a:gd name="connsiteX37" fmla="*/ 72940 w 138932"/>
              <a:gd name="connsiteY37" fmla="*/ 60279 h 138932"/>
              <a:gd name="connsiteX38" fmla="*/ 64873 w 138932"/>
              <a:gd name="connsiteY38" fmla="*/ 52212 h 138932"/>
              <a:gd name="connsiteX39" fmla="*/ 80110 w 138932"/>
              <a:gd name="connsiteY39" fmla="*/ 36974 h 138932"/>
              <a:gd name="connsiteX40" fmla="*/ 88178 w 138932"/>
              <a:gd name="connsiteY40" fmla="*/ 45041 h 138932"/>
              <a:gd name="connsiteX41" fmla="*/ 89970 w 138932"/>
              <a:gd name="connsiteY41" fmla="*/ 45489 h 138932"/>
              <a:gd name="connsiteX42" fmla="*/ 91763 w 138932"/>
              <a:gd name="connsiteY42" fmla="*/ 45041 h 138932"/>
              <a:gd name="connsiteX43" fmla="*/ 91763 w 138932"/>
              <a:gd name="connsiteY43" fmla="*/ 41904 h 138932"/>
              <a:gd name="connsiteX44" fmla="*/ 83696 w 138932"/>
              <a:gd name="connsiteY44" fmla="*/ 33837 h 138932"/>
              <a:gd name="connsiteX45" fmla="*/ 103415 w 138932"/>
              <a:gd name="connsiteY45" fmla="*/ 14117 h 138932"/>
              <a:gd name="connsiteX46" fmla="*/ 131202 w 138932"/>
              <a:gd name="connsiteY46" fmla="*/ 41904 h 138932"/>
              <a:gd name="connsiteX47" fmla="*/ 38431 w 138932"/>
              <a:gd name="connsiteY47" fmla="*/ 132883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38932" h="138932">
                <a:moveTo>
                  <a:pt x="142854" y="49523"/>
                </a:moveTo>
                <a:lnTo>
                  <a:pt x="94004" y="672"/>
                </a:lnTo>
                <a:cubicBezTo>
                  <a:pt x="93107" y="-224"/>
                  <a:pt x="91763" y="-224"/>
                  <a:pt x="90866" y="672"/>
                </a:cubicBezTo>
                <a:cubicBezTo>
                  <a:pt x="89970" y="1569"/>
                  <a:pt x="89970" y="2913"/>
                  <a:pt x="90866" y="3810"/>
                </a:cubicBezTo>
                <a:lnTo>
                  <a:pt x="98037" y="10980"/>
                </a:lnTo>
                <a:lnTo>
                  <a:pt x="76525" y="32492"/>
                </a:lnTo>
                <a:lnTo>
                  <a:pt x="76525" y="32492"/>
                </a:lnTo>
                <a:lnTo>
                  <a:pt x="76525" y="32492"/>
                </a:lnTo>
                <a:lnTo>
                  <a:pt x="7059" y="101959"/>
                </a:lnTo>
                <a:cubicBezTo>
                  <a:pt x="-2353" y="111370"/>
                  <a:pt x="-2353" y="126608"/>
                  <a:pt x="7059" y="136020"/>
                </a:cubicBezTo>
                <a:cubicBezTo>
                  <a:pt x="11540" y="140501"/>
                  <a:pt x="17815" y="143190"/>
                  <a:pt x="24089" y="143190"/>
                </a:cubicBezTo>
                <a:cubicBezTo>
                  <a:pt x="30364" y="143190"/>
                  <a:pt x="36638" y="140501"/>
                  <a:pt x="41120" y="136020"/>
                </a:cubicBezTo>
                <a:lnTo>
                  <a:pt x="131650" y="45489"/>
                </a:lnTo>
                <a:lnTo>
                  <a:pt x="138821" y="52660"/>
                </a:lnTo>
                <a:cubicBezTo>
                  <a:pt x="139269" y="53108"/>
                  <a:pt x="139717" y="53108"/>
                  <a:pt x="140613" y="53108"/>
                </a:cubicBezTo>
                <a:cubicBezTo>
                  <a:pt x="141510" y="53108"/>
                  <a:pt x="141958" y="53108"/>
                  <a:pt x="142406" y="52660"/>
                </a:cubicBezTo>
                <a:cubicBezTo>
                  <a:pt x="143302" y="51764"/>
                  <a:pt x="143302" y="50419"/>
                  <a:pt x="142854" y="49523"/>
                </a:cubicBezTo>
                <a:close/>
                <a:moveTo>
                  <a:pt x="38431" y="132883"/>
                </a:moveTo>
                <a:cubicBezTo>
                  <a:pt x="34845" y="136468"/>
                  <a:pt x="29915" y="138709"/>
                  <a:pt x="24537" y="138709"/>
                </a:cubicBezTo>
                <a:cubicBezTo>
                  <a:pt x="19159" y="138709"/>
                  <a:pt x="14229" y="136468"/>
                  <a:pt x="10644" y="132883"/>
                </a:cubicBezTo>
                <a:cubicBezTo>
                  <a:pt x="3025" y="125264"/>
                  <a:pt x="3025" y="112715"/>
                  <a:pt x="10644" y="105096"/>
                </a:cubicBezTo>
                <a:lnTo>
                  <a:pt x="23641" y="92099"/>
                </a:lnTo>
                <a:lnTo>
                  <a:pt x="31708" y="100166"/>
                </a:lnTo>
                <a:cubicBezTo>
                  <a:pt x="32156" y="100614"/>
                  <a:pt x="32604" y="100614"/>
                  <a:pt x="33501" y="100614"/>
                </a:cubicBezTo>
                <a:cubicBezTo>
                  <a:pt x="34397" y="100614"/>
                  <a:pt x="34845" y="100614"/>
                  <a:pt x="35293" y="100166"/>
                </a:cubicBezTo>
                <a:cubicBezTo>
                  <a:pt x="36190" y="99270"/>
                  <a:pt x="36190" y="97925"/>
                  <a:pt x="35293" y="97029"/>
                </a:cubicBezTo>
                <a:lnTo>
                  <a:pt x="27226" y="88962"/>
                </a:lnTo>
                <a:lnTo>
                  <a:pt x="42464" y="73724"/>
                </a:lnTo>
                <a:lnTo>
                  <a:pt x="50531" y="81791"/>
                </a:lnTo>
                <a:cubicBezTo>
                  <a:pt x="50979" y="82239"/>
                  <a:pt x="51428" y="82239"/>
                  <a:pt x="52324" y="82239"/>
                </a:cubicBezTo>
                <a:cubicBezTo>
                  <a:pt x="53220" y="82239"/>
                  <a:pt x="53668" y="82239"/>
                  <a:pt x="54116" y="81791"/>
                </a:cubicBezTo>
                <a:cubicBezTo>
                  <a:pt x="55013" y="80895"/>
                  <a:pt x="55013" y="79550"/>
                  <a:pt x="54116" y="78654"/>
                </a:cubicBezTo>
                <a:lnTo>
                  <a:pt x="46049" y="70587"/>
                </a:lnTo>
                <a:lnTo>
                  <a:pt x="61287" y="55349"/>
                </a:lnTo>
                <a:lnTo>
                  <a:pt x="69354" y="63416"/>
                </a:lnTo>
                <a:cubicBezTo>
                  <a:pt x="69802" y="63864"/>
                  <a:pt x="70251" y="63864"/>
                  <a:pt x="71147" y="63864"/>
                </a:cubicBezTo>
                <a:cubicBezTo>
                  <a:pt x="72043" y="63864"/>
                  <a:pt x="72492" y="63864"/>
                  <a:pt x="72940" y="63416"/>
                </a:cubicBezTo>
                <a:cubicBezTo>
                  <a:pt x="73836" y="62520"/>
                  <a:pt x="73836" y="61175"/>
                  <a:pt x="72940" y="60279"/>
                </a:cubicBezTo>
                <a:lnTo>
                  <a:pt x="64873" y="52212"/>
                </a:lnTo>
                <a:lnTo>
                  <a:pt x="80110" y="36974"/>
                </a:lnTo>
                <a:lnTo>
                  <a:pt x="88178" y="45041"/>
                </a:lnTo>
                <a:cubicBezTo>
                  <a:pt x="88626" y="45489"/>
                  <a:pt x="89074" y="45489"/>
                  <a:pt x="89970" y="45489"/>
                </a:cubicBezTo>
                <a:cubicBezTo>
                  <a:pt x="90866" y="45489"/>
                  <a:pt x="91315" y="45489"/>
                  <a:pt x="91763" y="45041"/>
                </a:cubicBezTo>
                <a:cubicBezTo>
                  <a:pt x="92659" y="44145"/>
                  <a:pt x="92659" y="42800"/>
                  <a:pt x="91763" y="41904"/>
                </a:cubicBezTo>
                <a:lnTo>
                  <a:pt x="83696" y="33837"/>
                </a:lnTo>
                <a:lnTo>
                  <a:pt x="103415" y="14117"/>
                </a:lnTo>
                <a:lnTo>
                  <a:pt x="131202" y="41904"/>
                </a:lnTo>
                <a:lnTo>
                  <a:pt x="38431" y="132883"/>
                </a:lnTo>
                <a:close/>
              </a:path>
            </a:pathLst>
          </a:custGeom>
          <a:solidFill>
            <a:srgbClr val="231F20"/>
          </a:solidFill>
          <a:ln w="4477" cap="flat">
            <a:noFill/>
            <a:prstDash val="solid"/>
            <a:miter/>
          </a:ln>
        </p:spPr>
        <p:txBody>
          <a:bodyPr rtlCol="0" anchor="ctr"/>
          <a:lstStyle/>
          <a:p>
            <a:endParaRPr lang="en-US"/>
          </a:p>
        </p:txBody>
      </p:sp>
      <p:sp>
        <p:nvSpPr>
          <p:cNvPr id="2490" name="Freeform: Shape 2489">
            <a:extLst>
              <a:ext uri="{FF2B5EF4-FFF2-40B4-BE49-F238E27FC236}">
                <a16:creationId xmlns:a16="http://schemas.microsoft.com/office/drawing/2014/main" id="{BAD646C0-BC2A-4C6B-A49D-FFE2070D70BF}"/>
              </a:ext>
              <a:ext uri="{C183D7F6-B498-43B3-948B-1728B52AA6E4}">
                <adec:decorative xmlns:adec="http://schemas.microsoft.com/office/drawing/2017/decorative" val="1"/>
              </a:ext>
            </a:extLst>
          </p:cNvPr>
          <p:cNvSpPr>
            <a:spLocks noChangeAspect="1"/>
          </p:cNvSpPr>
          <p:nvPr/>
        </p:nvSpPr>
        <p:spPr>
          <a:xfrm>
            <a:off x="9321136" y="4873994"/>
            <a:ext cx="138933" cy="138933"/>
          </a:xfrm>
          <a:custGeom>
            <a:avLst/>
            <a:gdLst>
              <a:gd name="connsiteX0" fmla="*/ 142406 w 138932"/>
              <a:gd name="connsiteY0" fmla="*/ 49075 h 138932"/>
              <a:gd name="connsiteX1" fmla="*/ 133443 w 138932"/>
              <a:gd name="connsiteY1" fmla="*/ 40111 h 138932"/>
              <a:gd name="connsiteX2" fmla="*/ 133443 w 138932"/>
              <a:gd name="connsiteY2" fmla="*/ 40111 h 138932"/>
              <a:gd name="connsiteX3" fmla="*/ 133443 w 138932"/>
              <a:gd name="connsiteY3" fmla="*/ 40111 h 138932"/>
              <a:gd name="connsiteX4" fmla="*/ 102519 w 138932"/>
              <a:gd name="connsiteY4" fmla="*/ 9188 h 138932"/>
              <a:gd name="connsiteX5" fmla="*/ 102519 w 138932"/>
              <a:gd name="connsiteY5" fmla="*/ 9188 h 138932"/>
              <a:gd name="connsiteX6" fmla="*/ 102519 w 138932"/>
              <a:gd name="connsiteY6" fmla="*/ 9188 h 138932"/>
              <a:gd name="connsiteX7" fmla="*/ 94004 w 138932"/>
              <a:gd name="connsiteY7" fmla="*/ 672 h 138932"/>
              <a:gd name="connsiteX8" fmla="*/ 90867 w 138932"/>
              <a:gd name="connsiteY8" fmla="*/ 672 h 138932"/>
              <a:gd name="connsiteX9" fmla="*/ 90867 w 138932"/>
              <a:gd name="connsiteY9" fmla="*/ 3809 h 138932"/>
              <a:gd name="connsiteX10" fmla="*/ 98037 w 138932"/>
              <a:gd name="connsiteY10" fmla="*/ 10980 h 138932"/>
              <a:gd name="connsiteX11" fmla="*/ 9748 w 138932"/>
              <a:gd name="connsiteY11" fmla="*/ 98822 h 138932"/>
              <a:gd name="connsiteX12" fmla="*/ 9748 w 138932"/>
              <a:gd name="connsiteY12" fmla="*/ 98822 h 138932"/>
              <a:gd name="connsiteX13" fmla="*/ 7059 w 138932"/>
              <a:gd name="connsiteY13" fmla="*/ 101511 h 138932"/>
              <a:gd name="connsiteX14" fmla="*/ 7059 w 138932"/>
              <a:gd name="connsiteY14" fmla="*/ 135572 h 138932"/>
              <a:gd name="connsiteX15" fmla="*/ 24089 w 138932"/>
              <a:gd name="connsiteY15" fmla="*/ 142742 h 138932"/>
              <a:gd name="connsiteX16" fmla="*/ 41120 w 138932"/>
              <a:gd name="connsiteY16" fmla="*/ 135572 h 138932"/>
              <a:gd name="connsiteX17" fmla="*/ 131650 w 138932"/>
              <a:gd name="connsiteY17" fmla="*/ 45041 h 138932"/>
              <a:gd name="connsiteX18" fmla="*/ 138821 w 138932"/>
              <a:gd name="connsiteY18" fmla="*/ 52212 h 138932"/>
              <a:gd name="connsiteX19" fmla="*/ 140613 w 138932"/>
              <a:gd name="connsiteY19" fmla="*/ 52660 h 138932"/>
              <a:gd name="connsiteX20" fmla="*/ 142406 w 138932"/>
              <a:gd name="connsiteY20" fmla="*/ 52212 h 138932"/>
              <a:gd name="connsiteX21" fmla="*/ 142406 w 138932"/>
              <a:gd name="connsiteY21" fmla="*/ 49075 h 138932"/>
              <a:gd name="connsiteX22" fmla="*/ 10196 w 138932"/>
              <a:gd name="connsiteY22" fmla="*/ 132434 h 138932"/>
              <a:gd name="connsiteX23" fmla="*/ 10196 w 138932"/>
              <a:gd name="connsiteY23" fmla="*/ 104648 h 138932"/>
              <a:gd name="connsiteX24" fmla="*/ 12437 w 138932"/>
              <a:gd name="connsiteY24" fmla="*/ 102407 h 138932"/>
              <a:gd name="connsiteX25" fmla="*/ 68010 w 138932"/>
              <a:gd name="connsiteY25" fmla="*/ 102407 h 138932"/>
              <a:gd name="connsiteX26" fmla="*/ 37982 w 138932"/>
              <a:gd name="connsiteY26" fmla="*/ 132434 h 138932"/>
              <a:gd name="connsiteX27" fmla="*/ 24089 w 138932"/>
              <a:gd name="connsiteY27" fmla="*/ 138261 h 138932"/>
              <a:gd name="connsiteX28" fmla="*/ 10196 w 138932"/>
              <a:gd name="connsiteY28" fmla="*/ 132434 h 138932"/>
              <a:gd name="connsiteX29" fmla="*/ 72492 w 138932"/>
              <a:gd name="connsiteY29" fmla="*/ 97925 h 138932"/>
              <a:gd name="connsiteX30" fmla="*/ 16919 w 138932"/>
              <a:gd name="connsiteY30" fmla="*/ 97925 h 138932"/>
              <a:gd name="connsiteX31" fmla="*/ 47394 w 138932"/>
              <a:gd name="connsiteY31" fmla="*/ 67450 h 138932"/>
              <a:gd name="connsiteX32" fmla="*/ 55461 w 138932"/>
              <a:gd name="connsiteY32" fmla="*/ 75517 h 138932"/>
              <a:gd name="connsiteX33" fmla="*/ 57254 w 138932"/>
              <a:gd name="connsiteY33" fmla="*/ 75965 h 138932"/>
              <a:gd name="connsiteX34" fmla="*/ 59046 w 138932"/>
              <a:gd name="connsiteY34" fmla="*/ 75517 h 138932"/>
              <a:gd name="connsiteX35" fmla="*/ 59046 w 138932"/>
              <a:gd name="connsiteY35" fmla="*/ 72380 h 138932"/>
              <a:gd name="connsiteX36" fmla="*/ 50979 w 138932"/>
              <a:gd name="connsiteY36" fmla="*/ 64312 h 138932"/>
              <a:gd name="connsiteX37" fmla="*/ 66217 w 138932"/>
              <a:gd name="connsiteY37" fmla="*/ 49075 h 138932"/>
              <a:gd name="connsiteX38" fmla="*/ 74284 w 138932"/>
              <a:gd name="connsiteY38" fmla="*/ 57142 h 138932"/>
              <a:gd name="connsiteX39" fmla="*/ 76077 w 138932"/>
              <a:gd name="connsiteY39" fmla="*/ 57590 h 138932"/>
              <a:gd name="connsiteX40" fmla="*/ 77870 w 138932"/>
              <a:gd name="connsiteY40" fmla="*/ 57142 h 138932"/>
              <a:gd name="connsiteX41" fmla="*/ 77870 w 138932"/>
              <a:gd name="connsiteY41" fmla="*/ 54005 h 138932"/>
              <a:gd name="connsiteX42" fmla="*/ 69803 w 138932"/>
              <a:gd name="connsiteY42" fmla="*/ 45938 h 138932"/>
              <a:gd name="connsiteX43" fmla="*/ 85040 w 138932"/>
              <a:gd name="connsiteY43" fmla="*/ 30700 h 138932"/>
              <a:gd name="connsiteX44" fmla="*/ 93108 w 138932"/>
              <a:gd name="connsiteY44" fmla="*/ 38767 h 138932"/>
              <a:gd name="connsiteX45" fmla="*/ 94900 w 138932"/>
              <a:gd name="connsiteY45" fmla="*/ 39215 h 138932"/>
              <a:gd name="connsiteX46" fmla="*/ 96693 w 138932"/>
              <a:gd name="connsiteY46" fmla="*/ 38767 h 138932"/>
              <a:gd name="connsiteX47" fmla="*/ 96693 w 138932"/>
              <a:gd name="connsiteY47" fmla="*/ 35630 h 138932"/>
              <a:gd name="connsiteX48" fmla="*/ 88626 w 138932"/>
              <a:gd name="connsiteY48" fmla="*/ 27563 h 138932"/>
              <a:gd name="connsiteX49" fmla="*/ 102519 w 138932"/>
              <a:gd name="connsiteY49" fmla="*/ 13669 h 138932"/>
              <a:gd name="connsiteX50" fmla="*/ 130306 w 138932"/>
              <a:gd name="connsiteY50" fmla="*/ 41456 h 138932"/>
              <a:gd name="connsiteX51" fmla="*/ 72492 w 138932"/>
              <a:gd name="connsiteY51" fmla="*/ 97925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8932" h="138932">
                <a:moveTo>
                  <a:pt x="142406" y="49075"/>
                </a:moveTo>
                <a:lnTo>
                  <a:pt x="133443" y="40111"/>
                </a:lnTo>
                <a:cubicBezTo>
                  <a:pt x="133443" y="40111"/>
                  <a:pt x="133443" y="40111"/>
                  <a:pt x="133443" y="40111"/>
                </a:cubicBezTo>
                <a:lnTo>
                  <a:pt x="133443" y="40111"/>
                </a:lnTo>
                <a:lnTo>
                  <a:pt x="102519" y="9188"/>
                </a:lnTo>
                <a:cubicBezTo>
                  <a:pt x="102519" y="9188"/>
                  <a:pt x="102519" y="9188"/>
                  <a:pt x="102519" y="9188"/>
                </a:cubicBezTo>
                <a:cubicBezTo>
                  <a:pt x="102519" y="9188"/>
                  <a:pt x="102519" y="9188"/>
                  <a:pt x="102519" y="9188"/>
                </a:cubicBezTo>
                <a:lnTo>
                  <a:pt x="94004" y="672"/>
                </a:lnTo>
                <a:cubicBezTo>
                  <a:pt x="93108" y="-224"/>
                  <a:pt x="91763" y="-224"/>
                  <a:pt x="90867" y="672"/>
                </a:cubicBezTo>
                <a:cubicBezTo>
                  <a:pt x="89970" y="1569"/>
                  <a:pt x="89970" y="2913"/>
                  <a:pt x="90867" y="3809"/>
                </a:cubicBezTo>
                <a:lnTo>
                  <a:pt x="98037" y="10980"/>
                </a:lnTo>
                <a:lnTo>
                  <a:pt x="9748" y="98822"/>
                </a:lnTo>
                <a:cubicBezTo>
                  <a:pt x="9748" y="98822"/>
                  <a:pt x="9748" y="98822"/>
                  <a:pt x="9748" y="98822"/>
                </a:cubicBezTo>
                <a:lnTo>
                  <a:pt x="7059" y="101511"/>
                </a:lnTo>
                <a:cubicBezTo>
                  <a:pt x="-2353" y="110922"/>
                  <a:pt x="-2353" y="126160"/>
                  <a:pt x="7059" y="135572"/>
                </a:cubicBezTo>
                <a:cubicBezTo>
                  <a:pt x="11541" y="140053"/>
                  <a:pt x="17815" y="142742"/>
                  <a:pt x="24089" y="142742"/>
                </a:cubicBezTo>
                <a:cubicBezTo>
                  <a:pt x="30364" y="142742"/>
                  <a:pt x="36638" y="140053"/>
                  <a:pt x="41120" y="135572"/>
                </a:cubicBezTo>
                <a:lnTo>
                  <a:pt x="131650" y="45041"/>
                </a:lnTo>
                <a:lnTo>
                  <a:pt x="138821" y="52212"/>
                </a:lnTo>
                <a:cubicBezTo>
                  <a:pt x="139269" y="52660"/>
                  <a:pt x="139717" y="52660"/>
                  <a:pt x="140613" y="52660"/>
                </a:cubicBezTo>
                <a:cubicBezTo>
                  <a:pt x="141510" y="52660"/>
                  <a:pt x="141958" y="52660"/>
                  <a:pt x="142406" y="52212"/>
                </a:cubicBezTo>
                <a:cubicBezTo>
                  <a:pt x="143302" y="51315"/>
                  <a:pt x="143302" y="49971"/>
                  <a:pt x="142406" y="49075"/>
                </a:cubicBezTo>
                <a:close/>
                <a:moveTo>
                  <a:pt x="10196" y="132434"/>
                </a:moveTo>
                <a:cubicBezTo>
                  <a:pt x="2577" y="124815"/>
                  <a:pt x="2577" y="112267"/>
                  <a:pt x="10196" y="104648"/>
                </a:cubicBezTo>
                <a:lnTo>
                  <a:pt x="12437" y="102407"/>
                </a:lnTo>
                <a:lnTo>
                  <a:pt x="68010" y="102407"/>
                </a:lnTo>
                <a:lnTo>
                  <a:pt x="37982" y="132434"/>
                </a:lnTo>
                <a:cubicBezTo>
                  <a:pt x="34397" y="136020"/>
                  <a:pt x="29467" y="138261"/>
                  <a:pt x="24089" y="138261"/>
                </a:cubicBezTo>
                <a:cubicBezTo>
                  <a:pt x="18711" y="138261"/>
                  <a:pt x="13781" y="136468"/>
                  <a:pt x="10196" y="132434"/>
                </a:cubicBezTo>
                <a:close/>
                <a:moveTo>
                  <a:pt x="72492" y="97925"/>
                </a:moveTo>
                <a:lnTo>
                  <a:pt x="16919" y="97925"/>
                </a:lnTo>
                <a:lnTo>
                  <a:pt x="47394" y="67450"/>
                </a:lnTo>
                <a:lnTo>
                  <a:pt x="55461" y="75517"/>
                </a:lnTo>
                <a:cubicBezTo>
                  <a:pt x="55909" y="75965"/>
                  <a:pt x="56358" y="75965"/>
                  <a:pt x="57254" y="75965"/>
                </a:cubicBezTo>
                <a:cubicBezTo>
                  <a:pt x="58150" y="75965"/>
                  <a:pt x="58598" y="75965"/>
                  <a:pt x="59046" y="75517"/>
                </a:cubicBezTo>
                <a:cubicBezTo>
                  <a:pt x="59943" y="74620"/>
                  <a:pt x="59943" y="73276"/>
                  <a:pt x="59046" y="72380"/>
                </a:cubicBezTo>
                <a:lnTo>
                  <a:pt x="50979" y="64312"/>
                </a:lnTo>
                <a:lnTo>
                  <a:pt x="66217" y="49075"/>
                </a:lnTo>
                <a:lnTo>
                  <a:pt x="74284" y="57142"/>
                </a:lnTo>
                <a:cubicBezTo>
                  <a:pt x="74732" y="57590"/>
                  <a:pt x="75181" y="57590"/>
                  <a:pt x="76077" y="57590"/>
                </a:cubicBezTo>
                <a:cubicBezTo>
                  <a:pt x="76973" y="57590"/>
                  <a:pt x="77422" y="57590"/>
                  <a:pt x="77870" y="57142"/>
                </a:cubicBezTo>
                <a:cubicBezTo>
                  <a:pt x="78766" y="56245"/>
                  <a:pt x="78766" y="54901"/>
                  <a:pt x="77870" y="54005"/>
                </a:cubicBezTo>
                <a:lnTo>
                  <a:pt x="69803" y="45938"/>
                </a:lnTo>
                <a:lnTo>
                  <a:pt x="85040" y="30700"/>
                </a:lnTo>
                <a:lnTo>
                  <a:pt x="93108" y="38767"/>
                </a:lnTo>
                <a:cubicBezTo>
                  <a:pt x="93556" y="39215"/>
                  <a:pt x="94004" y="39215"/>
                  <a:pt x="94900" y="39215"/>
                </a:cubicBezTo>
                <a:cubicBezTo>
                  <a:pt x="95796" y="39215"/>
                  <a:pt x="96245" y="39215"/>
                  <a:pt x="96693" y="38767"/>
                </a:cubicBezTo>
                <a:cubicBezTo>
                  <a:pt x="97589" y="37870"/>
                  <a:pt x="97589" y="36526"/>
                  <a:pt x="96693" y="35630"/>
                </a:cubicBezTo>
                <a:lnTo>
                  <a:pt x="88626" y="27563"/>
                </a:lnTo>
                <a:lnTo>
                  <a:pt x="102519" y="13669"/>
                </a:lnTo>
                <a:lnTo>
                  <a:pt x="130306" y="41456"/>
                </a:lnTo>
                <a:lnTo>
                  <a:pt x="72492" y="97925"/>
                </a:lnTo>
                <a:close/>
              </a:path>
            </a:pathLst>
          </a:custGeom>
          <a:solidFill>
            <a:srgbClr val="231F20"/>
          </a:solidFill>
          <a:ln w="4477" cap="flat">
            <a:noFill/>
            <a:prstDash val="solid"/>
            <a:miter/>
          </a:ln>
        </p:spPr>
        <p:txBody>
          <a:bodyPr rtlCol="0" anchor="ctr"/>
          <a:lstStyle/>
          <a:p>
            <a:endParaRPr lang="en-US"/>
          </a:p>
        </p:txBody>
      </p:sp>
      <p:grpSp>
        <p:nvGrpSpPr>
          <p:cNvPr id="2491" name="Group 2490">
            <a:extLst>
              <a:ext uri="{FF2B5EF4-FFF2-40B4-BE49-F238E27FC236}">
                <a16:creationId xmlns:a16="http://schemas.microsoft.com/office/drawing/2014/main" id="{D6FEA0DE-1B71-42F2-9CFD-9B5E343925D3}"/>
              </a:ext>
              <a:ext uri="{C183D7F6-B498-43B3-948B-1728B52AA6E4}">
                <adec:decorative xmlns:adec="http://schemas.microsoft.com/office/drawing/2017/decorative" val="1"/>
              </a:ext>
            </a:extLst>
          </p:cNvPr>
          <p:cNvGrpSpPr>
            <a:grpSpLocks noChangeAspect="1"/>
          </p:cNvGrpSpPr>
          <p:nvPr/>
        </p:nvGrpSpPr>
        <p:grpSpPr>
          <a:xfrm>
            <a:off x="8561375" y="4864358"/>
            <a:ext cx="112043" cy="152378"/>
            <a:chOff x="8617875" y="2808667"/>
            <a:chExt cx="112043" cy="152378"/>
          </a:xfrm>
        </p:grpSpPr>
        <p:sp>
          <p:nvSpPr>
            <p:cNvPr id="5391" name="Freeform: Shape 5390">
              <a:extLst>
                <a:ext uri="{FF2B5EF4-FFF2-40B4-BE49-F238E27FC236}">
                  <a16:creationId xmlns:a16="http://schemas.microsoft.com/office/drawing/2014/main" id="{87A54600-9312-4AB3-82A9-6116FF2302CF}"/>
                </a:ext>
              </a:extLst>
            </p:cNvPr>
            <p:cNvSpPr/>
            <p:nvPr/>
          </p:nvSpPr>
          <p:spPr>
            <a:xfrm>
              <a:off x="8645214" y="2875893"/>
              <a:ext cx="58262" cy="58262"/>
            </a:xfrm>
            <a:custGeom>
              <a:avLst/>
              <a:gdLst>
                <a:gd name="connsiteX0" fmla="*/ 2241 w 58262"/>
                <a:gd name="connsiteY0" fmla="*/ 31372 h 58262"/>
                <a:gd name="connsiteX1" fmla="*/ 26890 w 58262"/>
                <a:gd name="connsiteY1" fmla="*/ 31372 h 58262"/>
                <a:gd name="connsiteX2" fmla="*/ 26890 w 58262"/>
                <a:gd name="connsiteY2" fmla="*/ 56021 h 58262"/>
                <a:gd name="connsiteX3" fmla="*/ 29131 w 58262"/>
                <a:gd name="connsiteY3" fmla="*/ 58262 h 58262"/>
                <a:gd name="connsiteX4" fmla="*/ 31372 w 58262"/>
                <a:gd name="connsiteY4" fmla="*/ 56021 h 58262"/>
                <a:gd name="connsiteX5" fmla="*/ 31372 w 58262"/>
                <a:gd name="connsiteY5" fmla="*/ 31372 h 58262"/>
                <a:gd name="connsiteX6" fmla="*/ 56021 w 58262"/>
                <a:gd name="connsiteY6" fmla="*/ 31372 h 58262"/>
                <a:gd name="connsiteX7" fmla="*/ 58262 w 58262"/>
                <a:gd name="connsiteY7" fmla="*/ 29131 h 58262"/>
                <a:gd name="connsiteX8" fmla="*/ 56021 w 58262"/>
                <a:gd name="connsiteY8" fmla="*/ 26890 h 58262"/>
                <a:gd name="connsiteX9" fmla="*/ 31372 w 58262"/>
                <a:gd name="connsiteY9" fmla="*/ 26890 h 58262"/>
                <a:gd name="connsiteX10" fmla="*/ 31372 w 58262"/>
                <a:gd name="connsiteY10" fmla="*/ 2241 h 58262"/>
                <a:gd name="connsiteX11" fmla="*/ 29131 w 58262"/>
                <a:gd name="connsiteY11" fmla="*/ 0 h 58262"/>
                <a:gd name="connsiteX12" fmla="*/ 26890 w 58262"/>
                <a:gd name="connsiteY12" fmla="*/ 2241 h 58262"/>
                <a:gd name="connsiteX13" fmla="*/ 26890 w 58262"/>
                <a:gd name="connsiteY13" fmla="*/ 26890 h 58262"/>
                <a:gd name="connsiteX14" fmla="*/ 2241 w 58262"/>
                <a:gd name="connsiteY14" fmla="*/ 26890 h 58262"/>
                <a:gd name="connsiteX15" fmla="*/ 0 w 58262"/>
                <a:gd name="connsiteY15" fmla="*/ 29131 h 58262"/>
                <a:gd name="connsiteX16" fmla="*/ 2241 w 58262"/>
                <a:gd name="connsiteY16" fmla="*/ 3137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 h="58262">
                  <a:moveTo>
                    <a:pt x="2241" y="31372"/>
                  </a:moveTo>
                  <a:lnTo>
                    <a:pt x="26890" y="31372"/>
                  </a:lnTo>
                  <a:lnTo>
                    <a:pt x="26890" y="56021"/>
                  </a:lnTo>
                  <a:cubicBezTo>
                    <a:pt x="26890" y="57366"/>
                    <a:pt x="27786" y="58262"/>
                    <a:pt x="29131" y="58262"/>
                  </a:cubicBezTo>
                  <a:cubicBezTo>
                    <a:pt x="30476" y="58262"/>
                    <a:pt x="31372" y="57366"/>
                    <a:pt x="31372" y="56021"/>
                  </a:cubicBezTo>
                  <a:lnTo>
                    <a:pt x="31372" y="31372"/>
                  </a:lnTo>
                  <a:lnTo>
                    <a:pt x="56021" y="31372"/>
                  </a:lnTo>
                  <a:cubicBezTo>
                    <a:pt x="57366" y="31372"/>
                    <a:pt x="58262" y="30476"/>
                    <a:pt x="58262" y="29131"/>
                  </a:cubicBezTo>
                  <a:cubicBezTo>
                    <a:pt x="58262" y="27787"/>
                    <a:pt x="57366" y="26890"/>
                    <a:pt x="56021" y="26890"/>
                  </a:cubicBezTo>
                  <a:lnTo>
                    <a:pt x="31372" y="26890"/>
                  </a:lnTo>
                  <a:lnTo>
                    <a:pt x="31372" y="2241"/>
                  </a:lnTo>
                  <a:cubicBezTo>
                    <a:pt x="31372" y="896"/>
                    <a:pt x="30476" y="0"/>
                    <a:pt x="29131" y="0"/>
                  </a:cubicBezTo>
                  <a:cubicBezTo>
                    <a:pt x="27786" y="0"/>
                    <a:pt x="26890" y="896"/>
                    <a:pt x="26890" y="2241"/>
                  </a:cubicBezTo>
                  <a:lnTo>
                    <a:pt x="26890" y="26890"/>
                  </a:lnTo>
                  <a:lnTo>
                    <a:pt x="2241" y="26890"/>
                  </a:lnTo>
                  <a:cubicBezTo>
                    <a:pt x="896" y="26890"/>
                    <a:pt x="0" y="27787"/>
                    <a:pt x="0" y="29131"/>
                  </a:cubicBezTo>
                  <a:cubicBezTo>
                    <a:pt x="0" y="30476"/>
                    <a:pt x="896" y="31372"/>
                    <a:pt x="2241" y="31372"/>
                  </a:cubicBezTo>
                  <a:close/>
                </a:path>
              </a:pathLst>
            </a:custGeom>
            <a:solidFill>
              <a:srgbClr val="231F20"/>
            </a:solidFill>
            <a:ln w="4477" cap="flat">
              <a:noFill/>
              <a:prstDash val="solid"/>
              <a:miter/>
            </a:ln>
          </p:spPr>
          <p:txBody>
            <a:bodyPr rtlCol="0" anchor="ctr"/>
            <a:lstStyle/>
            <a:p>
              <a:endParaRPr lang="en-US"/>
            </a:p>
          </p:txBody>
        </p:sp>
        <p:sp>
          <p:nvSpPr>
            <p:cNvPr id="5392" name="Freeform: Shape 5391">
              <a:extLst>
                <a:ext uri="{FF2B5EF4-FFF2-40B4-BE49-F238E27FC236}">
                  <a16:creationId xmlns:a16="http://schemas.microsoft.com/office/drawing/2014/main" id="{BAD77FF3-0889-4B41-92F2-1F62165CCD0D}"/>
                </a:ext>
              </a:extLst>
            </p:cNvPr>
            <p:cNvSpPr/>
            <p:nvPr/>
          </p:nvSpPr>
          <p:spPr>
            <a:xfrm>
              <a:off x="8617875" y="2808667"/>
              <a:ext cx="112043" cy="152378"/>
            </a:xfrm>
            <a:custGeom>
              <a:avLst/>
              <a:gdLst>
                <a:gd name="connsiteX0" fmla="*/ 110250 w 112042"/>
                <a:gd name="connsiteY0" fmla="*/ 0 h 152377"/>
                <a:gd name="connsiteX1" fmla="*/ 18375 w 112042"/>
                <a:gd name="connsiteY1" fmla="*/ 0 h 152377"/>
                <a:gd name="connsiteX2" fmla="*/ 448 w 112042"/>
                <a:gd name="connsiteY2" fmla="*/ 14790 h 152377"/>
                <a:gd name="connsiteX3" fmla="*/ 0 w 112042"/>
                <a:gd name="connsiteY3" fmla="*/ 16134 h 152377"/>
                <a:gd name="connsiteX4" fmla="*/ 0 w 112042"/>
                <a:gd name="connsiteY4" fmla="*/ 135347 h 152377"/>
                <a:gd name="connsiteX5" fmla="*/ 17030 w 112042"/>
                <a:gd name="connsiteY5" fmla="*/ 152378 h 152377"/>
                <a:gd name="connsiteX6" fmla="*/ 109802 w 112042"/>
                <a:gd name="connsiteY6" fmla="*/ 152378 h 152377"/>
                <a:gd name="connsiteX7" fmla="*/ 112043 w 112042"/>
                <a:gd name="connsiteY7" fmla="*/ 150137 h 152377"/>
                <a:gd name="connsiteX8" fmla="*/ 112043 w 112042"/>
                <a:gd name="connsiteY8" fmla="*/ 34509 h 152377"/>
                <a:gd name="connsiteX9" fmla="*/ 112043 w 112042"/>
                <a:gd name="connsiteY9" fmla="*/ 2241 h 152377"/>
                <a:gd name="connsiteX10" fmla="*/ 110250 w 112042"/>
                <a:gd name="connsiteY10" fmla="*/ 0 h 152377"/>
                <a:gd name="connsiteX11" fmla="*/ 18823 w 112042"/>
                <a:gd name="connsiteY11" fmla="*/ 4482 h 152377"/>
                <a:gd name="connsiteX12" fmla="*/ 108457 w 112042"/>
                <a:gd name="connsiteY12" fmla="*/ 4482 h 152377"/>
                <a:gd name="connsiteX13" fmla="*/ 108457 w 112042"/>
                <a:gd name="connsiteY13" fmla="*/ 32268 h 152377"/>
                <a:gd name="connsiteX14" fmla="*/ 18823 w 112042"/>
                <a:gd name="connsiteY14" fmla="*/ 32268 h 152377"/>
                <a:gd name="connsiteX15" fmla="*/ 5378 w 112042"/>
                <a:gd name="connsiteY15" fmla="*/ 18375 h 152377"/>
                <a:gd name="connsiteX16" fmla="*/ 18823 w 112042"/>
                <a:gd name="connsiteY16" fmla="*/ 4482 h 152377"/>
                <a:gd name="connsiteX17" fmla="*/ 4930 w 112042"/>
                <a:gd name="connsiteY17" fmla="*/ 135347 h 152377"/>
                <a:gd name="connsiteX18" fmla="*/ 4930 w 112042"/>
                <a:gd name="connsiteY18" fmla="*/ 30476 h 152377"/>
                <a:gd name="connsiteX19" fmla="*/ 18375 w 112042"/>
                <a:gd name="connsiteY19" fmla="*/ 36750 h 152377"/>
                <a:gd name="connsiteX20" fmla="*/ 108009 w 112042"/>
                <a:gd name="connsiteY20" fmla="*/ 36750 h 152377"/>
                <a:gd name="connsiteX21" fmla="*/ 108009 w 112042"/>
                <a:gd name="connsiteY21" fmla="*/ 147896 h 152377"/>
                <a:gd name="connsiteX22" fmla="*/ 17479 w 112042"/>
                <a:gd name="connsiteY22" fmla="*/ 147896 h 152377"/>
                <a:gd name="connsiteX23" fmla="*/ 4930 w 112042"/>
                <a:gd name="connsiteY23" fmla="*/ 13534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042" h="152377">
                  <a:moveTo>
                    <a:pt x="110250" y="0"/>
                  </a:moveTo>
                  <a:lnTo>
                    <a:pt x="18375" y="0"/>
                  </a:lnTo>
                  <a:cubicBezTo>
                    <a:pt x="9412" y="0"/>
                    <a:pt x="2241" y="6274"/>
                    <a:pt x="448" y="14790"/>
                  </a:cubicBezTo>
                  <a:cubicBezTo>
                    <a:pt x="448" y="15238"/>
                    <a:pt x="0" y="15686"/>
                    <a:pt x="0" y="16134"/>
                  </a:cubicBezTo>
                  <a:lnTo>
                    <a:pt x="0" y="135347"/>
                  </a:lnTo>
                  <a:cubicBezTo>
                    <a:pt x="0" y="144759"/>
                    <a:pt x="7619" y="152378"/>
                    <a:pt x="17030" y="152378"/>
                  </a:cubicBezTo>
                  <a:lnTo>
                    <a:pt x="109802" y="152378"/>
                  </a:lnTo>
                  <a:cubicBezTo>
                    <a:pt x="111146" y="152378"/>
                    <a:pt x="112043" y="151482"/>
                    <a:pt x="112043" y="150137"/>
                  </a:cubicBezTo>
                  <a:lnTo>
                    <a:pt x="112043" y="34509"/>
                  </a:lnTo>
                  <a:lnTo>
                    <a:pt x="112043" y="2241"/>
                  </a:lnTo>
                  <a:cubicBezTo>
                    <a:pt x="112491" y="896"/>
                    <a:pt x="111594" y="0"/>
                    <a:pt x="110250" y="0"/>
                  </a:cubicBezTo>
                  <a:close/>
                  <a:moveTo>
                    <a:pt x="18823" y="4482"/>
                  </a:moveTo>
                  <a:lnTo>
                    <a:pt x="108457" y="4482"/>
                  </a:lnTo>
                  <a:lnTo>
                    <a:pt x="108457" y="32268"/>
                  </a:lnTo>
                  <a:lnTo>
                    <a:pt x="18823" y="32268"/>
                  </a:lnTo>
                  <a:cubicBezTo>
                    <a:pt x="11204" y="32268"/>
                    <a:pt x="5378" y="25994"/>
                    <a:pt x="5378" y="18375"/>
                  </a:cubicBezTo>
                  <a:cubicBezTo>
                    <a:pt x="5378" y="10756"/>
                    <a:pt x="11204" y="4482"/>
                    <a:pt x="18823" y="4482"/>
                  </a:cubicBezTo>
                  <a:close/>
                  <a:moveTo>
                    <a:pt x="4930" y="135347"/>
                  </a:moveTo>
                  <a:lnTo>
                    <a:pt x="4930" y="30476"/>
                  </a:lnTo>
                  <a:cubicBezTo>
                    <a:pt x="8067" y="34509"/>
                    <a:pt x="12997" y="36750"/>
                    <a:pt x="18375" y="36750"/>
                  </a:cubicBezTo>
                  <a:lnTo>
                    <a:pt x="108009" y="36750"/>
                  </a:lnTo>
                  <a:lnTo>
                    <a:pt x="108009" y="147896"/>
                  </a:lnTo>
                  <a:lnTo>
                    <a:pt x="17479" y="147896"/>
                  </a:lnTo>
                  <a:cubicBezTo>
                    <a:pt x="10756" y="147896"/>
                    <a:pt x="4930" y="142070"/>
                    <a:pt x="4930" y="135347"/>
                  </a:cubicBezTo>
                  <a:close/>
                </a:path>
              </a:pathLst>
            </a:custGeom>
            <a:solidFill>
              <a:srgbClr val="231F20"/>
            </a:solidFill>
            <a:ln w="4477" cap="flat">
              <a:noFill/>
              <a:prstDash val="solid"/>
              <a:miter/>
            </a:ln>
          </p:spPr>
          <p:txBody>
            <a:bodyPr rtlCol="0" anchor="ctr"/>
            <a:lstStyle/>
            <a:p>
              <a:endParaRPr lang="en-US"/>
            </a:p>
          </p:txBody>
        </p:sp>
      </p:grpSp>
      <p:sp>
        <p:nvSpPr>
          <p:cNvPr id="2492" name="Freeform: Shape 2491">
            <a:extLst>
              <a:ext uri="{FF2B5EF4-FFF2-40B4-BE49-F238E27FC236}">
                <a16:creationId xmlns:a16="http://schemas.microsoft.com/office/drawing/2014/main" id="{6B21CE96-39E0-4D66-8BBF-1A84C9E42CA4}"/>
              </a:ext>
              <a:ext uri="{C183D7F6-B498-43B3-948B-1728B52AA6E4}">
                <adec:decorative xmlns:adec="http://schemas.microsoft.com/office/drawing/2017/decorative" val="1"/>
              </a:ext>
            </a:extLst>
          </p:cNvPr>
          <p:cNvSpPr>
            <a:spLocks noChangeAspect="1"/>
          </p:cNvSpPr>
          <p:nvPr/>
        </p:nvSpPr>
        <p:spPr>
          <a:xfrm>
            <a:off x="8274098" y="4864358"/>
            <a:ext cx="152378" cy="152378"/>
          </a:xfrm>
          <a:custGeom>
            <a:avLst/>
            <a:gdLst>
              <a:gd name="connsiteX0" fmla="*/ 96357 w 152377"/>
              <a:gd name="connsiteY0" fmla="*/ 152378 h 152377"/>
              <a:gd name="connsiteX1" fmla="*/ 56021 w 152377"/>
              <a:gd name="connsiteY1" fmla="*/ 152378 h 152377"/>
              <a:gd name="connsiteX2" fmla="*/ 53780 w 152377"/>
              <a:gd name="connsiteY2" fmla="*/ 150137 h 152377"/>
              <a:gd name="connsiteX3" fmla="*/ 53780 w 152377"/>
              <a:gd name="connsiteY3" fmla="*/ 98597 h 152377"/>
              <a:gd name="connsiteX4" fmla="*/ 2241 w 152377"/>
              <a:gd name="connsiteY4" fmla="*/ 98597 h 152377"/>
              <a:gd name="connsiteX5" fmla="*/ 0 w 152377"/>
              <a:gd name="connsiteY5" fmla="*/ 96357 h 152377"/>
              <a:gd name="connsiteX6" fmla="*/ 0 w 152377"/>
              <a:gd name="connsiteY6" fmla="*/ 56021 h 152377"/>
              <a:gd name="connsiteX7" fmla="*/ 2241 w 152377"/>
              <a:gd name="connsiteY7" fmla="*/ 53780 h 152377"/>
              <a:gd name="connsiteX8" fmla="*/ 53780 w 152377"/>
              <a:gd name="connsiteY8" fmla="*/ 53780 h 152377"/>
              <a:gd name="connsiteX9" fmla="*/ 53780 w 152377"/>
              <a:gd name="connsiteY9" fmla="*/ 2241 h 152377"/>
              <a:gd name="connsiteX10" fmla="*/ 56021 w 152377"/>
              <a:gd name="connsiteY10" fmla="*/ 0 h 152377"/>
              <a:gd name="connsiteX11" fmla="*/ 96357 w 152377"/>
              <a:gd name="connsiteY11" fmla="*/ 0 h 152377"/>
              <a:gd name="connsiteX12" fmla="*/ 98597 w 152377"/>
              <a:gd name="connsiteY12" fmla="*/ 2241 h 152377"/>
              <a:gd name="connsiteX13" fmla="*/ 98597 w 152377"/>
              <a:gd name="connsiteY13" fmla="*/ 53780 h 152377"/>
              <a:gd name="connsiteX14" fmla="*/ 150137 w 152377"/>
              <a:gd name="connsiteY14" fmla="*/ 53780 h 152377"/>
              <a:gd name="connsiteX15" fmla="*/ 152378 w 152377"/>
              <a:gd name="connsiteY15" fmla="*/ 56021 h 152377"/>
              <a:gd name="connsiteX16" fmla="*/ 152378 w 152377"/>
              <a:gd name="connsiteY16" fmla="*/ 96357 h 152377"/>
              <a:gd name="connsiteX17" fmla="*/ 150137 w 152377"/>
              <a:gd name="connsiteY17" fmla="*/ 98597 h 152377"/>
              <a:gd name="connsiteX18" fmla="*/ 98597 w 152377"/>
              <a:gd name="connsiteY18" fmla="*/ 98597 h 152377"/>
              <a:gd name="connsiteX19" fmla="*/ 98597 w 152377"/>
              <a:gd name="connsiteY19" fmla="*/ 150137 h 152377"/>
              <a:gd name="connsiteX20" fmla="*/ 96357 w 152377"/>
              <a:gd name="connsiteY20" fmla="*/ 152378 h 152377"/>
              <a:gd name="connsiteX21" fmla="*/ 58262 w 152377"/>
              <a:gd name="connsiteY21" fmla="*/ 147896 h 152377"/>
              <a:gd name="connsiteX22" fmla="*/ 94116 w 152377"/>
              <a:gd name="connsiteY22" fmla="*/ 147896 h 152377"/>
              <a:gd name="connsiteX23" fmla="*/ 94116 w 152377"/>
              <a:gd name="connsiteY23" fmla="*/ 96357 h 152377"/>
              <a:gd name="connsiteX24" fmla="*/ 96357 w 152377"/>
              <a:gd name="connsiteY24" fmla="*/ 94116 h 152377"/>
              <a:gd name="connsiteX25" fmla="*/ 147896 w 152377"/>
              <a:gd name="connsiteY25" fmla="*/ 94116 h 152377"/>
              <a:gd name="connsiteX26" fmla="*/ 147896 w 152377"/>
              <a:gd name="connsiteY26" fmla="*/ 58262 h 152377"/>
              <a:gd name="connsiteX27" fmla="*/ 96357 w 152377"/>
              <a:gd name="connsiteY27" fmla="*/ 58262 h 152377"/>
              <a:gd name="connsiteX28" fmla="*/ 94116 w 152377"/>
              <a:gd name="connsiteY28" fmla="*/ 56021 h 152377"/>
              <a:gd name="connsiteX29" fmla="*/ 94116 w 152377"/>
              <a:gd name="connsiteY29" fmla="*/ 4482 h 152377"/>
              <a:gd name="connsiteX30" fmla="*/ 58262 w 152377"/>
              <a:gd name="connsiteY30" fmla="*/ 4482 h 152377"/>
              <a:gd name="connsiteX31" fmla="*/ 58262 w 152377"/>
              <a:gd name="connsiteY31" fmla="*/ 56021 h 152377"/>
              <a:gd name="connsiteX32" fmla="*/ 56021 w 152377"/>
              <a:gd name="connsiteY32" fmla="*/ 58262 h 152377"/>
              <a:gd name="connsiteX33" fmla="*/ 4482 w 152377"/>
              <a:gd name="connsiteY33" fmla="*/ 58262 h 152377"/>
              <a:gd name="connsiteX34" fmla="*/ 4482 w 152377"/>
              <a:gd name="connsiteY34" fmla="*/ 94116 h 152377"/>
              <a:gd name="connsiteX35" fmla="*/ 56021 w 152377"/>
              <a:gd name="connsiteY35" fmla="*/ 94116 h 152377"/>
              <a:gd name="connsiteX36" fmla="*/ 58262 w 152377"/>
              <a:gd name="connsiteY36" fmla="*/ 96357 h 152377"/>
              <a:gd name="connsiteX37" fmla="*/ 58262 w 152377"/>
              <a:gd name="connsiteY37"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152377">
                <a:moveTo>
                  <a:pt x="96357" y="152378"/>
                </a:moveTo>
                <a:lnTo>
                  <a:pt x="56021" y="152378"/>
                </a:lnTo>
                <a:cubicBezTo>
                  <a:pt x="54677" y="152378"/>
                  <a:pt x="53780" y="151482"/>
                  <a:pt x="53780" y="150137"/>
                </a:cubicBezTo>
                <a:lnTo>
                  <a:pt x="53780" y="98597"/>
                </a:lnTo>
                <a:lnTo>
                  <a:pt x="2241" y="98597"/>
                </a:lnTo>
                <a:cubicBezTo>
                  <a:pt x="896" y="98597"/>
                  <a:pt x="0" y="97701"/>
                  <a:pt x="0" y="96357"/>
                </a:cubicBezTo>
                <a:lnTo>
                  <a:pt x="0" y="56021"/>
                </a:lnTo>
                <a:cubicBezTo>
                  <a:pt x="0" y="54677"/>
                  <a:pt x="896" y="53780"/>
                  <a:pt x="2241" y="53780"/>
                </a:cubicBezTo>
                <a:lnTo>
                  <a:pt x="53780" y="53780"/>
                </a:lnTo>
                <a:lnTo>
                  <a:pt x="53780" y="2241"/>
                </a:lnTo>
                <a:cubicBezTo>
                  <a:pt x="53780" y="896"/>
                  <a:pt x="54677" y="0"/>
                  <a:pt x="56021" y="0"/>
                </a:cubicBezTo>
                <a:lnTo>
                  <a:pt x="96357" y="0"/>
                </a:lnTo>
                <a:cubicBezTo>
                  <a:pt x="97701" y="0"/>
                  <a:pt x="98597" y="896"/>
                  <a:pt x="98597" y="2241"/>
                </a:cubicBezTo>
                <a:lnTo>
                  <a:pt x="98597" y="53780"/>
                </a:lnTo>
                <a:lnTo>
                  <a:pt x="150137" y="53780"/>
                </a:lnTo>
                <a:cubicBezTo>
                  <a:pt x="151481" y="53780"/>
                  <a:pt x="152378" y="54677"/>
                  <a:pt x="152378" y="56021"/>
                </a:cubicBezTo>
                <a:lnTo>
                  <a:pt x="152378" y="96357"/>
                </a:lnTo>
                <a:cubicBezTo>
                  <a:pt x="152378" y="97701"/>
                  <a:pt x="151481" y="98597"/>
                  <a:pt x="150137" y="98597"/>
                </a:cubicBezTo>
                <a:lnTo>
                  <a:pt x="98597" y="98597"/>
                </a:lnTo>
                <a:lnTo>
                  <a:pt x="98597" y="150137"/>
                </a:lnTo>
                <a:cubicBezTo>
                  <a:pt x="98597" y="151482"/>
                  <a:pt x="97701" y="152378"/>
                  <a:pt x="96357" y="152378"/>
                </a:cubicBezTo>
                <a:close/>
                <a:moveTo>
                  <a:pt x="58262" y="147896"/>
                </a:moveTo>
                <a:lnTo>
                  <a:pt x="94116" y="147896"/>
                </a:lnTo>
                <a:lnTo>
                  <a:pt x="94116" y="96357"/>
                </a:lnTo>
                <a:cubicBezTo>
                  <a:pt x="94116" y="95012"/>
                  <a:pt x="95012" y="94116"/>
                  <a:pt x="96357" y="94116"/>
                </a:cubicBezTo>
                <a:lnTo>
                  <a:pt x="147896" y="94116"/>
                </a:lnTo>
                <a:lnTo>
                  <a:pt x="147896" y="58262"/>
                </a:lnTo>
                <a:lnTo>
                  <a:pt x="96357" y="58262"/>
                </a:lnTo>
                <a:cubicBezTo>
                  <a:pt x="95012" y="58262"/>
                  <a:pt x="94116" y="57366"/>
                  <a:pt x="94116" y="56021"/>
                </a:cubicBezTo>
                <a:lnTo>
                  <a:pt x="94116" y="4482"/>
                </a:lnTo>
                <a:lnTo>
                  <a:pt x="58262" y="4482"/>
                </a:lnTo>
                <a:lnTo>
                  <a:pt x="58262" y="56021"/>
                </a:lnTo>
                <a:cubicBezTo>
                  <a:pt x="58262" y="57366"/>
                  <a:pt x="57366" y="58262"/>
                  <a:pt x="56021" y="58262"/>
                </a:cubicBezTo>
                <a:lnTo>
                  <a:pt x="4482" y="58262"/>
                </a:lnTo>
                <a:lnTo>
                  <a:pt x="4482" y="94116"/>
                </a:lnTo>
                <a:lnTo>
                  <a:pt x="56021" y="94116"/>
                </a:lnTo>
                <a:cubicBezTo>
                  <a:pt x="57366" y="94116"/>
                  <a:pt x="58262" y="95012"/>
                  <a:pt x="58262" y="96357"/>
                </a:cubicBezTo>
                <a:lnTo>
                  <a:pt x="58262" y="147896"/>
                </a:lnTo>
                <a:close/>
              </a:path>
            </a:pathLst>
          </a:custGeom>
          <a:solidFill>
            <a:srgbClr val="231F20"/>
          </a:solidFill>
          <a:ln w="4477" cap="flat">
            <a:noFill/>
            <a:prstDash val="solid"/>
            <a:miter/>
          </a:ln>
        </p:spPr>
        <p:txBody>
          <a:bodyPr rtlCol="0" anchor="ctr"/>
          <a:lstStyle/>
          <a:p>
            <a:endParaRPr lang="en-US"/>
          </a:p>
        </p:txBody>
      </p:sp>
      <p:sp>
        <p:nvSpPr>
          <p:cNvPr id="2493" name="Freeform: Shape 2492">
            <a:extLst>
              <a:ext uri="{FF2B5EF4-FFF2-40B4-BE49-F238E27FC236}">
                <a16:creationId xmlns:a16="http://schemas.microsoft.com/office/drawing/2014/main" id="{5F23EC26-C737-4185-90F4-A1C3BE50FDDC}"/>
              </a:ext>
              <a:ext uri="{C183D7F6-B498-43B3-948B-1728B52AA6E4}">
                <adec:decorative xmlns:adec="http://schemas.microsoft.com/office/drawing/2017/decorative" val="1"/>
              </a:ext>
            </a:extLst>
          </p:cNvPr>
          <p:cNvSpPr>
            <a:spLocks noChangeAspect="1"/>
          </p:cNvSpPr>
          <p:nvPr/>
        </p:nvSpPr>
        <p:spPr>
          <a:xfrm>
            <a:off x="10110251" y="4896178"/>
            <a:ext cx="152378" cy="89634"/>
          </a:xfrm>
          <a:custGeom>
            <a:avLst/>
            <a:gdLst>
              <a:gd name="connsiteX0" fmla="*/ 90082 w 152377"/>
              <a:gd name="connsiteY0" fmla="*/ 92323 h 89634"/>
              <a:gd name="connsiteX1" fmla="*/ 90082 w 152377"/>
              <a:gd name="connsiteY1" fmla="*/ 92323 h 89634"/>
              <a:gd name="connsiteX2" fmla="*/ 87841 w 152377"/>
              <a:gd name="connsiteY2" fmla="*/ 90530 h 89634"/>
              <a:gd name="connsiteX3" fmla="*/ 69914 w 152377"/>
              <a:gd name="connsiteY3" fmla="*/ 11204 h 89634"/>
              <a:gd name="connsiteX4" fmla="*/ 51988 w 152377"/>
              <a:gd name="connsiteY4" fmla="*/ 71259 h 89634"/>
              <a:gd name="connsiteX5" fmla="*/ 49747 w 152377"/>
              <a:gd name="connsiteY5" fmla="*/ 73052 h 89634"/>
              <a:gd name="connsiteX6" fmla="*/ 47506 w 152377"/>
              <a:gd name="connsiteY6" fmla="*/ 71707 h 89634"/>
              <a:gd name="connsiteX7" fmla="*/ 35854 w 152377"/>
              <a:gd name="connsiteY7" fmla="*/ 42576 h 89634"/>
              <a:gd name="connsiteX8" fmla="*/ 31372 w 152377"/>
              <a:gd name="connsiteY8" fmla="*/ 52436 h 89634"/>
              <a:gd name="connsiteX9" fmla="*/ 29131 w 152377"/>
              <a:gd name="connsiteY9" fmla="*/ 53780 h 89634"/>
              <a:gd name="connsiteX10" fmla="*/ 2241 w 152377"/>
              <a:gd name="connsiteY10" fmla="*/ 53780 h 89634"/>
              <a:gd name="connsiteX11" fmla="*/ 0 w 152377"/>
              <a:gd name="connsiteY11" fmla="*/ 51540 h 89634"/>
              <a:gd name="connsiteX12" fmla="*/ 2241 w 152377"/>
              <a:gd name="connsiteY12" fmla="*/ 49299 h 89634"/>
              <a:gd name="connsiteX13" fmla="*/ 27787 w 152377"/>
              <a:gd name="connsiteY13" fmla="*/ 49299 h 89634"/>
              <a:gd name="connsiteX14" fmla="*/ 34061 w 152377"/>
              <a:gd name="connsiteY14" fmla="*/ 35854 h 89634"/>
              <a:gd name="connsiteX15" fmla="*/ 36302 w 152377"/>
              <a:gd name="connsiteY15" fmla="*/ 34509 h 89634"/>
              <a:gd name="connsiteX16" fmla="*/ 38543 w 152377"/>
              <a:gd name="connsiteY16" fmla="*/ 35854 h 89634"/>
              <a:gd name="connsiteX17" fmla="*/ 49747 w 152377"/>
              <a:gd name="connsiteY17" fmla="*/ 64088 h 89634"/>
              <a:gd name="connsiteX18" fmla="*/ 68122 w 152377"/>
              <a:gd name="connsiteY18" fmla="*/ 1793 h 89634"/>
              <a:gd name="connsiteX19" fmla="*/ 70363 w 152377"/>
              <a:gd name="connsiteY19" fmla="*/ 0 h 89634"/>
              <a:gd name="connsiteX20" fmla="*/ 72604 w 152377"/>
              <a:gd name="connsiteY20" fmla="*/ 1793 h 89634"/>
              <a:gd name="connsiteX21" fmla="*/ 90082 w 152377"/>
              <a:gd name="connsiteY21" fmla="*/ 80222 h 89634"/>
              <a:gd name="connsiteX22" fmla="*/ 101735 w 152377"/>
              <a:gd name="connsiteY22" fmla="*/ 30924 h 89634"/>
              <a:gd name="connsiteX23" fmla="*/ 103976 w 152377"/>
              <a:gd name="connsiteY23" fmla="*/ 29131 h 89634"/>
              <a:gd name="connsiteX24" fmla="*/ 106216 w 152377"/>
              <a:gd name="connsiteY24" fmla="*/ 30476 h 89634"/>
              <a:gd name="connsiteX25" fmla="*/ 117869 w 152377"/>
              <a:gd name="connsiteY25" fmla="*/ 59607 h 89634"/>
              <a:gd name="connsiteX26" fmla="*/ 122350 w 152377"/>
              <a:gd name="connsiteY26" fmla="*/ 49747 h 89634"/>
              <a:gd name="connsiteX27" fmla="*/ 124591 w 152377"/>
              <a:gd name="connsiteY27" fmla="*/ 48402 h 89634"/>
              <a:gd name="connsiteX28" fmla="*/ 151481 w 152377"/>
              <a:gd name="connsiteY28" fmla="*/ 48402 h 89634"/>
              <a:gd name="connsiteX29" fmla="*/ 153722 w 152377"/>
              <a:gd name="connsiteY29" fmla="*/ 50643 h 89634"/>
              <a:gd name="connsiteX30" fmla="*/ 151481 w 152377"/>
              <a:gd name="connsiteY30" fmla="*/ 52884 h 89634"/>
              <a:gd name="connsiteX31" fmla="*/ 125936 w 152377"/>
              <a:gd name="connsiteY31" fmla="*/ 52884 h 89634"/>
              <a:gd name="connsiteX32" fmla="*/ 119661 w 152377"/>
              <a:gd name="connsiteY32" fmla="*/ 66329 h 89634"/>
              <a:gd name="connsiteX33" fmla="*/ 117421 w 152377"/>
              <a:gd name="connsiteY33" fmla="*/ 67674 h 89634"/>
              <a:gd name="connsiteX34" fmla="*/ 115180 w 152377"/>
              <a:gd name="connsiteY34" fmla="*/ 66329 h 89634"/>
              <a:gd name="connsiteX35" fmla="*/ 104424 w 152377"/>
              <a:gd name="connsiteY35" fmla="*/ 38991 h 89634"/>
              <a:gd name="connsiteX36" fmla="*/ 92323 w 152377"/>
              <a:gd name="connsiteY36" fmla="*/ 90530 h 89634"/>
              <a:gd name="connsiteX37" fmla="*/ 90082 w 152377"/>
              <a:gd name="connsiteY37" fmla="*/ 92323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89634">
                <a:moveTo>
                  <a:pt x="90082" y="92323"/>
                </a:moveTo>
                <a:cubicBezTo>
                  <a:pt x="90082" y="92323"/>
                  <a:pt x="90082" y="92323"/>
                  <a:pt x="90082" y="92323"/>
                </a:cubicBezTo>
                <a:cubicBezTo>
                  <a:pt x="89186" y="92323"/>
                  <a:pt x="88290" y="91427"/>
                  <a:pt x="87841" y="90530"/>
                </a:cubicBezTo>
                <a:lnTo>
                  <a:pt x="69914" y="11204"/>
                </a:lnTo>
                <a:lnTo>
                  <a:pt x="51988" y="71259"/>
                </a:lnTo>
                <a:cubicBezTo>
                  <a:pt x="51540" y="72155"/>
                  <a:pt x="51091" y="72604"/>
                  <a:pt x="49747" y="73052"/>
                </a:cubicBezTo>
                <a:cubicBezTo>
                  <a:pt x="48850" y="73052"/>
                  <a:pt x="47954" y="72604"/>
                  <a:pt x="47506" y="71707"/>
                </a:cubicBezTo>
                <a:lnTo>
                  <a:pt x="35854" y="42576"/>
                </a:lnTo>
                <a:lnTo>
                  <a:pt x="31372" y="52436"/>
                </a:lnTo>
                <a:cubicBezTo>
                  <a:pt x="30924" y="53332"/>
                  <a:pt x="30027" y="53780"/>
                  <a:pt x="29131" y="53780"/>
                </a:cubicBezTo>
                <a:lnTo>
                  <a:pt x="2241" y="53780"/>
                </a:lnTo>
                <a:cubicBezTo>
                  <a:pt x="896" y="53780"/>
                  <a:pt x="0" y="52884"/>
                  <a:pt x="0" y="51540"/>
                </a:cubicBezTo>
                <a:cubicBezTo>
                  <a:pt x="0" y="50195"/>
                  <a:pt x="896" y="49299"/>
                  <a:pt x="2241" y="49299"/>
                </a:cubicBezTo>
                <a:lnTo>
                  <a:pt x="27787" y="49299"/>
                </a:lnTo>
                <a:lnTo>
                  <a:pt x="34061" y="35854"/>
                </a:lnTo>
                <a:cubicBezTo>
                  <a:pt x="34509" y="34957"/>
                  <a:pt x="35405" y="34509"/>
                  <a:pt x="36302" y="34509"/>
                </a:cubicBezTo>
                <a:cubicBezTo>
                  <a:pt x="37198" y="34509"/>
                  <a:pt x="38094" y="34957"/>
                  <a:pt x="38543" y="35854"/>
                </a:cubicBezTo>
                <a:lnTo>
                  <a:pt x="49747" y="64088"/>
                </a:lnTo>
                <a:lnTo>
                  <a:pt x="68122" y="1793"/>
                </a:lnTo>
                <a:cubicBezTo>
                  <a:pt x="68570" y="896"/>
                  <a:pt x="69466" y="0"/>
                  <a:pt x="70363" y="0"/>
                </a:cubicBezTo>
                <a:cubicBezTo>
                  <a:pt x="71259" y="0"/>
                  <a:pt x="72155" y="896"/>
                  <a:pt x="72604" y="1793"/>
                </a:cubicBezTo>
                <a:lnTo>
                  <a:pt x="90082" y="80222"/>
                </a:lnTo>
                <a:lnTo>
                  <a:pt x="101735" y="30924"/>
                </a:lnTo>
                <a:cubicBezTo>
                  <a:pt x="102183" y="30027"/>
                  <a:pt x="102631" y="29131"/>
                  <a:pt x="103976" y="29131"/>
                </a:cubicBezTo>
                <a:cubicBezTo>
                  <a:pt x="104872" y="29131"/>
                  <a:pt x="105768" y="29579"/>
                  <a:pt x="106216" y="30476"/>
                </a:cubicBezTo>
                <a:lnTo>
                  <a:pt x="117869" y="59607"/>
                </a:lnTo>
                <a:lnTo>
                  <a:pt x="122350" y="49747"/>
                </a:lnTo>
                <a:cubicBezTo>
                  <a:pt x="122798" y="48851"/>
                  <a:pt x="123695" y="48402"/>
                  <a:pt x="124591" y="48402"/>
                </a:cubicBezTo>
                <a:lnTo>
                  <a:pt x="151481" y="48402"/>
                </a:lnTo>
                <a:cubicBezTo>
                  <a:pt x="152826" y="48402"/>
                  <a:pt x="153722" y="49299"/>
                  <a:pt x="153722" y="50643"/>
                </a:cubicBezTo>
                <a:cubicBezTo>
                  <a:pt x="153722" y="51988"/>
                  <a:pt x="152826" y="52884"/>
                  <a:pt x="151481" y="52884"/>
                </a:cubicBezTo>
                <a:lnTo>
                  <a:pt x="125936" y="52884"/>
                </a:lnTo>
                <a:lnTo>
                  <a:pt x="119661" y="66329"/>
                </a:lnTo>
                <a:cubicBezTo>
                  <a:pt x="119213" y="67226"/>
                  <a:pt x="118317" y="67674"/>
                  <a:pt x="117421" y="67674"/>
                </a:cubicBezTo>
                <a:cubicBezTo>
                  <a:pt x="116524" y="67674"/>
                  <a:pt x="115628" y="67226"/>
                  <a:pt x="115180" y="66329"/>
                </a:cubicBezTo>
                <a:lnTo>
                  <a:pt x="104424" y="38991"/>
                </a:lnTo>
                <a:lnTo>
                  <a:pt x="92323" y="90530"/>
                </a:lnTo>
                <a:cubicBezTo>
                  <a:pt x="91875" y="91875"/>
                  <a:pt x="90978" y="92323"/>
                  <a:pt x="90082" y="92323"/>
                </a:cubicBezTo>
                <a:close/>
              </a:path>
            </a:pathLst>
          </a:custGeom>
          <a:solidFill>
            <a:srgbClr val="231F20"/>
          </a:solidFill>
          <a:ln w="4477" cap="flat">
            <a:noFill/>
            <a:prstDash val="solid"/>
            <a:miter/>
          </a:ln>
        </p:spPr>
        <p:txBody>
          <a:bodyPr rtlCol="0" anchor="ctr"/>
          <a:lstStyle/>
          <a:p>
            <a:endParaRPr lang="en-US"/>
          </a:p>
        </p:txBody>
      </p:sp>
      <p:grpSp>
        <p:nvGrpSpPr>
          <p:cNvPr id="2494" name="Group 2493">
            <a:extLst>
              <a:ext uri="{FF2B5EF4-FFF2-40B4-BE49-F238E27FC236}">
                <a16:creationId xmlns:a16="http://schemas.microsoft.com/office/drawing/2014/main" id="{447657AC-FB23-48AE-B4D8-6BE9DABFF795}"/>
              </a:ext>
              <a:ext uri="{C183D7F6-B498-43B3-948B-1728B52AA6E4}">
                <adec:decorative xmlns:adec="http://schemas.microsoft.com/office/drawing/2017/decorative" val="1"/>
              </a:ext>
            </a:extLst>
          </p:cNvPr>
          <p:cNvGrpSpPr>
            <a:grpSpLocks noChangeAspect="1"/>
          </p:cNvGrpSpPr>
          <p:nvPr/>
        </p:nvGrpSpPr>
        <p:grpSpPr>
          <a:xfrm>
            <a:off x="10902168" y="4891248"/>
            <a:ext cx="145207" cy="112043"/>
            <a:chOff x="10958668" y="2835557"/>
            <a:chExt cx="145207" cy="112043"/>
          </a:xfrm>
        </p:grpSpPr>
        <p:sp>
          <p:nvSpPr>
            <p:cNvPr id="5389" name="Freeform: Shape 5388">
              <a:extLst>
                <a:ext uri="{FF2B5EF4-FFF2-40B4-BE49-F238E27FC236}">
                  <a16:creationId xmlns:a16="http://schemas.microsoft.com/office/drawing/2014/main" id="{75B6B2F5-1682-4354-8CFB-4ABE436A71D8}"/>
                </a:ext>
              </a:extLst>
            </p:cNvPr>
            <p:cNvSpPr/>
            <p:nvPr/>
          </p:nvSpPr>
          <p:spPr>
            <a:xfrm>
              <a:off x="11032168" y="2855725"/>
              <a:ext cx="71707" cy="71707"/>
            </a:xfrm>
            <a:custGeom>
              <a:avLst/>
              <a:gdLst>
                <a:gd name="connsiteX0" fmla="*/ 62295 w 71707"/>
                <a:gd name="connsiteY0" fmla="*/ 61848 h 71707"/>
                <a:gd name="connsiteX1" fmla="*/ 72604 w 71707"/>
                <a:gd name="connsiteY1" fmla="*/ 36302 h 71707"/>
                <a:gd name="connsiteX2" fmla="*/ 36302 w 71707"/>
                <a:gd name="connsiteY2" fmla="*/ 0 h 71707"/>
                <a:gd name="connsiteX3" fmla="*/ 11204 w 71707"/>
                <a:gd name="connsiteY3" fmla="*/ 9860 h 71707"/>
                <a:gd name="connsiteX4" fmla="*/ 10756 w 71707"/>
                <a:gd name="connsiteY4" fmla="*/ 10308 h 71707"/>
                <a:gd name="connsiteX5" fmla="*/ 10756 w 71707"/>
                <a:gd name="connsiteY5" fmla="*/ 10756 h 71707"/>
                <a:gd name="connsiteX6" fmla="*/ 0 w 71707"/>
                <a:gd name="connsiteY6" fmla="*/ 36750 h 71707"/>
                <a:gd name="connsiteX7" fmla="*/ 36302 w 71707"/>
                <a:gd name="connsiteY7" fmla="*/ 73052 h 71707"/>
                <a:gd name="connsiteX8" fmla="*/ 62295 w 71707"/>
                <a:gd name="connsiteY8" fmla="*/ 61848 h 71707"/>
                <a:gd name="connsiteX9" fmla="*/ 62295 w 71707"/>
                <a:gd name="connsiteY9" fmla="*/ 61848 h 71707"/>
                <a:gd name="connsiteX10" fmla="*/ 62295 w 71707"/>
                <a:gd name="connsiteY10" fmla="*/ 61848 h 71707"/>
                <a:gd name="connsiteX11" fmla="*/ 68122 w 71707"/>
                <a:gd name="connsiteY11" fmla="*/ 36302 h 71707"/>
                <a:gd name="connsiteX12" fmla="*/ 60503 w 71707"/>
                <a:gd name="connsiteY12" fmla="*/ 56918 h 71707"/>
                <a:gd name="connsiteX13" fmla="*/ 15686 w 71707"/>
                <a:gd name="connsiteY13" fmla="*/ 12101 h 71707"/>
                <a:gd name="connsiteX14" fmla="*/ 36302 w 71707"/>
                <a:gd name="connsiteY14" fmla="*/ 4482 h 71707"/>
                <a:gd name="connsiteX15" fmla="*/ 68122 w 71707"/>
                <a:gd name="connsiteY15" fmla="*/ 36302 h 71707"/>
                <a:gd name="connsiteX16" fmla="*/ 4034 w 71707"/>
                <a:gd name="connsiteY16" fmla="*/ 36302 h 71707"/>
                <a:gd name="connsiteX17" fmla="*/ 12101 w 71707"/>
                <a:gd name="connsiteY17" fmla="*/ 15238 h 71707"/>
                <a:gd name="connsiteX18" fmla="*/ 57366 w 71707"/>
                <a:gd name="connsiteY18" fmla="*/ 60503 h 71707"/>
                <a:gd name="connsiteX19" fmla="*/ 36302 w 71707"/>
                <a:gd name="connsiteY19" fmla="*/ 68570 h 71707"/>
                <a:gd name="connsiteX20" fmla="*/ 4034 w 71707"/>
                <a:gd name="connsiteY20" fmla="*/ 36302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707" h="71707">
                  <a:moveTo>
                    <a:pt x="62295" y="61848"/>
                  </a:moveTo>
                  <a:cubicBezTo>
                    <a:pt x="68570" y="55125"/>
                    <a:pt x="72604" y="46162"/>
                    <a:pt x="72604" y="36302"/>
                  </a:cubicBezTo>
                  <a:cubicBezTo>
                    <a:pt x="72604" y="16134"/>
                    <a:pt x="56470" y="0"/>
                    <a:pt x="36302" y="0"/>
                  </a:cubicBezTo>
                  <a:cubicBezTo>
                    <a:pt x="26442" y="0"/>
                    <a:pt x="17927" y="4034"/>
                    <a:pt x="11204" y="9860"/>
                  </a:cubicBezTo>
                  <a:cubicBezTo>
                    <a:pt x="11204" y="9860"/>
                    <a:pt x="10756" y="9860"/>
                    <a:pt x="10756" y="10308"/>
                  </a:cubicBezTo>
                  <a:cubicBezTo>
                    <a:pt x="10756" y="10308"/>
                    <a:pt x="10756" y="10308"/>
                    <a:pt x="10756" y="10756"/>
                  </a:cubicBezTo>
                  <a:cubicBezTo>
                    <a:pt x="4034" y="17479"/>
                    <a:pt x="0" y="26442"/>
                    <a:pt x="0" y="36750"/>
                  </a:cubicBezTo>
                  <a:cubicBezTo>
                    <a:pt x="0" y="56918"/>
                    <a:pt x="16134" y="73052"/>
                    <a:pt x="36302" y="73052"/>
                  </a:cubicBezTo>
                  <a:cubicBezTo>
                    <a:pt x="46161" y="73052"/>
                    <a:pt x="55573" y="68570"/>
                    <a:pt x="62295" y="61848"/>
                  </a:cubicBezTo>
                  <a:cubicBezTo>
                    <a:pt x="61847" y="61848"/>
                    <a:pt x="61847" y="61848"/>
                    <a:pt x="62295" y="61848"/>
                  </a:cubicBezTo>
                  <a:cubicBezTo>
                    <a:pt x="62295" y="61848"/>
                    <a:pt x="62295" y="61848"/>
                    <a:pt x="62295" y="61848"/>
                  </a:cubicBezTo>
                  <a:close/>
                  <a:moveTo>
                    <a:pt x="68122" y="36302"/>
                  </a:moveTo>
                  <a:cubicBezTo>
                    <a:pt x="68122" y="44369"/>
                    <a:pt x="65433" y="51540"/>
                    <a:pt x="60503" y="56918"/>
                  </a:cubicBezTo>
                  <a:lnTo>
                    <a:pt x="15686" y="12101"/>
                  </a:lnTo>
                  <a:cubicBezTo>
                    <a:pt x="21064" y="7171"/>
                    <a:pt x="28235" y="4482"/>
                    <a:pt x="36302" y="4482"/>
                  </a:cubicBezTo>
                  <a:cubicBezTo>
                    <a:pt x="53781" y="4482"/>
                    <a:pt x="68122" y="18823"/>
                    <a:pt x="68122" y="36302"/>
                  </a:cubicBezTo>
                  <a:close/>
                  <a:moveTo>
                    <a:pt x="4034" y="36302"/>
                  </a:moveTo>
                  <a:cubicBezTo>
                    <a:pt x="4034" y="28235"/>
                    <a:pt x="7171" y="20616"/>
                    <a:pt x="12101" y="15238"/>
                  </a:cubicBezTo>
                  <a:lnTo>
                    <a:pt x="57366" y="60503"/>
                  </a:lnTo>
                  <a:cubicBezTo>
                    <a:pt x="51540" y="65433"/>
                    <a:pt x="44369" y="68570"/>
                    <a:pt x="36302" y="68570"/>
                  </a:cubicBezTo>
                  <a:cubicBezTo>
                    <a:pt x="18375" y="68570"/>
                    <a:pt x="4034" y="54229"/>
                    <a:pt x="4034" y="36302"/>
                  </a:cubicBezTo>
                  <a:close/>
                </a:path>
              </a:pathLst>
            </a:custGeom>
            <a:solidFill>
              <a:srgbClr val="231F20"/>
            </a:solidFill>
            <a:ln w="4477" cap="flat">
              <a:noFill/>
              <a:prstDash val="solid"/>
              <a:miter/>
            </a:ln>
          </p:spPr>
          <p:txBody>
            <a:bodyPr rtlCol="0" anchor="ctr"/>
            <a:lstStyle/>
            <a:p>
              <a:endParaRPr lang="en-US"/>
            </a:p>
          </p:txBody>
        </p:sp>
        <p:sp>
          <p:nvSpPr>
            <p:cNvPr id="5390" name="Freeform: Shape 5389">
              <a:extLst>
                <a:ext uri="{FF2B5EF4-FFF2-40B4-BE49-F238E27FC236}">
                  <a16:creationId xmlns:a16="http://schemas.microsoft.com/office/drawing/2014/main" id="{5C2598F8-5187-4B4A-B015-B52C9FB53869}"/>
                </a:ext>
              </a:extLst>
            </p:cNvPr>
            <p:cNvSpPr/>
            <p:nvPr/>
          </p:nvSpPr>
          <p:spPr>
            <a:xfrm>
              <a:off x="10958668" y="2835557"/>
              <a:ext cx="58262" cy="112043"/>
            </a:xfrm>
            <a:custGeom>
              <a:avLst/>
              <a:gdLst>
                <a:gd name="connsiteX0" fmla="*/ 29131 w 58262"/>
                <a:gd name="connsiteY0" fmla="*/ 0 h 112042"/>
                <a:gd name="connsiteX1" fmla="*/ 0 w 58262"/>
                <a:gd name="connsiteY1" fmla="*/ 26442 h 112042"/>
                <a:gd name="connsiteX2" fmla="*/ 0 w 58262"/>
                <a:gd name="connsiteY2" fmla="*/ 86049 h 112042"/>
                <a:gd name="connsiteX3" fmla="*/ 29131 w 58262"/>
                <a:gd name="connsiteY3" fmla="*/ 112491 h 112042"/>
                <a:gd name="connsiteX4" fmla="*/ 58262 w 58262"/>
                <a:gd name="connsiteY4" fmla="*/ 86049 h 112042"/>
                <a:gd name="connsiteX5" fmla="*/ 58262 w 58262"/>
                <a:gd name="connsiteY5" fmla="*/ 26442 h 112042"/>
                <a:gd name="connsiteX6" fmla="*/ 29131 w 58262"/>
                <a:gd name="connsiteY6" fmla="*/ 0 h 112042"/>
                <a:gd name="connsiteX7" fmla="*/ 29131 w 58262"/>
                <a:gd name="connsiteY7" fmla="*/ 107561 h 112042"/>
                <a:gd name="connsiteX8" fmla="*/ 4482 w 58262"/>
                <a:gd name="connsiteY8" fmla="*/ 85601 h 112042"/>
                <a:gd name="connsiteX9" fmla="*/ 4482 w 58262"/>
                <a:gd name="connsiteY9" fmla="*/ 58262 h 112042"/>
                <a:gd name="connsiteX10" fmla="*/ 53780 w 58262"/>
                <a:gd name="connsiteY10" fmla="*/ 58262 h 112042"/>
                <a:gd name="connsiteX11" fmla="*/ 53780 w 58262"/>
                <a:gd name="connsiteY11" fmla="*/ 85601 h 112042"/>
                <a:gd name="connsiteX12" fmla="*/ 29131 w 58262"/>
                <a:gd name="connsiteY12" fmla="*/ 107561 h 112042"/>
                <a:gd name="connsiteX13" fmla="*/ 53780 w 58262"/>
                <a:gd name="connsiteY13" fmla="*/ 53780 h 112042"/>
                <a:gd name="connsiteX14" fmla="*/ 4482 w 58262"/>
                <a:gd name="connsiteY14" fmla="*/ 53780 h 112042"/>
                <a:gd name="connsiteX15" fmla="*/ 4482 w 58262"/>
                <a:gd name="connsiteY15" fmla="*/ 26442 h 112042"/>
                <a:gd name="connsiteX16" fmla="*/ 29131 w 58262"/>
                <a:gd name="connsiteY16" fmla="*/ 4482 h 112042"/>
                <a:gd name="connsiteX17" fmla="*/ 53780 w 58262"/>
                <a:gd name="connsiteY17" fmla="*/ 26442 h 112042"/>
                <a:gd name="connsiteX18" fmla="*/ 53780 w 58262"/>
                <a:gd name="connsiteY18" fmla="*/ 53780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62" h="112042">
                  <a:moveTo>
                    <a:pt x="29131" y="0"/>
                  </a:moveTo>
                  <a:cubicBezTo>
                    <a:pt x="13445" y="0"/>
                    <a:pt x="0" y="12101"/>
                    <a:pt x="0" y="26442"/>
                  </a:cubicBezTo>
                  <a:lnTo>
                    <a:pt x="0" y="86049"/>
                  </a:lnTo>
                  <a:cubicBezTo>
                    <a:pt x="0" y="100390"/>
                    <a:pt x="13445" y="112491"/>
                    <a:pt x="29131" y="112491"/>
                  </a:cubicBezTo>
                  <a:cubicBezTo>
                    <a:pt x="44817" y="112491"/>
                    <a:pt x="58262" y="100390"/>
                    <a:pt x="58262" y="86049"/>
                  </a:cubicBezTo>
                  <a:lnTo>
                    <a:pt x="58262" y="26442"/>
                  </a:lnTo>
                  <a:cubicBezTo>
                    <a:pt x="58262" y="12101"/>
                    <a:pt x="44817" y="0"/>
                    <a:pt x="29131" y="0"/>
                  </a:cubicBezTo>
                  <a:close/>
                  <a:moveTo>
                    <a:pt x="29131" y="107561"/>
                  </a:moveTo>
                  <a:cubicBezTo>
                    <a:pt x="16134" y="107561"/>
                    <a:pt x="4482" y="97253"/>
                    <a:pt x="4482" y="85601"/>
                  </a:cubicBezTo>
                  <a:lnTo>
                    <a:pt x="4482" y="58262"/>
                  </a:lnTo>
                  <a:lnTo>
                    <a:pt x="53780" y="58262"/>
                  </a:lnTo>
                  <a:lnTo>
                    <a:pt x="53780" y="85601"/>
                  </a:lnTo>
                  <a:cubicBezTo>
                    <a:pt x="53780" y="97253"/>
                    <a:pt x="42128" y="107561"/>
                    <a:pt x="29131" y="107561"/>
                  </a:cubicBezTo>
                  <a:close/>
                  <a:moveTo>
                    <a:pt x="53780" y="53780"/>
                  </a:moveTo>
                  <a:lnTo>
                    <a:pt x="4482" y="53780"/>
                  </a:lnTo>
                  <a:lnTo>
                    <a:pt x="4482" y="26442"/>
                  </a:lnTo>
                  <a:cubicBezTo>
                    <a:pt x="4482" y="14790"/>
                    <a:pt x="16134" y="4482"/>
                    <a:pt x="29131" y="4482"/>
                  </a:cubicBezTo>
                  <a:cubicBezTo>
                    <a:pt x="42128" y="4482"/>
                    <a:pt x="53780" y="14790"/>
                    <a:pt x="53780" y="26442"/>
                  </a:cubicBezTo>
                  <a:lnTo>
                    <a:pt x="53780" y="53780"/>
                  </a:lnTo>
                  <a:close/>
                </a:path>
              </a:pathLst>
            </a:custGeom>
            <a:solidFill>
              <a:srgbClr val="231F20"/>
            </a:solidFill>
            <a:ln w="4477" cap="flat">
              <a:noFill/>
              <a:prstDash val="solid"/>
              <a:miter/>
            </a:ln>
          </p:spPr>
          <p:txBody>
            <a:bodyPr rtlCol="0" anchor="ctr"/>
            <a:lstStyle/>
            <a:p>
              <a:endParaRPr lang="en-US"/>
            </a:p>
          </p:txBody>
        </p:sp>
      </p:grpSp>
      <p:grpSp>
        <p:nvGrpSpPr>
          <p:cNvPr id="2495" name="Group 2494">
            <a:extLst>
              <a:ext uri="{FF2B5EF4-FFF2-40B4-BE49-F238E27FC236}">
                <a16:creationId xmlns:a16="http://schemas.microsoft.com/office/drawing/2014/main" id="{EAC3F753-CBE9-4760-BBF2-050C93C80D67}"/>
              </a:ext>
              <a:ext uri="{C183D7F6-B498-43B3-948B-1728B52AA6E4}">
                <adec:decorative xmlns:adec="http://schemas.microsoft.com/office/drawing/2017/decorative" val="1"/>
              </a:ext>
            </a:extLst>
          </p:cNvPr>
          <p:cNvGrpSpPr>
            <a:grpSpLocks noChangeAspect="1"/>
          </p:cNvGrpSpPr>
          <p:nvPr/>
        </p:nvGrpSpPr>
        <p:grpSpPr>
          <a:xfrm>
            <a:off x="10645366" y="4520163"/>
            <a:ext cx="143864" cy="147897"/>
            <a:chOff x="10701866" y="2464472"/>
            <a:chExt cx="143864" cy="147897"/>
          </a:xfrm>
        </p:grpSpPr>
        <p:sp>
          <p:nvSpPr>
            <p:cNvPr id="5381" name="Freeform: Shape 5380">
              <a:extLst>
                <a:ext uri="{FF2B5EF4-FFF2-40B4-BE49-F238E27FC236}">
                  <a16:creationId xmlns:a16="http://schemas.microsoft.com/office/drawing/2014/main" id="{58E84DE7-ED3F-4F15-A368-EC45C2BBF422}"/>
                </a:ext>
              </a:extLst>
            </p:cNvPr>
            <p:cNvSpPr/>
            <p:nvPr/>
          </p:nvSpPr>
          <p:spPr>
            <a:xfrm>
              <a:off x="10724723" y="2500326"/>
              <a:ext cx="98597" cy="112043"/>
            </a:xfrm>
            <a:custGeom>
              <a:avLst/>
              <a:gdLst>
                <a:gd name="connsiteX0" fmla="*/ 90082 w 98597"/>
                <a:gd name="connsiteY0" fmla="*/ 80671 h 112042"/>
                <a:gd name="connsiteX1" fmla="*/ 85152 w 98597"/>
                <a:gd name="connsiteY1" fmla="*/ 80671 h 112042"/>
                <a:gd name="connsiteX2" fmla="*/ 85152 w 98597"/>
                <a:gd name="connsiteY2" fmla="*/ 37646 h 112042"/>
                <a:gd name="connsiteX3" fmla="*/ 49299 w 98597"/>
                <a:gd name="connsiteY3" fmla="*/ 0 h 112042"/>
                <a:gd name="connsiteX4" fmla="*/ 13445 w 98597"/>
                <a:gd name="connsiteY4" fmla="*/ 37646 h 112042"/>
                <a:gd name="connsiteX5" fmla="*/ 13445 w 98597"/>
                <a:gd name="connsiteY5" fmla="*/ 80671 h 112042"/>
                <a:gd name="connsiteX6" fmla="*/ 8515 w 98597"/>
                <a:gd name="connsiteY6" fmla="*/ 80671 h 112042"/>
                <a:gd name="connsiteX7" fmla="*/ 0 w 98597"/>
                <a:gd name="connsiteY7" fmla="*/ 89186 h 112042"/>
                <a:gd name="connsiteX8" fmla="*/ 0 w 98597"/>
                <a:gd name="connsiteY8" fmla="*/ 103527 h 112042"/>
                <a:gd name="connsiteX9" fmla="*/ 8515 w 98597"/>
                <a:gd name="connsiteY9" fmla="*/ 112043 h 112042"/>
                <a:gd name="connsiteX10" fmla="*/ 90082 w 98597"/>
                <a:gd name="connsiteY10" fmla="*/ 112043 h 112042"/>
                <a:gd name="connsiteX11" fmla="*/ 98597 w 98597"/>
                <a:gd name="connsiteY11" fmla="*/ 103527 h 112042"/>
                <a:gd name="connsiteX12" fmla="*/ 98597 w 98597"/>
                <a:gd name="connsiteY12" fmla="*/ 89186 h 112042"/>
                <a:gd name="connsiteX13" fmla="*/ 90082 w 98597"/>
                <a:gd name="connsiteY13" fmla="*/ 80671 h 112042"/>
                <a:gd name="connsiteX14" fmla="*/ 17927 w 98597"/>
                <a:gd name="connsiteY14" fmla="*/ 37198 h 112042"/>
                <a:gd name="connsiteX15" fmla="*/ 49299 w 98597"/>
                <a:gd name="connsiteY15" fmla="*/ 4034 h 112042"/>
                <a:gd name="connsiteX16" fmla="*/ 80671 w 98597"/>
                <a:gd name="connsiteY16" fmla="*/ 37198 h 112042"/>
                <a:gd name="connsiteX17" fmla="*/ 80671 w 98597"/>
                <a:gd name="connsiteY17" fmla="*/ 80222 h 112042"/>
                <a:gd name="connsiteX18" fmla="*/ 17927 w 98597"/>
                <a:gd name="connsiteY18" fmla="*/ 80222 h 112042"/>
                <a:gd name="connsiteX19" fmla="*/ 17927 w 98597"/>
                <a:gd name="connsiteY19" fmla="*/ 37198 h 112042"/>
                <a:gd name="connsiteX20" fmla="*/ 94116 w 98597"/>
                <a:gd name="connsiteY20" fmla="*/ 103079 h 112042"/>
                <a:gd name="connsiteX21" fmla="*/ 90082 w 98597"/>
                <a:gd name="connsiteY21" fmla="*/ 107113 h 112042"/>
                <a:gd name="connsiteX22" fmla="*/ 8515 w 98597"/>
                <a:gd name="connsiteY22" fmla="*/ 107113 h 112042"/>
                <a:gd name="connsiteX23" fmla="*/ 4482 w 98597"/>
                <a:gd name="connsiteY23" fmla="*/ 103079 h 112042"/>
                <a:gd name="connsiteX24" fmla="*/ 4482 w 98597"/>
                <a:gd name="connsiteY24" fmla="*/ 88738 h 112042"/>
                <a:gd name="connsiteX25" fmla="*/ 8515 w 98597"/>
                <a:gd name="connsiteY25" fmla="*/ 84704 h 112042"/>
                <a:gd name="connsiteX26" fmla="*/ 90082 w 98597"/>
                <a:gd name="connsiteY26" fmla="*/ 84704 h 112042"/>
                <a:gd name="connsiteX27" fmla="*/ 94116 w 98597"/>
                <a:gd name="connsiteY27" fmla="*/ 88738 h 112042"/>
                <a:gd name="connsiteX28" fmla="*/ 94116 w 98597"/>
                <a:gd name="connsiteY28" fmla="*/ 10307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8597" h="112042">
                  <a:moveTo>
                    <a:pt x="90082" y="80671"/>
                  </a:moveTo>
                  <a:lnTo>
                    <a:pt x="85152" y="80671"/>
                  </a:lnTo>
                  <a:lnTo>
                    <a:pt x="85152" y="37646"/>
                  </a:lnTo>
                  <a:cubicBezTo>
                    <a:pt x="85152" y="17479"/>
                    <a:pt x="68570" y="0"/>
                    <a:pt x="49299" y="0"/>
                  </a:cubicBezTo>
                  <a:cubicBezTo>
                    <a:pt x="30027" y="0"/>
                    <a:pt x="13445" y="17030"/>
                    <a:pt x="13445" y="37646"/>
                  </a:cubicBezTo>
                  <a:lnTo>
                    <a:pt x="13445" y="80671"/>
                  </a:lnTo>
                  <a:lnTo>
                    <a:pt x="8515" y="80671"/>
                  </a:lnTo>
                  <a:cubicBezTo>
                    <a:pt x="3585" y="80671"/>
                    <a:pt x="0" y="84704"/>
                    <a:pt x="0" y="89186"/>
                  </a:cubicBezTo>
                  <a:lnTo>
                    <a:pt x="0" y="103527"/>
                  </a:lnTo>
                  <a:cubicBezTo>
                    <a:pt x="0" y="108457"/>
                    <a:pt x="4033" y="112043"/>
                    <a:pt x="8515" y="112043"/>
                  </a:cubicBezTo>
                  <a:lnTo>
                    <a:pt x="90082" y="112043"/>
                  </a:lnTo>
                  <a:cubicBezTo>
                    <a:pt x="95012" y="112043"/>
                    <a:pt x="98597" y="108009"/>
                    <a:pt x="98597" y="103527"/>
                  </a:cubicBezTo>
                  <a:lnTo>
                    <a:pt x="98597" y="89186"/>
                  </a:lnTo>
                  <a:cubicBezTo>
                    <a:pt x="98597" y="84256"/>
                    <a:pt x="94564" y="80671"/>
                    <a:pt x="90082" y="80671"/>
                  </a:cubicBezTo>
                  <a:close/>
                  <a:moveTo>
                    <a:pt x="17927" y="37198"/>
                  </a:moveTo>
                  <a:cubicBezTo>
                    <a:pt x="17927" y="19271"/>
                    <a:pt x="32268" y="4034"/>
                    <a:pt x="49299" y="4034"/>
                  </a:cubicBezTo>
                  <a:cubicBezTo>
                    <a:pt x="66329" y="4034"/>
                    <a:pt x="80671" y="19271"/>
                    <a:pt x="80671" y="37198"/>
                  </a:cubicBezTo>
                  <a:lnTo>
                    <a:pt x="80671" y="80222"/>
                  </a:lnTo>
                  <a:lnTo>
                    <a:pt x="17927" y="80222"/>
                  </a:lnTo>
                  <a:lnTo>
                    <a:pt x="17927" y="37198"/>
                  </a:lnTo>
                  <a:close/>
                  <a:moveTo>
                    <a:pt x="94116" y="103079"/>
                  </a:moveTo>
                  <a:cubicBezTo>
                    <a:pt x="94116" y="105320"/>
                    <a:pt x="92323" y="107113"/>
                    <a:pt x="90082" y="107113"/>
                  </a:cubicBezTo>
                  <a:lnTo>
                    <a:pt x="8515" y="107113"/>
                  </a:lnTo>
                  <a:cubicBezTo>
                    <a:pt x="6274" y="107113"/>
                    <a:pt x="4482" y="105320"/>
                    <a:pt x="4482" y="103079"/>
                  </a:cubicBezTo>
                  <a:lnTo>
                    <a:pt x="4482" y="88738"/>
                  </a:lnTo>
                  <a:cubicBezTo>
                    <a:pt x="4482" y="86497"/>
                    <a:pt x="6274" y="84704"/>
                    <a:pt x="8515" y="84704"/>
                  </a:cubicBezTo>
                  <a:lnTo>
                    <a:pt x="90082" y="84704"/>
                  </a:lnTo>
                  <a:cubicBezTo>
                    <a:pt x="92323" y="84704"/>
                    <a:pt x="94116" y="86497"/>
                    <a:pt x="94116" y="88738"/>
                  </a:cubicBezTo>
                  <a:lnTo>
                    <a:pt x="94116" y="103079"/>
                  </a:lnTo>
                  <a:close/>
                </a:path>
              </a:pathLst>
            </a:custGeom>
            <a:solidFill>
              <a:srgbClr val="231F20"/>
            </a:solidFill>
            <a:ln w="4477" cap="flat">
              <a:noFill/>
              <a:prstDash val="solid"/>
              <a:miter/>
            </a:ln>
          </p:spPr>
          <p:txBody>
            <a:bodyPr rtlCol="0" anchor="ctr"/>
            <a:lstStyle/>
            <a:p>
              <a:endParaRPr lang="en-US"/>
            </a:p>
          </p:txBody>
        </p:sp>
        <p:sp>
          <p:nvSpPr>
            <p:cNvPr id="5382" name="Freeform: Shape 5381">
              <a:extLst>
                <a:ext uri="{FF2B5EF4-FFF2-40B4-BE49-F238E27FC236}">
                  <a16:creationId xmlns:a16="http://schemas.microsoft.com/office/drawing/2014/main" id="{3175213B-AEB8-4E45-A529-3B59027FEC35}"/>
                </a:ext>
              </a:extLst>
            </p:cNvPr>
            <p:cNvSpPr/>
            <p:nvPr/>
          </p:nvSpPr>
          <p:spPr>
            <a:xfrm>
              <a:off x="10771781" y="2464472"/>
              <a:ext cx="4482" cy="22409"/>
            </a:xfrm>
            <a:custGeom>
              <a:avLst/>
              <a:gdLst>
                <a:gd name="connsiteX0" fmla="*/ 2241 w 4481"/>
                <a:gd name="connsiteY0" fmla="*/ 22857 h 22408"/>
                <a:gd name="connsiteX1" fmla="*/ 4482 w 4481"/>
                <a:gd name="connsiteY1" fmla="*/ 20616 h 22408"/>
                <a:gd name="connsiteX2" fmla="*/ 4482 w 4481"/>
                <a:gd name="connsiteY2" fmla="*/ 2241 h 22408"/>
                <a:gd name="connsiteX3" fmla="*/ 2241 w 4481"/>
                <a:gd name="connsiteY3" fmla="*/ 0 h 22408"/>
                <a:gd name="connsiteX4" fmla="*/ 0 w 4481"/>
                <a:gd name="connsiteY4" fmla="*/ 2241 h 22408"/>
                <a:gd name="connsiteX5" fmla="*/ 0 w 4481"/>
                <a:gd name="connsiteY5" fmla="*/ 20616 h 22408"/>
                <a:gd name="connsiteX6" fmla="*/ 2241 w 4481"/>
                <a:gd name="connsiteY6" fmla="*/ 22857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2408">
                  <a:moveTo>
                    <a:pt x="2241" y="22857"/>
                  </a:moveTo>
                  <a:cubicBezTo>
                    <a:pt x="3585" y="22857"/>
                    <a:pt x="4482" y="21960"/>
                    <a:pt x="4482" y="20616"/>
                  </a:cubicBezTo>
                  <a:lnTo>
                    <a:pt x="4482" y="2241"/>
                  </a:lnTo>
                  <a:cubicBezTo>
                    <a:pt x="4482" y="896"/>
                    <a:pt x="3585" y="0"/>
                    <a:pt x="2241" y="0"/>
                  </a:cubicBezTo>
                  <a:cubicBezTo>
                    <a:pt x="896" y="0"/>
                    <a:pt x="0" y="896"/>
                    <a:pt x="0" y="2241"/>
                  </a:cubicBezTo>
                  <a:lnTo>
                    <a:pt x="0" y="20616"/>
                  </a:lnTo>
                  <a:cubicBezTo>
                    <a:pt x="0" y="21960"/>
                    <a:pt x="896" y="22857"/>
                    <a:pt x="2241" y="22857"/>
                  </a:cubicBezTo>
                  <a:close/>
                </a:path>
              </a:pathLst>
            </a:custGeom>
            <a:solidFill>
              <a:srgbClr val="231F20"/>
            </a:solidFill>
            <a:ln w="4477" cap="flat">
              <a:noFill/>
              <a:prstDash val="solid"/>
              <a:miter/>
            </a:ln>
          </p:spPr>
          <p:txBody>
            <a:bodyPr rtlCol="0" anchor="ctr"/>
            <a:lstStyle/>
            <a:p>
              <a:endParaRPr lang="en-US"/>
            </a:p>
          </p:txBody>
        </p:sp>
        <p:sp>
          <p:nvSpPr>
            <p:cNvPr id="5383" name="Freeform: Shape 5382">
              <a:extLst>
                <a:ext uri="{FF2B5EF4-FFF2-40B4-BE49-F238E27FC236}">
                  <a16:creationId xmlns:a16="http://schemas.microsoft.com/office/drawing/2014/main" id="{28CC4510-B779-4F48-81CA-08F7A87797CD}"/>
                </a:ext>
              </a:extLst>
            </p:cNvPr>
            <p:cNvSpPr/>
            <p:nvPr/>
          </p:nvSpPr>
          <p:spPr>
            <a:xfrm>
              <a:off x="10823321" y="2537524"/>
              <a:ext cx="22409" cy="4482"/>
            </a:xfrm>
            <a:custGeom>
              <a:avLst/>
              <a:gdLst>
                <a:gd name="connsiteX0" fmla="*/ 20616 w 22408"/>
                <a:gd name="connsiteY0" fmla="*/ 0 h 4481"/>
                <a:gd name="connsiteX1" fmla="*/ 2241 w 22408"/>
                <a:gd name="connsiteY1" fmla="*/ 0 h 4481"/>
                <a:gd name="connsiteX2" fmla="*/ 0 w 22408"/>
                <a:gd name="connsiteY2" fmla="*/ 2241 h 4481"/>
                <a:gd name="connsiteX3" fmla="*/ 2241 w 22408"/>
                <a:gd name="connsiteY3" fmla="*/ 4482 h 4481"/>
                <a:gd name="connsiteX4" fmla="*/ 20616 w 22408"/>
                <a:gd name="connsiteY4" fmla="*/ 4482 h 4481"/>
                <a:gd name="connsiteX5" fmla="*/ 22857 w 22408"/>
                <a:gd name="connsiteY5" fmla="*/ 2241 h 4481"/>
                <a:gd name="connsiteX6" fmla="*/ 20616 w 22408"/>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4481">
                  <a:moveTo>
                    <a:pt x="20616" y="0"/>
                  </a:moveTo>
                  <a:lnTo>
                    <a:pt x="2241" y="0"/>
                  </a:lnTo>
                  <a:cubicBezTo>
                    <a:pt x="896" y="0"/>
                    <a:pt x="0" y="896"/>
                    <a:pt x="0" y="2241"/>
                  </a:cubicBezTo>
                  <a:cubicBezTo>
                    <a:pt x="0" y="3585"/>
                    <a:pt x="896" y="4482"/>
                    <a:pt x="2241" y="4482"/>
                  </a:cubicBezTo>
                  <a:lnTo>
                    <a:pt x="20616" y="4482"/>
                  </a:lnTo>
                  <a:cubicBezTo>
                    <a:pt x="21960" y="4482"/>
                    <a:pt x="22857" y="3585"/>
                    <a:pt x="22857" y="2241"/>
                  </a:cubicBezTo>
                  <a:cubicBezTo>
                    <a:pt x="22857" y="1345"/>
                    <a:pt x="21960" y="0"/>
                    <a:pt x="20616" y="0"/>
                  </a:cubicBezTo>
                  <a:close/>
                </a:path>
              </a:pathLst>
            </a:custGeom>
            <a:solidFill>
              <a:srgbClr val="231F20"/>
            </a:solidFill>
            <a:ln w="4477" cap="flat">
              <a:noFill/>
              <a:prstDash val="solid"/>
              <a:miter/>
            </a:ln>
          </p:spPr>
          <p:txBody>
            <a:bodyPr rtlCol="0" anchor="ctr"/>
            <a:lstStyle/>
            <a:p>
              <a:endParaRPr lang="en-US"/>
            </a:p>
          </p:txBody>
        </p:sp>
        <p:sp>
          <p:nvSpPr>
            <p:cNvPr id="5384" name="Freeform: Shape 5383">
              <a:extLst>
                <a:ext uri="{FF2B5EF4-FFF2-40B4-BE49-F238E27FC236}">
                  <a16:creationId xmlns:a16="http://schemas.microsoft.com/office/drawing/2014/main" id="{6872D0F8-B460-4C59-9AB2-CD5C9ACBA9D6}"/>
                </a:ext>
              </a:extLst>
            </p:cNvPr>
            <p:cNvSpPr/>
            <p:nvPr/>
          </p:nvSpPr>
          <p:spPr>
            <a:xfrm>
              <a:off x="10798951" y="2473708"/>
              <a:ext cx="8963" cy="22409"/>
            </a:xfrm>
            <a:custGeom>
              <a:avLst/>
              <a:gdLst>
                <a:gd name="connsiteX0" fmla="*/ 1512 w 8963"/>
                <a:gd name="connsiteY0" fmla="*/ 22584 h 22408"/>
                <a:gd name="connsiteX1" fmla="*/ 2409 w 8963"/>
                <a:gd name="connsiteY1" fmla="*/ 23033 h 22408"/>
                <a:gd name="connsiteX2" fmla="*/ 4202 w 8963"/>
                <a:gd name="connsiteY2" fmla="*/ 21688 h 22408"/>
                <a:gd name="connsiteX3" fmla="*/ 13165 w 8963"/>
                <a:gd name="connsiteY3" fmla="*/ 3313 h 22408"/>
                <a:gd name="connsiteX4" fmla="*/ 12269 w 8963"/>
                <a:gd name="connsiteY4" fmla="*/ 176 h 22408"/>
                <a:gd name="connsiteX5" fmla="*/ 9131 w 8963"/>
                <a:gd name="connsiteY5" fmla="*/ 1072 h 22408"/>
                <a:gd name="connsiteX6" fmla="*/ 168 w 8963"/>
                <a:gd name="connsiteY6" fmla="*/ 19447 h 22408"/>
                <a:gd name="connsiteX7" fmla="*/ 1512 w 8963"/>
                <a:gd name="connsiteY7" fmla="*/ 2258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2408">
                  <a:moveTo>
                    <a:pt x="1512" y="22584"/>
                  </a:moveTo>
                  <a:cubicBezTo>
                    <a:pt x="1961" y="22584"/>
                    <a:pt x="1961" y="23033"/>
                    <a:pt x="2409" y="23033"/>
                  </a:cubicBezTo>
                  <a:cubicBezTo>
                    <a:pt x="3305" y="23033"/>
                    <a:pt x="4202" y="22584"/>
                    <a:pt x="4202" y="21688"/>
                  </a:cubicBezTo>
                  <a:lnTo>
                    <a:pt x="13165" y="3313"/>
                  </a:lnTo>
                  <a:cubicBezTo>
                    <a:pt x="13613" y="2417"/>
                    <a:pt x="13165" y="1072"/>
                    <a:pt x="12269" y="176"/>
                  </a:cubicBezTo>
                  <a:cubicBezTo>
                    <a:pt x="11372" y="-272"/>
                    <a:pt x="10028" y="176"/>
                    <a:pt x="9131" y="1072"/>
                  </a:cubicBezTo>
                  <a:lnTo>
                    <a:pt x="168" y="19447"/>
                  </a:lnTo>
                  <a:cubicBezTo>
                    <a:pt x="-280" y="20792"/>
                    <a:pt x="168" y="22136"/>
                    <a:pt x="1512" y="22584"/>
                  </a:cubicBezTo>
                  <a:close/>
                </a:path>
              </a:pathLst>
            </a:custGeom>
            <a:solidFill>
              <a:srgbClr val="231F20"/>
            </a:solidFill>
            <a:ln w="4477" cap="flat">
              <a:noFill/>
              <a:prstDash val="solid"/>
              <a:miter/>
            </a:ln>
          </p:spPr>
          <p:txBody>
            <a:bodyPr rtlCol="0" anchor="ctr"/>
            <a:lstStyle/>
            <a:p>
              <a:endParaRPr lang="en-US"/>
            </a:p>
          </p:txBody>
        </p:sp>
        <p:sp>
          <p:nvSpPr>
            <p:cNvPr id="5385" name="Freeform: Shape 5384">
              <a:extLst>
                <a:ext uri="{FF2B5EF4-FFF2-40B4-BE49-F238E27FC236}">
                  <a16:creationId xmlns:a16="http://schemas.microsoft.com/office/drawing/2014/main" id="{1414E256-8F03-49A0-A4EA-AC2BEDA8D349}"/>
                </a:ext>
              </a:extLst>
            </p:cNvPr>
            <p:cNvSpPr/>
            <p:nvPr/>
          </p:nvSpPr>
          <p:spPr>
            <a:xfrm>
              <a:off x="10817318" y="2501047"/>
              <a:ext cx="22409" cy="13445"/>
            </a:xfrm>
            <a:custGeom>
              <a:avLst/>
              <a:gdLst>
                <a:gd name="connsiteX0" fmla="*/ 2417 w 22408"/>
                <a:gd name="connsiteY0" fmla="*/ 13621 h 13445"/>
                <a:gd name="connsiteX1" fmla="*/ 3313 w 22408"/>
                <a:gd name="connsiteY1" fmla="*/ 13173 h 13445"/>
                <a:gd name="connsiteX2" fmla="*/ 21688 w 22408"/>
                <a:gd name="connsiteY2" fmla="*/ 4209 h 13445"/>
                <a:gd name="connsiteX3" fmla="*/ 22584 w 22408"/>
                <a:gd name="connsiteY3" fmla="*/ 1072 h 13445"/>
                <a:gd name="connsiteX4" fmla="*/ 19447 w 22408"/>
                <a:gd name="connsiteY4" fmla="*/ 176 h 13445"/>
                <a:gd name="connsiteX5" fmla="*/ 1072 w 22408"/>
                <a:gd name="connsiteY5" fmla="*/ 9139 h 13445"/>
                <a:gd name="connsiteX6" fmla="*/ 176 w 22408"/>
                <a:gd name="connsiteY6" fmla="*/ 12276 h 13445"/>
                <a:gd name="connsiteX7" fmla="*/ 2417 w 22408"/>
                <a:gd name="connsiteY7" fmla="*/ 13621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13445">
                  <a:moveTo>
                    <a:pt x="2417" y="13621"/>
                  </a:moveTo>
                  <a:cubicBezTo>
                    <a:pt x="2865" y="13621"/>
                    <a:pt x="3313" y="13621"/>
                    <a:pt x="3313" y="13173"/>
                  </a:cubicBezTo>
                  <a:lnTo>
                    <a:pt x="21688" y="4209"/>
                  </a:lnTo>
                  <a:cubicBezTo>
                    <a:pt x="22584" y="3761"/>
                    <a:pt x="23032" y="2417"/>
                    <a:pt x="22584" y="1072"/>
                  </a:cubicBezTo>
                  <a:cubicBezTo>
                    <a:pt x="22136" y="176"/>
                    <a:pt x="20792" y="-272"/>
                    <a:pt x="19447" y="176"/>
                  </a:cubicBezTo>
                  <a:lnTo>
                    <a:pt x="1072" y="9139"/>
                  </a:lnTo>
                  <a:cubicBezTo>
                    <a:pt x="176" y="9587"/>
                    <a:pt x="-272" y="10932"/>
                    <a:pt x="176" y="12276"/>
                  </a:cubicBezTo>
                  <a:cubicBezTo>
                    <a:pt x="624" y="13173"/>
                    <a:pt x="1520" y="13621"/>
                    <a:pt x="2417" y="13621"/>
                  </a:cubicBezTo>
                  <a:close/>
                </a:path>
              </a:pathLst>
            </a:custGeom>
            <a:solidFill>
              <a:srgbClr val="231F20"/>
            </a:solidFill>
            <a:ln w="4477" cap="flat">
              <a:noFill/>
              <a:prstDash val="solid"/>
              <a:miter/>
            </a:ln>
          </p:spPr>
          <p:txBody>
            <a:bodyPr rtlCol="0" anchor="ctr"/>
            <a:lstStyle/>
            <a:p>
              <a:endParaRPr lang="en-US"/>
            </a:p>
          </p:txBody>
        </p:sp>
        <p:sp>
          <p:nvSpPr>
            <p:cNvPr id="5386" name="Freeform: Shape 5385">
              <a:extLst>
                <a:ext uri="{FF2B5EF4-FFF2-40B4-BE49-F238E27FC236}">
                  <a16:creationId xmlns:a16="http://schemas.microsoft.com/office/drawing/2014/main" id="{D52C813E-313C-490E-87D0-09EBD132EA9E}"/>
                </a:ext>
              </a:extLst>
            </p:cNvPr>
            <p:cNvSpPr/>
            <p:nvPr/>
          </p:nvSpPr>
          <p:spPr>
            <a:xfrm>
              <a:off x="10701866" y="2537524"/>
              <a:ext cx="22409" cy="4482"/>
            </a:xfrm>
            <a:custGeom>
              <a:avLst/>
              <a:gdLst>
                <a:gd name="connsiteX0" fmla="*/ 20616 w 22408"/>
                <a:gd name="connsiteY0" fmla="*/ 0 h 4481"/>
                <a:gd name="connsiteX1" fmla="*/ 2241 w 22408"/>
                <a:gd name="connsiteY1" fmla="*/ 0 h 4481"/>
                <a:gd name="connsiteX2" fmla="*/ 0 w 22408"/>
                <a:gd name="connsiteY2" fmla="*/ 2241 h 4481"/>
                <a:gd name="connsiteX3" fmla="*/ 2241 w 22408"/>
                <a:gd name="connsiteY3" fmla="*/ 4482 h 4481"/>
                <a:gd name="connsiteX4" fmla="*/ 20616 w 22408"/>
                <a:gd name="connsiteY4" fmla="*/ 4482 h 4481"/>
                <a:gd name="connsiteX5" fmla="*/ 22857 w 22408"/>
                <a:gd name="connsiteY5" fmla="*/ 2241 h 4481"/>
                <a:gd name="connsiteX6" fmla="*/ 20616 w 22408"/>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4481">
                  <a:moveTo>
                    <a:pt x="20616" y="0"/>
                  </a:moveTo>
                  <a:lnTo>
                    <a:pt x="2241" y="0"/>
                  </a:lnTo>
                  <a:cubicBezTo>
                    <a:pt x="896" y="0"/>
                    <a:pt x="0" y="896"/>
                    <a:pt x="0" y="2241"/>
                  </a:cubicBezTo>
                  <a:cubicBezTo>
                    <a:pt x="0" y="3585"/>
                    <a:pt x="896" y="4482"/>
                    <a:pt x="2241" y="4482"/>
                  </a:cubicBezTo>
                  <a:lnTo>
                    <a:pt x="20616" y="4482"/>
                  </a:lnTo>
                  <a:cubicBezTo>
                    <a:pt x="21960" y="4482"/>
                    <a:pt x="22857" y="3585"/>
                    <a:pt x="22857" y="2241"/>
                  </a:cubicBezTo>
                  <a:cubicBezTo>
                    <a:pt x="22857" y="1345"/>
                    <a:pt x="21512" y="0"/>
                    <a:pt x="20616" y="0"/>
                  </a:cubicBezTo>
                  <a:close/>
                </a:path>
              </a:pathLst>
            </a:custGeom>
            <a:solidFill>
              <a:srgbClr val="231F20"/>
            </a:solidFill>
            <a:ln w="4477" cap="flat">
              <a:noFill/>
              <a:prstDash val="solid"/>
              <a:miter/>
            </a:ln>
          </p:spPr>
          <p:txBody>
            <a:bodyPr rtlCol="0" anchor="ctr"/>
            <a:lstStyle/>
            <a:p>
              <a:endParaRPr lang="en-US"/>
            </a:p>
          </p:txBody>
        </p:sp>
        <p:sp>
          <p:nvSpPr>
            <p:cNvPr id="5387" name="Freeform: Shape 5386">
              <a:extLst>
                <a:ext uri="{FF2B5EF4-FFF2-40B4-BE49-F238E27FC236}">
                  <a16:creationId xmlns:a16="http://schemas.microsoft.com/office/drawing/2014/main" id="{5D7334CE-5030-4D98-A475-D919FC7846EB}"/>
                </a:ext>
              </a:extLst>
            </p:cNvPr>
            <p:cNvSpPr/>
            <p:nvPr/>
          </p:nvSpPr>
          <p:spPr>
            <a:xfrm>
              <a:off x="10734855" y="2473708"/>
              <a:ext cx="8963" cy="22409"/>
            </a:xfrm>
            <a:custGeom>
              <a:avLst/>
              <a:gdLst>
                <a:gd name="connsiteX0" fmla="*/ 9587 w 8963"/>
                <a:gd name="connsiteY0" fmla="*/ 21688 h 22408"/>
                <a:gd name="connsiteX1" fmla="*/ 11380 w 8963"/>
                <a:gd name="connsiteY1" fmla="*/ 23033 h 22408"/>
                <a:gd name="connsiteX2" fmla="*/ 12276 w 8963"/>
                <a:gd name="connsiteY2" fmla="*/ 22584 h 22408"/>
                <a:gd name="connsiteX3" fmla="*/ 13173 w 8963"/>
                <a:gd name="connsiteY3" fmla="*/ 19447 h 22408"/>
                <a:gd name="connsiteX4" fmla="*/ 4209 w 8963"/>
                <a:gd name="connsiteY4" fmla="*/ 1072 h 22408"/>
                <a:gd name="connsiteX5" fmla="*/ 1072 w 8963"/>
                <a:gd name="connsiteY5" fmla="*/ 176 h 22408"/>
                <a:gd name="connsiteX6" fmla="*/ 176 w 8963"/>
                <a:gd name="connsiteY6" fmla="*/ 3313 h 22408"/>
                <a:gd name="connsiteX7" fmla="*/ 9587 w 8963"/>
                <a:gd name="connsiteY7" fmla="*/ 21688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2408">
                  <a:moveTo>
                    <a:pt x="9587" y="21688"/>
                  </a:moveTo>
                  <a:cubicBezTo>
                    <a:pt x="10036" y="22584"/>
                    <a:pt x="10932" y="23033"/>
                    <a:pt x="11380" y="23033"/>
                  </a:cubicBezTo>
                  <a:cubicBezTo>
                    <a:pt x="11828" y="23033"/>
                    <a:pt x="12276" y="23033"/>
                    <a:pt x="12276" y="22584"/>
                  </a:cubicBezTo>
                  <a:cubicBezTo>
                    <a:pt x="13173" y="22136"/>
                    <a:pt x="13621" y="20792"/>
                    <a:pt x="13173" y="19447"/>
                  </a:cubicBezTo>
                  <a:lnTo>
                    <a:pt x="4209" y="1072"/>
                  </a:lnTo>
                  <a:cubicBezTo>
                    <a:pt x="3761" y="176"/>
                    <a:pt x="2417" y="-272"/>
                    <a:pt x="1072" y="176"/>
                  </a:cubicBezTo>
                  <a:cubicBezTo>
                    <a:pt x="176" y="624"/>
                    <a:pt x="-272" y="1968"/>
                    <a:pt x="176" y="3313"/>
                  </a:cubicBezTo>
                  <a:lnTo>
                    <a:pt x="9587" y="21688"/>
                  </a:lnTo>
                  <a:close/>
                </a:path>
              </a:pathLst>
            </a:custGeom>
            <a:solidFill>
              <a:srgbClr val="231F20"/>
            </a:solidFill>
            <a:ln w="4477" cap="flat">
              <a:noFill/>
              <a:prstDash val="solid"/>
              <a:miter/>
            </a:ln>
          </p:spPr>
          <p:txBody>
            <a:bodyPr rtlCol="0" anchor="ctr"/>
            <a:lstStyle/>
            <a:p>
              <a:endParaRPr lang="en-US"/>
            </a:p>
          </p:txBody>
        </p:sp>
        <p:sp>
          <p:nvSpPr>
            <p:cNvPr id="5388" name="Freeform: Shape 5387">
              <a:extLst>
                <a:ext uri="{FF2B5EF4-FFF2-40B4-BE49-F238E27FC236}">
                  <a16:creationId xmlns:a16="http://schemas.microsoft.com/office/drawing/2014/main" id="{FD6221D7-C794-4321-B5A2-A629BD21C564}"/>
                </a:ext>
              </a:extLst>
            </p:cNvPr>
            <p:cNvSpPr/>
            <p:nvPr/>
          </p:nvSpPr>
          <p:spPr>
            <a:xfrm>
              <a:off x="10707397" y="2501047"/>
              <a:ext cx="22409" cy="13445"/>
            </a:xfrm>
            <a:custGeom>
              <a:avLst/>
              <a:gdLst>
                <a:gd name="connsiteX0" fmla="*/ 1640 w 22408"/>
                <a:gd name="connsiteY0" fmla="*/ 4209 h 13445"/>
                <a:gd name="connsiteX1" fmla="*/ 20015 w 22408"/>
                <a:gd name="connsiteY1" fmla="*/ 13173 h 13445"/>
                <a:gd name="connsiteX2" fmla="*/ 20911 w 22408"/>
                <a:gd name="connsiteY2" fmla="*/ 13621 h 13445"/>
                <a:gd name="connsiteX3" fmla="*/ 22704 w 22408"/>
                <a:gd name="connsiteY3" fmla="*/ 12276 h 13445"/>
                <a:gd name="connsiteX4" fmla="*/ 21808 w 22408"/>
                <a:gd name="connsiteY4" fmla="*/ 9139 h 13445"/>
                <a:gd name="connsiteX5" fmla="*/ 3433 w 22408"/>
                <a:gd name="connsiteY5" fmla="*/ 176 h 13445"/>
                <a:gd name="connsiteX6" fmla="*/ 296 w 22408"/>
                <a:gd name="connsiteY6" fmla="*/ 1072 h 13445"/>
                <a:gd name="connsiteX7" fmla="*/ 1640 w 22408"/>
                <a:gd name="connsiteY7" fmla="*/ 4209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13445">
                  <a:moveTo>
                    <a:pt x="1640" y="4209"/>
                  </a:moveTo>
                  <a:lnTo>
                    <a:pt x="20015" y="13173"/>
                  </a:lnTo>
                  <a:cubicBezTo>
                    <a:pt x="20463" y="13173"/>
                    <a:pt x="20463" y="13621"/>
                    <a:pt x="20911" y="13621"/>
                  </a:cubicBezTo>
                  <a:cubicBezTo>
                    <a:pt x="21808" y="13621"/>
                    <a:pt x="22704" y="13173"/>
                    <a:pt x="22704" y="12276"/>
                  </a:cubicBezTo>
                  <a:cubicBezTo>
                    <a:pt x="23152" y="11380"/>
                    <a:pt x="22704" y="10035"/>
                    <a:pt x="21808" y="9139"/>
                  </a:cubicBezTo>
                  <a:lnTo>
                    <a:pt x="3433" y="176"/>
                  </a:lnTo>
                  <a:cubicBezTo>
                    <a:pt x="2536" y="-272"/>
                    <a:pt x="1192" y="176"/>
                    <a:pt x="296" y="1072"/>
                  </a:cubicBezTo>
                  <a:cubicBezTo>
                    <a:pt x="-601" y="1968"/>
                    <a:pt x="744" y="3761"/>
                    <a:pt x="1640" y="4209"/>
                  </a:cubicBezTo>
                  <a:close/>
                </a:path>
              </a:pathLst>
            </a:custGeom>
            <a:solidFill>
              <a:srgbClr val="231F20"/>
            </a:solidFill>
            <a:ln w="4477" cap="flat">
              <a:noFill/>
              <a:prstDash val="solid"/>
              <a:miter/>
            </a:ln>
          </p:spPr>
          <p:txBody>
            <a:bodyPr rtlCol="0" anchor="ctr"/>
            <a:lstStyle/>
            <a:p>
              <a:endParaRPr lang="en-US"/>
            </a:p>
          </p:txBody>
        </p:sp>
      </p:grpSp>
      <p:grpSp>
        <p:nvGrpSpPr>
          <p:cNvPr id="2496" name="Group 2495">
            <a:extLst>
              <a:ext uri="{FF2B5EF4-FFF2-40B4-BE49-F238E27FC236}">
                <a16:creationId xmlns:a16="http://schemas.microsoft.com/office/drawing/2014/main" id="{1E56426F-F2D5-4F7E-ACD8-4E74AE1E3659}"/>
              </a:ext>
              <a:ext uri="{C183D7F6-B498-43B3-948B-1728B52AA6E4}">
                <adec:decorative xmlns:adec="http://schemas.microsoft.com/office/drawing/2017/decorative" val="1"/>
              </a:ext>
            </a:extLst>
          </p:cNvPr>
          <p:cNvGrpSpPr>
            <a:grpSpLocks noChangeAspect="1"/>
          </p:cNvGrpSpPr>
          <p:nvPr/>
        </p:nvGrpSpPr>
        <p:grpSpPr>
          <a:xfrm>
            <a:off x="9875410" y="4512544"/>
            <a:ext cx="99718" cy="152378"/>
            <a:chOff x="9931910" y="2456853"/>
            <a:chExt cx="99718" cy="152378"/>
          </a:xfrm>
        </p:grpSpPr>
        <p:sp>
          <p:nvSpPr>
            <p:cNvPr id="5377" name="Freeform: Shape 5376">
              <a:extLst>
                <a:ext uri="{FF2B5EF4-FFF2-40B4-BE49-F238E27FC236}">
                  <a16:creationId xmlns:a16="http://schemas.microsoft.com/office/drawing/2014/main" id="{B07451F5-F831-4623-ABD9-50747867062A}"/>
                </a:ext>
              </a:extLst>
            </p:cNvPr>
            <p:cNvSpPr/>
            <p:nvPr/>
          </p:nvSpPr>
          <p:spPr>
            <a:xfrm>
              <a:off x="9931910" y="2501670"/>
              <a:ext cx="26890" cy="26890"/>
            </a:xfrm>
            <a:custGeom>
              <a:avLst/>
              <a:gdLst>
                <a:gd name="connsiteX0" fmla="*/ 11653 w 26890"/>
                <a:gd name="connsiteY0" fmla="*/ 25546 h 26890"/>
                <a:gd name="connsiteX1" fmla="*/ 13893 w 26890"/>
                <a:gd name="connsiteY1" fmla="*/ 27787 h 26890"/>
                <a:gd name="connsiteX2" fmla="*/ 16134 w 26890"/>
                <a:gd name="connsiteY2" fmla="*/ 25546 h 26890"/>
                <a:gd name="connsiteX3" fmla="*/ 16134 w 26890"/>
                <a:gd name="connsiteY3" fmla="*/ 16134 h 26890"/>
                <a:gd name="connsiteX4" fmla="*/ 25546 w 26890"/>
                <a:gd name="connsiteY4" fmla="*/ 16134 h 26890"/>
                <a:gd name="connsiteX5" fmla="*/ 27787 w 26890"/>
                <a:gd name="connsiteY5" fmla="*/ 13893 h 26890"/>
                <a:gd name="connsiteX6" fmla="*/ 25546 w 26890"/>
                <a:gd name="connsiteY6" fmla="*/ 11652 h 26890"/>
                <a:gd name="connsiteX7" fmla="*/ 16134 w 26890"/>
                <a:gd name="connsiteY7" fmla="*/ 11652 h 26890"/>
                <a:gd name="connsiteX8" fmla="*/ 16134 w 26890"/>
                <a:gd name="connsiteY8" fmla="*/ 2241 h 26890"/>
                <a:gd name="connsiteX9" fmla="*/ 13893 w 26890"/>
                <a:gd name="connsiteY9" fmla="*/ 0 h 26890"/>
                <a:gd name="connsiteX10" fmla="*/ 11653 w 26890"/>
                <a:gd name="connsiteY10" fmla="*/ 2241 h 26890"/>
                <a:gd name="connsiteX11" fmla="*/ 11653 w 26890"/>
                <a:gd name="connsiteY11" fmla="*/ 11652 h 26890"/>
                <a:gd name="connsiteX12" fmla="*/ 2241 w 26890"/>
                <a:gd name="connsiteY12" fmla="*/ 11652 h 26890"/>
                <a:gd name="connsiteX13" fmla="*/ 0 w 26890"/>
                <a:gd name="connsiteY13" fmla="*/ 13893 h 26890"/>
                <a:gd name="connsiteX14" fmla="*/ 2241 w 26890"/>
                <a:gd name="connsiteY14" fmla="*/ 16134 h 26890"/>
                <a:gd name="connsiteX15" fmla="*/ 11653 w 26890"/>
                <a:gd name="connsiteY15" fmla="*/ 16134 h 26890"/>
                <a:gd name="connsiteX16" fmla="*/ 11653 w 26890"/>
                <a:gd name="connsiteY16" fmla="*/ 2554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90" h="26890">
                  <a:moveTo>
                    <a:pt x="11653" y="25546"/>
                  </a:moveTo>
                  <a:cubicBezTo>
                    <a:pt x="11653" y="26890"/>
                    <a:pt x="12549" y="27787"/>
                    <a:pt x="13893" y="27787"/>
                  </a:cubicBezTo>
                  <a:cubicBezTo>
                    <a:pt x="15238" y="27787"/>
                    <a:pt x="16134" y="26890"/>
                    <a:pt x="16134" y="25546"/>
                  </a:cubicBezTo>
                  <a:lnTo>
                    <a:pt x="16134" y="16134"/>
                  </a:lnTo>
                  <a:lnTo>
                    <a:pt x="25546" y="16134"/>
                  </a:lnTo>
                  <a:cubicBezTo>
                    <a:pt x="26890" y="16134"/>
                    <a:pt x="27787" y="15238"/>
                    <a:pt x="27787" y="13893"/>
                  </a:cubicBezTo>
                  <a:cubicBezTo>
                    <a:pt x="27787" y="12549"/>
                    <a:pt x="26890" y="11652"/>
                    <a:pt x="25546" y="11652"/>
                  </a:cubicBezTo>
                  <a:lnTo>
                    <a:pt x="16134" y="11652"/>
                  </a:lnTo>
                  <a:lnTo>
                    <a:pt x="16134" y="2241"/>
                  </a:lnTo>
                  <a:cubicBezTo>
                    <a:pt x="16134" y="896"/>
                    <a:pt x="15238" y="0"/>
                    <a:pt x="13893" y="0"/>
                  </a:cubicBezTo>
                  <a:cubicBezTo>
                    <a:pt x="12549" y="0"/>
                    <a:pt x="11653" y="896"/>
                    <a:pt x="11653" y="2241"/>
                  </a:cubicBezTo>
                  <a:lnTo>
                    <a:pt x="11653" y="11652"/>
                  </a:lnTo>
                  <a:lnTo>
                    <a:pt x="2241" y="11652"/>
                  </a:lnTo>
                  <a:cubicBezTo>
                    <a:pt x="896" y="11652"/>
                    <a:pt x="0" y="12549"/>
                    <a:pt x="0" y="13893"/>
                  </a:cubicBezTo>
                  <a:cubicBezTo>
                    <a:pt x="0" y="15238"/>
                    <a:pt x="896" y="16134"/>
                    <a:pt x="2241" y="16134"/>
                  </a:cubicBezTo>
                  <a:lnTo>
                    <a:pt x="11653" y="16134"/>
                  </a:lnTo>
                  <a:lnTo>
                    <a:pt x="11653" y="25546"/>
                  </a:lnTo>
                  <a:close/>
                </a:path>
              </a:pathLst>
            </a:custGeom>
            <a:solidFill>
              <a:srgbClr val="231F20"/>
            </a:solidFill>
            <a:ln w="4477" cap="flat">
              <a:noFill/>
              <a:prstDash val="solid"/>
              <a:miter/>
            </a:ln>
          </p:spPr>
          <p:txBody>
            <a:bodyPr rtlCol="0" anchor="ctr"/>
            <a:lstStyle/>
            <a:p>
              <a:endParaRPr lang="en-US"/>
            </a:p>
          </p:txBody>
        </p:sp>
        <p:sp>
          <p:nvSpPr>
            <p:cNvPr id="5378" name="Freeform: Shape 5377">
              <a:extLst>
                <a:ext uri="{FF2B5EF4-FFF2-40B4-BE49-F238E27FC236}">
                  <a16:creationId xmlns:a16="http://schemas.microsoft.com/office/drawing/2014/main" id="{64CD6005-7FED-4AC9-938A-2BDBE791A36F}"/>
                </a:ext>
              </a:extLst>
            </p:cNvPr>
            <p:cNvSpPr/>
            <p:nvPr/>
          </p:nvSpPr>
          <p:spPr>
            <a:xfrm>
              <a:off x="10013701" y="2492035"/>
              <a:ext cx="17927" cy="17927"/>
            </a:xfrm>
            <a:custGeom>
              <a:avLst/>
              <a:gdLst>
                <a:gd name="connsiteX0" fmla="*/ 13221 w 17926"/>
                <a:gd name="connsiteY0" fmla="*/ 10084 h 17926"/>
                <a:gd name="connsiteX1" fmla="*/ 19495 w 17926"/>
                <a:gd name="connsiteY1" fmla="*/ 3809 h 17926"/>
                <a:gd name="connsiteX2" fmla="*/ 19495 w 17926"/>
                <a:gd name="connsiteY2" fmla="*/ 672 h 17926"/>
                <a:gd name="connsiteX3" fmla="*/ 16358 w 17926"/>
                <a:gd name="connsiteY3" fmla="*/ 672 h 17926"/>
                <a:gd name="connsiteX4" fmla="*/ 10084 w 17926"/>
                <a:gd name="connsiteY4" fmla="*/ 6947 h 17926"/>
                <a:gd name="connsiteX5" fmla="*/ 3810 w 17926"/>
                <a:gd name="connsiteY5" fmla="*/ 672 h 17926"/>
                <a:gd name="connsiteX6" fmla="*/ 672 w 17926"/>
                <a:gd name="connsiteY6" fmla="*/ 672 h 17926"/>
                <a:gd name="connsiteX7" fmla="*/ 672 w 17926"/>
                <a:gd name="connsiteY7" fmla="*/ 3809 h 17926"/>
                <a:gd name="connsiteX8" fmla="*/ 6947 w 17926"/>
                <a:gd name="connsiteY8" fmla="*/ 10084 h 17926"/>
                <a:gd name="connsiteX9" fmla="*/ 672 w 17926"/>
                <a:gd name="connsiteY9" fmla="*/ 16358 h 17926"/>
                <a:gd name="connsiteX10" fmla="*/ 672 w 17926"/>
                <a:gd name="connsiteY10" fmla="*/ 19495 h 17926"/>
                <a:gd name="connsiteX11" fmla="*/ 2465 w 17926"/>
                <a:gd name="connsiteY11" fmla="*/ 19944 h 17926"/>
                <a:gd name="connsiteX12" fmla="*/ 4258 w 17926"/>
                <a:gd name="connsiteY12" fmla="*/ 19495 h 17926"/>
                <a:gd name="connsiteX13" fmla="*/ 10532 w 17926"/>
                <a:gd name="connsiteY13" fmla="*/ 13221 h 17926"/>
                <a:gd name="connsiteX14" fmla="*/ 16806 w 17926"/>
                <a:gd name="connsiteY14" fmla="*/ 19495 h 17926"/>
                <a:gd name="connsiteX15" fmla="*/ 18599 w 17926"/>
                <a:gd name="connsiteY15" fmla="*/ 19944 h 17926"/>
                <a:gd name="connsiteX16" fmla="*/ 20392 w 17926"/>
                <a:gd name="connsiteY16" fmla="*/ 19495 h 17926"/>
                <a:gd name="connsiteX17" fmla="*/ 20392 w 17926"/>
                <a:gd name="connsiteY17" fmla="*/ 16358 h 17926"/>
                <a:gd name="connsiteX18" fmla="*/ 13221 w 17926"/>
                <a:gd name="connsiteY18" fmla="*/ 1008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26" h="17926">
                  <a:moveTo>
                    <a:pt x="13221" y="10084"/>
                  </a:moveTo>
                  <a:lnTo>
                    <a:pt x="19495" y="3809"/>
                  </a:lnTo>
                  <a:cubicBezTo>
                    <a:pt x="20392" y="2913"/>
                    <a:pt x="20392" y="1569"/>
                    <a:pt x="19495" y="672"/>
                  </a:cubicBezTo>
                  <a:cubicBezTo>
                    <a:pt x="18599" y="-224"/>
                    <a:pt x="17255" y="-224"/>
                    <a:pt x="16358" y="672"/>
                  </a:cubicBezTo>
                  <a:lnTo>
                    <a:pt x="10084" y="6947"/>
                  </a:lnTo>
                  <a:lnTo>
                    <a:pt x="3810" y="672"/>
                  </a:lnTo>
                  <a:cubicBezTo>
                    <a:pt x="2913" y="-224"/>
                    <a:pt x="1569" y="-224"/>
                    <a:pt x="672" y="672"/>
                  </a:cubicBezTo>
                  <a:cubicBezTo>
                    <a:pt x="-224" y="1569"/>
                    <a:pt x="-224" y="2913"/>
                    <a:pt x="672" y="3809"/>
                  </a:cubicBezTo>
                  <a:lnTo>
                    <a:pt x="6947" y="10084"/>
                  </a:lnTo>
                  <a:lnTo>
                    <a:pt x="672" y="16358"/>
                  </a:lnTo>
                  <a:cubicBezTo>
                    <a:pt x="-224" y="17255"/>
                    <a:pt x="-224" y="18599"/>
                    <a:pt x="672" y="19495"/>
                  </a:cubicBezTo>
                  <a:cubicBezTo>
                    <a:pt x="1120" y="19944"/>
                    <a:pt x="1569" y="19944"/>
                    <a:pt x="2465" y="19944"/>
                  </a:cubicBezTo>
                  <a:cubicBezTo>
                    <a:pt x="3361" y="19944"/>
                    <a:pt x="3810" y="19944"/>
                    <a:pt x="4258" y="19495"/>
                  </a:cubicBezTo>
                  <a:lnTo>
                    <a:pt x="10532" y="13221"/>
                  </a:lnTo>
                  <a:lnTo>
                    <a:pt x="16806" y="19495"/>
                  </a:lnTo>
                  <a:cubicBezTo>
                    <a:pt x="17255" y="19944"/>
                    <a:pt x="17703" y="19944"/>
                    <a:pt x="18599" y="19944"/>
                  </a:cubicBezTo>
                  <a:cubicBezTo>
                    <a:pt x="19495" y="19944"/>
                    <a:pt x="19944" y="19944"/>
                    <a:pt x="20392" y="19495"/>
                  </a:cubicBezTo>
                  <a:cubicBezTo>
                    <a:pt x="21288" y="18599"/>
                    <a:pt x="21288" y="17255"/>
                    <a:pt x="20392" y="16358"/>
                  </a:cubicBezTo>
                  <a:lnTo>
                    <a:pt x="13221" y="10084"/>
                  </a:lnTo>
                  <a:close/>
                </a:path>
              </a:pathLst>
            </a:custGeom>
            <a:solidFill>
              <a:srgbClr val="231F20"/>
            </a:solidFill>
            <a:ln w="4477" cap="flat">
              <a:noFill/>
              <a:prstDash val="solid"/>
              <a:miter/>
            </a:ln>
          </p:spPr>
          <p:txBody>
            <a:bodyPr rtlCol="0" anchor="ctr"/>
            <a:lstStyle/>
            <a:p>
              <a:endParaRPr lang="en-US"/>
            </a:p>
          </p:txBody>
        </p:sp>
        <p:sp>
          <p:nvSpPr>
            <p:cNvPr id="5379" name="Freeform: Shape 5378">
              <a:extLst>
                <a:ext uri="{FF2B5EF4-FFF2-40B4-BE49-F238E27FC236}">
                  <a16:creationId xmlns:a16="http://schemas.microsoft.com/office/drawing/2014/main" id="{B3802DDC-1AFE-4EFE-8C4F-5B0FCB4CB300}"/>
                </a:ext>
              </a:extLst>
            </p:cNvPr>
            <p:cNvSpPr/>
            <p:nvPr/>
          </p:nvSpPr>
          <p:spPr>
            <a:xfrm>
              <a:off x="9963282" y="2456853"/>
              <a:ext cx="26890" cy="26890"/>
            </a:xfrm>
            <a:custGeom>
              <a:avLst/>
              <a:gdLst>
                <a:gd name="connsiteX0" fmla="*/ 13893 w 26890"/>
                <a:gd name="connsiteY0" fmla="*/ 27787 h 26890"/>
                <a:gd name="connsiteX1" fmla="*/ 27787 w 26890"/>
                <a:gd name="connsiteY1" fmla="*/ 13893 h 26890"/>
                <a:gd name="connsiteX2" fmla="*/ 13893 w 26890"/>
                <a:gd name="connsiteY2" fmla="*/ 0 h 26890"/>
                <a:gd name="connsiteX3" fmla="*/ 0 w 26890"/>
                <a:gd name="connsiteY3" fmla="*/ 13893 h 26890"/>
                <a:gd name="connsiteX4" fmla="*/ 13893 w 26890"/>
                <a:gd name="connsiteY4" fmla="*/ 27787 h 26890"/>
                <a:gd name="connsiteX5" fmla="*/ 13893 w 26890"/>
                <a:gd name="connsiteY5" fmla="*/ 4930 h 26890"/>
                <a:gd name="connsiteX6" fmla="*/ 23305 w 26890"/>
                <a:gd name="connsiteY6" fmla="*/ 14342 h 26890"/>
                <a:gd name="connsiteX7" fmla="*/ 13893 w 26890"/>
                <a:gd name="connsiteY7" fmla="*/ 23753 h 26890"/>
                <a:gd name="connsiteX8" fmla="*/ 4482 w 26890"/>
                <a:gd name="connsiteY8" fmla="*/ 14342 h 26890"/>
                <a:gd name="connsiteX9" fmla="*/ 13893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3893" y="27787"/>
                  </a:moveTo>
                  <a:cubicBezTo>
                    <a:pt x="21512" y="27787"/>
                    <a:pt x="27787" y="21512"/>
                    <a:pt x="27787" y="13893"/>
                  </a:cubicBezTo>
                  <a:cubicBezTo>
                    <a:pt x="27787" y="6274"/>
                    <a:pt x="21512" y="0"/>
                    <a:pt x="13893" y="0"/>
                  </a:cubicBezTo>
                  <a:cubicBezTo>
                    <a:pt x="6274" y="0"/>
                    <a:pt x="0" y="6274"/>
                    <a:pt x="0" y="13893"/>
                  </a:cubicBezTo>
                  <a:cubicBezTo>
                    <a:pt x="448" y="21512"/>
                    <a:pt x="6274" y="27787"/>
                    <a:pt x="13893" y="27787"/>
                  </a:cubicBezTo>
                  <a:close/>
                  <a:moveTo>
                    <a:pt x="13893" y="4930"/>
                  </a:moveTo>
                  <a:cubicBezTo>
                    <a:pt x="18823" y="4930"/>
                    <a:pt x="23305" y="8963"/>
                    <a:pt x="23305" y="14342"/>
                  </a:cubicBezTo>
                  <a:cubicBezTo>
                    <a:pt x="23305" y="19720"/>
                    <a:pt x="19271" y="23753"/>
                    <a:pt x="13893" y="23753"/>
                  </a:cubicBezTo>
                  <a:cubicBezTo>
                    <a:pt x="8963" y="23753"/>
                    <a:pt x="4482" y="19720"/>
                    <a:pt x="4482" y="14342"/>
                  </a:cubicBezTo>
                  <a:cubicBezTo>
                    <a:pt x="4482" y="8963"/>
                    <a:pt x="8963" y="4930"/>
                    <a:pt x="13893" y="4930"/>
                  </a:cubicBezTo>
                  <a:close/>
                </a:path>
              </a:pathLst>
            </a:custGeom>
            <a:solidFill>
              <a:srgbClr val="231F20"/>
            </a:solidFill>
            <a:ln w="4477" cap="flat">
              <a:noFill/>
              <a:prstDash val="solid"/>
              <a:miter/>
            </a:ln>
          </p:spPr>
          <p:txBody>
            <a:bodyPr rtlCol="0" anchor="ctr"/>
            <a:lstStyle/>
            <a:p>
              <a:endParaRPr lang="en-US"/>
            </a:p>
          </p:txBody>
        </p:sp>
        <p:sp>
          <p:nvSpPr>
            <p:cNvPr id="5380" name="Freeform: Shape 5379">
              <a:extLst>
                <a:ext uri="{FF2B5EF4-FFF2-40B4-BE49-F238E27FC236}">
                  <a16:creationId xmlns:a16="http://schemas.microsoft.com/office/drawing/2014/main" id="{26089040-E417-4BB7-9E55-F6F3683FF61D}"/>
                </a:ext>
              </a:extLst>
            </p:cNvPr>
            <p:cNvSpPr/>
            <p:nvPr/>
          </p:nvSpPr>
          <p:spPr>
            <a:xfrm>
              <a:off x="9941322" y="2492707"/>
              <a:ext cx="85152" cy="116524"/>
            </a:xfrm>
            <a:custGeom>
              <a:avLst/>
              <a:gdLst>
                <a:gd name="connsiteX0" fmla="*/ 58262 w 85152"/>
                <a:gd name="connsiteY0" fmla="*/ 37198 h 116524"/>
                <a:gd name="connsiteX1" fmla="*/ 58262 w 85152"/>
                <a:gd name="connsiteY1" fmla="*/ 4482 h 116524"/>
                <a:gd name="connsiteX2" fmla="*/ 63192 w 85152"/>
                <a:gd name="connsiteY2" fmla="*/ 4482 h 116524"/>
                <a:gd name="connsiteX3" fmla="*/ 65433 w 85152"/>
                <a:gd name="connsiteY3" fmla="*/ 2241 h 116524"/>
                <a:gd name="connsiteX4" fmla="*/ 63192 w 85152"/>
                <a:gd name="connsiteY4" fmla="*/ 0 h 116524"/>
                <a:gd name="connsiteX5" fmla="*/ 56021 w 85152"/>
                <a:gd name="connsiteY5" fmla="*/ 0 h 116524"/>
                <a:gd name="connsiteX6" fmla="*/ 29131 w 85152"/>
                <a:gd name="connsiteY6" fmla="*/ 0 h 116524"/>
                <a:gd name="connsiteX7" fmla="*/ 22409 w 85152"/>
                <a:gd name="connsiteY7" fmla="*/ 0 h 116524"/>
                <a:gd name="connsiteX8" fmla="*/ 20168 w 85152"/>
                <a:gd name="connsiteY8" fmla="*/ 2241 h 116524"/>
                <a:gd name="connsiteX9" fmla="*/ 22409 w 85152"/>
                <a:gd name="connsiteY9" fmla="*/ 4482 h 116524"/>
                <a:gd name="connsiteX10" fmla="*/ 26890 w 85152"/>
                <a:gd name="connsiteY10" fmla="*/ 4482 h 116524"/>
                <a:gd name="connsiteX11" fmla="*/ 26890 w 85152"/>
                <a:gd name="connsiteY11" fmla="*/ 37198 h 116524"/>
                <a:gd name="connsiteX12" fmla="*/ 0 w 85152"/>
                <a:gd name="connsiteY12" fmla="*/ 76637 h 116524"/>
                <a:gd name="connsiteX13" fmla="*/ 42576 w 85152"/>
                <a:gd name="connsiteY13" fmla="*/ 119213 h 116524"/>
                <a:gd name="connsiteX14" fmla="*/ 85152 w 85152"/>
                <a:gd name="connsiteY14" fmla="*/ 76637 h 116524"/>
                <a:gd name="connsiteX15" fmla="*/ 58262 w 85152"/>
                <a:gd name="connsiteY15" fmla="*/ 37198 h 116524"/>
                <a:gd name="connsiteX16" fmla="*/ 30027 w 85152"/>
                <a:gd name="connsiteY16" fmla="*/ 40784 h 116524"/>
                <a:gd name="connsiteX17" fmla="*/ 30027 w 85152"/>
                <a:gd name="connsiteY17" fmla="*/ 40784 h 116524"/>
                <a:gd name="connsiteX18" fmla="*/ 30476 w 85152"/>
                <a:gd name="connsiteY18" fmla="*/ 40335 h 116524"/>
                <a:gd name="connsiteX19" fmla="*/ 30924 w 85152"/>
                <a:gd name="connsiteY19" fmla="*/ 40335 h 116524"/>
                <a:gd name="connsiteX20" fmla="*/ 31372 w 85152"/>
                <a:gd name="connsiteY20" fmla="*/ 39887 h 116524"/>
                <a:gd name="connsiteX21" fmla="*/ 31820 w 85152"/>
                <a:gd name="connsiteY21" fmla="*/ 39439 h 116524"/>
                <a:gd name="connsiteX22" fmla="*/ 31820 w 85152"/>
                <a:gd name="connsiteY22" fmla="*/ 38991 h 116524"/>
                <a:gd name="connsiteX23" fmla="*/ 31820 w 85152"/>
                <a:gd name="connsiteY23" fmla="*/ 38543 h 116524"/>
                <a:gd name="connsiteX24" fmla="*/ 31820 w 85152"/>
                <a:gd name="connsiteY24" fmla="*/ 38543 h 116524"/>
                <a:gd name="connsiteX25" fmla="*/ 31820 w 85152"/>
                <a:gd name="connsiteY25" fmla="*/ 4482 h 116524"/>
                <a:gd name="connsiteX26" fmla="*/ 54228 w 85152"/>
                <a:gd name="connsiteY26" fmla="*/ 4482 h 116524"/>
                <a:gd name="connsiteX27" fmla="*/ 54228 w 85152"/>
                <a:gd name="connsiteY27" fmla="*/ 38543 h 116524"/>
                <a:gd name="connsiteX28" fmla="*/ 54228 w 85152"/>
                <a:gd name="connsiteY28" fmla="*/ 38543 h 116524"/>
                <a:gd name="connsiteX29" fmla="*/ 54228 w 85152"/>
                <a:gd name="connsiteY29" fmla="*/ 38991 h 116524"/>
                <a:gd name="connsiteX30" fmla="*/ 54228 w 85152"/>
                <a:gd name="connsiteY30" fmla="*/ 39439 h 116524"/>
                <a:gd name="connsiteX31" fmla="*/ 54677 w 85152"/>
                <a:gd name="connsiteY31" fmla="*/ 39887 h 116524"/>
                <a:gd name="connsiteX32" fmla="*/ 55125 w 85152"/>
                <a:gd name="connsiteY32" fmla="*/ 40335 h 116524"/>
                <a:gd name="connsiteX33" fmla="*/ 55573 w 85152"/>
                <a:gd name="connsiteY33" fmla="*/ 40335 h 116524"/>
                <a:gd name="connsiteX34" fmla="*/ 56021 w 85152"/>
                <a:gd name="connsiteY34" fmla="*/ 40784 h 116524"/>
                <a:gd name="connsiteX35" fmla="*/ 56021 w 85152"/>
                <a:gd name="connsiteY35" fmla="*/ 40784 h 116524"/>
                <a:gd name="connsiteX36" fmla="*/ 81119 w 85152"/>
                <a:gd name="connsiteY36" fmla="*/ 74396 h 116524"/>
                <a:gd name="connsiteX37" fmla="*/ 4930 w 85152"/>
                <a:gd name="connsiteY37" fmla="*/ 74396 h 116524"/>
                <a:gd name="connsiteX38" fmla="*/ 30027 w 85152"/>
                <a:gd name="connsiteY38" fmla="*/ 40784 h 116524"/>
                <a:gd name="connsiteX39" fmla="*/ 42576 w 85152"/>
                <a:gd name="connsiteY39" fmla="*/ 114732 h 116524"/>
                <a:gd name="connsiteX40" fmla="*/ 4482 w 85152"/>
                <a:gd name="connsiteY40" fmla="*/ 78878 h 116524"/>
                <a:gd name="connsiteX41" fmla="*/ 80222 w 85152"/>
                <a:gd name="connsiteY41" fmla="*/ 78878 h 116524"/>
                <a:gd name="connsiteX42" fmla="*/ 42576 w 85152"/>
                <a:gd name="connsiteY42" fmla="*/ 114732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5152" h="116524">
                  <a:moveTo>
                    <a:pt x="58262" y="37198"/>
                  </a:moveTo>
                  <a:lnTo>
                    <a:pt x="58262" y="4482"/>
                  </a:lnTo>
                  <a:lnTo>
                    <a:pt x="63192" y="4482"/>
                  </a:lnTo>
                  <a:cubicBezTo>
                    <a:pt x="64536" y="4482"/>
                    <a:pt x="65433" y="3585"/>
                    <a:pt x="65433" y="2241"/>
                  </a:cubicBezTo>
                  <a:cubicBezTo>
                    <a:pt x="65433" y="896"/>
                    <a:pt x="64536" y="0"/>
                    <a:pt x="63192" y="0"/>
                  </a:cubicBezTo>
                  <a:lnTo>
                    <a:pt x="56021" y="0"/>
                  </a:lnTo>
                  <a:lnTo>
                    <a:pt x="29131" y="0"/>
                  </a:lnTo>
                  <a:lnTo>
                    <a:pt x="22409" y="0"/>
                  </a:lnTo>
                  <a:cubicBezTo>
                    <a:pt x="21064" y="0"/>
                    <a:pt x="20168" y="896"/>
                    <a:pt x="20168" y="2241"/>
                  </a:cubicBezTo>
                  <a:cubicBezTo>
                    <a:pt x="20168" y="3585"/>
                    <a:pt x="21064" y="4482"/>
                    <a:pt x="22409" y="4482"/>
                  </a:cubicBezTo>
                  <a:lnTo>
                    <a:pt x="26890" y="4482"/>
                  </a:lnTo>
                  <a:lnTo>
                    <a:pt x="26890" y="37198"/>
                  </a:lnTo>
                  <a:cubicBezTo>
                    <a:pt x="10756" y="43473"/>
                    <a:pt x="0" y="59159"/>
                    <a:pt x="0" y="76637"/>
                  </a:cubicBezTo>
                  <a:cubicBezTo>
                    <a:pt x="0" y="99942"/>
                    <a:pt x="19271" y="119213"/>
                    <a:pt x="42576" y="119213"/>
                  </a:cubicBezTo>
                  <a:cubicBezTo>
                    <a:pt x="65881" y="119213"/>
                    <a:pt x="85152" y="99942"/>
                    <a:pt x="85152" y="76637"/>
                  </a:cubicBezTo>
                  <a:cubicBezTo>
                    <a:pt x="85152" y="59159"/>
                    <a:pt x="74396" y="43473"/>
                    <a:pt x="58262" y="37198"/>
                  </a:cubicBezTo>
                  <a:close/>
                  <a:moveTo>
                    <a:pt x="30027" y="40784"/>
                  </a:moveTo>
                  <a:cubicBezTo>
                    <a:pt x="30027" y="40784"/>
                    <a:pt x="30027" y="40784"/>
                    <a:pt x="30027" y="40784"/>
                  </a:cubicBezTo>
                  <a:cubicBezTo>
                    <a:pt x="30027" y="40784"/>
                    <a:pt x="30476" y="40784"/>
                    <a:pt x="30476" y="40335"/>
                  </a:cubicBezTo>
                  <a:cubicBezTo>
                    <a:pt x="30476" y="40335"/>
                    <a:pt x="30924" y="40335"/>
                    <a:pt x="30924" y="40335"/>
                  </a:cubicBezTo>
                  <a:cubicBezTo>
                    <a:pt x="30924" y="40335"/>
                    <a:pt x="30924" y="40335"/>
                    <a:pt x="31372" y="39887"/>
                  </a:cubicBezTo>
                  <a:cubicBezTo>
                    <a:pt x="31372" y="39887"/>
                    <a:pt x="31372" y="39439"/>
                    <a:pt x="31820" y="39439"/>
                  </a:cubicBezTo>
                  <a:cubicBezTo>
                    <a:pt x="31820" y="39439"/>
                    <a:pt x="31820" y="38991"/>
                    <a:pt x="31820" y="38991"/>
                  </a:cubicBezTo>
                  <a:cubicBezTo>
                    <a:pt x="31820" y="38991"/>
                    <a:pt x="31820" y="38543"/>
                    <a:pt x="31820" y="38543"/>
                  </a:cubicBezTo>
                  <a:cubicBezTo>
                    <a:pt x="31820" y="38543"/>
                    <a:pt x="31820" y="38543"/>
                    <a:pt x="31820" y="38543"/>
                  </a:cubicBezTo>
                  <a:lnTo>
                    <a:pt x="31820" y="4482"/>
                  </a:lnTo>
                  <a:lnTo>
                    <a:pt x="54228" y="4482"/>
                  </a:lnTo>
                  <a:lnTo>
                    <a:pt x="54228" y="38543"/>
                  </a:lnTo>
                  <a:cubicBezTo>
                    <a:pt x="54228" y="38543"/>
                    <a:pt x="54228" y="38543"/>
                    <a:pt x="54228" y="38543"/>
                  </a:cubicBezTo>
                  <a:cubicBezTo>
                    <a:pt x="54228" y="38543"/>
                    <a:pt x="54228" y="38991"/>
                    <a:pt x="54228" y="38991"/>
                  </a:cubicBezTo>
                  <a:cubicBezTo>
                    <a:pt x="54228" y="38991"/>
                    <a:pt x="54228" y="39439"/>
                    <a:pt x="54228" y="39439"/>
                  </a:cubicBezTo>
                  <a:cubicBezTo>
                    <a:pt x="54228" y="39439"/>
                    <a:pt x="54228" y="39887"/>
                    <a:pt x="54677" y="39887"/>
                  </a:cubicBezTo>
                  <a:cubicBezTo>
                    <a:pt x="54677" y="39887"/>
                    <a:pt x="54677" y="40335"/>
                    <a:pt x="55125" y="40335"/>
                  </a:cubicBezTo>
                  <a:cubicBezTo>
                    <a:pt x="55125" y="40335"/>
                    <a:pt x="55125" y="40335"/>
                    <a:pt x="55573" y="40335"/>
                  </a:cubicBezTo>
                  <a:cubicBezTo>
                    <a:pt x="55573" y="40335"/>
                    <a:pt x="56021" y="40335"/>
                    <a:pt x="56021" y="40784"/>
                  </a:cubicBezTo>
                  <a:cubicBezTo>
                    <a:pt x="56021" y="40784"/>
                    <a:pt x="56021" y="40784"/>
                    <a:pt x="56021" y="40784"/>
                  </a:cubicBezTo>
                  <a:cubicBezTo>
                    <a:pt x="70363" y="45713"/>
                    <a:pt x="80222" y="59159"/>
                    <a:pt x="81119" y="74396"/>
                  </a:cubicBezTo>
                  <a:lnTo>
                    <a:pt x="4930" y="74396"/>
                  </a:lnTo>
                  <a:cubicBezTo>
                    <a:pt x="5826" y="59159"/>
                    <a:pt x="15686" y="45713"/>
                    <a:pt x="30027" y="40784"/>
                  </a:cubicBezTo>
                  <a:close/>
                  <a:moveTo>
                    <a:pt x="42576" y="114732"/>
                  </a:moveTo>
                  <a:cubicBezTo>
                    <a:pt x="22409" y="114732"/>
                    <a:pt x="5826" y="99046"/>
                    <a:pt x="4482" y="78878"/>
                  </a:cubicBezTo>
                  <a:lnTo>
                    <a:pt x="80222" y="78878"/>
                  </a:lnTo>
                  <a:cubicBezTo>
                    <a:pt x="79326" y="99046"/>
                    <a:pt x="62744" y="114732"/>
                    <a:pt x="42576" y="114732"/>
                  </a:cubicBezTo>
                  <a:close/>
                </a:path>
              </a:pathLst>
            </a:custGeom>
            <a:solidFill>
              <a:srgbClr val="231F20"/>
            </a:solidFill>
            <a:ln w="4477" cap="flat">
              <a:noFill/>
              <a:prstDash val="solid"/>
              <a:miter/>
            </a:ln>
          </p:spPr>
          <p:txBody>
            <a:bodyPr rtlCol="0" anchor="ctr"/>
            <a:lstStyle/>
            <a:p>
              <a:endParaRPr lang="en-US"/>
            </a:p>
          </p:txBody>
        </p:sp>
      </p:grpSp>
      <p:grpSp>
        <p:nvGrpSpPr>
          <p:cNvPr id="2497" name="Group 2496">
            <a:extLst>
              <a:ext uri="{FF2B5EF4-FFF2-40B4-BE49-F238E27FC236}">
                <a16:creationId xmlns:a16="http://schemas.microsoft.com/office/drawing/2014/main" id="{543D7F8F-7113-4AC9-B725-C7588DB536DE}"/>
              </a:ext>
              <a:ext uri="{C183D7F6-B498-43B3-948B-1728B52AA6E4}">
                <adec:decorative xmlns:adec="http://schemas.microsoft.com/office/drawing/2017/decorative" val="1"/>
              </a:ext>
            </a:extLst>
          </p:cNvPr>
          <p:cNvGrpSpPr>
            <a:grpSpLocks noChangeAspect="1"/>
          </p:cNvGrpSpPr>
          <p:nvPr/>
        </p:nvGrpSpPr>
        <p:grpSpPr>
          <a:xfrm>
            <a:off x="10926817" y="4515234"/>
            <a:ext cx="89634" cy="152378"/>
            <a:chOff x="10983317" y="2459543"/>
            <a:chExt cx="89634" cy="152378"/>
          </a:xfrm>
        </p:grpSpPr>
        <p:sp>
          <p:nvSpPr>
            <p:cNvPr id="5375" name="Freeform: Shape 5374">
              <a:extLst>
                <a:ext uri="{FF2B5EF4-FFF2-40B4-BE49-F238E27FC236}">
                  <a16:creationId xmlns:a16="http://schemas.microsoft.com/office/drawing/2014/main" id="{5274F9E3-D00F-492A-84CB-428D15756920}"/>
                </a:ext>
              </a:extLst>
            </p:cNvPr>
            <p:cNvSpPr/>
            <p:nvPr/>
          </p:nvSpPr>
          <p:spPr>
            <a:xfrm>
              <a:off x="10983317" y="2459543"/>
              <a:ext cx="89634" cy="152378"/>
            </a:xfrm>
            <a:custGeom>
              <a:avLst/>
              <a:gdLst>
                <a:gd name="connsiteX0" fmla="*/ 90530 w 89634"/>
                <a:gd name="connsiteY0" fmla="*/ 66329 h 152377"/>
                <a:gd name="connsiteX1" fmla="*/ 59607 w 89634"/>
                <a:gd name="connsiteY1" fmla="*/ 32268 h 152377"/>
                <a:gd name="connsiteX2" fmla="*/ 59607 w 89634"/>
                <a:gd name="connsiteY2" fmla="*/ 23753 h 152377"/>
                <a:gd name="connsiteX3" fmla="*/ 63640 w 89634"/>
                <a:gd name="connsiteY3" fmla="*/ 23753 h 152377"/>
                <a:gd name="connsiteX4" fmla="*/ 72155 w 89634"/>
                <a:gd name="connsiteY4" fmla="*/ 15238 h 152377"/>
                <a:gd name="connsiteX5" fmla="*/ 72155 w 89634"/>
                <a:gd name="connsiteY5" fmla="*/ 8515 h 152377"/>
                <a:gd name="connsiteX6" fmla="*/ 63640 w 89634"/>
                <a:gd name="connsiteY6" fmla="*/ 0 h 152377"/>
                <a:gd name="connsiteX7" fmla="*/ 26890 w 89634"/>
                <a:gd name="connsiteY7" fmla="*/ 0 h 152377"/>
                <a:gd name="connsiteX8" fmla="*/ 18375 w 89634"/>
                <a:gd name="connsiteY8" fmla="*/ 8515 h 152377"/>
                <a:gd name="connsiteX9" fmla="*/ 18375 w 89634"/>
                <a:gd name="connsiteY9" fmla="*/ 15238 h 152377"/>
                <a:gd name="connsiteX10" fmla="*/ 26890 w 89634"/>
                <a:gd name="connsiteY10" fmla="*/ 23753 h 152377"/>
                <a:gd name="connsiteX11" fmla="*/ 30924 w 89634"/>
                <a:gd name="connsiteY11" fmla="*/ 23753 h 152377"/>
                <a:gd name="connsiteX12" fmla="*/ 30924 w 89634"/>
                <a:gd name="connsiteY12" fmla="*/ 32268 h 152377"/>
                <a:gd name="connsiteX13" fmla="*/ 0 w 89634"/>
                <a:gd name="connsiteY13" fmla="*/ 66329 h 152377"/>
                <a:gd name="connsiteX14" fmla="*/ 0 w 89634"/>
                <a:gd name="connsiteY14" fmla="*/ 66329 h 152377"/>
                <a:gd name="connsiteX15" fmla="*/ 0 w 89634"/>
                <a:gd name="connsiteY15" fmla="*/ 145655 h 152377"/>
                <a:gd name="connsiteX16" fmla="*/ 6723 w 89634"/>
                <a:gd name="connsiteY16" fmla="*/ 152378 h 152377"/>
                <a:gd name="connsiteX17" fmla="*/ 82911 w 89634"/>
                <a:gd name="connsiteY17" fmla="*/ 152378 h 152377"/>
                <a:gd name="connsiteX18" fmla="*/ 91427 w 89634"/>
                <a:gd name="connsiteY18" fmla="*/ 143863 h 152377"/>
                <a:gd name="connsiteX19" fmla="*/ 90530 w 89634"/>
                <a:gd name="connsiteY19" fmla="*/ 66329 h 152377"/>
                <a:gd name="connsiteX20" fmla="*/ 90530 w 89634"/>
                <a:gd name="connsiteY20" fmla="*/ 66329 h 152377"/>
                <a:gd name="connsiteX21" fmla="*/ 3585 w 89634"/>
                <a:gd name="connsiteY21" fmla="*/ 66777 h 152377"/>
                <a:gd name="connsiteX22" fmla="*/ 4033 w 89634"/>
                <a:gd name="connsiteY22" fmla="*/ 62296 h 152377"/>
                <a:gd name="connsiteX23" fmla="*/ 85152 w 89634"/>
                <a:gd name="connsiteY23" fmla="*/ 62296 h 152377"/>
                <a:gd name="connsiteX24" fmla="*/ 85600 w 89634"/>
                <a:gd name="connsiteY24" fmla="*/ 62296 h 152377"/>
                <a:gd name="connsiteX25" fmla="*/ 86048 w 89634"/>
                <a:gd name="connsiteY25" fmla="*/ 66777 h 152377"/>
                <a:gd name="connsiteX26" fmla="*/ 86048 w 89634"/>
                <a:gd name="connsiteY26" fmla="*/ 66777 h 152377"/>
                <a:gd name="connsiteX27" fmla="*/ 86048 w 89634"/>
                <a:gd name="connsiteY27" fmla="*/ 129073 h 152377"/>
                <a:gd name="connsiteX28" fmla="*/ 85152 w 89634"/>
                <a:gd name="connsiteY28" fmla="*/ 129073 h 152377"/>
                <a:gd name="connsiteX29" fmla="*/ 4482 w 89634"/>
                <a:gd name="connsiteY29" fmla="*/ 129073 h 152377"/>
                <a:gd name="connsiteX30" fmla="*/ 3585 w 89634"/>
                <a:gd name="connsiteY30" fmla="*/ 129073 h 152377"/>
                <a:gd name="connsiteX31" fmla="*/ 3585 w 89634"/>
                <a:gd name="connsiteY31" fmla="*/ 66777 h 152377"/>
                <a:gd name="connsiteX32" fmla="*/ 22409 w 89634"/>
                <a:gd name="connsiteY32" fmla="*/ 15238 h 152377"/>
                <a:gd name="connsiteX33" fmla="*/ 22409 w 89634"/>
                <a:gd name="connsiteY33" fmla="*/ 8515 h 152377"/>
                <a:gd name="connsiteX34" fmla="*/ 26442 w 89634"/>
                <a:gd name="connsiteY34" fmla="*/ 4482 h 152377"/>
                <a:gd name="connsiteX35" fmla="*/ 63192 w 89634"/>
                <a:gd name="connsiteY35" fmla="*/ 4482 h 152377"/>
                <a:gd name="connsiteX36" fmla="*/ 67226 w 89634"/>
                <a:gd name="connsiteY36" fmla="*/ 8515 h 152377"/>
                <a:gd name="connsiteX37" fmla="*/ 67226 w 89634"/>
                <a:gd name="connsiteY37" fmla="*/ 15238 h 152377"/>
                <a:gd name="connsiteX38" fmla="*/ 63192 w 89634"/>
                <a:gd name="connsiteY38" fmla="*/ 19271 h 152377"/>
                <a:gd name="connsiteX39" fmla="*/ 26442 w 89634"/>
                <a:gd name="connsiteY39" fmla="*/ 19271 h 152377"/>
                <a:gd name="connsiteX40" fmla="*/ 22409 w 89634"/>
                <a:gd name="connsiteY40" fmla="*/ 15238 h 152377"/>
                <a:gd name="connsiteX41" fmla="*/ 31820 w 89634"/>
                <a:gd name="connsiteY41" fmla="*/ 36750 h 152377"/>
                <a:gd name="connsiteX42" fmla="*/ 31820 w 89634"/>
                <a:gd name="connsiteY42" fmla="*/ 36750 h 152377"/>
                <a:gd name="connsiteX43" fmla="*/ 32268 w 89634"/>
                <a:gd name="connsiteY43" fmla="*/ 36750 h 152377"/>
                <a:gd name="connsiteX44" fmla="*/ 34509 w 89634"/>
                <a:gd name="connsiteY44" fmla="*/ 34509 h 152377"/>
                <a:gd name="connsiteX45" fmla="*/ 34509 w 89634"/>
                <a:gd name="connsiteY45" fmla="*/ 23753 h 152377"/>
                <a:gd name="connsiteX46" fmla="*/ 54677 w 89634"/>
                <a:gd name="connsiteY46" fmla="*/ 23753 h 152377"/>
                <a:gd name="connsiteX47" fmla="*/ 54677 w 89634"/>
                <a:gd name="connsiteY47" fmla="*/ 34509 h 152377"/>
                <a:gd name="connsiteX48" fmla="*/ 56917 w 89634"/>
                <a:gd name="connsiteY48" fmla="*/ 36750 h 152377"/>
                <a:gd name="connsiteX49" fmla="*/ 57366 w 89634"/>
                <a:gd name="connsiteY49" fmla="*/ 36750 h 152377"/>
                <a:gd name="connsiteX50" fmla="*/ 57814 w 89634"/>
                <a:gd name="connsiteY50" fmla="*/ 36750 h 152377"/>
                <a:gd name="connsiteX51" fmla="*/ 84256 w 89634"/>
                <a:gd name="connsiteY51" fmla="*/ 57814 h 152377"/>
                <a:gd name="connsiteX52" fmla="*/ 5378 w 89634"/>
                <a:gd name="connsiteY52" fmla="*/ 57814 h 152377"/>
                <a:gd name="connsiteX53" fmla="*/ 31820 w 89634"/>
                <a:gd name="connsiteY53" fmla="*/ 36750 h 152377"/>
                <a:gd name="connsiteX54" fmla="*/ 82015 w 89634"/>
                <a:gd name="connsiteY54" fmla="*/ 147896 h 152377"/>
                <a:gd name="connsiteX55" fmla="*/ 5826 w 89634"/>
                <a:gd name="connsiteY55" fmla="*/ 147896 h 152377"/>
                <a:gd name="connsiteX56" fmla="*/ 3585 w 89634"/>
                <a:gd name="connsiteY56" fmla="*/ 145655 h 152377"/>
                <a:gd name="connsiteX57" fmla="*/ 3585 w 89634"/>
                <a:gd name="connsiteY57" fmla="*/ 133107 h 152377"/>
                <a:gd name="connsiteX58" fmla="*/ 4482 w 89634"/>
                <a:gd name="connsiteY58" fmla="*/ 133107 h 152377"/>
                <a:gd name="connsiteX59" fmla="*/ 85152 w 89634"/>
                <a:gd name="connsiteY59" fmla="*/ 133107 h 152377"/>
                <a:gd name="connsiteX60" fmla="*/ 86048 w 89634"/>
                <a:gd name="connsiteY60" fmla="*/ 133107 h 152377"/>
                <a:gd name="connsiteX61" fmla="*/ 86048 w 89634"/>
                <a:gd name="connsiteY61" fmla="*/ 144311 h 152377"/>
                <a:gd name="connsiteX62" fmla="*/ 82015 w 89634"/>
                <a:gd name="connsiteY62"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9634" h="152377">
                  <a:moveTo>
                    <a:pt x="90530" y="66329"/>
                  </a:moveTo>
                  <a:cubicBezTo>
                    <a:pt x="90082" y="54229"/>
                    <a:pt x="79774" y="33613"/>
                    <a:pt x="59607" y="32268"/>
                  </a:cubicBezTo>
                  <a:lnTo>
                    <a:pt x="59607" y="23753"/>
                  </a:lnTo>
                  <a:lnTo>
                    <a:pt x="63640" y="23753"/>
                  </a:lnTo>
                  <a:cubicBezTo>
                    <a:pt x="68570" y="23753"/>
                    <a:pt x="72155" y="19719"/>
                    <a:pt x="72155" y="15238"/>
                  </a:cubicBezTo>
                  <a:lnTo>
                    <a:pt x="72155" y="8515"/>
                  </a:lnTo>
                  <a:cubicBezTo>
                    <a:pt x="72155" y="3585"/>
                    <a:pt x="68122" y="0"/>
                    <a:pt x="63640" y="0"/>
                  </a:cubicBezTo>
                  <a:lnTo>
                    <a:pt x="26890" y="0"/>
                  </a:lnTo>
                  <a:cubicBezTo>
                    <a:pt x="21960" y="0"/>
                    <a:pt x="18375" y="4034"/>
                    <a:pt x="18375" y="8515"/>
                  </a:cubicBezTo>
                  <a:lnTo>
                    <a:pt x="18375" y="15238"/>
                  </a:lnTo>
                  <a:cubicBezTo>
                    <a:pt x="18375" y="20168"/>
                    <a:pt x="22409" y="23753"/>
                    <a:pt x="26890" y="23753"/>
                  </a:cubicBezTo>
                  <a:lnTo>
                    <a:pt x="30924" y="23753"/>
                  </a:lnTo>
                  <a:lnTo>
                    <a:pt x="30924" y="32268"/>
                  </a:lnTo>
                  <a:cubicBezTo>
                    <a:pt x="10308" y="33165"/>
                    <a:pt x="0" y="54229"/>
                    <a:pt x="0" y="66329"/>
                  </a:cubicBezTo>
                  <a:cubicBezTo>
                    <a:pt x="0" y="66329"/>
                    <a:pt x="0" y="66329"/>
                    <a:pt x="0" y="66329"/>
                  </a:cubicBezTo>
                  <a:lnTo>
                    <a:pt x="0" y="145655"/>
                  </a:lnTo>
                  <a:cubicBezTo>
                    <a:pt x="0" y="149241"/>
                    <a:pt x="3137" y="152378"/>
                    <a:pt x="6723" y="152378"/>
                  </a:cubicBezTo>
                  <a:lnTo>
                    <a:pt x="82911" y="152378"/>
                  </a:lnTo>
                  <a:cubicBezTo>
                    <a:pt x="87393" y="152378"/>
                    <a:pt x="91427" y="148793"/>
                    <a:pt x="91427" y="143863"/>
                  </a:cubicBezTo>
                  <a:lnTo>
                    <a:pt x="90530" y="66329"/>
                  </a:lnTo>
                  <a:cubicBezTo>
                    <a:pt x="90530" y="66329"/>
                    <a:pt x="90530" y="66329"/>
                    <a:pt x="90530" y="66329"/>
                  </a:cubicBezTo>
                  <a:close/>
                  <a:moveTo>
                    <a:pt x="3585" y="66777"/>
                  </a:moveTo>
                  <a:cubicBezTo>
                    <a:pt x="3585" y="65433"/>
                    <a:pt x="3585" y="64088"/>
                    <a:pt x="4033" y="62296"/>
                  </a:cubicBezTo>
                  <a:lnTo>
                    <a:pt x="85152" y="62296"/>
                  </a:lnTo>
                  <a:cubicBezTo>
                    <a:pt x="85152" y="62296"/>
                    <a:pt x="85600" y="62296"/>
                    <a:pt x="85600" y="62296"/>
                  </a:cubicBezTo>
                  <a:cubicBezTo>
                    <a:pt x="86048" y="64088"/>
                    <a:pt x="86048" y="65433"/>
                    <a:pt x="86048" y="66777"/>
                  </a:cubicBezTo>
                  <a:cubicBezTo>
                    <a:pt x="86048" y="66777"/>
                    <a:pt x="86048" y="66777"/>
                    <a:pt x="86048" y="66777"/>
                  </a:cubicBezTo>
                  <a:lnTo>
                    <a:pt x="86048" y="129073"/>
                  </a:lnTo>
                  <a:cubicBezTo>
                    <a:pt x="85600" y="129073"/>
                    <a:pt x="85600" y="129073"/>
                    <a:pt x="85152" y="129073"/>
                  </a:cubicBezTo>
                  <a:lnTo>
                    <a:pt x="4482" y="129073"/>
                  </a:lnTo>
                  <a:cubicBezTo>
                    <a:pt x="4033" y="129073"/>
                    <a:pt x="4033" y="129073"/>
                    <a:pt x="3585" y="129073"/>
                  </a:cubicBezTo>
                  <a:lnTo>
                    <a:pt x="3585" y="66777"/>
                  </a:lnTo>
                  <a:close/>
                  <a:moveTo>
                    <a:pt x="22409" y="15238"/>
                  </a:moveTo>
                  <a:lnTo>
                    <a:pt x="22409" y="8515"/>
                  </a:lnTo>
                  <a:cubicBezTo>
                    <a:pt x="22409" y="6274"/>
                    <a:pt x="24201" y="4482"/>
                    <a:pt x="26442" y="4482"/>
                  </a:cubicBezTo>
                  <a:lnTo>
                    <a:pt x="63192" y="4482"/>
                  </a:lnTo>
                  <a:cubicBezTo>
                    <a:pt x="65433" y="4482"/>
                    <a:pt x="67226" y="6274"/>
                    <a:pt x="67226" y="8515"/>
                  </a:cubicBezTo>
                  <a:lnTo>
                    <a:pt x="67226" y="15238"/>
                  </a:lnTo>
                  <a:cubicBezTo>
                    <a:pt x="67226" y="17479"/>
                    <a:pt x="65433" y="19271"/>
                    <a:pt x="63192" y="19271"/>
                  </a:cubicBezTo>
                  <a:lnTo>
                    <a:pt x="26442" y="19271"/>
                  </a:lnTo>
                  <a:cubicBezTo>
                    <a:pt x="24201" y="19271"/>
                    <a:pt x="22409" y="17479"/>
                    <a:pt x="22409" y="15238"/>
                  </a:cubicBezTo>
                  <a:close/>
                  <a:moveTo>
                    <a:pt x="31820" y="36750"/>
                  </a:moveTo>
                  <a:cubicBezTo>
                    <a:pt x="31820" y="36750"/>
                    <a:pt x="31820" y="36750"/>
                    <a:pt x="31820" y="36750"/>
                  </a:cubicBezTo>
                  <a:cubicBezTo>
                    <a:pt x="32268" y="36750"/>
                    <a:pt x="32268" y="36750"/>
                    <a:pt x="32268" y="36750"/>
                  </a:cubicBezTo>
                  <a:cubicBezTo>
                    <a:pt x="33613" y="36750"/>
                    <a:pt x="34509" y="35854"/>
                    <a:pt x="34509" y="34509"/>
                  </a:cubicBezTo>
                  <a:lnTo>
                    <a:pt x="34509" y="23753"/>
                  </a:lnTo>
                  <a:lnTo>
                    <a:pt x="54677" y="23753"/>
                  </a:lnTo>
                  <a:lnTo>
                    <a:pt x="54677" y="34509"/>
                  </a:lnTo>
                  <a:cubicBezTo>
                    <a:pt x="54677" y="35854"/>
                    <a:pt x="55573" y="36750"/>
                    <a:pt x="56917" y="36750"/>
                  </a:cubicBezTo>
                  <a:cubicBezTo>
                    <a:pt x="56917" y="36750"/>
                    <a:pt x="56917" y="36750"/>
                    <a:pt x="57366" y="36750"/>
                  </a:cubicBezTo>
                  <a:cubicBezTo>
                    <a:pt x="57366" y="36750"/>
                    <a:pt x="57366" y="36750"/>
                    <a:pt x="57814" y="36750"/>
                  </a:cubicBezTo>
                  <a:cubicBezTo>
                    <a:pt x="72603" y="36750"/>
                    <a:pt x="81119" y="48402"/>
                    <a:pt x="84256" y="57814"/>
                  </a:cubicBezTo>
                  <a:lnTo>
                    <a:pt x="5378" y="57814"/>
                  </a:lnTo>
                  <a:cubicBezTo>
                    <a:pt x="8515" y="48402"/>
                    <a:pt x="17030" y="36750"/>
                    <a:pt x="31820" y="36750"/>
                  </a:cubicBezTo>
                  <a:close/>
                  <a:moveTo>
                    <a:pt x="82015" y="147896"/>
                  </a:moveTo>
                  <a:lnTo>
                    <a:pt x="5826" y="147896"/>
                  </a:lnTo>
                  <a:cubicBezTo>
                    <a:pt x="4482" y="147896"/>
                    <a:pt x="3585" y="147000"/>
                    <a:pt x="3585" y="145655"/>
                  </a:cubicBezTo>
                  <a:lnTo>
                    <a:pt x="3585" y="133107"/>
                  </a:lnTo>
                  <a:cubicBezTo>
                    <a:pt x="4033" y="133107"/>
                    <a:pt x="4033" y="133107"/>
                    <a:pt x="4482" y="133107"/>
                  </a:cubicBezTo>
                  <a:lnTo>
                    <a:pt x="85152" y="133107"/>
                  </a:lnTo>
                  <a:cubicBezTo>
                    <a:pt x="85600" y="133107"/>
                    <a:pt x="85600" y="133107"/>
                    <a:pt x="86048" y="133107"/>
                  </a:cubicBezTo>
                  <a:lnTo>
                    <a:pt x="86048" y="144311"/>
                  </a:lnTo>
                  <a:cubicBezTo>
                    <a:pt x="86048" y="146104"/>
                    <a:pt x="84256" y="147896"/>
                    <a:pt x="82015" y="147896"/>
                  </a:cubicBezTo>
                  <a:close/>
                </a:path>
              </a:pathLst>
            </a:custGeom>
            <a:solidFill>
              <a:srgbClr val="231F20"/>
            </a:solidFill>
            <a:ln w="4477" cap="flat">
              <a:noFill/>
              <a:prstDash val="solid"/>
              <a:miter/>
            </a:ln>
          </p:spPr>
          <p:txBody>
            <a:bodyPr rtlCol="0" anchor="ctr"/>
            <a:lstStyle/>
            <a:p>
              <a:endParaRPr lang="en-US"/>
            </a:p>
          </p:txBody>
        </p:sp>
        <p:sp>
          <p:nvSpPr>
            <p:cNvPr id="5376" name="Freeform: Shape 5375">
              <a:extLst>
                <a:ext uri="{FF2B5EF4-FFF2-40B4-BE49-F238E27FC236}">
                  <a16:creationId xmlns:a16="http://schemas.microsoft.com/office/drawing/2014/main" id="{4997593A-4129-47E6-ACA9-05B66AE0FB72}"/>
                </a:ext>
              </a:extLst>
            </p:cNvPr>
            <p:cNvSpPr/>
            <p:nvPr/>
          </p:nvSpPr>
          <p:spPr>
            <a:xfrm>
              <a:off x="11010208" y="2536628"/>
              <a:ext cx="35854" cy="35854"/>
            </a:xfrm>
            <a:custGeom>
              <a:avLst/>
              <a:gdLst>
                <a:gd name="connsiteX0" fmla="*/ 2241 w 35853"/>
                <a:gd name="connsiteY0" fmla="*/ 20616 h 35853"/>
                <a:gd name="connsiteX1" fmla="*/ 15686 w 35853"/>
                <a:gd name="connsiteY1" fmla="*/ 20616 h 35853"/>
                <a:gd name="connsiteX2" fmla="*/ 15686 w 35853"/>
                <a:gd name="connsiteY2" fmla="*/ 34509 h 35853"/>
                <a:gd name="connsiteX3" fmla="*/ 17927 w 35853"/>
                <a:gd name="connsiteY3" fmla="*/ 36750 h 35853"/>
                <a:gd name="connsiteX4" fmla="*/ 20168 w 35853"/>
                <a:gd name="connsiteY4" fmla="*/ 34509 h 35853"/>
                <a:gd name="connsiteX5" fmla="*/ 20168 w 35853"/>
                <a:gd name="connsiteY5" fmla="*/ 20616 h 35853"/>
                <a:gd name="connsiteX6" fmla="*/ 33613 w 35853"/>
                <a:gd name="connsiteY6" fmla="*/ 20616 h 35853"/>
                <a:gd name="connsiteX7" fmla="*/ 35854 w 35853"/>
                <a:gd name="connsiteY7" fmla="*/ 18375 h 35853"/>
                <a:gd name="connsiteX8" fmla="*/ 33613 w 35853"/>
                <a:gd name="connsiteY8" fmla="*/ 16134 h 35853"/>
                <a:gd name="connsiteX9" fmla="*/ 20168 w 35853"/>
                <a:gd name="connsiteY9" fmla="*/ 16134 h 35853"/>
                <a:gd name="connsiteX10" fmla="*/ 20168 w 35853"/>
                <a:gd name="connsiteY10" fmla="*/ 2241 h 35853"/>
                <a:gd name="connsiteX11" fmla="*/ 17927 w 35853"/>
                <a:gd name="connsiteY11" fmla="*/ 0 h 35853"/>
                <a:gd name="connsiteX12" fmla="*/ 15686 w 35853"/>
                <a:gd name="connsiteY12" fmla="*/ 2241 h 35853"/>
                <a:gd name="connsiteX13" fmla="*/ 15686 w 35853"/>
                <a:gd name="connsiteY13" fmla="*/ 16134 h 35853"/>
                <a:gd name="connsiteX14" fmla="*/ 2241 w 35853"/>
                <a:gd name="connsiteY14" fmla="*/ 16134 h 35853"/>
                <a:gd name="connsiteX15" fmla="*/ 0 w 35853"/>
                <a:gd name="connsiteY15" fmla="*/ 18375 h 35853"/>
                <a:gd name="connsiteX16" fmla="*/ 2241 w 35853"/>
                <a:gd name="connsiteY16" fmla="*/ 20616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2241" y="20616"/>
                  </a:moveTo>
                  <a:lnTo>
                    <a:pt x="15686" y="20616"/>
                  </a:lnTo>
                  <a:lnTo>
                    <a:pt x="15686" y="34509"/>
                  </a:lnTo>
                  <a:cubicBezTo>
                    <a:pt x="15686" y="35854"/>
                    <a:pt x="16582" y="36750"/>
                    <a:pt x="17927" y="36750"/>
                  </a:cubicBezTo>
                  <a:cubicBezTo>
                    <a:pt x="19271" y="36750"/>
                    <a:pt x="20168" y="35854"/>
                    <a:pt x="20168" y="34509"/>
                  </a:cubicBezTo>
                  <a:lnTo>
                    <a:pt x="20168" y="20616"/>
                  </a:lnTo>
                  <a:lnTo>
                    <a:pt x="33613" y="20616"/>
                  </a:lnTo>
                  <a:cubicBezTo>
                    <a:pt x="34957" y="20616"/>
                    <a:pt x="35854" y="19719"/>
                    <a:pt x="35854" y="18375"/>
                  </a:cubicBezTo>
                  <a:cubicBezTo>
                    <a:pt x="35854" y="17030"/>
                    <a:pt x="34957" y="16134"/>
                    <a:pt x="33613" y="16134"/>
                  </a:cubicBezTo>
                  <a:lnTo>
                    <a:pt x="20168" y="16134"/>
                  </a:lnTo>
                  <a:lnTo>
                    <a:pt x="20168" y="2241"/>
                  </a:lnTo>
                  <a:cubicBezTo>
                    <a:pt x="20168" y="896"/>
                    <a:pt x="19271" y="0"/>
                    <a:pt x="17927" y="0"/>
                  </a:cubicBezTo>
                  <a:cubicBezTo>
                    <a:pt x="16582" y="0"/>
                    <a:pt x="15686" y="896"/>
                    <a:pt x="15686" y="2241"/>
                  </a:cubicBezTo>
                  <a:lnTo>
                    <a:pt x="15686" y="16134"/>
                  </a:lnTo>
                  <a:lnTo>
                    <a:pt x="2241" y="16134"/>
                  </a:lnTo>
                  <a:cubicBezTo>
                    <a:pt x="896" y="16134"/>
                    <a:pt x="0" y="17030"/>
                    <a:pt x="0" y="18375"/>
                  </a:cubicBezTo>
                  <a:cubicBezTo>
                    <a:pt x="0" y="19719"/>
                    <a:pt x="1344" y="20616"/>
                    <a:pt x="2241" y="20616"/>
                  </a:cubicBezTo>
                  <a:close/>
                </a:path>
              </a:pathLst>
            </a:custGeom>
            <a:solidFill>
              <a:srgbClr val="231F20"/>
            </a:solidFill>
            <a:ln w="4477" cap="flat">
              <a:noFill/>
              <a:prstDash val="solid"/>
              <a:miter/>
            </a:ln>
          </p:spPr>
          <p:txBody>
            <a:bodyPr rtlCol="0" anchor="ctr"/>
            <a:lstStyle/>
            <a:p>
              <a:endParaRPr lang="en-US"/>
            </a:p>
          </p:txBody>
        </p:sp>
      </p:grpSp>
      <p:grpSp>
        <p:nvGrpSpPr>
          <p:cNvPr id="2498" name="Group 2497">
            <a:extLst>
              <a:ext uri="{FF2B5EF4-FFF2-40B4-BE49-F238E27FC236}">
                <a16:creationId xmlns:a16="http://schemas.microsoft.com/office/drawing/2014/main" id="{3140C08C-E31B-483B-BB92-D2BE724CE2D5}"/>
              </a:ext>
              <a:ext uri="{C183D7F6-B498-43B3-948B-1728B52AA6E4}">
                <adec:decorative xmlns:adec="http://schemas.microsoft.com/office/drawing/2017/decorative" val="1"/>
              </a:ext>
            </a:extLst>
          </p:cNvPr>
          <p:cNvGrpSpPr>
            <a:grpSpLocks noChangeAspect="1"/>
          </p:cNvGrpSpPr>
          <p:nvPr/>
        </p:nvGrpSpPr>
        <p:grpSpPr>
          <a:xfrm>
            <a:off x="11170024" y="4528529"/>
            <a:ext cx="121006" cy="125488"/>
            <a:chOff x="11226524" y="2472838"/>
            <a:chExt cx="121006" cy="125488"/>
          </a:xfrm>
        </p:grpSpPr>
        <p:sp>
          <p:nvSpPr>
            <p:cNvPr id="5365" name="Freeform: Shape 5364">
              <a:extLst>
                <a:ext uri="{FF2B5EF4-FFF2-40B4-BE49-F238E27FC236}">
                  <a16:creationId xmlns:a16="http://schemas.microsoft.com/office/drawing/2014/main" id="{F5FA5626-C47A-4233-B2A3-742921D38382}"/>
                </a:ext>
              </a:extLst>
            </p:cNvPr>
            <p:cNvSpPr/>
            <p:nvPr/>
          </p:nvSpPr>
          <p:spPr>
            <a:xfrm>
              <a:off x="11226524" y="2472838"/>
              <a:ext cx="121006" cy="125488"/>
            </a:xfrm>
            <a:custGeom>
              <a:avLst/>
              <a:gdLst>
                <a:gd name="connsiteX0" fmla="*/ 113089 w 121005"/>
                <a:gd name="connsiteY0" fmla="*/ 12250 h 125487"/>
                <a:gd name="connsiteX1" fmla="*/ 77683 w 121005"/>
                <a:gd name="connsiteY1" fmla="*/ 1942 h 125487"/>
                <a:gd name="connsiteX2" fmla="*/ 77235 w 121005"/>
                <a:gd name="connsiteY2" fmla="*/ 2391 h 125487"/>
                <a:gd name="connsiteX3" fmla="*/ 2390 w 121005"/>
                <a:gd name="connsiteY3" fmla="*/ 77235 h 125487"/>
                <a:gd name="connsiteX4" fmla="*/ 1942 w 121005"/>
                <a:gd name="connsiteY4" fmla="*/ 77683 h 125487"/>
                <a:gd name="connsiteX5" fmla="*/ 1942 w 121005"/>
                <a:gd name="connsiteY5" fmla="*/ 78131 h 125487"/>
                <a:gd name="connsiteX6" fmla="*/ 12250 w 121005"/>
                <a:gd name="connsiteY6" fmla="*/ 113537 h 125487"/>
                <a:gd name="connsiteX7" fmla="*/ 38244 w 121005"/>
                <a:gd name="connsiteY7" fmla="*/ 125637 h 125487"/>
                <a:gd name="connsiteX8" fmla="*/ 48104 w 121005"/>
                <a:gd name="connsiteY8" fmla="*/ 123845 h 125487"/>
                <a:gd name="connsiteX9" fmla="*/ 48552 w 121005"/>
                <a:gd name="connsiteY9" fmla="*/ 123397 h 125487"/>
                <a:gd name="connsiteX10" fmla="*/ 49000 w 121005"/>
                <a:gd name="connsiteY10" fmla="*/ 123397 h 125487"/>
                <a:gd name="connsiteX11" fmla="*/ 123845 w 121005"/>
                <a:gd name="connsiteY11" fmla="*/ 48552 h 125487"/>
                <a:gd name="connsiteX12" fmla="*/ 124293 w 121005"/>
                <a:gd name="connsiteY12" fmla="*/ 48104 h 125487"/>
                <a:gd name="connsiteX13" fmla="*/ 113089 w 121005"/>
                <a:gd name="connsiteY13" fmla="*/ 12250 h 125487"/>
                <a:gd name="connsiteX14" fmla="*/ 119363 w 121005"/>
                <a:gd name="connsiteY14" fmla="*/ 45863 h 125487"/>
                <a:gd name="connsiteX15" fmla="*/ 44966 w 121005"/>
                <a:gd name="connsiteY15" fmla="*/ 120259 h 125487"/>
                <a:gd name="connsiteX16" fmla="*/ 14939 w 121005"/>
                <a:gd name="connsiteY16" fmla="*/ 110848 h 125487"/>
                <a:gd name="connsiteX17" fmla="*/ 5528 w 121005"/>
                <a:gd name="connsiteY17" fmla="*/ 80820 h 125487"/>
                <a:gd name="connsiteX18" fmla="*/ 79924 w 121005"/>
                <a:gd name="connsiteY18" fmla="*/ 6424 h 125487"/>
                <a:gd name="connsiteX19" fmla="*/ 109951 w 121005"/>
                <a:gd name="connsiteY19" fmla="*/ 16284 h 125487"/>
                <a:gd name="connsiteX20" fmla="*/ 119363 w 121005"/>
                <a:gd name="connsiteY20" fmla="*/ 45863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005" h="125487">
                  <a:moveTo>
                    <a:pt x="113089" y="12250"/>
                  </a:moveTo>
                  <a:cubicBezTo>
                    <a:pt x="94714" y="-6125"/>
                    <a:pt x="78131" y="1494"/>
                    <a:pt x="77683" y="1942"/>
                  </a:cubicBezTo>
                  <a:cubicBezTo>
                    <a:pt x="77683" y="1942"/>
                    <a:pt x="77235" y="2391"/>
                    <a:pt x="77235" y="2391"/>
                  </a:cubicBezTo>
                  <a:lnTo>
                    <a:pt x="2390" y="77235"/>
                  </a:lnTo>
                  <a:cubicBezTo>
                    <a:pt x="2390" y="77235"/>
                    <a:pt x="2390" y="77683"/>
                    <a:pt x="1942" y="77683"/>
                  </a:cubicBezTo>
                  <a:cubicBezTo>
                    <a:pt x="1942" y="77683"/>
                    <a:pt x="1942" y="77683"/>
                    <a:pt x="1942" y="78131"/>
                  </a:cubicBezTo>
                  <a:cubicBezTo>
                    <a:pt x="1494" y="79028"/>
                    <a:pt x="-6125" y="95162"/>
                    <a:pt x="12250" y="113537"/>
                  </a:cubicBezTo>
                  <a:cubicBezTo>
                    <a:pt x="22110" y="123397"/>
                    <a:pt x="31521" y="125637"/>
                    <a:pt x="38244" y="125637"/>
                  </a:cubicBezTo>
                  <a:cubicBezTo>
                    <a:pt x="44070" y="125637"/>
                    <a:pt x="47656" y="123845"/>
                    <a:pt x="48104" y="123845"/>
                  </a:cubicBezTo>
                  <a:cubicBezTo>
                    <a:pt x="48104" y="123845"/>
                    <a:pt x="48104" y="123845"/>
                    <a:pt x="48552" y="123397"/>
                  </a:cubicBezTo>
                  <a:cubicBezTo>
                    <a:pt x="48552" y="123397"/>
                    <a:pt x="48552" y="123397"/>
                    <a:pt x="49000" y="123397"/>
                  </a:cubicBezTo>
                  <a:lnTo>
                    <a:pt x="123845" y="48552"/>
                  </a:lnTo>
                  <a:cubicBezTo>
                    <a:pt x="123845" y="48552"/>
                    <a:pt x="124293" y="48104"/>
                    <a:pt x="124293" y="48104"/>
                  </a:cubicBezTo>
                  <a:cubicBezTo>
                    <a:pt x="123396" y="47208"/>
                    <a:pt x="131464" y="30625"/>
                    <a:pt x="113089" y="12250"/>
                  </a:cubicBezTo>
                  <a:close/>
                  <a:moveTo>
                    <a:pt x="119363" y="45863"/>
                  </a:moveTo>
                  <a:lnTo>
                    <a:pt x="44966" y="120259"/>
                  </a:lnTo>
                  <a:cubicBezTo>
                    <a:pt x="42726" y="121156"/>
                    <a:pt x="29729" y="125637"/>
                    <a:pt x="14939" y="110848"/>
                  </a:cubicBezTo>
                  <a:cubicBezTo>
                    <a:pt x="149" y="96058"/>
                    <a:pt x="4631" y="83061"/>
                    <a:pt x="5528" y="80820"/>
                  </a:cubicBezTo>
                  <a:lnTo>
                    <a:pt x="79924" y="6424"/>
                  </a:lnTo>
                  <a:cubicBezTo>
                    <a:pt x="82165" y="5528"/>
                    <a:pt x="95162" y="1046"/>
                    <a:pt x="109951" y="16284"/>
                  </a:cubicBezTo>
                  <a:cubicBezTo>
                    <a:pt x="124741" y="30625"/>
                    <a:pt x="120259" y="43622"/>
                    <a:pt x="119363" y="45863"/>
                  </a:cubicBezTo>
                  <a:close/>
                </a:path>
              </a:pathLst>
            </a:custGeom>
            <a:solidFill>
              <a:srgbClr val="231F20"/>
            </a:solidFill>
            <a:ln w="4477" cap="flat">
              <a:noFill/>
              <a:prstDash val="solid"/>
              <a:miter/>
            </a:ln>
          </p:spPr>
          <p:txBody>
            <a:bodyPr rtlCol="0" anchor="ctr"/>
            <a:lstStyle/>
            <a:p>
              <a:endParaRPr lang="en-US"/>
            </a:p>
          </p:txBody>
        </p:sp>
        <p:sp>
          <p:nvSpPr>
            <p:cNvPr id="5366" name="Freeform: Shape 5365">
              <a:extLst>
                <a:ext uri="{FF2B5EF4-FFF2-40B4-BE49-F238E27FC236}">
                  <a16:creationId xmlns:a16="http://schemas.microsoft.com/office/drawing/2014/main" id="{F748DF45-018C-4335-BE67-21ECC44E4E85}"/>
                </a:ext>
              </a:extLst>
            </p:cNvPr>
            <p:cNvSpPr/>
            <p:nvPr/>
          </p:nvSpPr>
          <p:spPr>
            <a:xfrm>
              <a:off x="11295692" y="2521390"/>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793"/>
                    <a:pt x="5826" y="0"/>
                    <a:pt x="3586" y="0"/>
                  </a:cubicBezTo>
                  <a:close/>
                  <a:moveTo>
                    <a:pt x="2689" y="3585"/>
                  </a:moveTo>
                  <a:cubicBezTo>
                    <a:pt x="2689" y="3137"/>
                    <a:pt x="3138"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67" name="Freeform: Shape 5366">
              <a:extLst>
                <a:ext uri="{FF2B5EF4-FFF2-40B4-BE49-F238E27FC236}">
                  <a16:creationId xmlns:a16="http://schemas.microsoft.com/office/drawing/2014/main" id="{25CAC91D-058A-4473-AF56-808A9DA4475A}"/>
                </a:ext>
              </a:extLst>
            </p:cNvPr>
            <p:cNvSpPr/>
            <p:nvPr/>
          </p:nvSpPr>
          <p:spPr>
            <a:xfrm>
              <a:off x="11285384" y="2511082"/>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2" y="0"/>
                    <a:pt x="0" y="1793"/>
                    <a:pt x="0" y="3585"/>
                  </a:cubicBezTo>
                  <a:cubicBezTo>
                    <a:pt x="0" y="5378"/>
                    <a:pt x="1792" y="7171"/>
                    <a:pt x="3585" y="7171"/>
                  </a:cubicBezTo>
                  <a:cubicBezTo>
                    <a:pt x="5378" y="7171"/>
                    <a:pt x="7171" y="5378"/>
                    <a:pt x="7171" y="3585"/>
                  </a:cubicBezTo>
                  <a:cubicBezTo>
                    <a:pt x="7171" y="1345"/>
                    <a:pt x="5378" y="0"/>
                    <a:pt x="3585" y="0"/>
                  </a:cubicBezTo>
                  <a:close/>
                  <a:moveTo>
                    <a:pt x="2689" y="3585"/>
                  </a:moveTo>
                  <a:cubicBezTo>
                    <a:pt x="2689" y="3137"/>
                    <a:pt x="3137" y="2689"/>
                    <a:pt x="3585" y="2689"/>
                  </a:cubicBezTo>
                  <a:cubicBezTo>
                    <a:pt x="4033"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68" name="Freeform: Shape 5367">
              <a:extLst>
                <a:ext uri="{FF2B5EF4-FFF2-40B4-BE49-F238E27FC236}">
                  <a16:creationId xmlns:a16="http://schemas.microsoft.com/office/drawing/2014/main" id="{F005DD21-D7DB-457A-8162-4AC00C2D409C}"/>
                </a:ext>
              </a:extLst>
            </p:cNvPr>
            <p:cNvSpPr/>
            <p:nvPr/>
          </p:nvSpPr>
          <p:spPr>
            <a:xfrm>
              <a:off x="11306448" y="2532146"/>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344"/>
                    <a:pt x="5378" y="0"/>
                    <a:pt x="3586" y="0"/>
                  </a:cubicBezTo>
                  <a:close/>
                  <a:moveTo>
                    <a:pt x="2689" y="3585"/>
                  </a:moveTo>
                  <a:cubicBezTo>
                    <a:pt x="2689" y="3137"/>
                    <a:pt x="3137"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69" name="Freeform: Shape 5368">
              <a:extLst>
                <a:ext uri="{FF2B5EF4-FFF2-40B4-BE49-F238E27FC236}">
                  <a16:creationId xmlns:a16="http://schemas.microsoft.com/office/drawing/2014/main" id="{10E3E0A5-2743-41AD-905A-CAF0B0D88B8E}"/>
                </a:ext>
              </a:extLst>
            </p:cNvPr>
            <p:cNvSpPr/>
            <p:nvPr/>
          </p:nvSpPr>
          <p:spPr>
            <a:xfrm>
              <a:off x="11285384" y="2532146"/>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2" y="0"/>
                    <a:pt x="0" y="1793"/>
                    <a:pt x="0" y="3585"/>
                  </a:cubicBezTo>
                  <a:cubicBezTo>
                    <a:pt x="0" y="5378"/>
                    <a:pt x="1792" y="7171"/>
                    <a:pt x="3585" y="7171"/>
                  </a:cubicBezTo>
                  <a:cubicBezTo>
                    <a:pt x="5378" y="7171"/>
                    <a:pt x="7171" y="5378"/>
                    <a:pt x="7171" y="3585"/>
                  </a:cubicBezTo>
                  <a:cubicBezTo>
                    <a:pt x="7171" y="1344"/>
                    <a:pt x="5378" y="0"/>
                    <a:pt x="3585" y="0"/>
                  </a:cubicBezTo>
                  <a:close/>
                  <a:moveTo>
                    <a:pt x="2689" y="3585"/>
                  </a:moveTo>
                  <a:cubicBezTo>
                    <a:pt x="2689" y="3137"/>
                    <a:pt x="3137" y="2689"/>
                    <a:pt x="3585" y="2689"/>
                  </a:cubicBezTo>
                  <a:cubicBezTo>
                    <a:pt x="4033"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0" name="Freeform: Shape 5369">
              <a:extLst>
                <a:ext uri="{FF2B5EF4-FFF2-40B4-BE49-F238E27FC236}">
                  <a16:creationId xmlns:a16="http://schemas.microsoft.com/office/drawing/2014/main" id="{546F177B-04D4-4C62-9796-A5F2DA4FC189}"/>
                </a:ext>
              </a:extLst>
            </p:cNvPr>
            <p:cNvSpPr/>
            <p:nvPr/>
          </p:nvSpPr>
          <p:spPr>
            <a:xfrm>
              <a:off x="11274628" y="2521390"/>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3" y="0"/>
                    <a:pt x="0" y="1793"/>
                    <a:pt x="0" y="3585"/>
                  </a:cubicBezTo>
                  <a:cubicBezTo>
                    <a:pt x="0" y="5378"/>
                    <a:pt x="1793" y="7171"/>
                    <a:pt x="3585" y="7171"/>
                  </a:cubicBezTo>
                  <a:cubicBezTo>
                    <a:pt x="5378" y="7171"/>
                    <a:pt x="7171" y="5378"/>
                    <a:pt x="7171" y="3585"/>
                  </a:cubicBezTo>
                  <a:cubicBezTo>
                    <a:pt x="7171" y="1793"/>
                    <a:pt x="5826" y="0"/>
                    <a:pt x="3585" y="0"/>
                  </a:cubicBezTo>
                  <a:close/>
                  <a:moveTo>
                    <a:pt x="2689" y="3585"/>
                  </a:moveTo>
                  <a:cubicBezTo>
                    <a:pt x="2689" y="3137"/>
                    <a:pt x="3137" y="2689"/>
                    <a:pt x="3585"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1" name="Freeform: Shape 5370">
              <a:extLst>
                <a:ext uri="{FF2B5EF4-FFF2-40B4-BE49-F238E27FC236}">
                  <a16:creationId xmlns:a16="http://schemas.microsoft.com/office/drawing/2014/main" id="{6E24AC40-CF3D-49F4-BBC3-92F5A902493E}"/>
                </a:ext>
              </a:extLst>
            </p:cNvPr>
            <p:cNvSpPr/>
            <p:nvPr/>
          </p:nvSpPr>
          <p:spPr>
            <a:xfrm>
              <a:off x="11295692" y="2542454"/>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793"/>
                    <a:pt x="5826" y="0"/>
                    <a:pt x="3586" y="0"/>
                  </a:cubicBezTo>
                  <a:close/>
                  <a:moveTo>
                    <a:pt x="2689" y="3585"/>
                  </a:moveTo>
                  <a:cubicBezTo>
                    <a:pt x="2689" y="3137"/>
                    <a:pt x="3138"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2" name="Freeform: Shape 5371">
              <a:extLst>
                <a:ext uri="{FF2B5EF4-FFF2-40B4-BE49-F238E27FC236}">
                  <a16:creationId xmlns:a16="http://schemas.microsoft.com/office/drawing/2014/main" id="{27C4950F-84F0-4733-B866-13BD182C400B}"/>
                </a:ext>
              </a:extLst>
            </p:cNvPr>
            <p:cNvSpPr/>
            <p:nvPr/>
          </p:nvSpPr>
          <p:spPr>
            <a:xfrm>
              <a:off x="11274628" y="2542454"/>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3" y="0"/>
                    <a:pt x="0" y="1793"/>
                    <a:pt x="0" y="3585"/>
                  </a:cubicBezTo>
                  <a:cubicBezTo>
                    <a:pt x="0" y="5378"/>
                    <a:pt x="1793" y="7171"/>
                    <a:pt x="3585" y="7171"/>
                  </a:cubicBezTo>
                  <a:cubicBezTo>
                    <a:pt x="5378" y="7171"/>
                    <a:pt x="7171" y="5378"/>
                    <a:pt x="7171" y="3585"/>
                  </a:cubicBezTo>
                  <a:cubicBezTo>
                    <a:pt x="7171" y="1793"/>
                    <a:pt x="5826" y="0"/>
                    <a:pt x="3585" y="0"/>
                  </a:cubicBezTo>
                  <a:close/>
                  <a:moveTo>
                    <a:pt x="2689" y="3585"/>
                  </a:moveTo>
                  <a:cubicBezTo>
                    <a:pt x="2689" y="3137"/>
                    <a:pt x="3137" y="2689"/>
                    <a:pt x="3585"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3" name="Freeform: Shape 5372">
              <a:extLst>
                <a:ext uri="{FF2B5EF4-FFF2-40B4-BE49-F238E27FC236}">
                  <a16:creationId xmlns:a16="http://schemas.microsoft.com/office/drawing/2014/main" id="{D3C3EBD5-75F7-4FFC-BD46-8E3537C7CF22}"/>
                </a:ext>
              </a:extLst>
            </p:cNvPr>
            <p:cNvSpPr/>
            <p:nvPr/>
          </p:nvSpPr>
          <p:spPr>
            <a:xfrm>
              <a:off x="11264320" y="2532146"/>
              <a:ext cx="4482" cy="4482"/>
            </a:xfrm>
            <a:custGeom>
              <a:avLst/>
              <a:gdLst>
                <a:gd name="connsiteX0" fmla="*/ 3586 w 4481"/>
                <a:gd name="connsiteY0" fmla="*/ 0 h 4481"/>
                <a:gd name="connsiteX1" fmla="*/ 0 w 4481"/>
                <a:gd name="connsiteY1" fmla="*/ 3585 h 4481"/>
                <a:gd name="connsiteX2" fmla="*/ 3586 w 4481"/>
                <a:gd name="connsiteY2" fmla="*/ 7171 h 4481"/>
                <a:gd name="connsiteX3" fmla="*/ 7171 w 4481"/>
                <a:gd name="connsiteY3" fmla="*/ 3585 h 4481"/>
                <a:gd name="connsiteX4" fmla="*/ 3586 w 4481"/>
                <a:gd name="connsiteY4" fmla="*/ 0 h 4481"/>
                <a:gd name="connsiteX5" fmla="*/ 2689 w 4481"/>
                <a:gd name="connsiteY5" fmla="*/ 3585 h 4481"/>
                <a:gd name="connsiteX6" fmla="*/ 3586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6" y="0"/>
                  </a:moveTo>
                  <a:cubicBezTo>
                    <a:pt x="1793" y="0"/>
                    <a:pt x="0" y="1793"/>
                    <a:pt x="0" y="3585"/>
                  </a:cubicBezTo>
                  <a:cubicBezTo>
                    <a:pt x="0" y="5378"/>
                    <a:pt x="1793" y="7171"/>
                    <a:pt x="3586" y="7171"/>
                  </a:cubicBezTo>
                  <a:cubicBezTo>
                    <a:pt x="5378" y="7171"/>
                    <a:pt x="7171" y="5378"/>
                    <a:pt x="7171" y="3585"/>
                  </a:cubicBezTo>
                  <a:cubicBezTo>
                    <a:pt x="7171" y="1344"/>
                    <a:pt x="5378" y="0"/>
                    <a:pt x="3586" y="0"/>
                  </a:cubicBezTo>
                  <a:close/>
                  <a:moveTo>
                    <a:pt x="2689" y="3585"/>
                  </a:moveTo>
                  <a:cubicBezTo>
                    <a:pt x="2689" y="3137"/>
                    <a:pt x="3138" y="2689"/>
                    <a:pt x="3586" y="2689"/>
                  </a:cubicBezTo>
                  <a:cubicBezTo>
                    <a:pt x="4034"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5374" name="Freeform: Shape 5373">
              <a:extLst>
                <a:ext uri="{FF2B5EF4-FFF2-40B4-BE49-F238E27FC236}">
                  <a16:creationId xmlns:a16="http://schemas.microsoft.com/office/drawing/2014/main" id="{E60E18CD-81D1-4A29-B0A6-94CA2E3885BB}"/>
                </a:ext>
              </a:extLst>
            </p:cNvPr>
            <p:cNvSpPr/>
            <p:nvPr/>
          </p:nvSpPr>
          <p:spPr>
            <a:xfrm>
              <a:off x="11285384" y="2553210"/>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7171 w 4481"/>
                <a:gd name="connsiteY3" fmla="*/ 3585 h 4481"/>
                <a:gd name="connsiteX4" fmla="*/ 3585 w 4481"/>
                <a:gd name="connsiteY4" fmla="*/ 0 h 4481"/>
                <a:gd name="connsiteX5" fmla="*/ 2689 w 4481"/>
                <a:gd name="connsiteY5" fmla="*/ 3585 h 4481"/>
                <a:gd name="connsiteX6" fmla="*/ 3585 w 4481"/>
                <a:gd name="connsiteY6" fmla="*/ 2689 h 4481"/>
                <a:gd name="connsiteX7" fmla="*/ 4482 w 4481"/>
                <a:gd name="connsiteY7" fmla="*/ 3585 h 4481"/>
                <a:gd name="connsiteX8" fmla="*/ 2689 w 4481"/>
                <a:gd name="connsiteY8"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1" h="4481">
                  <a:moveTo>
                    <a:pt x="3585" y="0"/>
                  </a:moveTo>
                  <a:cubicBezTo>
                    <a:pt x="1792" y="0"/>
                    <a:pt x="0" y="1793"/>
                    <a:pt x="0" y="3585"/>
                  </a:cubicBezTo>
                  <a:cubicBezTo>
                    <a:pt x="0" y="5378"/>
                    <a:pt x="1792" y="7171"/>
                    <a:pt x="3585" y="7171"/>
                  </a:cubicBezTo>
                  <a:cubicBezTo>
                    <a:pt x="5378" y="7171"/>
                    <a:pt x="7171" y="5378"/>
                    <a:pt x="7171" y="3585"/>
                  </a:cubicBezTo>
                  <a:cubicBezTo>
                    <a:pt x="7171" y="1793"/>
                    <a:pt x="5378" y="0"/>
                    <a:pt x="3585" y="0"/>
                  </a:cubicBezTo>
                  <a:close/>
                  <a:moveTo>
                    <a:pt x="2689" y="3585"/>
                  </a:moveTo>
                  <a:cubicBezTo>
                    <a:pt x="2689" y="3137"/>
                    <a:pt x="3137" y="2689"/>
                    <a:pt x="3585" y="2689"/>
                  </a:cubicBezTo>
                  <a:cubicBezTo>
                    <a:pt x="4033" y="2689"/>
                    <a:pt x="4482" y="3137"/>
                    <a:pt x="4482" y="3585"/>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grpSp>
      <p:sp>
        <p:nvSpPr>
          <p:cNvPr id="2499" name="Freeform: Shape 2498">
            <a:extLst>
              <a:ext uri="{FF2B5EF4-FFF2-40B4-BE49-F238E27FC236}">
                <a16:creationId xmlns:a16="http://schemas.microsoft.com/office/drawing/2014/main" id="{B14C401B-8246-42FE-809A-FC97351AB8D8}"/>
              </a:ext>
              <a:ext uri="{C183D7F6-B498-43B3-948B-1728B52AA6E4}">
                <adec:decorative xmlns:adec="http://schemas.microsoft.com/office/drawing/2017/decorative" val="1"/>
              </a:ext>
            </a:extLst>
          </p:cNvPr>
          <p:cNvSpPr>
            <a:spLocks noChangeAspect="1"/>
          </p:cNvSpPr>
          <p:nvPr/>
        </p:nvSpPr>
        <p:spPr>
          <a:xfrm>
            <a:off x="11436835" y="4542118"/>
            <a:ext cx="112043" cy="125488"/>
          </a:xfrm>
          <a:custGeom>
            <a:avLst/>
            <a:gdLst>
              <a:gd name="connsiteX0" fmla="*/ 77086 w 112042"/>
              <a:gd name="connsiteY0" fmla="*/ 6 h 125487"/>
              <a:gd name="connsiteX1" fmla="*/ 77086 w 112042"/>
              <a:gd name="connsiteY1" fmla="*/ 6 h 125487"/>
              <a:gd name="connsiteX2" fmla="*/ 56918 w 112042"/>
              <a:gd name="connsiteY2" fmla="*/ 6281 h 125487"/>
              <a:gd name="connsiteX3" fmla="*/ 35406 w 112042"/>
              <a:gd name="connsiteY3" fmla="*/ 6 h 125487"/>
              <a:gd name="connsiteX4" fmla="*/ 0 w 112042"/>
              <a:gd name="connsiteY4" fmla="*/ 34515 h 125487"/>
              <a:gd name="connsiteX5" fmla="*/ 10756 w 112042"/>
              <a:gd name="connsiteY5" fmla="*/ 68576 h 125487"/>
              <a:gd name="connsiteX6" fmla="*/ 12997 w 112042"/>
              <a:gd name="connsiteY6" fmla="*/ 72162 h 125487"/>
              <a:gd name="connsiteX7" fmla="*/ 17031 w 112042"/>
              <a:gd name="connsiteY7" fmla="*/ 87848 h 125487"/>
              <a:gd name="connsiteX8" fmla="*/ 35854 w 112042"/>
              <a:gd name="connsiteY8" fmla="*/ 125494 h 125487"/>
              <a:gd name="connsiteX9" fmla="*/ 47506 w 112042"/>
              <a:gd name="connsiteY9" fmla="*/ 99948 h 125487"/>
              <a:gd name="connsiteX10" fmla="*/ 56470 w 112042"/>
              <a:gd name="connsiteY10" fmla="*/ 75747 h 125487"/>
              <a:gd name="connsiteX11" fmla="*/ 65433 w 112042"/>
              <a:gd name="connsiteY11" fmla="*/ 99948 h 125487"/>
              <a:gd name="connsiteX12" fmla="*/ 77086 w 112042"/>
              <a:gd name="connsiteY12" fmla="*/ 125494 h 125487"/>
              <a:gd name="connsiteX13" fmla="*/ 95909 w 112042"/>
              <a:gd name="connsiteY13" fmla="*/ 87848 h 125487"/>
              <a:gd name="connsiteX14" fmla="*/ 99942 w 112042"/>
              <a:gd name="connsiteY14" fmla="*/ 72162 h 125487"/>
              <a:gd name="connsiteX15" fmla="*/ 102183 w 112042"/>
              <a:gd name="connsiteY15" fmla="*/ 68576 h 125487"/>
              <a:gd name="connsiteX16" fmla="*/ 112939 w 112042"/>
              <a:gd name="connsiteY16" fmla="*/ 34515 h 125487"/>
              <a:gd name="connsiteX17" fmla="*/ 77086 w 112042"/>
              <a:gd name="connsiteY17" fmla="*/ 6 h 125487"/>
              <a:gd name="connsiteX18" fmla="*/ 98149 w 112042"/>
              <a:gd name="connsiteY18" fmla="*/ 65887 h 125487"/>
              <a:gd name="connsiteX19" fmla="*/ 95909 w 112042"/>
              <a:gd name="connsiteY19" fmla="*/ 69473 h 125487"/>
              <a:gd name="connsiteX20" fmla="*/ 91427 w 112042"/>
              <a:gd name="connsiteY20" fmla="*/ 86503 h 125487"/>
              <a:gd name="connsiteX21" fmla="*/ 77086 w 112042"/>
              <a:gd name="connsiteY21" fmla="*/ 120564 h 125487"/>
              <a:gd name="connsiteX22" fmla="*/ 69915 w 112042"/>
              <a:gd name="connsiteY22" fmla="*/ 99052 h 125487"/>
              <a:gd name="connsiteX23" fmla="*/ 56470 w 112042"/>
              <a:gd name="connsiteY23" fmla="*/ 70817 h 125487"/>
              <a:gd name="connsiteX24" fmla="*/ 43025 w 112042"/>
              <a:gd name="connsiteY24" fmla="*/ 99052 h 125487"/>
              <a:gd name="connsiteX25" fmla="*/ 35854 w 112042"/>
              <a:gd name="connsiteY25" fmla="*/ 120564 h 125487"/>
              <a:gd name="connsiteX26" fmla="*/ 21512 w 112042"/>
              <a:gd name="connsiteY26" fmla="*/ 86503 h 125487"/>
              <a:gd name="connsiteX27" fmla="*/ 17031 w 112042"/>
              <a:gd name="connsiteY27" fmla="*/ 69473 h 125487"/>
              <a:gd name="connsiteX28" fmla="*/ 14790 w 112042"/>
              <a:gd name="connsiteY28" fmla="*/ 65887 h 125487"/>
              <a:gd name="connsiteX29" fmla="*/ 4930 w 112042"/>
              <a:gd name="connsiteY29" fmla="*/ 34515 h 125487"/>
              <a:gd name="connsiteX30" fmla="*/ 35854 w 112042"/>
              <a:gd name="connsiteY30" fmla="*/ 4488 h 125487"/>
              <a:gd name="connsiteX31" fmla="*/ 64985 w 112042"/>
              <a:gd name="connsiteY31" fmla="*/ 24207 h 125487"/>
              <a:gd name="connsiteX32" fmla="*/ 68122 w 112042"/>
              <a:gd name="connsiteY32" fmla="*/ 25104 h 125487"/>
              <a:gd name="connsiteX33" fmla="*/ 69018 w 112042"/>
              <a:gd name="connsiteY33" fmla="*/ 21967 h 125487"/>
              <a:gd name="connsiteX34" fmla="*/ 60503 w 112042"/>
              <a:gd name="connsiteY34" fmla="*/ 8970 h 125487"/>
              <a:gd name="connsiteX35" fmla="*/ 77086 w 112042"/>
              <a:gd name="connsiteY35" fmla="*/ 4040 h 125487"/>
              <a:gd name="connsiteX36" fmla="*/ 108009 w 112042"/>
              <a:gd name="connsiteY36" fmla="*/ 34067 h 125487"/>
              <a:gd name="connsiteX37" fmla="*/ 98149 w 112042"/>
              <a:gd name="connsiteY37" fmla="*/ 65887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2042" h="125487">
                <a:moveTo>
                  <a:pt x="77086" y="6"/>
                </a:moveTo>
                <a:cubicBezTo>
                  <a:pt x="77086" y="6"/>
                  <a:pt x="77086" y="6"/>
                  <a:pt x="77086" y="6"/>
                </a:cubicBezTo>
                <a:cubicBezTo>
                  <a:pt x="76638" y="6"/>
                  <a:pt x="67674" y="-442"/>
                  <a:pt x="56918" y="6281"/>
                </a:cubicBezTo>
                <a:cubicBezTo>
                  <a:pt x="49299" y="6"/>
                  <a:pt x="41232" y="6"/>
                  <a:pt x="35406" y="6"/>
                </a:cubicBezTo>
                <a:cubicBezTo>
                  <a:pt x="23753" y="6"/>
                  <a:pt x="0" y="8521"/>
                  <a:pt x="0" y="34515"/>
                </a:cubicBezTo>
                <a:cubicBezTo>
                  <a:pt x="0" y="52890"/>
                  <a:pt x="5826" y="61406"/>
                  <a:pt x="10756" y="68576"/>
                </a:cubicBezTo>
                <a:cubicBezTo>
                  <a:pt x="11653" y="69921"/>
                  <a:pt x="12549" y="70817"/>
                  <a:pt x="12997" y="72162"/>
                </a:cubicBezTo>
                <a:cubicBezTo>
                  <a:pt x="14342" y="74403"/>
                  <a:pt x="15686" y="81125"/>
                  <a:pt x="17031" y="87848"/>
                </a:cubicBezTo>
                <a:cubicBezTo>
                  <a:pt x="20168" y="104878"/>
                  <a:pt x="24201" y="125494"/>
                  <a:pt x="35854" y="125494"/>
                </a:cubicBezTo>
                <a:cubicBezTo>
                  <a:pt x="44817" y="125494"/>
                  <a:pt x="46162" y="112945"/>
                  <a:pt x="47506" y="99948"/>
                </a:cubicBezTo>
                <a:cubicBezTo>
                  <a:pt x="48851" y="87848"/>
                  <a:pt x="49747" y="75747"/>
                  <a:pt x="56470" y="75747"/>
                </a:cubicBezTo>
                <a:cubicBezTo>
                  <a:pt x="63192" y="75747"/>
                  <a:pt x="64089" y="88296"/>
                  <a:pt x="65433" y="99948"/>
                </a:cubicBezTo>
                <a:cubicBezTo>
                  <a:pt x="66777" y="113393"/>
                  <a:pt x="68122" y="125494"/>
                  <a:pt x="77086" y="125494"/>
                </a:cubicBezTo>
                <a:cubicBezTo>
                  <a:pt x="88738" y="125494"/>
                  <a:pt x="92772" y="104430"/>
                  <a:pt x="95909" y="87848"/>
                </a:cubicBezTo>
                <a:cubicBezTo>
                  <a:pt x="97253" y="80677"/>
                  <a:pt x="98597" y="74403"/>
                  <a:pt x="99942" y="72162"/>
                </a:cubicBezTo>
                <a:cubicBezTo>
                  <a:pt x="100838" y="70817"/>
                  <a:pt x="101287" y="69921"/>
                  <a:pt x="102183" y="68576"/>
                </a:cubicBezTo>
                <a:cubicBezTo>
                  <a:pt x="106665" y="61406"/>
                  <a:pt x="112491" y="52890"/>
                  <a:pt x="112939" y="34515"/>
                </a:cubicBezTo>
                <a:cubicBezTo>
                  <a:pt x="112491" y="6281"/>
                  <a:pt x="86049" y="6"/>
                  <a:pt x="77086" y="6"/>
                </a:cubicBezTo>
                <a:close/>
                <a:moveTo>
                  <a:pt x="98149" y="65887"/>
                </a:moveTo>
                <a:cubicBezTo>
                  <a:pt x="97253" y="67232"/>
                  <a:pt x="96357" y="68576"/>
                  <a:pt x="95909" y="69473"/>
                </a:cubicBezTo>
                <a:cubicBezTo>
                  <a:pt x="94116" y="72610"/>
                  <a:pt x="92772" y="78884"/>
                  <a:pt x="91427" y="86503"/>
                </a:cubicBezTo>
                <a:cubicBezTo>
                  <a:pt x="88738" y="99948"/>
                  <a:pt x="85152" y="120564"/>
                  <a:pt x="77086" y="120564"/>
                </a:cubicBezTo>
                <a:cubicBezTo>
                  <a:pt x="72156" y="120564"/>
                  <a:pt x="70811" y="108912"/>
                  <a:pt x="69915" y="99052"/>
                </a:cubicBezTo>
                <a:cubicBezTo>
                  <a:pt x="68570" y="85159"/>
                  <a:pt x="67226" y="70817"/>
                  <a:pt x="56470" y="70817"/>
                </a:cubicBezTo>
                <a:cubicBezTo>
                  <a:pt x="45714" y="70817"/>
                  <a:pt x="44369" y="85159"/>
                  <a:pt x="43025" y="99052"/>
                </a:cubicBezTo>
                <a:cubicBezTo>
                  <a:pt x="42128" y="109360"/>
                  <a:pt x="40784" y="120564"/>
                  <a:pt x="35854" y="120564"/>
                </a:cubicBezTo>
                <a:cubicBezTo>
                  <a:pt x="27787" y="120564"/>
                  <a:pt x="24201" y="99948"/>
                  <a:pt x="21512" y="86503"/>
                </a:cubicBezTo>
                <a:cubicBezTo>
                  <a:pt x="20168" y="78436"/>
                  <a:pt x="18823" y="72162"/>
                  <a:pt x="17031" y="69473"/>
                </a:cubicBezTo>
                <a:cubicBezTo>
                  <a:pt x="16135" y="68128"/>
                  <a:pt x="15686" y="67232"/>
                  <a:pt x="14790" y="65887"/>
                </a:cubicBezTo>
                <a:cubicBezTo>
                  <a:pt x="10308" y="59165"/>
                  <a:pt x="4930" y="51098"/>
                  <a:pt x="4930" y="34515"/>
                </a:cubicBezTo>
                <a:cubicBezTo>
                  <a:pt x="4930" y="9418"/>
                  <a:pt x="29131" y="4488"/>
                  <a:pt x="35854" y="4488"/>
                </a:cubicBezTo>
                <a:cubicBezTo>
                  <a:pt x="44369" y="4488"/>
                  <a:pt x="56021" y="4488"/>
                  <a:pt x="64985" y="24207"/>
                </a:cubicBezTo>
                <a:cubicBezTo>
                  <a:pt x="65433" y="25552"/>
                  <a:pt x="66777" y="26000"/>
                  <a:pt x="68122" y="25104"/>
                </a:cubicBezTo>
                <a:cubicBezTo>
                  <a:pt x="69466" y="24656"/>
                  <a:pt x="69915" y="23311"/>
                  <a:pt x="69018" y="21967"/>
                </a:cubicBezTo>
                <a:cubicBezTo>
                  <a:pt x="66329" y="16140"/>
                  <a:pt x="63640" y="12107"/>
                  <a:pt x="60503" y="8970"/>
                </a:cubicBezTo>
                <a:cubicBezTo>
                  <a:pt x="69018" y="4040"/>
                  <a:pt x="76638" y="4040"/>
                  <a:pt x="77086" y="4040"/>
                </a:cubicBezTo>
                <a:cubicBezTo>
                  <a:pt x="85152" y="4040"/>
                  <a:pt x="108009" y="9418"/>
                  <a:pt x="108009" y="34067"/>
                </a:cubicBezTo>
                <a:cubicBezTo>
                  <a:pt x="107561" y="51546"/>
                  <a:pt x="102631" y="59165"/>
                  <a:pt x="98149" y="65887"/>
                </a:cubicBezTo>
                <a:close/>
              </a:path>
            </a:pathLst>
          </a:custGeom>
          <a:solidFill>
            <a:srgbClr val="231F20"/>
          </a:solidFill>
          <a:ln w="4477" cap="flat">
            <a:noFill/>
            <a:prstDash val="solid"/>
            <a:miter/>
          </a:ln>
        </p:spPr>
        <p:txBody>
          <a:bodyPr rtlCol="0" anchor="ctr"/>
          <a:lstStyle/>
          <a:p>
            <a:endParaRPr lang="en-US"/>
          </a:p>
        </p:txBody>
      </p:sp>
      <p:grpSp>
        <p:nvGrpSpPr>
          <p:cNvPr id="2500" name="Group 2499">
            <a:extLst>
              <a:ext uri="{FF2B5EF4-FFF2-40B4-BE49-F238E27FC236}">
                <a16:creationId xmlns:a16="http://schemas.microsoft.com/office/drawing/2014/main" id="{F9AC8D42-94A7-4E0F-84DA-4953B582A500}"/>
              </a:ext>
              <a:ext uri="{C183D7F6-B498-43B3-948B-1728B52AA6E4}">
                <adec:decorative xmlns:adec="http://schemas.microsoft.com/office/drawing/2017/decorative" val="1"/>
              </a:ext>
            </a:extLst>
          </p:cNvPr>
          <p:cNvGrpSpPr>
            <a:grpSpLocks noChangeAspect="1"/>
          </p:cNvGrpSpPr>
          <p:nvPr/>
        </p:nvGrpSpPr>
        <p:grpSpPr>
          <a:xfrm>
            <a:off x="6436152" y="4884526"/>
            <a:ext cx="114284" cy="131195"/>
            <a:chOff x="6492652" y="2828835"/>
            <a:chExt cx="114284" cy="131195"/>
          </a:xfrm>
        </p:grpSpPr>
        <p:sp>
          <p:nvSpPr>
            <p:cNvPr id="5362" name="Freeform: Shape 5361">
              <a:extLst>
                <a:ext uri="{FF2B5EF4-FFF2-40B4-BE49-F238E27FC236}">
                  <a16:creationId xmlns:a16="http://schemas.microsoft.com/office/drawing/2014/main" id="{A9E6365D-C6D1-4360-8BBE-EDFEA5C3BDDE}"/>
                </a:ext>
              </a:extLst>
            </p:cNvPr>
            <p:cNvSpPr/>
            <p:nvPr/>
          </p:nvSpPr>
          <p:spPr>
            <a:xfrm>
              <a:off x="6530747" y="2860655"/>
              <a:ext cx="76189" cy="80671"/>
            </a:xfrm>
            <a:custGeom>
              <a:avLst/>
              <a:gdLst>
                <a:gd name="connsiteX0" fmla="*/ 74396 w 76188"/>
                <a:gd name="connsiteY0" fmla="*/ 79774 h 80670"/>
                <a:gd name="connsiteX1" fmla="*/ 60951 w 76188"/>
                <a:gd name="connsiteY1" fmla="*/ 79774 h 80670"/>
                <a:gd name="connsiteX2" fmla="*/ 39887 w 76188"/>
                <a:gd name="connsiteY2" fmla="*/ 52884 h 80670"/>
                <a:gd name="connsiteX3" fmla="*/ 38094 w 76188"/>
                <a:gd name="connsiteY3" fmla="*/ 51988 h 80670"/>
                <a:gd name="connsiteX4" fmla="*/ 4482 w 76188"/>
                <a:gd name="connsiteY4" fmla="*/ 51988 h 80670"/>
                <a:gd name="connsiteX5" fmla="*/ 4482 w 76188"/>
                <a:gd name="connsiteY5" fmla="*/ 20616 h 80670"/>
                <a:gd name="connsiteX6" fmla="*/ 29579 w 76188"/>
                <a:gd name="connsiteY6" fmla="*/ 20616 h 80670"/>
                <a:gd name="connsiteX7" fmla="*/ 31820 w 76188"/>
                <a:gd name="connsiteY7" fmla="*/ 18375 h 80670"/>
                <a:gd name="connsiteX8" fmla="*/ 29579 w 76188"/>
                <a:gd name="connsiteY8" fmla="*/ 16134 h 80670"/>
                <a:gd name="connsiteX9" fmla="*/ 4482 w 76188"/>
                <a:gd name="connsiteY9" fmla="*/ 16134 h 80670"/>
                <a:gd name="connsiteX10" fmla="*/ 4482 w 76188"/>
                <a:gd name="connsiteY10" fmla="*/ 2241 h 80670"/>
                <a:gd name="connsiteX11" fmla="*/ 2241 w 76188"/>
                <a:gd name="connsiteY11" fmla="*/ 0 h 80670"/>
                <a:gd name="connsiteX12" fmla="*/ 0 w 76188"/>
                <a:gd name="connsiteY12" fmla="*/ 2241 h 80670"/>
                <a:gd name="connsiteX13" fmla="*/ 0 w 76188"/>
                <a:gd name="connsiteY13" fmla="*/ 54677 h 80670"/>
                <a:gd name="connsiteX14" fmla="*/ 2241 w 76188"/>
                <a:gd name="connsiteY14" fmla="*/ 56918 h 80670"/>
                <a:gd name="connsiteX15" fmla="*/ 37198 w 76188"/>
                <a:gd name="connsiteY15" fmla="*/ 56918 h 80670"/>
                <a:gd name="connsiteX16" fmla="*/ 58262 w 76188"/>
                <a:gd name="connsiteY16" fmla="*/ 83808 h 80670"/>
                <a:gd name="connsiteX17" fmla="*/ 60055 w 76188"/>
                <a:gd name="connsiteY17" fmla="*/ 84704 h 80670"/>
                <a:gd name="connsiteX18" fmla="*/ 74396 w 76188"/>
                <a:gd name="connsiteY18" fmla="*/ 84704 h 80670"/>
                <a:gd name="connsiteX19" fmla="*/ 76637 w 76188"/>
                <a:gd name="connsiteY19" fmla="*/ 82463 h 80670"/>
                <a:gd name="connsiteX20" fmla="*/ 74396 w 76188"/>
                <a:gd name="connsiteY20" fmla="*/ 79774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188" h="80670">
                  <a:moveTo>
                    <a:pt x="74396" y="79774"/>
                  </a:moveTo>
                  <a:lnTo>
                    <a:pt x="60951" y="79774"/>
                  </a:lnTo>
                  <a:lnTo>
                    <a:pt x="39887" y="52884"/>
                  </a:lnTo>
                  <a:cubicBezTo>
                    <a:pt x="39439" y="52436"/>
                    <a:pt x="38991" y="51988"/>
                    <a:pt x="38094" y="51988"/>
                  </a:cubicBezTo>
                  <a:lnTo>
                    <a:pt x="4482" y="51988"/>
                  </a:lnTo>
                  <a:lnTo>
                    <a:pt x="4482" y="20616"/>
                  </a:lnTo>
                  <a:lnTo>
                    <a:pt x="29579" y="20616"/>
                  </a:lnTo>
                  <a:cubicBezTo>
                    <a:pt x="30924" y="20616"/>
                    <a:pt x="31820" y="19719"/>
                    <a:pt x="31820" y="18375"/>
                  </a:cubicBezTo>
                  <a:cubicBezTo>
                    <a:pt x="31820" y="17031"/>
                    <a:pt x="30924" y="16134"/>
                    <a:pt x="29579" y="16134"/>
                  </a:cubicBezTo>
                  <a:lnTo>
                    <a:pt x="4482" y="16134"/>
                  </a:lnTo>
                  <a:lnTo>
                    <a:pt x="4482" y="2241"/>
                  </a:lnTo>
                  <a:cubicBezTo>
                    <a:pt x="4482" y="896"/>
                    <a:pt x="3585" y="0"/>
                    <a:pt x="2241" y="0"/>
                  </a:cubicBezTo>
                  <a:cubicBezTo>
                    <a:pt x="896" y="0"/>
                    <a:pt x="0" y="896"/>
                    <a:pt x="0" y="2241"/>
                  </a:cubicBezTo>
                  <a:lnTo>
                    <a:pt x="0" y="54677"/>
                  </a:lnTo>
                  <a:cubicBezTo>
                    <a:pt x="0" y="56021"/>
                    <a:pt x="896" y="56918"/>
                    <a:pt x="2241" y="56918"/>
                  </a:cubicBezTo>
                  <a:lnTo>
                    <a:pt x="37198" y="56918"/>
                  </a:lnTo>
                  <a:lnTo>
                    <a:pt x="58262" y="83808"/>
                  </a:lnTo>
                  <a:cubicBezTo>
                    <a:pt x="58710" y="84256"/>
                    <a:pt x="59158" y="84704"/>
                    <a:pt x="60055" y="84704"/>
                  </a:cubicBezTo>
                  <a:lnTo>
                    <a:pt x="74396" y="84704"/>
                  </a:lnTo>
                  <a:cubicBezTo>
                    <a:pt x="75741" y="84704"/>
                    <a:pt x="76637" y="83808"/>
                    <a:pt x="76637" y="82463"/>
                  </a:cubicBezTo>
                  <a:cubicBezTo>
                    <a:pt x="76637" y="81119"/>
                    <a:pt x="75293" y="79774"/>
                    <a:pt x="74396" y="79774"/>
                  </a:cubicBezTo>
                  <a:close/>
                </a:path>
              </a:pathLst>
            </a:custGeom>
            <a:solidFill>
              <a:srgbClr val="231F20"/>
            </a:solidFill>
            <a:ln w="4477" cap="flat">
              <a:noFill/>
              <a:prstDash val="solid"/>
              <a:miter/>
            </a:ln>
          </p:spPr>
          <p:txBody>
            <a:bodyPr rtlCol="0" anchor="ctr"/>
            <a:lstStyle/>
            <a:p>
              <a:endParaRPr lang="en-US"/>
            </a:p>
          </p:txBody>
        </p:sp>
        <p:sp>
          <p:nvSpPr>
            <p:cNvPr id="5363" name="Freeform: Shape 5362">
              <a:extLst>
                <a:ext uri="{FF2B5EF4-FFF2-40B4-BE49-F238E27FC236}">
                  <a16:creationId xmlns:a16="http://schemas.microsoft.com/office/drawing/2014/main" id="{E9475032-9080-48D7-9BB5-CA29808A706E}"/>
                </a:ext>
              </a:extLst>
            </p:cNvPr>
            <p:cNvSpPr/>
            <p:nvPr/>
          </p:nvSpPr>
          <p:spPr>
            <a:xfrm>
              <a:off x="6518198" y="2828835"/>
              <a:ext cx="26890" cy="26890"/>
            </a:xfrm>
            <a:custGeom>
              <a:avLst/>
              <a:gdLst>
                <a:gd name="connsiteX0" fmla="*/ 14341 w 26890"/>
                <a:gd name="connsiteY0" fmla="*/ 28683 h 26890"/>
                <a:gd name="connsiteX1" fmla="*/ 28683 w 26890"/>
                <a:gd name="connsiteY1" fmla="*/ 14342 h 26890"/>
                <a:gd name="connsiteX2" fmla="*/ 14341 w 26890"/>
                <a:gd name="connsiteY2" fmla="*/ 0 h 26890"/>
                <a:gd name="connsiteX3" fmla="*/ 0 w 26890"/>
                <a:gd name="connsiteY3" fmla="*/ 14342 h 26890"/>
                <a:gd name="connsiteX4" fmla="*/ 14341 w 26890"/>
                <a:gd name="connsiteY4" fmla="*/ 28683 h 26890"/>
                <a:gd name="connsiteX5" fmla="*/ 14341 w 26890"/>
                <a:gd name="connsiteY5" fmla="*/ 4482 h 26890"/>
                <a:gd name="connsiteX6" fmla="*/ 24201 w 26890"/>
                <a:gd name="connsiteY6" fmla="*/ 14342 h 26890"/>
                <a:gd name="connsiteX7" fmla="*/ 14341 w 26890"/>
                <a:gd name="connsiteY7" fmla="*/ 24201 h 26890"/>
                <a:gd name="connsiteX8" fmla="*/ 4482 w 26890"/>
                <a:gd name="connsiteY8" fmla="*/ 14342 h 26890"/>
                <a:gd name="connsiteX9" fmla="*/ 14341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1" y="28683"/>
                  </a:moveTo>
                  <a:cubicBezTo>
                    <a:pt x="22409" y="28683"/>
                    <a:pt x="28683" y="22409"/>
                    <a:pt x="28683" y="14342"/>
                  </a:cubicBezTo>
                  <a:cubicBezTo>
                    <a:pt x="28683" y="6274"/>
                    <a:pt x="22409" y="0"/>
                    <a:pt x="14341" y="0"/>
                  </a:cubicBezTo>
                  <a:cubicBezTo>
                    <a:pt x="6274" y="0"/>
                    <a:pt x="0" y="6274"/>
                    <a:pt x="0" y="14342"/>
                  </a:cubicBezTo>
                  <a:cubicBezTo>
                    <a:pt x="0" y="22409"/>
                    <a:pt x="6274" y="28683"/>
                    <a:pt x="14341" y="28683"/>
                  </a:cubicBezTo>
                  <a:close/>
                  <a:moveTo>
                    <a:pt x="14341" y="4482"/>
                  </a:moveTo>
                  <a:cubicBezTo>
                    <a:pt x="19719" y="4482"/>
                    <a:pt x="24201" y="8963"/>
                    <a:pt x="24201" y="14342"/>
                  </a:cubicBezTo>
                  <a:cubicBezTo>
                    <a:pt x="24201" y="19720"/>
                    <a:pt x="19719" y="24201"/>
                    <a:pt x="14341" y="24201"/>
                  </a:cubicBezTo>
                  <a:cubicBezTo>
                    <a:pt x="8963" y="24201"/>
                    <a:pt x="4482" y="19720"/>
                    <a:pt x="4482" y="14342"/>
                  </a:cubicBezTo>
                  <a:cubicBezTo>
                    <a:pt x="4482" y="8963"/>
                    <a:pt x="8963" y="4482"/>
                    <a:pt x="14341" y="4482"/>
                  </a:cubicBezTo>
                  <a:close/>
                </a:path>
              </a:pathLst>
            </a:custGeom>
            <a:solidFill>
              <a:srgbClr val="231F20"/>
            </a:solidFill>
            <a:ln w="4477" cap="flat">
              <a:noFill/>
              <a:prstDash val="solid"/>
              <a:miter/>
            </a:ln>
          </p:spPr>
          <p:txBody>
            <a:bodyPr rtlCol="0" anchor="ctr"/>
            <a:lstStyle/>
            <a:p>
              <a:endParaRPr lang="en-US"/>
            </a:p>
          </p:txBody>
        </p:sp>
        <p:sp>
          <p:nvSpPr>
            <p:cNvPr id="5364" name="Freeform: Shape 5363">
              <a:extLst>
                <a:ext uri="{FF2B5EF4-FFF2-40B4-BE49-F238E27FC236}">
                  <a16:creationId xmlns:a16="http://schemas.microsoft.com/office/drawing/2014/main" id="{3D110F06-00EA-4A58-9F0B-DE27842CE1C8}"/>
                </a:ext>
              </a:extLst>
            </p:cNvPr>
            <p:cNvSpPr/>
            <p:nvPr/>
          </p:nvSpPr>
          <p:spPr>
            <a:xfrm>
              <a:off x="6492652" y="2883841"/>
              <a:ext cx="76189" cy="76189"/>
            </a:xfrm>
            <a:custGeom>
              <a:avLst/>
              <a:gdLst>
                <a:gd name="connsiteX0" fmla="*/ 75293 w 76188"/>
                <a:gd name="connsiteY0" fmla="*/ 50314 h 76188"/>
                <a:gd name="connsiteX1" fmla="*/ 72155 w 76188"/>
                <a:gd name="connsiteY1" fmla="*/ 51659 h 76188"/>
                <a:gd name="connsiteX2" fmla="*/ 39887 w 76188"/>
                <a:gd name="connsiteY2" fmla="*/ 72723 h 76188"/>
                <a:gd name="connsiteX3" fmla="*/ 4930 w 76188"/>
                <a:gd name="connsiteY3" fmla="*/ 37765 h 76188"/>
                <a:gd name="connsiteX4" fmla="*/ 30027 w 76188"/>
                <a:gd name="connsiteY4" fmla="*/ 4153 h 76188"/>
                <a:gd name="connsiteX5" fmla="*/ 31372 w 76188"/>
                <a:gd name="connsiteY5" fmla="*/ 1464 h 76188"/>
                <a:gd name="connsiteX6" fmla="*/ 28683 w 76188"/>
                <a:gd name="connsiteY6" fmla="*/ 119 h 76188"/>
                <a:gd name="connsiteX7" fmla="*/ 0 w 76188"/>
                <a:gd name="connsiteY7" fmla="*/ 37765 h 76188"/>
                <a:gd name="connsiteX8" fmla="*/ 39439 w 76188"/>
                <a:gd name="connsiteY8" fmla="*/ 77204 h 76188"/>
                <a:gd name="connsiteX9" fmla="*/ 75741 w 76188"/>
                <a:gd name="connsiteY9" fmla="*/ 53003 h 76188"/>
                <a:gd name="connsiteX10" fmla="*/ 75293 w 76188"/>
                <a:gd name="connsiteY10" fmla="*/ 50314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188" h="76188">
                  <a:moveTo>
                    <a:pt x="75293" y="50314"/>
                  </a:moveTo>
                  <a:cubicBezTo>
                    <a:pt x="73948" y="49866"/>
                    <a:pt x="73052" y="50314"/>
                    <a:pt x="72155" y="51659"/>
                  </a:cubicBezTo>
                  <a:cubicBezTo>
                    <a:pt x="66777" y="64656"/>
                    <a:pt x="54229" y="72723"/>
                    <a:pt x="39887" y="72723"/>
                  </a:cubicBezTo>
                  <a:cubicBezTo>
                    <a:pt x="20616" y="72723"/>
                    <a:pt x="4930" y="57037"/>
                    <a:pt x="4930" y="37765"/>
                  </a:cubicBezTo>
                  <a:cubicBezTo>
                    <a:pt x="4930" y="22080"/>
                    <a:pt x="15238" y="8634"/>
                    <a:pt x="30027" y="4153"/>
                  </a:cubicBezTo>
                  <a:cubicBezTo>
                    <a:pt x="31372" y="3705"/>
                    <a:pt x="31820" y="2360"/>
                    <a:pt x="31372" y="1464"/>
                  </a:cubicBezTo>
                  <a:cubicBezTo>
                    <a:pt x="30924" y="567"/>
                    <a:pt x="29579" y="-329"/>
                    <a:pt x="28683" y="119"/>
                  </a:cubicBezTo>
                  <a:cubicBezTo>
                    <a:pt x="12101" y="5049"/>
                    <a:pt x="0" y="20287"/>
                    <a:pt x="0" y="37765"/>
                  </a:cubicBezTo>
                  <a:cubicBezTo>
                    <a:pt x="0" y="59278"/>
                    <a:pt x="17479" y="77204"/>
                    <a:pt x="39439" y="77204"/>
                  </a:cubicBezTo>
                  <a:cubicBezTo>
                    <a:pt x="55125" y="77204"/>
                    <a:pt x="69466" y="67793"/>
                    <a:pt x="75741" y="53003"/>
                  </a:cubicBezTo>
                  <a:cubicBezTo>
                    <a:pt x="77085" y="52107"/>
                    <a:pt x="76189" y="50762"/>
                    <a:pt x="75293" y="50314"/>
                  </a:cubicBezTo>
                  <a:close/>
                </a:path>
              </a:pathLst>
            </a:custGeom>
            <a:solidFill>
              <a:srgbClr val="231F20"/>
            </a:solidFill>
            <a:ln w="4477" cap="flat">
              <a:noFill/>
              <a:prstDash val="solid"/>
              <a:miter/>
            </a:ln>
          </p:spPr>
          <p:txBody>
            <a:bodyPr rtlCol="0" anchor="ctr"/>
            <a:lstStyle/>
            <a:p>
              <a:endParaRPr lang="en-US"/>
            </a:p>
          </p:txBody>
        </p:sp>
      </p:grpSp>
      <p:sp>
        <p:nvSpPr>
          <p:cNvPr id="2501" name="Freeform: Shape 2500">
            <a:extLst>
              <a:ext uri="{FF2B5EF4-FFF2-40B4-BE49-F238E27FC236}">
                <a16:creationId xmlns:a16="http://schemas.microsoft.com/office/drawing/2014/main" id="{D6542948-5BE9-44B3-AC4F-33FA3545E156}"/>
              </a:ext>
              <a:ext uri="{C183D7F6-B498-43B3-948B-1728B52AA6E4}">
                <adec:decorative xmlns:adec="http://schemas.microsoft.com/office/drawing/2017/decorative" val="1"/>
              </a:ext>
            </a:extLst>
          </p:cNvPr>
          <p:cNvSpPr>
            <a:spLocks noChangeAspect="1"/>
          </p:cNvSpPr>
          <p:nvPr/>
        </p:nvSpPr>
        <p:spPr>
          <a:xfrm>
            <a:off x="6693402" y="4886319"/>
            <a:ext cx="116524" cy="112043"/>
          </a:xfrm>
          <a:custGeom>
            <a:avLst/>
            <a:gdLst>
              <a:gd name="connsiteX0" fmla="*/ 119661 w 116524"/>
              <a:gd name="connsiteY0" fmla="*/ 63192 h 112042"/>
              <a:gd name="connsiteX1" fmla="*/ 102631 w 116524"/>
              <a:gd name="connsiteY1" fmla="*/ 46161 h 112042"/>
              <a:gd name="connsiteX2" fmla="*/ 85601 w 116524"/>
              <a:gd name="connsiteY2" fmla="*/ 63192 h 112042"/>
              <a:gd name="connsiteX3" fmla="*/ 100390 w 116524"/>
              <a:gd name="connsiteY3" fmla="*/ 79774 h 112042"/>
              <a:gd name="connsiteX4" fmla="*/ 100390 w 116524"/>
              <a:gd name="connsiteY4" fmla="*/ 85152 h 112042"/>
              <a:gd name="connsiteX5" fmla="*/ 92771 w 116524"/>
              <a:gd name="connsiteY5" fmla="*/ 103975 h 112042"/>
              <a:gd name="connsiteX6" fmla="*/ 65433 w 116524"/>
              <a:gd name="connsiteY6" fmla="*/ 112043 h 112042"/>
              <a:gd name="connsiteX7" fmla="*/ 37646 w 116524"/>
              <a:gd name="connsiteY7" fmla="*/ 80671 h 112042"/>
              <a:gd name="connsiteX8" fmla="*/ 37646 w 116524"/>
              <a:gd name="connsiteY8" fmla="*/ 71259 h 112042"/>
              <a:gd name="connsiteX9" fmla="*/ 70811 w 116524"/>
              <a:gd name="connsiteY9" fmla="*/ 9860 h 112042"/>
              <a:gd name="connsiteX10" fmla="*/ 56918 w 116524"/>
              <a:gd name="connsiteY10" fmla="*/ 0 h 112042"/>
              <a:gd name="connsiteX11" fmla="*/ 54677 w 116524"/>
              <a:gd name="connsiteY11" fmla="*/ 2241 h 112042"/>
              <a:gd name="connsiteX12" fmla="*/ 56918 w 116524"/>
              <a:gd name="connsiteY12" fmla="*/ 4482 h 112042"/>
              <a:gd name="connsiteX13" fmla="*/ 66777 w 116524"/>
              <a:gd name="connsiteY13" fmla="*/ 9860 h 112042"/>
              <a:gd name="connsiteX14" fmla="*/ 35405 w 116524"/>
              <a:gd name="connsiteY14" fmla="*/ 67226 h 112042"/>
              <a:gd name="connsiteX15" fmla="*/ 4034 w 116524"/>
              <a:gd name="connsiteY15" fmla="*/ 9860 h 112042"/>
              <a:gd name="connsiteX16" fmla="*/ 13893 w 116524"/>
              <a:gd name="connsiteY16" fmla="*/ 4482 h 112042"/>
              <a:gd name="connsiteX17" fmla="*/ 16134 w 116524"/>
              <a:gd name="connsiteY17" fmla="*/ 2241 h 112042"/>
              <a:gd name="connsiteX18" fmla="*/ 13893 w 116524"/>
              <a:gd name="connsiteY18" fmla="*/ 0 h 112042"/>
              <a:gd name="connsiteX19" fmla="*/ 0 w 116524"/>
              <a:gd name="connsiteY19" fmla="*/ 9860 h 112042"/>
              <a:gd name="connsiteX20" fmla="*/ 34061 w 116524"/>
              <a:gd name="connsiteY20" fmla="*/ 71259 h 112042"/>
              <a:gd name="connsiteX21" fmla="*/ 34061 w 116524"/>
              <a:gd name="connsiteY21" fmla="*/ 80222 h 112042"/>
              <a:gd name="connsiteX22" fmla="*/ 65881 w 116524"/>
              <a:gd name="connsiteY22" fmla="*/ 116076 h 112042"/>
              <a:gd name="connsiteX23" fmla="*/ 68570 w 116524"/>
              <a:gd name="connsiteY23" fmla="*/ 116076 h 112042"/>
              <a:gd name="connsiteX24" fmla="*/ 96357 w 116524"/>
              <a:gd name="connsiteY24" fmla="*/ 106664 h 112042"/>
              <a:gd name="connsiteX25" fmla="*/ 105320 w 116524"/>
              <a:gd name="connsiteY25" fmla="*/ 84704 h 112042"/>
              <a:gd name="connsiteX26" fmla="*/ 105320 w 116524"/>
              <a:gd name="connsiteY26" fmla="*/ 79326 h 112042"/>
              <a:gd name="connsiteX27" fmla="*/ 119661 w 116524"/>
              <a:gd name="connsiteY27" fmla="*/ 63192 h 112042"/>
              <a:gd name="connsiteX28" fmla="*/ 102631 w 116524"/>
              <a:gd name="connsiteY28" fmla="*/ 75293 h 112042"/>
              <a:gd name="connsiteX29" fmla="*/ 90082 w 116524"/>
              <a:gd name="connsiteY29" fmla="*/ 62744 h 112042"/>
              <a:gd name="connsiteX30" fmla="*/ 102631 w 116524"/>
              <a:gd name="connsiteY30" fmla="*/ 50195 h 112042"/>
              <a:gd name="connsiteX31" fmla="*/ 115180 w 116524"/>
              <a:gd name="connsiteY31" fmla="*/ 62744 h 112042"/>
              <a:gd name="connsiteX32" fmla="*/ 102631 w 116524"/>
              <a:gd name="connsiteY32" fmla="*/ 75293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6524" h="112042">
                <a:moveTo>
                  <a:pt x="119661" y="63192"/>
                </a:moveTo>
                <a:cubicBezTo>
                  <a:pt x="119661" y="53780"/>
                  <a:pt x="112043" y="46161"/>
                  <a:pt x="102631" y="46161"/>
                </a:cubicBezTo>
                <a:cubicBezTo>
                  <a:pt x="93219" y="46161"/>
                  <a:pt x="85601" y="53780"/>
                  <a:pt x="85601" y="63192"/>
                </a:cubicBezTo>
                <a:cubicBezTo>
                  <a:pt x="85601" y="71707"/>
                  <a:pt x="91875" y="78878"/>
                  <a:pt x="100390" y="79774"/>
                </a:cubicBezTo>
                <a:lnTo>
                  <a:pt x="100390" y="85152"/>
                </a:lnTo>
                <a:cubicBezTo>
                  <a:pt x="100390" y="92771"/>
                  <a:pt x="97701" y="99494"/>
                  <a:pt x="92771" y="103975"/>
                </a:cubicBezTo>
                <a:cubicBezTo>
                  <a:pt x="86497" y="109802"/>
                  <a:pt x="77085" y="112491"/>
                  <a:pt x="65433" y="112043"/>
                </a:cubicBezTo>
                <a:cubicBezTo>
                  <a:pt x="48851" y="111146"/>
                  <a:pt x="37646" y="98597"/>
                  <a:pt x="37646" y="80671"/>
                </a:cubicBezTo>
                <a:lnTo>
                  <a:pt x="37646" y="71259"/>
                </a:lnTo>
                <a:cubicBezTo>
                  <a:pt x="60503" y="67674"/>
                  <a:pt x="70811" y="17030"/>
                  <a:pt x="70811" y="9860"/>
                </a:cubicBezTo>
                <a:cubicBezTo>
                  <a:pt x="70811" y="2689"/>
                  <a:pt x="61847" y="0"/>
                  <a:pt x="56918" y="0"/>
                </a:cubicBezTo>
                <a:cubicBezTo>
                  <a:pt x="55573" y="0"/>
                  <a:pt x="54677" y="896"/>
                  <a:pt x="54677" y="2241"/>
                </a:cubicBezTo>
                <a:cubicBezTo>
                  <a:pt x="54677" y="3585"/>
                  <a:pt x="55573" y="4482"/>
                  <a:pt x="56918" y="4482"/>
                </a:cubicBezTo>
                <a:cubicBezTo>
                  <a:pt x="56918" y="4482"/>
                  <a:pt x="66777" y="5378"/>
                  <a:pt x="66777" y="9860"/>
                </a:cubicBezTo>
                <a:cubicBezTo>
                  <a:pt x="66777" y="18375"/>
                  <a:pt x="55125" y="67226"/>
                  <a:pt x="35405" y="67226"/>
                </a:cubicBezTo>
                <a:cubicBezTo>
                  <a:pt x="15686" y="67226"/>
                  <a:pt x="4034" y="18823"/>
                  <a:pt x="4034" y="9860"/>
                </a:cubicBezTo>
                <a:cubicBezTo>
                  <a:pt x="4034" y="4930"/>
                  <a:pt x="13893" y="4482"/>
                  <a:pt x="13893" y="4482"/>
                </a:cubicBezTo>
                <a:cubicBezTo>
                  <a:pt x="15238" y="4482"/>
                  <a:pt x="16134" y="3137"/>
                  <a:pt x="16134" y="2241"/>
                </a:cubicBezTo>
                <a:cubicBezTo>
                  <a:pt x="16134" y="896"/>
                  <a:pt x="14790" y="0"/>
                  <a:pt x="13893" y="0"/>
                </a:cubicBezTo>
                <a:cubicBezTo>
                  <a:pt x="8515" y="448"/>
                  <a:pt x="0" y="2689"/>
                  <a:pt x="0" y="9860"/>
                </a:cubicBezTo>
                <a:cubicBezTo>
                  <a:pt x="0" y="17030"/>
                  <a:pt x="10308" y="69018"/>
                  <a:pt x="34061" y="71259"/>
                </a:cubicBezTo>
                <a:lnTo>
                  <a:pt x="34061" y="80222"/>
                </a:lnTo>
                <a:cubicBezTo>
                  <a:pt x="34061" y="100838"/>
                  <a:pt x="47058" y="115180"/>
                  <a:pt x="65881" y="116076"/>
                </a:cubicBezTo>
                <a:cubicBezTo>
                  <a:pt x="66777" y="116076"/>
                  <a:pt x="67674" y="116076"/>
                  <a:pt x="68570" y="116076"/>
                </a:cubicBezTo>
                <a:cubicBezTo>
                  <a:pt x="80222" y="116076"/>
                  <a:pt x="89634" y="112939"/>
                  <a:pt x="96357" y="106664"/>
                </a:cubicBezTo>
                <a:cubicBezTo>
                  <a:pt x="102183" y="101286"/>
                  <a:pt x="105320" y="93668"/>
                  <a:pt x="105320" y="84704"/>
                </a:cubicBezTo>
                <a:lnTo>
                  <a:pt x="105320" y="79326"/>
                </a:lnTo>
                <a:cubicBezTo>
                  <a:pt x="112939" y="78430"/>
                  <a:pt x="119661" y="71707"/>
                  <a:pt x="119661" y="63192"/>
                </a:cubicBezTo>
                <a:close/>
                <a:moveTo>
                  <a:pt x="102631" y="75293"/>
                </a:moveTo>
                <a:cubicBezTo>
                  <a:pt x="95908" y="75293"/>
                  <a:pt x="90082" y="69914"/>
                  <a:pt x="90082" y="62744"/>
                </a:cubicBezTo>
                <a:cubicBezTo>
                  <a:pt x="90082" y="55573"/>
                  <a:pt x="95460" y="50195"/>
                  <a:pt x="102631" y="50195"/>
                </a:cubicBezTo>
                <a:cubicBezTo>
                  <a:pt x="109354" y="50195"/>
                  <a:pt x="115180" y="55573"/>
                  <a:pt x="115180" y="62744"/>
                </a:cubicBezTo>
                <a:cubicBezTo>
                  <a:pt x="115180" y="69914"/>
                  <a:pt x="109354" y="75293"/>
                  <a:pt x="102631" y="75293"/>
                </a:cubicBezTo>
                <a:close/>
              </a:path>
            </a:pathLst>
          </a:custGeom>
          <a:solidFill>
            <a:srgbClr val="231F20"/>
          </a:solidFill>
          <a:ln w="4477" cap="flat">
            <a:noFill/>
            <a:prstDash val="solid"/>
            <a:miter/>
          </a:ln>
        </p:spPr>
        <p:txBody>
          <a:bodyPr rtlCol="0" anchor="ctr"/>
          <a:lstStyle/>
          <a:p>
            <a:endParaRPr lang="en-US"/>
          </a:p>
        </p:txBody>
      </p:sp>
      <p:sp>
        <p:nvSpPr>
          <p:cNvPr id="2502" name="Freeform: Shape 2501">
            <a:extLst>
              <a:ext uri="{FF2B5EF4-FFF2-40B4-BE49-F238E27FC236}">
                <a16:creationId xmlns:a16="http://schemas.microsoft.com/office/drawing/2014/main" id="{BB278EFB-97DD-4E14-98B3-52AC49E7F7B3}"/>
              </a:ext>
              <a:ext uri="{C183D7F6-B498-43B3-948B-1728B52AA6E4}">
                <adec:decorative xmlns:adec="http://schemas.microsoft.com/office/drawing/2017/decorative" val="1"/>
              </a:ext>
            </a:extLst>
          </p:cNvPr>
          <p:cNvSpPr>
            <a:spLocks noChangeAspect="1"/>
          </p:cNvSpPr>
          <p:nvPr/>
        </p:nvSpPr>
        <p:spPr>
          <a:xfrm>
            <a:off x="7744809" y="4865255"/>
            <a:ext cx="147896" cy="147896"/>
          </a:xfrm>
          <a:custGeom>
            <a:avLst/>
            <a:gdLst>
              <a:gd name="connsiteX0" fmla="*/ 151482 w 147896"/>
              <a:gd name="connsiteY0" fmla="*/ 1793 h 147896"/>
              <a:gd name="connsiteX1" fmla="*/ 151482 w 147896"/>
              <a:gd name="connsiteY1" fmla="*/ 1793 h 147896"/>
              <a:gd name="connsiteX2" fmla="*/ 151482 w 147896"/>
              <a:gd name="connsiteY2" fmla="*/ 896 h 147896"/>
              <a:gd name="connsiteX3" fmla="*/ 151482 w 147896"/>
              <a:gd name="connsiteY3" fmla="*/ 448 h 147896"/>
              <a:gd name="connsiteX4" fmla="*/ 151482 w 147896"/>
              <a:gd name="connsiteY4" fmla="*/ 0 h 147896"/>
              <a:gd name="connsiteX5" fmla="*/ 151482 w 147896"/>
              <a:gd name="connsiteY5" fmla="*/ 0 h 147896"/>
              <a:gd name="connsiteX6" fmla="*/ 151482 w 147896"/>
              <a:gd name="connsiteY6" fmla="*/ 0 h 147896"/>
              <a:gd name="connsiteX7" fmla="*/ 151482 w 147896"/>
              <a:gd name="connsiteY7" fmla="*/ 0 h 147896"/>
              <a:gd name="connsiteX8" fmla="*/ 151482 w 147896"/>
              <a:gd name="connsiteY8" fmla="*/ 0 h 147896"/>
              <a:gd name="connsiteX9" fmla="*/ 151033 w 147896"/>
              <a:gd name="connsiteY9" fmla="*/ 0 h 147896"/>
              <a:gd name="connsiteX10" fmla="*/ 150585 w 147896"/>
              <a:gd name="connsiteY10" fmla="*/ 0 h 147896"/>
              <a:gd name="connsiteX11" fmla="*/ 150137 w 147896"/>
              <a:gd name="connsiteY11" fmla="*/ 0 h 147896"/>
              <a:gd name="connsiteX12" fmla="*/ 149689 w 147896"/>
              <a:gd name="connsiteY12" fmla="*/ 0 h 147896"/>
              <a:gd name="connsiteX13" fmla="*/ 149241 w 147896"/>
              <a:gd name="connsiteY13" fmla="*/ 0 h 147896"/>
              <a:gd name="connsiteX14" fmla="*/ 148793 w 147896"/>
              <a:gd name="connsiteY14" fmla="*/ 0 h 147896"/>
              <a:gd name="connsiteX15" fmla="*/ 148793 w 147896"/>
              <a:gd name="connsiteY15" fmla="*/ 0 h 147896"/>
              <a:gd name="connsiteX16" fmla="*/ 36302 w 147896"/>
              <a:gd name="connsiteY16" fmla="*/ 91875 h 147896"/>
              <a:gd name="connsiteX17" fmla="*/ 36750 w 147896"/>
              <a:gd name="connsiteY17" fmla="*/ 88738 h 147896"/>
              <a:gd name="connsiteX18" fmla="*/ 31372 w 147896"/>
              <a:gd name="connsiteY18" fmla="*/ 75741 h 147896"/>
              <a:gd name="connsiteX19" fmla="*/ 5378 w 147896"/>
              <a:gd name="connsiteY19" fmla="*/ 75741 h 147896"/>
              <a:gd name="connsiteX20" fmla="*/ 0 w 147896"/>
              <a:gd name="connsiteY20" fmla="*/ 88738 h 147896"/>
              <a:gd name="connsiteX21" fmla="*/ 5378 w 147896"/>
              <a:gd name="connsiteY21" fmla="*/ 101735 h 147896"/>
              <a:gd name="connsiteX22" fmla="*/ 18375 w 147896"/>
              <a:gd name="connsiteY22" fmla="*/ 107113 h 147896"/>
              <a:gd name="connsiteX23" fmla="*/ 29579 w 147896"/>
              <a:gd name="connsiteY23" fmla="*/ 103079 h 147896"/>
              <a:gd name="connsiteX24" fmla="*/ 30027 w 147896"/>
              <a:gd name="connsiteY24" fmla="*/ 102631 h 147896"/>
              <a:gd name="connsiteX25" fmla="*/ 68570 w 147896"/>
              <a:gd name="connsiteY25" fmla="*/ 71259 h 147896"/>
              <a:gd name="connsiteX26" fmla="*/ 80671 w 147896"/>
              <a:gd name="connsiteY26" fmla="*/ 83360 h 147896"/>
              <a:gd name="connsiteX27" fmla="*/ 50195 w 147896"/>
              <a:gd name="connsiteY27" fmla="*/ 120558 h 147896"/>
              <a:gd name="connsiteX28" fmla="*/ 50195 w 147896"/>
              <a:gd name="connsiteY28" fmla="*/ 120558 h 147896"/>
              <a:gd name="connsiteX29" fmla="*/ 44817 w 147896"/>
              <a:gd name="connsiteY29" fmla="*/ 133107 h 147896"/>
              <a:gd name="connsiteX30" fmla="*/ 50195 w 147896"/>
              <a:gd name="connsiteY30" fmla="*/ 146104 h 147896"/>
              <a:gd name="connsiteX31" fmla="*/ 63192 w 147896"/>
              <a:gd name="connsiteY31" fmla="*/ 151482 h 147896"/>
              <a:gd name="connsiteX32" fmla="*/ 76189 w 147896"/>
              <a:gd name="connsiteY32" fmla="*/ 146104 h 147896"/>
              <a:gd name="connsiteX33" fmla="*/ 81567 w 147896"/>
              <a:gd name="connsiteY33" fmla="*/ 133107 h 147896"/>
              <a:gd name="connsiteX34" fmla="*/ 76189 w 147896"/>
              <a:gd name="connsiteY34" fmla="*/ 120110 h 147896"/>
              <a:gd name="connsiteX35" fmla="*/ 60055 w 147896"/>
              <a:gd name="connsiteY35" fmla="*/ 115180 h 147896"/>
              <a:gd name="connsiteX36" fmla="*/ 151482 w 147896"/>
              <a:gd name="connsiteY36" fmla="*/ 2689 h 147896"/>
              <a:gd name="connsiteX37" fmla="*/ 151482 w 147896"/>
              <a:gd name="connsiteY37" fmla="*/ 2689 h 147896"/>
              <a:gd name="connsiteX38" fmla="*/ 151482 w 147896"/>
              <a:gd name="connsiteY38" fmla="*/ 1793 h 147896"/>
              <a:gd name="connsiteX39" fmla="*/ 151482 w 147896"/>
              <a:gd name="connsiteY39" fmla="*/ 1793 h 147896"/>
              <a:gd name="connsiteX40" fmla="*/ 7619 w 147896"/>
              <a:gd name="connsiteY40" fmla="*/ 98149 h 147896"/>
              <a:gd name="connsiteX41" fmla="*/ 3585 w 147896"/>
              <a:gd name="connsiteY41" fmla="*/ 88290 h 147896"/>
              <a:gd name="connsiteX42" fmla="*/ 7619 w 147896"/>
              <a:gd name="connsiteY42" fmla="*/ 78430 h 147896"/>
              <a:gd name="connsiteX43" fmla="*/ 17479 w 147896"/>
              <a:gd name="connsiteY43" fmla="*/ 74396 h 147896"/>
              <a:gd name="connsiteX44" fmla="*/ 27338 w 147896"/>
              <a:gd name="connsiteY44" fmla="*/ 78430 h 147896"/>
              <a:gd name="connsiteX45" fmla="*/ 31372 w 147896"/>
              <a:gd name="connsiteY45" fmla="*/ 88290 h 147896"/>
              <a:gd name="connsiteX46" fmla="*/ 27338 w 147896"/>
              <a:gd name="connsiteY46" fmla="*/ 98149 h 147896"/>
              <a:gd name="connsiteX47" fmla="*/ 27338 w 147896"/>
              <a:gd name="connsiteY47" fmla="*/ 98149 h 147896"/>
              <a:gd name="connsiteX48" fmla="*/ 7619 w 147896"/>
              <a:gd name="connsiteY48" fmla="*/ 98149 h 147896"/>
              <a:gd name="connsiteX49" fmla="*/ 71259 w 147896"/>
              <a:gd name="connsiteY49" fmla="*/ 68122 h 147896"/>
              <a:gd name="connsiteX50" fmla="*/ 133555 w 147896"/>
              <a:gd name="connsiteY50" fmla="*/ 17030 h 147896"/>
              <a:gd name="connsiteX51" fmla="*/ 82463 w 147896"/>
              <a:gd name="connsiteY51" fmla="*/ 79326 h 147896"/>
              <a:gd name="connsiteX52" fmla="*/ 71259 w 147896"/>
              <a:gd name="connsiteY52" fmla="*/ 68122 h 147896"/>
              <a:gd name="connsiteX53" fmla="*/ 72155 w 147896"/>
              <a:gd name="connsiteY53" fmla="*/ 123247 h 147896"/>
              <a:gd name="connsiteX54" fmla="*/ 76189 w 147896"/>
              <a:gd name="connsiteY54" fmla="*/ 133107 h 147896"/>
              <a:gd name="connsiteX55" fmla="*/ 72155 w 147896"/>
              <a:gd name="connsiteY55" fmla="*/ 142966 h 147896"/>
              <a:gd name="connsiteX56" fmla="*/ 52436 w 147896"/>
              <a:gd name="connsiteY56" fmla="*/ 142966 h 147896"/>
              <a:gd name="connsiteX57" fmla="*/ 48402 w 147896"/>
              <a:gd name="connsiteY57" fmla="*/ 133107 h 147896"/>
              <a:gd name="connsiteX58" fmla="*/ 52436 w 147896"/>
              <a:gd name="connsiteY58" fmla="*/ 123247 h 147896"/>
              <a:gd name="connsiteX59" fmla="*/ 62296 w 147896"/>
              <a:gd name="connsiteY59" fmla="*/ 119213 h 147896"/>
              <a:gd name="connsiteX60" fmla="*/ 72155 w 147896"/>
              <a:gd name="connsiteY60" fmla="*/ 123247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7896" h="147896">
                <a:moveTo>
                  <a:pt x="151482" y="1793"/>
                </a:moveTo>
                <a:cubicBezTo>
                  <a:pt x="151482" y="1793"/>
                  <a:pt x="151482" y="1344"/>
                  <a:pt x="151482" y="1793"/>
                </a:cubicBezTo>
                <a:cubicBezTo>
                  <a:pt x="151482" y="1344"/>
                  <a:pt x="151482" y="896"/>
                  <a:pt x="151482" y="896"/>
                </a:cubicBezTo>
                <a:cubicBezTo>
                  <a:pt x="151482" y="896"/>
                  <a:pt x="151482" y="448"/>
                  <a:pt x="151482" y="448"/>
                </a:cubicBezTo>
                <a:cubicBezTo>
                  <a:pt x="151482" y="448"/>
                  <a:pt x="151482" y="0"/>
                  <a:pt x="151482" y="0"/>
                </a:cubicBezTo>
                <a:cubicBezTo>
                  <a:pt x="151482" y="0"/>
                  <a:pt x="151482" y="0"/>
                  <a:pt x="151482" y="0"/>
                </a:cubicBezTo>
                <a:cubicBezTo>
                  <a:pt x="151482" y="0"/>
                  <a:pt x="151482" y="0"/>
                  <a:pt x="151482" y="0"/>
                </a:cubicBezTo>
                <a:cubicBezTo>
                  <a:pt x="151482" y="0"/>
                  <a:pt x="151482" y="0"/>
                  <a:pt x="151482" y="0"/>
                </a:cubicBezTo>
                <a:cubicBezTo>
                  <a:pt x="151482" y="0"/>
                  <a:pt x="151482" y="0"/>
                  <a:pt x="151482" y="0"/>
                </a:cubicBezTo>
                <a:cubicBezTo>
                  <a:pt x="151482" y="0"/>
                  <a:pt x="151033" y="0"/>
                  <a:pt x="151033" y="0"/>
                </a:cubicBezTo>
                <a:cubicBezTo>
                  <a:pt x="151033" y="0"/>
                  <a:pt x="150585" y="0"/>
                  <a:pt x="150585" y="0"/>
                </a:cubicBezTo>
                <a:cubicBezTo>
                  <a:pt x="150585" y="0"/>
                  <a:pt x="150137" y="0"/>
                  <a:pt x="150137" y="0"/>
                </a:cubicBezTo>
                <a:cubicBezTo>
                  <a:pt x="150137" y="0"/>
                  <a:pt x="149689" y="0"/>
                  <a:pt x="149689" y="0"/>
                </a:cubicBezTo>
                <a:cubicBezTo>
                  <a:pt x="149689" y="0"/>
                  <a:pt x="149241" y="0"/>
                  <a:pt x="149241" y="0"/>
                </a:cubicBezTo>
                <a:cubicBezTo>
                  <a:pt x="149241" y="0"/>
                  <a:pt x="148793" y="0"/>
                  <a:pt x="148793" y="0"/>
                </a:cubicBezTo>
                <a:cubicBezTo>
                  <a:pt x="148793" y="0"/>
                  <a:pt x="148793" y="0"/>
                  <a:pt x="148793" y="0"/>
                </a:cubicBezTo>
                <a:lnTo>
                  <a:pt x="36302" y="91875"/>
                </a:lnTo>
                <a:cubicBezTo>
                  <a:pt x="36302" y="90979"/>
                  <a:pt x="36750" y="89634"/>
                  <a:pt x="36750" y="88738"/>
                </a:cubicBezTo>
                <a:cubicBezTo>
                  <a:pt x="36750" y="83808"/>
                  <a:pt x="34957" y="79326"/>
                  <a:pt x="31372" y="75741"/>
                </a:cubicBezTo>
                <a:cubicBezTo>
                  <a:pt x="24201" y="68570"/>
                  <a:pt x="12549" y="68570"/>
                  <a:pt x="5378" y="75741"/>
                </a:cubicBezTo>
                <a:cubicBezTo>
                  <a:pt x="1793" y="79326"/>
                  <a:pt x="0" y="83808"/>
                  <a:pt x="0" y="88738"/>
                </a:cubicBezTo>
                <a:cubicBezTo>
                  <a:pt x="0" y="93668"/>
                  <a:pt x="1793" y="98149"/>
                  <a:pt x="5378" y="101735"/>
                </a:cubicBezTo>
                <a:cubicBezTo>
                  <a:pt x="8963" y="105320"/>
                  <a:pt x="13445" y="107113"/>
                  <a:pt x="18375" y="107113"/>
                </a:cubicBezTo>
                <a:cubicBezTo>
                  <a:pt x="22409" y="107113"/>
                  <a:pt x="26442" y="105768"/>
                  <a:pt x="29579" y="103079"/>
                </a:cubicBezTo>
                <a:cubicBezTo>
                  <a:pt x="29579" y="103079"/>
                  <a:pt x="30027" y="103079"/>
                  <a:pt x="30027" y="102631"/>
                </a:cubicBezTo>
                <a:lnTo>
                  <a:pt x="68570" y="71259"/>
                </a:lnTo>
                <a:lnTo>
                  <a:pt x="80671" y="83360"/>
                </a:lnTo>
                <a:lnTo>
                  <a:pt x="50195" y="120558"/>
                </a:lnTo>
                <a:cubicBezTo>
                  <a:pt x="50195" y="120558"/>
                  <a:pt x="50195" y="120558"/>
                  <a:pt x="50195" y="120558"/>
                </a:cubicBezTo>
                <a:cubicBezTo>
                  <a:pt x="47058" y="124143"/>
                  <a:pt x="44817" y="128625"/>
                  <a:pt x="44817" y="133107"/>
                </a:cubicBezTo>
                <a:cubicBezTo>
                  <a:pt x="44817" y="138036"/>
                  <a:pt x="46610" y="142518"/>
                  <a:pt x="50195" y="146104"/>
                </a:cubicBezTo>
                <a:cubicBezTo>
                  <a:pt x="53780" y="149689"/>
                  <a:pt x="58262" y="151482"/>
                  <a:pt x="63192" y="151482"/>
                </a:cubicBezTo>
                <a:cubicBezTo>
                  <a:pt x="67674" y="151482"/>
                  <a:pt x="72604" y="149689"/>
                  <a:pt x="76189" y="146104"/>
                </a:cubicBezTo>
                <a:cubicBezTo>
                  <a:pt x="79774" y="142518"/>
                  <a:pt x="81567" y="138036"/>
                  <a:pt x="81567" y="133107"/>
                </a:cubicBezTo>
                <a:cubicBezTo>
                  <a:pt x="81567" y="128177"/>
                  <a:pt x="79774" y="123695"/>
                  <a:pt x="76189" y="120110"/>
                </a:cubicBezTo>
                <a:cubicBezTo>
                  <a:pt x="71707" y="115628"/>
                  <a:pt x="65881" y="114283"/>
                  <a:pt x="60055" y="115180"/>
                </a:cubicBezTo>
                <a:lnTo>
                  <a:pt x="151482" y="2689"/>
                </a:lnTo>
                <a:cubicBezTo>
                  <a:pt x="151482" y="2689"/>
                  <a:pt x="151482" y="2689"/>
                  <a:pt x="151482" y="2689"/>
                </a:cubicBezTo>
                <a:cubicBezTo>
                  <a:pt x="151033" y="2689"/>
                  <a:pt x="151033" y="2241"/>
                  <a:pt x="151482" y="1793"/>
                </a:cubicBezTo>
                <a:cubicBezTo>
                  <a:pt x="151482" y="2241"/>
                  <a:pt x="151482" y="1793"/>
                  <a:pt x="151482" y="1793"/>
                </a:cubicBezTo>
                <a:close/>
                <a:moveTo>
                  <a:pt x="7619" y="98149"/>
                </a:moveTo>
                <a:cubicBezTo>
                  <a:pt x="4930" y="95460"/>
                  <a:pt x="3585" y="91875"/>
                  <a:pt x="3585" y="88290"/>
                </a:cubicBezTo>
                <a:cubicBezTo>
                  <a:pt x="3585" y="84704"/>
                  <a:pt x="4930" y="81119"/>
                  <a:pt x="7619" y="78430"/>
                </a:cubicBezTo>
                <a:cubicBezTo>
                  <a:pt x="10308" y="75741"/>
                  <a:pt x="13893" y="74396"/>
                  <a:pt x="17479" y="74396"/>
                </a:cubicBezTo>
                <a:cubicBezTo>
                  <a:pt x="21064" y="74396"/>
                  <a:pt x="24649" y="75741"/>
                  <a:pt x="27338" y="78430"/>
                </a:cubicBezTo>
                <a:cubicBezTo>
                  <a:pt x="30027" y="81119"/>
                  <a:pt x="31372" y="84704"/>
                  <a:pt x="31372" y="88290"/>
                </a:cubicBezTo>
                <a:cubicBezTo>
                  <a:pt x="31372" y="91875"/>
                  <a:pt x="30027" y="95460"/>
                  <a:pt x="27338" y="98149"/>
                </a:cubicBezTo>
                <a:lnTo>
                  <a:pt x="27338" y="98149"/>
                </a:lnTo>
                <a:cubicBezTo>
                  <a:pt x="21960" y="103079"/>
                  <a:pt x="12997" y="103079"/>
                  <a:pt x="7619" y="98149"/>
                </a:cubicBezTo>
                <a:close/>
                <a:moveTo>
                  <a:pt x="71259" y="68122"/>
                </a:moveTo>
                <a:lnTo>
                  <a:pt x="133555" y="17030"/>
                </a:lnTo>
                <a:lnTo>
                  <a:pt x="82463" y="79326"/>
                </a:lnTo>
                <a:lnTo>
                  <a:pt x="71259" y="68122"/>
                </a:lnTo>
                <a:close/>
                <a:moveTo>
                  <a:pt x="72155" y="123247"/>
                </a:moveTo>
                <a:cubicBezTo>
                  <a:pt x="74844" y="125936"/>
                  <a:pt x="76189" y="129521"/>
                  <a:pt x="76189" y="133107"/>
                </a:cubicBezTo>
                <a:cubicBezTo>
                  <a:pt x="76189" y="136692"/>
                  <a:pt x="74844" y="140277"/>
                  <a:pt x="72155" y="142966"/>
                </a:cubicBezTo>
                <a:cubicBezTo>
                  <a:pt x="66777" y="148344"/>
                  <a:pt x="57814" y="148344"/>
                  <a:pt x="52436" y="142966"/>
                </a:cubicBezTo>
                <a:cubicBezTo>
                  <a:pt x="49747" y="140277"/>
                  <a:pt x="48402" y="136692"/>
                  <a:pt x="48402" y="133107"/>
                </a:cubicBezTo>
                <a:cubicBezTo>
                  <a:pt x="48402" y="129521"/>
                  <a:pt x="49747" y="125936"/>
                  <a:pt x="52436" y="123247"/>
                </a:cubicBezTo>
                <a:cubicBezTo>
                  <a:pt x="55125" y="120558"/>
                  <a:pt x="58710" y="119213"/>
                  <a:pt x="62296" y="119213"/>
                </a:cubicBezTo>
                <a:cubicBezTo>
                  <a:pt x="65881" y="119213"/>
                  <a:pt x="69466" y="120558"/>
                  <a:pt x="72155" y="123247"/>
                </a:cubicBezTo>
                <a:close/>
              </a:path>
            </a:pathLst>
          </a:custGeom>
          <a:solidFill>
            <a:srgbClr val="231F20"/>
          </a:solidFill>
          <a:ln w="4477" cap="flat">
            <a:noFill/>
            <a:prstDash val="solid"/>
            <a:miter/>
          </a:ln>
        </p:spPr>
        <p:txBody>
          <a:bodyPr rtlCol="0" anchor="ctr"/>
          <a:lstStyle/>
          <a:p>
            <a:endParaRPr lang="en-US"/>
          </a:p>
        </p:txBody>
      </p:sp>
      <p:grpSp>
        <p:nvGrpSpPr>
          <p:cNvPr id="2503" name="Group 2502">
            <a:extLst>
              <a:ext uri="{FF2B5EF4-FFF2-40B4-BE49-F238E27FC236}">
                <a16:creationId xmlns:a16="http://schemas.microsoft.com/office/drawing/2014/main" id="{4D2CB100-4484-4A7B-AA5C-11C065D7F076}"/>
              </a:ext>
              <a:ext uri="{C183D7F6-B498-43B3-948B-1728B52AA6E4}">
                <adec:decorative xmlns:adec="http://schemas.microsoft.com/office/drawing/2017/decorative" val="1"/>
              </a:ext>
            </a:extLst>
          </p:cNvPr>
          <p:cNvGrpSpPr>
            <a:grpSpLocks noChangeAspect="1"/>
          </p:cNvGrpSpPr>
          <p:nvPr/>
        </p:nvGrpSpPr>
        <p:grpSpPr>
          <a:xfrm>
            <a:off x="7213727" y="4871305"/>
            <a:ext cx="130194" cy="141398"/>
            <a:chOff x="7270227" y="2815614"/>
            <a:chExt cx="130194" cy="141398"/>
          </a:xfrm>
        </p:grpSpPr>
        <p:sp>
          <p:nvSpPr>
            <p:cNvPr id="5359" name="Freeform: Shape 5358">
              <a:extLst>
                <a:ext uri="{FF2B5EF4-FFF2-40B4-BE49-F238E27FC236}">
                  <a16:creationId xmlns:a16="http://schemas.microsoft.com/office/drawing/2014/main" id="{9501EB24-4A84-4AC0-8999-C549E3C6BBA2}"/>
                </a:ext>
              </a:extLst>
            </p:cNvPr>
            <p:cNvSpPr/>
            <p:nvPr/>
          </p:nvSpPr>
          <p:spPr>
            <a:xfrm>
              <a:off x="7270227" y="2880823"/>
              <a:ext cx="125488" cy="76189"/>
            </a:xfrm>
            <a:custGeom>
              <a:avLst/>
              <a:gdLst>
                <a:gd name="connsiteX0" fmla="*/ 123247 w 125487"/>
                <a:gd name="connsiteY0" fmla="*/ 75741 h 76188"/>
                <a:gd name="connsiteX1" fmla="*/ 99494 w 125487"/>
                <a:gd name="connsiteY1" fmla="*/ 75741 h 76188"/>
                <a:gd name="connsiteX2" fmla="*/ 111146 w 125487"/>
                <a:gd name="connsiteY2" fmla="*/ 53780 h 76188"/>
                <a:gd name="connsiteX3" fmla="*/ 98149 w 125487"/>
                <a:gd name="connsiteY3" fmla="*/ 27787 h 76188"/>
                <a:gd name="connsiteX4" fmla="*/ 97701 w 125487"/>
                <a:gd name="connsiteY4" fmla="*/ 27338 h 76188"/>
                <a:gd name="connsiteX5" fmla="*/ 100838 w 125487"/>
                <a:gd name="connsiteY5" fmla="*/ 17479 h 76188"/>
                <a:gd name="connsiteX6" fmla="*/ 83360 w 125487"/>
                <a:gd name="connsiteY6" fmla="*/ 0 h 76188"/>
                <a:gd name="connsiteX7" fmla="*/ 65881 w 125487"/>
                <a:gd name="connsiteY7" fmla="*/ 17479 h 76188"/>
                <a:gd name="connsiteX8" fmla="*/ 83360 w 125487"/>
                <a:gd name="connsiteY8" fmla="*/ 34957 h 76188"/>
                <a:gd name="connsiteX9" fmla="*/ 95012 w 125487"/>
                <a:gd name="connsiteY9" fmla="*/ 30476 h 76188"/>
                <a:gd name="connsiteX10" fmla="*/ 95460 w 125487"/>
                <a:gd name="connsiteY10" fmla="*/ 30924 h 76188"/>
                <a:gd name="connsiteX11" fmla="*/ 106665 w 125487"/>
                <a:gd name="connsiteY11" fmla="*/ 53780 h 76188"/>
                <a:gd name="connsiteX12" fmla="*/ 92323 w 125487"/>
                <a:gd name="connsiteY12" fmla="*/ 75741 h 76188"/>
                <a:gd name="connsiteX13" fmla="*/ 2241 w 125487"/>
                <a:gd name="connsiteY13" fmla="*/ 75741 h 76188"/>
                <a:gd name="connsiteX14" fmla="*/ 0 w 125487"/>
                <a:gd name="connsiteY14" fmla="*/ 77982 h 76188"/>
                <a:gd name="connsiteX15" fmla="*/ 2241 w 125487"/>
                <a:gd name="connsiteY15" fmla="*/ 80222 h 76188"/>
                <a:gd name="connsiteX16" fmla="*/ 123247 w 125487"/>
                <a:gd name="connsiteY16" fmla="*/ 80222 h 76188"/>
                <a:gd name="connsiteX17" fmla="*/ 125488 w 125487"/>
                <a:gd name="connsiteY17" fmla="*/ 77982 h 76188"/>
                <a:gd name="connsiteX18" fmla="*/ 123247 w 125487"/>
                <a:gd name="connsiteY18" fmla="*/ 75741 h 76188"/>
                <a:gd name="connsiteX19" fmla="*/ 82911 w 125487"/>
                <a:gd name="connsiteY19" fmla="*/ 30476 h 76188"/>
                <a:gd name="connsiteX20" fmla="*/ 69915 w 125487"/>
                <a:gd name="connsiteY20" fmla="*/ 17479 h 76188"/>
                <a:gd name="connsiteX21" fmla="*/ 82911 w 125487"/>
                <a:gd name="connsiteY21" fmla="*/ 4482 h 76188"/>
                <a:gd name="connsiteX22" fmla="*/ 95908 w 125487"/>
                <a:gd name="connsiteY22" fmla="*/ 17479 h 76188"/>
                <a:gd name="connsiteX23" fmla="*/ 82911 w 125487"/>
                <a:gd name="connsiteY23" fmla="*/ 30476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487" h="76188">
                  <a:moveTo>
                    <a:pt x="123247" y="75741"/>
                  </a:moveTo>
                  <a:lnTo>
                    <a:pt x="99494" y="75741"/>
                  </a:lnTo>
                  <a:cubicBezTo>
                    <a:pt x="104424" y="71259"/>
                    <a:pt x="111146" y="63192"/>
                    <a:pt x="111146" y="53780"/>
                  </a:cubicBezTo>
                  <a:cubicBezTo>
                    <a:pt x="111146" y="38991"/>
                    <a:pt x="98597" y="28235"/>
                    <a:pt x="98149" y="27787"/>
                  </a:cubicBezTo>
                  <a:cubicBezTo>
                    <a:pt x="98149" y="27787"/>
                    <a:pt x="97701" y="27338"/>
                    <a:pt x="97701" y="27338"/>
                  </a:cubicBezTo>
                  <a:cubicBezTo>
                    <a:pt x="99494" y="24649"/>
                    <a:pt x="100838" y="21064"/>
                    <a:pt x="100838" y="17479"/>
                  </a:cubicBezTo>
                  <a:cubicBezTo>
                    <a:pt x="100838" y="8067"/>
                    <a:pt x="93219" y="0"/>
                    <a:pt x="83360" y="0"/>
                  </a:cubicBezTo>
                  <a:cubicBezTo>
                    <a:pt x="73500" y="0"/>
                    <a:pt x="65881" y="7619"/>
                    <a:pt x="65881" y="17479"/>
                  </a:cubicBezTo>
                  <a:cubicBezTo>
                    <a:pt x="65881" y="27338"/>
                    <a:pt x="73500" y="34957"/>
                    <a:pt x="83360" y="34957"/>
                  </a:cubicBezTo>
                  <a:cubicBezTo>
                    <a:pt x="87841" y="34957"/>
                    <a:pt x="91875" y="33165"/>
                    <a:pt x="95012" y="30476"/>
                  </a:cubicBezTo>
                  <a:cubicBezTo>
                    <a:pt x="95012" y="30924"/>
                    <a:pt x="95460" y="30924"/>
                    <a:pt x="95460" y="30924"/>
                  </a:cubicBezTo>
                  <a:cubicBezTo>
                    <a:pt x="95460" y="30924"/>
                    <a:pt x="106665" y="40784"/>
                    <a:pt x="106665" y="53780"/>
                  </a:cubicBezTo>
                  <a:cubicBezTo>
                    <a:pt x="106665" y="64985"/>
                    <a:pt x="95012" y="73948"/>
                    <a:pt x="92323" y="75741"/>
                  </a:cubicBezTo>
                  <a:lnTo>
                    <a:pt x="2241" y="75741"/>
                  </a:lnTo>
                  <a:cubicBezTo>
                    <a:pt x="896" y="75741"/>
                    <a:pt x="0" y="76637"/>
                    <a:pt x="0" y="77982"/>
                  </a:cubicBezTo>
                  <a:cubicBezTo>
                    <a:pt x="0" y="79326"/>
                    <a:pt x="896" y="80222"/>
                    <a:pt x="2241" y="80222"/>
                  </a:cubicBezTo>
                  <a:lnTo>
                    <a:pt x="123247" y="80222"/>
                  </a:lnTo>
                  <a:cubicBezTo>
                    <a:pt x="124591" y="80222"/>
                    <a:pt x="125488" y="79326"/>
                    <a:pt x="125488" y="77982"/>
                  </a:cubicBezTo>
                  <a:cubicBezTo>
                    <a:pt x="125488" y="76637"/>
                    <a:pt x="124591" y="75741"/>
                    <a:pt x="123247" y="75741"/>
                  </a:cubicBezTo>
                  <a:close/>
                  <a:moveTo>
                    <a:pt x="82911" y="30476"/>
                  </a:moveTo>
                  <a:cubicBezTo>
                    <a:pt x="75741" y="30476"/>
                    <a:pt x="69915" y="24649"/>
                    <a:pt x="69915" y="17479"/>
                  </a:cubicBezTo>
                  <a:cubicBezTo>
                    <a:pt x="69915" y="10308"/>
                    <a:pt x="75741" y="4482"/>
                    <a:pt x="82911" y="4482"/>
                  </a:cubicBezTo>
                  <a:cubicBezTo>
                    <a:pt x="90082" y="4482"/>
                    <a:pt x="95908" y="10308"/>
                    <a:pt x="95908" y="17479"/>
                  </a:cubicBezTo>
                  <a:cubicBezTo>
                    <a:pt x="95908" y="24649"/>
                    <a:pt x="90082" y="30476"/>
                    <a:pt x="82911" y="30476"/>
                  </a:cubicBezTo>
                  <a:close/>
                </a:path>
              </a:pathLst>
            </a:custGeom>
            <a:solidFill>
              <a:srgbClr val="231F20"/>
            </a:solidFill>
            <a:ln w="4477" cap="flat">
              <a:noFill/>
              <a:prstDash val="solid"/>
              <a:miter/>
            </a:ln>
          </p:spPr>
          <p:txBody>
            <a:bodyPr rtlCol="0" anchor="ctr"/>
            <a:lstStyle/>
            <a:p>
              <a:endParaRPr lang="en-US"/>
            </a:p>
          </p:txBody>
        </p:sp>
        <p:sp>
          <p:nvSpPr>
            <p:cNvPr id="5360" name="Freeform: Shape 5359">
              <a:extLst>
                <a:ext uri="{FF2B5EF4-FFF2-40B4-BE49-F238E27FC236}">
                  <a16:creationId xmlns:a16="http://schemas.microsoft.com/office/drawing/2014/main" id="{EAA0590F-371E-473A-9F11-A91EBB3A504C}"/>
                </a:ext>
              </a:extLst>
            </p:cNvPr>
            <p:cNvSpPr/>
            <p:nvPr/>
          </p:nvSpPr>
          <p:spPr>
            <a:xfrm>
              <a:off x="7283897" y="2912419"/>
              <a:ext cx="17927" cy="17927"/>
            </a:xfrm>
            <a:custGeom>
              <a:avLst/>
              <a:gdLst>
                <a:gd name="connsiteX0" fmla="*/ 17703 w 17926"/>
                <a:gd name="connsiteY0" fmla="*/ 21288 h 17926"/>
                <a:gd name="connsiteX1" fmla="*/ 19495 w 17926"/>
                <a:gd name="connsiteY1" fmla="*/ 21736 h 17926"/>
                <a:gd name="connsiteX2" fmla="*/ 21288 w 17926"/>
                <a:gd name="connsiteY2" fmla="*/ 21288 h 17926"/>
                <a:gd name="connsiteX3" fmla="*/ 21288 w 17926"/>
                <a:gd name="connsiteY3" fmla="*/ 18151 h 17926"/>
                <a:gd name="connsiteX4" fmla="*/ 3809 w 17926"/>
                <a:gd name="connsiteY4" fmla="*/ 672 h 17926"/>
                <a:gd name="connsiteX5" fmla="*/ 672 w 17926"/>
                <a:gd name="connsiteY5" fmla="*/ 672 h 17926"/>
                <a:gd name="connsiteX6" fmla="*/ 672 w 17926"/>
                <a:gd name="connsiteY6" fmla="*/ 3809 h 17926"/>
                <a:gd name="connsiteX7" fmla="*/ 17703 w 17926"/>
                <a:gd name="connsiteY7" fmla="*/ 21288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26" h="17926">
                  <a:moveTo>
                    <a:pt x="17703" y="21288"/>
                  </a:moveTo>
                  <a:cubicBezTo>
                    <a:pt x="18151" y="21736"/>
                    <a:pt x="18599" y="21736"/>
                    <a:pt x="19495" y="21736"/>
                  </a:cubicBezTo>
                  <a:cubicBezTo>
                    <a:pt x="20392" y="21736"/>
                    <a:pt x="20840" y="21736"/>
                    <a:pt x="21288" y="21288"/>
                  </a:cubicBezTo>
                  <a:cubicBezTo>
                    <a:pt x="22184" y="20392"/>
                    <a:pt x="22184" y="19047"/>
                    <a:pt x="21288" y="18151"/>
                  </a:cubicBezTo>
                  <a:lnTo>
                    <a:pt x="3809" y="672"/>
                  </a:lnTo>
                  <a:cubicBezTo>
                    <a:pt x="2913" y="-224"/>
                    <a:pt x="1569" y="-224"/>
                    <a:pt x="672" y="672"/>
                  </a:cubicBezTo>
                  <a:cubicBezTo>
                    <a:pt x="-224" y="1569"/>
                    <a:pt x="-224" y="2913"/>
                    <a:pt x="672" y="3809"/>
                  </a:cubicBezTo>
                  <a:lnTo>
                    <a:pt x="17703" y="21288"/>
                  </a:lnTo>
                  <a:close/>
                </a:path>
              </a:pathLst>
            </a:custGeom>
            <a:solidFill>
              <a:srgbClr val="231F20"/>
            </a:solidFill>
            <a:ln w="4477" cap="flat">
              <a:noFill/>
              <a:prstDash val="solid"/>
              <a:miter/>
            </a:ln>
          </p:spPr>
          <p:txBody>
            <a:bodyPr rtlCol="0" anchor="ctr"/>
            <a:lstStyle/>
            <a:p>
              <a:endParaRPr lang="en-US"/>
            </a:p>
          </p:txBody>
        </p:sp>
        <p:sp>
          <p:nvSpPr>
            <p:cNvPr id="5361" name="Freeform: Shape 5360">
              <a:extLst>
                <a:ext uri="{FF2B5EF4-FFF2-40B4-BE49-F238E27FC236}">
                  <a16:creationId xmlns:a16="http://schemas.microsoft.com/office/drawing/2014/main" id="{0E913E9C-2F78-4B96-98FD-21F2D59047EA}"/>
                </a:ext>
              </a:extLst>
            </p:cNvPr>
            <p:cNvSpPr/>
            <p:nvPr/>
          </p:nvSpPr>
          <p:spPr>
            <a:xfrm>
              <a:off x="7288378" y="2815614"/>
              <a:ext cx="112043" cy="112043"/>
            </a:xfrm>
            <a:custGeom>
              <a:avLst/>
              <a:gdLst>
                <a:gd name="connsiteX0" fmla="*/ 114507 w 112042"/>
                <a:gd name="connsiteY0" fmla="*/ 28459 h 112042"/>
                <a:gd name="connsiteX1" fmla="*/ 86721 w 112042"/>
                <a:gd name="connsiteY1" fmla="*/ 672 h 112042"/>
                <a:gd name="connsiteX2" fmla="*/ 83584 w 112042"/>
                <a:gd name="connsiteY2" fmla="*/ 672 h 112042"/>
                <a:gd name="connsiteX3" fmla="*/ 83584 w 112042"/>
                <a:gd name="connsiteY3" fmla="*/ 3810 h 112042"/>
                <a:gd name="connsiteX4" fmla="*/ 88065 w 112042"/>
                <a:gd name="connsiteY4" fmla="*/ 8291 h 112042"/>
                <a:gd name="connsiteX5" fmla="*/ 69242 w 112042"/>
                <a:gd name="connsiteY5" fmla="*/ 27114 h 112042"/>
                <a:gd name="connsiteX6" fmla="*/ 61623 w 112042"/>
                <a:gd name="connsiteY6" fmla="*/ 19496 h 112042"/>
                <a:gd name="connsiteX7" fmla="*/ 58486 w 112042"/>
                <a:gd name="connsiteY7" fmla="*/ 19496 h 112042"/>
                <a:gd name="connsiteX8" fmla="*/ 672 w 112042"/>
                <a:gd name="connsiteY8" fmla="*/ 77309 h 112042"/>
                <a:gd name="connsiteX9" fmla="*/ 672 w 112042"/>
                <a:gd name="connsiteY9" fmla="*/ 80447 h 112042"/>
                <a:gd name="connsiteX10" fmla="*/ 34285 w 112042"/>
                <a:gd name="connsiteY10" fmla="*/ 114059 h 112042"/>
                <a:gd name="connsiteX11" fmla="*/ 36078 w 112042"/>
                <a:gd name="connsiteY11" fmla="*/ 114508 h 112042"/>
                <a:gd name="connsiteX12" fmla="*/ 37870 w 112042"/>
                <a:gd name="connsiteY12" fmla="*/ 114059 h 112042"/>
                <a:gd name="connsiteX13" fmla="*/ 51764 w 112042"/>
                <a:gd name="connsiteY13" fmla="*/ 100166 h 112042"/>
                <a:gd name="connsiteX14" fmla="*/ 51764 w 112042"/>
                <a:gd name="connsiteY14" fmla="*/ 97029 h 112042"/>
                <a:gd name="connsiteX15" fmla="*/ 48626 w 112042"/>
                <a:gd name="connsiteY15" fmla="*/ 97029 h 112042"/>
                <a:gd name="connsiteX16" fmla="*/ 36078 w 112042"/>
                <a:gd name="connsiteY16" fmla="*/ 109578 h 112042"/>
                <a:gd name="connsiteX17" fmla="*/ 5602 w 112042"/>
                <a:gd name="connsiteY17" fmla="*/ 79102 h 112042"/>
                <a:gd name="connsiteX18" fmla="*/ 60279 w 112042"/>
                <a:gd name="connsiteY18" fmla="*/ 24425 h 112042"/>
                <a:gd name="connsiteX19" fmla="*/ 90754 w 112042"/>
                <a:gd name="connsiteY19" fmla="*/ 54901 h 112042"/>
                <a:gd name="connsiteX20" fmla="*/ 79998 w 112042"/>
                <a:gd name="connsiteY20" fmla="*/ 65657 h 112042"/>
                <a:gd name="connsiteX21" fmla="*/ 79998 w 112042"/>
                <a:gd name="connsiteY21" fmla="*/ 68794 h 112042"/>
                <a:gd name="connsiteX22" fmla="*/ 83136 w 112042"/>
                <a:gd name="connsiteY22" fmla="*/ 68794 h 112042"/>
                <a:gd name="connsiteX23" fmla="*/ 95684 w 112042"/>
                <a:gd name="connsiteY23" fmla="*/ 56245 h 112042"/>
                <a:gd name="connsiteX24" fmla="*/ 96132 w 112042"/>
                <a:gd name="connsiteY24" fmla="*/ 54453 h 112042"/>
                <a:gd name="connsiteX25" fmla="*/ 95684 w 112042"/>
                <a:gd name="connsiteY25" fmla="*/ 52660 h 112042"/>
                <a:gd name="connsiteX26" fmla="*/ 88065 w 112042"/>
                <a:gd name="connsiteY26" fmla="*/ 45041 h 112042"/>
                <a:gd name="connsiteX27" fmla="*/ 106889 w 112042"/>
                <a:gd name="connsiteY27" fmla="*/ 26218 h 112042"/>
                <a:gd name="connsiteX28" fmla="*/ 111818 w 112042"/>
                <a:gd name="connsiteY28" fmla="*/ 31148 h 112042"/>
                <a:gd name="connsiteX29" fmla="*/ 113611 w 112042"/>
                <a:gd name="connsiteY29" fmla="*/ 31596 h 112042"/>
                <a:gd name="connsiteX30" fmla="*/ 115404 w 112042"/>
                <a:gd name="connsiteY30" fmla="*/ 31148 h 112042"/>
                <a:gd name="connsiteX31" fmla="*/ 114507 w 112042"/>
                <a:gd name="connsiteY31" fmla="*/ 28459 h 112042"/>
                <a:gd name="connsiteX32" fmla="*/ 84480 w 112042"/>
                <a:gd name="connsiteY32" fmla="*/ 42800 h 112042"/>
                <a:gd name="connsiteX33" fmla="*/ 72380 w 112042"/>
                <a:gd name="connsiteY33" fmla="*/ 30700 h 112042"/>
                <a:gd name="connsiteX34" fmla="*/ 91203 w 112042"/>
                <a:gd name="connsiteY34" fmla="*/ 11877 h 112042"/>
                <a:gd name="connsiteX35" fmla="*/ 103303 w 112042"/>
                <a:gd name="connsiteY35" fmla="*/ 23977 h 112042"/>
                <a:gd name="connsiteX36" fmla="*/ 84480 w 112042"/>
                <a:gd name="connsiteY36" fmla="*/ 42800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2042" h="112042">
                  <a:moveTo>
                    <a:pt x="114507" y="28459"/>
                  </a:moveTo>
                  <a:lnTo>
                    <a:pt x="86721" y="672"/>
                  </a:lnTo>
                  <a:cubicBezTo>
                    <a:pt x="85825" y="-224"/>
                    <a:pt x="84480" y="-224"/>
                    <a:pt x="83584" y="672"/>
                  </a:cubicBezTo>
                  <a:cubicBezTo>
                    <a:pt x="82687" y="1569"/>
                    <a:pt x="82687" y="2913"/>
                    <a:pt x="83584" y="3810"/>
                  </a:cubicBezTo>
                  <a:lnTo>
                    <a:pt x="88065" y="8291"/>
                  </a:lnTo>
                  <a:lnTo>
                    <a:pt x="69242" y="27114"/>
                  </a:lnTo>
                  <a:lnTo>
                    <a:pt x="61623" y="19496"/>
                  </a:lnTo>
                  <a:cubicBezTo>
                    <a:pt x="60727" y="18599"/>
                    <a:pt x="59383" y="18599"/>
                    <a:pt x="58486" y="19496"/>
                  </a:cubicBezTo>
                  <a:lnTo>
                    <a:pt x="672" y="77309"/>
                  </a:lnTo>
                  <a:cubicBezTo>
                    <a:pt x="-224" y="78206"/>
                    <a:pt x="-224" y="79550"/>
                    <a:pt x="672" y="80447"/>
                  </a:cubicBezTo>
                  <a:lnTo>
                    <a:pt x="34285" y="114059"/>
                  </a:lnTo>
                  <a:cubicBezTo>
                    <a:pt x="34733" y="114508"/>
                    <a:pt x="35181" y="114508"/>
                    <a:pt x="36078" y="114508"/>
                  </a:cubicBezTo>
                  <a:cubicBezTo>
                    <a:pt x="36974" y="114508"/>
                    <a:pt x="37422" y="114508"/>
                    <a:pt x="37870" y="114059"/>
                  </a:cubicBezTo>
                  <a:lnTo>
                    <a:pt x="51764" y="100166"/>
                  </a:lnTo>
                  <a:cubicBezTo>
                    <a:pt x="52660" y="99270"/>
                    <a:pt x="52660" y="97925"/>
                    <a:pt x="51764" y="97029"/>
                  </a:cubicBezTo>
                  <a:cubicBezTo>
                    <a:pt x="50867" y="96133"/>
                    <a:pt x="49523" y="96133"/>
                    <a:pt x="48626" y="97029"/>
                  </a:cubicBezTo>
                  <a:lnTo>
                    <a:pt x="36078" y="109578"/>
                  </a:lnTo>
                  <a:lnTo>
                    <a:pt x="5602" y="79102"/>
                  </a:lnTo>
                  <a:lnTo>
                    <a:pt x="60279" y="24425"/>
                  </a:lnTo>
                  <a:lnTo>
                    <a:pt x="90754" y="54901"/>
                  </a:lnTo>
                  <a:lnTo>
                    <a:pt x="79998" y="65657"/>
                  </a:lnTo>
                  <a:cubicBezTo>
                    <a:pt x="79102" y="66553"/>
                    <a:pt x="79102" y="67898"/>
                    <a:pt x="79998" y="68794"/>
                  </a:cubicBezTo>
                  <a:cubicBezTo>
                    <a:pt x="80895" y="69690"/>
                    <a:pt x="82239" y="69690"/>
                    <a:pt x="83136" y="68794"/>
                  </a:cubicBezTo>
                  <a:lnTo>
                    <a:pt x="95684" y="56245"/>
                  </a:lnTo>
                  <a:cubicBezTo>
                    <a:pt x="96132" y="55797"/>
                    <a:pt x="96132" y="55349"/>
                    <a:pt x="96132" y="54453"/>
                  </a:cubicBezTo>
                  <a:cubicBezTo>
                    <a:pt x="96132" y="54005"/>
                    <a:pt x="95684" y="53108"/>
                    <a:pt x="95684" y="52660"/>
                  </a:cubicBezTo>
                  <a:lnTo>
                    <a:pt x="88065" y="45041"/>
                  </a:lnTo>
                  <a:lnTo>
                    <a:pt x="106889" y="26218"/>
                  </a:lnTo>
                  <a:lnTo>
                    <a:pt x="111818" y="31148"/>
                  </a:lnTo>
                  <a:cubicBezTo>
                    <a:pt x="112267" y="31596"/>
                    <a:pt x="112715" y="31596"/>
                    <a:pt x="113611" y="31596"/>
                  </a:cubicBezTo>
                  <a:cubicBezTo>
                    <a:pt x="114059" y="31596"/>
                    <a:pt x="114956" y="31596"/>
                    <a:pt x="115404" y="31148"/>
                  </a:cubicBezTo>
                  <a:cubicBezTo>
                    <a:pt x="115404" y="31148"/>
                    <a:pt x="115404" y="29355"/>
                    <a:pt x="114507" y="28459"/>
                  </a:cubicBezTo>
                  <a:close/>
                  <a:moveTo>
                    <a:pt x="84480" y="42800"/>
                  </a:moveTo>
                  <a:lnTo>
                    <a:pt x="72380" y="30700"/>
                  </a:lnTo>
                  <a:lnTo>
                    <a:pt x="91203" y="11877"/>
                  </a:lnTo>
                  <a:lnTo>
                    <a:pt x="103303" y="23977"/>
                  </a:lnTo>
                  <a:lnTo>
                    <a:pt x="84480" y="42800"/>
                  </a:lnTo>
                  <a:close/>
                </a:path>
              </a:pathLst>
            </a:custGeom>
            <a:solidFill>
              <a:srgbClr val="231F20"/>
            </a:solidFill>
            <a:ln w="4477" cap="flat">
              <a:noFill/>
              <a:prstDash val="solid"/>
              <a:miter/>
            </a:ln>
          </p:spPr>
          <p:txBody>
            <a:bodyPr rtlCol="0" anchor="ctr"/>
            <a:lstStyle/>
            <a:p>
              <a:endParaRPr lang="en-US"/>
            </a:p>
          </p:txBody>
        </p:sp>
      </p:grpSp>
      <p:sp>
        <p:nvSpPr>
          <p:cNvPr id="2504" name="Freeform: Shape 2503">
            <a:extLst>
              <a:ext uri="{FF2B5EF4-FFF2-40B4-BE49-F238E27FC236}">
                <a16:creationId xmlns:a16="http://schemas.microsoft.com/office/drawing/2014/main" id="{E613D10A-768D-4208-9A06-15C14FDE4F21}"/>
              </a:ext>
              <a:ext uri="{C183D7F6-B498-43B3-948B-1728B52AA6E4}">
                <adec:decorative xmlns:adec="http://schemas.microsoft.com/office/drawing/2017/decorative" val="1"/>
              </a:ext>
            </a:extLst>
          </p:cNvPr>
          <p:cNvSpPr>
            <a:spLocks noChangeAspect="1"/>
          </p:cNvSpPr>
          <p:nvPr/>
        </p:nvSpPr>
        <p:spPr>
          <a:xfrm>
            <a:off x="7484086" y="4872537"/>
            <a:ext cx="143414" cy="143414"/>
          </a:xfrm>
          <a:custGeom>
            <a:avLst/>
            <a:gdLst>
              <a:gd name="connsiteX0" fmla="*/ 139717 w 143414"/>
              <a:gd name="connsiteY0" fmla="*/ 4370 h 143414"/>
              <a:gd name="connsiteX1" fmla="*/ 117309 w 143414"/>
              <a:gd name="connsiteY1" fmla="*/ 4370 h 143414"/>
              <a:gd name="connsiteX2" fmla="*/ 117309 w 143414"/>
              <a:gd name="connsiteY2" fmla="*/ 4370 h 143414"/>
              <a:gd name="connsiteX3" fmla="*/ 117309 w 143414"/>
              <a:gd name="connsiteY3" fmla="*/ 4370 h 143414"/>
              <a:gd name="connsiteX4" fmla="*/ 31260 w 143414"/>
              <a:gd name="connsiteY4" fmla="*/ 91315 h 143414"/>
              <a:gd name="connsiteX5" fmla="*/ 31260 w 143414"/>
              <a:gd name="connsiteY5" fmla="*/ 94452 h 143414"/>
              <a:gd name="connsiteX6" fmla="*/ 38879 w 143414"/>
              <a:gd name="connsiteY6" fmla="*/ 102071 h 143414"/>
              <a:gd name="connsiteX7" fmla="*/ 784 w 143414"/>
              <a:gd name="connsiteY7" fmla="*/ 140165 h 143414"/>
              <a:gd name="connsiteX8" fmla="*/ 336 w 143414"/>
              <a:gd name="connsiteY8" fmla="*/ 141062 h 143414"/>
              <a:gd name="connsiteX9" fmla="*/ 336 w 143414"/>
              <a:gd name="connsiteY9" fmla="*/ 142854 h 143414"/>
              <a:gd name="connsiteX10" fmla="*/ 1681 w 143414"/>
              <a:gd name="connsiteY10" fmla="*/ 144199 h 143414"/>
              <a:gd name="connsiteX11" fmla="*/ 2577 w 143414"/>
              <a:gd name="connsiteY11" fmla="*/ 144199 h 143414"/>
              <a:gd name="connsiteX12" fmla="*/ 2577 w 143414"/>
              <a:gd name="connsiteY12" fmla="*/ 144199 h 143414"/>
              <a:gd name="connsiteX13" fmla="*/ 42912 w 143414"/>
              <a:gd name="connsiteY13" fmla="*/ 144199 h 143414"/>
              <a:gd name="connsiteX14" fmla="*/ 42912 w 143414"/>
              <a:gd name="connsiteY14" fmla="*/ 144199 h 143414"/>
              <a:gd name="connsiteX15" fmla="*/ 42912 w 143414"/>
              <a:gd name="connsiteY15" fmla="*/ 144199 h 143414"/>
              <a:gd name="connsiteX16" fmla="*/ 42912 w 143414"/>
              <a:gd name="connsiteY16" fmla="*/ 144199 h 143414"/>
              <a:gd name="connsiteX17" fmla="*/ 43809 w 143414"/>
              <a:gd name="connsiteY17" fmla="*/ 144199 h 143414"/>
              <a:gd name="connsiteX18" fmla="*/ 43809 w 143414"/>
              <a:gd name="connsiteY18" fmla="*/ 144199 h 143414"/>
              <a:gd name="connsiteX19" fmla="*/ 44257 w 143414"/>
              <a:gd name="connsiteY19" fmla="*/ 143751 h 143414"/>
              <a:gd name="connsiteX20" fmla="*/ 44257 w 143414"/>
              <a:gd name="connsiteY20" fmla="*/ 143751 h 143414"/>
              <a:gd name="connsiteX21" fmla="*/ 63080 w 143414"/>
              <a:gd name="connsiteY21" fmla="*/ 123135 h 143414"/>
              <a:gd name="connsiteX22" fmla="*/ 63080 w 143414"/>
              <a:gd name="connsiteY22" fmla="*/ 119998 h 143414"/>
              <a:gd name="connsiteX23" fmla="*/ 54565 w 143414"/>
              <a:gd name="connsiteY23" fmla="*/ 111482 h 143414"/>
              <a:gd name="connsiteX24" fmla="*/ 139717 w 143414"/>
              <a:gd name="connsiteY24" fmla="*/ 26778 h 143414"/>
              <a:gd name="connsiteX25" fmla="*/ 139717 w 143414"/>
              <a:gd name="connsiteY25" fmla="*/ 26778 h 143414"/>
              <a:gd name="connsiteX26" fmla="*/ 139717 w 143414"/>
              <a:gd name="connsiteY26" fmla="*/ 26778 h 143414"/>
              <a:gd name="connsiteX27" fmla="*/ 139717 w 143414"/>
              <a:gd name="connsiteY27" fmla="*/ 4370 h 143414"/>
              <a:gd name="connsiteX28" fmla="*/ 120446 w 143414"/>
              <a:gd name="connsiteY28" fmla="*/ 7507 h 143414"/>
              <a:gd name="connsiteX29" fmla="*/ 136580 w 143414"/>
              <a:gd name="connsiteY29" fmla="*/ 7507 h 143414"/>
              <a:gd name="connsiteX30" fmla="*/ 136580 w 143414"/>
              <a:gd name="connsiteY30" fmla="*/ 23641 h 143414"/>
              <a:gd name="connsiteX31" fmla="*/ 127617 w 143414"/>
              <a:gd name="connsiteY31" fmla="*/ 32604 h 143414"/>
              <a:gd name="connsiteX32" fmla="*/ 114171 w 143414"/>
              <a:gd name="connsiteY32" fmla="*/ 19159 h 143414"/>
              <a:gd name="connsiteX33" fmla="*/ 111034 w 143414"/>
              <a:gd name="connsiteY33" fmla="*/ 19159 h 143414"/>
              <a:gd name="connsiteX34" fmla="*/ 111034 w 143414"/>
              <a:gd name="connsiteY34" fmla="*/ 22297 h 143414"/>
              <a:gd name="connsiteX35" fmla="*/ 124479 w 143414"/>
              <a:gd name="connsiteY35" fmla="*/ 35742 h 143414"/>
              <a:gd name="connsiteX36" fmla="*/ 51428 w 143414"/>
              <a:gd name="connsiteY36" fmla="*/ 108345 h 143414"/>
              <a:gd name="connsiteX37" fmla="*/ 35742 w 143414"/>
              <a:gd name="connsiteY37" fmla="*/ 92659 h 143414"/>
              <a:gd name="connsiteX38" fmla="*/ 120446 w 143414"/>
              <a:gd name="connsiteY38" fmla="*/ 7507 h 143414"/>
              <a:gd name="connsiteX39" fmla="*/ 41568 w 143414"/>
              <a:gd name="connsiteY39" fmla="*/ 139717 h 143414"/>
              <a:gd name="connsiteX40" fmla="*/ 7507 w 143414"/>
              <a:gd name="connsiteY40" fmla="*/ 139717 h 143414"/>
              <a:gd name="connsiteX41" fmla="*/ 42016 w 143414"/>
              <a:gd name="connsiteY41" fmla="*/ 105208 h 143414"/>
              <a:gd name="connsiteX42" fmla="*/ 58150 w 143414"/>
              <a:gd name="connsiteY42" fmla="*/ 121342 h 143414"/>
              <a:gd name="connsiteX43" fmla="*/ 41568 w 143414"/>
              <a:gd name="connsiteY43" fmla="*/ 139717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3414" h="143414">
                <a:moveTo>
                  <a:pt x="139717" y="4370"/>
                </a:moveTo>
                <a:cubicBezTo>
                  <a:pt x="133891" y="-1457"/>
                  <a:pt x="123135" y="-1457"/>
                  <a:pt x="117309" y="4370"/>
                </a:cubicBezTo>
                <a:cubicBezTo>
                  <a:pt x="117309" y="4370"/>
                  <a:pt x="117309" y="4370"/>
                  <a:pt x="117309" y="4370"/>
                </a:cubicBezTo>
                <a:cubicBezTo>
                  <a:pt x="117309" y="4370"/>
                  <a:pt x="117309" y="4370"/>
                  <a:pt x="117309" y="4370"/>
                </a:cubicBezTo>
                <a:lnTo>
                  <a:pt x="31260" y="91315"/>
                </a:lnTo>
                <a:cubicBezTo>
                  <a:pt x="30364" y="92211"/>
                  <a:pt x="30364" y="93556"/>
                  <a:pt x="31260" y="94452"/>
                </a:cubicBezTo>
                <a:lnTo>
                  <a:pt x="38879" y="102071"/>
                </a:lnTo>
                <a:lnTo>
                  <a:pt x="784" y="140165"/>
                </a:lnTo>
                <a:cubicBezTo>
                  <a:pt x="784" y="140165"/>
                  <a:pt x="336" y="140613"/>
                  <a:pt x="336" y="141062"/>
                </a:cubicBezTo>
                <a:cubicBezTo>
                  <a:pt x="-112" y="141510"/>
                  <a:pt x="-112" y="142406"/>
                  <a:pt x="336" y="142854"/>
                </a:cubicBezTo>
                <a:cubicBezTo>
                  <a:pt x="784" y="143303"/>
                  <a:pt x="784" y="143751"/>
                  <a:pt x="1681" y="144199"/>
                </a:cubicBezTo>
                <a:cubicBezTo>
                  <a:pt x="2129" y="144199"/>
                  <a:pt x="2129" y="144199"/>
                  <a:pt x="2577" y="144199"/>
                </a:cubicBezTo>
                <a:lnTo>
                  <a:pt x="2577" y="144199"/>
                </a:lnTo>
                <a:lnTo>
                  <a:pt x="42912" y="144199"/>
                </a:lnTo>
                <a:lnTo>
                  <a:pt x="42912" y="144199"/>
                </a:lnTo>
                <a:lnTo>
                  <a:pt x="42912" y="144199"/>
                </a:lnTo>
                <a:lnTo>
                  <a:pt x="42912" y="144199"/>
                </a:lnTo>
                <a:cubicBezTo>
                  <a:pt x="43360" y="144199"/>
                  <a:pt x="43360" y="144199"/>
                  <a:pt x="43809" y="144199"/>
                </a:cubicBezTo>
                <a:cubicBezTo>
                  <a:pt x="43809" y="144199"/>
                  <a:pt x="43809" y="144199"/>
                  <a:pt x="43809" y="144199"/>
                </a:cubicBezTo>
                <a:cubicBezTo>
                  <a:pt x="43809" y="144199"/>
                  <a:pt x="44257" y="143751"/>
                  <a:pt x="44257" y="143751"/>
                </a:cubicBezTo>
                <a:cubicBezTo>
                  <a:pt x="44257" y="143751"/>
                  <a:pt x="44257" y="143751"/>
                  <a:pt x="44257" y="143751"/>
                </a:cubicBezTo>
                <a:lnTo>
                  <a:pt x="63080" y="123135"/>
                </a:lnTo>
                <a:cubicBezTo>
                  <a:pt x="63976" y="122238"/>
                  <a:pt x="63976" y="120894"/>
                  <a:pt x="63080" y="119998"/>
                </a:cubicBezTo>
                <a:lnTo>
                  <a:pt x="54565" y="111482"/>
                </a:lnTo>
                <a:lnTo>
                  <a:pt x="139717" y="26778"/>
                </a:lnTo>
                <a:cubicBezTo>
                  <a:pt x="139717" y="26778"/>
                  <a:pt x="139717" y="26778"/>
                  <a:pt x="139717" y="26778"/>
                </a:cubicBezTo>
                <a:cubicBezTo>
                  <a:pt x="139717" y="26778"/>
                  <a:pt x="139717" y="26778"/>
                  <a:pt x="139717" y="26778"/>
                </a:cubicBezTo>
                <a:cubicBezTo>
                  <a:pt x="145991" y="20952"/>
                  <a:pt x="145991" y="10644"/>
                  <a:pt x="139717" y="4370"/>
                </a:cubicBezTo>
                <a:close/>
                <a:moveTo>
                  <a:pt x="120446" y="7507"/>
                </a:moveTo>
                <a:cubicBezTo>
                  <a:pt x="124927" y="3025"/>
                  <a:pt x="132098" y="3025"/>
                  <a:pt x="136580" y="7507"/>
                </a:cubicBezTo>
                <a:cubicBezTo>
                  <a:pt x="141062" y="11989"/>
                  <a:pt x="141062" y="19159"/>
                  <a:pt x="136580" y="23641"/>
                </a:cubicBezTo>
                <a:lnTo>
                  <a:pt x="127617" y="32604"/>
                </a:lnTo>
                <a:lnTo>
                  <a:pt x="114171" y="19159"/>
                </a:lnTo>
                <a:cubicBezTo>
                  <a:pt x="113275" y="18263"/>
                  <a:pt x="111931" y="18263"/>
                  <a:pt x="111034" y="19159"/>
                </a:cubicBezTo>
                <a:cubicBezTo>
                  <a:pt x="110138" y="20056"/>
                  <a:pt x="110138" y="21400"/>
                  <a:pt x="111034" y="22297"/>
                </a:cubicBezTo>
                <a:lnTo>
                  <a:pt x="124479" y="35742"/>
                </a:lnTo>
                <a:lnTo>
                  <a:pt x="51428" y="108345"/>
                </a:lnTo>
                <a:lnTo>
                  <a:pt x="35742" y="92659"/>
                </a:lnTo>
                <a:lnTo>
                  <a:pt x="120446" y="7507"/>
                </a:lnTo>
                <a:close/>
                <a:moveTo>
                  <a:pt x="41568" y="139717"/>
                </a:moveTo>
                <a:lnTo>
                  <a:pt x="7507" y="139717"/>
                </a:lnTo>
                <a:lnTo>
                  <a:pt x="42016" y="105208"/>
                </a:lnTo>
                <a:lnTo>
                  <a:pt x="58150" y="121342"/>
                </a:lnTo>
                <a:lnTo>
                  <a:pt x="41568" y="139717"/>
                </a:lnTo>
                <a:close/>
              </a:path>
            </a:pathLst>
          </a:custGeom>
          <a:solidFill>
            <a:srgbClr val="231F20"/>
          </a:solidFill>
          <a:ln w="4477" cap="flat">
            <a:noFill/>
            <a:prstDash val="solid"/>
            <a:miter/>
          </a:ln>
        </p:spPr>
        <p:txBody>
          <a:bodyPr rtlCol="0" anchor="ctr"/>
          <a:lstStyle/>
          <a:p>
            <a:endParaRPr lang="en-US"/>
          </a:p>
        </p:txBody>
      </p:sp>
      <p:grpSp>
        <p:nvGrpSpPr>
          <p:cNvPr id="2505" name="Group 2504">
            <a:extLst>
              <a:ext uri="{FF2B5EF4-FFF2-40B4-BE49-F238E27FC236}">
                <a16:creationId xmlns:a16="http://schemas.microsoft.com/office/drawing/2014/main" id="{64589C75-687A-4335-9CD3-F6205C2D4337}"/>
              </a:ext>
              <a:ext uri="{C183D7F6-B498-43B3-948B-1728B52AA6E4}">
                <adec:decorative xmlns:adec="http://schemas.microsoft.com/office/drawing/2017/decorative" val="1"/>
              </a:ext>
            </a:extLst>
          </p:cNvPr>
          <p:cNvGrpSpPr>
            <a:grpSpLocks noChangeAspect="1"/>
          </p:cNvGrpSpPr>
          <p:nvPr/>
        </p:nvGrpSpPr>
        <p:grpSpPr>
          <a:xfrm>
            <a:off x="6957598" y="4868168"/>
            <a:ext cx="143414" cy="143638"/>
            <a:chOff x="7014098" y="2812477"/>
            <a:chExt cx="143414" cy="143638"/>
          </a:xfrm>
        </p:grpSpPr>
        <p:sp>
          <p:nvSpPr>
            <p:cNvPr id="5352" name="Freeform: Shape 5351">
              <a:extLst>
                <a:ext uri="{FF2B5EF4-FFF2-40B4-BE49-F238E27FC236}">
                  <a16:creationId xmlns:a16="http://schemas.microsoft.com/office/drawing/2014/main" id="{A29B9B48-DDCF-4E0E-88BA-4ED08246F63A}"/>
                </a:ext>
              </a:extLst>
            </p:cNvPr>
            <p:cNvSpPr/>
            <p:nvPr/>
          </p:nvSpPr>
          <p:spPr>
            <a:xfrm>
              <a:off x="7014098" y="2855501"/>
              <a:ext cx="143414" cy="58262"/>
            </a:xfrm>
            <a:custGeom>
              <a:avLst/>
              <a:gdLst>
                <a:gd name="connsiteX0" fmla="*/ 2465 w 143414"/>
                <a:gd name="connsiteY0" fmla="*/ 58934 h 58262"/>
                <a:gd name="connsiteX1" fmla="*/ 672 w 143414"/>
                <a:gd name="connsiteY1" fmla="*/ 58038 h 58262"/>
                <a:gd name="connsiteX2" fmla="*/ 672 w 143414"/>
                <a:gd name="connsiteY2" fmla="*/ 54901 h 58262"/>
                <a:gd name="connsiteX3" fmla="*/ 22184 w 143414"/>
                <a:gd name="connsiteY3" fmla="*/ 34285 h 58262"/>
                <a:gd name="connsiteX4" fmla="*/ 39663 w 143414"/>
                <a:gd name="connsiteY4" fmla="*/ 27114 h 58262"/>
                <a:gd name="connsiteX5" fmla="*/ 105096 w 143414"/>
                <a:gd name="connsiteY5" fmla="*/ 27114 h 58262"/>
                <a:gd name="connsiteX6" fmla="*/ 119437 w 143414"/>
                <a:gd name="connsiteY6" fmla="*/ 21288 h 58262"/>
                <a:gd name="connsiteX7" fmla="*/ 140950 w 143414"/>
                <a:gd name="connsiteY7" fmla="*/ 672 h 58262"/>
                <a:gd name="connsiteX8" fmla="*/ 144087 w 143414"/>
                <a:gd name="connsiteY8" fmla="*/ 672 h 58262"/>
                <a:gd name="connsiteX9" fmla="*/ 144087 w 143414"/>
                <a:gd name="connsiteY9" fmla="*/ 3809 h 58262"/>
                <a:gd name="connsiteX10" fmla="*/ 122575 w 143414"/>
                <a:gd name="connsiteY10" fmla="*/ 24425 h 58262"/>
                <a:gd name="connsiteX11" fmla="*/ 105096 w 143414"/>
                <a:gd name="connsiteY11" fmla="*/ 31596 h 58262"/>
                <a:gd name="connsiteX12" fmla="*/ 39663 w 143414"/>
                <a:gd name="connsiteY12" fmla="*/ 31596 h 58262"/>
                <a:gd name="connsiteX13" fmla="*/ 25322 w 143414"/>
                <a:gd name="connsiteY13" fmla="*/ 37422 h 58262"/>
                <a:gd name="connsiteX14" fmla="*/ 3809 w 143414"/>
                <a:gd name="connsiteY14" fmla="*/ 58038 h 58262"/>
                <a:gd name="connsiteX15" fmla="*/ 2465 w 143414"/>
                <a:gd name="connsiteY15" fmla="*/ 5893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414" h="58262">
                  <a:moveTo>
                    <a:pt x="2465" y="58934"/>
                  </a:moveTo>
                  <a:cubicBezTo>
                    <a:pt x="2017" y="58934"/>
                    <a:pt x="1120" y="58486"/>
                    <a:pt x="672" y="58038"/>
                  </a:cubicBezTo>
                  <a:cubicBezTo>
                    <a:pt x="-224" y="57142"/>
                    <a:pt x="-224" y="55797"/>
                    <a:pt x="672" y="54901"/>
                  </a:cubicBezTo>
                  <a:lnTo>
                    <a:pt x="22184" y="34285"/>
                  </a:lnTo>
                  <a:cubicBezTo>
                    <a:pt x="26218" y="30251"/>
                    <a:pt x="33837" y="27114"/>
                    <a:pt x="39663" y="27114"/>
                  </a:cubicBezTo>
                  <a:lnTo>
                    <a:pt x="105096" y="27114"/>
                  </a:lnTo>
                  <a:cubicBezTo>
                    <a:pt x="109578" y="27114"/>
                    <a:pt x="116300" y="24425"/>
                    <a:pt x="119437" y="21288"/>
                  </a:cubicBezTo>
                  <a:lnTo>
                    <a:pt x="140950" y="672"/>
                  </a:lnTo>
                  <a:cubicBezTo>
                    <a:pt x="141846" y="-224"/>
                    <a:pt x="143190" y="-224"/>
                    <a:pt x="144087" y="672"/>
                  </a:cubicBezTo>
                  <a:cubicBezTo>
                    <a:pt x="144983" y="1569"/>
                    <a:pt x="144983" y="2913"/>
                    <a:pt x="144087" y="3809"/>
                  </a:cubicBezTo>
                  <a:lnTo>
                    <a:pt x="122575" y="24425"/>
                  </a:lnTo>
                  <a:cubicBezTo>
                    <a:pt x="118541" y="28459"/>
                    <a:pt x="110922" y="31596"/>
                    <a:pt x="105096" y="31596"/>
                  </a:cubicBezTo>
                  <a:lnTo>
                    <a:pt x="39663" y="31596"/>
                  </a:lnTo>
                  <a:cubicBezTo>
                    <a:pt x="35181" y="31596"/>
                    <a:pt x="28459" y="34285"/>
                    <a:pt x="25322" y="37422"/>
                  </a:cubicBezTo>
                  <a:lnTo>
                    <a:pt x="3809" y="58038"/>
                  </a:lnTo>
                  <a:cubicBezTo>
                    <a:pt x="3361" y="58934"/>
                    <a:pt x="2913" y="58934"/>
                    <a:pt x="2465" y="58934"/>
                  </a:cubicBezTo>
                  <a:close/>
                </a:path>
              </a:pathLst>
            </a:custGeom>
            <a:solidFill>
              <a:srgbClr val="231F20"/>
            </a:solidFill>
            <a:ln w="4477" cap="flat">
              <a:noFill/>
              <a:prstDash val="solid"/>
              <a:miter/>
            </a:ln>
          </p:spPr>
          <p:txBody>
            <a:bodyPr rtlCol="0" anchor="ctr"/>
            <a:lstStyle/>
            <a:p>
              <a:endParaRPr lang="en-US"/>
            </a:p>
          </p:txBody>
        </p:sp>
        <p:sp>
          <p:nvSpPr>
            <p:cNvPr id="5353" name="Freeform: Shape 5352">
              <a:extLst>
                <a:ext uri="{FF2B5EF4-FFF2-40B4-BE49-F238E27FC236}">
                  <a16:creationId xmlns:a16="http://schemas.microsoft.com/office/drawing/2014/main" id="{DAC0CFD8-9713-4CEB-8524-87730455419A}"/>
                </a:ext>
              </a:extLst>
            </p:cNvPr>
            <p:cNvSpPr/>
            <p:nvPr/>
          </p:nvSpPr>
          <p:spPr>
            <a:xfrm>
              <a:off x="7084237" y="2812477"/>
              <a:ext cx="31372" cy="58262"/>
            </a:xfrm>
            <a:custGeom>
              <a:avLst/>
              <a:gdLst>
                <a:gd name="connsiteX0" fmla="*/ 2241 w 31371"/>
                <a:gd name="connsiteY0" fmla="*/ 59383 h 58262"/>
                <a:gd name="connsiteX1" fmla="*/ 0 w 31371"/>
                <a:gd name="connsiteY1" fmla="*/ 57142 h 58262"/>
                <a:gd name="connsiteX2" fmla="*/ 0 w 31371"/>
                <a:gd name="connsiteY2" fmla="*/ 39663 h 58262"/>
                <a:gd name="connsiteX3" fmla="*/ 7171 w 31371"/>
                <a:gd name="connsiteY3" fmla="*/ 22184 h 58262"/>
                <a:gd name="connsiteX4" fmla="*/ 27787 w 31371"/>
                <a:gd name="connsiteY4" fmla="*/ 672 h 58262"/>
                <a:gd name="connsiteX5" fmla="*/ 30924 w 31371"/>
                <a:gd name="connsiteY5" fmla="*/ 672 h 58262"/>
                <a:gd name="connsiteX6" fmla="*/ 30924 w 31371"/>
                <a:gd name="connsiteY6" fmla="*/ 3809 h 58262"/>
                <a:gd name="connsiteX7" fmla="*/ 10308 w 31371"/>
                <a:gd name="connsiteY7" fmla="*/ 25322 h 58262"/>
                <a:gd name="connsiteX8" fmla="*/ 4482 w 31371"/>
                <a:gd name="connsiteY8" fmla="*/ 39663 h 58262"/>
                <a:gd name="connsiteX9" fmla="*/ 4482 w 31371"/>
                <a:gd name="connsiteY9" fmla="*/ 57142 h 58262"/>
                <a:gd name="connsiteX10" fmla="*/ 2241 w 31371"/>
                <a:gd name="connsiteY10" fmla="*/ 59383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71" h="58262">
                  <a:moveTo>
                    <a:pt x="2241" y="59383"/>
                  </a:moveTo>
                  <a:cubicBezTo>
                    <a:pt x="896" y="59383"/>
                    <a:pt x="0" y="58486"/>
                    <a:pt x="0" y="57142"/>
                  </a:cubicBezTo>
                  <a:lnTo>
                    <a:pt x="0" y="39663"/>
                  </a:lnTo>
                  <a:cubicBezTo>
                    <a:pt x="0" y="33837"/>
                    <a:pt x="3137" y="26218"/>
                    <a:pt x="7171" y="22184"/>
                  </a:cubicBezTo>
                  <a:lnTo>
                    <a:pt x="27787" y="672"/>
                  </a:lnTo>
                  <a:cubicBezTo>
                    <a:pt x="28683" y="-224"/>
                    <a:pt x="30027" y="-224"/>
                    <a:pt x="30924" y="672"/>
                  </a:cubicBezTo>
                  <a:cubicBezTo>
                    <a:pt x="31820" y="1569"/>
                    <a:pt x="31820" y="2913"/>
                    <a:pt x="30924" y="3809"/>
                  </a:cubicBezTo>
                  <a:lnTo>
                    <a:pt x="10308" y="25322"/>
                  </a:lnTo>
                  <a:cubicBezTo>
                    <a:pt x="7171" y="28459"/>
                    <a:pt x="4482" y="35181"/>
                    <a:pt x="4482" y="39663"/>
                  </a:cubicBezTo>
                  <a:lnTo>
                    <a:pt x="4482" y="57142"/>
                  </a:lnTo>
                  <a:cubicBezTo>
                    <a:pt x="4482" y="58486"/>
                    <a:pt x="3585" y="59383"/>
                    <a:pt x="2241" y="59383"/>
                  </a:cubicBezTo>
                  <a:close/>
                </a:path>
              </a:pathLst>
            </a:custGeom>
            <a:solidFill>
              <a:srgbClr val="231F20"/>
            </a:solidFill>
            <a:ln w="4477" cap="flat">
              <a:noFill/>
              <a:prstDash val="solid"/>
              <a:miter/>
            </a:ln>
          </p:spPr>
          <p:txBody>
            <a:bodyPr rtlCol="0" anchor="ctr"/>
            <a:lstStyle/>
            <a:p>
              <a:endParaRPr lang="en-US"/>
            </a:p>
          </p:txBody>
        </p:sp>
        <p:sp>
          <p:nvSpPr>
            <p:cNvPr id="5354" name="Freeform: Shape 5353">
              <a:extLst>
                <a:ext uri="{FF2B5EF4-FFF2-40B4-BE49-F238E27FC236}">
                  <a16:creationId xmlns:a16="http://schemas.microsoft.com/office/drawing/2014/main" id="{D3FCA7FA-1838-4374-A122-46B8DBA6BD39}"/>
                </a:ext>
              </a:extLst>
            </p:cNvPr>
            <p:cNvSpPr/>
            <p:nvPr/>
          </p:nvSpPr>
          <p:spPr>
            <a:xfrm>
              <a:off x="7057123" y="2897853"/>
              <a:ext cx="31372" cy="58262"/>
            </a:xfrm>
            <a:custGeom>
              <a:avLst/>
              <a:gdLst>
                <a:gd name="connsiteX0" fmla="*/ 2017 w 31371"/>
                <a:gd name="connsiteY0" fmla="*/ 59158 h 58262"/>
                <a:gd name="connsiteX1" fmla="*/ 672 w 31371"/>
                <a:gd name="connsiteY1" fmla="*/ 58710 h 58262"/>
                <a:gd name="connsiteX2" fmla="*/ 672 w 31371"/>
                <a:gd name="connsiteY2" fmla="*/ 55573 h 58262"/>
                <a:gd name="connsiteX3" fmla="*/ 21288 w 31371"/>
                <a:gd name="connsiteY3" fmla="*/ 34061 h 58262"/>
                <a:gd name="connsiteX4" fmla="*/ 27114 w 31371"/>
                <a:gd name="connsiteY4" fmla="*/ 19719 h 58262"/>
                <a:gd name="connsiteX5" fmla="*/ 27114 w 31371"/>
                <a:gd name="connsiteY5" fmla="*/ 2241 h 58262"/>
                <a:gd name="connsiteX6" fmla="*/ 29355 w 31371"/>
                <a:gd name="connsiteY6" fmla="*/ 0 h 58262"/>
                <a:gd name="connsiteX7" fmla="*/ 31596 w 31371"/>
                <a:gd name="connsiteY7" fmla="*/ 2241 h 58262"/>
                <a:gd name="connsiteX8" fmla="*/ 31596 w 31371"/>
                <a:gd name="connsiteY8" fmla="*/ 19719 h 58262"/>
                <a:gd name="connsiteX9" fmla="*/ 24425 w 31371"/>
                <a:gd name="connsiteY9" fmla="*/ 37198 h 58262"/>
                <a:gd name="connsiteX10" fmla="*/ 3809 w 31371"/>
                <a:gd name="connsiteY10" fmla="*/ 58710 h 58262"/>
                <a:gd name="connsiteX11" fmla="*/ 2017 w 31371"/>
                <a:gd name="connsiteY11" fmla="*/ 59158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71" h="58262">
                  <a:moveTo>
                    <a:pt x="2017" y="59158"/>
                  </a:moveTo>
                  <a:cubicBezTo>
                    <a:pt x="1569" y="59158"/>
                    <a:pt x="672" y="59158"/>
                    <a:pt x="672" y="58710"/>
                  </a:cubicBezTo>
                  <a:cubicBezTo>
                    <a:pt x="-224" y="57814"/>
                    <a:pt x="-224" y="56469"/>
                    <a:pt x="672" y="55573"/>
                  </a:cubicBezTo>
                  <a:lnTo>
                    <a:pt x="21288" y="34061"/>
                  </a:lnTo>
                  <a:cubicBezTo>
                    <a:pt x="24425" y="30924"/>
                    <a:pt x="27114" y="24201"/>
                    <a:pt x="27114" y="19719"/>
                  </a:cubicBezTo>
                  <a:lnTo>
                    <a:pt x="27114" y="2241"/>
                  </a:lnTo>
                  <a:cubicBezTo>
                    <a:pt x="27114" y="896"/>
                    <a:pt x="28011" y="0"/>
                    <a:pt x="29355" y="0"/>
                  </a:cubicBezTo>
                  <a:cubicBezTo>
                    <a:pt x="30700" y="0"/>
                    <a:pt x="31596" y="896"/>
                    <a:pt x="31596" y="2241"/>
                  </a:cubicBezTo>
                  <a:lnTo>
                    <a:pt x="31596" y="19719"/>
                  </a:lnTo>
                  <a:cubicBezTo>
                    <a:pt x="31596" y="25546"/>
                    <a:pt x="28459" y="33165"/>
                    <a:pt x="24425" y="37198"/>
                  </a:cubicBezTo>
                  <a:lnTo>
                    <a:pt x="3809" y="58710"/>
                  </a:lnTo>
                  <a:cubicBezTo>
                    <a:pt x="3361" y="59158"/>
                    <a:pt x="2465" y="59158"/>
                    <a:pt x="2017" y="59158"/>
                  </a:cubicBezTo>
                  <a:close/>
                </a:path>
              </a:pathLst>
            </a:custGeom>
            <a:solidFill>
              <a:srgbClr val="231F20"/>
            </a:solidFill>
            <a:ln w="4477" cap="flat">
              <a:noFill/>
              <a:prstDash val="solid"/>
              <a:miter/>
            </a:ln>
          </p:spPr>
          <p:txBody>
            <a:bodyPr rtlCol="0" anchor="ctr"/>
            <a:lstStyle/>
            <a:p>
              <a:endParaRPr lang="en-US"/>
            </a:p>
          </p:txBody>
        </p:sp>
        <p:sp>
          <p:nvSpPr>
            <p:cNvPr id="5355" name="Freeform: Shape 5354">
              <a:extLst>
                <a:ext uri="{FF2B5EF4-FFF2-40B4-BE49-F238E27FC236}">
                  <a16:creationId xmlns:a16="http://schemas.microsoft.com/office/drawing/2014/main" id="{2C4C2C5E-7D30-4F6E-9FE4-6360EB770390}"/>
                </a:ext>
              </a:extLst>
            </p:cNvPr>
            <p:cNvSpPr/>
            <p:nvPr/>
          </p:nvSpPr>
          <p:spPr>
            <a:xfrm>
              <a:off x="7117177" y="2830852"/>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2184" y="22633"/>
                    <a:pt x="21736" y="22633"/>
                    <a:pt x="20840" y="22633"/>
                  </a:cubicBezTo>
                  <a:close/>
                </a:path>
              </a:pathLst>
            </a:custGeom>
            <a:solidFill>
              <a:srgbClr val="231F20"/>
            </a:solidFill>
            <a:ln w="4477" cap="flat">
              <a:noFill/>
              <a:prstDash val="solid"/>
              <a:miter/>
            </a:ln>
          </p:spPr>
          <p:txBody>
            <a:bodyPr rtlCol="0" anchor="ctr"/>
            <a:lstStyle/>
            <a:p>
              <a:endParaRPr lang="en-US"/>
            </a:p>
          </p:txBody>
        </p:sp>
        <p:sp>
          <p:nvSpPr>
            <p:cNvPr id="5356" name="Freeform: Shape 5355">
              <a:extLst>
                <a:ext uri="{FF2B5EF4-FFF2-40B4-BE49-F238E27FC236}">
                  <a16:creationId xmlns:a16="http://schemas.microsoft.com/office/drawing/2014/main" id="{4A1F1418-E71F-4FB9-9E87-71DE2E6BF3D5}"/>
                </a:ext>
              </a:extLst>
            </p:cNvPr>
            <p:cNvSpPr/>
            <p:nvPr/>
          </p:nvSpPr>
          <p:spPr>
            <a:xfrm>
              <a:off x="7102388" y="2846089"/>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1736" y="22633"/>
                    <a:pt x="21288" y="22633"/>
                    <a:pt x="20840" y="22633"/>
                  </a:cubicBezTo>
                  <a:close/>
                </a:path>
              </a:pathLst>
            </a:custGeom>
            <a:solidFill>
              <a:srgbClr val="231F20"/>
            </a:solidFill>
            <a:ln w="4477" cap="flat">
              <a:noFill/>
              <a:prstDash val="solid"/>
              <a:miter/>
            </a:ln>
          </p:spPr>
          <p:txBody>
            <a:bodyPr rtlCol="0" anchor="ctr"/>
            <a:lstStyle/>
            <a:p>
              <a:endParaRPr lang="en-US"/>
            </a:p>
          </p:txBody>
        </p:sp>
        <p:sp>
          <p:nvSpPr>
            <p:cNvPr id="5357" name="Freeform: Shape 5356">
              <a:extLst>
                <a:ext uri="{FF2B5EF4-FFF2-40B4-BE49-F238E27FC236}">
                  <a16:creationId xmlns:a16="http://schemas.microsoft.com/office/drawing/2014/main" id="{5E4E03AF-83F3-42A0-B361-11C309CF6703}"/>
                </a:ext>
              </a:extLst>
            </p:cNvPr>
            <p:cNvSpPr/>
            <p:nvPr/>
          </p:nvSpPr>
          <p:spPr>
            <a:xfrm>
              <a:off x="7047263" y="2901214"/>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2184" y="22184"/>
                    <a:pt x="21736" y="22633"/>
                    <a:pt x="20840" y="22633"/>
                  </a:cubicBezTo>
                  <a:close/>
                </a:path>
              </a:pathLst>
            </a:custGeom>
            <a:solidFill>
              <a:srgbClr val="231F20"/>
            </a:solidFill>
            <a:ln w="4477" cap="flat">
              <a:noFill/>
              <a:prstDash val="solid"/>
              <a:miter/>
            </a:ln>
          </p:spPr>
          <p:txBody>
            <a:bodyPr rtlCol="0" anchor="ctr"/>
            <a:lstStyle/>
            <a:p>
              <a:endParaRPr lang="en-US"/>
            </a:p>
          </p:txBody>
        </p:sp>
        <p:sp>
          <p:nvSpPr>
            <p:cNvPr id="5358" name="Freeform: Shape 5357">
              <a:extLst>
                <a:ext uri="{FF2B5EF4-FFF2-40B4-BE49-F238E27FC236}">
                  <a16:creationId xmlns:a16="http://schemas.microsoft.com/office/drawing/2014/main" id="{6E953C26-A3C3-4EA9-8AD3-25F4B73DF328}"/>
                </a:ext>
              </a:extLst>
            </p:cNvPr>
            <p:cNvSpPr/>
            <p:nvPr/>
          </p:nvSpPr>
          <p:spPr>
            <a:xfrm>
              <a:off x="7032025" y="2916004"/>
              <a:ext cx="22409" cy="22409"/>
            </a:xfrm>
            <a:custGeom>
              <a:avLst/>
              <a:gdLst>
                <a:gd name="connsiteX0" fmla="*/ 20840 w 22408"/>
                <a:gd name="connsiteY0" fmla="*/ 22633 h 22408"/>
                <a:gd name="connsiteX1" fmla="*/ 19047 w 22408"/>
                <a:gd name="connsiteY1" fmla="*/ 22184 h 22408"/>
                <a:gd name="connsiteX2" fmla="*/ 672 w 22408"/>
                <a:gd name="connsiteY2" fmla="*/ 3809 h 22408"/>
                <a:gd name="connsiteX3" fmla="*/ 672 w 22408"/>
                <a:gd name="connsiteY3" fmla="*/ 672 h 22408"/>
                <a:gd name="connsiteX4" fmla="*/ 3809 w 22408"/>
                <a:gd name="connsiteY4" fmla="*/ 672 h 22408"/>
                <a:gd name="connsiteX5" fmla="*/ 22184 w 22408"/>
                <a:gd name="connsiteY5" fmla="*/ 19047 h 22408"/>
                <a:gd name="connsiteX6" fmla="*/ 22184 w 22408"/>
                <a:gd name="connsiteY6" fmla="*/ 22184 h 22408"/>
                <a:gd name="connsiteX7" fmla="*/ 20840 w 22408"/>
                <a:gd name="connsiteY7" fmla="*/ 226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08" h="22408">
                  <a:moveTo>
                    <a:pt x="20840" y="22633"/>
                  </a:moveTo>
                  <a:cubicBezTo>
                    <a:pt x="20392" y="22633"/>
                    <a:pt x="19495" y="22633"/>
                    <a:pt x="19047" y="22184"/>
                  </a:cubicBezTo>
                  <a:lnTo>
                    <a:pt x="672" y="3809"/>
                  </a:lnTo>
                  <a:cubicBezTo>
                    <a:pt x="-224" y="2913"/>
                    <a:pt x="-224" y="1569"/>
                    <a:pt x="672" y="672"/>
                  </a:cubicBezTo>
                  <a:cubicBezTo>
                    <a:pt x="1569" y="-224"/>
                    <a:pt x="2913" y="-224"/>
                    <a:pt x="3809" y="672"/>
                  </a:cubicBezTo>
                  <a:lnTo>
                    <a:pt x="22184" y="19047"/>
                  </a:lnTo>
                  <a:cubicBezTo>
                    <a:pt x="23081" y="19944"/>
                    <a:pt x="23081" y="21288"/>
                    <a:pt x="22184" y="22184"/>
                  </a:cubicBezTo>
                  <a:cubicBezTo>
                    <a:pt x="22184" y="22633"/>
                    <a:pt x="21736" y="22633"/>
                    <a:pt x="20840" y="22633"/>
                  </a:cubicBezTo>
                  <a:close/>
                </a:path>
              </a:pathLst>
            </a:custGeom>
            <a:solidFill>
              <a:srgbClr val="231F20"/>
            </a:solidFill>
            <a:ln w="4477" cap="flat">
              <a:noFill/>
              <a:prstDash val="solid"/>
              <a:miter/>
            </a:ln>
          </p:spPr>
          <p:txBody>
            <a:bodyPr rtlCol="0" anchor="ctr"/>
            <a:lstStyle/>
            <a:p>
              <a:endParaRPr lang="en-US"/>
            </a:p>
          </p:txBody>
        </p:sp>
      </p:grpSp>
      <p:grpSp>
        <p:nvGrpSpPr>
          <p:cNvPr id="2506" name="Group 2505">
            <a:extLst>
              <a:ext uri="{FF2B5EF4-FFF2-40B4-BE49-F238E27FC236}">
                <a16:creationId xmlns:a16="http://schemas.microsoft.com/office/drawing/2014/main" id="{2CF2D288-CCC7-4AAD-9D5C-37746FCCB0DF}"/>
              </a:ext>
              <a:ext uri="{C183D7F6-B498-43B3-948B-1728B52AA6E4}">
                <adec:decorative xmlns:adec="http://schemas.microsoft.com/office/drawing/2017/decorative" val="1"/>
              </a:ext>
            </a:extLst>
          </p:cNvPr>
          <p:cNvGrpSpPr>
            <a:grpSpLocks noChangeAspect="1"/>
          </p:cNvGrpSpPr>
          <p:nvPr/>
        </p:nvGrpSpPr>
        <p:grpSpPr>
          <a:xfrm>
            <a:off x="8014159" y="4864358"/>
            <a:ext cx="152378" cy="152378"/>
            <a:chOff x="8070659" y="2808667"/>
            <a:chExt cx="152378" cy="152378"/>
          </a:xfrm>
        </p:grpSpPr>
        <p:sp>
          <p:nvSpPr>
            <p:cNvPr id="5350" name="Freeform: Shape 5349">
              <a:extLst>
                <a:ext uri="{FF2B5EF4-FFF2-40B4-BE49-F238E27FC236}">
                  <a16:creationId xmlns:a16="http://schemas.microsoft.com/office/drawing/2014/main" id="{34E97351-C451-46D0-948D-5E60A8A55D47}"/>
                </a:ext>
              </a:extLst>
            </p:cNvPr>
            <p:cNvSpPr/>
            <p:nvPr/>
          </p:nvSpPr>
          <p:spPr>
            <a:xfrm>
              <a:off x="8110546" y="2849002"/>
              <a:ext cx="71707" cy="71707"/>
            </a:xfrm>
            <a:custGeom>
              <a:avLst/>
              <a:gdLst>
                <a:gd name="connsiteX0" fmla="*/ 69915 w 71707"/>
                <a:gd name="connsiteY0" fmla="*/ 24649 h 71707"/>
                <a:gd name="connsiteX1" fmla="*/ 47506 w 71707"/>
                <a:gd name="connsiteY1" fmla="*/ 24649 h 71707"/>
                <a:gd name="connsiteX2" fmla="*/ 47506 w 71707"/>
                <a:gd name="connsiteY2" fmla="*/ 2241 h 71707"/>
                <a:gd name="connsiteX3" fmla="*/ 45265 w 71707"/>
                <a:gd name="connsiteY3" fmla="*/ 0 h 71707"/>
                <a:gd name="connsiteX4" fmla="*/ 26890 w 71707"/>
                <a:gd name="connsiteY4" fmla="*/ 0 h 71707"/>
                <a:gd name="connsiteX5" fmla="*/ 24649 w 71707"/>
                <a:gd name="connsiteY5" fmla="*/ 2241 h 71707"/>
                <a:gd name="connsiteX6" fmla="*/ 24649 w 71707"/>
                <a:gd name="connsiteY6" fmla="*/ 24649 h 71707"/>
                <a:gd name="connsiteX7" fmla="*/ 2241 w 71707"/>
                <a:gd name="connsiteY7" fmla="*/ 24649 h 71707"/>
                <a:gd name="connsiteX8" fmla="*/ 0 w 71707"/>
                <a:gd name="connsiteY8" fmla="*/ 26890 h 71707"/>
                <a:gd name="connsiteX9" fmla="*/ 0 w 71707"/>
                <a:gd name="connsiteY9" fmla="*/ 45265 h 71707"/>
                <a:gd name="connsiteX10" fmla="*/ 2241 w 71707"/>
                <a:gd name="connsiteY10" fmla="*/ 47506 h 71707"/>
                <a:gd name="connsiteX11" fmla="*/ 24649 w 71707"/>
                <a:gd name="connsiteY11" fmla="*/ 47506 h 71707"/>
                <a:gd name="connsiteX12" fmla="*/ 24649 w 71707"/>
                <a:gd name="connsiteY12" fmla="*/ 69915 h 71707"/>
                <a:gd name="connsiteX13" fmla="*/ 26890 w 71707"/>
                <a:gd name="connsiteY13" fmla="*/ 72155 h 71707"/>
                <a:gd name="connsiteX14" fmla="*/ 45265 w 71707"/>
                <a:gd name="connsiteY14" fmla="*/ 72155 h 71707"/>
                <a:gd name="connsiteX15" fmla="*/ 47506 w 71707"/>
                <a:gd name="connsiteY15" fmla="*/ 69915 h 71707"/>
                <a:gd name="connsiteX16" fmla="*/ 47506 w 71707"/>
                <a:gd name="connsiteY16" fmla="*/ 47506 h 71707"/>
                <a:gd name="connsiteX17" fmla="*/ 69915 w 71707"/>
                <a:gd name="connsiteY17" fmla="*/ 47506 h 71707"/>
                <a:gd name="connsiteX18" fmla="*/ 72155 w 71707"/>
                <a:gd name="connsiteY18" fmla="*/ 45265 h 71707"/>
                <a:gd name="connsiteX19" fmla="*/ 72155 w 71707"/>
                <a:gd name="connsiteY19" fmla="*/ 26890 h 71707"/>
                <a:gd name="connsiteX20" fmla="*/ 69915 w 71707"/>
                <a:gd name="connsiteY20" fmla="*/ 24649 h 71707"/>
                <a:gd name="connsiteX21" fmla="*/ 67674 w 71707"/>
                <a:gd name="connsiteY21" fmla="*/ 43024 h 71707"/>
                <a:gd name="connsiteX22" fmla="*/ 45265 w 71707"/>
                <a:gd name="connsiteY22" fmla="*/ 43024 h 71707"/>
                <a:gd name="connsiteX23" fmla="*/ 43024 w 71707"/>
                <a:gd name="connsiteY23" fmla="*/ 45265 h 71707"/>
                <a:gd name="connsiteX24" fmla="*/ 43024 w 71707"/>
                <a:gd name="connsiteY24" fmla="*/ 67674 h 71707"/>
                <a:gd name="connsiteX25" fmla="*/ 29579 w 71707"/>
                <a:gd name="connsiteY25" fmla="*/ 67674 h 71707"/>
                <a:gd name="connsiteX26" fmla="*/ 29579 w 71707"/>
                <a:gd name="connsiteY26" fmla="*/ 45265 h 71707"/>
                <a:gd name="connsiteX27" fmla="*/ 27338 w 71707"/>
                <a:gd name="connsiteY27" fmla="*/ 43024 h 71707"/>
                <a:gd name="connsiteX28" fmla="*/ 4930 w 71707"/>
                <a:gd name="connsiteY28" fmla="*/ 43024 h 71707"/>
                <a:gd name="connsiteX29" fmla="*/ 4930 w 71707"/>
                <a:gd name="connsiteY29" fmla="*/ 29131 h 71707"/>
                <a:gd name="connsiteX30" fmla="*/ 25994 w 71707"/>
                <a:gd name="connsiteY30" fmla="*/ 29131 h 71707"/>
                <a:gd name="connsiteX31" fmla="*/ 27338 w 71707"/>
                <a:gd name="connsiteY31" fmla="*/ 29579 h 71707"/>
                <a:gd name="connsiteX32" fmla="*/ 29579 w 71707"/>
                <a:gd name="connsiteY32" fmla="*/ 27338 h 71707"/>
                <a:gd name="connsiteX33" fmla="*/ 29579 w 71707"/>
                <a:gd name="connsiteY33" fmla="*/ 4482 h 71707"/>
                <a:gd name="connsiteX34" fmla="*/ 43473 w 71707"/>
                <a:gd name="connsiteY34" fmla="*/ 4482 h 71707"/>
                <a:gd name="connsiteX35" fmla="*/ 43473 w 71707"/>
                <a:gd name="connsiteY35" fmla="*/ 26890 h 71707"/>
                <a:gd name="connsiteX36" fmla="*/ 45713 w 71707"/>
                <a:gd name="connsiteY36" fmla="*/ 29131 h 71707"/>
                <a:gd name="connsiteX37" fmla="*/ 68122 w 71707"/>
                <a:gd name="connsiteY37" fmla="*/ 29131 h 71707"/>
                <a:gd name="connsiteX38" fmla="*/ 68122 w 71707"/>
                <a:gd name="connsiteY38" fmla="*/ 43024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1707" h="71707">
                  <a:moveTo>
                    <a:pt x="69915" y="24649"/>
                  </a:moveTo>
                  <a:lnTo>
                    <a:pt x="47506" y="24649"/>
                  </a:lnTo>
                  <a:lnTo>
                    <a:pt x="47506" y="2241"/>
                  </a:lnTo>
                  <a:cubicBezTo>
                    <a:pt x="47506" y="896"/>
                    <a:pt x="46610" y="0"/>
                    <a:pt x="45265" y="0"/>
                  </a:cubicBezTo>
                  <a:lnTo>
                    <a:pt x="26890" y="0"/>
                  </a:lnTo>
                  <a:cubicBezTo>
                    <a:pt x="25546" y="0"/>
                    <a:pt x="24649" y="896"/>
                    <a:pt x="24649" y="2241"/>
                  </a:cubicBezTo>
                  <a:lnTo>
                    <a:pt x="24649" y="24649"/>
                  </a:lnTo>
                  <a:lnTo>
                    <a:pt x="2241" y="24649"/>
                  </a:lnTo>
                  <a:cubicBezTo>
                    <a:pt x="896" y="24649"/>
                    <a:pt x="0" y="25546"/>
                    <a:pt x="0" y="26890"/>
                  </a:cubicBezTo>
                  <a:lnTo>
                    <a:pt x="0" y="45265"/>
                  </a:lnTo>
                  <a:cubicBezTo>
                    <a:pt x="0" y="46610"/>
                    <a:pt x="896" y="47506"/>
                    <a:pt x="2241" y="47506"/>
                  </a:cubicBezTo>
                  <a:lnTo>
                    <a:pt x="24649" y="47506"/>
                  </a:lnTo>
                  <a:lnTo>
                    <a:pt x="24649" y="69915"/>
                  </a:lnTo>
                  <a:cubicBezTo>
                    <a:pt x="24649" y="71259"/>
                    <a:pt x="25546" y="72155"/>
                    <a:pt x="26890" y="72155"/>
                  </a:cubicBezTo>
                  <a:lnTo>
                    <a:pt x="45265" y="72155"/>
                  </a:lnTo>
                  <a:cubicBezTo>
                    <a:pt x="46610" y="72155"/>
                    <a:pt x="47506" y="71259"/>
                    <a:pt x="47506" y="69915"/>
                  </a:cubicBezTo>
                  <a:lnTo>
                    <a:pt x="47506" y="47506"/>
                  </a:lnTo>
                  <a:lnTo>
                    <a:pt x="69915" y="47506"/>
                  </a:lnTo>
                  <a:cubicBezTo>
                    <a:pt x="71259" y="47506"/>
                    <a:pt x="72155" y="46610"/>
                    <a:pt x="72155" y="45265"/>
                  </a:cubicBezTo>
                  <a:lnTo>
                    <a:pt x="72155" y="26890"/>
                  </a:lnTo>
                  <a:cubicBezTo>
                    <a:pt x="72155" y="25546"/>
                    <a:pt x="71259" y="24649"/>
                    <a:pt x="69915" y="24649"/>
                  </a:cubicBezTo>
                  <a:close/>
                  <a:moveTo>
                    <a:pt x="67674" y="43024"/>
                  </a:moveTo>
                  <a:lnTo>
                    <a:pt x="45265" y="43024"/>
                  </a:lnTo>
                  <a:cubicBezTo>
                    <a:pt x="43921" y="43024"/>
                    <a:pt x="43024" y="43921"/>
                    <a:pt x="43024" y="45265"/>
                  </a:cubicBezTo>
                  <a:lnTo>
                    <a:pt x="43024" y="67674"/>
                  </a:lnTo>
                  <a:lnTo>
                    <a:pt x="29579" y="67674"/>
                  </a:lnTo>
                  <a:lnTo>
                    <a:pt x="29579" y="45265"/>
                  </a:lnTo>
                  <a:cubicBezTo>
                    <a:pt x="29579" y="43921"/>
                    <a:pt x="28683" y="43024"/>
                    <a:pt x="27338" y="43024"/>
                  </a:cubicBezTo>
                  <a:lnTo>
                    <a:pt x="4930" y="43024"/>
                  </a:lnTo>
                  <a:lnTo>
                    <a:pt x="4930" y="29131"/>
                  </a:lnTo>
                  <a:lnTo>
                    <a:pt x="25994" y="29131"/>
                  </a:lnTo>
                  <a:cubicBezTo>
                    <a:pt x="26442" y="29579"/>
                    <a:pt x="26890" y="29579"/>
                    <a:pt x="27338" y="29579"/>
                  </a:cubicBezTo>
                  <a:cubicBezTo>
                    <a:pt x="28683" y="29579"/>
                    <a:pt x="29579" y="28683"/>
                    <a:pt x="29579" y="27338"/>
                  </a:cubicBezTo>
                  <a:lnTo>
                    <a:pt x="29579" y="4482"/>
                  </a:lnTo>
                  <a:lnTo>
                    <a:pt x="43473" y="4482"/>
                  </a:lnTo>
                  <a:lnTo>
                    <a:pt x="43473" y="26890"/>
                  </a:lnTo>
                  <a:cubicBezTo>
                    <a:pt x="43473" y="28235"/>
                    <a:pt x="44369" y="29131"/>
                    <a:pt x="45713" y="29131"/>
                  </a:cubicBezTo>
                  <a:lnTo>
                    <a:pt x="68122" y="29131"/>
                  </a:lnTo>
                  <a:lnTo>
                    <a:pt x="68122" y="43024"/>
                  </a:lnTo>
                  <a:close/>
                </a:path>
              </a:pathLst>
            </a:custGeom>
            <a:solidFill>
              <a:srgbClr val="231F20"/>
            </a:solidFill>
            <a:ln w="4477" cap="flat">
              <a:noFill/>
              <a:prstDash val="solid"/>
              <a:miter/>
            </a:ln>
          </p:spPr>
          <p:txBody>
            <a:bodyPr rtlCol="0" anchor="ctr"/>
            <a:lstStyle/>
            <a:p>
              <a:endParaRPr lang="en-US"/>
            </a:p>
          </p:txBody>
        </p:sp>
        <p:sp>
          <p:nvSpPr>
            <p:cNvPr id="5351" name="Freeform: Shape 5350">
              <a:extLst>
                <a:ext uri="{FF2B5EF4-FFF2-40B4-BE49-F238E27FC236}">
                  <a16:creationId xmlns:a16="http://schemas.microsoft.com/office/drawing/2014/main" id="{A1DBCAC7-747C-4B00-AEC3-2B269856CFFF}"/>
                </a:ext>
              </a:extLst>
            </p:cNvPr>
            <p:cNvSpPr/>
            <p:nvPr/>
          </p:nvSpPr>
          <p:spPr>
            <a:xfrm>
              <a:off x="8070659" y="2808667"/>
              <a:ext cx="152378" cy="152378"/>
            </a:xfrm>
            <a:custGeom>
              <a:avLst/>
              <a:gdLst>
                <a:gd name="connsiteX0" fmla="*/ 76189 w 152377"/>
                <a:gd name="connsiteY0" fmla="*/ 0 h 152377"/>
                <a:gd name="connsiteX1" fmla="*/ 0 w 152377"/>
                <a:gd name="connsiteY1" fmla="*/ 76189 h 152377"/>
                <a:gd name="connsiteX2" fmla="*/ 76189 w 152377"/>
                <a:gd name="connsiteY2" fmla="*/ 152378 h 152377"/>
                <a:gd name="connsiteX3" fmla="*/ 152378 w 152377"/>
                <a:gd name="connsiteY3" fmla="*/ 76189 h 152377"/>
                <a:gd name="connsiteX4" fmla="*/ 76189 w 152377"/>
                <a:gd name="connsiteY4" fmla="*/ 0 h 152377"/>
                <a:gd name="connsiteX5" fmla="*/ 76189 w 152377"/>
                <a:gd name="connsiteY5" fmla="*/ 147896 h 152377"/>
                <a:gd name="connsiteX6" fmla="*/ 4482 w 152377"/>
                <a:gd name="connsiteY6" fmla="*/ 76189 h 152377"/>
                <a:gd name="connsiteX7" fmla="*/ 76189 w 152377"/>
                <a:gd name="connsiteY7" fmla="*/ 4482 h 152377"/>
                <a:gd name="connsiteX8" fmla="*/ 147896 w 152377"/>
                <a:gd name="connsiteY8" fmla="*/ 76189 h 152377"/>
                <a:gd name="connsiteX9" fmla="*/ 76189 w 152377"/>
                <a:gd name="connsiteY9"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0"/>
                  </a:moveTo>
                  <a:cubicBezTo>
                    <a:pt x="34061" y="0"/>
                    <a:pt x="0" y="34061"/>
                    <a:pt x="0" y="76189"/>
                  </a:cubicBezTo>
                  <a:cubicBezTo>
                    <a:pt x="0" y="118317"/>
                    <a:pt x="34061" y="152378"/>
                    <a:pt x="76189" y="152378"/>
                  </a:cubicBezTo>
                  <a:cubicBezTo>
                    <a:pt x="118317" y="152378"/>
                    <a:pt x="152378" y="118317"/>
                    <a:pt x="152378" y="76189"/>
                  </a:cubicBezTo>
                  <a:cubicBezTo>
                    <a:pt x="152378" y="34061"/>
                    <a:pt x="118317" y="0"/>
                    <a:pt x="76189" y="0"/>
                  </a:cubicBezTo>
                  <a:close/>
                  <a:moveTo>
                    <a:pt x="76189" y="147896"/>
                  </a:moveTo>
                  <a:cubicBezTo>
                    <a:pt x="36750" y="147896"/>
                    <a:pt x="4482" y="115628"/>
                    <a:pt x="4482" y="76189"/>
                  </a:cubicBezTo>
                  <a:cubicBezTo>
                    <a:pt x="4482" y="36750"/>
                    <a:pt x="36750" y="4482"/>
                    <a:pt x="76189" y="4482"/>
                  </a:cubicBezTo>
                  <a:cubicBezTo>
                    <a:pt x="115628" y="4482"/>
                    <a:pt x="147896" y="36750"/>
                    <a:pt x="147896" y="76189"/>
                  </a:cubicBezTo>
                  <a:cubicBezTo>
                    <a:pt x="147896" y="115628"/>
                    <a:pt x="115628" y="147896"/>
                    <a:pt x="76189" y="147896"/>
                  </a:cubicBezTo>
                  <a:close/>
                </a:path>
              </a:pathLst>
            </a:custGeom>
            <a:solidFill>
              <a:srgbClr val="231F20"/>
            </a:solidFill>
            <a:ln w="4477" cap="flat">
              <a:noFill/>
              <a:prstDash val="solid"/>
              <a:miter/>
            </a:ln>
          </p:spPr>
          <p:txBody>
            <a:bodyPr rtlCol="0" anchor="ctr"/>
            <a:lstStyle/>
            <a:p>
              <a:endParaRPr lang="en-US"/>
            </a:p>
          </p:txBody>
        </p:sp>
      </p:grpSp>
      <p:grpSp>
        <p:nvGrpSpPr>
          <p:cNvPr id="2507" name="Group 2506">
            <a:extLst>
              <a:ext uri="{FF2B5EF4-FFF2-40B4-BE49-F238E27FC236}">
                <a16:creationId xmlns:a16="http://schemas.microsoft.com/office/drawing/2014/main" id="{ECE9599B-250B-4041-9D1F-4E4B95A54986}"/>
              </a:ext>
              <a:ext uri="{C183D7F6-B498-43B3-948B-1728B52AA6E4}">
                <adec:decorative xmlns:adec="http://schemas.microsoft.com/office/drawing/2017/decorative" val="1"/>
              </a:ext>
            </a:extLst>
          </p:cNvPr>
          <p:cNvGrpSpPr>
            <a:grpSpLocks noChangeAspect="1"/>
          </p:cNvGrpSpPr>
          <p:nvPr/>
        </p:nvGrpSpPr>
        <p:grpSpPr>
          <a:xfrm>
            <a:off x="10661493" y="4891248"/>
            <a:ext cx="98597" cy="107561"/>
            <a:chOff x="10717993" y="2835557"/>
            <a:chExt cx="98597" cy="107561"/>
          </a:xfrm>
        </p:grpSpPr>
        <p:sp>
          <p:nvSpPr>
            <p:cNvPr id="5348" name="Freeform: Shape 5347">
              <a:extLst>
                <a:ext uri="{FF2B5EF4-FFF2-40B4-BE49-F238E27FC236}">
                  <a16:creationId xmlns:a16="http://schemas.microsoft.com/office/drawing/2014/main" id="{EC08830C-8F69-4FD1-8933-D3CFCE7D41EB}"/>
                </a:ext>
              </a:extLst>
            </p:cNvPr>
            <p:cNvSpPr/>
            <p:nvPr/>
          </p:nvSpPr>
          <p:spPr>
            <a:xfrm>
              <a:off x="10717993" y="2835557"/>
              <a:ext cx="98597" cy="107561"/>
            </a:xfrm>
            <a:custGeom>
              <a:avLst/>
              <a:gdLst>
                <a:gd name="connsiteX0" fmla="*/ 98605 w 98597"/>
                <a:gd name="connsiteY0" fmla="*/ 70363 h 107560"/>
                <a:gd name="connsiteX1" fmla="*/ 98605 w 98597"/>
                <a:gd name="connsiteY1" fmla="*/ 14342 h 107560"/>
                <a:gd name="connsiteX2" fmla="*/ 92331 w 98597"/>
                <a:gd name="connsiteY2" fmla="*/ 7619 h 107560"/>
                <a:gd name="connsiteX3" fmla="*/ 50651 w 98597"/>
                <a:gd name="connsiteY3" fmla="*/ 0 h 107560"/>
                <a:gd name="connsiteX4" fmla="*/ 50203 w 98597"/>
                <a:gd name="connsiteY4" fmla="*/ 0 h 107560"/>
                <a:gd name="connsiteX5" fmla="*/ 49755 w 98597"/>
                <a:gd name="connsiteY5" fmla="*/ 0 h 107560"/>
                <a:gd name="connsiteX6" fmla="*/ 49307 w 98597"/>
                <a:gd name="connsiteY6" fmla="*/ 0 h 107560"/>
                <a:gd name="connsiteX7" fmla="*/ 48858 w 98597"/>
                <a:gd name="connsiteY7" fmla="*/ 0 h 107560"/>
                <a:gd name="connsiteX8" fmla="*/ 48410 w 98597"/>
                <a:gd name="connsiteY8" fmla="*/ 0 h 107560"/>
                <a:gd name="connsiteX9" fmla="*/ 47962 w 98597"/>
                <a:gd name="connsiteY9" fmla="*/ 0 h 107560"/>
                <a:gd name="connsiteX10" fmla="*/ 6282 w 98597"/>
                <a:gd name="connsiteY10" fmla="*/ 7619 h 107560"/>
                <a:gd name="connsiteX11" fmla="*/ 8 w 98597"/>
                <a:gd name="connsiteY11" fmla="*/ 14342 h 107560"/>
                <a:gd name="connsiteX12" fmla="*/ 8 w 98597"/>
                <a:gd name="connsiteY12" fmla="*/ 69915 h 107560"/>
                <a:gd name="connsiteX13" fmla="*/ 48858 w 98597"/>
                <a:gd name="connsiteY13" fmla="*/ 111595 h 107560"/>
                <a:gd name="connsiteX14" fmla="*/ 49307 w 98597"/>
                <a:gd name="connsiteY14" fmla="*/ 111595 h 107560"/>
                <a:gd name="connsiteX15" fmla="*/ 49307 w 98597"/>
                <a:gd name="connsiteY15" fmla="*/ 111595 h 107560"/>
                <a:gd name="connsiteX16" fmla="*/ 49307 w 98597"/>
                <a:gd name="connsiteY16" fmla="*/ 111595 h 107560"/>
                <a:gd name="connsiteX17" fmla="*/ 49307 w 98597"/>
                <a:gd name="connsiteY17" fmla="*/ 111595 h 107560"/>
                <a:gd name="connsiteX18" fmla="*/ 49307 w 98597"/>
                <a:gd name="connsiteY18" fmla="*/ 111595 h 107560"/>
                <a:gd name="connsiteX19" fmla="*/ 49755 w 98597"/>
                <a:gd name="connsiteY19" fmla="*/ 111595 h 107560"/>
                <a:gd name="connsiteX20" fmla="*/ 98605 w 98597"/>
                <a:gd name="connsiteY20" fmla="*/ 70363 h 107560"/>
                <a:gd name="connsiteX21" fmla="*/ 49307 w 98597"/>
                <a:gd name="connsiteY21" fmla="*/ 107561 h 107560"/>
                <a:gd name="connsiteX22" fmla="*/ 4490 w 98597"/>
                <a:gd name="connsiteY22" fmla="*/ 70363 h 107560"/>
                <a:gd name="connsiteX23" fmla="*/ 4490 w 98597"/>
                <a:gd name="connsiteY23" fmla="*/ 14342 h 107560"/>
                <a:gd name="connsiteX24" fmla="*/ 6730 w 98597"/>
                <a:gd name="connsiteY24" fmla="*/ 12101 h 107560"/>
                <a:gd name="connsiteX25" fmla="*/ 49307 w 98597"/>
                <a:gd name="connsiteY25" fmla="*/ 4482 h 107560"/>
                <a:gd name="connsiteX26" fmla="*/ 91883 w 98597"/>
                <a:gd name="connsiteY26" fmla="*/ 12101 h 107560"/>
                <a:gd name="connsiteX27" fmla="*/ 94124 w 98597"/>
                <a:gd name="connsiteY27" fmla="*/ 14342 h 107560"/>
                <a:gd name="connsiteX28" fmla="*/ 94124 w 98597"/>
                <a:gd name="connsiteY28" fmla="*/ 70363 h 107560"/>
                <a:gd name="connsiteX29" fmla="*/ 49307 w 98597"/>
                <a:gd name="connsiteY29" fmla="*/ 107561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8597" h="107560">
                  <a:moveTo>
                    <a:pt x="98605" y="70363"/>
                  </a:moveTo>
                  <a:lnTo>
                    <a:pt x="98605" y="14342"/>
                  </a:lnTo>
                  <a:cubicBezTo>
                    <a:pt x="98605" y="10756"/>
                    <a:pt x="95916" y="7619"/>
                    <a:pt x="92331" y="7619"/>
                  </a:cubicBezTo>
                  <a:cubicBezTo>
                    <a:pt x="84712" y="7171"/>
                    <a:pt x="59614" y="5378"/>
                    <a:pt x="50651" y="0"/>
                  </a:cubicBezTo>
                  <a:cubicBezTo>
                    <a:pt x="50651" y="0"/>
                    <a:pt x="50651" y="0"/>
                    <a:pt x="50203" y="0"/>
                  </a:cubicBezTo>
                  <a:cubicBezTo>
                    <a:pt x="50203" y="0"/>
                    <a:pt x="49755" y="0"/>
                    <a:pt x="49755" y="0"/>
                  </a:cubicBezTo>
                  <a:cubicBezTo>
                    <a:pt x="49755" y="0"/>
                    <a:pt x="49307" y="0"/>
                    <a:pt x="49307" y="0"/>
                  </a:cubicBezTo>
                  <a:cubicBezTo>
                    <a:pt x="49307" y="0"/>
                    <a:pt x="48858" y="0"/>
                    <a:pt x="48858" y="0"/>
                  </a:cubicBezTo>
                  <a:cubicBezTo>
                    <a:pt x="48858" y="0"/>
                    <a:pt x="48410" y="0"/>
                    <a:pt x="48410" y="0"/>
                  </a:cubicBezTo>
                  <a:cubicBezTo>
                    <a:pt x="48410" y="0"/>
                    <a:pt x="48410" y="0"/>
                    <a:pt x="47962" y="0"/>
                  </a:cubicBezTo>
                  <a:cubicBezTo>
                    <a:pt x="38999" y="5378"/>
                    <a:pt x="13901" y="7171"/>
                    <a:pt x="6282" y="7619"/>
                  </a:cubicBezTo>
                  <a:cubicBezTo>
                    <a:pt x="2697" y="7619"/>
                    <a:pt x="8" y="10756"/>
                    <a:pt x="8" y="14342"/>
                  </a:cubicBezTo>
                  <a:lnTo>
                    <a:pt x="8" y="69915"/>
                  </a:lnTo>
                  <a:cubicBezTo>
                    <a:pt x="8" y="71259"/>
                    <a:pt x="-1785" y="98149"/>
                    <a:pt x="48858" y="111595"/>
                  </a:cubicBezTo>
                  <a:cubicBezTo>
                    <a:pt x="48858" y="111595"/>
                    <a:pt x="49307" y="111595"/>
                    <a:pt x="49307" y="111595"/>
                  </a:cubicBezTo>
                  <a:cubicBezTo>
                    <a:pt x="49307" y="111595"/>
                    <a:pt x="49307" y="111595"/>
                    <a:pt x="49307" y="111595"/>
                  </a:cubicBezTo>
                  <a:cubicBezTo>
                    <a:pt x="49307" y="111595"/>
                    <a:pt x="49307" y="111595"/>
                    <a:pt x="49307" y="111595"/>
                  </a:cubicBezTo>
                  <a:lnTo>
                    <a:pt x="49307" y="111595"/>
                  </a:lnTo>
                  <a:cubicBezTo>
                    <a:pt x="49307" y="111595"/>
                    <a:pt x="49307" y="111595"/>
                    <a:pt x="49307" y="111595"/>
                  </a:cubicBezTo>
                  <a:cubicBezTo>
                    <a:pt x="49307" y="111595"/>
                    <a:pt x="49755" y="111595"/>
                    <a:pt x="49755" y="111595"/>
                  </a:cubicBezTo>
                  <a:cubicBezTo>
                    <a:pt x="101294" y="98149"/>
                    <a:pt x="98605" y="71259"/>
                    <a:pt x="98605" y="70363"/>
                  </a:cubicBezTo>
                  <a:close/>
                  <a:moveTo>
                    <a:pt x="49307" y="107561"/>
                  </a:moveTo>
                  <a:cubicBezTo>
                    <a:pt x="3145" y="95012"/>
                    <a:pt x="4490" y="70811"/>
                    <a:pt x="4490" y="70363"/>
                  </a:cubicBezTo>
                  <a:lnTo>
                    <a:pt x="4490" y="14342"/>
                  </a:lnTo>
                  <a:cubicBezTo>
                    <a:pt x="4490" y="12997"/>
                    <a:pt x="5386" y="12101"/>
                    <a:pt x="6730" y="12101"/>
                  </a:cubicBezTo>
                  <a:cubicBezTo>
                    <a:pt x="18831" y="11652"/>
                    <a:pt x="39895" y="9860"/>
                    <a:pt x="49307" y="4482"/>
                  </a:cubicBezTo>
                  <a:cubicBezTo>
                    <a:pt x="59166" y="9412"/>
                    <a:pt x="80230" y="11204"/>
                    <a:pt x="91883" y="12101"/>
                  </a:cubicBezTo>
                  <a:cubicBezTo>
                    <a:pt x="93227" y="12101"/>
                    <a:pt x="94124" y="12997"/>
                    <a:pt x="94124" y="14342"/>
                  </a:cubicBezTo>
                  <a:lnTo>
                    <a:pt x="94124" y="70363"/>
                  </a:lnTo>
                  <a:cubicBezTo>
                    <a:pt x="94124" y="70811"/>
                    <a:pt x="95916" y="94564"/>
                    <a:pt x="49307" y="107561"/>
                  </a:cubicBezTo>
                  <a:close/>
                </a:path>
              </a:pathLst>
            </a:custGeom>
            <a:solidFill>
              <a:srgbClr val="231F20"/>
            </a:solidFill>
            <a:ln w="4477" cap="flat">
              <a:noFill/>
              <a:prstDash val="solid"/>
              <a:miter/>
            </a:ln>
          </p:spPr>
          <p:txBody>
            <a:bodyPr rtlCol="0" anchor="ctr"/>
            <a:lstStyle/>
            <a:p>
              <a:endParaRPr lang="en-US"/>
            </a:p>
          </p:txBody>
        </p:sp>
        <p:sp>
          <p:nvSpPr>
            <p:cNvPr id="5349" name="Freeform: Shape 5348">
              <a:extLst>
                <a:ext uri="{FF2B5EF4-FFF2-40B4-BE49-F238E27FC236}">
                  <a16:creationId xmlns:a16="http://schemas.microsoft.com/office/drawing/2014/main" id="{34151D28-B051-4A0A-9CDF-560C5946E73D}"/>
                </a:ext>
              </a:extLst>
            </p:cNvPr>
            <p:cNvSpPr/>
            <p:nvPr/>
          </p:nvSpPr>
          <p:spPr>
            <a:xfrm>
              <a:off x="10740409" y="2864688"/>
              <a:ext cx="53780" cy="53780"/>
            </a:xfrm>
            <a:custGeom>
              <a:avLst/>
              <a:gdLst>
                <a:gd name="connsiteX0" fmla="*/ 51540 w 53780"/>
                <a:gd name="connsiteY0" fmla="*/ 17927 h 53780"/>
                <a:gd name="connsiteX1" fmla="*/ 35854 w 53780"/>
                <a:gd name="connsiteY1" fmla="*/ 17927 h 53780"/>
                <a:gd name="connsiteX2" fmla="*/ 35854 w 53780"/>
                <a:gd name="connsiteY2" fmla="*/ 2241 h 53780"/>
                <a:gd name="connsiteX3" fmla="*/ 33613 w 53780"/>
                <a:gd name="connsiteY3" fmla="*/ 0 h 53780"/>
                <a:gd name="connsiteX4" fmla="*/ 20168 w 53780"/>
                <a:gd name="connsiteY4" fmla="*/ 0 h 53780"/>
                <a:gd name="connsiteX5" fmla="*/ 17927 w 53780"/>
                <a:gd name="connsiteY5" fmla="*/ 2241 h 53780"/>
                <a:gd name="connsiteX6" fmla="*/ 17927 w 53780"/>
                <a:gd name="connsiteY6" fmla="*/ 17927 h 53780"/>
                <a:gd name="connsiteX7" fmla="*/ 2241 w 53780"/>
                <a:gd name="connsiteY7" fmla="*/ 17927 h 53780"/>
                <a:gd name="connsiteX8" fmla="*/ 0 w 53780"/>
                <a:gd name="connsiteY8" fmla="*/ 20168 h 53780"/>
                <a:gd name="connsiteX9" fmla="*/ 0 w 53780"/>
                <a:gd name="connsiteY9" fmla="*/ 33613 h 53780"/>
                <a:gd name="connsiteX10" fmla="*/ 2241 w 53780"/>
                <a:gd name="connsiteY10" fmla="*/ 35854 h 53780"/>
                <a:gd name="connsiteX11" fmla="*/ 17927 w 53780"/>
                <a:gd name="connsiteY11" fmla="*/ 35854 h 53780"/>
                <a:gd name="connsiteX12" fmla="*/ 17927 w 53780"/>
                <a:gd name="connsiteY12" fmla="*/ 51540 h 53780"/>
                <a:gd name="connsiteX13" fmla="*/ 20168 w 53780"/>
                <a:gd name="connsiteY13" fmla="*/ 53780 h 53780"/>
                <a:gd name="connsiteX14" fmla="*/ 33613 w 53780"/>
                <a:gd name="connsiteY14" fmla="*/ 53780 h 53780"/>
                <a:gd name="connsiteX15" fmla="*/ 35854 w 53780"/>
                <a:gd name="connsiteY15" fmla="*/ 51540 h 53780"/>
                <a:gd name="connsiteX16" fmla="*/ 35854 w 53780"/>
                <a:gd name="connsiteY16" fmla="*/ 35854 h 53780"/>
                <a:gd name="connsiteX17" fmla="*/ 51540 w 53780"/>
                <a:gd name="connsiteY17" fmla="*/ 35854 h 53780"/>
                <a:gd name="connsiteX18" fmla="*/ 53780 w 53780"/>
                <a:gd name="connsiteY18" fmla="*/ 33613 h 53780"/>
                <a:gd name="connsiteX19" fmla="*/ 53780 w 53780"/>
                <a:gd name="connsiteY19" fmla="*/ 20168 h 53780"/>
                <a:gd name="connsiteX20" fmla="*/ 51540 w 53780"/>
                <a:gd name="connsiteY20" fmla="*/ 17927 h 53780"/>
                <a:gd name="connsiteX21" fmla="*/ 49299 w 53780"/>
                <a:gd name="connsiteY21" fmla="*/ 31372 h 53780"/>
                <a:gd name="connsiteX22" fmla="*/ 33613 w 53780"/>
                <a:gd name="connsiteY22" fmla="*/ 31372 h 53780"/>
                <a:gd name="connsiteX23" fmla="*/ 32716 w 53780"/>
                <a:gd name="connsiteY23" fmla="*/ 31372 h 53780"/>
                <a:gd name="connsiteX24" fmla="*/ 32716 w 53780"/>
                <a:gd name="connsiteY24" fmla="*/ 31372 h 53780"/>
                <a:gd name="connsiteX25" fmla="*/ 32268 w 53780"/>
                <a:gd name="connsiteY25" fmla="*/ 31372 h 53780"/>
                <a:gd name="connsiteX26" fmla="*/ 31820 w 53780"/>
                <a:gd name="connsiteY26" fmla="*/ 31820 h 53780"/>
                <a:gd name="connsiteX27" fmla="*/ 31820 w 53780"/>
                <a:gd name="connsiteY27" fmla="*/ 31820 h 53780"/>
                <a:gd name="connsiteX28" fmla="*/ 31372 w 53780"/>
                <a:gd name="connsiteY28" fmla="*/ 32268 h 53780"/>
                <a:gd name="connsiteX29" fmla="*/ 31372 w 53780"/>
                <a:gd name="connsiteY29" fmla="*/ 32717 h 53780"/>
                <a:gd name="connsiteX30" fmla="*/ 31372 w 53780"/>
                <a:gd name="connsiteY30" fmla="*/ 33165 h 53780"/>
                <a:gd name="connsiteX31" fmla="*/ 31372 w 53780"/>
                <a:gd name="connsiteY31" fmla="*/ 48851 h 53780"/>
                <a:gd name="connsiteX32" fmla="*/ 22409 w 53780"/>
                <a:gd name="connsiteY32" fmla="*/ 48851 h 53780"/>
                <a:gd name="connsiteX33" fmla="*/ 22409 w 53780"/>
                <a:gd name="connsiteY33" fmla="*/ 33165 h 53780"/>
                <a:gd name="connsiteX34" fmla="*/ 21064 w 53780"/>
                <a:gd name="connsiteY34" fmla="*/ 31372 h 53780"/>
                <a:gd name="connsiteX35" fmla="*/ 21064 w 53780"/>
                <a:gd name="connsiteY35" fmla="*/ 31372 h 53780"/>
                <a:gd name="connsiteX36" fmla="*/ 20616 w 53780"/>
                <a:gd name="connsiteY36" fmla="*/ 31372 h 53780"/>
                <a:gd name="connsiteX37" fmla="*/ 20168 w 53780"/>
                <a:gd name="connsiteY37" fmla="*/ 31372 h 53780"/>
                <a:gd name="connsiteX38" fmla="*/ 4482 w 53780"/>
                <a:gd name="connsiteY38" fmla="*/ 31372 h 53780"/>
                <a:gd name="connsiteX39" fmla="*/ 4482 w 53780"/>
                <a:gd name="connsiteY39" fmla="*/ 22409 h 53780"/>
                <a:gd name="connsiteX40" fmla="*/ 20168 w 53780"/>
                <a:gd name="connsiteY40" fmla="*/ 22409 h 53780"/>
                <a:gd name="connsiteX41" fmla="*/ 20616 w 53780"/>
                <a:gd name="connsiteY41" fmla="*/ 22409 h 53780"/>
                <a:gd name="connsiteX42" fmla="*/ 21064 w 53780"/>
                <a:gd name="connsiteY42" fmla="*/ 22409 h 53780"/>
                <a:gd name="connsiteX43" fmla="*/ 21064 w 53780"/>
                <a:gd name="connsiteY43" fmla="*/ 22409 h 53780"/>
                <a:gd name="connsiteX44" fmla="*/ 22409 w 53780"/>
                <a:gd name="connsiteY44" fmla="*/ 20616 h 53780"/>
                <a:gd name="connsiteX45" fmla="*/ 22409 w 53780"/>
                <a:gd name="connsiteY45" fmla="*/ 4930 h 53780"/>
                <a:gd name="connsiteX46" fmla="*/ 31372 w 53780"/>
                <a:gd name="connsiteY46" fmla="*/ 4930 h 53780"/>
                <a:gd name="connsiteX47" fmla="*/ 31372 w 53780"/>
                <a:gd name="connsiteY47" fmla="*/ 20616 h 53780"/>
                <a:gd name="connsiteX48" fmla="*/ 31372 w 53780"/>
                <a:gd name="connsiteY48" fmla="*/ 21064 h 53780"/>
                <a:gd name="connsiteX49" fmla="*/ 31372 w 53780"/>
                <a:gd name="connsiteY49" fmla="*/ 21512 h 53780"/>
                <a:gd name="connsiteX50" fmla="*/ 31820 w 53780"/>
                <a:gd name="connsiteY50" fmla="*/ 21960 h 53780"/>
                <a:gd name="connsiteX51" fmla="*/ 31820 w 53780"/>
                <a:gd name="connsiteY51" fmla="*/ 21960 h 53780"/>
                <a:gd name="connsiteX52" fmla="*/ 32268 w 53780"/>
                <a:gd name="connsiteY52" fmla="*/ 22409 h 53780"/>
                <a:gd name="connsiteX53" fmla="*/ 32716 w 53780"/>
                <a:gd name="connsiteY53" fmla="*/ 22409 h 53780"/>
                <a:gd name="connsiteX54" fmla="*/ 32716 w 53780"/>
                <a:gd name="connsiteY54" fmla="*/ 22409 h 53780"/>
                <a:gd name="connsiteX55" fmla="*/ 33613 w 53780"/>
                <a:gd name="connsiteY55" fmla="*/ 22409 h 53780"/>
                <a:gd name="connsiteX56" fmla="*/ 49299 w 53780"/>
                <a:gd name="connsiteY56" fmla="*/ 22409 h 53780"/>
                <a:gd name="connsiteX57" fmla="*/ 49299 w 53780"/>
                <a:gd name="connsiteY57" fmla="*/ 31372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3780" h="53780">
                  <a:moveTo>
                    <a:pt x="51540" y="17927"/>
                  </a:moveTo>
                  <a:lnTo>
                    <a:pt x="35854" y="17927"/>
                  </a:lnTo>
                  <a:lnTo>
                    <a:pt x="35854" y="2241"/>
                  </a:lnTo>
                  <a:cubicBezTo>
                    <a:pt x="35854" y="896"/>
                    <a:pt x="34957" y="0"/>
                    <a:pt x="33613" y="0"/>
                  </a:cubicBezTo>
                  <a:lnTo>
                    <a:pt x="20168" y="0"/>
                  </a:lnTo>
                  <a:cubicBezTo>
                    <a:pt x="18823" y="0"/>
                    <a:pt x="17927" y="896"/>
                    <a:pt x="17927" y="2241"/>
                  </a:cubicBezTo>
                  <a:lnTo>
                    <a:pt x="17927" y="17927"/>
                  </a:lnTo>
                  <a:lnTo>
                    <a:pt x="2241" y="17927"/>
                  </a:lnTo>
                  <a:cubicBezTo>
                    <a:pt x="896" y="17927"/>
                    <a:pt x="0" y="18823"/>
                    <a:pt x="0" y="20168"/>
                  </a:cubicBezTo>
                  <a:lnTo>
                    <a:pt x="0" y="33613"/>
                  </a:lnTo>
                  <a:cubicBezTo>
                    <a:pt x="0" y="34957"/>
                    <a:pt x="896" y="35854"/>
                    <a:pt x="2241" y="35854"/>
                  </a:cubicBezTo>
                  <a:lnTo>
                    <a:pt x="17927" y="35854"/>
                  </a:lnTo>
                  <a:lnTo>
                    <a:pt x="17927" y="51540"/>
                  </a:lnTo>
                  <a:cubicBezTo>
                    <a:pt x="17927" y="52884"/>
                    <a:pt x="18823" y="53780"/>
                    <a:pt x="20168" y="53780"/>
                  </a:cubicBezTo>
                  <a:lnTo>
                    <a:pt x="33613" y="53780"/>
                  </a:lnTo>
                  <a:cubicBezTo>
                    <a:pt x="34957" y="53780"/>
                    <a:pt x="35854" y="52884"/>
                    <a:pt x="35854" y="51540"/>
                  </a:cubicBezTo>
                  <a:lnTo>
                    <a:pt x="35854" y="35854"/>
                  </a:lnTo>
                  <a:lnTo>
                    <a:pt x="51540" y="35854"/>
                  </a:lnTo>
                  <a:cubicBezTo>
                    <a:pt x="52884" y="35854"/>
                    <a:pt x="53780" y="34957"/>
                    <a:pt x="53780" y="33613"/>
                  </a:cubicBezTo>
                  <a:lnTo>
                    <a:pt x="53780" y="20168"/>
                  </a:lnTo>
                  <a:cubicBezTo>
                    <a:pt x="53780" y="18823"/>
                    <a:pt x="52884" y="17927"/>
                    <a:pt x="51540" y="17927"/>
                  </a:cubicBezTo>
                  <a:close/>
                  <a:moveTo>
                    <a:pt x="49299" y="31372"/>
                  </a:moveTo>
                  <a:lnTo>
                    <a:pt x="33613" y="31372"/>
                  </a:lnTo>
                  <a:cubicBezTo>
                    <a:pt x="33164" y="31372"/>
                    <a:pt x="33164" y="31372"/>
                    <a:pt x="32716" y="31372"/>
                  </a:cubicBezTo>
                  <a:cubicBezTo>
                    <a:pt x="32716" y="31372"/>
                    <a:pt x="32716" y="31372"/>
                    <a:pt x="32716" y="31372"/>
                  </a:cubicBezTo>
                  <a:cubicBezTo>
                    <a:pt x="32716" y="31372"/>
                    <a:pt x="32716" y="31372"/>
                    <a:pt x="32268" y="31372"/>
                  </a:cubicBezTo>
                  <a:cubicBezTo>
                    <a:pt x="32268" y="31372"/>
                    <a:pt x="31820" y="31372"/>
                    <a:pt x="31820" y="31820"/>
                  </a:cubicBezTo>
                  <a:cubicBezTo>
                    <a:pt x="31820" y="31820"/>
                    <a:pt x="31820" y="31820"/>
                    <a:pt x="31820" y="31820"/>
                  </a:cubicBezTo>
                  <a:cubicBezTo>
                    <a:pt x="31820" y="31820"/>
                    <a:pt x="31372" y="32268"/>
                    <a:pt x="31372" y="32268"/>
                  </a:cubicBezTo>
                  <a:cubicBezTo>
                    <a:pt x="31372" y="32268"/>
                    <a:pt x="31372" y="32717"/>
                    <a:pt x="31372" y="32717"/>
                  </a:cubicBezTo>
                  <a:cubicBezTo>
                    <a:pt x="31372" y="32717"/>
                    <a:pt x="31372" y="33165"/>
                    <a:pt x="31372" y="33165"/>
                  </a:cubicBezTo>
                  <a:lnTo>
                    <a:pt x="31372" y="48851"/>
                  </a:lnTo>
                  <a:lnTo>
                    <a:pt x="22409" y="48851"/>
                  </a:lnTo>
                  <a:lnTo>
                    <a:pt x="22409" y="33165"/>
                  </a:lnTo>
                  <a:cubicBezTo>
                    <a:pt x="22409" y="32268"/>
                    <a:pt x="21960" y="31820"/>
                    <a:pt x="21064" y="31372"/>
                  </a:cubicBezTo>
                  <a:cubicBezTo>
                    <a:pt x="21064" y="31372"/>
                    <a:pt x="21064" y="31372"/>
                    <a:pt x="21064" y="31372"/>
                  </a:cubicBezTo>
                  <a:cubicBezTo>
                    <a:pt x="21064" y="31372"/>
                    <a:pt x="21064" y="31372"/>
                    <a:pt x="20616" y="31372"/>
                  </a:cubicBezTo>
                  <a:cubicBezTo>
                    <a:pt x="20616" y="31372"/>
                    <a:pt x="20168" y="31372"/>
                    <a:pt x="20168" y="31372"/>
                  </a:cubicBezTo>
                  <a:lnTo>
                    <a:pt x="4482" y="31372"/>
                  </a:lnTo>
                  <a:lnTo>
                    <a:pt x="4482" y="22409"/>
                  </a:lnTo>
                  <a:lnTo>
                    <a:pt x="20168" y="22409"/>
                  </a:lnTo>
                  <a:cubicBezTo>
                    <a:pt x="20168" y="22409"/>
                    <a:pt x="20616" y="22409"/>
                    <a:pt x="20616" y="22409"/>
                  </a:cubicBezTo>
                  <a:cubicBezTo>
                    <a:pt x="20616" y="22409"/>
                    <a:pt x="20616" y="22409"/>
                    <a:pt x="21064" y="22409"/>
                  </a:cubicBezTo>
                  <a:cubicBezTo>
                    <a:pt x="21064" y="22409"/>
                    <a:pt x="21064" y="22409"/>
                    <a:pt x="21064" y="22409"/>
                  </a:cubicBezTo>
                  <a:cubicBezTo>
                    <a:pt x="21960" y="21960"/>
                    <a:pt x="22409" y="21512"/>
                    <a:pt x="22409" y="20616"/>
                  </a:cubicBezTo>
                  <a:lnTo>
                    <a:pt x="22409" y="4930"/>
                  </a:lnTo>
                  <a:lnTo>
                    <a:pt x="31372" y="4930"/>
                  </a:lnTo>
                  <a:lnTo>
                    <a:pt x="31372" y="20616"/>
                  </a:lnTo>
                  <a:cubicBezTo>
                    <a:pt x="31372" y="20616"/>
                    <a:pt x="31372" y="21064"/>
                    <a:pt x="31372" y="21064"/>
                  </a:cubicBezTo>
                  <a:cubicBezTo>
                    <a:pt x="31372" y="21064"/>
                    <a:pt x="31372" y="21512"/>
                    <a:pt x="31372" y="21512"/>
                  </a:cubicBezTo>
                  <a:cubicBezTo>
                    <a:pt x="31372" y="21960"/>
                    <a:pt x="31820" y="21960"/>
                    <a:pt x="31820" y="21960"/>
                  </a:cubicBezTo>
                  <a:cubicBezTo>
                    <a:pt x="31820" y="21960"/>
                    <a:pt x="31820" y="21960"/>
                    <a:pt x="31820" y="21960"/>
                  </a:cubicBezTo>
                  <a:cubicBezTo>
                    <a:pt x="31820" y="21960"/>
                    <a:pt x="32268" y="21960"/>
                    <a:pt x="32268" y="22409"/>
                  </a:cubicBezTo>
                  <a:cubicBezTo>
                    <a:pt x="32268" y="22409"/>
                    <a:pt x="32268" y="22409"/>
                    <a:pt x="32716" y="22409"/>
                  </a:cubicBezTo>
                  <a:cubicBezTo>
                    <a:pt x="32716" y="22409"/>
                    <a:pt x="32716" y="22409"/>
                    <a:pt x="32716" y="22409"/>
                  </a:cubicBezTo>
                  <a:cubicBezTo>
                    <a:pt x="32716" y="22409"/>
                    <a:pt x="33164" y="22409"/>
                    <a:pt x="33613" y="22409"/>
                  </a:cubicBezTo>
                  <a:lnTo>
                    <a:pt x="49299" y="22409"/>
                  </a:lnTo>
                  <a:lnTo>
                    <a:pt x="49299" y="31372"/>
                  </a:lnTo>
                  <a:close/>
                </a:path>
              </a:pathLst>
            </a:custGeom>
            <a:solidFill>
              <a:srgbClr val="231F20"/>
            </a:solidFill>
            <a:ln w="4477" cap="flat">
              <a:noFill/>
              <a:prstDash val="solid"/>
              <a:miter/>
            </a:ln>
          </p:spPr>
          <p:txBody>
            <a:bodyPr rtlCol="0" anchor="ctr"/>
            <a:lstStyle/>
            <a:p>
              <a:endParaRPr lang="en-US"/>
            </a:p>
          </p:txBody>
        </p:sp>
      </p:grpSp>
      <p:grpSp>
        <p:nvGrpSpPr>
          <p:cNvPr id="2508" name="Group 2507">
            <a:extLst>
              <a:ext uri="{FF2B5EF4-FFF2-40B4-BE49-F238E27FC236}">
                <a16:creationId xmlns:a16="http://schemas.microsoft.com/office/drawing/2014/main" id="{168917C2-EA7C-4AA1-8108-7699E17FFD56}"/>
              </a:ext>
              <a:ext uri="{C183D7F6-B498-43B3-948B-1728B52AA6E4}">
                <adec:decorative xmlns:adec="http://schemas.microsoft.com/office/drawing/2017/decorative" val="1"/>
              </a:ext>
            </a:extLst>
          </p:cNvPr>
          <p:cNvGrpSpPr>
            <a:grpSpLocks noChangeAspect="1"/>
          </p:cNvGrpSpPr>
          <p:nvPr/>
        </p:nvGrpSpPr>
        <p:grpSpPr>
          <a:xfrm>
            <a:off x="11196554" y="4873322"/>
            <a:ext cx="71707" cy="140725"/>
            <a:chOff x="11253054" y="2817631"/>
            <a:chExt cx="71707" cy="140725"/>
          </a:xfrm>
        </p:grpSpPr>
        <p:sp>
          <p:nvSpPr>
            <p:cNvPr id="5346" name="Freeform: Shape 5345">
              <a:extLst>
                <a:ext uri="{FF2B5EF4-FFF2-40B4-BE49-F238E27FC236}">
                  <a16:creationId xmlns:a16="http://schemas.microsoft.com/office/drawing/2014/main" id="{D1A64774-1A7F-459A-89AA-C2B1F25F2B8B}"/>
                </a:ext>
              </a:extLst>
            </p:cNvPr>
            <p:cNvSpPr/>
            <p:nvPr/>
          </p:nvSpPr>
          <p:spPr>
            <a:xfrm>
              <a:off x="11253054" y="2855277"/>
              <a:ext cx="71707" cy="103079"/>
            </a:xfrm>
            <a:custGeom>
              <a:avLst/>
              <a:gdLst>
                <a:gd name="connsiteX0" fmla="*/ 40397 w 71707"/>
                <a:gd name="connsiteY0" fmla="*/ 105768 h 103079"/>
                <a:gd name="connsiteX1" fmla="*/ 30986 w 71707"/>
                <a:gd name="connsiteY1" fmla="*/ 105768 h 103079"/>
                <a:gd name="connsiteX2" fmla="*/ 22918 w 71707"/>
                <a:gd name="connsiteY2" fmla="*/ 99046 h 103079"/>
                <a:gd name="connsiteX3" fmla="*/ 15748 w 71707"/>
                <a:gd name="connsiteY3" fmla="*/ 66329 h 103079"/>
                <a:gd name="connsiteX4" fmla="*/ 15300 w 71707"/>
                <a:gd name="connsiteY4" fmla="*/ 64985 h 103079"/>
                <a:gd name="connsiteX5" fmla="*/ 8577 w 71707"/>
                <a:gd name="connsiteY5" fmla="*/ 64985 h 103079"/>
                <a:gd name="connsiteX6" fmla="*/ 1407 w 71707"/>
                <a:gd name="connsiteY6" fmla="*/ 60951 h 103079"/>
                <a:gd name="connsiteX7" fmla="*/ 959 w 71707"/>
                <a:gd name="connsiteY7" fmla="*/ 51988 h 103079"/>
                <a:gd name="connsiteX8" fmla="*/ 22918 w 71707"/>
                <a:gd name="connsiteY8" fmla="*/ 4930 h 103079"/>
                <a:gd name="connsiteX9" fmla="*/ 30538 w 71707"/>
                <a:gd name="connsiteY9" fmla="*/ 0 h 103079"/>
                <a:gd name="connsiteX10" fmla="*/ 41742 w 71707"/>
                <a:gd name="connsiteY10" fmla="*/ 0 h 103079"/>
                <a:gd name="connsiteX11" fmla="*/ 49361 w 71707"/>
                <a:gd name="connsiteY11" fmla="*/ 4930 h 103079"/>
                <a:gd name="connsiteX12" fmla="*/ 71321 w 71707"/>
                <a:gd name="connsiteY12" fmla="*/ 51988 h 103079"/>
                <a:gd name="connsiteX13" fmla="*/ 70873 w 71707"/>
                <a:gd name="connsiteY13" fmla="*/ 60951 h 103079"/>
                <a:gd name="connsiteX14" fmla="*/ 63702 w 71707"/>
                <a:gd name="connsiteY14" fmla="*/ 64985 h 103079"/>
                <a:gd name="connsiteX15" fmla="*/ 56531 w 71707"/>
                <a:gd name="connsiteY15" fmla="*/ 64985 h 103079"/>
                <a:gd name="connsiteX16" fmla="*/ 56531 w 71707"/>
                <a:gd name="connsiteY16" fmla="*/ 66329 h 103079"/>
                <a:gd name="connsiteX17" fmla="*/ 49361 w 71707"/>
                <a:gd name="connsiteY17" fmla="*/ 98597 h 103079"/>
                <a:gd name="connsiteX18" fmla="*/ 40397 w 71707"/>
                <a:gd name="connsiteY18" fmla="*/ 105768 h 103079"/>
                <a:gd name="connsiteX19" fmla="*/ 30090 w 71707"/>
                <a:gd name="connsiteY19" fmla="*/ 4930 h 103079"/>
                <a:gd name="connsiteX20" fmla="*/ 26504 w 71707"/>
                <a:gd name="connsiteY20" fmla="*/ 7171 h 103079"/>
                <a:gd name="connsiteX21" fmla="*/ 4544 w 71707"/>
                <a:gd name="connsiteY21" fmla="*/ 54228 h 103079"/>
                <a:gd name="connsiteX22" fmla="*/ 4992 w 71707"/>
                <a:gd name="connsiteY22" fmla="*/ 58710 h 103079"/>
                <a:gd name="connsiteX23" fmla="*/ 8129 w 71707"/>
                <a:gd name="connsiteY23" fmla="*/ 60503 h 103079"/>
                <a:gd name="connsiteX24" fmla="*/ 15300 w 71707"/>
                <a:gd name="connsiteY24" fmla="*/ 60503 h 103079"/>
                <a:gd name="connsiteX25" fmla="*/ 19781 w 71707"/>
                <a:gd name="connsiteY25" fmla="*/ 64985 h 103079"/>
                <a:gd name="connsiteX26" fmla="*/ 19781 w 71707"/>
                <a:gd name="connsiteY26" fmla="*/ 65433 h 103079"/>
                <a:gd name="connsiteX27" fmla="*/ 26952 w 71707"/>
                <a:gd name="connsiteY27" fmla="*/ 97701 h 103079"/>
                <a:gd name="connsiteX28" fmla="*/ 30986 w 71707"/>
                <a:gd name="connsiteY28" fmla="*/ 100838 h 103079"/>
                <a:gd name="connsiteX29" fmla="*/ 40397 w 71707"/>
                <a:gd name="connsiteY29" fmla="*/ 100838 h 103079"/>
                <a:gd name="connsiteX30" fmla="*/ 44431 w 71707"/>
                <a:gd name="connsiteY30" fmla="*/ 97701 h 103079"/>
                <a:gd name="connsiteX31" fmla="*/ 51601 w 71707"/>
                <a:gd name="connsiteY31" fmla="*/ 65881 h 103079"/>
                <a:gd name="connsiteX32" fmla="*/ 56083 w 71707"/>
                <a:gd name="connsiteY32" fmla="*/ 60951 h 103079"/>
                <a:gd name="connsiteX33" fmla="*/ 63254 w 71707"/>
                <a:gd name="connsiteY33" fmla="*/ 60951 h 103079"/>
                <a:gd name="connsiteX34" fmla="*/ 66391 w 71707"/>
                <a:gd name="connsiteY34" fmla="*/ 59158 h 103079"/>
                <a:gd name="connsiteX35" fmla="*/ 66839 w 71707"/>
                <a:gd name="connsiteY35" fmla="*/ 54677 h 103079"/>
                <a:gd name="connsiteX36" fmla="*/ 44879 w 71707"/>
                <a:gd name="connsiteY36" fmla="*/ 7619 h 103079"/>
                <a:gd name="connsiteX37" fmla="*/ 41294 w 71707"/>
                <a:gd name="connsiteY37" fmla="*/ 5378 h 103079"/>
                <a:gd name="connsiteX38" fmla="*/ 30090 w 71707"/>
                <a:gd name="connsiteY38" fmla="*/ 5378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1707" h="103079">
                  <a:moveTo>
                    <a:pt x="40397" y="105768"/>
                  </a:moveTo>
                  <a:lnTo>
                    <a:pt x="30986" y="105768"/>
                  </a:lnTo>
                  <a:cubicBezTo>
                    <a:pt x="26952" y="105768"/>
                    <a:pt x="23815" y="103079"/>
                    <a:pt x="22918" y="99046"/>
                  </a:cubicBezTo>
                  <a:lnTo>
                    <a:pt x="15748" y="66329"/>
                  </a:lnTo>
                  <a:cubicBezTo>
                    <a:pt x="15748" y="65881"/>
                    <a:pt x="15300" y="64985"/>
                    <a:pt x="15300" y="64985"/>
                  </a:cubicBezTo>
                  <a:lnTo>
                    <a:pt x="8577" y="64985"/>
                  </a:lnTo>
                  <a:cubicBezTo>
                    <a:pt x="5888" y="64985"/>
                    <a:pt x="3199" y="63640"/>
                    <a:pt x="1407" y="60951"/>
                  </a:cubicBezTo>
                  <a:cubicBezTo>
                    <a:pt x="-386" y="58262"/>
                    <a:pt x="-386" y="55125"/>
                    <a:pt x="959" y="51988"/>
                  </a:cubicBezTo>
                  <a:lnTo>
                    <a:pt x="22918" y="4930"/>
                  </a:lnTo>
                  <a:cubicBezTo>
                    <a:pt x="24263" y="1793"/>
                    <a:pt x="27400" y="0"/>
                    <a:pt x="30538" y="0"/>
                  </a:cubicBezTo>
                  <a:lnTo>
                    <a:pt x="41742" y="0"/>
                  </a:lnTo>
                  <a:cubicBezTo>
                    <a:pt x="44879" y="0"/>
                    <a:pt x="48016" y="1793"/>
                    <a:pt x="49361" y="4930"/>
                  </a:cubicBezTo>
                  <a:lnTo>
                    <a:pt x="71321" y="51988"/>
                  </a:lnTo>
                  <a:cubicBezTo>
                    <a:pt x="72666" y="55125"/>
                    <a:pt x="72666" y="58262"/>
                    <a:pt x="70873" y="60951"/>
                  </a:cubicBezTo>
                  <a:cubicBezTo>
                    <a:pt x="69080" y="63640"/>
                    <a:pt x="66839" y="64985"/>
                    <a:pt x="63702" y="64985"/>
                  </a:cubicBezTo>
                  <a:lnTo>
                    <a:pt x="56531" y="64985"/>
                  </a:lnTo>
                  <a:cubicBezTo>
                    <a:pt x="56531" y="64985"/>
                    <a:pt x="56531" y="65881"/>
                    <a:pt x="56531" y="66329"/>
                  </a:cubicBezTo>
                  <a:lnTo>
                    <a:pt x="49361" y="98597"/>
                  </a:lnTo>
                  <a:cubicBezTo>
                    <a:pt x="47568" y="103079"/>
                    <a:pt x="44431" y="105768"/>
                    <a:pt x="40397" y="105768"/>
                  </a:cubicBezTo>
                  <a:close/>
                  <a:moveTo>
                    <a:pt x="30090" y="4930"/>
                  </a:moveTo>
                  <a:cubicBezTo>
                    <a:pt x="28745" y="4930"/>
                    <a:pt x="27400" y="5826"/>
                    <a:pt x="26504" y="7171"/>
                  </a:cubicBezTo>
                  <a:lnTo>
                    <a:pt x="4544" y="54228"/>
                  </a:lnTo>
                  <a:cubicBezTo>
                    <a:pt x="3647" y="55573"/>
                    <a:pt x="4096" y="57366"/>
                    <a:pt x="4992" y="58710"/>
                  </a:cubicBezTo>
                  <a:cubicBezTo>
                    <a:pt x="5888" y="60055"/>
                    <a:pt x="6784" y="60503"/>
                    <a:pt x="8129" y="60503"/>
                  </a:cubicBezTo>
                  <a:lnTo>
                    <a:pt x="15300" y="60503"/>
                  </a:lnTo>
                  <a:cubicBezTo>
                    <a:pt x="18437" y="60503"/>
                    <a:pt x="19333" y="63192"/>
                    <a:pt x="19781" y="64985"/>
                  </a:cubicBezTo>
                  <a:lnTo>
                    <a:pt x="19781" y="65433"/>
                  </a:lnTo>
                  <a:lnTo>
                    <a:pt x="26952" y="97701"/>
                  </a:lnTo>
                  <a:cubicBezTo>
                    <a:pt x="27400" y="99494"/>
                    <a:pt x="29193" y="100838"/>
                    <a:pt x="30986" y="100838"/>
                  </a:cubicBezTo>
                  <a:lnTo>
                    <a:pt x="40397" y="100838"/>
                  </a:lnTo>
                  <a:cubicBezTo>
                    <a:pt x="42190" y="100838"/>
                    <a:pt x="43983" y="99494"/>
                    <a:pt x="44431" y="97701"/>
                  </a:cubicBezTo>
                  <a:lnTo>
                    <a:pt x="51601" y="65881"/>
                  </a:lnTo>
                  <a:cubicBezTo>
                    <a:pt x="52050" y="63640"/>
                    <a:pt x="52498" y="60951"/>
                    <a:pt x="56083" y="60951"/>
                  </a:cubicBezTo>
                  <a:lnTo>
                    <a:pt x="63254" y="60951"/>
                  </a:lnTo>
                  <a:cubicBezTo>
                    <a:pt x="64599" y="60951"/>
                    <a:pt x="65943" y="60055"/>
                    <a:pt x="66391" y="59158"/>
                  </a:cubicBezTo>
                  <a:cubicBezTo>
                    <a:pt x="67287" y="57814"/>
                    <a:pt x="67287" y="56021"/>
                    <a:pt x="66839" y="54677"/>
                  </a:cubicBezTo>
                  <a:lnTo>
                    <a:pt x="44879" y="7619"/>
                  </a:lnTo>
                  <a:cubicBezTo>
                    <a:pt x="43983" y="6274"/>
                    <a:pt x="42638" y="5378"/>
                    <a:pt x="41294" y="5378"/>
                  </a:cubicBezTo>
                  <a:lnTo>
                    <a:pt x="30090" y="5378"/>
                  </a:lnTo>
                  <a:close/>
                </a:path>
              </a:pathLst>
            </a:custGeom>
            <a:solidFill>
              <a:srgbClr val="231F20"/>
            </a:solidFill>
            <a:ln w="4477" cap="flat">
              <a:noFill/>
              <a:prstDash val="solid"/>
              <a:miter/>
            </a:ln>
          </p:spPr>
          <p:txBody>
            <a:bodyPr rtlCol="0" anchor="ctr"/>
            <a:lstStyle/>
            <a:p>
              <a:endParaRPr lang="en-US"/>
            </a:p>
          </p:txBody>
        </p:sp>
        <p:sp>
          <p:nvSpPr>
            <p:cNvPr id="5347" name="Freeform: Shape 5346">
              <a:extLst>
                <a:ext uri="{FF2B5EF4-FFF2-40B4-BE49-F238E27FC236}">
                  <a16:creationId xmlns:a16="http://schemas.microsoft.com/office/drawing/2014/main" id="{5255667B-3F32-4E7B-A41E-3089892507CE}"/>
                </a:ext>
              </a:extLst>
            </p:cNvPr>
            <p:cNvSpPr/>
            <p:nvPr/>
          </p:nvSpPr>
          <p:spPr>
            <a:xfrm>
              <a:off x="11271490" y="2817631"/>
              <a:ext cx="31372" cy="31372"/>
            </a:xfrm>
            <a:custGeom>
              <a:avLst/>
              <a:gdLst>
                <a:gd name="connsiteX0" fmla="*/ 17479 w 31371"/>
                <a:gd name="connsiteY0" fmla="*/ 34957 h 31371"/>
                <a:gd name="connsiteX1" fmla="*/ 0 w 31371"/>
                <a:gd name="connsiteY1" fmla="*/ 17479 h 31371"/>
                <a:gd name="connsiteX2" fmla="*/ 17479 w 31371"/>
                <a:gd name="connsiteY2" fmla="*/ 0 h 31371"/>
                <a:gd name="connsiteX3" fmla="*/ 34957 w 31371"/>
                <a:gd name="connsiteY3" fmla="*/ 17479 h 31371"/>
                <a:gd name="connsiteX4" fmla="*/ 17479 w 31371"/>
                <a:gd name="connsiteY4" fmla="*/ 34957 h 31371"/>
                <a:gd name="connsiteX5" fmla="*/ 17479 w 31371"/>
                <a:gd name="connsiteY5" fmla="*/ 4930 h 31371"/>
                <a:gd name="connsiteX6" fmla="*/ 4482 w 31371"/>
                <a:gd name="connsiteY6" fmla="*/ 17927 h 31371"/>
                <a:gd name="connsiteX7" fmla="*/ 17479 w 31371"/>
                <a:gd name="connsiteY7" fmla="*/ 30924 h 31371"/>
                <a:gd name="connsiteX8" fmla="*/ 30476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8067" y="34957"/>
                    <a:pt x="0" y="27338"/>
                    <a:pt x="0" y="17479"/>
                  </a:cubicBezTo>
                  <a:cubicBezTo>
                    <a:pt x="0" y="8067"/>
                    <a:pt x="7619" y="0"/>
                    <a:pt x="17479" y="0"/>
                  </a:cubicBezTo>
                  <a:cubicBezTo>
                    <a:pt x="26890" y="0"/>
                    <a:pt x="34957" y="7619"/>
                    <a:pt x="34957" y="17479"/>
                  </a:cubicBezTo>
                  <a:cubicBezTo>
                    <a:pt x="34509" y="27338"/>
                    <a:pt x="26890" y="34957"/>
                    <a:pt x="17479" y="34957"/>
                  </a:cubicBezTo>
                  <a:close/>
                  <a:moveTo>
                    <a:pt x="17479" y="4930"/>
                  </a:moveTo>
                  <a:cubicBezTo>
                    <a:pt x="10308" y="4930"/>
                    <a:pt x="4482" y="10756"/>
                    <a:pt x="4482" y="17927"/>
                  </a:cubicBezTo>
                  <a:cubicBezTo>
                    <a:pt x="4482" y="25098"/>
                    <a:pt x="10308" y="30924"/>
                    <a:pt x="17479" y="30924"/>
                  </a:cubicBezTo>
                  <a:cubicBezTo>
                    <a:pt x="24649" y="30924"/>
                    <a:pt x="30476" y="25098"/>
                    <a:pt x="30476" y="17927"/>
                  </a:cubicBezTo>
                  <a:cubicBezTo>
                    <a:pt x="30028" y="10756"/>
                    <a:pt x="24649" y="4930"/>
                    <a:pt x="17479" y="4930"/>
                  </a:cubicBezTo>
                  <a:close/>
                </a:path>
              </a:pathLst>
            </a:custGeom>
            <a:solidFill>
              <a:srgbClr val="231F20"/>
            </a:solidFill>
            <a:ln w="4477" cap="flat">
              <a:noFill/>
              <a:prstDash val="solid"/>
              <a:miter/>
            </a:ln>
          </p:spPr>
          <p:txBody>
            <a:bodyPr rtlCol="0" anchor="ctr"/>
            <a:lstStyle/>
            <a:p>
              <a:endParaRPr lang="en-US"/>
            </a:p>
          </p:txBody>
        </p:sp>
      </p:grpSp>
      <p:grpSp>
        <p:nvGrpSpPr>
          <p:cNvPr id="2509" name="Group 2508">
            <a:extLst>
              <a:ext uri="{FF2B5EF4-FFF2-40B4-BE49-F238E27FC236}">
                <a16:creationId xmlns:a16="http://schemas.microsoft.com/office/drawing/2014/main" id="{BADC3FD5-FCAB-4D2B-8E0E-7DC574EBC126}"/>
              </a:ext>
              <a:ext uri="{C183D7F6-B498-43B3-948B-1728B52AA6E4}">
                <adec:decorative xmlns:adec="http://schemas.microsoft.com/office/drawing/2017/decorative" val="1"/>
              </a:ext>
            </a:extLst>
          </p:cNvPr>
          <p:cNvGrpSpPr>
            <a:grpSpLocks noChangeAspect="1"/>
          </p:cNvGrpSpPr>
          <p:nvPr/>
        </p:nvGrpSpPr>
        <p:grpSpPr>
          <a:xfrm>
            <a:off x="11460140" y="4874218"/>
            <a:ext cx="62744" cy="141173"/>
            <a:chOff x="11516640" y="2818527"/>
            <a:chExt cx="62744" cy="141173"/>
          </a:xfrm>
        </p:grpSpPr>
        <p:sp>
          <p:nvSpPr>
            <p:cNvPr id="5344" name="Freeform: Shape 5343">
              <a:extLst>
                <a:ext uri="{FF2B5EF4-FFF2-40B4-BE49-F238E27FC236}">
                  <a16:creationId xmlns:a16="http://schemas.microsoft.com/office/drawing/2014/main" id="{918C8F87-1509-43B6-82B7-3CF2AAB9EDB4}"/>
                </a:ext>
              </a:extLst>
            </p:cNvPr>
            <p:cNvSpPr/>
            <p:nvPr/>
          </p:nvSpPr>
          <p:spPr>
            <a:xfrm>
              <a:off x="11516640" y="2856621"/>
              <a:ext cx="62744" cy="103079"/>
            </a:xfrm>
            <a:custGeom>
              <a:avLst/>
              <a:gdLst>
                <a:gd name="connsiteX0" fmla="*/ 37646 w 62743"/>
                <a:gd name="connsiteY0" fmla="*/ 104424 h 103079"/>
                <a:gd name="connsiteX1" fmla="*/ 28234 w 62743"/>
                <a:gd name="connsiteY1" fmla="*/ 104424 h 103079"/>
                <a:gd name="connsiteX2" fmla="*/ 20168 w 62743"/>
                <a:gd name="connsiteY2" fmla="*/ 98149 h 103079"/>
                <a:gd name="connsiteX3" fmla="*/ 20168 w 62743"/>
                <a:gd name="connsiteY3" fmla="*/ 97253 h 103079"/>
                <a:gd name="connsiteX4" fmla="*/ 10308 w 62743"/>
                <a:gd name="connsiteY4" fmla="*/ 60055 h 103079"/>
                <a:gd name="connsiteX5" fmla="*/ 8963 w 62743"/>
                <a:gd name="connsiteY5" fmla="*/ 60055 h 103079"/>
                <a:gd name="connsiteX6" fmla="*/ 0 w 62743"/>
                <a:gd name="connsiteY6" fmla="*/ 51988 h 103079"/>
                <a:gd name="connsiteX7" fmla="*/ 0 w 62743"/>
                <a:gd name="connsiteY7" fmla="*/ 13893 h 103079"/>
                <a:gd name="connsiteX8" fmla="*/ 16134 w 62743"/>
                <a:gd name="connsiteY8" fmla="*/ 0 h 103079"/>
                <a:gd name="connsiteX9" fmla="*/ 50643 w 62743"/>
                <a:gd name="connsiteY9" fmla="*/ 0 h 103079"/>
                <a:gd name="connsiteX10" fmla="*/ 66777 w 62743"/>
                <a:gd name="connsiteY10" fmla="*/ 13893 h 103079"/>
                <a:gd name="connsiteX11" fmla="*/ 66777 w 62743"/>
                <a:gd name="connsiteY11" fmla="*/ 51988 h 103079"/>
                <a:gd name="connsiteX12" fmla="*/ 57814 w 62743"/>
                <a:gd name="connsiteY12" fmla="*/ 60055 h 103079"/>
                <a:gd name="connsiteX13" fmla="*/ 56469 w 62743"/>
                <a:gd name="connsiteY13" fmla="*/ 60055 h 103079"/>
                <a:gd name="connsiteX14" fmla="*/ 46610 w 62743"/>
                <a:gd name="connsiteY14" fmla="*/ 97701 h 103079"/>
                <a:gd name="connsiteX15" fmla="*/ 37646 w 62743"/>
                <a:gd name="connsiteY15" fmla="*/ 104424 h 103079"/>
                <a:gd name="connsiteX16" fmla="*/ 15686 w 62743"/>
                <a:gd name="connsiteY16" fmla="*/ 4482 h 103079"/>
                <a:gd name="connsiteX17" fmla="*/ 4034 w 62743"/>
                <a:gd name="connsiteY17" fmla="*/ 13893 h 103079"/>
                <a:gd name="connsiteX18" fmla="*/ 4034 w 62743"/>
                <a:gd name="connsiteY18" fmla="*/ 51988 h 103079"/>
                <a:gd name="connsiteX19" fmla="*/ 8515 w 62743"/>
                <a:gd name="connsiteY19" fmla="*/ 55573 h 103079"/>
                <a:gd name="connsiteX20" fmla="*/ 11652 w 62743"/>
                <a:gd name="connsiteY20" fmla="*/ 55573 h 103079"/>
                <a:gd name="connsiteX21" fmla="*/ 13893 w 62743"/>
                <a:gd name="connsiteY21" fmla="*/ 57366 h 103079"/>
                <a:gd name="connsiteX22" fmla="*/ 24201 w 62743"/>
                <a:gd name="connsiteY22" fmla="*/ 95908 h 103079"/>
                <a:gd name="connsiteX23" fmla="*/ 24201 w 62743"/>
                <a:gd name="connsiteY23" fmla="*/ 96805 h 103079"/>
                <a:gd name="connsiteX24" fmla="*/ 28234 w 62743"/>
                <a:gd name="connsiteY24" fmla="*/ 99942 h 103079"/>
                <a:gd name="connsiteX25" fmla="*/ 37646 w 62743"/>
                <a:gd name="connsiteY25" fmla="*/ 99942 h 103079"/>
                <a:gd name="connsiteX26" fmla="*/ 41679 w 62743"/>
                <a:gd name="connsiteY26" fmla="*/ 96805 h 103079"/>
                <a:gd name="connsiteX27" fmla="*/ 51988 w 62743"/>
                <a:gd name="connsiteY27" fmla="*/ 57366 h 103079"/>
                <a:gd name="connsiteX28" fmla="*/ 54228 w 62743"/>
                <a:gd name="connsiteY28" fmla="*/ 55573 h 103079"/>
                <a:gd name="connsiteX29" fmla="*/ 57365 w 62743"/>
                <a:gd name="connsiteY29" fmla="*/ 55573 h 103079"/>
                <a:gd name="connsiteX30" fmla="*/ 61847 w 62743"/>
                <a:gd name="connsiteY30" fmla="*/ 51988 h 103079"/>
                <a:gd name="connsiteX31" fmla="*/ 61847 w 62743"/>
                <a:gd name="connsiteY31" fmla="*/ 13893 h 103079"/>
                <a:gd name="connsiteX32" fmla="*/ 50195 w 62743"/>
                <a:gd name="connsiteY32" fmla="*/ 4482 h 103079"/>
                <a:gd name="connsiteX33" fmla="*/ 15686 w 62743"/>
                <a:gd name="connsiteY33" fmla="*/ 4482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743" h="103079">
                  <a:moveTo>
                    <a:pt x="37646" y="104424"/>
                  </a:moveTo>
                  <a:lnTo>
                    <a:pt x="28234" y="104424"/>
                  </a:lnTo>
                  <a:cubicBezTo>
                    <a:pt x="24201" y="104424"/>
                    <a:pt x="21064" y="101735"/>
                    <a:pt x="20168" y="98149"/>
                  </a:cubicBezTo>
                  <a:lnTo>
                    <a:pt x="20168" y="97253"/>
                  </a:lnTo>
                  <a:cubicBezTo>
                    <a:pt x="20168" y="96805"/>
                    <a:pt x="12548" y="67674"/>
                    <a:pt x="10308" y="60055"/>
                  </a:cubicBezTo>
                  <a:lnTo>
                    <a:pt x="8963" y="60055"/>
                  </a:lnTo>
                  <a:cubicBezTo>
                    <a:pt x="4034" y="60055"/>
                    <a:pt x="0" y="56469"/>
                    <a:pt x="0" y="51988"/>
                  </a:cubicBezTo>
                  <a:lnTo>
                    <a:pt x="0" y="13893"/>
                  </a:lnTo>
                  <a:cubicBezTo>
                    <a:pt x="0" y="6274"/>
                    <a:pt x="7171" y="0"/>
                    <a:pt x="16134" y="0"/>
                  </a:cubicBezTo>
                  <a:lnTo>
                    <a:pt x="50643" y="0"/>
                  </a:lnTo>
                  <a:cubicBezTo>
                    <a:pt x="59606" y="0"/>
                    <a:pt x="66777" y="6274"/>
                    <a:pt x="66777" y="13893"/>
                  </a:cubicBezTo>
                  <a:lnTo>
                    <a:pt x="66777" y="51988"/>
                  </a:lnTo>
                  <a:cubicBezTo>
                    <a:pt x="66777" y="56469"/>
                    <a:pt x="62744" y="60055"/>
                    <a:pt x="57814" y="60055"/>
                  </a:cubicBezTo>
                  <a:lnTo>
                    <a:pt x="56469" y="60055"/>
                  </a:lnTo>
                  <a:lnTo>
                    <a:pt x="46610" y="97701"/>
                  </a:lnTo>
                  <a:cubicBezTo>
                    <a:pt x="44817" y="101735"/>
                    <a:pt x="41679" y="104424"/>
                    <a:pt x="37646" y="104424"/>
                  </a:cubicBezTo>
                  <a:close/>
                  <a:moveTo>
                    <a:pt x="15686" y="4482"/>
                  </a:moveTo>
                  <a:cubicBezTo>
                    <a:pt x="9411" y="4482"/>
                    <a:pt x="4034" y="8963"/>
                    <a:pt x="4034" y="13893"/>
                  </a:cubicBezTo>
                  <a:lnTo>
                    <a:pt x="4034" y="51988"/>
                  </a:lnTo>
                  <a:cubicBezTo>
                    <a:pt x="4034" y="53780"/>
                    <a:pt x="6274" y="55573"/>
                    <a:pt x="8515" y="55573"/>
                  </a:cubicBezTo>
                  <a:lnTo>
                    <a:pt x="11652" y="55573"/>
                  </a:lnTo>
                  <a:cubicBezTo>
                    <a:pt x="12548" y="55573"/>
                    <a:pt x="13445" y="56469"/>
                    <a:pt x="13893" y="57366"/>
                  </a:cubicBezTo>
                  <a:cubicBezTo>
                    <a:pt x="13893" y="58262"/>
                    <a:pt x="23305" y="93668"/>
                    <a:pt x="24201" y="95908"/>
                  </a:cubicBezTo>
                  <a:lnTo>
                    <a:pt x="24201" y="96805"/>
                  </a:lnTo>
                  <a:cubicBezTo>
                    <a:pt x="24649" y="98597"/>
                    <a:pt x="26442" y="99942"/>
                    <a:pt x="28234" y="99942"/>
                  </a:cubicBezTo>
                  <a:lnTo>
                    <a:pt x="37646" y="99942"/>
                  </a:lnTo>
                  <a:cubicBezTo>
                    <a:pt x="39439" y="99942"/>
                    <a:pt x="41231" y="98597"/>
                    <a:pt x="41679" y="96805"/>
                  </a:cubicBezTo>
                  <a:lnTo>
                    <a:pt x="51988" y="57366"/>
                  </a:lnTo>
                  <a:cubicBezTo>
                    <a:pt x="52436" y="56469"/>
                    <a:pt x="53332" y="55573"/>
                    <a:pt x="54228" y="55573"/>
                  </a:cubicBezTo>
                  <a:lnTo>
                    <a:pt x="57365" y="55573"/>
                  </a:lnTo>
                  <a:cubicBezTo>
                    <a:pt x="60055" y="55573"/>
                    <a:pt x="61847" y="53780"/>
                    <a:pt x="61847" y="51988"/>
                  </a:cubicBezTo>
                  <a:lnTo>
                    <a:pt x="61847" y="13893"/>
                  </a:lnTo>
                  <a:cubicBezTo>
                    <a:pt x="61847" y="8515"/>
                    <a:pt x="56469" y="4482"/>
                    <a:pt x="50195" y="4482"/>
                  </a:cubicBezTo>
                  <a:lnTo>
                    <a:pt x="15686" y="4482"/>
                  </a:lnTo>
                  <a:close/>
                </a:path>
              </a:pathLst>
            </a:custGeom>
            <a:solidFill>
              <a:srgbClr val="231F20"/>
            </a:solidFill>
            <a:ln w="4477" cap="flat">
              <a:noFill/>
              <a:prstDash val="solid"/>
              <a:miter/>
            </a:ln>
          </p:spPr>
          <p:txBody>
            <a:bodyPr rtlCol="0" anchor="ctr"/>
            <a:lstStyle/>
            <a:p>
              <a:endParaRPr lang="en-US"/>
            </a:p>
          </p:txBody>
        </p:sp>
        <p:sp>
          <p:nvSpPr>
            <p:cNvPr id="5345" name="Freeform: Shape 5344">
              <a:extLst>
                <a:ext uri="{FF2B5EF4-FFF2-40B4-BE49-F238E27FC236}">
                  <a16:creationId xmlns:a16="http://schemas.microsoft.com/office/drawing/2014/main" id="{59590DDE-E7D8-4AC6-A1A2-E073E2CEEFD5}"/>
                </a:ext>
              </a:extLst>
            </p:cNvPr>
            <p:cNvSpPr/>
            <p:nvPr/>
          </p:nvSpPr>
          <p:spPr>
            <a:xfrm>
              <a:off x="11532326" y="2818527"/>
              <a:ext cx="31372" cy="31372"/>
            </a:xfrm>
            <a:custGeom>
              <a:avLst/>
              <a:gdLst>
                <a:gd name="connsiteX0" fmla="*/ 17479 w 31371"/>
                <a:gd name="connsiteY0" fmla="*/ 34957 h 31371"/>
                <a:gd name="connsiteX1" fmla="*/ 0 w 31371"/>
                <a:gd name="connsiteY1" fmla="*/ 17479 h 31371"/>
                <a:gd name="connsiteX2" fmla="*/ 17479 w 31371"/>
                <a:gd name="connsiteY2" fmla="*/ 0 h 31371"/>
                <a:gd name="connsiteX3" fmla="*/ 34957 w 31371"/>
                <a:gd name="connsiteY3" fmla="*/ 17479 h 31371"/>
                <a:gd name="connsiteX4" fmla="*/ 17479 w 31371"/>
                <a:gd name="connsiteY4" fmla="*/ 34957 h 31371"/>
                <a:gd name="connsiteX5" fmla="*/ 17479 w 31371"/>
                <a:gd name="connsiteY5" fmla="*/ 4930 h 31371"/>
                <a:gd name="connsiteX6" fmla="*/ 4482 w 31371"/>
                <a:gd name="connsiteY6" fmla="*/ 17927 h 31371"/>
                <a:gd name="connsiteX7" fmla="*/ 17479 w 31371"/>
                <a:gd name="connsiteY7" fmla="*/ 30924 h 31371"/>
                <a:gd name="connsiteX8" fmla="*/ 30475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8067" y="34957"/>
                    <a:pt x="0" y="27338"/>
                    <a:pt x="0" y="17479"/>
                  </a:cubicBezTo>
                  <a:cubicBezTo>
                    <a:pt x="0" y="8067"/>
                    <a:pt x="7619" y="0"/>
                    <a:pt x="17479" y="0"/>
                  </a:cubicBezTo>
                  <a:cubicBezTo>
                    <a:pt x="27338" y="0"/>
                    <a:pt x="34957" y="7619"/>
                    <a:pt x="34957" y="17479"/>
                  </a:cubicBezTo>
                  <a:cubicBezTo>
                    <a:pt x="34957" y="27338"/>
                    <a:pt x="26890" y="34957"/>
                    <a:pt x="17479" y="34957"/>
                  </a:cubicBezTo>
                  <a:close/>
                  <a:moveTo>
                    <a:pt x="17479" y="4930"/>
                  </a:moveTo>
                  <a:cubicBezTo>
                    <a:pt x="10308" y="4930"/>
                    <a:pt x="4482" y="10756"/>
                    <a:pt x="4482" y="17927"/>
                  </a:cubicBezTo>
                  <a:cubicBezTo>
                    <a:pt x="4482" y="25098"/>
                    <a:pt x="10308" y="30924"/>
                    <a:pt x="17479" y="30924"/>
                  </a:cubicBezTo>
                  <a:cubicBezTo>
                    <a:pt x="24649" y="30924"/>
                    <a:pt x="30475" y="25098"/>
                    <a:pt x="30475" y="17927"/>
                  </a:cubicBezTo>
                  <a:cubicBezTo>
                    <a:pt x="30475" y="10756"/>
                    <a:pt x="24649" y="4930"/>
                    <a:pt x="17479" y="4930"/>
                  </a:cubicBezTo>
                  <a:close/>
                </a:path>
              </a:pathLst>
            </a:custGeom>
            <a:solidFill>
              <a:srgbClr val="231F20"/>
            </a:solidFill>
            <a:ln w="4477" cap="flat">
              <a:noFill/>
              <a:prstDash val="solid"/>
              <a:miter/>
            </a:ln>
          </p:spPr>
          <p:txBody>
            <a:bodyPr rtlCol="0" anchor="ctr"/>
            <a:lstStyle/>
            <a:p>
              <a:endParaRPr lang="en-US"/>
            </a:p>
          </p:txBody>
        </p:sp>
      </p:grpSp>
      <p:grpSp>
        <p:nvGrpSpPr>
          <p:cNvPr id="2510" name="Group 2509">
            <a:extLst>
              <a:ext uri="{FF2B5EF4-FFF2-40B4-BE49-F238E27FC236}">
                <a16:creationId xmlns:a16="http://schemas.microsoft.com/office/drawing/2014/main" id="{D7BB43D3-3CB1-410F-B1D2-398763295837}"/>
              </a:ext>
              <a:ext uri="{C183D7F6-B498-43B3-948B-1728B52AA6E4}">
                <adec:decorative xmlns:adec="http://schemas.microsoft.com/office/drawing/2017/decorative" val="1"/>
              </a:ext>
            </a:extLst>
          </p:cNvPr>
          <p:cNvGrpSpPr>
            <a:grpSpLocks noChangeAspect="1"/>
          </p:cNvGrpSpPr>
          <p:nvPr/>
        </p:nvGrpSpPr>
        <p:grpSpPr>
          <a:xfrm>
            <a:off x="6423603" y="5204968"/>
            <a:ext cx="147896" cy="164809"/>
            <a:chOff x="6480103" y="3149277"/>
            <a:chExt cx="147896" cy="164809"/>
          </a:xfrm>
        </p:grpSpPr>
        <p:sp>
          <p:nvSpPr>
            <p:cNvPr id="5341" name="Freeform: Shape 5340">
              <a:extLst>
                <a:ext uri="{FF2B5EF4-FFF2-40B4-BE49-F238E27FC236}">
                  <a16:creationId xmlns:a16="http://schemas.microsoft.com/office/drawing/2014/main" id="{21CDEF18-6D9F-45AA-B9E8-32EC8ED03CA4}"/>
                </a:ext>
              </a:extLst>
            </p:cNvPr>
            <p:cNvSpPr/>
            <p:nvPr/>
          </p:nvSpPr>
          <p:spPr>
            <a:xfrm>
              <a:off x="6480103" y="3260306"/>
              <a:ext cx="147896" cy="53780"/>
            </a:xfrm>
            <a:custGeom>
              <a:avLst/>
              <a:gdLst>
                <a:gd name="connsiteX0" fmla="*/ 76189 w 147896"/>
                <a:gd name="connsiteY0" fmla="*/ 55241 h 53780"/>
                <a:gd name="connsiteX1" fmla="*/ 0 w 147896"/>
                <a:gd name="connsiteY1" fmla="*/ 26110 h 53780"/>
                <a:gd name="connsiteX2" fmla="*/ 42128 w 147896"/>
                <a:gd name="connsiteY2" fmla="*/ 117 h 53780"/>
                <a:gd name="connsiteX3" fmla="*/ 44817 w 147896"/>
                <a:gd name="connsiteY3" fmla="*/ 1909 h 53780"/>
                <a:gd name="connsiteX4" fmla="*/ 43024 w 147896"/>
                <a:gd name="connsiteY4" fmla="*/ 4598 h 53780"/>
                <a:gd name="connsiteX5" fmla="*/ 4482 w 147896"/>
                <a:gd name="connsiteY5" fmla="*/ 26559 h 53780"/>
                <a:gd name="connsiteX6" fmla="*/ 76189 w 147896"/>
                <a:gd name="connsiteY6" fmla="*/ 51208 h 53780"/>
                <a:gd name="connsiteX7" fmla="*/ 147896 w 147896"/>
                <a:gd name="connsiteY7" fmla="*/ 26559 h 53780"/>
                <a:gd name="connsiteX8" fmla="*/ 109354 w 147896"/>
                <a:gd name="connsiteY8" fmla="*/ 4598 h 53780"/>
                <a:gd name="connsiteX9" fmla="*/ 107561 w 147896"/>
                <a:gd name="connsiteY9" fmla="*/ 1909 h 53780"/>
                <a:gd name="connsiteX10" fmla="*/ 110250 w 147896"/>
                <a:gd name="connsiteY10" fmla="*/ 117 h 53780"/>
                <a:gd name="connsiteX11" fmla="*/ 152378 w 147896"/>
                <a:gd name="connsiteY11" fmla="*/ 26110 h 53780"/>
                <a:gd name="connsiteX12" fmla="*/ 76189 w 147896"/>
                <a:gd name="connsiteY12" fmla="*/ 55241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896" h="53780">
                  <a:moveTo>
                    <a:pt x="76189" y="55241"/>
                  </a:moveTo>
                  <a:cubicBezTo>
                    <a:pt x="33613" y="55241"/>
                    <a:pt x="0" y="42245"/>
                    <a:pt x="0" y="26110"/>
                  </a:cubicBezTo>
                  <a:cubicBezTo>
                    <a:pt x="0" y="14458"/>
                    <a:pt x="15686" y="5046"/>
                    <a:pt x="42128" y="117"/>
                  </a:cubicBezTo>
                  <a:cubicBezTo>
                    <a:pt x="43473" y="-332"/>
                    <a:pt x="44369" y="565"/>
                    <a:pt x="44817" y="1909"/>
                  </a:cubicBezTo>
                  <a:cubicBezTo>
                    <a:pt x="45265" y="3254"/>
                    <a:pt x="44369" y="4150"/>
                    <a:pt x="43024" y="4598"/>
                  </a:cubicBezTo>
                  <a:cubicBezTo>
                    <a:pt x="19719" y="9080"/>
                    <a:pt x="4482" y="17595"/>
                    <a:pt x="4482" y="26559"/>
                  </a:cubicBezTo>
                  <a:cubicBezTo>
                    <a:pt x="4482" y="38659"/>
                    <a:pt x="33165" y="51208"/>
                    <a:pt x="76189" y="51208"/>
                  </a:cubicBezTo>
                  <a:cubicBezTo>
                    <a:pt x="119213" y="51208"/>
                    <a:pt x="147896" y="38659"/>
                    <a:pt x="147896" y="26559"/>
                  </a:cubicBezTo>
                  <a:cubicBezTo>
                    <a:pt x="147896" y="17595"/>
                    <a:pt x="132658" y="9080"/>
                    <a:pt x="109354" y="4598"/>
                  </a:cubicBezTo>
                  <a:cubicBezTo>
                    <a:pt x="108009" y="4150"/>
                    <a:pt x="107113" y="3254"/>
                    <a:pt x="107561" y="1909"/>
                  </a:cubicBezTo>
                  <a:cubicBezTo>
                    <a:pt x="108009" y="565"/>
                    <a:pt x="108905" y="-332"/>
                    <a:pt x="110250" y="117"/>
                  </a:cubicBezTo>
                  <a:cubicBezTo>
                    <a:pt x="136692" y="5046"/>
                    <a:pt x="152378" y="14906"/>
                    <a:pt x="152378" y="26110"/>
                  </a:cubicBezTo>
                  <a:cubicBezTo>
                    <a:pt x="152378" y="42245"/>
                    <a:pt x="118765" y="55241"/>
                    <a:pt x="76189" y="55241"/>
                  </a:cubicBezTo>
                  <a:close/>
                </a:path>
              </a:pathLst>
            </a:custGeom>
            <a:solidFill>
              <a:srgbClr val="231F20"/>
            </a:solidFill>
            <a:ln w="4477" cap="flat">
              <a:noFill/>
              <a:prstDash val="solid"/>
              <a:miter/>
            </a:ln>
          </p:spPr>
          <p:txBody>
            <a:bodyPr rtlCol="0" anchor="ctr"/>
            <a:lstStyle/>
            <a:p>
              <a:endParaRPr lang="en-US"/>
            </a:p>
          </p:txBody>
        </p:sp>
        <p:sp>
          <p:nvSpPr>
            <p:cNvPr id="5342" name="Freeform: Shape 5341">
              <a:extLst>
                <a:ext uri="{FF2B5EF4-FFF2-40B4-BE49-F238E27FC236}">
                  <a16:creationId xmlns:a16="http://schemas.microsoft.com/office/drawing/2014/main" id="{02357714-8ED3-44DC-847F-B4527A5C3C4E}"/>
                </a:ext>
              </a:extLst>
            </p:cNvPr>
            <p:cNvSpPr/>
            <p:nvPr/>
          </p:nvSpPr>
          <p:spPr>
            <a:xfrm>
              <a:off x="6523128" y="3190060"/>
              <a:ext cx="62744" cy="98597"/>
            </a:xfrm>
            <a:custGeom>
              <a:avLst/>
              <a:gdLst>
                <a:gd name="connsiteX0" fmla="*/ 37646 w 62743"/>
                <a:gd name="connsiteY0" fmla="*/ 98597 h 98597"/>
                <a:gd name="connsiteX1" fmla="*/ 28235 w 62743"/>
                <a:gd name="connsiteY1" fmla="*/ 98597 h 98597"/>
                <a:gd name="connsiteX2" fmla="*/ 20168 w 62743"/>
                <a:gd name="connsiteY2" fmla="*/ 92323 h 98597"/>
                <a:gd name="connsiteX3" fmla="*/ 20168 w 62743"/>
                <a:gd name="connsiteY3" fmla="*/ 91427 h 98597"/>
                <a:gd name="connsiteX4" fmla="*/ 10308 w 62743"/>
                <a:gd name="connsiteY4" fmla="*/ 54229 h 98597"/>
                <a:gd name="connsiteX5" fmla="*/ 8963 w 62743"/>
                <a:gd name="connsiteY5" fmla="*/ 54229 h 98597"/>
                <a:gd name="connsiteX6" fmla="*/ 0 w 62743"/>
                <a:gd name="connsiteY6" fmla="*/ 46162 h 98597"/>
                <a:gd name="connsiteX7" fmla="*/ 0 w 62743"/>
                <a:gd name="connsiteY7" fmla="*/ 13893 h 98597"/>
                <a:gd name="connsiteX8" fmla="*/ 16134 w 62743"/>
                <a:gd name="connsiteY8" fmla="*/ 0 h 98597"/>
                <a:gd name="connsiteX9" fmla="*/ 50643 w 62743"/>
                <a:gd name="connsiteY9" fmla="*/ 0 h 98597"/>
                <a:gd name="connsiteX10" fmla="*/ 66777 w 62743"/>
                <a:gd name="connsiteY10" fmla="*/ 13893 h 98597"/>
                <a:gd name="connsiteX11" fmla="*/ 66777 w 62743"/>
                <a:gd name="connsiteY11" fmla="*/ 46162 h 98597"/>
                <a:gd name="connsiteX12" fmla="*/ 57814 w 62743"/>
                <a:gd name="connsiteY12" fmla="*/ 54229 h 98597"/>
                <a:gd name="connsiteX13" fmla="*/ 56469 w 62743"/>
                <a:gd name="connsiteY13" fmla="*/ 54229 h 98597"/>
                <a:gd name="connsiteX14" fmla="*/ 46610 w 62743"/>
                <a:gd name="connsiteY14" fmla="*/ 91875 h 98597"/>
                <a:gd name="connsiteX15" fmla="*/ 37646 w 62743"/>
                <a:gd name="connsiteY15" fmla="*/ 98597 h 98597"/>
                <a:gd name="connsiteX16" fmla="*/ 16134 w 62743"/>
                <a:gd name="connsiteY16" fmla="*/ 4482 h 98597"/>
                <a:gd name="connsiteX17" fmla="*/ 4482 w 62743"/>
                <a:gd name="connsiteY17" fmla="*/ 13893 h 98597"/>
                <a:gd name="connsiteX18" fmla="*/ 4482 w 62743"/>
                <a:gd name="connsiteY18" fmla="*/ 46162 h 98597"/>
                <a:gd name="connsiteX19" fmla="*/ 8963 w 62743"/>
                <a:gd name="connsiteY19" fmla="*/ 49747 h 98597"/>
                <a:gd name="connsiteX20" fmla="*/ 12101 w 62743"/>
                <a:gd name="connsiteY20" fmla="*/ 49747 h 98597"/>
                <a:gd name="connsiteX21" fmla="*/ 14341 w 62743"/>
                <a:gd name="connsiteY21" fmla="*/ 51540 h 98597"/>
                <a:gd name="connsiteX22" fmla="*/ 24649 w 62743"/>
                <a:gd name="connsiteY22" fmla="*/ 90082 h 98597"/>
                <a:gd name="connsiteX23" fmla="*/ 24649 w 62743"/>
                <a:gd name="connsiteY23" fmla="*/ 90979 h 98597"/>
                <a:gd name="connsiteX24" fmla="*/ 28683 w 62743"/>
                <a:gd name="connsiteY24" fmla="*/ 94116 h 98597"/>
                <a:gd name="connsiteX25" fmla="*/ 38094 w 62743"/>
                <a:gd name="connsiteY25" fmla="*/ 94116 h 98597"/>
                <a:gd name="connsiteX26" fmla="*/ 42128 w 62743"/>
                <a:gd name="connsiteY26" fmla="*/ 90979 h 98597"/>
                <a:gd name="connsiteX27" fmla="*/ 52436 w 62743"/>
                <a:gd name="connsiteY27" fmla="*/ 51540 h 98597"/>
                <a:gd name="connsiteX28" fmla="*/ 54677 w 62743"/>
                <a:gd name="connsiteY28" fmla="*/ 49747 h 98597"/>
                <a:gd name="connsiteX29" fmla="*/ 57366 w 62743"/>
                <a:gd name="connsiteY29" fmla="*/ 49747 h 98597"/>
                <a:gd name="connsiteX30" fmla="*/ 61847 w 62743"/>
                <a:gd name="connsiteY30" fmla="*/ 46162 h 98597"/>
                <a:gd name="connsiteX31" fmla="*/ 61847 w 62743"/>
                <a:gd name="connsiteY31" fmla="*/ 13893 h 98597"/>
                <a:gd name="connsiteX32" fmla="*/ 50195 w 62743"/>
                <a:gd name="connsiteY32" fmla="*/ 4482 h 98597"/>
                <a:gd name="connsiteX33" fmla="*/ 16134 w 62743"/>
                <a:gd name="connsiteY33" fmla="*/ 4482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743" h="98597">
                  <a:moveTo>
                    <a:pt x="37646" y="98597"/>
                  </a:moveTo>
                  <a:lnTo>
                    <a:pt x="28235" y="98597"/>
                  </a:lnTo>
                  <a:cubicBezTo>
                    <a:pt x="24201" y="98597"/>
                    <a:pt x="21064" y="95908"/>
                    <a:pt x="20168" y="92323"/>
                  </a:cubicBezTo>
                  <a:lnTo>
                    <a:pt x="20168" y="91427"/>
                  </a:lnTo>
                  <a:cubicBezTo>
                    <a:pt x="20168" y="90979"/>
                    <a:pt x="12549" y="61848"/>
                    <a:pt x="10308" y="54229"/>
                  </a:cubicBezTo>
                  <a:lnTo>
                    <a:pt x="8963" y="54229"/>
                  </a:lnTo>
                  <a:cubicBezTo>
                    <a:pt x="4034" y="54229"/>
                    <a:pt x="0" y="50643"/>
                    <a:pt x="0" y="46162"/>
                  </a:cubicBezTo>
                  <a:lnTo>
                    <a:pt x="0" y="13893"/>
                  </a:lnTo>
                  <a:cubicBezTo>
                    <a:pt x="0" y="6274"/>
                    <a:pt x="7171" y="0"/>
                    <a:pt x="16134" y="0"/>
                  </a:cubicBezTo>
                  <a:lnTo>
                    <a:pt x="50643" y="0"/>
                  </a:lnTo>
                  <a:cubicBezTo>
                    <a:pt x="59607" y="0"/>
                    <a:pt x="66777" y="6274"/>
                    <a:pt x="66777" y="13893"/>
                  </a:cubicBezTo>
                  <a:lnTo>
                    <a:pt x="66777" y="46162"/>
                  </a:lnTo>
                  <a:cubicBezTo>
                    <a:pt x="66777" y="50643"/>
                    <a:pt x="62744" y="54229"/>
                    <a:pt x="57814" y="54229"/>
                  </a:cubicBezTo>
                  <a:lnTo>
                    <a:pt x="56469" y="54229"/>
                  </a:lnTo>
                  <a:lnTo>
                    <a:pt x="46610" y="91875"/>
                  </a:lnTo>
                  <a:cubicBezTo>
                    <a:pt x="44817" y="95908"/>
                    <a:pt x="41680" y="98597"/>
                    <a:pt x="37646" y="98597"/>
                  </a:cubicBezTo>
                  <a:close/>
                  <a:moveTo>
                    <a:pt x="16134" y="4482"/>
                  </a:moveTo>
                  <a:cubicBezTo>
                    <a:pt x="9860" y="4482"/>
                    <a:pt x="4482" y="8963"/>
                    <a:pt x="4482" y="13893"/>
                  </a:cubicBezTo>
                  <a:lnTo>
                    <a:pt x="4482" y="46162"/>
                  </a:lnTo>
                  <a:cubicBezTo>
                    <a:pt x="4482" y="47954"/>
                    <a:pt x="6723" y="49747"/>
                    <a:pt x="8963" y="49747"/>
                  </a:cubicBezTo>
                  <a:lnTo>
                    <a:pt x="12101" y="49747"/>
                  </a:lnTo>
                  <a:cubicBezTo>
                    <a:pt x="12997" y="49747"/>
                    <a:pt x="13893" y="50643"/>
                    <a:pt x="14341" y="51540"/>
                  </a:cubicBezTo>
                  <a:cubicBezTo>
                    <a:pt x="14341" y="52436"/>
                    <a:pt x="23753" y="87841"/>
                    <a:pt x="24649" y="90082"/>
                  </a:cubicBezTo>
                  <a:lnTo>
                    <a:pt x="24649" y="90979"/>
                  </a:lnTo>
                  <a:cubicBezTo>
                    <a:pt x="25098" y="92771"/>
                    <a:pt x="26890" y="94116"/>
                    <a:pt x="28683" y="94116"/>
                  </a:cubicBezTo>
                  <a:lnTo>
                    <a:pt x="38094" y="94116"/>
                  </a:lnTo>
                  <a:cubicBezTo>
                    <a:pt x="39887" y="94116"/>
                    <a:pt x="41680" y="92771"/>
                    <a:pt x="42128" y="90979"/>
                  </a:cubicBezTo>
                  <a:lnTo>
                    <a:pt x="52436" y="51540"/>
                  </a:lnTo>
                  <a:cubicBezTo>
                    <a:pt x="52884" y="50643"/>
                    <a:pt x="53780" y="49747"/>
                    <a:pt x="54677" y="49747"/>
                  </a:cubicBezTo>
                  <a:lnTo>
                    <a:pt x="57366" y="49747"/>
                  </a:lnTo>
                  <a:cubicBezTo>
                    <a:pt x="60055" y="49747"/>
                    <a:pt x="61847" y="47954"/>
                    <a:pt x="61847" y="46162"/>
                  </a:cubicBezTo>
                  <a:lnTo>
                    <a:pt x="61847" y="13893"/>
                  </a:lnTo>
                  <a:cubicBezTo>
                    <a:pt x="61847" y="8515"/>
                    <a:pt x="56469" y="4482"/>
                    <a:pt x="50195" y="4482"/>
                  </a:cubicBezTo>
                  <a:lnTo>
                    <a:pt x="16134" y="4482"/>
                  </a:lnTo>
                  <a:close/>
                </a:path>
              </a:pathLst>
            </a:custGeom>
            <a:solidFill>
              <a:srgbClr val="231F20"/>
            </a:solidFill>
            <a:ln w="4477" cap="flat">
              <a:noFill/>
              <a:prstDash val="solid"/>
              <a:miter/>
            </a:ln>
          </p:spPr>
          <p:txBody>
            <a:bodyPr rtlCol="0" anchor="ctr"/>
            <a:lstStyle/>
            <a:p>
              <a:endParaRPr lang="en-US"/>
            </a:p>
          </p:txBody>
        </p:sp>
        <p:sp>
          <p:nvSpPr>
            <p:cNvPr id="5343" name="Freeform: Shape 5342">
              <a:extLst>
                <a:ext uri="{FF2B5EF4-FFF2-40B4-BE49-F238E27FC236}">
                  <a16:creationId xmlns:a16="http://schemas.microsoft.com/office/drawing/2014/main" id="{C2AB42FC-4DE4-4CB0-8DD2-588F982B16F9}"/>
                </a:ext>
              </a:extLst>
            </p:cNvPr>
            <p:cNvSpPr/>
            <p:nvPr/>
          </p:nvSpPr>
          <p:spPr>
            <a:xfrm>
              <a:off x="6538814" y="3149277"/>
              <a:ext cx="31372" cy="31372"/>
            </a:xfrm>
            <a:custGeom>
              <a:avLst/>
              <a:gdLst>
                <a:gd name="connsiteX0" fmla="*/ 17479 w 31371"/>
                <a:gd name="connsiteY0" fmla="*/ 34957 h 31371"/>
                <a:gd name="connsiteX1" fmla="*/ 0 w 31371"/>
                <a:gd name="connsiteY1" fmla="*/ 17479 h 31371"/>
                <a:gd name="connsiteX2" fmla="*/ 17479 w 31371"/>
                <a:gd name="connsiteY2" fmla="*/ 0 h 31371"/>
                <a:gd name="connsiteX3" fmla="*/ 34957 w 31371"/>
                <a:gd name="connsiteY3" fmla="*/ 17479 h 31371"/>
                <a:gd name="connsiteX4" fmla="*/ 17479 w 31371"/>
                <a:gd name="connsiteY4" fmla="*/ 34957 h 31371"/>
                <a:gd name="connsiteX5" fmla="*/ 17479 w 31371"/>
                <a:gd name="connsiteY5" fmla="*/ 4930 h 31371"/>
                <a:gd name="connsiteX6" fmla="*/ 4482 w 31371"/>
                <a:gd name="connsiteY6" fmla="*/ 17927 h 31371"/>
                <a:gd name="connsiteX7" fmla="*/ 17479 w 31371"/>
                <a:gd name="connsiteY7" fmla="*/ 30924 h 31371"/>
                <a:gd name="connsiteX8" fmla="*/ 30476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8067" y="34957"/>
                    <a:pt x="0" y="27338"/>
                    <a:pt x="0" y="17479"/>
                  </a:cubicBezTo>
                  <a:cubicBezTo>
                    <a:pt x="0" y="8067"/>
                    <a:pt x="7619" y="0"/>
                    <a:pt x="17479" y="0"/>
                  </a:cubicBezTo>
                  <a:cubicBezTo>
                    <a:pt x="26890" y="0"/>
                    <a:pt x="34957" y="7619"/>
                    <a:pt x="34957" y="17479"/>
                  </a:cubicBezTo>
                  <a:cubicBezTo>
                    <a:pt x="34957" y="27338"/>
                    <a:pt x="26890" y="34957"/>
                    <a:pt x="17479" y="34957"/>
                  </a:cubicBezTo>
                  <a:close/>
                  <a:moveTo>
                    <a:pt x="17479" y="4930"/>
                  </a:moveTo>
                  <a:cubicBezTo>
                    <a:pt x="10308" y="4930"/>
                    <a:pt x="4482" y="10756"/>
                    <a:pt x="4482" y="17927"/>
                  </a:cubicBezTo>
                  <a:cubicBezTo>
                    <a:pt x="4482" y="25098"/>
                    <a:pt x="10308" y="30924"/>
                    <a:pt x="17479" y="30924"/>
                  </a:cubicBezTo>
                  <a:cubicBezTo>
                    <a:pt x="24649" y="30924"/>
                    <a:pt x="30476" y="25098"/>
                    <a:pt x="30476" y="17927"/>
                  </a:cubicBezTo>
                  <a:cubicBezTo>
                    <a:pt x="30476" y="10756"/>
                    <a:pt x="24649" y="4930"/>
                    <a:pt x="17479" y="4930"/>
                  </a:cubicBezTo>
                  <a:close/>
                </a:path>
              </a:pathLst>
            </a:custGeom>
            <a:solidFill>
              <a:srgbClr val="231F20"/>
            </a:solidFill>
            <a:ln w="4477" cap="flat">
              <a:noFill/>
              <a:prstDash val="solid"/>
              <a:miter/>
            </a:ln>
          </p:spPr>
          <p:txBody>
            <a:bodyPr rtlCol="0" anchor="ctr"/>
            <a:lstStyle/>
            <a:p>
              <a:endParaRPr lang="en-US"/>
            </a:p>
          </p:txBody>
        </p:sp>
      </p:grpSp>
      <p:grpSp>
        <p:nvGrpSpPr>
          <p:cNvPr id="2511" name="Group 2510">
            <a:extLst>
              <a:ext uri="{FF2B5EF4-FFF2-40B4-BE49-F238E27FC236}">
                <a16:creationId xmlns:a16="http://schemas.microsoft.com/office/drawing/2014/main" id="{62864B91-8B98-437A-AFCE-C33BF79B7EDE}"/>
              </a:ext>
              <a:ext uri="{C183D7F6-B498-43B3-948B-1728B52AA6E4}">
                <adec:decorative xmlns:adec="http://schemas.microsoft.com/office/drawing/2017/decorative" val="1"/>
              </a:ext>
            </a:extLst>
          </p:cNvPr>
          <p:cNvGrpSpPr>
            <a:grpSpLocks noChangeAspect="1"/>
          </p:cNvGrpSpPr>
          <p:nvPr/>
        </p:nvGrpSpPr>
        <p:grpSpPr>
          <a:xfrm>
            <a:off x="7483974" y="5260541"/>
            <a:ext cx="152378" cy="78430"/>
            <a:chOff x="7540474" y="3204850"/>
            <a:chExt cx="152378" cy="78430"/>
          </a:xfrm>
        </p:grpSpPr>
        <p:sp>
          <p:nvSpPr>
            <p:cNvPr id="5337" name="Freeform: Shape 5336">
              <a:extLst>
                <a:ext uri="{FF2B5EF4-FFF2-40B4-BE49-F238E27FC236}">
                  <a16:creationId xmlns:a16="http://schemas.microsoft.com/office/drawing/2014/main" id="{16B014FE-B5FA-462B-9B60-9C31E5AA9F30}"/>
                </a:ext>
              </a:extLst>
            </p:cNvPr>
            <p:cNvSpPr/>
            <p:nvPr/>
          </p:nvSpPr>
          <p:spPr>
            <a:xfrm>
              <a:off x="7553919" y="3204850"/>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2" y="26890"/>
                    <a:pt x="4482" y="21960"/>
                    <a:pt x="4482" y="15686"/>
                  </a:cubicBezTo>
                  <a:cubicBezTo>
                    <a:pt x="4482" y="9411"/>
                    <a:pt x="9412" y="4482"/>
                    <a:pt x="15686" y="4482"/>
                  </a:cubicBezTo>
                  <a:close/>
                </a:path>
              </a:pathLst>
            </a:custGeom>
            <a:solidFill>
              <a:srgbClr val="231F20"/>
            </a:solidFill>
            <a:ln w="4477" cap="flat">
              <a:noFill/>
              <a:prstDash val="solid"/>
              <a:miter/>
            </a:ln>
          </p:spPr>
          <p:txBody>
            <a:bodyPr rtlCol="0" anchor="ctr"/>
            <a:lstStyle/>
            <a:p>
              <a:endParaRPr lang="en-US"/>
            </a:p>
          </p:txBody>
        </p:sp>
        <p:sp>
          <p:nvSpPr>
            <p:cNvPr id="5338" name="Freeform: Shape 5337">
              <a:extLst>
                <a:ext uri="{FF2B5EF4-FFF2-40B4-BE49-F238E27FC236}">
                  <a16:creationId xmlns:a16="http://schemas.microsoft.com/office/drawing/2014/main" id="{23577FFD-73F7-499A-8D7F-5F5A14A5D709}"/>
                </a:ext>
              </a:extLst>
            </p:cNvPr>
            <p:cNvSpPr/>
            <p:nvPr/>
          </p:nvSpPr>
          <p:spPr>
            <a:xfrm>
              <a:off x="7648035" y="3204850"/>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1" y="26890"/>
                    <a:pt x="4482" y="21960"/>
                    <a:pt x="4482" y="15686"/>
                  </a:cubicBezTo>
                  <a:cubicBezTo>
                    <a:pt x="4482" y="9411"/>
                    <a:pt x="9411" y="4482"/>
                    <a:pt x="15686" y="4482"/>
                  </a:cubicBezTo>
                  <a:close/>
                </a:path>
              </a:pathLst>
            </a:custGeom>
            <a:solidFill>
              <a:srgbClr val="231F20"/>
            </a:solidFill>
            <a:ln w="4477" cap="flat">
              <a:noFill/>
              <a:prstDash val="solid"/>
              <a:miter/>
            </a:ln>
          </p:spPr>
          <p:txBody>
            <a:bodyPr rtlCol="0" anchor="ctr"/>
            <a:lstStyle/>
            <a:p>
              <a:endParaRPr lang="en-US"/>
            </a:p>
          </p:txBody>
        </p:sp>
        <p:sp>
          <p:nvSpPr>
            <p:cNvPr id="5339" name="Freeform: Shape 5338">
              <a:extLst>
                <a:ext uri="{FF2B5EF4-FFF2-40B4-BE49-F238E27FC236}">
                  <a16:creationId xmlns:a16="http://schemas.microsoft.com/office/drawing/2014/main" id="{2FBC440E-A3BE-4794-9635-2208C26C8BF0}"/>
                </a:ext>
              </a:extLst>
            </p:cNvPr>
            <p:cNvSpPr/>
            <p:nvPr/>
          </p:nvSpPr>
          <p:spPr>
            <a:xfrm>
              <a:off x="7540474" y="3238463"/>
              <a:ext cx="152378" cy="44817"/>
            </a:xfrm>
            <a:custGeom>
              <a:avLst/>
              <a:gdLst>
                <a:gd name="connsiteX0" fmla="*/ 136692 w 152377"/>
                <a:gd name="connsiteY0" fmla="*/ 0 h 44817"/>
                <a:gd name="connsiteX1" fmla="*/ 109802 w 152377"/>
                <a:gd name="connsiteY1" fmla="*/ 0 h 44817"/>
                <a:gd name="connsiteX2" fmla="*/ 95908 w 152377"/>
                <a:gd name="connsiteY2" fmla="*/ 8067 h 44817"/>
                <a:gd name="connsiteX3" fmla="*/ 89634 w 152377"/>
                <a:gd name="connsiteY3" fmla="*/ 6723 h 44817"/>
                <a:gd name="connsiteX4" fmla="*/ 62744 w 152377"/>
                <a:gd name="connsiteY4" fmla="*/ 6723 h 44817"/>
                <a:gd name="connsiteX5" fmla="*/ 56469 w 152377"/>
                <a:gd name="connsiteY5" fmla="*/ 8067 h 44817"/>
                <a:gd name="connsiteX6" fmla="*/ 42576 w 152377"/>
                <a:gd name="connsiteY6" fmla="*/ 0 h 44817"/>
                <a:gd name="connsiteX7" fmla="*/ 15686 w 152377"/>
                <a:gd name="connsiteY7" fmla="*/ 0 h 44817"/>
                <a:gd name="connsiteX8" fmla="*/ 0 w 152377"/>
                <a:gd name="connsiteY8" fmla="*/ 15686 h 44817"/>
                <a:gd name="connsiteX9" fmla="*/ 0 w 152377"/>
                <a:gd name="connsiteY9" fmla="*/ 29579 h 44817"/>
                <a:gd name="connsiteX10" fmla="*/ 8515 w 152377"/>
                <a:gd name="connsiteY10" fmla="*/ 38094 h 44817"/>
                <a:gd name="connsiteX11" fmla="*/ 47506 w 152377"/>
                <a:gd name="connsiteY11" fmla="*/ 38094 h 44817"/>
                <a:gd name="connsiteX12" fmla="*/ 55573 w 152377"/>
                <a:gd name="connsiteY12" fmla="*/ 44817 h 44817"/>
                <a:gd name="connsiteX13" fmla="*/ 97253 w 152377"/>
                <a:gd name="connsiteY13" fmla="*/ 44817 h 44817"/>
                <a:gd name="connsiteX14" fmla="*/ 105320 w 152377"/>
                <a:gd name="connsiteY14" fmla="*/ 38094 h 44817"/>
                <a:gd name="connsiteX15" fmla="*/ 144311 w 152377"/>
                <a:gd name="connsiteY15" fmla="*/ 38094 h 44817"/>
                <a:gd name="connsiteX16" fmla="*/ 152826 w 152377"/>
                <a:gd name="connsiteY16" fmla="*/ 29579 h 44817"/>
                <a:gd name="connsiteX17" fmla="*/ 152826 w 152377"/>
                <a:gd name="connsiteY17" fmla="*/ 15686 h 44817"/>
                <a:gd name="connsiteX18" fmla="*/ 136692 w 152377"/>
                <a:gd name="connsiteY18" fmla="*/ 0 h 44817"/>
                <a:gd name="connsiteX19" fmla="*/ 4482 w 152377"/>
                <a:gd name="connsiteY19" fmla="*/ 29579 h 44817"/>
                <a:gd name="connsiteX20" fmla="*/ 4482 w 152377"/>
                <a:gd name="connsiteY20" fmla="*/ 15686 h 44817"/>
                <a:gd name="connsiteX21" fmla="*/ 15686 w 152377"/>
                <a:gd name="connsiteY21" fmla="*/ 4482 h 44817"/>
                <a:gd name="connsiteX22" fmla="*/ 42576 w 152377"/>
                <a:gd name="connsiteY22" fmla="*/ 4482 h 44817"/>
                <a:gd name="connsiteX23" fmla="*/ 52436 w 152377"/>
                <a:gd name="connsiteY23" fmla="*/ 10756 h 44817"/>
                <a:gd name="connsiteX24" fmla="*/ 47058 w 152377"/>
                <a:gd name="connsiteY24" fmla="*/ 22409 h 44817"/>
                <a:gd name="connsiteX25" fmla="*/ 47058 w 152377"/>
                <a:gd name="connsiteY25" fmla="*/ 33613 h 44817"/>
                <a:gd name="connsiteX26" fmla="*/ 8515 w 152377"/>
                <a:gd name="connsiteY26" fmla="*/ 33613 h 44817"/>
                <a:gd name="connsiteX27" fmla="*/ 4482 w 152377"/>
                <a:gd name="connsiteY27" fmla="*/ 29579 h 44817"/>
                <a:gd name="connsiteX28" fmla="*/ 100838 w 152377"/>
                <a:gd name="connsiteY28" fmla="*/ 36302 h 44817"/>
                <a:gd name="connsiteX29" fmla="*/ 96805 w 152377"/>
                <a:gd name="connsiteY29" fmla="*/ 40335 h 44817"/>
                <a:gd name="connsiteX30" fmla="*/ 55125 w 152377"/>
                <a:gd name="connsiteY30" fmla="*/ 40335 h 44817"/>
                <a:gd name="connsiteX31" fmla="*/ 51091 w 152377"/>
                <a:gd name="connsiteY31" fmla="*/ 36302 h 44817"/>
                <a:gd name="connsiteX32" fmla="*/ 51091 w 152377"/>
                <a:gd name="connsiteY32" fmla="*/ 22409 h 44817"/>
                <a:gd name="connsiteX33" fmla="*/ 62296 w 152377"/>
                <a:gd name="connsiteY33" fmla="*/ 11204 h 44817"/>
                <a:gd name="connsiteX34" fmla="*/ 89186 w 152377"/>
                <a:gd name="connsiteY34" fmla="*/ 11204 h 44817"/>
                <a:gd name="connsiteX35" fmla="*/ 100390 w 152377"/>
                <a:gd name="connsiteY35" fmla="*/ 22409 h 44817"/>
                <a:gd name="connsiteX36" fmla="*/ 100390 w 152377"/>
                <a:gd name="connsiteY36" fmla="*/ 36302 h 44817"/>
                <a:gd name="connsiteX37" fmla="*/ 147896 w 152377"/>
                <a:gd name="connsiteY37" fmla="*/ 29579 h 44817"/>
                <a:gd name="connsiteX38" fmla="*/ 143863 w 152377"/>
                <a:gd name="connsiteY38" fmla="*/ 33613 h 44817"/>
                <a:gd name="connsiteX39" fmla="*/ 105320 w 152377"/>
                <a:gd name="connsiteY39" fmla="*/ 33613 h 44817"/>
                <a:gd name="connsiteX40" fmla="*/ 105320 w 152377"/>
                <a:gd name="connsiteY40" fmla="*/ 22409 h 44817"/>
                <a:gd name="connsiteX41" fmla="*/ 99942 w 152377"/>
                <a:gd name="connsiteY41" fmla="*/ 10756 h 44817"/>
                <a:gd name="connsiteX42" fmla="*/ 109802 w 152377"/>
                <a:gd name="connsiteY42" fmla="*/ 4482 h 44817"/>
                <a:gd name="connsiteX43" fmla="*/ 136692 w 152377"/>
                <a:gd name="connsiteY43" fmla="*/ 4482 h 44817"/>
                <a:gd name="connsiteX44" fmla="*/ 147896 w 152377"/>
                <a:gd name="connsiteY44" fmla="*/ 15686 h 44817"/>
                <a:gd name="connsiteX45" fmla="*/ 147896 w 152377"/>
                <a:gd name="connsiteY45" fmla="*/ 29579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52377" h="44817">
                  <a:moveTo>
                    <a:pt x="136692" y="0"/>
                  </a:moveTo>
                  <a:lnTo>
                    <a:pt x="109802" y="0"/>
                  </a:lnTo>
                  <a:cubicBezTo>
                    <a:pt x="103975" y="0"/>
                    <a:pt x="98598" y="3137"/>
                    <a:pt x="95908" y="8067"/>
                  </a:cubicBezTo>
                  <a:cubicBezTo>
                    <a:pt x="94116" y="7171"/>
                    <a:pt x="91875" y="6723"/>
                    <a:pt x="89634" y="6723"/>
                  </a:cubicBezTo>
                  <a:lnTo>
                    <a:pt x="62744" y="6723"/>
                  </a:lnTo>
                  <a:cubicBezTo>
                    <a:pt x="60503" y="6723"/>
                    <a:pt x="58262" y="7171"/>
                    <a:pt x="56469" y="8067"/>
                  </a:cubicBezTo>
                  <a:cubicBezTo>
                    <a:pt x="53780" y="3137"/>
                    <a:pt x="48402" y="0"/>
                    <a:pt x="42576" y="0"/>
                  </a:cubicBezTo>
                  <a:lnTo>
                    <a:pt x="15686" y="0"/>
                  </a:lnTo>
                  <a:cubicBezTo>
                    <a:pt x="7171" y="0"/>
                    <a:pt x="0" y="7171"/>
                    <a:pt x="0" y="15686"/>
                  </a:cubicBezTo>
                  <a:lnTo>
                    <a:pt x="0" y="29579"/>
                  </a:lnTo>
                  <a:cubicBezTo>
                    <a:pt x="0" y="34061"/>
                    <a:pt x="3585" y="38094"/>
                    <a:pt x="8515" y="38094"/>
                  </a:cubicBezTo>
                  <a:lnTo>
                    <a:pt x="47506" y="38094"/>
                  </a:lnTo>
                  <a:cubicBezTo>
                    <a:pt x="48402" y="42128"/>
                    <a:pt x="51540" y="44817"/>
                    <a:pt x="55573" y="44817"/>
                  </a:cubicBezTo>
                  <a:lnTo>
                    <a:pt x="97253" y="44817"/>
                  </a:lnTo>
                  <a:cubicBezTo>
                    <a:pt x="101286" y="44817"/>
                    <a:pt x="104872" y="42128"/>
                    <a:pt x="105320" y="38094"/>
                  </a:cubicBezTo>
                  <a:lnTo>
                    <a:pt x="144311" y="38094"/>
                  </a:lnTo>
                  <a:cubicBezTo>
                    <a:pt x="148792" y="38094"/>
                    <a:pt x="152826" y="34509"/>
                    <a:pt x="152826" y="29579"/>
                  </a:cubicBezTo>
                  <a:lnTo>
                    <a:pt x="152826" y="15686"/>
                  </a:lnTo>
                  <a:cubicBezTo>
                    <a:pt x="152378" y="7171"/>
                    <a:pt x="145207" y="0"/>
                    <a:pt x="136692" y="0"/>
                  </a:cubicBezTo>
                  <a:close/>
                  <a:moveTo>
                    <a:pt x="4482" y="29579"/>
                  </a:moveTo>
                  <a:lnTo>
                    <a:pt x="4482" y="15686"/>
                  </a:lnTo>
                  <a:cubicBezTo>
                    <a:pt x="4482" y="9411"/>
                    <a:pt x="9412" y="4482"/>
                    <a:pt x="15686" y="4482"/>
                  </a:cubicBezTo>
                  <a:lnTo>
                    <a:pt x="42576" y="4482"/>
                  </a:lnTo>
                  <a:cubicBezTo>
                    <a:pt x="46610" y="4482"/>
                    <a:pt x="50643" y="6723"/>
                    <a:pt x="52436" y="10756"/>
                  </a:cubicBezTo>
                  <a:cubicBezTo>
                    <a:pt x="49299" y="13445"/>
                    <a:pt x="47058" y="17927"/>
                    <a:pt x="47058" y="22409"/>
                  </a:cubicBezTo>
                  <a:lnTo>
                    <a:pt x="47058" y="33613"/>
                  </a:lnTo>
                  <a:lnTo>
                    <a:pt x="8515" y="33613"/>
                  </a:lnTo>
                  <a:cubicBezTo>
                    <a:pt x="6274" y="33613"/>
                    <a:pt x="4482" y="31820"/>
                    <a:pt x="4482" y="29579"/>
                  </a:cubicBezTo>
                  <a:close/>
                  <a:moveTo>
                    <a:pt x="100838" y="36302"/>
                  </a:moveTo>
                  <a:cubicBezTo>
                    <a:pt x="100838" y="38543"/>
                    <a:pt x="99046" y="40335"/>
                    <a:pt x="96805" y="40335"/>
                  </a:cubicBezTo>
                  <a:lnTo>
                    <a:pt x="55125" y="40335"/>
                  </a:lnTo>
                  <a:cubicBezTo>
                    <a:pt x="52884" y="40335"/>
                    <a:pt x="51091" y="38543"/>
                    <a:pt x="51091" y="36302"/>
                  </a:cubicBezTo>
                  <a:lnTo>
                    <a:pt x="51091" y="22409"/>
                  </a:lnTo>
                  <a:cubicBezTo>
                    <a:pt x="51091" y="16134"/>
                    <a:pt x="56021" y="11204"/>
                    <a:pt x="62296" y="11204"/>
                  </a:cubicBezTo>
                  <a:lnTo>
                    <a:pt x="89186" y="11204"/>
                  </a:lnTo>
                  <a:cubicBezTo>
                    <a:pt x="95460" y="11204"/>
                    <a:pt x="100390" y="16134"/>
                    <a:pt x="100390" y="22409"/>
                  </a:cubicBezTo>
                  <a:lnTo>
                    <a:pt x="100390" y="36302"/>
                  </a:lnTo>
                  <a:close/>
                  <a:moveTo>
                    <a:pt x="147896" y="29579"/>
                  </a:moveTo>
                  <a:cubicBezTo>
                    <a:pt x="147896" y="31820"/>
                    <a:pt x="146103" y="33613"/>
                    <a:pt x="143863" y="33613"/>
                  </a:cubicBezTo>
                  <a:lnTo>
                    <a:pt x="105320" y="33613"/>
                  </a:lnTo>
                  <a:lnTo>
                    <a:pt x="105320" y="22409"/>
                  </a:lnTo>
                  <a:cubicBezTo>
                    <a:pt x="105320" y="17479"/>
                    <a:pt x="103079" y="13445"/>
                    <a:pt x="99942" y="10756"/>
                  </a:cubicBezTo>
                  <a:cubicBezTo>
                    <a:pt x="101735" y="7171"/>
                    <a:pt x="105768" y="4482"/>
                    <a:pt x="109802" y="4482"/>
                  </a:cubicBezTo>
                  <a:lnTo>
                    <a:pt x="136692" y="4482"/>
                  </a:lnTo>
                  <a:cubicBezTo>
                    <a:pt x="142966" y="4482"/>
                    <a:pt x="147896" y="9411"/>
                    <a:pt x="147896" y="15686"/>
                  </a:cubicBezTo>
                  <a:lnTo>
                    <a:pt x="147896" y="29579"/>
                  </a:lnTo>
                  <a:close/>
                </a:path>
              </a:pathLst>
            </a:custGeom>
            <a:solidFill>
              <a:srgbClr val="231F20"/>
            </a:solidFill>
            <a:ln w="4477" cap="flat">
              <a:noFill/>
              <a:prstDash val="solid"/>
              <a:miter/>
            </a:ln>
          </p:spPr>
          <p:txBody>
            <a:bodyPr rtlCol="0" anchor="ctr"/>
            <a:lstStyle/>
            <a:p>
              <a:endParaRPr lang="en-US"/>
            </a:p>
          </p:txBody>
        </p:sp>
        <p:sp>
          <p:nvSpPr>
            <p:cNvPr id="5340" name="Freeform: Shape 5339">
              <a:extLst>
                <a:ext uri="{FF2B5EF4-FFF2-40B4-BE49-F238E27FC236}">
                  <a16:creationId xmlns:a16="http://schemas.microsoft.com/office/drawing/2014/main" id="{A1E6EF20-E344-4B22-92BF-BBDC62593B5E}"/>
                </a:ext>
              </a:extLst>
            </p:cNvPr>
            <p:cNvSpPr/>
            <p:nvPr/>
          </p:nvSpPr>
          <p:spPr>
            <a:xfrm>
              <a:off x="7600977" y="3211572"/>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2" y="26890"/>
                    <a:pt x="4482" y="21960"/>
                    <a:pt x="4482" y="15686"/>
                  </a:cubicBezTo>
                  <a:cubicBezTo>
                    <a:pt x="4482" y="9411"/>
                    <a:pt x="9412" y="4482"/>
                    <a:pt x="15686" y="4482"/>
                  </a:cubicBezTo>
                  <a:close/>
                </a:path>
              </a:pathLst>
            </a:custGeom>
            <a:solidFill>
              <a:srgbClr val="231F20"/>
            </a:solidFill>
            <a:ln w="4477" cap="flat">
              <a:noFill/>
              <a:prstDash val="solid"/>
              <a:miter/>
            </a:ln>
          </p:spPr>
          <p:txBody>
            <a:bodyPr rtlCol="0" anchor="ctr"/>
            <a:lstStyle/>
            <a:p>
              <a:endParaRPr lang="en-US"/>
            </a:p>
          </p:txBody>
        </p:sp>
      </p:grpSp>
      <p:grpSp>
        <p:nvGrpSpPr>
          <p:cNvPr id="2512" name="Group 2511">
            <a:extLst>
              <a:ext uri="{FF2B5EF4-FFF2-40B4-BE49-F238E27FC236}">
                <a16:creationId xmlns:a16="http://schemas.microsoft.com/office/drawing/2014/main" id="{BB94D4B6-7DAE-4A6E-8222-B778B3806DD7}"/>
              </a:ext>
              <a:ext uri="{C183D7F6-B498-43B3-948B-1728B52AA6E4}">
                <adec:decorative xmlns:adec="http://schemas.microsoft.com/office/drawing/2017/decorative" val="1"/>
              </a:ext>
            </a:extLst>
          </p:cNvPr>
          <p:cNvGrpSpPr>
            <a:grpSpLocks noChangeAspect="1"/>
          </p:cNvGrpSpPr>
          <p:nvPr/>
        </p:nvGrpSpPr>
        <p:grpSpPr>
          <a:xfrm>
            <a:off x="8804283" y="5566641"/>
            <a:ext cx="125488" cy="146103"/>
            <a:chOff x="8860783" y="3510950"/>
            <a:chExt cx="125488" cy="146103"/>
          </a:xfrm>
        </p:grpSpPr>
        <p:sp>
          <p:nvSpPr>
            <p:cNvPr id="5335" name="Freeform: Shape 5334">
              <a:extLst>
                <a:ext uri="{FF2B5EF4-FFF2-40B4-BE49-F238E27FC236}">
                  <a16:creationId xmlns:a16="http://schemas.microsoft.com/office/drawing/2014/main" id="{135C9287-31E7-49C5-AB53-A438B2301949}"/>
                </a:ext>
              </a:extLst>
            </p:cNvPr>
            <p:cNvSpPr/>
            <p:nvPr/>
          </p:nvSpPr>
          <p:spPr>
            <a:xfrm>
              <a:off x="8889914"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5336" name="Freeform: Shape 5335">
              <a:extLst>
                <a:ext uri="{FF2B5EF4-FFF2-40B4-BE49-F238E27FC236}">
                  <a16:creationId xmlns:a16="http://schemas.microsoft.com/office/drawing/2014/main" id="{8AD1DAF2-574D-4AAF-900A-9239BCC3A85D}"/>
                </a:ext>
              </a:extLst>
            </p:cNvPr>
            <p:cNvSpPr/>
            <p:nvPr/>
          </p:nvSpPr>
          <p:spPr>
            <a:xfrm>
              <a:off x="8860783" y="3585346"/>
              <a:ext cx="125488" cy="71707"/>
            </a:xfrm>
            <a:custGeom>
              <a:avLst/>
              <a:gdLst>
                <a:gd name="connsiteX0" fmla="*/ 111594 w 125487"/>
                <a:gd name="connsiteY0" fmla="*/ 73948 h 71707"/>
                <a:gd name="connsiteX1" fmla="*/ 13893 w 125487"/>
                <a:gd name="connsiteY1" fmla="*/ 73948 h 71707"/>
                <a:gd name="connsiteX2" fmla="*/ 0 w 125487"/>
                <a:gd name="connsiteY2" fmla="*/ 60055 h 71707"/>
                <a:gd name="connsiteX3" fmla="*/ 0 w 125487"/>
                <a:gd name="connsiteY3" fmla="*/ 40335 h 71707"/>
                <a:gd name="connsiteX4" fmla="*/ 40335 w 125487"/>
                <a:gd name="connsiteY4" fmla="*/ 0 h 71707"/>
                <a:gd name="connsiteX5" fmla="*/ 85152 w 125487"/>
                <a:gd name="connsiteY5" fmla="*/ 0 h 71707"/>
                <a:gd name="connsiteX6" fmla="*/ 125488 w 125487"/>
                <a:gd name="connsiteY6" fmla="*/ 40335 h 71707"/>
                <a:gd name="connsiteX7" fmla="*/ 125488 w 125487"/>
                <a:gd name="connsiteY7" fmla="*/ 60055 h 71707"/>
                <a:gd name="connsiteX8" fmla="*/ 111594 w 125487"/>
                <a:gd name="connsiteY8" fmla="*/ 73948 h 71707"/>
                <a:gd name="connsiteX9" fmla="*/ 40335 w 125487"/>
                <a:gd name="connsiteY9" fmla="*/ 4930 h 71707"/>
                <a:gd name="connsiteX10" fmla="*/ 4482 w 125487"/>
                <a:gd name="connsiteY10" fmla="*/ 40784 h 71707"/>
                <a:gd name="connsiteX11" fmla="*/ 4482 w 125487"/>
                <a:gd name="connsiteY11" fmla="*/ 60503 h 71707"/>
                <a:gd name="connsiteX12" fmla="*/ 13893 w 125487"/>
                <a:gd name="connsiteY12" fmla="*/ 69915 h 71707"/>
                <a:gd name="connsiteX13" fmla="*/ 111594 w 125487"/>
                <a:gd name="connsiteY13" fmla="*/ 69915 h 71707"/>
                <a:gd name="connsiteX14" fmla="*/ 121006 w 125487"/>
                <a:gd name="connsiteY14" fmla="*/ 60503 h 71707"/>
                <a:gd name="connsiteX15" fmla="*/ 121006 w 125487"/>
                <a:gd name="connsiteY15" fmla="*/ 40784 h 71707"/>
                <a:gd name="connsiteX16" fmla="*/ 85152 w 125487"/>
                <a:gd name="connsiteY16" fmla="*/ 4930 h 71707"/>
                <a:gd name="connsiteX17" fmla="*/ 40335 w 125487"/>
                <a:gd name="connsiteY17" fmla="*/ 493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7" h="71707">
                  <a:moveTo>
                    <a:pt x="111594" y="73948"/>
                  </a:moveTo>
                  <a:lnTo>
                    <a:pt x="13893" y="73948"/>
                  </a:lnTo>
                  <a:cubicBezTo>
                    <a:pt x="6274" y="73948"/>
                    <a:pt x="0" y="67674"/>
                    <a:pt x="0" y="60055"/>
                  </a:cubicBezTo>
                  <a:lnTo>
                    <a:pt x="0" y="40335"/>
                  </a:lnTo>
                  <a:cubicBezTo>
                    <a:pt x="0" y="18375"/>
                    <a:pt x="17927" y="0"/>
                    <a:pt x="40335" y="0"/>
                  </a:cubicBezTo>
                  <a:lnTo>
                    <a:pt x="85152" y="0"/>
                  </a:lnTo>
                  <a:cubicBezTo>
                    <a:pt x="107113" y="0"/>
                    <a:pt x="125488" y="17927"/>
                    <a:pt x="125488" y="40335"/>
                  </a:cubicBezTo>
                  <a:lnTo>
                    <a:pt x="125488" y="60055"/>
                  </a:lnTo>
                  <a:cubicBezTo>
                    <a:pt x="125488" y="67674"/>
                    <a:pt x="119213" y="73948"/>
                    <a:pt x="111594" y="73948"/>
                  </a:cubicBezTo>
                  <a:close/>
                  <a:moveTo>
                    <a:pt x="40335" y="4930"/>
                  </a:moveTo>
                  <a:cubicBezTo>
                    <a:pt x="20616" y="4930"/>
                    <a:pt x="4482" y="21064"/>
                    <a:pt x="4482" y="40784"/>
                  </a:cubicBezTo>
                  <a:lnTo>
                    <a:pt x="4482" y="60503"/>
                  </a:lnTo>
                  <a:cubicBezTo>
                    <a:pt x="4482" y="65433"/>
                    <a:pt x="8515" y="69915"/>
                    <a:pt x="13893" y="69915"/>
                  </a:cubicBezTo>
                  <a:lnTo>
                    <a:pt x="111594" y="69915"/>
                  </a:lnTo>
                  <a:cubicBezTo>
                    <a:pt x="116524" y="69915"/>
                    <a:pt x="121006" y="65881"/>
                    <a:pt x="121006" y="60503"/>
                  </a:cubicBezTo>
                  <a:lnTo>
                    <a:pt x="121006" y="40784"/>
                  </a:lnTo>
                  <a:cubicBezTo>
                    <a:pt x="121006" y="21064"/>
                    <a:pt x="104872" y="4930"/>
                    <a:pt x="85152" y="4930"/>
                  </a:cubicBezTo>
                  <a:lnTo>
                    <a:pt x="40335" y="4930"/>
                  </a:lnTo>
                  <a:close/>
                </a:path>
              </a:pathLst>
            </a:custGeom>
            <a:solidFill>
              <a:srgbClr val="231F20"/>
            </a:solidFill>
            <a:ln w="4477" cap="flat">
              <a:noFill/>
              <a:prstDash val="solid"/>
              <a:miter/>
            </a:ln>
          </p:spPr>
          <p:txBody>
            <a:bodyPr rtlCol="0" anchor="ctr"/>
            <a:lstStyle/>
            <a:p>
              <a:endParaRPr lang="en-US"/>
            </a:p>
          </p:txBody>
        </p:sp>
      </p:grpSp>
      <p:grpSp>
        <p:nvGrpSpPr>
          <p:cNvPr id="2513" name="Group 2512">
            <a:extLst>
              <a:ext uri="{FF2B5EF4-FFF2-40B4-BE49-F238E27FC236}">
                <a16:creationId xmlns:a16="http://schemas.microsoft.com/office/drawing/2014/main" id="{66CB375D-44D9-4A83-A881-D7271B6A0E31}"/>
              </a:ext>
              <a:ext uri="{C183D7F6-B498-43B3-948B-1728B52AA6E4}">
                <adec:decorative xmlns:adec="http://schemas.microsoft.com/office/drawing/2017/decorative" val="1"/>
              </a:ext>
            </a:extLst>
          </p:cNvPr>
          <p:cNvGrpSpPr>
            <a:grpSpLocks noChangeAspect="1"/>
          </p:cNvGrpSpPr>
          <p:nvPr/>
        </p:nvGrpSpPr>
        <p:grpSpPr>
          <a:xfrm>
            <a:off x="7213727" y="5213035"/>
            <a:ext cx="134899" cy="152826"/>
            <a:chOff x="7270227" y="3157344"/>
            <a:chExt cx="134899" cy="152826"/>
          </a:xfrm>
        </p:grpSpPr>
        <p:sp>
          <p:nvSpPr>
            <p:cNvPr id="5332" name="Freeform: Shape 5331">
              <a:extLst>
                <a:ext uri="{FF2B5EF4-FFF2-40B4-BE49-F238E27FC236}">
                  <a16:creationId xmlns:a16="http://schemas.microsoft.com/office/drawing/2014/main" id="{5EFAD908-C9FB-4CAB-9F93-1C9850FE00E5}"/>
                </a:ext>
              </a:extLst>
            </p:cNvPr>
            <p:cNvSpPr/>
            <p:nvPr/>
          </p:nvSpPr>
          <p:spPr>
            <a:xfrm>
              <a:off x="7270227" y="3198127"/>
              <a:ext cx="71707" cy="112043"/>
            </a:xfrm>
            <a:custGeom>
              <a:avLst/>
              <a:gdLst>
                <a:gd name="connsiteX0" fmla="*/ 56021 w 71707"/>
                <a:gd name="connsiteY0" fmla="*/ 0 h 112042"/>
                <a:gd name="connsiteX1" fmla="*/ 15686 w 71707"/>
                <a:gd name="connsiteY1" fmla="*/ 0 h 112042"/>
                <a:gd name="connsiteX2" fmla="*/ 0 w 71707"/>
                <a:gd name="connsiteY2" fmla="*/ 15686 h 112042"/>
                <a:gd name="connsiteX3" fmla="*/ 0 w 71707"/>
                <a:gd name="connsiteY3" fmla="*/ 56469 h 112042"/>
                <a:gd name="connsiteX4" fmla="*/ 6723 w 71707"/>
                <a:gd name="connsiteY4" fmla="*/ 63192 h 112042"/>
                <a:gd name="connsiteX5" fmla="*/ 13445 w 71707"/>
                <a:gd name="connsiteY5" fmla="*/ 63192 h 112042"/>
                <a:gd name="connsiteX6" fmla="*/ 13445 w 71707"/>
                <a:gd name="connsiteY6" fmla="*/ 105320 h 112042"/>
                <a:gd name="connsiteX7" fmla="*/ 20168 w 71707"/>
                <a:gd name="connsiteY7" fmla="*/ 112043 h 112042"/>
                <a:gd name="connsiteX8" fmla="*/ 51540 w 71707"/>
                <a:gd name="connsiteY8" fmla="*/ 112043 h 112042"/>
                <a:gd name="connsiteX9" fmla="*/ 58262 w 71707"/>
                <a:gd name="connsiteY9" fmla="*/ 105320 h 112042"/>
                <a:gd name="connsiteX10" fmla="*/ 58262 w 71707"/>
                <a:gd name="connsiteY10" fmla="*/ 63192 h 112042"/>
                <a:gd name="connsiteX11" fmla="*/ 64985 w 71707"/>
                <a:gd name="connsiteY11" fmla="*/ 63192 h 112042"/>
                <a:gd name="connsiteX12" fmla="*/ 71707 w 71707"/>
                <a:gd name="connsiteY12" fmla="*/ 56469 h 112042"/>
                <a:gd name="connsiteX13" fmla="*/ 71707 w 71707"/>
                <a:gd name="connsiteY13" fmla="*/ 15686 h 112042"/>
                <a:gd name="connsiteX14" fmla="*/ 56021 w 71707"/>
                <a:gd name="connsiteY14" fmla="*/ 0 h 112042"/>
                <a:gd name="connsiteX15" fmla="*/ 67226 w 71707"/>
                <a:gd name="connsiteY15" fmla="*/ 56469 h 112042"/>
                <a:gd name="connsiteX16" fmla="*/ 64985 w 71707"/>
                <a:gd name="connsiteY16" fmla="*/ 58710 h 112042"/>
                <a:gd name="connsiteX17" fmla="*/ 58262 w 71707"/>
                <a:gd name="connsiteY17" fmla="*/ 58710 h 112042"/>
                <a:gd name="connsiteX18" fmla="*/ 58262 w 71707"/>
                <a:gd name="connsiteY18" fmla="*/ 21960 h 112042"/>
                <a:gd name="connsiteX19" fmla="*/ 56021 w 71707"/>
                <a:gd name="connsiteY19" fmla="*/ 19719 h 112042"/>
                <a:gd name="connsiteX20" fmla="*/ 53780 w 71707"/>
                <a:gd name="connsiteY20" fmla="*/ 21960 h 112042"/>
                <a:gd name="connsiteX21" fmla="*/ 53780 w 71707"/>
                <a:gd name="connsiteY21" fmla="*/ 104872 h 112042"/>
                <a:gd name="connsiteX22" fmla="*/ 51540 w 71707"/>
                <a:gd name="connsiteY22" fmla="*/ 107113 h 112042"/>
                <a:gd name="connsiteX23" fmla="*/ 38094 w 71707"/>
                <a:gd name="connsiteY23" fmla="*/ 107113 h 112042"/>
                <a:gd name="connsiteX24" fmla="*/ 38094 w 71707"/>
                <a:gd name="connsiteY24" fmla="*/ 60503 h 112042"/>
                <a:gd name="connsiteX25" fmla="*/ 35854 w 71707"/>
                <a:gd name="connsiteY25" fmla="*/ 58262 h 112042"/>
                <a:gd name="connsiteX26" fmla="*/ 33613 w 71707"/>
                <a:gd name="connsiteY26" fmla="*/ 60503 h 112042"/>
                <a:gd name="connsiteX27" fmla="*/ 33613 w 71707"/>
                <a:gd name="connsiteY27" fmla="*/ 107113 h 112042"/>
                <a:gd name="connsiteX28" fmla="*/ 20168 w 71707"/>
                <a:gd name="connsiteY28" fmla="*/ 107113 h 112042"/>
                <a:gd name="connsiteX29" fmla="*/ 17927 w 71707"/>
                <a:gd name="connsiteY29" fmla="*/ 104872 h 112042"/>
                <a:gd name="connsiteX30" fmla="*/ 17927 w 71707"/>
                <a:gd name="connsiteY30" fmla="*/ 21960 h 112042"/>
                <a:gd name="connsiteX31" fmla="*/ 15686 w 71707"/>
                <a:gd name="connsiteY31" fmla="*/ 19719 h 112042"/>
                <a:gd name="connsiteX32" fmla="*/ 13445 w 71707"/>
                <a:gd name="connsiteY32" fmla="*/ 21960 h 112042"/>
                <a:gd name="connsiteX33" fmla="*/ 13445 w 71707"/>
                <a:gd name="connsiteY33" fmla="*/ 58710 h 112042"/>
                <a:gd name="connsiteX34" fmla="*/ 6723 w 71707"/>
                <a:gd name="connsiteY34" fmla="*/ 58710 h 112042"/>
                <a:gd name="connsiteX35" fmla="*/ 4482 w 71707"/>
                <a:gd name="connsiteY35" fmla="*/ 56469 h 112042"/>
                <a:gd name="connsiteX36" fmla="*/ 4482 w 71707"/>
                <a:gd name="connsiteY36" fmla="*/ 15686 h 112042"/>
                <a:gd name="connsiteX37" fmla="*/ 15686 w 71707"/>
                <a:gd name="connsiteY37" fmla="*/ 4482 h 112042"/>
                <a:gd name="connsiteX38" fmla="*/ 56021 w 71707"/>
                <a:gd name="connsiteY38" fmla="*/ 4482 h 112042"/>
                <a:gd name="connsiteX39" fmla="*/ 67226 w 71707"/>
                <a:gd name="connsiteY39" fmla="*/ 15686 h 112042"/>
                <a:gd name="connsiteX40" fmla="*/ 67226 w 71707"/>
                <a:gd name="connsiteY40" fmla="*/ 5646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12042">
                  <a:moveTo>
                    <a:pt x="56021" y="0"/>
                  </a:moveTo>
                  <a:lnTo>
                    <a:pt x="15686" y="0"/>
                  </a:lnTo>
                  <a:cubicBezTo>
                    <a:pt x="7171" y="0"/>
                    <a:pt x="0" y="7171"/>
                    <a:pt x="0" y="15686"/>
                  </a:cubicBezTo>
                  <a:lnTo>
                    <a:pt x="0" y="56469"/>
                  </a:lnTo>
                  <a:cubicBezTo>
                    <a:pt x="0" y="60055"/>
                    <a:pt x="3137" y="63192"/>
                    <a:pt x="6723" y="63192"/>
                  </a:cubicBezTo>
                  <a:lnTo>
                    <a:pt x="13445" y="63192"/>
                  </a:lnTo>
                  <a:lnTo>
                    <a:pt x="13445" y="105320"/>
                  </a:lnTo>
                  <a:cubicBezTo>
                    <a:pt x="13445" y="108905"/>
                    <a:pt x="16582" y="112043"/>
                    <a:pt x="20168" y="112043"/>
                  </a:cubicBezTo>
                  <a:lnTo>
                    <a:pt x="51540" y="112043"/>
                  </a:lnTo>
                  <a:cubicBezTo>
                    <a:pt x="55125" y="112043"/>
                    <a:pt x="58262" y="108905"/>
                    <a:pt x="58262" y="105320"/>
                  </a:cubicBezTo>
                  <a:lnTo>
                    <a:pt x="58262" y="63192"/>
                  </a:lnTo>
                  <a:lnTo>
                    <a:pt x="64985" y="63192"/>
                  </a:lnTo>
                  <a:cubicBezTo>
                    <a:pt x="68570" y="63192"/>
                    <a:pt x="71707" y="60055"/>
                    <a:pt x="71707" y="56469"/>
                  </a:cubicBezTo>
                  <a:lnTo>
                    <a:pt x="71707" y="15686"/>
                  </a:lnTo>
                  <a:cubicBezTo>
                    <a:pt x="71707" y="7171"/>
                    <a:pt x="64537" y="0"/>
                    <a:pt x="56021" y="0"/>
                  </a:cubicBezTo>
                  <a:close/>
                  <a:moveTo>
                    <a:pt x="67226" y="56469"/>
                  </a:moveTo>
                  <a:cubicBezTo>
                    <a:pt x="67226" y="57814"/>
                    <a:pt x="66329" y="58710"/>
                    <a:pt x="64985" y="58710"/>
                  </a:cubicBezTo>
                  <a:lnTo>
                    <a:pt x="58262" y="58710"/>
                  </a:lnTo>
                  <a:lnTo>
                    <a:pt x="58262" y="21960"/>
                  </a:lnTo>
                  <a:cubicBezTo>
                    <a:pt x="58262" y="20616"/>
                    <a:pt x="57366" y="19719"/>
                    <a:pt x="56021" y="19719"/>
                  </a:cubicBezTo>
                  <a:cubicBezTo>
                    <a:pt x="54677" y="19719"/>
                    <a:pt x="53780" y="20616"/>
                    <a:pt x="53780" y="21960"/>
                  </a:cubicBezTo>
                  <a:lnTo>
                    <a:pt x="53780" y="104872"/>
                  </a:lnTo>
                  <a:cubicBezTo>
                    <a:pt x="53780" y="106216"/>
                    <a:pt x="52884" y="107113"/>
                    <a:pt x="51540" y="107113"/>
                  </a:cubicBezTo>
                  <a:lnTo>
                    <a:pt x="38094" y="107113"/>
                  </a:lnTo>
                  <a:lnTo>
                    <a:pt x="38094" y="60503"/>
                  </a:lnTo>
                  <a:cubicBezTo>
                    <a:pt x="38094" y="59158"/>
                    <a:pt x="37198" y="58262"/>
                    <a:pt x="35854" y="58262"/>
                  </a:cubicBezTo>
                  <a:cubicBezTo>
                    <a:pt x="34509" y="58262"/>
                    <a:pt x="33613" y="59158"/>
                    <a:pt x="33613" y="60503"/>
                  </a:cubicBezTo>
                  <a:lnTo>
                    <a:pt x="33613" y="107113"/>
                  </a:lnTo>
                  <a:lnTo>
                    <a:pt x="20168" y="107113"/>
                  </a:lnTo>
                  <a:cubicBezTo>
                    <a:pt x="18823" y="107113"/>
                    <a:pt x="17927" y="106216"/>
                    <a:pt x="17927" y="104872"/>
                  </a:cubicBezTo>
                  <a:lnTo>
                    <a:pt x="17927" y="21960"/>
                  </a:lnTo>
                  <a:cubicBezTo>
                    <a:pt x="17927" y="20616"/>
                    <a:pt x="17030" y="19719"/>
                    <a:pt x="15686" y="19719"/>
                  </a:cubicBezTo>
                  <a:cubicBezTo>
                    <a:pt x="14342" y="19719"/>
                    <a:pt x="13445" y="20616"/>
                    <a:pt x="13445" y="21960"/>
                  </a:cubicBezTo>
                  <a:lnTo>
                    <a:pt x="13445" y="58710"/>
                  </a:lnTo>
                  <a:lnTo>
                    <a:pt x="6723" y="58710"/>
                  </a:lnTo>
                  <a:cubicBezTo>
                    <a:pt x="5378" y="58710"/>
                    <a:pt x="4482" y="57814"/>
                    <a:pt x="4482" y="56469"/>
                  </a:cubicBezTo>
                  <a:lnTo>
                    <a:pt x="4482" y="15686"/>
                  </a:lnTo>
                  <a:cubicBezTo>
                    <a:pt x="4482" y="9411"/>
                    <a:pt x="9412" y="4482"/>
                    <a:pt x="15686" y="4482"/>
                  </a:cubicBezTo>
                  <a:lnTo>
                    <a:pt x="56021" y="4482"/>
                  </a:lnTo>
                  <a:cubicBezTo>
                    <a:pt x="62296" y="4482"/>
                    <a:pt x="67226" y="9411"/>
                    <a:pt x="67226" y="15686"/>
                  </a:cubicBezTo>
                  <a:lnTo>
                    <a:pt x="67226" y="56469"/>
                  </a:lnTo>
                  <a:close/>
                </a:path>
              </a:pathLst>
            </a:custGeom>
            <a:solidFill>
              <a:srgbClr val="231F20"/>
            </a:solidFill>
            <a:ln w="4477" cap="flat">
              <a:noFill/>
              <a:prstDash val="solid"/>
              <a:miter/>
            </a:ln>
          </p:spPr>
          <p:txBody>
            <a:bodyPr rtlCol="0" anchor="ctr"/>
            <a:lstStyle/>
            <a:p>
              <a:endParaRPr lang="en-US"/>
            </a:p>
          </p:txBody>
        </p:sp>
        <p:sp>
          <p:nvSpPr>
            <p:cNvPr id="5333" name="Freeform: Shape 5332">
              <a:extLst>
                <a:ext uri="{FF2B5EF4-FFF2-40B4-BE49-F238E27FC236}">
                  <a16:creationId xmlns:a16="http://schemas.microsoft.com/office/drawing/2014/main" id="{9F17D56C-A241-4370-B85B-1B72C1750969}"/>
                </a:ext>
              </a:extLst>
            </p:cNvPr>
            <p:cNvSpPr/>
            <p:nvPr/>
          </p:nvSpPr>
          <p:spPr>
            <a:xfrm>
              <a:off x="7288602" y="3157344"/>
              <a:ext cx="31372" cy="31372"/>
            </a:xfrm>
            <a:custGeom>
              <a:avLst/>
              <a:gdLst>
                <a:gd name="connsiteX0" fmla="*/ 17479 w 31371"/>
                <a:gd name="connsiteY0" fmla="*/ 34957 h 31371"/>
                <a:gd name="connsiteX1" fmla="*/ 34957 w 31371"/>
                <a:gd name="connsiteY1" fmla="*/ 17479 h 31371"/>
                <a:gd name="connsiteX2" fmla="*/ 17479 w 31371"/>
                <a:gd name="connsiteY2" fmla="*/ 0 h 31371"/>
                <a:gd name="connsiteX3" fmla="*/ 0 w 31371"/>
                <a:gd name="connsiteY3" fmla="*/ 17479 h 31371"/>
                <a:gd name="connsiteX4" fmla="*/ 17479 w 31371"/>
                <a:gd name="connsiteY4" fmla="*/ 34957 h 31371"/>
                <a:gd name="connsiteX5" fmla="*/ 17479 w 31371"/>
                <a:gd name="connsiteY5" fmla="*/ 4930 h 31371"/>
                <a:gd name="connsiteX6" fmla="*/ 30476 w 31371"/>
                <a:gd name="connsiteY6" fmla="*/ 17927 h 31371"/>
                <a:gd name="connsiteX7" fmla="*/ 17479 w 31371"/>
                <a:gd name="connsiteY7" fmla="*/ 30924 h 31371"/>
                <a:gd name="connsiteX8" fmla="*/ 4482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26890" y="34957"/>
                    <a:pt x="34957" y="27338"/>
                    <a:pt x="34957" y="17479"/>
                  </a:cubicBezTo>
                  <a:cubicBezTo>
                    <a:pt x="34957" y="8067"/>
                    <a:pt x="27338" y="0"/>
                    <a:pt x="17479" y="0"/>
                  </a:cubicBezTo>
                  <a:cubicBezTo>
                    <a:pt x="7619" y="0"/>
                    <a:pt x="0" y="7619"/>
                    <a:pt x="0" y="17479"/>
                  </a:cubicBezTo>
                  <a:cubicBezTo>
                    <a:pt x="0" y="27338"/>
                    <a:pt x="8067" y="34957"/>
                    <a:pt x="17479" y="34957"/>
                  </a:cubicBezTo>
                  <a:close/>
                  <a:moveTo>
                    <a:pt x="17479" y="4930"/>
                  </a:moveTo>
                  <a:cubicBezTo>
                    <a:pt x="24649" y="4930"/>
                    <a:pt x="30476" y="10756"/>
                    <a:pt x="30476" y="17927"/>
                  </a:cubicBezTo>
                  <a:cubicBezTo>
                    <a:pt x="30476" y="25098"/>
                    <a:pt x="24649" y="30924"/>
                    <a:pt x="17479" y="30924"/>
                  </a:cubicBezTo>
                  <a:cubicBezTo>
                    <a:pt x="10308" y="30924"/>
                    <a:pt x="4482" y="25098"/>
                    <a:pt x="4482" y="17927"/>
                  </a:cubicBezTo>
                  <a:cubicBezTo>
                    <a:pt x="4482" y="10756"/>
                    <a:pt x="10308" y="4930"/>
                    <a:pt x="17479" y="4930"/>
                  </a:cubicBezTo>
                  <a:close/>
                </a:path>
              </a:pathLst>
            </a:custGeom>
            <a:solidFill>
              <a:srgbClr val="231F20"/>
            </a:solidFill>
            <a:ln w="4477" cap="flat">
              <a:noFill/>
              <a:prstDash val="solid"/>
              <a:miter/>
            </a:ln>
          </p:spPr>
          <p:txBody>
            <a:bodyPr rtlCol="0" anchor="ctr"/>
            <a:lstStyle/>
            <a:p>
              <a:endParaRPr lang="en-US"/>
            </a:p>
          </p:txBody>
        </p:sp>
        <p:sp>
          <p:nvSpPr>
            <p:cNvPr id="5334" name="Freeform: Shape 5333">
              <a:extLst>
                <a:ext uri="{FF2B5EF4-FFF2-40B4-BE49-F238E27FC236}">
                  <a16:creationId xmlns:a16="http://schemas.microsoft.com/office/drawing/2014/main" id="{E47C39AA-A404-4F3C-93F0-18B939284898}"/>
                </a:ext>
              </a:extLst>
            </p:cNvPr>
            <p:cNvSpPr/>
            <p:nvPr/>
          </p:nvSpPr>
          <p:spPr>
            <a:xfrm>
              <a:off x="7351346" y="3184682"/>
              <a:ext cx="53780" cy="112043"/>
            </a:xfrm>
            <a:custGeom>
              <a:avLst/>
              <a:gdLst>
                <a:gd name="connsiteX0" fmla="*/ 42128 w 53780"/>
                <a:gd name="connsiteY0" fmla="*/ 80671 h 112042"/>
                <a:gd name="connsiteX1" fmla="*/ 26890 w 53780"/>
                <a:gd name="connsiteY1" fmla="*/ 94116 h 112042"/>
                <a:gd name="connsiteX2" fmla="*/ 17927 w 53780"/>
                <a:gd name="connsiteY2" fmla="*/ 94116 h 112042"/>
                <a:gd name="connsiteX3" fmla="*/ 17927 w 53780"/>
                <a:gd name="connsiteY3" fmla="*/ 58262 h 112042"/>
                <a:gd name="connsiteX4" fmla="*/ 26890 w 53780"/>
                <a:gd name="connsiteY4" fmla="*/ 58262 h 112042"/>
                <a:gd name="connsiteX5" fmla="*/ 42128 w 53780"/>
                <a:gd name="connsiteY5" fmla="*/ 71707 h 112042"/>
                <a:gd name="connsiteX6" fmla="*/ 57814 w 53780"/>
                <a:gd name="connsiteY6" fmla="*/ 56021 h 112042"/>
                <a:gd name="connsiteX7" fmla="*/ 42128 w 53780"/>
                <a:gd name="connsiteY7" fmla="*/ 40335 h 112042"/>
                <a:gd name="connsiteX8" fmla="*/ 26890 w 53780"/>
                <a:gd name="connsiteY8" fmla="*/ 53780 h 112042"/>
                <a:gd name="connsiteX9" fmla="*/ 17927 w 53780"/>
                <a:gd name="connsiteY9" fmla="*/ 53780 h 112042"/>
                <a:gd name="connsiteX10" fmla="*/ 17927 w 53780"/>
                <a:gd name="connsiteY10" fmla="*/ 17927 h 112042"/>
                <a:gd name="connsiteX11" fmla="*/ 26890 w 53780"/>
                <a:gd name="connsiteY11" fmla="*/ 17927 h 112042"/>
                <a:gd name="connsiteX12" fmla="*/ 42128 w 53780"/>
                <a:gd name="connsiteY12" fmla="*/ 31372 h 112042"/>
                <a:gd name="connsiteX13" fmla="*/ 57814 w 53780"/>
                <a:gd name="connsiteY13" fmla="*/ 15686 h 112042"/>
                <a:gd name="connsiteX14" fmla="*/ 42128 w 53780"/>
                <a:gd name="connsiteY14" fmla="*/ 0 h 112042"/>
                <a:gd name="connsiteX15" fmla="*/ 26890 w 53780"/>
                <a:gd name="connsiteY15" fmla="*/ 13445 h 112042"/>
                <a:gd name="connsiteX16" fmla="*/ 15686 w 53780"/>
                <a:gd name="connsiteY16" fmla="*/ 13445 h 112042"/>
                <a:gd name="connsiteX17" fmla="*/ 15686 w 53780"/>
                <a:gd name="connsiteY17" fmla="*/ 13445 h 112042"/>
                <a:gd name="connsiteX18" fmla="*/ 13893 w 53780"/>
                <a:gd name="connsiteY18" fmla="*/ 13893 h 112042"/>
                <a:gd name="connsiteX19" fmla="*/ 13445 w 53780"/>
                <a:gd name="connsiteY19" fmla="*/ 15686 h 112042"/>
                <a:gd name="connsiteX20" fmla="*/ 13445 w 53780"/>
                <a:gd name="connsiteY20" fmla="*/ 53780 h 112042"/>
                <a:gd name="connsiteX21" fmla="*/ 2241 w 53780"/>
                <a:gd name="connsiteY21" fmla="*/ 53780 h 112042"/>
                <a:gd name="connsiteX22" fmla="*/ 0 w 53780"/>
                <a:gd name="connsiteY22" fmla="*/ 56021 h 112042"/>
                <a:gd name="connsiteX23" fmla="*/ 2241 w 53780"/>
                <a:gd name="connsiteY23" fmla="*/ 58262 h 112042"/>
                <a:gd name="connsiteX24" fmla="*/ 13445 w 53780"/>
                <a:gd name="connsiteY24" fmla="*/ 58262 h 112042"/>
                <a:gd name="connsiteX25" fmla="*/ 13445 w 53780"/>
                <a:gd name="connsiteY25" fmla="*/ 96357 h 112042"/>
                <a:gd name="connsiteX26" fmla="*/ 15686 w 53780"/>
                <a:gd name="connsiteY26" fmla="*/ 98597 h 112042"/>
                <a:gd name="connsiteX27" fmla="*/ 26890 w 53780"/>
                <a:gd name="connsiteY27" fmla="*/ 98597 h 112042"/>
                <a:gd name="connsiteX28" fmla="*/ 42128 w 53780"/>
                <a:gd name="connsiteY28" fmla="*/ 112043 h 112042"/>
                <a:gd name="connsiteX29" fmla="*/ 57814 w 53780"/>
                <a:gd name="connsiteY29" fmla="*/ 96357 h 112042"/>
                <a:gd name="connsiteX30" fmla="*/ 42128 w 53780"/>
                <a:gd name="connsiteY30" fmla="*/ 80671 h 112042"/>
                <a:gd name="connsiteX31" fmla="*/ 42128 w 53780"/>
                <a:gd name="connsiteY31" fmla="*/ 44817 h 112042"/>
                <a:gd name="connsiteX32" fmla="*/ 53332 w 53780"/>
                <a:gd name="connsiteY32" fmla="*/ 56021 h 112042"/>
                <a:gd name="connsiteX33" fmla="*/ 42128 w 53780"/>
                <a:gd name="connsiteY33" fmla="*/ 67226 h 112042"/>
                <a:gd name="connsiteX34" fmla="*/ 30924 w 53780"/>
                <a:gd name="connsiteY34" fmla="*/ 56469 h 112042"/>
                <a:gd name="connsiteX35" fmla="*/ 30924 w 53780"/>
                <a:gd name="connsiteY35" fmla="*/ 56021 h 112042"/>
                <a:gd name="connsiteX36" fmla="*/ 30924 w 53780"/>
                <a:gd name="connsiteY36" fmla="*/ 55573 h 112042"/>
                <a:gd name="connsiteX37" fmla="*/ 42128 w 53780"/>
                <a:gd name="connsiteY37" fmla="*/ 44817 h 112042"/>
                <a:gd name="connsiteX38" fmla="*/ 42128 w 53780"/>
                <a:gd name="connsiteY38" fmla="*/ 4482 h 112042"/>
                <a:gd name="connsiteX39" fmla="*/ 53332 w 53780"/>
                <a:gd name="connsiteY39" fmla="*/ 15686 h 112042"/>
                <a:gd name="connsiteX40" fmla="*/ 42128 w 53780"/>
                <a:gd name="connsiteY40" fmla="*/ 26890 h 112042"/>
                <a:gd name="connsiteX41" fmla="*/ 30924 w 53780"/>
                <a:gd name="connsiteY41" fmla="*/ 16134 h 112042"/>
                <a:gd name="connsiteX42" fmla="*/ 30924 w 53780"/>
                <a:gd name="connsiteY42" fmla="*/ 15686 h 112042"/>
                <a:gd name="connsiteX43" fmla="*/ 30924 w 53780"/>
                <a:gd name="connsiteY43" fmla="*/ 15238 h 112042"/>
                <a:gd name="connsiteX44" fmla="*/ 42128 w 53780"/>
                <a:gd name="connsiteY44" fmla="*/ 4482 h 112042"/>
                <a:gd name="connsiteX45" fmla="*/ 42128 w 53780"/>
                <a:gd name="connsiteY45" fmla="*/ 107561 h 112042"/>
                <a:gd name="connsiteX46" fmla="*/ 30924 w 53780"/>
                <a:gd name="connsiteY46" fmla="*/ 96805 h 112042"/>
                <a:gd name="connsiteX47" fmla="*/ 30924 w 53780"/>
                <a:gd name="connsiteY47" fmla="*/ 96357 h 112042"/>
                <a:gd name="connsiteX48" fmla="*/ 30924 w 53780"/>
                <a:gd name="connsiteY48" fmla="*/ 95908 h 112042"/>
                <a:gd name="connsiteX49" fmla="*/ 42128 w 53780"/>
                <a:gd name="connsiteY49" fmla="*/ 85152 h 112042"/>
                <a:gd name="connsiteX50" fmla="*/ 53332 w 53780"/>
                <a:gd name="connsiteY50" fmla="*/ 96357 h 112042"/>
                <a:gd name="connsiteX51" fmla="*/ 42128 w 53780"/>
                <a:gd name="connsiteY51" fmla="*/ 107561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3780" h="112042">
                  <a:moveTo>
                    <a:pt x="42128" y="80671"/>
                  </a:moveTo>
                  <a:cubicBezTo>
                    <a:pt x="34061" y="80671"/>
                    <a:pt x="27787" y="86497"/>
                    <a:pt x="26890" y="94116"/>
                  </a:cubicBezTo>
                  <a:lnTo>
                    <a:pt x="17927" y="94116"/>
                  </a:lnTo>
                  <a:lnTo>
                    <a:pt x="17927" y="58262"/>
                  </a:lnTo>
                  <a:lnTo>
                    <a:pt x="26890" y="58262"/>
                  </a:lnTo>
                  <a:cubicBezTo>
                    <a:pt x="27787" y="65881"/>
                    <a:pt x="34509" y="71707"/>
                    <a:pt x="42128" y="71707"/>
                  </a:cubicBezTo>
                  <a:cubicBezTo>
                    <a:pt x="50643" y="71707"/>
                    <a:pt x="57814" y="64536"/>
                    <a:pt x="57814" y="56021"/>
                  </a:cubicBezTo>
                  <a:cubicBezTo>
                    <a:pt x="57814" y="47506"/>
                    <a:pt x="50643" y="40335"/>
                    <a:pt x="42128" y="40335"/>
                  </a:cubicBezTo>
                  <a:cubicBezTo>
                    <a:pt x="34061" y="40335"/>
                    <a:pt x="27787" y="46161"/>
                    <a:pt x="26890" y="53780"/>
                  </a:cubicBezTo>
                  <a:lnTo>
                    <a:pt x="17927" y="53780"/>
                  </a:lnTo>
                  <a:lnTo>
                    <a:pt x="17927" y="17927"/>
                  </a:lnTo>
                  <a:lnTo>
                    <a:pt x="26890" y="17927"/>
                  </a:lnTo>
                  <a:cubicBezTo>
                    <a:pt x="27787" y="25546"/>
                    <a:pt x="34509" y="31372"/>
                    <a:pt x="42128" y="31372"/>
                  </a:cubicBezTo>
                  <a:cubicBezTo>
                    <a:pt x="50643" y="31372"/>
                    <a:pt x="57814" y="24201"/>
                    <a:pt x="57814" y="15686"/>
                  </a:cubicBezTo>
                  <a:cubicBezTo>
                    <a:pt x="57814" y="7171"/>
                    <a:pt x="50643" y="0"/>
                    <a:pt x="42128" y="0"/>
                  </a:cubicBezTo>
                  <a:cubicBezTo>
                    <a:pt x="34061" y="0"/>
                    <a:pt x="27787" y="5826"/>
                    <a:pt x="26890" y="13445"/>
                  </a:cubicBezTo>
                  <a:lnTo>
                    <a:pt x="15686" y="13445"/>
                  </a:lnTo>
                  <a:lnTo>
                    <a:pt x="15686" y="13445"/>
                  </a:lnTo>
                  <a:cubicBezTo>
                    <a:pt x="15238" y="13445"/>
                    <a:pt x="14341" y="13893"/>
                    <a:pt x="13893" y="13893"/>
                  </a:cubicBezTo>
                  <a:cubicBezTo>
                    <a:pt x="13445" y="13893"/>
                    <a:pt x="13445" y="14790"/>
                    <a:pt x="13445" y="15686"/>
                  </a:cubicBezTo>
                  <a:lnTo>
                    <a:pt x="13445" y="53780"/>
                  </a:lnTo>
                  <a:lnTo>
                    <a:pt x="2241" y="53780"/>
                  </a:lnTo>
                  <a:cubicBezTo>
                    <a:pt x="896" y="53780"/>
                    <a:pt x="0" y="54677"/>
                    <a:pt x="0" y="56021"/>
                  </a:cubicBezTo>
                  <a:cubicBezTo>
                    <a:pt x="0" y="57366"/>
                    <a:pt x="896" y="58262"/>
                    <a:pt x="2241" y="58262"/>
                  </a:cubicBezTo>
                  <a:lnTo>
                    <a:pt x="13445" y="58262"/>
                  </a:lnTo>
                  <a:lnTo>
                    <a:pt x="13445" y="96357"/>
                  </a:lnTo>
                  <a:cubicBezTo>
                    <a:pt x="13445" y="97701"/>
                    <a:pt x="14341" y="98597"/>
                    <a:pt x="15686" y="98597"/>
                  </a:cubicBezTo>
                  <a:lnTo>
                    <a:pt x="26890" y="98597"/>
                  </a:lnTo>
                  <a:cubicBezTo>
                    <a:pt x="27787" y="106216"/>
                    <a:pt x="34509" y="112043"/>
                    <a:pt x="42128" y="112043"/>
                  </a:cubicBezTo>
                  <a:cubicBezTo>
                    <a:pt x="50643" y="112043"/>
                    <a:pt x="57814" y="104872"/>
                    <a:pt x="57814" y="96357"/>
                  </a:cubicBezTo>
                  <a:cubicBezTo>
                    <a:pt x="57814" y="87841"/>
                    <a:pt x="50643" y="80671"/>
                    <a:pt x="42128" y="80671"/>
                  </a:cubicBezTo>
                  <a:close/>
                  <a:moveTo>
                    <a:pt x="42128" y="44817"/>
                  </a:moveTo>
                  <a:cubicBezTo>
                    <a:pt x="48402" y="44817"/>
                    <a:pt x="53332" y="49747"/>
                    <a:pt x="53332" y="56021"/>
                  </a:cubicBezTo>
                  <a:cubicBezTo>
                    <a:pt x="53332" y="62296"/>
                    <a:pt x="48402" y="67226"/>
                    <a:pt x="42128" y="67226"/>
                  </a:cubicBezTo>
                  <a:cubicBezTo>
                    <a:pt x="36302" y="67226"/>
                    <a:pt x="31372" y="62744"/>
                    <a:pt x="30924" y="56469"/>
                  </a:cubicBezTo>
                  <a:cubicBezTo>
                    <a:pt x="30924" y="56469"/>
                    <a:pt x="30924" y="56021"/>
                    <a:pt x="30924" y="56021"/>
                  </a:cubicBezTo>
                  <a:cubicBezTo>
                    <a:pt x="30924" y="56021"/>
                    <a:pt x="30924" y="55573"/>
                    <a:pt x="30924" y="55573"/>
                  </a:cubicBezTo>
                  <a:cubicBezTo>
                    <a:pt x="31372" y="49299"/>
                    <a:pt x="36302" y="44817"/>
                    <a:pt x="42128" y="44817"/>
                  </a:cubicBezTo>
                  <a:close/>
                  <a:moveTo>
                    <a:pt x="42128" y="4482"/>
                  </a:moveTo>
                  <a:cubicBezTo>
                    <a:pt x="48402" y="4482"/>
                    <a:pt x="53332" y="9411"/>
                    <a:pt x="53332" y="15686"/>
                  </a:cubicBezTo>
                  <a:cubicBezTo>
                    <a:pt x="53332" y="21960"/>
                    <a:pt x="48402" y="26890"/>
                    <a:pt x="42128" y="26890"/>
                  </a:cubicBezTo>
                  <a:cubicBezTo>
                    <a:pt x="36302" y="26890"/>
                    <a:pt x="31372" y="22409"/>
                    <a:pt x="30924" y="16134"/>
                  </a:cubicBezTo>
                  <a:cubicBezTo>
                    <a:pt x="30924" y="16134"/>
                    <a:pt x="30924" y="15686"/>
                    <a:pt x="30924" y="15686"/>
                  </a:cubicBezTo>
                  <a:cubicBezTo>
                    <a:pt x="30924" y="15686"/>
                    <a:pt x="30924" y="15238"/>
                    <a:pt x="30924" y="15238"/>
                  </a:cubicBezTo>
                  <a:cubicBezTo>
                    <a:pt x="31372" y="8963"/>
                    <a:pt x="36302" y="4482"/>
                    <a:pt x="42128" y="4482"/>
                  </a:cubicBezTo>
                  <a:close/>
                  <a:moveTo>
                    <a:pt x="42128" y="107561"/>
                  </a:moveTo>
                  <a:cubicBezTo>
                    <a:pt x="36302" y="107561"/>
                    <a:pt x="31372" y="103079"/>
                    <a:pt x="30924" y="96805"/>
                  </a:cubicBezTo>
                  <a:cubicBezTo>
                    <a:pt x="30924" y="96805"/>
                    <a:pt x="30924" y="96357"/>
                    <a:pt x="30924" y="96357"/>
                  </a:cubicBezTo>
                  <a:cubicBezTo>
                    <a:pt x="30924" y="96357"/>
                    <a:pt x="30924" y="95908"/>
                    <a:pt x="30924" y="95908"/>
                  </a:cubicBezTo>
                  <a:cubicBezTo>
                    <a:pt x="31372" y="90082"/>
                    <a:pt x="36302" y="85152"/>
                    <a:pt x="42128" y="85152"/>
                  </a:cubicBezTo>
                  <a:cubicBezTo>
                    <a:pt x="48402" y="85152"/>
                    <a:pt x="53332" y="90082"/>
                    <a:pt x="53332" y="96357"/>
                  </a:cubicBezTo>
                  <a:cubicBezTo>
                    <a:pt x="53332" y="102631"/>
                    <a:pt x="48402" y="107561"/>
                    <a:pt x="42128" y="107561"/>
                  </a:cubicBezTo>
                  <a:close/>
                </a:path>
              </a:pathLst>
            </a:custGeom>
            <a:solidFill>
              <a:srgbClr val="231F20"/>
            </a:solidFill>
            <a:ln w="4477" cap="flat">
              <a:noFill/>
              <a:prstDash val="solid"/>
              <a:miter/>
            </a:ln>
          </p:spPr>
          <p:txBody>
            <a:bodyPr rtlCol="0" anchor="ctr"/>
            <a:lstStyle/>
            <a:p>
              <a:endParaRPr lang="en-US"/>
            </a:p>
          </p:txBody>
        </p:sp>
      </p:grpSp>
      <p:sp>
        <p:nvSpPr>
          <p:cNvPr id="2514" name="Freeform: Shape 2513">
            <a:extLst>
              <a:ext uri="{FF2B5EF4-FFF2-40B4-BE49-F238E27FC236}">
                <a16:creationId xmlns:a16="http://schemas.microsoft.com/office/drawing/2014/main" id="{F4B65DB9-5B7F-44BD-AEFE-CA7FD75DF7B2}"/>
              </a:ext>
              <a:ext uri="{C183D7F6-B498-43B3-948B-1728B52AA6E4}">
                <adec:decorative xmlns:adec="http://schemas.microsoft.com/office/drawing/2017/decorative" val="1"/>
              </a:ext>
            </a:extLst>
          </p:cNvPr>
          <p:cNvSpPr>
            <a:spLocks noChangeAspect="1"/>
          </p:cNvSpPr>
          <p:nvPr/>
        </p:nvSpPr>
        <p:spPr>
          <a:xfrm>
            <a:off x="9579470" y="4166333"/>
            <a:ext cx="152378" cy="147896"/>
          </a:xfrm>
          <a:custGeom>
            <a:avLst/>
            <a:gdLst>
              <a:gd name="connsiteX0" fmla="*/ 153422 w 152377"/>
              <a:gd name="connsiteY0" fmla="*/ 24425 h 147896"/>
              <a:gd name="connsiteX1" fmla="*/ 151181 w 152377"/>
              <a:gd name="connsiteY1" fmla="*/ 22633 h 147896"/>
              <a:gd name="connsiteX2" fmla="*/ 106364 w 152377"/>
              <a:gd name="connsiteY2" fmla="*/ 39215 h 147896"/>
              <a:gd name="connsiteX3" fmla="*/ 93367 w 152377"/>
              <a:gd name="connsiteY3" fmla="*/ 80447 h 147896"/>
              <a:gd name="connsiteX4" fmla="*/ 93367 w 152377"/>
              <a:gd name="connsiteY4" fmla="*/ 80895 h 147896"/>
              <a:gd name="connsiteX5" fmla="*/ 79025 w 152377"/>
              <a:gd name="connsiteY5" fmla="*/ 96581 h 147896"/>
              <a:gd name="connsiteX6" fmla="*/ 79025 w 152377"/>
              <a:gd name="connsiteY6" fmla="*/ 62520 h 147896"/>
              <a:gd name="connsiteX7" fmla="*/ 94263 w 152377"/>
              <a:gd name="connsiteY7" fmla="*/ 31148 h 147896"/>
              <a:gd name="connsiteX8" fmla="*/ 78577 w 152377"/>
              <a:gd name="connsiteY8" fmla="*/ 672 h 147896"/>
              <a:gd name="connsiteX9" fmla="*/ 75440 w 152377"/>
              <a:gd name="connsiteY9" fmla="*/ 672 h 147896"/>
              <a:gd name="connsiteX10" fmla="*/ 60202 w 152377"/>
              <a:gd name="connsiteY10" fmla="*/ 34285 h 147896"/>
              <a:gd name="connsiteX11" fmla="*/ 74544 w 152377"/>
              <a:gd name="connsiteY11" fmla="*/ 62072 h 147896"/>
              <a:gd name="connsiteX12" fmla="*/ 74544 w 152377"/>
              <a:gd name="connsiteY12" fmla="*/ 101511 h 147896"/>
              <a:gd name="connsiteX13" fmla="*/ 74544 w 152377"/>
              <a:gd name="connsiteY13" fmla="*/ 121678 h 147896"/>
              <a:gd name="connsiteX14" fmla="*/ 60202 w 152377"/>
              <a:gd name="connsiteY14" fmla="*/ 105992 h 147896"/>
              <a:gd name="connsiteX15" fmla="*/ 60202 w 152377"/>
              <a:gd name="connsiteY15" fmla="*/ 105544 h 147896"/>
              <a:gd name="connsiteX16" fmla="*/ 47205 w 152377"/>
              <a:gd name="connsiteY16" fmla="*/ 64312 h 147896"/>
              <a:gd name="connsiteX17" fmla="*/ 2388 w 152377"/>
              <a:gd name="connsiteY17" fmla="*/ 47730 h 147896"/>
              <a:gd name="connsiteX18" fmla="*/ 147 w 152377"/>
              <a:gd name="connsiteY18" fmla="*/ 49523 h 147896"/>
              <a:gd name="connsiteX19" fmla="*/ 10904 w 152377"/>
              <a:gd name="connsiteY19" fmla="*/ 85825 h 147896"/>
              <a:gd name="connsiteX20" fmla="*/ 54376 w 152377"/>
              <a:gd name="connsiteY20" fmla="*/ 106889 h 147896"/>
              <a:gd name="connsiteX21" fmla="*/ 73647 w 152377"/>
              <a:gd name="connsiteY21" fmla="*/ 127953 h 147896"/>
              <a:gd name="connsiteX22" fmla="*/ 73647 w 152377"/>
              <a:gd name="connsiteY22" fmla="*/ 149017 h 147896"/>
              <a:gd name="connsiteX23" fmla="*/ 75888 w 152377"/>
              <a:gd name="connsiteY23" fmla="*/ 151257 h 147896"/>
              <a:gd name="connsiteX24" fmla="*/ 78129 w 152377"/>
              <a:gd name="connsiteY24" fmla="*/ 149017 h 147896"/>
              <a:gd name="connsiteX25" fmla="*/ 78129 w 152377"/>
              <a:gd name="connsiteY25" fmla="*/ 127056 h 147896"/>
              <a:gd name="connsiteX26" fmla="*/ 78129 w 152377"/>
              <a:gd name="connsiteY26" fmla="*/ 102855 h 147896"/>
              <a:gd name="connsiteX27" fmla="*/ 97400 w 152377"/>
              <a:gd name="connsiteY27" fmla="*/ 81791 h 147896"/>
              <a:gd name="connsiteX28" fmla="*/ 140873 w 152377"/>
              <a:gd name="connsiteY28" fmla="*/ 60727 h 147896"/>
              <a:gd name="connsiteX29" fmla="*/ 153422 w 152377"/>
              <a:gd name="connsiteY29" fmla="*/ 24425 h 147896"/>
              <a:gd name="connsiteX30" fmla="*/ 15833 w 152377"/>
              <a:gd name="connsiteY30" fmla="*/ 83584 h 147896"/>
              <a:gd name="connsiteX31" fmla="*/ 5973 w 152377"/>
              <a:gd name="connsiteY31" fmla="*/ 52660 h 147896"/>
              <a:gd name="connsiteX32" fmla="*/ 45413 w 152377"/>
              <a:gd name="connsiteY32" fmla="*/ 67898 h 147896"/>
              <a:gd name="connsiteX33" fmla="*/ 57065 w 152377"/>
              <a:gd name="connsiteY33" fmla="*/ 102407 h 147896"/>
              <a:gd name="connsiteX34" fmla="*/ 38690 w 152377"/>
              <a:gd name="connsiteY34" fmla="*/ 82239 h 147896"/>
              <a:gd name="connsiteX35" fmla="*/ 35553 w 152377"/>
              <a:gd name="connsiteY35" fmla="*/ 82239 h 147896"/>
              <a:gd name="connsiteX36" fmla="*/ 35553 w 152377"/>
              <a:gd name="connsiteY36" fmla="*/ 85376 h 147896"/>
              <a:gd name="connsiteX37" fmla="*/ 51239 w 152377"/>
              <a:gd name="connsiteY37" fmla="*/ 102855 h 147896"/>
              <a:gd name="connsiteX38" fmla="*/ 15833 w 152377"/>
              <a:gd name="connsiteY38" fmla="*/ 83584 h 147896"/>
              <a:gd name="connsiteX39" fmla="*/ 65580 w 152377"/>
              <a:gd name="connsiteY39" fmla="*/ 34285 h 147896"/>
              <a:gd name="connsiteX40" fmla="*/ 77681 w 152377"/>
              <a:gd name="connsiteY40" fmla="*/ 5154 h 147896"/>
              <a:gd name="connsiteX41" fmla="*/ 90230 w 152377"/>
              <a:gd name="connsiteY41" fmla="*/ 30700 h 147896"/>
              <a:gd name="connsiteX42" fmla="*/ 79474 w 152377"/>
              <a:gd name="connsiteY42" fmla="*/ 55349 h 147896"/>
              <a:gd name="connsiteX43" fmla="*/ 79474 w 152377"/>
              <a:gd name="connsiteY43" fmla="*/ 35630 h 147896"/>
              <a:gd name="connsiteX44" fmla="*/ 77233 w 152377"/>
              <a:gd name="connsiteY44" fmla="*/ 33389 h 147896"/>
              <a:gd name="connsiteX45" fmla="*/ 74992 w 152377"/>
              <a:gd name="connsiteY45" fmla="*/ 35630 h 147896"/>
              <a:gd name="connsiteX46" fmla="*/ 74992 w 152377"/>
              <a:gd name="connsiteY46" fmla="*/ 56245 h 147896"/>
              <a:gd name="connsiteX47" fmla="*/ 65580 w 152377"/>
              <a:gd name="connsiteY47" fmla="*/ 34285 h 147896"/>
              <a:gd name="connsiteX48" fmla="*/ 139080 w 152377"/>
              <a:gd name="connsiteY48" fmla="*/ 57590 h 147896"/>
              <a:gd name="connsiteX49" fmla="*/ 103675 w 152377"/>
              <a:gd name="connsiteY49" fmla="*/ 76413 h 147896"/>
              <a:gd name="connsiteX50" fmla="*/ 119361 w 152377"/>
              <a:gd name="connsiteY50" fmla="*/ 58934 h 147896"/>
              <a:gd name="connsiteX51" fmla="*/ 119361 w 152377"/>
              <a:gd name="connsiteY51" fmla="*/ 55797 h 147896"/>
              <a:gd name="connsiteX52" fmla="*/ 116224 w 152377"/>
              <a:gd name="connsiteY52" fmla="*/ 55797 h 147896"/>
              <a:gd name="connsiteX53" fmla="*/ 97848 w 152377"/>
              <a:gd name="connsiteY53" fmla="*/ 75965 h 147896"/>
              <a:gd name="connsiteX54" fmla="*/ 109501 w 152377"/>
              <a:gd name="connsiteY54" fmla="*/ 41456 h 147896"/>
              <a:gd name="connsiteX55" fmla="*/ 148940 w 152377"/>
              <a:gd name="connsiteY55" fmla="*/ 26218 h 147896"/>
              <a:gd name="connsiteX56" fmla="*/ 139080 w 152377"/>
              <a:gd name="connsiteY56" fmla="*/ 57590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377" h="147896">
                <a:moveTo>
                  <a:pt x="153422" y="24425"/>
                </a:moveTo>
                <a:cubicBezTo>
                  <a:pt x="153422" y="23081"/>
                  <a:pt x="152525" y="22633"/>
                  <a:pt x="151181" y="22633"/>
                </a:cubicBezTo>
                <a:cubicBezTo>
                  <a:pt x="131461" y="22633"/>
                  <a:pt x="116224" y="28459"/>
                  <a:pt x="106364" y="39215"/>
                </a:cubicBezTo>
                <a:cubicBezTo>
                  <a:pt x="91126" y="56245"/>
                  <a:pt x="93367" y="79550"/>
                  <a:pt x="93367" y="80447"/>
                </a:cubicBezTo>
                <a:cubicBezTo>
                  <a:pt x="93367" y="80895"/>
                  <a:pt x="93367" y="80895"/>
                  <a:pt x="93367" y="80895"/>
                </a:cubicBezTo>
                <a:lnTo>
                  <a:pt x="79025" y="96581"/>
                </a:lnTo>
                <a:lnTo>
                  <a:pt x="79025" y="62520"/>
                </a:lnTo>
                <a:cubicBezTo>
                  <a:pt x="82162" y="59383"/>
                  <a:pt x="93815" y="47282"/>
                  <a:pt x="94263" y="31148"/>
                </a:cubicBezTo>
                <a:cubicBezTo>
                  <a:pt x="94263" y="20392"/>
                  <a:pt x="88885" y="10084"/>
                  <a:pt x="78577" y="672"/>
                </a:cubicBezTo>
                <a:cubicBezTo>
                  <a:pt x="77681" y="-224"/>
                  <a:pt x="76336" y="-224"/>
                  <a:pt x="75440" y="672"/>
                </a:cubicBezTo>
                <a:cubicBezTo>
                  <a:pt x="74992" y="1120"/>
                  <a:pt x="59754" y="15910"/>
                  <a:pt x="60202" y="34285"/>
                </a:cubicBezTo>
                <a:cubicBezTo>
                  <a:pt x="60650" y="44593"/>
                  <a:pt x="65132" y="54005"/>
                  <a:pt x="74544" y="62072"/>
                </a:cubicBezTo>
                <a:lnTo>
                  <a:pt x="74544" y="101511"/>
                </a:lnTo>
                <a:lnTo>
                  <a:pt x="74544" y="121678"/>
                </a:lnTo>
                <a:lnTo>
                  <a:pt x="60202" y="105992"/>
                </a:lnTo>
                <a:cubicBezTo>
                  <a:pt x="60202" y="105992"/>
                  <a:pt x="60202" y="105544"/>
                  <a:pt x="60202" y="105544"/>
                </a:cubicBezTo>
                <a:cubicBezTo>
                  <a:pt x="60202" y="104648"/>
                  <a:pt x="62443" y="81343"/>
                  <a:pt x="47205" y="64312"/>
                </a:cubicBezTo>
                <a:cubicBezTo>
                  <a:pt x="37345" y="53108"/>
                  <a:pt x="22108" y="47730"/>
                  <a:pt x="2388" y="47730"/>
                </a:cubicBezTo>
                <a:cubicBezTo>
                  <a:pt x="1044" y="47730"/>
                  <a:pt x="147" y="48626"/>
                  <a:pt x="147" y="49523"/>
                </a:cubicBezTo>
                <a:cubicBezTo>
                  <a:pt x="147" y="50419"/>
                  <a:pt x="-2094" y="69691"/>
                  <a:pt x="10904" y="85825"/>
                </a:cubicBezTo>
                <a:cubicBezTo>
                  <a:pt x="20315" y="97477"/>
                  <a:pt x="35105" y="104648"/>
                  <a:pt x="54376" y="106889"/>
                </a:cubicBezTo>
                <a:lnTo>
                  <a:pt x="73647" y="127953"/>
                </a:lnTo>
                <a:lnTo>
                  <a:pt x="73647" y="149017"/>
                </a:lnTo>
                <a:cubicBezTo>
                  <a:pt x="73647" y="150361"/>
                  <a:pt x="74544" y="151257"/>
                  <a:pt x="75888" y="151257"/>
                </a:cubicBezTo>
                <a:cubicBezTo>
                  <a:pt x="77233" y="151257"/>
                  <a:pt x="78129" y="150361"/>
                  <a:pt x="78129" y="149017"/>
                </a:cubicBezTo>
                <a:lnTo>
                  <a:pt x="78129" y="127056"/>
                </a:lnTo>
                <a:lnTo>
                  <a:pt x="78129" y="102855"/>
                </a:lnTo>
                <a:lnTo>
                  <a:pt x="97400" y="81791"/>
                </a:lnTo>
                <a:cubicBezTo>
                  <a:pt x="117120" y="79550"/>
                  <a:pt x="131461" y="72379"/>
                  <a:pt x="140873" y="60727"/>
                </a:cubicBezTo>
                <a:cubicBezTo>
                  <a:pt x="156110" y="44145"/>
                  <a:pt x="153870" y="24873"/>
                  <a:pt x="153422" y="24425"/>
                </a:cubicBezTo>
                <a:close/>
                <a:moveTo>
                  <a:pt x="15833" y="83584"/>
                </a:moveTo>
                <a:cubicBezTo>
                  <a:pt x="6422" y="71483"/>
                  <a:pt x="5525" y="57590"/>
                  <a:pt x="5973" y="52660"/>
                </a:cubicBezTo>
                <a:cubicBezTo>
                  <a:pt x="23452" y="53108"/>
                  <a:pt x="36449" y="58038"/>
                  <a:pt x="45413" y="67898"/>
                </a:cubicBezTo>
                <a:cubicBezTo>
                  <a:pt x="56169" y="79550"/>
                  <a:pt x="57513" y="95236"/>
                  <a:pt x="57065" y="102407"/>
                </a:cubicBezTo>
                <a:lnTo>
                  <a:pt x="38690" y="82239"/>
                </a:lnTo>
                <a:cubicBezTo>
                  <a:pt x="37794" y="81343"/>
                  <a:pt x="36449" y="81343"/>
                  <a:pt x="35553" y="82239"/>
                </a:cubicBezTo>
                <a:cubicBezTo>
                  <a:pt x="34656" y="83136"/>
                  <a:pt x="34656" y="84480"/>
                  <a:pt x="35553" y="85376"/>
                </a:cubicBezTo>
                <a:lnTo>
                  <a:pt x="51239" y="102855"/>
                </a:lnTo>
                <a:cubicBezTo>
                  <a:pt x="35553" y="99718"/>
                  <a:pt x="23452" y="93443"/>
                  <a:pt x="15833" y="83584"/>
                </a:cubicBezTo>
                <a:close/>
                <a:moveTo>
                  <a:pt x="65580" y="34285"/>
                </a:moveTo>
                <a:cubicBezTo>
                  <a:pt x="65132" y="20840"/>
                  <a:pt x="74095" y="9188"/>
                  <a:pt x="77681" y="5154"/>
                </a:cubicBezTo>
                <a:cubicBezTo>
                  <a:pt x="86196" y="13221"/>
                  <a:pt x="90230" y="21736"/>
                  <a:pt x="90230" y="30700"/>
                </a:cubicBezTo>
                <a:cubicBezTo>
                  <a:pt x="90230" y="41456"/>
                  <a:pt x="83955" y="50419"/>
                  <a:pt x="79474" y="55349"/>
                </a:cubicBezTo>
                <a:lnTo>
                  <a:pt x="79474" y="35630"/>
                </a:lnTo>
                <a:cubicBezTo>
                  <a:pt x="79474" y="34285"/>
                  <a:pt x="78577" y="33389"/>
                  <a:pt x="77233" y="33389"/>
                </a:cubicBezTo>
                <a:cubicBezTo>
                  <a:pt x="75888" y="33389"/>
                  <a:pt x="74992" y="34285"/>
                  <a:pt x="74992" y="35630"/>
                </a:cubicBezTo>
                <a:lnTo>
                  <a:pt x="74992" y="56245"/>
                </a:lnTo>
                <a:cubicBezTo>
                  <a:pt x="69166" y="49523"/>
                  <a:pt x="65580" y="42352"/>
                  <a:pt x="65580" y="34285"/>
                </a:cubicBezTo>
                <a:close/>
                <a:moveTo>
                  <a:pt x="139080" y="57590"/>
                </a:moveTo>
                <a:cubicBezTo>
                  <a:pt x="131461" y="67450"/>
                  <a:pt x="119361" y="73276"/>
                  <a:pt x="103675" y="76413"/>
                </a:cubicBezTo>
                <a:lnTo>
                  <a:pt x="119361" y="58934"/>
                </a:lnTo>
                <a:cubicBezTo>
                  <a:pt x="120257" y="58038"/>
                  <a:pt x="120257" y="56694"/>
                  <a:pt x="119361" y="55797"/>
                </a:cubicBezTo>
                <a:cubicBezTo>
                  <a:pt x="118464" y="54901"/>
                  <a:pt x="117120" y="54901"/>
                  <a:pt x="116224" y="55797"/>
                </a:cubicBezTo>
                <a:lnTo>
                  <a:pt x="97848" y="75965"/>
                </a:lnTo>
                <a:cubicBezTo>
                  <a:pt x="97848" y="69242"/>
                  <a:pt x="99193" y="53556"/>
                  <a:pt x="109501" y="41456"/>
                </a:cubicBezTo>
                <a:cubicBezTo>
                  <a:pt x="118016" y="31596"/>
                  <a:pt x="131461" y="26666"/>
                  <a:pt x="148940" y="26218"/>
                </a:cubicBezTo>
                <a:cubicBezTo>
                  <a:pt x="149388" y="32044"/>
                  <a:pt x="148940" y="45937"/>
                  <a:pt x="139080" y="57590"/>
                </a:cubicBezTo>
                <a:close/>
              </a:path>
            </a:pathLst>
          </a:custGeom>
          <a:solidFill>
            <a:srgbClr val="231F20"/>
          </a:solidFill>
          <a:ln w="4477" cap="flat">
            <a:noFill/>
            <a:prstDash val="solid"/>
            <a:miter/>
          </a:ln>
        </p:spPr>
        <p:txBody>
          <a:bodyPr rtlCol="0" anchor="ctr"/>
          <a:lstStyle/>
          <a:p>
            <a:endParaRPr lang="en-US"/>
          </a:p>
        </p:txBody>
      </p:sp>
      <p:sp>
        <p:nvSpPr>
          <p:cNvPr id="2515" name="Freeform: Shape 2514">
            <a:extLst>
              <a:ext uri="{FF2B5EF4-FFF2-40B4-BE49-F238E27FC236}">
                <a16:creationId xmlns:a16="http://schemas.microsoft.com/office/drawing/2014/main" id="{CC089623-967C-414E-9AA0-ADA1CE8142D7}"/>
              </a:ext>
              <a:ext uri="{C183D7F6-B498-43B3-948B-1728B52AA6E4}">
                <adec:decorative xmlns:adec="http://schemas.microsoft.com/office/drawing/2017/decorative" val="1"/>
              </a:ext>
            </a:extLst>
          </p:cNvPr>
          <p:cNvSpPr>
            <a:spLocks noChangeAspect="1"/>
          </p:cNvSpPr>
          <p:nvPr/>
        </p:nvSpPr>
        <p:spPr>
          <a:xfrm>
            <a:off x="10137778" y="4165437"/>
            <a:ext cx="94116" cy="152378"/>
          </a:xfrm>
          <a:custGeom>
            <a:avLst/>
            <a:gdLst>
              <a:gd name="connsiteX0" fmla="*/ 50903 w 94115"/>
              <a:gd name="connsiteY0" fmla="*/ 672 h 152377"/>
              <a:gd name="connsiteX1" fmla="*/ 47766 w 94115"/>
              <a:gd name="connsiteY1" fmla="*/ 672 h 152377"/>
              <a:gd name="connsiteX2" fmla="*/ 1604 w 94115"/>
              <a:gd name="connsiteY2" fmla="*/ 95684 h 152377"/>
              <a:gd name="connsiteX3" fmla="*/ 46869 w 94115"/>
              <a:gd name="connsiteY3" fmla="*/ 125264 h 152377"/>
              <a:gd name="connsiteX4" fmla="*/ 46869 w 94115"/>
              <a:gd name="connsiteY4" fmla="*/ 151706 h 152377"/>
              <a:gd name="connsiteX5" fmla="*/ 49110 w 94115"/>
              <a:gd name="connsiteY5" fmla="*/ 153947 h 152377"/>
              <a:gd name="connsiteX6" fmla="*/ 51351 w 94115"/>
              <a:gd name="connsiteY6" fmla="*/ 151706 h 152377"/>
              <a:gd name="connsiteX7" fmla="*/ 51351 w 94115"/>
              <a:gd name="connsiteY7" fmla="*/ 125264 h 152377"/>
              <a:gd name="connsiteX8" fmla="*/ 96616 w 94115"/>
              <a:gd name="connsiteY8" fmla="*/ 95684 h 152377"/>
              <a:gd name="connsiteX9" fmla="*/ 50903 w 94115"/>
              <a:gd name="connsiteY9" fmla="*/ 672 h 152377"/>
              <a:gd name="connsiteX10" fmla="*/ 6086 w 94115"/>
              <a:gd name="connsiteY10" fmla="*/ 94340 h 152377"/>
              <a:gd name="connsiteX11" fmla="*/ 47318 w 94115"/>
              <a:gd name="connsiteY11" fmla="*/ 7843 h 152377"/>
              <a:gd name="connsiteX12" fmla="*/ 47318 w 94115"/>
              <a:gd name="connsiteY12" fmla="*/ 53108 h 152377"/>
              <a:gd name="connsiteX13" fmla="*/ 35217 w 94115"/>
              <a:gd name="connsiteY13" fmla="*/ 41904 h 152377"/>
              <a:gd name="connsiteX14" fmla="*/ 32080 w 94115"/>
              <a:gd name="connsiteY14" fmla="*/ 41904 h 152377"/>
              <a:gd name="connsiteX15" fmla="*/ 32080 w 94115"/>
              <a:gd name="connsiteY15" fmla="*/ 45041 h 152377"/>
              <a:gd name="connsiteX16" fmla="*/ 47318 w 94115"/>
              <a:gd name="connsiteY16" fmla="*/ 58934 h 152377"/>
              <a:gd name="connsiteX17" fmla="*/ 47318 w 94115"/>
              <a:gd name="connsiteY17" fmla="*/ 88962 h 152377"/>
              <a:gd name="connsiteX18" fmla="*/ 24013 w 94115"/>
              <a:gd name="connsiteY18" fmla="*/ 69242 h 152377"/>
              <a:gd name="connsiteX19" fmla="*/ 20875 w 94115"/>
              <a:gd name="connsiteY19" fmla="*/ 69690 h 152377"/>
              <a:gd name="connsiteX20" fmla="*/ 21324 w 94115"/>
              <a:gd name="connsiteY20" fmla="*/ 72828 h 152377"/>
              <a:gd name="connsiteX21" fmla="*/ 47318 w 94115"/>
              <a:gd name="connsiteY21" fmla="*/ 95236 h 152377"/>
              <a:gd name="connsiteX22" fmla="*/ 47318 w 94115"/>
              <a:gd name="connsiteY22" fmla="*/ 120782 h 152377"/>
              <a:gd name="connsiteX23" fmla="*/ 6086 w 94115"/>
              <a:gd name="connsiteY23" fmla="*/ 94340 h 152377"/>
              <a:gd name="connsiteX24" fmla="*/ 93031 w 94115"/>
              <a:gd name="connsiteY24" fmla="*/ 94340 h 152377"/>
              <a:gd name="connsiteX25" fmla="*/ 51799 w 94115"/>
              <a:gd name="connsiteY25" fmla="*/ 120782 h 152377"/>
              <a:gd name="connsiteX26" fmla="*/ 51799 w 94115"/>
              <a:gd name="connsiteY26" fmla="*/ 95236 h 152377"/>
              <a:gd name="connsiteX27" fmla="*/ 77793 w 94115"/>
              <a:gd name="connsiteY27" fmla="*/ 71931 h 152377"/>
              <a:gd name="connsiteX28" fmla="*/ 77793 w 94115"/>
              <a:gd name="connsiteY28" fmla="*/ 68794 h 152377"/>
              <a:gd name="connsiteX29" fmla="*/ 74656 w 94115"/>
              <a:gd name="connsiteY29" fmla="*/ 68794 h 152377"/>
              <a:gd name="connsiteX30" fmla="*/ 51351 w 94115"/>
              <a:gd name="connsiteY30" fmla="*/ 89410 h 152377"/>
              <a:gd name="connsiteX31" fmla="*/ 51351 w 94115"/>
              <a:gd name="connsiteY31" fmla="*/ 59831 h 152377"/>
              <a:gd name="connsiteX32" fmla="*/ 66589 w 94115"/>
              <a:gd name="connsiteY32" fmla="*/ 45937 h 152377"/>
              <a:gd name="connsiteX33" fmla="*/ 66589 w 94115"/>
              <a:gd name="connsiteY33" fmla="*/ 42800 h 152377"/>
              <a:gd name="connsiteX34" fmla="*/ 63452 w 94115"/>
              <a:gd name="connsiteY34" fmla="*/ 42800 h 152377"/>
              <a:gd name="connsiteX35" fmla="*/ 51351 w 94115"/>
              <a:gd name="connsiteY35" fmla="*/ 54004 h 152377"/>
              <a:gd name="connsiteX36" fmla="*/ 51351 w 94115"/>
              <a:gd name="connsiteY36" fmla="*/ 8739 h 152377"/>
              <a:gd name="connsiteX37" fmla="*/ 93031 w 94115"/>
              <a:gd name="connsiteY37" fmla="*/ 9434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4115" h="152377">
                <a:moveTo>
                  <a:pt x="50903" y="672"/>
                </a:moveTo>
                <a:cubicBezTo>
                  <a:pt x="50007" y="-224"/>
                  <a:pt x="48662" y="-224"/>
                  <a:pt x="47766" y="672"/>
                </a:cubicBezTo>
                <a:cubicBezTo>
                  <a:pt x="45525" y="2913"/>
                  <a:pt x="-10048" y="58038"/>
                  <a:pt x="1604" y="95684"/>
                </a:cubicBezTo>
                <a:cubicBezTo>
                  <a:pt x="6534" y="110922"/>
                  <a:pt x="21772" y="120782"/>
                  <a:pt x="46869" y="125264"/>
                </a:cubicBezTo>
                <a:lnTo>
                  <a:pt x="46869" y="151706"/>
                </a:lnTo>
                <a:cubicBezTo>
                  <a:pt x="46869" y="153050"/>
                  <a:pt x="47766" y="153947"/>
                  <a:pt x="49110" y="153947"/>
                </a:cubicBezTo>
                <a:cubicBezTo>
                  <a:pt x="50455" y="153947"/>
                  <a:pt x="51351" y="153050"/>
                  <a:pt x="51351" y="151706"/>
                </a:cubicBezTo>
                <a:lnTo>
                  <a:pt x="51351" y="125264"/>
                </a:lnTo>
                <a:cubicBezTo>
                  <a:pt x="76449" y="120782"/>
                  <a:pt x="92135" y="110922"/>
                  <a:pt x="96616" y="95684"/>
                </a:cubicBezTo>
                <a:cubicBezTo>
                  <a:pt x="109165" y="58038"/>
                  <a:pt x="53592" y="2913"/>
                  <a:pt x="50903" y="672"/>
                </a:cubicBezTo>
                <a:close/>
                <a:moveTo>
                  <a:pt x="6086" y="94340"/>
                </a:moveTo>
                <a:cubicBezTo>
                  <a:pt x="-3326" y="64761"/>
                  <a:pt x="34769" y="21288"/>
                  <a:pt x="47318" y="7843"/>
                </a:cubicBezTo>
                <a:lnTo>
                  <a:pt x="47318" y="53108"/>
                </a:lnTo>
                <a:lnTo>
                  <a:pt x="35217" y="41904"/>
                </a:lnTo>
                <a:cubicBezTo>
                  <a:pt x="34321" y="41008"/>
                  <a:pt x="32976" y="41008"/>
                  <a:pt x="32080" y="41904"/>
                </a:cubicBezTo>
                <a:cubicBezTo>
                  <a:pt x="31183" y="42800"/>
                  <a:pt x="31183" y="44145"/>
                  <a:pt x="32080" y="45041"/>
                </a:cubicBezTo>
                <a:lnTo>
                  <a:pt x="47318" y="58934"/>
                </a:lnTo>
                <a:lnTo>
                  <a:pt x="47318" y="88962"/>
                </a:lnTo>
                <a:lnTo>
                  <a:pt x="24013" y="69242"/>
                </a:lnTo>
                <a:cubicBezTo>
                  <a:pt x="23116" y="68346"/>
                  <a:pt x="21772" y="68346"/>
                  <a:pt x="20875" y="69690"/>
                </a:cubicBezTo>
                <a:cubicBezTo>
                  <a:pt x="19979" y="70587"/>
                  <a:pt x="19979" y="71931"/>
                  <a:pt x="21324" y="72828"/>
                </a:cubicBezTo>
                <a:lnTo>
                  <a:pt x="47318" y="95236"/>
                </a:lnTo>
                <a:lnTo>
                  <a:pt x="47318" y="120782"/>
                </a:lnTo>
                <a:cubicBezTo>
                  <a:pt x="24461" y="116300"/>
                  <a:pt x="10568" y="107337"/>
                  <a:pt x="6086" y="94340"/>
                </a:cubicBezTo>
                <a:close/>
                <a:moveTo>
                  <a:pt x="93031" y="94340"/>
                </a:moveTo>
                <a:cubicBezTo>
                  <a:pt x="88997" y="107785"/>
                  <a:pt x="75104" y="116748"/>
                  <a:pt x="51799" y="120782"/>
                </a:cubicBezTo>
                <a:lnTo>
                  <a:pt x="51799" y="95236"/>
                </a:lnTo>
                <a:lnTo>
                  <a:pt x="77793" y="71931"/>
                </a:lnTo>
                <a:cubicBezTo>
                  <a:pt x="78690" y="71035"/>
                  <a:pt x="78690" y="69690"/>
                  <a:pt x="77793" y="68794"/>
                </a:cubicBezTo>
                <a:cubicBezTo>
                  <a:pt x="76897" y="67898"/>
                  <a:pt x="75552" y="67898"/>
                  <a:pt x="74656" y="68794"/>
                </a:cubicBezTo>
                <a:lnTo>
                  <a:pt x="51351" y="89410"/>
                </a:lnTo>
                <a:lnTo>
                  <a:pt x="51351" y="59831"/>
                </a:lnTo>
                <a:lnTo>
                  <a:pt x="66589" y="45937"/>
                </a:lnTo>
                <a:cubicBezTo>
                  <a:pt x="67485" y="45041"/>
                  <a:pt x="67485" y="43697"/>
                  <a:pt x="66589" y="42800"/>
                </a:cubicBezTo>
                <a:cubicBezTo>
                  <a:pt x="65693" y="41904"/>
                  <a:pt x="64348" y="41904"/>
                  <a:pt x="63452" y="42800"/>
                </a:cubicBezTo>
                <a:lnTo>
                  <a:pt x="51351" y="54004"/>
                </a:lnTo>
                <a:lnTo>
                  <a:pt x="51351" y="8739"/>
                </a:lnTo>
                <a:cubicBezTo>
                  <a:pt x="64348" y="21288"/>
                  <a:pt x="101994" y="64761"/>
                  <a:pt x="93031" y="94340"/>
                </a:cubicBezTo>
                <a:close/>
              </a:path>
            </a:pathLst>
          </a:custGeom>
          <a:solidFill>
            <a:srgbClr val="231F20"/>
          </a:solidFill>
          <a:ln w="4477" cap="flat">
            <a:noFill/>
            <a:prstDash val="solid"/>
            <a:miter/>
          </a:ln>
        </p:spPr>
        <p:txBody>
          <a:bodyPr rtlCol="0" anchor="ctr"/>
          <a:lstStyle/>
          <a:p>
            <a:endParaRPr lang="en-US"/>
          </a:p>
        </p:txBody>
      </p:sp>
      <p:grpSp>
        <p:nvGrpSpPr>
          <p:cNvPr id="2516" name="Group 2515">
            <a:extLst>
              <a:ext uri="{FF2B5EF4-FFF2-40B4-BE49-F238E27FC236}">
                <a16:creationId xmlns:a16="http://schemas.microsoft.com/office/drawing/2014/main" id="{696A175E-BA9A-49EF-8D27-79152A346733}"/>
              </a:ext>
              <a:ext uri="{C183D7F6-B498-43B3-948B-1728B52AA6E4}">
                <adec:decorative xmlns:adec="http://schemas.microsoft.com/office/drawing/2017/decorative" val="1"/>
              </a:ext>
            </a:extLst>
          </p:cNvPr>
          <p:cNvGrpSpPr>
            <a:grpSpLocks noChangeAspect="1"/>
          </p:cNvGrpSpPr>
          <p:nvPr/>
        </p:nvGrpSpPr>
        <p:grpSpPr>
          <a:xfrm>
            <a:off x="9869486" y="4169694"/>
            <a:ext cx="112043" cy="149689"/>
            <a:chOff x="9925986" y="2114003"/>
            <a:chExt cx="112043" cy="149689"/>
          </a:xfrm>
        </p:grpSpPr>
        <p:sp>
          <p:nvSpPr>
            <p:cNvPr id="5327" name="Freeform: Shape 5326">
              <a:extLst>
                <a:ext uri="{FF2B5EF4-FFF2-40B4-BE49-F238E27FC236}">
                  <a16:creationId xmlns:a16="http://schemas.microsoft.com/office/drawing/2014/main" id="{08FD8038-A17E-4795-9776-E19F30F0232E}"/>
                </a:ext>
              </a:extLst>
            </p:cNvPr>
            <p:cNvSpPr/>
            <p:nvPr/>
          </p:nvSpPr>
          <p:spPr>
            <a:xfrm>
              <a:off x="9973044" y="2138204"/>
              <a:ext cx="17927" cy="125488"/>
            </a:xfrm>
            <a:custGeom>
              <a:avLst/>
              <a:gdLst>
                <a:gd name="connsiteX0" fmla="*/ 11302 w 17926"/>
                <a:gd name="connsiteY0" fmla="*/ 0 h 125487"/>
                <a:gd name="connsiteX1" fmla="*/ 11302 w 17926"/>
                <a:gd name="connsiteY1" fmla="*/ 0 h 125487"/>
                <a:gd name="connsiteX2" fmla="*/ 10854 w 17926"/>
                <a:gd name="connsiteY2" fmla="*/ 0 h 125487"/>
                <a:gd name="connsiteX3" fmla="*/ 9061 w 17926"/>
                <a:gd name="connsiteY3" fmla="*/ 896 h 125487"/>
                <a:gd name="connsiteX4" fmla="*/ 994 w 17926"/>
                <a:gd name="connsiteY4" fmla="*/ 33613 h 125487"/>
                <a:gd name="connsiteX5" fmla="*/ 8613 w 17926"/>
                <a:gd name="connsiteY5" fmla="*/ 41680 h 125487"/>
                <a:gd name="connsiteX6" fmla="*/ 8613 w 17926"/>
                <a:gd name="connsiteY6" fmla="*/ 123695 h 125487"/>
                <a:gd name="connsiteX7" fmla="*/ 10854 w 17926"/>
                <a:gd name="connsiteY7" fmla="*/ 125936 h 125487"/>
                <a:gd name="connsiteX8" fmla="*/ 13095 w 17926"/>
                <a:gd name="connsiteY8" fmla="*/ 123695 h 125487"/>
                <a:gd name="connsiteX9" fmla="*/ 13095 w 17926"/>
                <a:gd name="connsiteY9" fmla="*/ 41680 h 125487"/>
                <a:gd name="connsiteX10" fmla="*/ 20713 w 17926"/>
                <a:gd name="connsiteY10" fmla="*/ 33613 h 125487"/>
                <a:gd name="connsiteX11" fmla="*/ 12646 w 17926"/>
                <a:gd name="connsiteY11" fmla="*/ 896 h 125487"/>
                <a:gd name="connsiteX12" fmla="*/ 11302 w 17926"/>
                <a:gd name="connsiteY12" fmla="*/ 0 h 125487"/>
                <a:gd name="connsiteX13" fmla="*/ 16680 w 17926"/>
                <a:gd name="connsiteY13" fmla="*/ 32268 h 125487"/>
                <a:gd name="connsiteX14" fmla="*/ 10854 w 17926"/>
                <a:gd name="connsiteY14" fmla="*/ 38094 h 125487"/>
                <a:gd name="connsiteX15" fmla="*/ 5027 w 17926"/>
                <a:gd name="connsiteY15" fmla="*/ 32268 h 125487"/>
                <a:gd name="connsiteX16" fmla="*/ 10854 w 17926"/>
                <a:gd name="connsiteY16" fmla="*/ 6723 h 125487"/>
                <a:gd name="connsiteX17" fmla="*/ 16680 w 17926"/>
                <a:gd name="connsiteY17" fmla="*/ 32268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25487">
                  <a:moveTo>
                    <a:pt x="11302" y="0"/>
                  </a:moveTo>
                  <a:cubicBezTo>
                    <a:pt x="10854" y="0"/>
                    <a:pt x="10854"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23695"/>
                  </a:lnTo>
                  <a:cubicBezTo>
                    <a:pt x="8613" y="125040"/>
                    <a:pt x="9509" y="125936"/>
                    <a:pt x="10854" y="125936"/>
                  </a:cubicBezTo>
                  <a:cubicBezTo>
                    <a:pt x="12198" y="125936"/>
                    <a:pt x="13095" y="125040"/>
                    <a:pt x="13095" y="123695"/>
                  </a:cubicBezTo>
                  <a:lnTo>
                    <a:pt x="13095" y="41680"/>
                  </a:lnTo>
                  <a:cubicBezTo>
                    <a:pt x="17128" y="39887"/>
                    <a:pt x="19369" y="37198"/>
                    <a:pt x="20713" y="33613"/>
                  </a:cubicBezTo>
                  <a:cubicBezTo>
                    <a:pt x="25195" y="21064"/>
                    <a:pt x="13095" y="1793"/>
                    <a:pt x="12646" y="896"/>
                  </a:cubicBezTo>
                  <a:cubicBezTo>
                    <a:pt x="12646" y="448"/>
                    <a:pt x="11750"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4439" y="12997"/>
                    <a:pt x="19369" y="25098"/>
                    <a:pt x="16680" y="32268"/>
                  </a:cubicBezTo>
                  <a:close/>
                </a:path>
              </a:pathLst>
            </a:custGeom>
            <a:solidFill>
              <a:srgbClr val="231F20"/>
            </a:solidFill>
            <a:ln w="4477" cap="flat">
              <a:noFill/>
              <a:prstDash val="solid"/>
              <a:miter/>
            </a:ln>
          </p:spPr>
          <p:txBody>
            <a:bodyPr rtlCol="0" anchor="ctr"/>
            <a:lstStyle/>
            <a:p>
              <a:endParaRPr lang="en-US"/>
            </a:p>
          </p:txBody>
        </p:sp>
        <p:sp>
          <p:nvSpPr>
            <p:cNvPr id="5328" name="Freeform: Shape 5327">
              <a:extLst>
                <a:ext uri="{FF2B5EF4-FFF2-40B4-BE49-F238E27FC236}">
                  <a16:creationId xmlns:a16="http://schemas.microsoft.com/office/drawing/2014/main" id="{89FB96D1-777B-461D-A13C-FFC89E0EA562}"/>
                </a:ext>
              </a:extLst>
            </p:cNvPr>
            <p:cNvSpPr/>
            <p:nvPr/>
          </p:nvSpPr>
          <p:spPr>
            <a:xfrm>
              <a:off x="9996349" y="2114003"/>
              <a:ext cx="17927" cy="147896"/>
            </a:xfrm>
            <a:custGeom>
              <a:avLst/>
              <a:gdLst>
                <a:gd name="connsiteX0" fmla="*/ 11302 w 17926"/>
                <a:gd name="connsiteY0" fmla="*/ 0 h 147896"/>
                <a:gd name="connsiteX1" fmla="*/ 11302 w 17926"/>
                <a:gd name="connsiteY1" fmla="*/ 0 h 147896"/>
                <a:gd name="connsiteX2" fmla="*/ 10854 w 17926"/>
                <a:gd name="connsiteY2" fmla="*/ 0 h 147896"/>
                <a:gd name="connsiteX3" fmla="*/ 9061 w 17926"/>
                <a:gd name="connsiteY3" fmla="*/ 896 h 147896"/>
                <a:gd name="connsiteX4" fmla="*/ 994 w 17926"/>
                <a:gd name="connsiteY4" fmla="*/ 33613 h 147896"/>
                <a:gd name="connsiteX5" fmla="*/ 8613 w 17926"/>
                <a:gd name="connsiteY5" fmla="*/ 41680 h 147896"/>
                <a:gd name="connsiteX6" fmla="*/ 8613 w 17926"/>
                <a:gd name="connsiteY6" fmla="*/ 147896 h 147896"/>
                <a:gd name="connsiteX7" fmla="*/ 10854 w 17926"/>
                <a:gd name="connsiteY7" fmla="*/ 150137 h 147896"/>
                <a:gd name="connsiteX8" fmla="*/ 13094 w 17926"/>
                <a:gd name="connsiteY8" fmla="*/ 147896 h 147896"/>
                <a:gd name="connsiteX9" fmla="*/ 13094 w 17926"/>
                <a:gd name="connsiteY9" fmla="*/ 41680 h 147896"/>
                <a:gd name="connsiteX10" fmla="*/ 20713 w 17926"/>
                <a:gd name="connsiteY10" fmla="*/ 33613 h 147896"/>
                <a:gd name="connsiteX11" fmla="*/ 12646 w 17926"/>
                <a:gd name="connsiteY11" fmla="*/ 896 h 147896"/>
                <a:gd name="connsiteX12" fmla="*/ 11302 w 17926"/>
                <a:gd name="connsiteY12" fmla="*/ 0 h 147896"/>
                <a:gd name="connsiteX13" fmla="*/ 16680 w 17926"/>
                <a:gd name="connsiteY13" fmla="*/ 32268 h 147896"/>
                <a:gd name="connsiteX14" fmla="*/ 10854 w 17926"/>
                <a:gd name="connsiteY14" fmla="*/ 38094 h 147896"/>
                <a:gd name="connsiteX15" fmla="*/ 5027 w 17926"/>
                <a:gd name="connsiteY15" fmla="*/ 32268 h 147896"/>
                <a:gd name="connsiteX16" fmla="*/ 10854 w 17926"/>
                <a:gd name="connsiteY16" fmla="*/ 6723 h 147896"/>
                <a:gd name="connsiteX17" fmla="*/ 16680 w 17926"/>
                <a:gd name="connsiteY17" fmla="*/ 3226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47896">
                  <a:moveTo>
                    <a:pt x="11302" y="0"/>
                  </a:moveTo>
                  <a:cubicBezTo>
                    <a:pt x="11302" y="0"/>
                    <a:pt x="11302"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47896"/>
                  </a:lnTo>
                  <a:cubicBezTo>
                    <a:pt x="8613" y="149241"/>
                    <a:pt x="9509" y="150137"/>
                    <a:pt x="10854" y="150137"/>
                  </a:cubicBezTo>
                  <a:cubicBezTo>
                    <a:pt x="12198" y="150137"/>
                    <a:pt x="13094" y="149241"/>
                    <a:pt x="13094" y="147896"/>
                  </a:cubicBezTo>
                  <a:lnTo>
                    <a:pt x="13094" y="41680"/>
                  </a:lnTo>
                  <a:cubicBezTo>
                    <a:pt x="17128" y="39887"/>
                    <a:pt x="19369" y="37198"/>
                    <a:pt x="20713" y="33613"/>
                  </a:cubicBezTo>
                  <a:cubicBezTo>
                    <a:pt x="25195" y="21064"/>
                    <a:pt x="13094" y="1793"/>
                    <a:pt x="12646" y="896"/>
                  </a:cubicBezTo>
                  <a:cubicBezTo>
                    <a:pt x="12646" y="448"/>
                    <a:pt x="12198"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4439" y="12997"/>
                    <a:pt x="19369" y="24649"/>
                    <a:pt x="16680" y="32268"/>
                  </a:cubicBezTo>
                  <a:close/>
                </a:path>
              </a:pathLst>
            </a:custGeom>
            <a:solidFill>
              <a:srgbClr val="231F20"/>
            </a:solidFill>
            <a:ln w="4477" cap="flat">
              <a:noFill/>
              <a:prstDash val="solid"/>
              <a:miter/>
            </a:ln>
          </p:spPr>
          <p:txBody>
            <a:bodyPr rtlCol="0" anchor="ctr"/>
            <a:lstStyle/>
            <a:p>
              <a:endParaRPr lang="en-US"/>
            </a:p>
          </p:txBody>
        </p:sp>
        <p:sp>
          <p:nvSpPr>
            <p:cNvPr id="5329" name="Freeform: Shape 5328">
              <a:extLst>
                <a:ext uri="{FF2B5EF4-FFF2-40B4-BE49-F238E27FC236}">
                  <a16:creationId xmlns:a16="http://schemas.microsoft.com/office/drawing/2014/main" id="{5C3D5D9D-FBDA-4E15-8A83-41DC40B231CF}"/>
                </a:ext>
              </a:extLst>
            </p:cNvPr>
            <p:cNvSpPr/>
            <p:nvPr/>
          </p:nvSpPr>
          <p:spPr>
            <a:xfrm>
              <a:off x="9925986" y="2154339"/>
              <a:ext cx="17927" cy="107561"/>
            </a:xfrm>
            <a:custGeom>
              <a:avLst/>
              <a:gdLst>
                <a:gd name="connsiteX0" fmla="*/ 11302 w 17926"/>
                <a:gd name="connsiteY0" fmla="*/ 0 h 107560"/>
                <a:gd name="connsiteX1" fmla="*/ 11302 w 17926"/>
                <a:gd name="connsiteY1" fmla="*/ 0 h 107560"/>
                <a:gd name="connsiteX2" fmla="*/ 10854 w 17926"/>
                <a:gd name="connsiteY2" fmla="*/ 0 h 107560"/>
                <a:gd name="connsiteX3" fmla="*/ 9061 w 17926"/>
                <a:gd name="connsiteY3" fmla="*/ 896 h 107560"/>
                <a:gd name="connsiteX4" fmla="*/ 994 w 17926"/>
                <a:gd name="connsiteY4" fmla="*/ 33613 h 107560"/>
                <a:gd name="connsiteX5" fmla="*/ 8613 w 17926"/>
                <a:gd name="connsiteY5" fmla="*/ 41680 h 107560"/>
                <a:gd name="connsiteX6" fmla="*/ 8613 w 17926"/>
                <a:gd name="connsiteY6" fmla="*/ 107113 h 107560"/>
                <a:gd name="connsiteX7" fmla="*/ 10854 w 17926"/>
                <a:gd name="connsiteY7" fmla="*/ 109354 h 107560"/>
                <a:gd name="connsiteX8" fmla="*/ 13095 w 17926"/>
                <a:gd name="connsiteY8" fmla="*/ 107113 h 107560"/>
                <a:gd name="connsiteX9" fmla="*/ 13095 w 17926"/>
                <a:gd name="connsiteY9" fmla="*/ 41680 h 107560"/>
                <a:gd name="connsiteX10" fmla="*/ 20713 w 17926"/>
                <a:gd name="connsiteY10" fmla="*/ 33613 h 107560"/>
                <a:gd name="connsiteX11" fmla="*/ 12646 w 17926"/>
                <a:gd name="connsiteY11" fmla="*/ 896 h 107560"/>
                <a:gd name="connsiteX12" fmla="*/ 11302 w 17926"/>
                <a:gd name="connsiteY12" fmla="*/ 0 h 107560"/>
                <a:gd name="connsiteX13" fmla="*/ 16680 w 17926"/>
                <a:gd name="connsiteY13" fmla="*/ 32268 h 107560"/>
                <a:gd name="connsiteX14" fmla="*/ 10854 w 17926"/>
                <a:gd name="connsiteY14" fmla="*/ 38094 h 107560"/>
                <a:gd name="connsiteX15" fmla="*/ 5027 w 17926"/>
                <a:gd name="connsiteY15" fmla="*/ 32268 h 107560"/>
                <a:gd name="connsiteX16" fmla="*/ 10854 w 17926"/>
                <a:gd name="connsiteY16" fmla="*/ 6723 h 107560"/>
                <a:gd name="connsiteX17" fmla="*/ 16680 w 17926"/>
                <a:gd name="connsiteY17" fmla="*/ 32268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07560">
                  <a:moveTo>
                    <a:pt x="11302" y="0"/>
                  </a:moveTo>
                  <a:cubicBezTo>
                    <a:pt x="10854" y="0"/>
                    <a:pt x="10854"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07113"/>
                  </a:lnTo>
                  <a:cubicBezTo>
                    <a:pt x="8613" y="108457"/>
                    <a:pt x="9509" y="109354"/>
                    <a:pt x="10854" y="109354"/>
                  </a:cubicBezTo>
                  <a:cubicBezTo>
                    <a:pt x="12198" y="109354"/>
                    <a:pt x="13095" y="108457"/>
                    <a:pt x="13095" y="107113"/>
                  </a:cubicBezTo>
                  <a:lnTo>
                    <a:pt x="13095" y="41680"/>
                  </a:lnTo>
                  <a:cubicBezTo>
                    <a:pt x="17128" y="39887"/>
                    <a:pt x="19369" y="37198"/>
                    <a:pt x="20713" y="33613"/>
                  </a:cubicBezTo>
                  <a:cubicBezTo>
                    <a:pt x="25195" y="21064"/>
                    <a:pt x="13095" y="1793"/>
                    <a:pt x="12646" y="896"/>
                  </a:cubicBezTo>
                  <a:cubicBezTo>
                    <a:pt x="12646" y="448"/>
                    <a:pt x="11750"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3991" y="12101"/>
                    <a:pt x="19369" y="24201"/>
                    <a:pt x="16680" y="32268"/>
                  </a:cubicBezTo>
                  <a:close/>
                </a:path>
              </a:pathLst>
            </a:custGeom>
            <a:solidFill>
              <a:srgbClr val="231F20"/>
            </a:solidFill>
            <a:ln w="4477" cap="flat">
              <a:noFill/>
              <a:prstDash val="solid"/>
              <a:miter/>
            </a:ln>
          </p:spPr>
          <p:txBody>
            <a:bodyPr rtlCol="0" anchor="ctr"/>
            <a:lstStyle/>
            <a:p>
              <a:endParaRPr lang="en-US"/>
            </a:p>
          </p:txBody>
        </p:sp>
        <p:sp>
          <p:nvSpPr>
            <p:cNvPr id="5330" name="Freeform: Shape 5329">
              <a:extLst>
                <a:ext uri="{FF2B5EF4-FFF2-40B4-BE49-F238E27FC236}">
                  <a16:creationId xmlns:a16="http://schemas.microsoft.com/office/drawing/2014/main" id="{C4E93183-EA91-4BD9-BD74-76F51DEA5EC0}"/>
                </a:ext>
              </a:extLst>
            </p:cNvPr>
            <p:cNvSpPr/>
            <p:nvPr/>
          </p:nvSpPr>
          <p:spPr>
            <a:xfrm>
              <a:off x="9949291" y="2114003"/>
              <a:ext cx="17927" cy="147896"/>
            </a:xfrm>
            <a:custGeom>
              <a:avLst/>
              <a:gdLst>
                <a:gd name="connsiteX0" fmla="*/ 11302 w 17926"/>
                <a:gd name="connsiteY0" fmla="*/ 0 h 147896"/>
                <a:gd name="connsiteX1" fmla="*/ 11302 w 17926"/>
                <a:gd name="connsiteY1" fmla="*/ 0 h 147896"/>
                <a:gd name="connsiteX2" fmla="*/ 10854 w 17926"/>
                <a:gd name="connsiteY2" fmla="*/ 0 h 147896"/>
                <a:gd name="connsiteX3" fmla="*/ 9061 w 17926"/>
                <a:gd name="connsiteY3" fmla="*/ 896 h 147896"/>
                <a:gd name="connsiteX4" fmla="*/ 994 w 17926"/>
                <a:gd name="connsiteY4" fmla="*/ 33613 h 147896"/>
                <a:gd name="connsiteX5" fmla="*/ 8613 w 17926"/>
                <a:gd name="connsiteY5" fmla="*/ 41680 h 147896"/>
                <a:gd name="connsiteX6" fmla="*/ 8613 w 17926"/>
                <a:gd name="connsiteY6" fmla="*/ 147896 h 147896"/>
                <a:gd name="connsiteX7" fmla="*/ 10854 w 17926"/>
                <a:gd name="connsiteY7" fmla="*/ 150137 h 147896"/>
                <a:gd name="connsiteX8" fmla="*/ 13094 w 17926"/>
                <a:gd name="connsiteY8" fmla="*/ 147896 h 147896"/>
                <a:gd name="connsiteX9" fmla="*/ 13094 w 17926"/>
                <a:gd name="connsiteY9" fmla="*/ 41680 h 147896"/>
                <a:gd name="connsiteX10" fmla="*/ 20713 w 17926"/>
                <a:gd name="connsiteY10" fmla="*/ 33613 h 147896"/>
                <a:gd name="connsiteX11" fmla="*/ 12646 w 17926"/>
                <a:gd name="connsiteY11" fmla="*/ 896 h 147896"/>
                <a:gd name="connsiteX12" fmla="*/ 11302 w 17926"/>
                <a:gd name="connsiteY12" fmla="*/ 0 h 147896"/>
                <a:gd name="connsiteX13" fmla="*/ 16680 w 17926"/>
                <a:gd name="connsiteY13" fmla="*/ 32268 h 147896"/>
                <a:gd name="connsiteX14" fmla="*/ 10854 w 17926"/>
                <a:gd name="connsiteY14" fmla="*/ 38094 h 147896"/>
                <a:gd name="connsiteX15" fmla="*/ 5027 w 17926"/>
                <a:gd name="connsiteY15" fmla="*/ 32268 h 147896"/>
                <a:gd name="connsiteX16" fmla="*/ 10854 w 17926"/>
                <a:gd name="connsiteY16" fmla="*/ 6723 h 147896"/>
                <a:gd name="connsiteX17" fmla="*/ 16680 w 17926"/>
                <a:gd name="connsiteY17" fmla="*/ 3226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47896">
                  <a:moveTo>
                    <a:pt x="11302" y="0"/>
                  </a:moveTo>
                  <a:cubicBezTo>
                    <a:pt x="11302" y="0"/>
                    <a:pt x="11302" y="0"/>
                    <a:pt x="11302" y="0"/>
                  </a:cubicBezTo>
                  <a:cubicBezTo>
                    <a:pt x="10854" y="0"/>
                    <a:pt x="10854" y="0"/>
                    <a:pt x="10854" y="0"/>
                  </a:cubicBezTo>
                  <a:cubicBezTo>
                    <a:pt x="9957" y="0"/>
                    <a:pt x="9509" y="448"/>
                    <a:pt x="9061" y="896"/>
                  </a:cubicBezTo>
                  <a:cubicBezTo>
                    <a:pt x="8613" y="1793"/>
                    <a:pt x="-3488" y="21064"/>
                    <a:pt x="994" y="33613"/>
                  </a:cubicBezTo>
                  <a:cubicBezTo>
                    <a:pt x="2338" y="37198"/>
                    <a:pt x="5027" y="39887"/>
                    <a:pt x="8613" y="41680"/>
                  </a:cubicBezTo>
                  <a:lnTo>
                    <a:pt x="8613" y="147896"/>
                  </a:lnTo>
                  <a:cubicBezTo>
                    <a:pt x="8613" y="149241"/>
                    <a:pt x="9509" y="150137"/>
                    <a:pt x="10854" y="150137"/>
                  </a:cubicBezTo>
                  <a:cubicBezTo>
                    <a:pt x="12198" y="150137"/>
                    <a:pt x="13094" y="149241"/>
                    <a:pt x="13094" y="147896"/>
                  </a:cubicBezTo>
                  <a:lnTo>
                    <a:pt x="13094" y="41680"/>
                  </a:lnTo>
                  <a:cubicBezTo>
                    <a:pt x="17128" y="39887"/>
                    <a:pt x="19369" y="37198"/>
                    <a:pt x="20713" y="33613"/>
                  </a:cubicBezTo>
                  <a:cubicBezTo>
                    <a:pt x="25195" y="21064"/>
                    <a:pt x="13094" y="1793"/>
                    <a:pt x="12646" y="896"/>
                  </a:cubicBezTo>
                  <a:cubicBezTo>
                    <a:pt x="12646" y="448"/>
                    <a:pt x="12198" y="0"/>
                    <a:pt x="11302" y="0"/>
                  </a:cubicBezTo>
                  <a:close/>
                  <a:moveTo>
                    <a:pt x="16680" y="32268"/>
                  </a:moveTo>
                  <a:cubicBezTo>
                    <a:pt x="15784" y="34957"/>
                    <a:pt x="13991" y="36750"/>
                    <a:pt x="10854" y="38094"/>
                  </a:cubicBezTo>
                  <a:cubicBezTo>
                    <a:pt x="7717" y="36750"/>
                    <a:pt x="5924" y="34957"/>
                    <a:pt x="5027" y="32268"/>
                  </a:cubicBezTo>
                  <a:cubicBezTo>
                    <a:pt x="2338" y="24201"/>
                    <a:pt x="7717" y="12101"/>
                    <a:pt x="10854" y="6723"/>
                  </a:cubicBezTo>
                  <a:cubicBezTo>
                    <a:pt x="14439" y="12997"/>
                    <a:pt x="19369" y="24649"/>
                    <a:pt x="16680" y="32268"/>
                  </a:cubicBezTo>
                  <a:close/>
                </a:path>
              </a:pathLst>
            </a:custGeom>
            <a:solidFill>
              <a:srgbClr val="231F20"/>
            </a:solidFill>
            <a:ln w="4477" cap="flat">
              <a:noFill/>
              <a:prstDash val="solid"/>
              <a:miter/>
            </a:ln>
          </p:spPr>
          <p:txBody>
            <a:bodyPr rtlCol="0" anchor="ctr"/>
            <a:lstStyle/>
            <a:p>
              <a:endParaRPr lang="en-US"/>
            </a:p>
          </p:txBody>
        </p:sp>
        <p:sp>
          <p:nvSpPr>
            <p:cNvPr id="5331" name="Freeform: Shape 5330">
              <a:extLst>
                <a:ext uri="{FF2B5EF4-FFF2-40B4-BE49-F238E27FC236}">
                  <a16:creationId xmlns:a16="http://schemas.microsoft.com/office/drawing/2014/main" id="{FE0B3B01-B3FA-4235-B121-388085C62AE7}"/>
                </a:ext>
              </a:extLst>
            </p:cNvPr>
            <p:cNvSpPr/>
            <p:nvPr/>
          </p:nvSpPr>
          <p:spPr>
            <a:xfrm>
              <a:off x="10020102" y="2154787"/>
              <a:ext cx="17927" cy="107561"/>
            </a:xfrm>
            <a:custGeom>
              <a:avLst/>
              <a:gdLst>
                <a:gd name="connsiteX0" fmla="*/ 13095 w 17926"/>
                <a:gd name="connsiteY0" fmla="*/ 896 h 107560"/>
                <a:gd name="connsiteX1" fmla="*/ 11302 w 17926"/>
                <a:gd name="connsiteY1" fmla="*/ 0 h 107560"/>
                <a:gd name="connsiteX2" fmla="*/ 11302 w 17926"/>
                <a:gd name="connsiteY2" fmla="*/ 0 h 107560"/>
                <a:gd name="connsiteX3" fmla="*/ 10854 w 17926"/>
                <a:gd name="connsiteY3" fmla="*/ 0 h 107560"/>
                <a:gd name="connsiteX4" fmla="*/ 9061 w 17926"/>
                <a:gd name="connsiteY4" fmla="*/ 896 h 107560"/>
                <a:gd name="connsiteX5" fmla="*/ 994 w 17926"/>
                <a:gd name="connsiteY5" fmla="*/ 33613 h 107560"/>
                <a:gd name="connsiteX6" fmla="*/ 8613 w 17926"/>
                <a:gd name="connsiteY6" fmla="*/ 41680 h 107560"/>
                <a:gd name="connsiteX7" fmla="*/ 8613 w 17926"/>
                <a:gd name="connsiteY7" fmla="*/ 107561 h 107560"/>
                <a:gd name="connsiteX8" fmla="*/ 10854 w 17926"/>
                <a:gd name="connsiteY8" fmla="*/ 109802 h 107560"/>
                <a:gd name="connsiteX9" fmla="*/ 13095 w 17926"/>
                <a:gd name="connsiteY9" fmla="*/ 107561 h 107560"/>
                <a:gd name="connsiteX10" fmla="*/ 13095 w 17926"/>
                <a:gd name="connsiteY10" fmla="*/ 41680 h 107560"/>
                <a:gd name="connsiteX11" fmla="*/ 20713 w 17926"/>
                <a:gd name="connsiteY11" fmla="*/ 33613 h 107560"/>
                <a:gd name="connsiteX12" fmla="*/ 13095 w 17926"/>
                <a:gd name="connsiteY12" fmla="*/ 896 h 107560"/>
                <a:gd name="connsiteX13" fmla="*/ 16680 w 17926"/>
                <a:gd name="connsiteY13" fmla="*/ 31820 h 107560"/>
                <a:gd name="connsiteX14" fmla="*/ 10854 w 17926"/>
                <a:gd name="connsiteY14" fmla="*/ 37646 h 107560"/>
                <a:gd name="connsiteX15" fmla="*/ 5027 w 17926"/>
                <a:gd name="connsiteY15" fmla="*/ 31820 h 107560"/>
                <a:gd name="connsiteX16" fmla="*/ 10854 w 17926"/>
                <a:gd name="connsiteY16" fmla="*/ 6274 h 107560"/>
                <a:gd name="connsiteX17" fmla="*/ 16680 w 17926"/>
                <a:gd name="connsiteY17" fmla="*/ 3182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26" h="107560">
                  <a:moveTo>
                    <a:pt x="13095" y="896"/>
                  </a:moveTo>
                  <a:cubicBezTo>
                    <a:pt x="12646" y="448"/>
                    <a:pt x="12198" y="0"/>
                    <a:pt x="11302" y="0"/>
                  </a:cubicBezTo>
                  <a:cubicBezTo>
                    <a:pt x="11302" y="0"/>
                    <a:pt x="11302" y="0"/>
                    <a:pt x="11302" y="0"/>
                  </a:cubicBezTo>
                  <a:cubicBezTo>
                    <a:pt x="11302" y="0"/>
                    <a:pt x="11302" y="0"/>
                    <a:pt x="10854" y="0"/>
                  </a:cubicBezTo>
                  <a:cubicBezTo>
                    <a:pt x="9957" y="0"/>
                    <a:pt x="9509" y="448"/>
                    <a:pt x="9061" y="896"/>
                  </a:cubicBezTo>
                  <a:cubicBezTo>
                    <a:pt x="8613" y="1793"/>
                    <a:pt x="-3488" y="21064"/>
                    <a:pt x="994" y="33613"/>
                  </a:cubicBezTo>
                  <a:cubicBezTo>
                    <a:pt x="2338" y="37198"/>
                    <a:pt x="5027" y="39887"/>
                    <a:pt x="8613" y="41680"/>
                  </a:cubicBezTo>
                  <a:lnTo>
                    <a:pt x="8613" y="107561"/>
                  </a:lnTo>
                  <a:cubicBezTo>
                    <a:pt x="8613" y="108905"/>
                    <a:pt x="9509" y="109802"/>
                    <a:pt x="10854" y="109802"/>
                  </a:cubicBezTo>
                  <a:cubicBezTo>
                    <a:pt x="12198" y="109802"/>
                    <a:pt x="13095" y="108905"/>
                    <a:pt x="13095" y="107561"/>
                  </a:cubicBezTo>
                  <a:lnTo>
                    <a:pt x="13095" y="41680"/>
                  </a:lnTo>
                  <a:cubicBezTo>
                    <a:pt x="17128" y="39887"/>
                    <a:pt x="19369" y="37198"/>
                    <a:pt x="20713" y="33613"/>
                  </a:cubicBezTo>
                  <a:cubicBezTo>
                    <a:pt x="25195" y="20616"/>
                    <a:pt x="13543" y="1345"/>
                    <a:pt x="13095" y="896"/>
                  </a:cubicBezTo>
                  <a:close/>
                  <a:moveTo>
                    <a:pt x="16680" y="31820"/>
                  </a:moveTo>
                  <a:cubicBezTo>
                    <a:pt x="15784" y="34509"/>
                    <a:pt x="13991" y="36302"/>
                    <a:pt x="10854" y="37646"/>
                  </a:cubicBezTo>
                  <a:cubicBezTo>
                    <a:pt x="7717" y="36302"/>
                    <a:pt x="5924" y="34509"/>
                    <a:pt x="5027" y="31820"/>
                  </a:cubicBezTo>
                  <a:cubicBezTo>
                    <a:pt x="2338" y="23753"/>
                    <a:pt x="7717" y="11652"/>
                    <a:pt x="10854" y="6274"/>
                  </a:cubicBezTo>
                  <a:cubicBezTo>
                    <a:pt x="14439" y="12549"/>
                    <a:pt x="19369" y="24201"/>
                    <a:pt x="16680" y="31820"/>
                  </a:cubicBezTo>
                  <a:close/>
                </a:path>
              </a:pathLst>
            </a:custGeom>
            <a:solidFill>
              <a:srgbClr val="231F20"/>
            </a:solidFill>
            <a:ln w="4477" cap="flat">
              <a:noFill/>
              <a:prstDash val="solid"/>
              <a:miter/>
            </a:ln>
          </p:spPr>
          <p:txBody>
            <a:bodyPr rtlCol="0" anchor="ctr"/>
            <a:lstStyle/>
            <a:p>
              <a:endParaRPr lang="en-US"/>
            </a:p>
          </p:txBody>
        </p:sp>
      </p:grpSp>
      <p:grpSp>
        <p:nvGrpSpPr>
          <p:cNvPr id="2517" name="Group 2516">
            <a:extLst>
              <a:ext uri="{FF2B5EF4-FFF2-40B4-BE49-F238E27FC236}">
                <a16:creationId xmlns:a16="http://schemas.microsoft.com/office/drawing/2014/main" id="{88C5C607-3B92-47C4-AE10-7787FC347075}"/>
              </a:ext>
              <a:ext uri="{C183D7F6-B498-43B3-948B-1728B52AA6E4}">
                <adec:decorative xmlns:adec="http://schemas.microsoft.com/office/drawing/2017/decorative" val="1"/>
              </a:ext>
            </a:extLst>
          </p:cNvPr>
          <p:cNvGrpSpPr>
            <a:grpSpLocks noChangeAspect="1"/>
          </p:cNvGrpSpPr>
          <p:nvPr/>
        </p:nvGrpSpPr>
        <p:grpSpPr>
          <a:xfrm>
            <a:off x="6423603" y="4192999"/>
            <a:ext cx="147896" cy="98597"/>
            <a:chOff x="6480103" y="2137308"/>
            <a:chExt cx="147896" cy="98597"/>
          </a:xfrm>
        </p:grpSpPr>
        <p:sp>
          <p:nvSpPr>
            <p:cNvPr id="2979" name="Freeform: Shape 2978">
              <a:extLst>
                <a:ext uri="{FF2B5EF4-FFF2-40B4-BE49-F238E27FC236}">
                  <a16:creationId xmlns:a16="http://schemas.microsoft.com/office/drawing/2014/main" id="{62525816-9057-4060-AB8C-A24792424F32}"/>
                </a:ext>
              </a:extLst>
            </p:cNvPr>
            <p:cNvSpPr/>
            <p:nvPr/>
          </p:nvSpPr>
          <p:spPr>
            <a:xfrm>
              <a:off x="6480103" y="2137308"/>
              <a:ext cx="147896" cy="98597"/>
            </a:xfrm>
            <a:custGeom>
              <a:avLst/>
              <a:gdLst>
                <a:gd name="connsiteX0" fmla="*/ 143863 w 147896"/>
                <a:gd name="connsiteY0" fmla="*/ 0 h 98597"/>
                <a:gd name="connsiteX1" fmla="*/ 8515 w 147896"/>
                <a:gd name="connsiteY1" fmla="*/ 0 h 98597"/>
                <a:gd name="connsiteX2" fmla="*/ 0 w 147896"/>
                <a:gd name="connsiteY2" fmla="*/ 8515 h 98597"/>
                <a:gd name="connsiteX3" fmla="*/ 0 w 147896"/>
                <a:gd name="connsiteY3" fmla="*/ 90082 h 98597"/>
                <a:gd name="connsiteX4" fmla="*/ 8515 w 147896"/>
                <a:gd name="connsiteY4" fmla="*/ 98597 h 98597"/>
                <a:gd name="connsiteX5" fmla="*/ 143863 w 147896"/>
                <a:gd name="connsiteY5" fmla="*/ 98597 h 98597"/>
                <a:gd name="connsiteX6" fmla="*/ 152378 w 147896"/>
                <a:gd name="connsiteY6" fmla="*/ 90082 h 98597"/>
                <a:gd name="connsiteX7" fmla="*/ 152378 w 147896"/>
                <a:gd name="connsiteY7" fmla="*/ 8963 h 98597"/>
                <a:gd name="connsiteX8" fmla="*/ 143863 w 147896"/>
                <a:gd name="connsiteY8" fmla="*/ 0 h 98597"/>
                <a:gd name="connsiteX9" fmla="*/ 4482 w 147896"/>
                <a:gd name="connsiteY9" fmla="*/ 90082 h 98597"/>
                <a:gd name="connsiteX10" fmla="*/ 4482 w 147896"/>
                <a:gd name="connsiteY10" fmla="*/ 8963 h 98597"/>
                <a:gd name="connsiteX11" fmla="*/ 8515 w 147896"/>
                <a:gd name="connsiteY11" fmla="*/ 4930 h 98597"/>
                <a:gd name="connsiteX12" fmla="*/ 99494 w 147896"/>
                <a:gd name="connsiteY12" fmla="*/ 4930 h 98597"/>
                <a:gd name="connsiteX13" fmla="*/ 99494 w 147896"/>
                <a:gd name="connsiteY13" fmla="*/ 94564 h 98597"/>
                <a:gd name="connsiteX14" fmla="*/ 8515 w 147896"/>
                <a:gd name="connsiteY14" fmla="*/ 94564 h 98597"/>
                <a:gd name="connsiteX15" fmla="*/ 4482 w 147896"/>
                <a:gd name="connsiteY15" fmla="*/ 90082 h 98597"/>
                <a:gd name="connsiteX16" fmla="*/ 147896 w 147896"/>
                <a:gd name="connsiteY16" fmla="*/ 90082 h 98597"/>
                <a:gd name="connsiteX17" fmla="*/ 143863 w 147896"/>
                <a:gd name="connsiteY17" fmla="*/ 94116 h 98597"/>
                <a:gd name="connsiteX18" fmla="*/ 104424 w 147896"/>
                <a:gd name="connsiteY18" fmla="*/ 94116 h 98597"/>
                <a:gd name="connsiteX19" fmla="*/ 104424 w 147896"/>
                <a:gd name="connsiteY19" fmla="*/ 4482 h 98597"/>
                <a:gd name="connsiteX20" fmla="*/ 143863 w 147896"/>
                <a:gd name="connsiteY20" fmla="*/ 4482 h 98597"/>
                <a:gd name="connsiteX21" fmla="*/ 147896 w 147896"/>
                <a:gd name="connsiteY21" fmla="*/ 8515 h 98597"/>
                <a:gd name="connsiteX22" fmla="*/ 147896 w 147896"/>
                <a:gd name="connsiteY22" fmla="*/ 90082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896" h="98597">
                  <a:moveTo>
                    <a:pt x="143863" y="0"/>
                  </a:moveTo>
                  <a:lnTo>
                    <a:pt x="8515" y="0"/>
                  </a:lnTo>
                  <a:cubicBezTo>
                    <a:pt x="3585" y="0"/>
                    <a:pt x="0" y="4034"/>
                    <a:pt x="0" y="8515"/>
                  </a:cubicBezTo>
                  <a:lnTo>
                    <a:pt x="0" y="90082"/>
                  </a:lnTo>
                  <a:cubicBezTo>
                    <a:pt x="0" y="95012"/>
                    <a:pt x="4034" y="98597"/>
                    <a:pt x="8515" y="98597"/>
                  </a:cubicBezTo>
                  <a:lnTo>
                    <a:pt x="143863" y="98597"/>
                  </a:lnTo>
                  <a:cubicBezTo>
                    <a:pt x="148792" y="98597"/>
                    <a:pt x="152378" y="94564"/>
                    <a:pt x="152378" y="90082"/>
                  </a:cubicBezTo>
                  <a:lnTo>
                    <a:pt x="152378" y="8963"/>
                  </a:lnTo>
                  <a:cubicBezTo>
                    <a:pt x="152378" y="4034"/>
                    <a:pt x="148344" y="0"/>
                    <a:pt x="143863" y="0"/>
                  </a:cubicBezTo>
                  <a:close/>
                  <a:moveTo>
                    <a:pt x="4482" y="90082"/>
                  </a:moveTo>
                  <a:lnTo>
                    <a:pt x="4482" y="8963"/>
                  </a:lnTo>
                  <a:cubicBezTo>
                    <a:pt x="4482" y="6723"/>
                    <a:pt x="6274" y="4930"/>
                    <a:pt x="8515" y="4930"/>
                  </a:cubicBezTo>
                  <a:lnTo>
                    <a:pt x="99494" y="4930"/>
                  </a:lnTo>
                  <a:lnTo>
                    <a:pt x="99494" y="94564"/>
                  </a:lnTo>
                  <a:lnTo>
                    <a:pt x="8515" y="94564"/>
                  </a:lnTo>
                  <a:cubicBezTo>
                    <a:pt x="6274" y="94116"/>
                    <a:pt x="4482" y="92323"/>
                    <a:pt x="4482" y="90082"/>
                  </a:cubicBezTo>
                  <a:close/>
                  <a:moveTo>
                    <a:pt x="147896" y="90082"/>
                  </a:moveTo>
                  <a:cubicBezTo>
                    <a:pt x="147896" y="92323"/>
                    <a:pt x="146103" y="94116"/>
                    <a:pt x="143863" y="94116"/>
                  </a:cubicBezTo>
                  <a:lnTo>
                    <a:pt x="104424" y="94116"/>
                  </a:lnTo>
                  <a:lnTo>
                    <a:pt x="104424" y="4482"/>
                  </a:lnTo>
                  <a:lnTo>
                    <a:pt x="143863" y="4482"/>
                  </a:lnTo>
                  <a:cubicBezTo>
                    <a:pt x="146103" y="4482"/>
                    <a:pt x="147896" y="6274"/>
                    <a:pt x="147896" y="8515"/>
                  </a:cubicBezTo>
                  <a:lnTo>
                    <a:pt x="147896" y="90082"/>
                  </a:lnTo>
                  <a:close/>
                </a:path>
              </a:pathLst>
            </a:custGeom>
            <a:solidFill>
              <a:srgbClr val="231F20"/>
            </a:solidFill>
            <a:ln w="4477" cap="flat">
              <a:noFill/>
              <a:prstDash val="solid"/>
              <a:miter/>
            </a:ln>
          </p:spPr>
          <p:txBody>
            <a:bodyPr rtlCol="0" anchor="ctr"/>
            <a:lstStyle/>
            <a:p>
              <a:endParaRPr lang="en-US"/>
            </a:p>
          </p:txBody>
        </p:sp>
        <p:sp>
          <p:nvSpPr>
            <p:cNvPr id="2980" name="Freeform: Shape 2979">
              <a:extLst>
                <a:ext uri="{FF2B5EF4-FFF2-40B4-BE49-F238E27FC236}">
                  <a16:creationId xmlns:a16="http://schemas.microsoft.com/office/drawing/2014/main" id="{AA1457E0-9289-45CC-8216-6680C12EC4CC}"/>
                </a:ext>
              </a:extLst>
            </p:cNvPr>
            <p:cNvSpPr/>
            <p:nvPr/>
          </p:nvSpPr>
          <p:spPr>
            <a:xfrm>
              <a:off x="6587664" y="2150753"/>
              <a:ext cx="26890" cy="31372"/>
            </a:xfrm>
            <a:custGeom>
              <a:avLst/>
              <a:gdLst>
                <a:gd name="connsiteX0" fmla="*/ 15686 w 26890"/>
                <a:gd name="connsiteY0" fmla="*/ 0 h 31371"/>
                <a:gd name="connsiteX1" fmla="*/ 0 w 26890"/>
                <a:gd name="connsiteY1" fmla="*/ 15686 h 31371"/>
                <a:gd name="connsiteX2" fmla="*/ 15686 w 26890"/>
                <a:gd name="connsiteY2" fmla="*/ 31372 h 31371"/>
                <a:gd name="connsiteX3" fmla="*/ 31372 w 26890"/>
                <a:gd name="connsiteY3" fmla="*/ 15686 h 31371"/>
                <a:gd name="connsiteX4" fmla="*/ 15686 w 26890"/>
                <a:gd name="connsiteY4" fmla="*/ 0 h 31371"/>
                <a:gd name="connsiteX5" fmla="*/ 15686 w 26890"/>
                <a:gd name="connsiteY5" fmla="*/ 26890 h 31371"/>
                <a:gd name="connsiteX6" fmla="*/ 4482 w 26890"/>
                <a:gd name="connsiteY6" fmla="*/ 15686 h 31371"/>
                <a:gd name="connsiteX7" fmla="*/ 15686 w 26890"/>
                <a:gd name="connsiteY7" fmla="*/ 4482 h 31371"/>
                <a:gd name="connsiteX8" fmla="*/ 26890 w 26890"/>
                <a:gd name="connsiteY8" fmla="*/ 15686 h 31371"/>
                <a:gd name="connsiteX9" fmla="*/ 15686 w 26890"/>
                <a:gd name="connsiteY9"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31371">
                  <a:moveTo>
                    <a:pt x="15686" y="0"/>
                  </a:moveTo>
                  <a:cubicBezTo>
                    <a:pt x="7171" y="0"/>
                    <a:pt x="0" y="7171"/>
                    <a:pt x="0" y="15686"/>
                  </a:cubicBezTo>
                  <a:cubicBezTo>
                    <a:pt x="0" y="24201"/>
                    <a:pt x="7171" y="31372"/>
                    <a:pt x="15686" y="31372"/>
                  </a:cubicBezTo>
                  <a:cubicBezTo>
                    <a:pt x="24201" y="31372"/>
                    <a:pt x="31372" y="24201"/>
                    <a:pt x="31372" y="15686"/>
                  </a:cubicBezTo>
                  <a:cubicBezTo>
                    <a:pt x="31372" y="7171"/>
                    <a:pt x="24201" y="0"/>
                    <a:pt x="15686" y="0"/>
                  </a:cubicBezTo>
                  <a:close/>
                  <a:moveTo>
                    <a:pt x="15686" y="26890"/>
                  </a:moveTo>
                  <a:cubicBezTo>
                    <a:pt x="9412" y="26890"/>
                    <a:pt x="4482" y="21960"/>
                    <a:pt x="4482" y="15686"/>
                  </a:cubicBezTo>
                  <a:cubicBezTo>
                    <a:pt x="4482" y="9412"/>
                    <a:pt x="9412" y="4482"/>
                    <a:pt x="15686" y="4482"/>
                  </a:cubicBezTo>
                  <a:cubicBezTo>
                    <a:pt x="21960" y="4482"/>
                    <a:pt x="26890" y="9412"/>
                    <a:pt x="26890" y="15686"/>
                  </a:cubicBezTo>
                  <a:cubicBezTo>
                    <a:pt x="26890" y="21960"/>
                    <a:pt x="21960" y="26890"/>
                    <a:pt x="15686" y="26890"/>
                  </a:cubicBezTo>
                  <a:close/>
                </a:path>
              </a:pathLst>
            </a:custGeom>
            <a:solidFill>
              <a:srgbClr val="231F20"/>
            </a:solidFill>
            <a:ln w="4477" cap="flat">
              <a:noFill/>
              <a:prstDash val="solid"/>
              <a:miter/>
            </a:ln>
          </p:spPr>
          <p:txBody>
            <a:bodyPr rtlCol="0" anchor="ctr"/>
            <a:lstStyle/>
            <a:p>
              <a:endParaRPr lang="en-US"/>
            </a:p>
          </p:txBody>
        </p:sp>
        <p:sp>
          <p:nvSpPr>
            <p:cNvPr id="2981" name="Freeform: Shape 2980">
              <a:extLst>
                <a:ext uri="{FF2B5EF4-FFF2-40B4-BE49-F238E27FC236}">
                  <a16:creationId xmlns:a16="http://schemas.microsoft.com/office/drawing/2014/main" id="{9DA264D0-E5D5-4AD3-817C-B2313B790582}"/>
                </a:ext>
              </a:extLst>
            </p:cNvPr>
            <p:cNvSpPr/>
            <p:nvPr/>
          </p:nvSpPr>
          <p:spPr>
            <a:xfrm>
              <a:off x="6493549" y="2150753"/>
              <a:ext cx="76189" cy="71707"/>
            </a:xfrm>
            <a:custGeom>
              <a:avLst/>
              <a:gdLst>
                <a:gd name="connsiteX0" fmla="*/ 75741 w 76188"/>
                <a:gd name="connsiteY0" fmla="*/ 0 h 71707"/>
                <a:gd name="connsiteX1" fmla="*/ 2241 w 76188"/>
                <a:gd name="connsiteY1" fmla="*/ 0 h 71707"/>
                <a:gd name="connsiteX2" fmla="*/ 0 w 76188"/>
                <a:gd name="connsiteY2" fmla="*/ 2241 h 71707"/>
                <a:gd name="connsiteX3" fmla="*/ 0 w 76188"/>
                <a:gd name="connsiteY3" fmla="*/ 69466 h 71707"/>
                <a:gd name="connsiteX4" fmla="*/ 2241 w 76188"/>
                <a:gd name="connsiteY4" fmla="*/ 71707 h 71707"/>
                <a:gd name="connsiteX5" fmla="*/ 75741 w 76188"/>
                <a:gd name="connsiteY5" fmla="*/ 71707 h 71707"/>
                <a:gd name="connsiteX6" fmla="*/ 77982 w 76188"/>
                <a:gd name="connsiteY6" fmla="*/ 69466 h 71707"/>
                <a:gd name="connsiteX7" fmla="*/ 77982 w 76188"/>
                <a:gd name="connsiteY7" fmla="*/ 2241 h 71707"/>
                <a:gd name="connsiteX8" fmla="*/ 75741 w 76188"/>
                <a:gd name="connsiteY8" fmla="*/ 0 h 71707"/>
                <a:gd name="connsiteX9" fmla="*/ 73500 w 76188"/>
                <a:gd name="connsiteY9" fmla="*/ 67226 h 71707"/>
                <a:gd name="connsiteX10" fmla="*/ 4482 w 76188"/>
                <a:gd name="connsiteY10" fmla="*/ 67226 h 71707"/>
                <a:gd name="connsiteX11" fmla="*/ 4482 w 76188"/>
                <a:gd name="connsiteY11" fmla="*/ 4482 h 71707"/>
                <a:gd name="connsiteX12" fmla="*/ 73500 w 76188"/>
                <a:gd name="connsiteY12" fmla="*/ 4482 h 71707"/>
                <a:gd name="connsiteX13" fmla="*/ 73500 w 76188"/>
                <a:gd name="connsiteY13"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188" h="71707">
                  <a:moveTo>
                    <a:pt x="75741" y="0"/>
                  </a:moveTo>
                  <a:lnTo>
                    <a:pt x="2241" y="0"/>
                  </a:lnTo>
                  <a:cubicBezTo>
                    <a:pt x="896" y="0"/>
                    <a:pt x="0" y="896"/>
                    <a:pt x="0" y="2241"/>
                  </a:cubicBezTo>
                  <a:lnTo>
                    <a:pt x="0" y="69466"/>
                  </a:lnTo>
                  <a:cubicBezTo>
                    <a:pt x="0" y="70811"/>
                    <a:pt x="896" y="71707"/>
                    <a:pt x="2241" y="71707"/>
                  </a:cubicBezTo>
                  <a:lnTo>
                    <a:pt x="75741" y="71707"/>
                  </a:lnTo>
                  <a:cubicBezTo>
                    <a:pt x="77085" y="71707"/>
                    <a:pt x="77982" y="70811"/>
                    <a:pt x="77982" y="69466"/>
                  </a:cubicBezTo>
                  <a:lnTo>
                    <a:pt x="77982" y="2241"/>
                  </a:lnTo>
                  <a:cubicBezTo>
                    <a:pt x="77982" y="1345"/>
                    <a:pt x="77085" y="0"/>
                    <a:pt x="75741" y="0"/>
                  </a:cubicBezTo>
                  <a:close/>
                  <a:moveTo>
                    <a:pt x="73500" y="67226"/>
                  </a:moveTo>
                  <a:lnTo>
                    <a:pt x="4482" y="67226"/>
                  </a:lnTo>
                  <a:lnTo>
                    <a:pt x="4482" y="4482"/>
                  </a:lnTo>
                  <a:lnTo>
                    <a:pt x="73500" y="4482"/>
                  </a:lnTo>
                  <a:lnTo>
                    <a:pt x="73500" y="67226"/>
                  </a:lnTo>
                  <a:close/>
                </a:path>
              </a:pathLst>
            </a:custGeom>
            <a:solidFill>
              <a:srgbClr val="231F20"/>
            </a:solidFill>
            <a:ln w="4477" cap="flat">
              <a:noFill/>
              <a:prstDash val="solid"/>
              <a:miter/>
            </a:ln>
          </p:spPr>
          <p:txBody>
            <a:bodyPr rtlCol="0" anchor="ctr"/>
            <a:lstStyle/>
            <a:p>
              <a:endParaRPr lang="en-US"/>
            </a:p>
          </p:txBody>
        </p:sp>
        <p:sp>
          <p:nvSpPr>
            <p:cNvPr id="5324" name="Freeform: Shape 5323">
              <a:extLst>
                <a:ext uri="{FF2B5EF4-FFF2-40B4-BE49-F238E27FC236}">
                  <a16:creationId xmlns:a16="http://schemas.microsoft.com/office/drawing/2014/main" id="{22D0D16A-DA06-4106-B4A1-F4AF187E89B2}"/>
                </a:ext>
              </a:extLst>
            </p:cNvPr>
            <p:cNvSpPr/>
            <p:nvPr/>
          </p:nvSpPr>
          <p:spPr>
            <a:xfrm>
              <a:off x="6587664" y="2200500"/>
              <a:ext cx="26890" cy="4482"/>
            </a:xfrm>
            <a:custGeom>
              <a:avLst/>
              <a:gdLst>
                <a:gd name="connsiteX0" fmla="*/ 29131 w 26890"/>
                <a:gd name="connsiteY0" fmla="*/ 0 h 4481"/>
                <a:gd name="connsiteX1" fmla="*/ 2241 w 26890"/>
                <a:gd name="connsiteY1" fmla="*/ 0 h 4481"/>
                <a:gd name="connsiteX2" fmla="*/ 0 w 26890"/>
                <a:gd name="connsiteY2" fmla="*/ 2241 h 4481"/>
                <a:gd name="connsiteX3" fmla="*/ 2241 w 26890"/>
                <a:gd name="connsiteY3" fmla="*/ 4482 h 4481"/>
                <a:gd name="connsiteX4" fmla="*/ 29131 w 26890"/>
                <a:gd name="connsiteY4" fmla="*/ 4482 h 4481"/>
                <a:gd name="connsiteX5" fmla="*/ 31372 w 26890"/>
                <a:gd name="connsiteY5" fmla="*/ 2241 h 4481"/>
                <a:gd name="connsiteX6" fmla="*/ 29131 w 26890"/>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90"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5325" name="Freeform: Shape 5324">
              <a:extLst>
                <a:ext uri="{FF2B5EF4-FFF2-40B4-BE49-F238E27FC236}">
                  <a16:creationId xmlns:a16="http://schemas.microsoft.com/office/drawing/2014/main" id="{3D1AB7B9-9B57-4CED-BCC2-DE0CD4C2EFEE}"/>
                </a:ext>
              </a:extLst>
            </p:cNvPr>
            <p:cNvSpPr/>
            <p:nvPr/>
          </p:nvSpPr>
          <p:spPr>
            <a:xfrm>
              <a:off x="6587664" y="2213497"/>
              <a:ext cx="26890" cy="4482"/>
            </a:xfrm>
            <a:custGeom>
              <a:avLst/>
              <a:gdLst>
                <a:gd name="connsiteX0" fmla="*/ 29131 w 26890"/>
                <a:gd name="connsiteY0" fmla="*/ 0 h 4481"/>
                <a:gd name="connsiteX1" fmla="*/ 2241 w 26890"/>
                <a:gd name="connsiteY1" fmla="*/ 0 h 4481"/>
                <a:gd name="connsiteX2" fmla="*/ 0 w 26890"/>
                <a:gd name="connsiteY2" fmla="*/ 2241 h 4481"/>
                <a:gd name="connsiteX3" fmla="*/ 2241 w 26890"/>
                <a:gd name="connsiteY3" fmla="*/ 4482 h 4481"/>
                <a:gd name="connsiteX4" fmla="*/ 29131 w 26890"/>
                <a:gd name="connsiteY4" fmla="*/ 4482 h 4481"/>
                <a:gd name="connsiteX5" fmla="*/ 31372 w 26890"/>
                <a:gd name="connsiteY5" fmla="*/ 2241 h 4481"/>
                <a:gd name="connsiteX6" fmla="*/ 29131 w 26890"/>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90"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5326" name="Freeform: Shape 5325">
              <a:extLst>
                <a:ext uri="{FF2B5EF4-FFF2-40B4-BE49-F238E27FC236}">
                  <a16:creationId xmlns:a16="http://schemas.microsoft.com/office/drawing/2014/main" id="{7255CE6E-3D84-4574-9034-EBCC22E70C5A}"/>
                </a:ext>
              </a:extLst>
            </p:cNvPr>
            <p:cNvSpPr/>
            <p:nvPr/>
          </p:nvSpPr>
          <p:spPr>
            <a:xfrm>
              <a:off x="6500271" y="2204534"/>
              <a:ext cx="58262" cy="4482"/>
            </a:xfrm>
            <a:custGeom>
              <a:avLst/>
              <a:gdLst>
                <a:gd name="connsiteX0" fmla="*/ 2241 w 58262"/>
                <a:gd name="connsiteY0" fmla="*/ 4482 h 4481"/>
                <a:gd name="connsiteX1" fmla="*/ 56918 w 58262"/>
                <a:gd name="connsiteY1" fmla="*/ 4482 h 4481"/>
                <a:gd name="connsiteX2" fmla="*/ 59158 w 58262"/>
                <a:gd name="connsiteY2" fmla="*/ 2241 h 4481"/>
                <a:gd name="connsiteX3" fmla="*/ 56918 w 58262"/>
                <a:gd name="connsiteY3" fmla="*/ 0 h 4481"/>
                <a:gd name="connsiteX4" fmla="*/ 2241 w 58262"/>
                <a:gd name="connsiteY4" fmla="*/ 0 h 4481"/>
                <a:gd name="connsiteX5" fmla="*/ 0 w 58262"/>
                <a:gd name="connsiteY5" fmla="*/ 2241 h 4481"/>
                <a:gd name="connsiteX6" fmla="*/ 2241 w 58262"/>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62" h="4481">
                  <a:moveTo>
                    <a:pt x="2241" y="4482"/>
                  </a:moveTo>
                  <a:lnTo>
                    <a:pt x="56918" y="4482"/>
                  </a:lnTo>
                  <a:cubicBezTo>
                    <a:pt x="58262" y="4482"/>
                    <a:pt x="59158" y="3585"/>
                    <a:pt x="59158" y="2241"/>
                  </a:cubicBezTo>
                  <a:cubicBezTo>
                    <a:pt x="59158" y="896"/>
                    <a:pt x="58262" y="0"/>
                    <a:pt x="56918"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grpSp>
        <p:nvGrpSpPr>
          <p:cNvPr id="2518" name="Group 2517">
            <a:extLst>
              <a:ext uri="{FF2B5EF4-FFF2-40B4-BE49-F238E27FC236}">
                <a16:creationId xmlns:a16="http://schemas.microsoft.com/office/drawing/2014/main" id="{2192A838-426E-410C-8C7A-1B8A00EAC027}"/>
              </a:ext>
              <a:ext uri="{C183D7F6-B498-43B3-948B-1728B52AA6E4}">
                <adec:decorative xmlns:adec="http://schemas.microsoft.com/office/drawing/2017/decorative" val="1"/>
              </a:ext>
            </a:extLst>
          </p:cNvPr>
          <p:cNvGrpSpPr>
            <a:grpSpLocks noChangeAspect="1"/>
          </p:cNvGrpSpPr>
          <p:nvPr/>
        </p:nvGrpSpPr>
        <p:grpSpPr>
          <a:xfrm>
            <a:off x="6696987" y="4166109"/>
            <a:ext cx="125488" cy="152378"/>
            <a:chOff x="6753487" y="2110418"/>
            <a:chExt cx="125488" cy="152378"/>
          </a:xfrm>
        </p:grpSpPr>
        <p:sp>
          <p:nvSpPr>
            <p:cNvPr id="2970" name="Freeform: Shape 2969">
              <a:extLst>
                <a:ext uri="{FF2B5EF4-FFF2-40B4-BE49-F238E27FC236}">
                  <a16:creationId xmlns:a16="http://schemas.microsoft.com/office/drawing/2014/main" id="{82DB7F3E-715B-40D5-A188-AC210AD70611}"/>
                </a:ext>
              </a:extLst>
            </p:cNvPr>
            <p:cNvSpPr/>
            <p:nvPr/>
          </p:nvSpPr>
          <p:spPr>
            <a:xfrm>
              <a:off x="6753487" y="2110418"/>
              <a:ext cx="125488" cy="152378"/>
            </a:xfrm>
            <a:custGeom>
              <a:avLst/>
              <a:gdLst>
                <a:gd name="connsiteX0" fmla="*/ 116972 w 125487"/>
                <a:gd name="connsiteY0" fmla="*/ 0 h 152377"/>
                <a:gd name="connsiteX1" fmla="*/ 8515 w 125487"/>
                <a:gd name="connsiteY1" fmla="*/ 0 h 152377"/>
                <a:gd name="connsiteX2" fmla="*/ 0 w 125487"/>
                <a:gd name="connsiteY2" fmla="*/ 8515 h 152377"/>
                <a:gd name="connsiteX3" fmla="*/ 0 w 125487"/>
                <a:gd name="connsiteY3" fmla="*/ 143863 h 152377"/>
                <a:gd name="connsiteX4" fmla="*/ 8515 w 125487"/>
                <a:gd name="connsiteY4" fmla="*/ 152378 h 152377"/>
                <a:gd name="connsiteX5" fmla="*/ 116972 w 125487"/>
                <a:gd name="connsiteY5" fmla="*/ 152378 h 152377"/>
                <a:gd name="connsiteX6" fmla="*/ 125488 w 125487"/>
                <a:gd name="connsiteY6" fmla="*/ 143863 h 152377"/>
                <a:gd name="connsiteX7" fmla="*/ 125488 w 125487"/>
                <a:gd name="connsiteY7" fmla="*/ 8963 h 152377"/>
                <a:gd name="connsiteX8" fmla="*/ 116972 w 125487"/>
                <a:gd name="connsiteY8" fmla="*/ 0 h 152377"/>
                <a:gd name="connsiteX9" fmla="*/ 121006 w 125487"/>
                <a:gd name="connsiteY9" fmla="*/ 143863 h 152377"/>
                <a:gd name="connsiteX10" fmla="*/ 116972 w 125487"/>
                <a:gd name="connsiteY10" fmla="*/ 147896 h 152377"/>
                <a:gd name="connsiteX11" fmla="*/ 8515 w 125487"/>
                <a:gd name="connsiteY11" fmla="*/ 147896 h 152377"/>
                <a:gd name="connsiteX12" fmla="*/ 4482 w 125487"/>
                <a:gd name="connsiteY12" fmla="*/ 143863 h 152377"/>
                <a:gd name="connsiteX13" fmla="*/ 4482 w 125487"/>
                <a:gd name="connsiteY13" fmla="*/ 8963 h 152377"/>
                <a:gd name="connsiteX14" fmla="*/ 8515 w 125487"/>
                <a:gd name="connsiteY14" fmla="*/ 4930 h 152377"/>
                <a:gd name="connsiteX15" fmla="*/ 116972 w 125487"/>
                <a:gd name="connsiteY15" fmla="*/ 4930 h 152377"/>
                <a:gd name="connsiteX16" fmla="*/ 121006 w 125487"/>
                <a:gd name="connsiteY16" fmla="*/ 8963 h 152377"/>
                <a:gd name="connsiteX17" fmla="*/ 121006 w 125487"/>
                <a:gd name="connsiteY17" fmla="*/ 14386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7" h="152377">
                  <a:moveTo>
                    <a:pt x="116972" y="0"/>
                  </a:moveTo>
                  <a:lnTo>
                    <a:pt x="8515" y="0"/>
                  </a:lnTo>
                  <a:cubicBezTo>
                    <a:pt x="3585" y="0"/>
                    <a:pt x="0" y="4034"/>
                    <a:pt x="0" y="8515"/>
                  </a:cubicBezTo>
                  <a:lnTo>
                    <a:pt x="0" y="143863"/>
                  </a:lnTo>
                  <a:cubicBezTo>
                    <a:pt x="0" y="148793"/>
                    <a:pt x="4034" y="152378"/>
                    <a:pt x="8515" y="152378"/>
                  </a:cubicBezTo>
                  <a:lnTo>
                    <a:pt x="116972" y="152378"/>
                  </a:lnTo>
                  <a:cubicBezTo>
                    <a:pt x="121902" y="152378"/>
                    <a:pt x="125488" y="148344"/>
                    <a:pt x="125488" y="143863"/>
                  </a:cubicBezTo>
                  <a:lnTo>
                    <a:pt x="125488" y="8963"/>
                  </a:lnTo>
                  <a:cubicBezTo>
                    <a:pt x="125488" y="4034"/>
                    <a:pt x="121454" y="0"/>
                    <a:pt x="116972" y="0"/>
                  </a:cubicBezTo>
                  <a:close/>
                  <a:moveTo>
                    <a:pt x="121006" y="143863"/>
                  </a:moveTo>
                  <a:cubicBezTo>
                    <a:pt x="121006" y="146104"/>
                    <a:pt x="119213" y="147896"/>
                    <a:pt x="116972" y="147896"/>
                  </a:cubicBezTo>
                  <a:lnTo>
                    <a:pt x="8515" y="147896"/>
                  </a:lnTo>
                  <a:cubicBezTo>
                    <a:pt x="6274" y="147896"/>
                    <a:pt x="4482" y="146104"/>
                    <a:pt x="4482" y="143863"/>
                  </a:cubicBezTo>
                  <a:lnTo>
                    <a:pt x="4482" y="8963"/>
                  </a:lnTo>
                  <a:cubicBezTo>
                    <a:pt x="4482" y="6723"/>
                    <a:pt x="6274" y="4930"/>
                    <a:pt x="8515" y="4930"/>
                  </a:cubicBezTo>
                  <a:lnTo>
                    <a:pt x="116972" y="4930"/>
                  </a:lnTo>
                  <a:cubicBezTo>
                    <a:pt x="119213" y="4930"/>
                    <a:pt x="121006" y="6723"/>
                    <a:pt x="121006" y="8963"/>
                  </a:cubicBezTo>
                  <a:lnTo>
                    <a:pt x="121006" y="143863"/>
                  </a:lnTo>
                  <a:close/>
                </a:path>
              </a:pathLst>
            </a:custGeom>
            <a:solidFill>
              <a:srgbClr val="231F20"/>
            </a:solidFill>
            <a:ln w="4477" cap="flat">
              <a:noFill/>
              <a:prstDash val="solid"/>
              <a:miter/>
            </a:ln>
          </p:spPr>
          <p:txBody>
            <a:bodyPr rtlCol="0" anchor="ctr"/>
            <a:lstStyle/>
            <a:p>
              <a:endParaRPr lang="en-US"/>
            </a:p>
          </p:txBody>
        </p:sp>
        <p:sp>
          <p:nvSpPr>
            <p:cNvPr id="2971" name="Freeform: Shape 2970">
              <a:extLst>
                <a:ext uri="{FF2B5EF4-FFF2-40B4-BE49-F238E27FC236}">
                  <a16:creationId xmlns:a16="http://schemas.microsoft.com/office/drawing/2014/main" id="{E02AC7AE-D80E-4419-996C-03DDBBEDABDB}"/>
                </a:ext>
              </a:extLst>
            </p:cNvPr>
            <p:cNvSpPr/>
            <p:nvPr/>
          </p:nvSpPr>
          <p:spPr>
            <a:xfrm>
              <a:off x="6766932" y="2150753"/>
              <a:ext cx="98597" cy="98597"/>
            </a:xfrm>
            <a:custGeom>
              <a:avLst/>
              <a:gdLst>
                <a:gd name="connsiteX0" fmla="*/ 49299 w 98597"/>
                <a:gd name="connsiteY0" fmla="*/ 0 h 98597"/>
                <a:gd name="connsiteX1" fmla="*/ 0 w 98597"/>
                <a:gd name="connsiteY1" fmla="*/ 49299 h 98597"/>
                <a:gd name="connsiteX2" fmla="*/ 49299 w 98597"/>
                <a:gd name="connsiteY2" fmla="*/ 98597 h 98597"/>
                <a:gd name="connsiteX3" fmla="*/ 98597 w 98597"/>
                <a:gd name="connsiteY3" fmla="*/ 49299 h 98597"/>
                <a:gd name="connsiteX4" fmla="*/ 49299 w 98597"/>
                <a:gd name="connsiteY4" fmla="*/ 0 h 98597"/>
                <a:gd name="connsiteX5" fmla="*/ 49299 w 98597"/>
                <a:gd name="connsiteY5" fmla="*/ 94116 h 98597"/>
                <a:gd name="connsiteX6" fmla="*/ 4482 w 98597"/>
                <a:gd name="connsiteY6" fmla="*/ 49299 h 98597"/>
                <a:gd name="connsiteX7" fmla="*/ 49299 w 98597"/>
                <a:gd name="connsiteY7" fmla="*/ 4482 h 98597"/>
                <a:gd name="connsiteX8" fmla="*/ 94116 w 98597"/>
                <a:gd name="connsiteY8" fmla="*/ 49299 h 98597"/>
                <a:gd name="connsiteX9" fmla="*/ 49299 w 98597"/>
                <a:gd name="connsiteY9" fmla="*/ 94116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97" h="98597">
                  <a:moveTo>
                    <a:pt x="49299" y="0"/>
                  </a:moveTo>
                  <a:cubicBezTo>
                    <a:pt x="21960" y="0"/>
                    <a:pt x="0" y="21960"/>
                    <a:pt x="0" y="49299"/>
                  </a:cubicBezTo>
                  <a:cubicBezTo>
                    <a:pt x="0" y="76637"/>
                    <a:pt x="21960" y="98597"/>
                    <a:pt x="49299" y="98597"/>
                  </a:cubicBezTo>
                  <a:cubicBezTo>
                    <a:pt x="76637" y="98597"/>
                    <a:pt x="98597" y="76637"/>
                    <a:pt x="98597" y="49299"/>
                  </a:cubicBezTo>
                  <a:cubicBezTo>
                    <a:pt x="98597" y="22409"/>
                    <a:pt x="76637" y="0"/>
                    <a:pt x="49299" y="0"/>
                  </a:cubicBezTo>
                  <a:close/>
                  <a:moveTo>
                    <a:pt x="49299" y="94116"/>
                  </a:moveTo>
                  <a:cubicBezTo>
                    <a:pt x="24649" y="94116"/>
                    <a:pt x="4482" y="73948"/>
                    <a:pt x="4482" y="49299"/>
                  </a:cubicBezTo>
                  <a:cubicBezTo>
                    <a:pt x="4482" y="24649"/>
                    <a:pt x="24649" y="4482"/>
                    <a:pt x="49299" y="4482"/>
                  </a:cubicBezTo>
                  <a:cubicBezTo>
                    <a:pt x="73948" y="4482"/>
                    <a:pt x="94116" y="24649"/>
                    <a:pt x="94116" y="49299"/>
                  </a:cubicBezTo>
                  <a:cubicBezTo>
                    <a:pt x="94116" y="74396"/>
                    <a:pt x="73948" y="94116"/>
                    <a:pt x="49299" y="94116"/>
                  </a:cubicBezTo>
                  <a:close/>
                </a:path>
              </a:pathLst>
            </a:custGeom>
            <a:solidFill>
              <a:srgbClr val="231F20"/>
            </a:solidFill>
            <a:ln w="4477" cap="flat">
              <a:noFill/>
              <a:prstDash val="solid"/>
              <a:miter/>
            </a:ln>
          </p:spPr>
          <p:txBody>
            <a:bodyPr rtlCol="0" anchor="ctr"/>
            <a:lstStyle/>
            <a:p>
              <a:endParaRPr lang="en-US"/>
            </a:p>
          </p:txBody>
        </p:sp>
        <p:sp>
          <p:nvSpPr>
            <p:cNvPr id="2972" name="Freeform: Shape 2971">
              <a:extLst>
                <a:ext uri="{FF2B5EF4-FFF2-40B4-BE49-F238E27FC236}">
                  <a16:creationId xmlns:a16="http://schemas.microsoft.com/office/drawing/2014/main" id="{EF41DE0C-B57C-4C41-B841-BA661F7DF5C7}"/>
                </a:ext>
              </a:extLst>
            </p:cNvPr>
            <p:cNvSpPr/>
            <p:nvPr/>
          </p:nvSpPr>
          <p:spPr>
            <a:xfrm>
              <a:off x="6804579" y="2121622"/>
              <a:ext cx="22409" cy="22409"/>
            </a:xfrm>
            <a:custGeom>
              <a:avLst/>
              <a:gdLst>
                <a:gd name="connsiteX0" fmla="*/ 11652 w 22408"/>
                <a:gd name="connsiteY0" fmla="*/ 23305 h 22408"/>
                <a:gd name="connsiteX1" fmla="*/ 23305 w 22408"/>
                <a:gd name="connsiteY1" fmla="*/ 11652 h 22408"/>
                <a:gd name="connsiteX2" fmla="*/ 11652 w 22408"/>
                <a:gd name="connsiteY2" fmla="*/ 0 h 22408"/>
                <a:gd name="connsiteX3" fmla="*/ 0 w 22408"/>
                <a:gd name="connsiteY3" fmla="*/ 11652 h 22408"/>
                <a:gd name="connsiteX4" fmla="*/ 11652 w 22408"/>
                <a:gd name="connsiteY4" fmla="*/ 23305 h 22408"/>
                <a:gd name="connsiteX5" fmla="*/ 11652 w 22408"/>
                <a:gd name="connsiteY5" fmla="*/ 4034 h 22408"/>
                <a:gd name="connsiteX6" fmla="*/ 18823 w 22408"/>
                <a:gd name="connsiteY6" fmla="*/ 11204 h 22408"/>
                <a:gd name="connsiteX7" fmla="*/ 11652 w 22408"/>
                <a:gd name="connsiteY7" fmla="*/ 18375 h 22408"/>
                <a:gd name="connsiteX8" fmla="*/ 4482 w 22408"/>
                <a:gd name="connsiteY8" fmla="*/ 11204 h 22408"/>
                <a:gd name="connsiteX9" fmla="*/ 11652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1652" y="23305"/>
                  </a:moveTo>
                  <a:cubicBezTo>
                    <a:pt x="17927" y="23305"/>
                    <a:pt x="23305" y="17927"/>
                    <a:pt x="23305" y="11652"/>
                  </a:cubicBezTo>
                  <a:cubicBezTo>
                    <a:pt x="23305" y="5378"/>
                    <a:pt x="17927" y="0"/>
                    <a:pt x="11652" y="0"/>
                  </a:cubicBezTo>
                  <a:cubicBezTo>
                    <a:pt x="5378" y="0"/>
                    <a:pt x="0" y="5378"/>
                    <a:pt x="0" y="11652"/>
                  </a:cubicBezTo>
                  <a:cubicBezTo>
                    <a:pt x="0" y="17927"/>
                    <a:pt x="4930" y="23305"/>
                    <a:pt x="11652" y="23305"/>
                  </a:cubicBezTo>
                  <a:close/>
                  <a:moveTo>
                    <a:pt x="11652" y="4034"/>
                  </a:moveTo>
                  <a:cubicBezTo>
                    <a:pt x="15686" y="4034"/>
                    <a:pt x="18823" y="7171"/>
                    <a:pt x="18823" y="11204"/>
                  </a:cubicBezTo>
                  <a:cubicBezTo>
                    <a:pt x="18823" y="15238"/>
                    <a:pt x="15686" y="18375"/>
                    <a:pt x="11652" y="18375"/>
                  </a:cubicBezTo>
                  <a:cubicBezTo>
                    <a:pt x="7619" y="18375"/>
                    <a:pt x="4482" y="15238"/>
                    <a:pt x="4482" y="11204"/>
                  </a:cubicBezTo>
                  <a:cubicBezTo>
                    <a:pt x="4482" y="7171"/>
                    <a:pt x="7619" y="4034"/>
                    <a:pt x="11652" y="4034"/>
                  </a:cubicBezTo>
                  <a:close/>
                </a:path>
              </a:pathLst>
            </a:custGeom>
            <a:solidFill>
              <a:srgbClr val="231F20"/>
            </a:solidFill>
            <a:ln w="4477" cap="flat">
              <a:noFill/>
              <a:prstDash val="solid"/>
              <a:miter/>
            </a:ln>
          </p:spPr>
          <p:txBody>
            <a:bodyPr rtlCol="0" anchor="ctr"/>
            <a:lstStyle/>
            <a:p>
              <a:endParaRPr lang="en-US"/>
            </a:p>
          </p:txBody>
        </p:sp>
        <p:sp>
          <p:nvSpPr>
            <p:cNvPr id="2973" name="Freeform: Shape 2972">
              <a:extLst>
                <a:ext uri="{FF2B5EF4-FFF2-40B4-BE49-F238E27FC236}">
                  <a16:creationId xmlns:a16="http://schemas.microsoft.com/office/drawing/2014/main" id="{016A8AB5-D690-4243-99CB-DEE9F287786A}"/>
                </a:ext>
              </a:extLst>
            </p:cNvPr>
            <p:cNvSpPr/>
            <p:nvPr/>
          </p:nvSpPr>
          <p:spPr>
            <a:xfrm>
              <a:off x="6784411" y="2167335"/>
              <a:ext cx="58262" cy="62744"/>
            </a:xfrm>
            <a:custGeom>
              <a:avLst/>
              <a:gdLst>
                <a:gd name="connsiteX0" fmla="*/ 57814 w 58262"/>
                <a:gd name="connsiteY0" fmla="*/ 17927 h 62743"/>
                <a:gd name="connsiteX1" fmla="*/ 59158 w 58262"/>
                <a:gd name="connsiteY1" fmla="*/ 16582 h 62743"/>
                <a:gd name="connsiteX2" fmla="*/ 58710 w 58262"/>
                <a:gd name="connsiteY2" fmla="*/ 14790 h 62743"/>
                <a:gd name="connsiteX3" fmla="*/ 31820 w 58262"/>
                <a:gd name="connsiteY3" fmla="*/ 0 h 62743"/>
                <a:gd name="connsiteX4" fmla="*/ 0 w 58262"/>
                <a:gd name="connsiteY4" fmla="*/ 31820 h 62743"/>
                <a:gd name="connsiteX5" fmla="*/ 31820 w 58262"/>
                <a:gd name="connsiteY5" fmla="*/ 63640 h 62743"/>
                <a:gd name="connsiteX6" fmla="*/ 58710 w 58262"/>
                <a:gd name="connsiteY6" fmla="*/ 48851 h 62743"/>
                <a:gd name="connsiteX7" fmla="*/ 59158 w 58262"/>
                <a:gd name="connsiteY7" fmla="*/ 47058 h 62743"/>
                <a:gd name="connsiteX8" fmla="*/ 57814 w 58262"/>
                <a:gd name="connsiteY8" fmla="*/ 45713 h 62743"/>
                <a:gd name="connsiteX9" fmla="*/ 48851 w 58262"/>
                <a:gd name="connsiteY9" fmla="*/ 31820 h 62743"/>
                <a:gd name="connsiteX10" fmla="*/ 57814 w 58262"/>
                <a:gd name="connsiteY10" fmla="*/ 17927 h 62743"/>
                <a:gd name="connsiteX11" fmla="*/ 44369 w 58262"/>
                <a:gd name="connsiteY11" fmla="*/ 31820 h 62743"/>
                <a:gd name="connsiteX12" fmla="*/ 53332 w 58262"/>
                <a:gd name="connsiteY12" fmla="*/ 48402 h 62743"/>
                <a:gd name="connsiteX13" fmla="*/ 31820 w 58262"/>
                <a:gd name="connsiteY13" fmla="*/ 59158 h 62743"/>
                <a:gd name="connsiteX14" fmla="*/ 4482 w 58262"/>
                <a:gd name="connsiteY14" fmla="*/ 31820 h 62743"/>
                <a:gd name="connsiteX15" fmla="*/ 31820 w 58262"/>
                <a:gd name="connsiteY15" fmla="*/ 4482 h 62743"/>
                <a:gd name="connsiteX16" fmla="*/ 53332 w 58262"/>
                <a:gd name="connsiteY16" fmla="*/ 15238 h 62743"/>
                <a:gd name="connsiteX17" fmla="*/ 44369 w 58262"/>
                <a:gd name="connsiteY17" fmla="*/ 3182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62743">
                  <a:moveTo>
                    <a:pt x="57814" y="17927"/>
                  </a:moveTo>
                  <a:cubicBezTo>
                    <a:pt x="58262" y="17479"/>
                    <a:pt x="58710" y="17030"/>
                    <a:pt x="59158" y="16582"/>
                  </a:cubicBezTo>
                  <a:cubicBezTo>
                    <a:pt x="59607" y="16134"/>
                    <a:pt x="59158" y="15238"/>
                    <a:pt x="58710" y="14790"/>
                  </a:cubicBezTo>
                  <a:cubicBezTo>
                    <a:pt x="52884" y="5826"/>
                    <a:pt x="42576" y="0"/>
                    <a:pt x="31820" y="0"/>
                  </a:cubicBezTo>
                  <a:cubicBezTo>
                    <a:pt x="14341" y="0"/>
                    <a:pt x="0" y="14341"/>
                    <a:pt x="0" y="31820"/>
                  </a:cubicBezTo>
                  <a:cubicBezTo>
                    <a:pt x="0" y="49299"/>
                    <a:pt x="14341" y="63640"/>
                    <a:pt x="31820" y="63640"/>
                  </a:cubicBezTo>
                  <a:cubicBezTo>
                    <a:pt x="42576" y="63640"/>
                    <a:pt x="52884" y="58262"/>
                    <a:pt x="58710" y="48851"/>
                  </a:cubicBezTo>
                  <a:cubicBezTo>
                    <a:pt x="59158" y="48402"/>
                    <a:pt x="59158" y="47506"/>
                    <a:pt x="59158" y="47058"/>
                  </a:cubicBezTo>
                  <a:cubicBezTo>
                    <a:pt x="59158" y="46610"/>
                    <a:pt x="58710" y="45713"/>
                    <a:pt x="57814" y="45713"/>
                  </a:cubicBezTo>
                  <a:cubicBezTo>
                    <a:pt x="52436" y="43024"/>
                    <a:pt x="48851" y="37646"/>
                    <a:pt x="48851" y="31820"/>
                  </a:cubicBezTo>
                  <a:cubicBezTo>
                    <a:pt x="48851" y="25994"/>
                    <a:pt x="52436" y="20616"/>
                    <a:pt x="57814" y="17927"/>
                  </a:cubicBezTo>
                  <a:close/>
                  <a:moveTo>
                    <a:pt x="44369" y="31820"/>
                  </a:moveTo>
                  <a:cubicBezTo>
                    <a:pt x="44369" y="38543"/>
                    <a:pt x="47954" y="44817"/>
                    <a:pt x="53332" y="48402"/>
                  </a:cubicBezTo>
                  <a:cubicBezTo>
                    <a:pt x="47954" y="55125"/>
                    <a:pt x="40335" y="59158"/>
                    <a:pt x="31820" y="59158"/>
                  </a:cubicBezTo>
                  <a:cubicBezTo>
                    <a:pt x="16582" y="59158"/>
                    <a:pt x="4482" y="47058"/>
                    <a:pt x="4482" y="31820"/>
                  </a:cubicBezTo>
                  <a:cubicBezTo>
                    <a:pt x="4482" y="16582"/>
                    <a:pt x="16582" y="4482"/>
                    <a:pt x="31820" y="4482"/>
                  </a:cubicBezTo>
                  <a:cubicBezTo>
                    <a:pt x="40335" y="4482"/>
                    <a:pt x="48402" y="8515"/>
                    <a:pt x="53332" y="15238"/>
                  </a:cubicBezTo>
                  <a:cubicBezTo>
                    <a:pt x="47954" y="18823"/>
                    <a:pt x="44369" y="25098"/>
                    <a:pt x="44369" y="31820"/>
                  </a:cubicBezTo>
                  <a:close/>
                </a:path>
              </a:pathLst>
            </a:custGeom>
            <a:solidFill>
              <a:srgbClr val="231F20"/>
            </a:solidFill>
            <a:ln w="4477" cap="flat">
              <a:noFill/>
              <a:prstDash val="solid"/>
              <a:miter/>
            </a:ln>
          </p:spPr>
          <p:txBody>
            <a:bodyPr rtlCol="0" anchor="ctr"/>
            <a:lstStyle/>
            <a:p>
              <a:endParaRPr lang="en-US"/>
            </a:p>
          </p:txBody>
        </p:sp>
        <p:sp>
          <p:nvSpPr>
            <p:cNvPr id="2974" name="Freeform: Shape 2973">
              <a:extLst>
                <a:ext uri="{FF2B5EF4-FFF2-40B4-BE49-F238E27FC236}">
                  <a16:creationId xmlns:a16="http://schemas.microsoft.com/office/drawing/2014/main" id="{9495C73F-EDC9-4656-BA02-097ADA09AF65}"/>
                </a:ext>
              </a:extLst>
            </p:cNvPr>
            <p:cNvSpPr/>
            <p:nvPr/>
          </p:nvSpPr>
          <p:spPr>
            <a:xfrm>
              <a:off x="6796063" y="2179436"/>
              <a:ext cx="22409" cy="22409"/>
            </a:xfrm>
            <a:custGeom>
              <a:avLst/>
              <a:gdLst>
                <a:gd name="connsiteX0" fmla="*/ 20168 w 22408"/>
                <a:gd name="connsiteY0" fmla="*/ 0 h 22408"/>
                <a:gd name="connsiteX1" fmla="*/ 0 w 22408"/>
                <a:gd name="connsiteY1" fmla="*/ 20168 h 22408"/>
                <a:gd name="connsiteX2" fmla="*/ 2241 w 22408"/>
                <a:gd name="connsiteY2" fmla="*/ 22409 h 22408"/>
                <a:gd name="connsiteX3" fmla="*/ 4482 w 22408"/>
                <a:gd name="connsiteY3" fmla="*/ 20168 h 22408"/>
                <a:gd name="connsiteX4" fmla="*/ 20168 w 22408"/>
                <a:gd name="connsiteY4" fmla="*/ 4482 h 22408"/>
                <a:gd name="connsiteX5" fmla="*/ 22409 w 22408"/>
                <a:gd name="connsiteY5" fmla="*/ 2241 h 22408"/>
                <a:gd name="connsiteX6" fmla="*/ 20168 w 22408"/>
                <a:gd name="connsiteY6" fmla="*/ 0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22408">
                  <a:moveTo>
                    <a:pt x="20168" y="0"/>
                  </a:moveTo>
                  <a:cubicBezTo>
                    <a:pt x="8963" y="0"/>
                    <a:pt x="0" y="8963"/>
                    <a:pt x="0" y="20168"/>
                  </a:cubicBezTo>
                  <a:cubicBezTo>
                    <a:pt x="0" y="21512"/>
                    <a:pt x="896" y="22409"/>
                    <a:pt x="2241" y="22409"/>
                  </a:cubicBezTo>
                  <a:cubicBezTo>
                    <a:pt x="3585" y="22409"/>
                    <a:pt x="4482" y="21512"/>
                    <a:pt x="4482" y="20168"/>
                  </a:cubicBezTo>
                  <a:cubicBezTo>
                    <a:pt x="4482" y="11652"/>
                    <a:pt x="11652" y="4482"/>
                    <a:pt x="20168" y="4482"/>
                  </a:cubicBezTo>
                  <a:cubicBezTo>
                    <a:pt x="21512" y="4482"/>
                    <a:pt x="22409" y="3585"/>
                    <a:pt x="22409" y="2241"/>
                  </a:cubicBezTo>
                  <a:cubicBezTo>
                    <a:pt x="22409" y="896"/>
                    <a:pt x="21512" y="0"/>
                    <a:pt x="20168" y="0"/>
                  </a:cubicBezTo>
                  <a:close/>
                </a:path>
              </a:pathLst>
            </a:custGeom>
            <a:solidFill>
              <a:srgbClr val="231F20"/>
            </a:solidFill>
            <a:ln w="4477" cap="flat">
              <a:noFill/>
              <a:prstDash val="solid"/>
              <a:miter/>
            </a:ln>
          </p:spPr>
          <p:txBody>
            <a:bodyPr rtlCol="0" anchor="ctr"/>
            <a:lstStyle/>
            <a:p>
              <a:endParaRPr lang="en-US"/>
            </a:p>
          </p:txBody>
        </p:sp>
        <p:sp>
          <p:nvSpPr>
            <p:cNvPr id="2975" name="Freeform: Shape 2974">
              <a:extLst>
                <a:ext uri="{FF2B5EF4-FFF2-40B4-BE49-F238E27FC236}">
                  <a16:creationId xmlns:a16="http://schemas.microsoft.com/office/drawing/2014/main" id="{C073E084-65CD-42B8-B5BF-2DACE07A8F2E}"/>
                </a:ext>
              </a:extLst>
            </p:cNvPr>
            <p:cNvSpPr/>
            <p:nvPr/>
          </p:nvSpPr>
          <p:spPr>
            <a:xfrm>
              <a:off x="6790237"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76" name="Freeform: Shape 2975">
              <a:extLst>
                <a:ext uri="{FF2B5EF4-FFF2-40B4-BE49-F238E27FC236}">
                  <a16:creationId xmlns:a16="http://schemas.microsoft.com/office/drawing/2014/main" id="{A56BA3FA-1117-46F7-80DF-EE497DE821B7}"/>
                </a:ext>
              </a:extLst>
            </p:cNvPr>
            <p:cNvSpPr/>
            <p:nvPr/>
          </p:nvSpPr>
          <p:spPr>
            <a:xfrm>
              <a:off x="6778585"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77" name="Freeform: Shape 2976">
              <a:extLst>
                <a:ext uri="{FF2B5EF4-FFF2-40B4-BE49-F238E27FC236}">
                  <a16:creationId xmlns:a16="http://schemas.microsoft.com/office/drawing/2014/main" id="{FB98C707-B7EA-49FF-A6B5-BED1CF63163F}"/>
                </a:ext>
              </a:extLst>
            </p:cNvPr>
            <p:cNvSpPr/>
            <p:nvPr/>
          </p:nvSpPr>
          <p:spPr>
            <a:xfrm>
              <a:off x="6843569"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78" name="Freeform: Shape 2977">
              <a:extLst>
                <a:ext uri="{FF2B5EF4-FFF2-40B4-BE49-F238E27FC236}">
                  <a16:creationId xmlns:a16="http://schemas.microsoft.com/office/drawing/2014/main" id="{55A9028D-C277-4B5D-A33C-4E06A65C3D37}"/>
                </a:ext>
              </a:extLst>
            </p:cNvPr>
            <p:cNvSpPr/>
            <p:nvPr/>
          </p:nvSpPr>
          <p:spPr>
            <a:xfrm>
              <a:off x="6831917" y="2130586"/>
              <a:ext cx="8963" cy="4482"/>
            </a:xfrm>
            <a:custGeom>
              <a:avLst/>
              <a:gdLst>
                <a:gd name="connsiteX0" fmla="*/ 2241 w 8963"/>
                <a:gd name="connsiteY0" fmla="*/ 4482 h 4481"/>
                <a:gd name="connsiteX1" fmla="*/ 8067 w 8963"/>
                <a:gd name="connsiteY1" fmla="*/ 4482 h 4481"/>
                <a:gd name="connsiteX2" fmla="*/ 10308 w 8963"/>
                <a:gd name="connsiteY2" fmla="*/ 2241 h 4481"/>
                <a:gd name="connsiteX3" fmla="*/ 8067 w 8963"/>
                <a:gd name="connsiteY3" fmla="*/ 0 h 4481"/>
                <a:gd name="connsiteX4" fmla="*/ 2241 w 8963"/>
                <a:gd name="connsiteY4" fmla="*/ 0 h 4481"/>
                <a:gd name="connsiteX5" fmla="*/ 0 w 8963"/>
                <a:gd name="connsiteY5" fmla="*/ 2241 h 4481"/>
                <a:gd name="connsiteX6" fmla="*/ 2241 w 896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2241" y="4482"/>
                  </a:moveTo>
                  <a:lnTo>
                    <a:pt x="8067" y="4482"/>
                  </a:lnTo>
                  <a:cubicBezTo>
                    <a:pt x="9412" y="4482"/>
                    <a:pt x="10308" y="3585"/>
                    <a:pt x="10308" y="2241"/>
                  </a:cubicBezTo>
                  <a:cubicBezTo>
                    <a:pt x="10308" y="896"/>
                    <a:pt x="9412" y="0"/>
                    <a:pt x="8067"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sp>
        <p:nvSpPr>
          <p:cNvPr id="2519" name="Freeform: Shape 2518">
            <a:extLst>
              <a:ext uri="{FF2B5EF4-FFF2-40B4-BE49-F238E27FC236}">
                <a16:creationId xmlns:a16="http://schemas.microsoft.com/office/drawing/2014/main" id="{F4FBD331-B2EA-4B7D-9D1E-1ACE213347D1}"/>
              </a:ext>
              <a:ext uri="{C183D7F6-B498-43B3-948B-1728B52AA6E4}">
                <adec:decorative xmlns:adec="http://schemas.microsoft.com/office/drawing/2017/decorative" val="1"/>
              </a:ext>
            </a:extLst>
          </p:cNvPr>
          <p:cNvSpPr>
            <a:spLocks noChangeAspect="1"/>
          </p:cNvSpPr>
          <p:nvPr/>
        </p:nvSpPr>
        <p:spPr>
          <a:xfrm>
            <a:off x="10626991" y="4169246"/>
            <a:ext cx="152378" cy="129969"/>
          </a:xfrm>
          <a:custGeom>
            <a:avLst/>
            <a:gdLst>
              <a:gd name="connsiteX0" fmla="*/ 152826 w 152377"/>
              <a:gd name="connsiteY0" fmla="*/ 91875 h 129969"/>
              <a:gd name="connsiteX1" fmla="*/ 130866 w 152377"/>
              <a:gd name="connsiteY1" fmla="*/ 83360 h 129969"/>
              <a:gd name="connsiteX2" fmla="*/ 127729 w 152377"/>
              <a:gd name="connsiteY2" fmla="*/ 84704 h 129969"/>
              <a:gd name="connsiteX3" fmla="*/ 111146 w 152377"/>
              <a:gd name="connsiteY3" fmla="*/ 75741 h 129969"/>
              <a:gd name="connsiteX4" fmla="*/ 90978 w 152377"/>
              <a:gd name="connsiteY4" fmla="*/ 70363 h 129969"/>
              <a:gd name="connsiteX5" fmla="*/ 103976 w 152377"/>
              <a:gd name="connsiteY5" fmla="*/ 46610 h 129969"/>
              <a:gd name="connsiteX6" fmla="*/ 112939 w 152377"/>
              <a:gd name="connsiteY6" fmla="*/ 47954 h 129969"/>
              <a:gd name="connsiteX7" fmla="*/ 127729 w 152377"/>
              <a:gd name="connsiteY7" fmla="*/ 43024 h 129969"/>
              <a:gd name="connsiteX8" fmla="*/ 142070 w 152377"/>
              <a:gd name="connsiteY8" fmla="*/ 2241 h 129969"/>
              <a:gd name="connsiteX9" fmla="*/ 141174 w 152377"/>
              <a:gd name="connsiteY9" fmla="*/ 448 h 129969"/>
              <a:gd name="connsiteX10" fmla="*/ 139381 w 152377"/>
              <a:gd name="connsiteY10" fmla="*/ 0 h 129969"/>
              <a:gd name="connsiteX11" fmla="*/ 100390 w 152377"/>
              <a:gd name="connsiteY11" fmla="*/ 17927 h 129969"/>
              <a:gd name="connsiteX12" fmla="*/ 99942 w 152377"/>
              <a:gd name="connsiteY12" fmla="*/ 43921 h 129969"/>
              <a:gd name="connsiteX13" fmla="*/ 88738 w 152377"/>
              <a:gd name="connsiteY13" fmla="*/ 63640 h 129969"/>
              <a:gd name="connsiteX14" fmla="*/ 71259 w 152377"/>
              <a:gd name="connsiteY14" fmla="*/ 37198 h 129969"/>
              <a:gd name="connsiteX15" fmla="*/ 68122 w 152377"/>
              <a:gd name="connsiteY15" fmla="*/ 38094 h 129969"/>
              <a:gd name="connsiteX16" fmla="*/ 69018 w 152377"/>
              <a:gd name="connsiteY16" fmla="*/ 41232 h 129969"/>
              <a:gd name="connsiteX17" fmla="*/ 85152 w 152377"/>
              <a:gd name="connsiteY17" fmla="*/ 69915 h 129969"/>
              <a:gd name="connsiteX18" fmla="*/ 64985 w 152377"/>
              <a:gd name="connsiteY18" fmla="*/ 75293 h 129969"/>
              <a:gd name="connsiteX19" fmla="*/ 60503 w 152377"/>
              <a:gd name="connsiteY19" fmla="*/ 77533 h 129969"/>
              <a:gd name="connsiteX20" fmla="*/ 55125 w 152377"/>
              <a:gd name="connsiteY20" fmla="*/ 80223 h 129969"/>
              <a:gd name="connsiteX21" fmla="*/ 54228 w 152377"/>
              <a:gd name="connsiteY21" fmla="*/ 79774 h 129969"/>
              <a:gd name="connsiteX22" fmla="*/ 33613 w 152377"/>
              <a:gd name="connsiteY22" fmla="*/ 78878 h 129969"/>
              <a:gd name="connsiteX23" fmla="*/ 2241 w 152377"/>
              <a:gd name="connsiteY23" fmla="*/ 86497 h 129969"/>
              <a:gd name="connsiteX24" fmla="*/ 448 w 152377"/>
              <a:gd name="connsiteY24" fmla="*/ 89186 h 129969"/>
              <a:gd name="connsiteX25" fmla="*/ 3137 w 152377"/>
              <a:gd name="connsiteY25" fmla="*/ 90979 h 129969"/>
              <a:gd name="connsiteX26" fmla="*/ 34509 w 152377"/>
              <a:gd name="connsiteY26" fmla="*/ 83360 h 129969"/>
              <a:gd name="connsiteX27" fmla="*/ 52436 w 152377"/>
              <a:gd name="connsiteY27" fmla="*/ 83808 h 129969"/>
              <a:gd name="connsiteX28" fmla="*/ 64985 w 152377"/>
              <a:gd name="connsiteY28" fmla="*/ 87841 h 129969"/>
              <a:gd name="connsiteX29" fmla="*/ 84704 w 152377"/>
              <a:gd name="connsiteY29" fmla="*/ 90979 h 129969"/>
              <a:gd name="connsiteX30" fmla="*/ 98597 w 152377"/>
              <a:gd name="connsiteY30" fmla="*/ 90979 h 129969"/>
              <a:gd name="connsiteX31" fmla="*/ 102631 w 152377"/>
              <a:gd name="connsiteY31" fmla="*/ 92771 h 129969"/>
              <a:gd name="connsiteX32" fmla="*/ 103976 w 152377"/>
              <a:gd name="connsiteY32" fmla="*/ 98149 h 129969"/>
              <a:gd name="connsiteX33" fmla="*/ 98149 w 152377"/>
              <a:gd name="connsiteY33" fmla="*/ 103079 h 129969"/>
              <a:gd name="connsiteX34" fmla="*/ 59159 w 152377"/>
              <a:gd name="connsiteY34" fmla="*/ 103079 h 129969"/>
              <a:gd name="connsiteX35" fmla="*/ 56918 w 152377"/>
              <a:gd name="connsiteY35" fmla="*/ 105320 h 129969"/>
              <a:gd name="connsiteX36" fmla="*/ 59159 w 152377"/>
              <a:gd name="connsiteY36" fmla="*/ 107561 h 129969"/>
              <a:gd name="connsiteX37" fmla="*/ 98149 w 152377"/>
              <a:gd name="connsiteY37" fmla="*/ 107561 h 129969"/>
              <a:gd name="connsiteX38" fmla="*/ 108457 w 152377"/>
              <a:gd name="connsiteY38" fmla="*/ 98598 h 129969"/>
              <a:gd name="connsiteX39" fmla="*/ 108457 w 152377"/>
              <a:gd name="connsiteY39" fmla="*/ 95908 h 129969"/>
              <a:gd name="connsiteX40" fmla="*/ 131762 w 152377"/>
              <a:gd name="connsiteY40" fmla="*/ 86049 h 129969"/>
              <a:gd name="connsiteX41" fmla="*/ 147000 w 152377"/>
              <a:gd name="connsiteY41" fmla="*/ 90530 h 129969"/>
              <a:gd name="connsiteX42" fmla="*/ 86497 w 152377"/>
              <a:gd name="connsiteY42" fmla="*/ 127280 h 129969"/>
              <a:gd name="connsiteX43" fmla="*/ 73948 w 152377"/>
              <a:gd name="connsiteY43" fmla="*/ 129073 h 129969"/>
              <a:gd name="connsiteX44" fmla="*/ 35406 w 152377"/>
              <a:gd name="connsiteY44" fmla="*/ 119213 h 129969"/>
              <a:gd name="connsiteX45" fmla="*/ 25546 w 152377"/>
              <a:gd name="connsiteY45" fmla="*/ 119213 h 129969"/>
              <a:gd name="connsiteX46" fmla="*/ 1793 w 152377"/>
              <a:gd name="connsiteY46" fmla="*/ 124591 h 129969"/>
              <a:gd name="connsiteX47" fmla="*/ 0 w 152377"/>
              <a:gd name="connsiteY47" fmla="*/ 127280 h 129969"/>
              <a:gd name="connsiteX48" fmla="*/ 2689 w 152377"/>
              <a:gd name="connsiteY48" fmla="*/ 129073 h 129969"/>
              <a:gd name="connsiteX49" fmla="*/ 26442 w 152377"/>
              <a:gd name="connsiteY49" fmla="*/ 123695 h 129969"/>
              <a:gd name="connsiteX50" fmla="*/ 34061 w 152377"/>
              <a:gd name="connsiteY50" fmla="*/ 123695 h 129969"/>
              <a:gd name="connsiteX51" fmla="*/ 72604 w 152377"/>
              <a:gd name="connsiteY51" fmla="*/ 133555 h 129969"/>
              <a:gd name="connsiteX52" fmla="*/ 77982 w 152377"/>
              <a:gd name="connsiteY52" fmla="*/ 134003 h 129969"/>
              <a:gd name="connsiteX53" fmla="*/ 88738 w 152377"/>
              <a:gd name="connsiteY53" fmla="*/ 130866 h 129969"/>
              <a:gd name="connsiteX54" fmla="*/ 151481 w 152377"/>
              <a:gd name="connsiteY54" fmla="*/ 92771 h 129969"/>
              <a:gd name="connsiteX55" fmla="*/ 152826 w 152377"/>
              <a:gd name="connsiteY55" fmla="*/ 91875 h 129969"/>
              <a:gd name="connsiteX56" fmla="*/ 104424 w 152377"/>
              <a:gd name="connsiteY56" fmla="*/ 20616 h 129969"/>
              <a:gd name="connsiteX57" fmla="*/ 137588 w 152377"/>
              <a:gd name="connsiteY57" fmla="*/ 4930 h 129969"/>
              <a:gd name="connsiteX58" fmla="*/ 125040 w 152377"/>
              <a:gd name="connsiteY58" fmla="*/ 39439 h 129969"/>
              <a:gd name="connsiteX59" fmla="*/ 106664 w 152377"/>
              <a:gd name="connsiteY59" fmla="*/ 42576 h 129969"/>
              <a:gd name="connsiteX60" fmla="*/ 123247 w 152377"/>
              <a:gd name="connsiteY60" fmla="*/ 24201 h 129969"/>
              <a:gd name="connsiteX61" fmla="*/ 123247 w 152377"/>
              <a:gd name="connsiteY61" fmla="*/ 21064 h 129969"/>
              <a:gd name="connsiteX62" fmla="*/ 120110 w 152377"/>
              <a:gd name="connsiteY62" fmla="*/ 21064 h 129969"/>
              <a:gd name="connsiteX63" fmla="*/ 102631 w 152377"/>
              <a:gd name="connsiteY63" fmla="*/ 39887 h 129969"/>
              <a:gd name="connsiteX64" fmla="*/ 104424 w 152377"/>
              <a:gd name="connsiteY64" fmla="*/ 20616 h 129969"/>
              <a:gd name="connsiteX65" fmla="*/ 106664 w 152377"/>
              <a:gd name="connsiteY65" fmla="*/ 91427 h 129969"/>
              <a:gd name="connsiteX66" fmla="*/ 99046 w 152377"/>
              <a:gd name="connsiteY66" fmla="*/ 87841 h 129969"/>
              <a:gd name="connsiteX67" fmla="*/ 85152 w 152377"/>
              <a:gd name="connsiteY67" fmla="*/ 87841 h 129969"/>
              <a:gd name="connsiteX68" fmla="*/ 66777 w 152377"/>
              <a:gd name="connsiteY68" fmla="*/ 85152 h 129969"/>
              <a:gd name="connsiteX69" fmla="*/ 60951 w 152377"/>
              <a:gd name="connsiteY69" fmla="*/ 83360 h 129969"/>
              <a:gd name="connsiteX70" fmla="*/ 62296 w 152377"/>
              <a:gd name="connsiteY70" fmla="*/ 82463 h 129969"/>
              <a:gd name="connsiteX71" fmla="*/ 66777 w 152377"/>
              <a:gd name="connsiteY71" fmla="*/ 80223 h 129969"/>
              <a:gd name="connsiteX72" fmla="*/ 108457 w 152377"/>
              <a:gd name="connsiteY72" fmla="*/ 80223 h 129969"/>
              <a:gd name="connsiteX73" fmla="*/ 121902 w 152377"/>
              <a:gd name="connsiteY73" fmla="*/ 87393 h 129969"/>
              <a:gd name="connsiteX74" fmla="*/ 107561 w 152377"/>
              <a:gd name="connsiteY74" fmla="*/ 93668 h 129969"/>
              <a:gd name="connsiteX75" fmla="*/ 106664 w 152377"/>
              <a:gd name="connsiteY75" fmla="*/ 91427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2377" h="129969">
                <a:moveTo>
                  <a:pt x="152826" y="91875"/>
                </a:moveTo>
                <a:cubicBezTo>
                  <a:pt x="148793" y="83360"/>
                  <a:pt x="138933" y="79774"/>
                  <a:pt x="130866" y="83360"/>
                </a:cubicBezTo>
                <a:lnTo>
                  <a:pt x="127729" y="84704"/>
                </a:lnTo>
                <a:lnTo>
                  <a:pt x="111146" y="75741"/>
                </a:lnTo>
                <a:cubicBezTo>
                  <a:pt x="104872" y="72604"/>
                  <a:pt x="98149" y="70811"/>
                  <a:pt x="90978" y="70363"/>
                </a:cubicBezTo>
                <a:cubicBezTo>
                  <a:pt x="93668" y="61848"/>
                  <a:pt x="98597" y="53780"/>
                  <a:pt x="103976" y="46610"/>
                </a:cubicBezTo>
                <a:cubicBezTo>
                  <a:pt x="107113" y="47506"/>
                  <a:pt x="110250" y="47954"/>
                  <a:pt x="112939" y="47954"/>
                </a:cubicBezTo>
                <a:cubicBezTo>
                  <a:pt x="118765" y="47954"/>
                  <a:pt x="123695" y="46162"/>
                  <a:pt x="127729" y="43024"/>
                </a:cubicBezTo>
                <a:cubicBezTo>
                  <a:pt x="142966" y="31372"/>
                  <a:pt x="142070" y="3585"/>
                  <a:pt x="142070" y="2241"/>
                </a:cubicBezTo>
                <a:cubicBezTo>
                  <a:pt x="142070" y="1793"/>
                  <a:pt x="141622" y="896"/>
                  <a:pt x="141174" y="448"/>
                </a:cubicBezTo>
                <a:cubicBezTo>
                  <a:pt x="140726" y="0"/>
                  <a:pt x="140277" y="0"/>
                  <a:pt x="139381" y="0"/>
                </a:cubicBezTo>
                <a:cubicBezTo>
                  <a:pt x="138036" y="0"/>
                  <a:pt x="110250" y="1793"/>
                  <a:pt x="100390" y="17927"/>
                </a:cubicBezTo>
                <a:cubicBezTo>
                  <a:pt x="95909" y="25098"/>
                  <a:pt x="95460" y="34061"/>
                  <a:pt x="99942" y="43921"/>
                </a:cubicBezTo>
                <a:cubicBezTo>
                  <a:pt x="95460" y="50195"/>
                  <a:pt x="91427" y="56918"/>
                  <a:pt x="88738" y="63640"/>
                </a:cubicBezTo>
                <a:cubicBezTo>
                  <a:pt x="86497" y="55125"/>
                  <a:pt x="81567" y="41680"/>
                  <a:pt x="71259" y="37198"/>
                </a:cubicBezTo>
                <a:cubicBezTo>
                  <a:pt x="69914" y="36750"/>
                  <a:pt x="69018" y="37198"/>
                  <a:pt x="68122" y="38094"/>
                </a:cubicBezTo>
                <a:cubicBezTo>
                  <a:pt x="67226" y="38991"/>
                  <a:pt x="68122" y="40335"/>
                  <a:pt x="69018" y="41232"/>
                </a:cubicBezTo>
                <a:cubicBezTo>
                  <a:pt x="79774" y="46162"/>
                  <a:pt x="83808" y="63640"/>
                  <a:pt x="85152" y="69915"/>
                </a:cubicBezTo>
                <a:cubicBezTo>
                  <a:pt x="77982" y="70363"/>
                  <a:pt x="71259" y="72155"/>
                  <a:pt x="64985" y="75293"/>
                </a:cubicBezTo>
                <a:lnTo>
                  <a:pt x="60503" y="77533"/>
                </a:lnTo>
                <a:cubicBezTo>
                  <a:pt x="58710" y="78430"/>
                  <a:pt x="56918" y="79326"/>
                  <a:pt x="55125" y="80223"/>
                </a:cubicBezTo>
                <a:lnTo>
                  <a:pt x="54228" y="79774"/>
                </a:lnTo>
                <a:cubicBezTo>
                  <a:pt x="47506" y="77533"/>
                  <a:pt x="40335" y="77533"/>
                  <a:pt x="33613" y="78878"/>
                </a:cubicBezTo>
                <a:lnTo>
                  <a:pt x="2241" y="86497"/>
                </a:lnTo>
                <a:cubicBezTo>
                  <a:pt x="896" y="86945"/>
                  <a:pt x="448" y="87841"/>
                  <a:pt x="448" y="89186"/>
                </a:cubicBezTo>
                <a:cubicBezTo>
                  <a:pt x="896" y="90530"/>
                  <a:pt x="1793" y="90979"/>
                  <a:pt x="3137" y="90979"/>
                </a:cubicBezTo>
                <a:lnTo>
                  <a:pt x="34509" y="83360"/>
                </a:lnTo>
                <a:cubicBezTo>
                  <a:pt x="40335" y="82015"/>
                  <a:pt x="46610" y="82015"/>
                  <a:pt x="52436" y="83808"/>
                </a:cubicBezTo>
                <a:lnTo>
                  <a:pt x="64985" y="87841"/>
                </a:lnTo>
                <a:cubicBezTo>
                  <a:pt x="71259" y="90082"/>
                  <a:pt x="77982" y="90979"/>
                  <a:pt x="84704" y="90979"/>
                </a:cubicBezTo>
                <a:lnTo>
                  <a:pt x="98597" y="90979"/>
                </a:lnTo>
                <a:cubicBezTo>
                  <a:pt x="100390" y="90979"/>
                  <a:pt x="101735" y="91875"/>
                  <a:pt x="102631" y="92771"/>
                </a:cubicBezTo>
                <a:cubicBezTo>
                  <a:pt x="103976" y="94116"/>
                  <a:pt x="104424" y="95908"/>
                  <a:pt x="103976" y="98149"/>
                </a:cubicBezTo>
                <a:cubicBezTo>
                  <a:pt x="103527" y="100838"/>
                  <a:pt x="100838" y="103079"/>
                  <a:pt x="98149" y="103079"/>
                </a:cubicBezTo>
                <a:lnTo>
                  <a:pt x="59159" y="103079"/>
                </a:lnTo>
                <a:cubicBezTo>
                  <a:pt x="57814" y="103079"/>
                  <a:pt x="56918" y="103975"/>
                  <a:pt x="56918" y="105320"/>
                </a:cubicBezTo>
                <a:cubicBezTo>
                  <a:pt x="56918" y="106665"/>
                  <a:pt x="57814" y="107561"/>
                  <a:pt x="59159" y="107561"/>
                </a:cubicBezTo>
                <a:lnTo>
                  <a:pt x="98149" y="107561"/>
                </a:lnTo>
                <a:cubicBezTo>
                  <a:pt x="103079" y="107561"/>
                  <a:pt x="107561" y="103975"/>
                  <a:pt x="108457" y="98598"/>
                </a:cubicBezTo>
                <a:cubicBezTo>
                  <a:pt x="108457" y="97701"/>
                  <a:pt x="108457" y="96805"/>
                  <a:pt x="108457" y="95908"/>
                </a:cubicBezTo>
                <a:lnTo>
                  <a:pt x="131762" y="86049"/>
                </a:lnTo>
                <a:cubicBezTo>
                  <a:pt x="137140" y="83808"/>
                  <a:pt x="143863" y="85601"/>
                  <a:pt x="147000" y="90530"/>
                </a:cubicBezTo>
                <a:lnTo>
                  <a:pt x="86497" y="127280"/>
                </a:lnTo>
                <a:cubicBezTo>
                  <a:pt x="82911" y="129521"/>
                  <a:pt x="78430" y="130418"/>
                  <a:pt x="73948" y="129073"/>
                </a:cubicBezTo>
                <a:lnTo>
                  <a:pt x="35406" y="119213"/>
                </a:lnTo>
                <a:cubicBezTo>
                  <a:pt x="32268" y="118317"/>
                  <a:pt x="28683" y="118317"/>
                  <a:pt x="25546" y="119213"/>
                </a:cubicBezTo>
                <a:lnTo>
                  <a:pt x="1793" y="124591"/>
                </a:lnTo>
                <a:cubicBezTo>
                  <a:pt x="448" y="125040"/>
                  <a:pt x="0" y="125936"/>
                  <a:pt x="0" y="127280"/>
                </a:cubicBezTo>
                <a:cubicBezTo>
                  <a:pt x="448" y="128625"/>
                  <a:pt x="1344" y="129073"/>
                  <a:pt x="2689" y="129073"/>
                </a:cubicBezTo>
                <a:lnTo>
                  <a:pt x="26442" y="123695"/>
                </a:lnTo>
                <a:cubicBezTo>
                  <a:pt x="29131" y="123247"/>
                  <a:pt x="31372" y="123247"/>
                  <a:pt x="34061" y="123695"/>
                </a:cubicBezTo>
                <a:lnTo>
                  <a:pt x="72604" y="133555"/>
                </a:lnTo>
                <a:cubicBezTo>
                  <a:pt x="74396" y="134003"/>
                  <a:pt x="76189" y="134003"/>
                  <a:pt x="77982" y="134003"/>
                </a:cubicBezTo>
                <a:cubicBezTo>
                  <a:pt x="81567" y="134003"/>
                  <a:pt x="85600" y="133107"/>
                  <a:pt x="88738" y="130866"/>
                </a:cubicBezTo>
                <a:lnTo>
                  <a:pt x="151481" y="92771"/>
                </a:lnTo>
                <a:cubicBezTo>
                  <a:pt x="153274" y="94564"/>
                  <a:pt x="153722" y="93219"/>
                  <a:pt x="152826" y="91875"/>
                </a:cubicBezTo>
                <a:close/>
                <a:moveTo>
                  <a:pt x="104424" y="20616"/>
                </a:moveTo>
                <a:cubicBezTo>
                  <a:pt x="111594" y="8963"/>
                  <a:pt x="130866" y="5826"/>
                  <a:pt x="137588" y="4930"/>
                </a:cubicBezTo>
                <a:cubicBezTo>
                  <a:pt x="137588" y="11652"/>
                  <a:pt x="135796" y="31372"/>
                  <a:pt x="125040" y="39439"/>
                </a:cubicBezTo>
                <a:cubicBezTo>
                  <a:pt x="120110" y="43024"/>
                  <a:pt x="114283" y="43921"/>
                  <a:pt x="106664" y="42576"/>
                </a:cubicBezTo>
                <a:cubicBezTo>
                  <a:pt x="113387" y="34061"/>
                  <a:pt x="119661" y="27338"/>
                  <a:pt x="123247" y="24201"/>
                </a:cubicBezTo>
                <a:cubicBezTo>
                  <a:pt x="124143" y="23305"/>
                  <a:pt x="124143" y="21960"/>
                  <a:pt x="123247" y="21064"/>
                </a:cubicBezTo>
                <a:cubicBezTo>
                  <a:pt x="122350" y="20168"/>
                  <a:pt x="121006" y="20168"/>
                  <a:pt x="120110" y="21064"/>
                </a:cubicBezTo>
                <a:cubicBezTo>
                  <a:pt x="116524" y="24201"/>
                  <a:pt x="109354" y="31372"/>
                  <a:pt x="102631" y="39887"/>
                </a:cubicBezTo>
                <a:cubicBezTo>
                  <a:pt x="100838" y="32716"/>
                  <a:pt x="100838" y="25994"/>
                  <a:pt x="104424" y="20616"/>
                </a:cubicBezTo>
                <a:close/>
                <a:moveTo>
                  <a:pt x="106664" y="91427"/>
                </a:moveTo>
                <a:cubicBezTo>
                  <a:pt x="104872" y="89186"/>
                  <a:pt x="102183" y="87841"/>
                  <a:pt x="99046" y="87841"/>
                </a:cubicBezTo>
                <a:lnTo>
                  <a:pt x="85152" y="87841"/>
                </a:lnTo>
                <a:cubicBezTo>
                  <a:pt x="78878" y="87841"/>
                  <a:pt x="72604" y="86945"/>
                  <a:pt x="66777" y="85152"/>
                </a:cubicBezTo>
                <a:lnTo>
                  <a:pt x="60951" y="83360"/>
                </a:lnTo>
                <a:cubicBezTo>
                  <a:pt x="61399" y="82912"/>
                  <a:pt x="61847" y="82912"/>
                  <a:pt x="62296" y="82463"/>
                </a:cubicBezTo>
                <a:lnTo>
                  <a:pt x="66777" y="80223"/>
                </a:lnTo>
                <a:cubicBezTo>
                  <a:pt x="79774" y="73500"/>
                  <a:pt x="95460" y="73500"/>
                  <a:pt x="108457" y="80223"/>
                </a:cubicBezTo>
                <a:lnTo>
                  <a:pt x="121902" y="87393"/>
                </a:lnTo>
                <a:lnTo>
                  <a:pt x="107561" y="93668"/>
                </a:lnTo>
                <a:cubicBezTo>
                  <a:pt x="107561" y="92771"/>
                  <a:pt x="107113" y="91875"/>
                  <a:pt x="106664" y="91427"/>
                </a:cubicBezTo>
                <a:close/>
              </a:path>
            </a:pathLst>
          </a:custGeom>
          <a:solidFill>
            <a:srgbClr val="231F20"/>
          </a:solidFill>
          <a:ln w="4477" cap="flat">
            <a:noFill/>
            <a:prstDash val="solid"/>
            <a:miter/>
          </a:ln>
        </p:spPr>
        <p:txBody>
          <a:bodyPr rtlCol="0" anchor="ctr"/>
          <a:lstStyle/>
          <a:p>
            <a:endParaRPr lang="en-US"/>
          </a:p>
        </p:txBody>
      </p:sp>
      <p:grpSp>
        <p:nvGrpSpPr>
          <p:cNvPr id="2520" name="Group 2519">
            <a:extLst>
              <a:ext uri="{FF2B5EF4-FFF2-40B4-BE49-F238E27FC236}">
                <a16:creationId xmlns:a16="http://schemas.microsoft.com/office/drawing/2014/main" id="{B92FA547-6153-4EBE-85BD-B7EBB382F724}"/>
              </a:ext>
              <a:ext uri="{C183D7F6-B498-43B3-948B-1728B52AA6E4}">
                <adec:decorative xmlns:adec="http://schemas.microsoft.com/office/drawing/2017/decorative" val="1"/>
              </a:ext>
            </a:extLst>
          </p:cNvPr>
          <p:cNvGrpSpPr>
            <a:grpSpLocks noChangeAspect="1"/>
          </p:cNvGrpSpPr>
          <p:nvPr/>
        </p:nvGrpSpPr>
        <p:grpSpPr>
          <a:xfrm>
            <a:off x="10374672" y="4166109"/>
            <a:ext cx="152826" cy="152378"/>
            <a:chOff x="10431172" y="2110418"/>
            <a:chExt cx="152826" cy="152378"/>
          </a:xfrm>
        </p:grpSpPr>
        <p:sp>
          <p:nvSpPr>
            <p:cNvPr id="2967" name="Freeform: Shape 2966">
              <a:extLst>
                <a:ext uri="{FF2B5EF4-FFF2-40B4-BE49-F238E27FC236}">
                  <a16:creationId xmlns:a16="http://schemas.microsoft.com/office/drawing/2014/main" id="{98354C9B-A260-4682-BB13-2AF64DBE2068}"/>
                </a:ext>
              </a:extLst>
            </p:cNvPr>
            <p:cNvSpPr/>
            <p:nvPr/>
          </p:nvSpPr>
          <p:spPr>
            <a:xfrm>
              <a:off x="10431172" y="2135964"/>
              <a:ext cx="44817" cy="125488"/>
            </a:xfrm>
            <a:custGeom>
              <a:avLst/>
              <a:gdLst>
                <a:gd name="connsiteX0" fmla="*/ 42576 w 44817"/>
                <a:gd name="connsiteY0" fmla="*/ 30027 h 125487"/>
                <a:gd name="connsiteX1" fmla="*/ 40335 w 44817"/>
                <a:gd name="connsiteY1" fmla="*/ 32268 h 125487"/>
                <a:gd name="connsiteX2" fmla="*/ 40335 w 44817"/>
                <a:gd name="connsiteY2" fmla="*/ 37198 h 125487"/>
                <a:gd name="connsiteX3" fmla="*/ 31372 w 44817"/>
                <a:gd name="connsiteY3" fmla="*/ 44817 h 125487"/>
                <a:gd name="connsiteX4" fmla="*/ 31372 w 44817"/>
                <a:gd name="connsiteY4" fmla="*/ 35854 h 125487"/>
                <a:gd name="connsiteX5" fmla="*/ 31372 w 44817"/>
                <a:gd name="connsiteY5" fmla="*/ 2241 h 125487"/>
                <a:gd name="connsiteX6" fmla="*/ 29131 w 44817"/>
                <a:gd name="connsiteY6" fmla="*/ 0 h 125487"/>
                <a:gd name="connsiteX7" fmla="*/ 26890 w 44817"/>
                <a:gd name="connsiteY7" fmla="*/ 2241 h 125487"/>
                <a:gd name="connsiteX8" fmla="*/ 26890 w 44817"/>
                <a:gd name="connsiteY8" fmla="*/ 30027 h 125487"/>
                <a:gd name="connsiteX9" fmla="*/ 24201 w 44817"/>
                <a:gd name="connsiteY9" fmla="*/ 27338 h 125487"/>
                <a:gd name="connsiteX10" fmla="*/ 22409 w 44817"/>
                <a:gd name="connsiteY10" fmla="*/ 26890 h 125487"/>
                <a:gd name="connsiteX11" fmla="*/ 20616 w 44817"/>
                <a:gd name="connsiteY11" fmla="*/ 27338 h 125487"/>
                <a:gd name="connsiteX12" fmla="*/ 17927 w 44817"/>
                <a:gd name="connsiteY12" fmla="*/ 30027 h 125487"/>
                <a:gd name="connsiteX13" fmla="*/ 17927 w 44817"/>
                <a:gd name="connsiteY13" fmla="*/ 2241 h 125487"/>
                <a:gd name="connsiteX14" fmla="*/ 15686 w 44817"/>
                <a:gd name="connsiteY14" fmla="*/ 0 h 125487"/>
                <a:gd name="connsiteX15" fmla="*/ 13445 w 44817"/>
                <a:gd name="connsiteY15" fmla="*/ 2241 h 125487"/>
                <a:gd name="connsiteX16" fmla="*/ 13445 w 44817"/>
                <a:gd name="connsiteY16" fmla="*/ 35854 h 125487"/>
                <a:gd name="connsiteX17" fmla="*/ 13445 w 44817"/>
                <a:gd name="connsiteY17" fmla="*/ 44817 h 125487"/>
                <a:gd name="connsiteX18" fmla="*/ 4482 w 44817"/>
                <a:gd name="connsiteY18" fmla="*/ 37198 h 125487"/>
                <a:gd name="connsiteX19" fmla="*/ 4482 w 44817"/>
                <a:gd name="connsiteY19" fmla="*/ 32268 h 125487"/>
                <a:gd name="connsiteX20" fmla="*/ 2241 w 44817"/>
                <a:gd name="connsiteY20" fmla="*/ 30027 h 125487"/>
                <a:gd name="connsiteX21" fmla="*/ 0 w 44817"/>
                <a:gd name="connsiteY21" fmla="*/ 32268 h 125487"/>
                <a:gd name="connsiteX22" fmla="*/ 0 w 44817"/>
                <a:gd name="connsiteY22" fmla="*/ 82015 h 125487"/>
                <a:gd name="connsiteX23" fmla="*/ 5826 w 44817"/>
                <a:gd name="connsiteY23" fmla="*/ 94116 h 125487"/>
                <a:gd name="connsiteX24" fmla="*/ 20168 w 44817"/>
                <a:gd name="connsiteY24" fmla="*/ 106216 h 125487"/>
                <a:gd name="connsiteX25" fmla="*/ 20168 w 44817"/>
                <a:gd name="connsiteY25" fmla="*/ 125040 h 125487"/>
                <a:gd name="connsiteX26" fmla="*/ 22409 w 44817"/>
                <a:gd name="connsiteY26" fmla="*/ 127280 h 125487"/>
                <a:gd name="connsiteX27" fmla="*/ 24649 w 44817"/>
                <a:gd name="connsiteY27" fmla="*/ 125040 h 125487"/>
                <a:gd name="connsiteX28" fmla="*/ 24649 w 44817"/>
                <a:gd name="connsiteY28" fmla="*/ 106216 h 125487"/>
                <a:gd name="connsiteX29" fmla="*/ 38991 w 44817"/>
                <a:gd name="connsiteY29" fmla="*/ 94116 h 125487"/>
                <a:gd name="connsiteX30" fmla="*/ 44817 w 44817"/>
                <a:gd name="connsiteY30" fmla="*/ 82015 h 125487"/>
                <a:gd name="connsiteX31" fmla="*/ 44817 w 44817"/>
                <a:gd name="connsiteY31" fmla="*/ 32268 h 125487"/>
                <a:gd name="connsiteX32" fmla="*/ 42576 w 44817"/>
                <a:gd name="connsiteY32" fmla="*/ 30027 h 125487"/>
                <a:gd name="connsiteX33" fmla="*/ 4482 w 44817"/>
                <a:gd name="connsiteY33" fmla="*/ 59607 h 125487"/>
                <a:gd name="connsiteX34" fmla="*/ 20168 w 44817"/>
                <a:gd name="connsiteY34" fmla="*/ 72604 h 125487"/>
                <a:gd name="connsiteX35" fmla="*/ 20168 w 44817"/>
                <a:gd name="connsiteY35" fmla="*/ 83360 h 125487"/>
                <a:gd name="connsiteX36" fmla="*/ 4482 w 44817"/>
                <a:gd name="connsiteY36" fmla="*/ 70363 h 125487"/>
                <a:gd name="connsiteX37" fmla="*/ 4482 w 44817"/>
                <a:gd name="connsiteY37" fmla="*/ 59607 h 125487"/>
                <a:gd name="connsiteX38" fmla="*/ 24649 w 44817"/>
                <a:gd name="connsiteY38" fmla="*/ 72604 h 125487"/>
                <a:gd name="connsiteX39" fmla="*/ 40335 w 44817"/>
                <a:gd name="connsiteY39" fmla="*/ 59607 h 125487"/>
                <a:gd name="connsiteX40" fmla="*/ 40335 w 44817"/>
                <a:gd name="connsiteY40" fmla="*/ 70363 h 125487"/>
                <a:gd name="connsiteX41" fmla="*/ 24649 w 44817"/>
                <a:gd name="connsiteY41" fmla="*/ 83360 h 125487"/>
                <a:gd name="connsiteX42" fmla="*/ 24649 w 44817"/>
                <a:gd name="connsiteY42" fmla="*/ 72604 h 125487"/>
                <a:gd name="connsiteX43" fmla="*/ 40335 w 44817"/>
                <a:gd name="connsiteY43" fmla="*/ 53780 h 125487"/>
                <a:gd name="connsiteX44" fmla="*/ 24649 w 44817"/>
                <a:gd name="connsiteY44" fmla="*/ 66777 h 125487"/>
                <a:gd name="connsiteX45" fmla="*/ 24649 w 44817"/>
                <a:gd name="connsiteY45" fmla="*/ 56021 h 125487"/>
                <a:gd name="connsiteX46" fmla="*/ 40335 w 44817"/>
                <a:gd name="connsiteY46" fmla="*/ 43024 h 125487"/>
                <a:gd name="connsiteX47" fmla="*/ 40335 w 44817"/>
                <a:gd name="connsiteY47" fmla="*/ 53780 h 125487"/>
                <a:gd name="connsiteX48" fmla="*/ 17927 w 44817"/>
                <a:gd name="connsiteY48" fmla="*/ 47954 h 125487"/>
                <a:gd name="connsiteX49" fmla="*/ 17927 w 44817"/>
                <a:gd name="connsiteY49" fmla="*/ 36302 h 125487"/>
                <a:gd name="connsiteX50" fmla="*/ 22409 w 44817"/>
                <a:gd name="connsiteY50" fmla="*/ 31820 h 125487"/>
                <a:gd name="connsiteX51" fmla="*/ 26890 w 44817"/>
                <a:gd name="connsiteY51" fmla="*/ 36302 h 125487"/>
                <a:gd name="connsiteX52" fmla="*/ 26890 w 44817"/>
                <a:gd name="connsiteY52" fmla="*/ 47954 h 125487"/>
                <a:gd name="connsiteX53" fmla="*/ 26890 w 44817"/>
                <a:gd name="connsiteY53" fmla="*/ 47954 h 125487"/>
                <a:gd name="connsiteX54" fmla="*/ 22409 w 44817"/>
                <a:gd name="connsiteY54" fmla="*/ 51540 h 125487"/>
                <a:gd name="connsiteX55" fmla="*/ 17927 w 44817"/>
                <a:gd name="connsiteY55" fmla="*/ 47954 h 125487"/>
                <a:gd name="connsiteX56" fmla="*/ 17927 w 44817"/>
                <a:gd name="connsiteY56" fmla="*/ 47954 h 125487"/>
                <a:gd name="connsiteX57" fmla="*/ 20168 w 44817"/>
                <a:gd name="connsiteY57" fmla="*/ 56021 h 125487"/>
                <a:gd name="connsiteX58" fmla="*/ 20168 w 44817"/>
                <a:gd name="connsiteY58" fmla="*/ 66777 h 125487"/>
                <a:gd name="connsiteX59" fmla="*/ 4482 w 44817"/>
                <a:gd name="connsiteY59" fmla="*/ 53780 h 125487"/>
                <a:gd name="connsiteX60" fmla="*/ 4482 w 44817"/>
                <a:gd name="connsiteY60" fmla="*/ 43024 h 125487"/>
                <a:gd name="connsiteX61" fmla="*/ 20168 w 44817"/>
                <a:gd name="connsiteY61" fmla="*/ 56021 h 125487"/>
                <a:gd name="connsiteX62" fmla="*/ 8515 w 44817"/>
                <a:gd name="connsiteY62" fmla="*/ 90530 h 125487"/>
                <a:gd name="connsiteX63" fmla="*/ 4482 w 44817"/>
                <a:gd name="connsiteY63" fmla="*/ 82015 h 125487"/>
                <a:gd name="connsiteX64" fmla="*/ 4482 w 44817"/>
                <a:gd name="connsiteY64" fmla="*/ 76189 h 125487"/>
                <a:gd name="connsiteX65" fmla="*/ 20168 w 44817"/>
                <a:gd name="connsiteY65" fmla="*/ 89186 h 125487"/>
                <a:gd name="connsiteX66" fmla="*/ 20168 w 44817"/>
                <a:gd name="connsiteY66" fmla="*/ 99942 h 125487"/>
                <a:gd name="connsiteX67" fmla="*/ 8515 w 44817"/>
                <a:gd name="connsiteY67" fmla="*/ 90530 h 125487"/>
                <a:gd name="connsiteX68" fmla="*/ 36302 w 44817"/>
                <a:gd name="connsiteY68" fmla="*/ 90530 h 125487"/>
                <a:gd name="connsiteX69" fmla="*/ 24649 w 44817"/>
                <a:gd name="connsiteY69" fmla="*/ 100390 h 125487"/>
                <a:gd name="connsiteX70" fmla="*/ 24649 w 44817"/>
                <a:gd name="connsiteY70" fmla="*/ 89634 h 125487"/>
                <a:gd name="connsiteX71" fmla="*/ 40335 w 44817"/>
                <a:gd name="connsiteY71" fmla="*/ 76637 h 125487"/>
                <a:gd name="connsiteX72" fmla="*/ 40335 w 44817"/>
                <a:gd name="connsiteY72" fmla="*/ 82463 h 125487"/>
                <a:gd name="connsiteX73" fmla="*/ 36302 w 44817"/>
                <a:gd name="connsiteY73" fmla="*/ 9053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4817" h="125487">
                  <a:moveTo>
                    <a:pt x="42576" y="30027"/>
                  </a:moveTo>
                  <a:cubicBezTo>
                    <a:pt x="41232" y="30027"/>
                    <a:pt x="40335" y="30924"/>
                    <a:pt x="40335" y="32268"/>
                  </a:cubicBezTo>
                  <a:lnTo>
                    <a:pt x="40335" y="37198"/>
                  </a:lnTo>
                  <a:lnTo>
                    <a:pt x="31372" y="44817"/>
                  </a:lnTo>
                  <a:lnTo>
                    <a:pt x="31372" y="35854"/>
                  </a:lnTo>
                  <a:lnTo>
                    <a:pt x="31372" y="2241"/>
                  </a:lnTo>
                  <a:cubicBezTo>
                    <a:pt x="31372" y="896"/>
                    <a:pt x="30476" y="0"/>
                    <a:pt x="29131" y="0"/>
                  </a:cubicBezTo>
                  <a:cubicBezTo>
                    <a:pt x="27787" y="0"/>
                    <a:pt x="26890" y="896"/>
                    <a:pt x="26890" y="2241"/>
                  </a:cubicBezTo>
                  <a:lnTo>
                    <a:pt x="26890" y="30027"/>
                  </a:lnTo>
                  <a:lnTo>
                    <a:pt x="24201" y="27338"/>
                  </a:lnTo>
                  <a:cubicBezTo>
                    <a:pt x="23753" y="26890"/>
                    <a:pt x="23305" y="26890"/>
                    <a:pt x="22409" y="26890"/>
                  </a:cubicBezTo>
                  <a:cubicBezTo>
                    <a:pt x="21512" y="26890"/>
                    <a:pt x="21064" y="27338"/>
                    <a:pt x="20616" y="27338"/>
                  </a:cubicBezTo>
                  <a:lnTo>
                    <a:pt x="17927" y="30027"/>
                  </a:lnTo>
                  <a:lnTo>
                    <a:pt x="17927" y="2241"/>
                  </a:lnTo>
                  <a:cubicBezTo>
                    <a:pt x="17927" y="896"/>
                    <a:pt x="17030" y="0"/>
                    <a:pt x="15686" y="0"/>
                  </a:cubicBezTo>
                  <a:cubicBezTo>
                    <a:pt x="14342" y="0"/>
                    <a:pt x="13445" y="896"/>
                    <a:pt x="13445" y="2241"/>
                  </a:cubicBezTo>
                  <a:lnTo>
                    <a:pt x="13445" y="35854"/>
                  </a:lnTo>
                  <a:lnTo>
                    <a:pt x="13445" y="44817"/>
                  </a:lnTo>
                  <a:lnTo>
                    <a:pt x="4482" y="37198"/>
                  </a:lnTo>
                  <a:lnTo>
                    <a:pt x="4482" y="32268"/>
                  </a:lnTo>
                  <a:cubicBezTo>
                    <a:pt x="4482" y="30924"/>
                    <a:pt x="3585" y="30027"/>
                    <a:pt x="2241" y="30027"/>
                  </a:cubicBezTo>
                  <a:cubicBezTo>
                    <a:pt x="896" y="30027"/>
                    <a:pt x="0" y="30924"/>
                    <a:pt x="0" y="32268"/>
                  </a:cubicBezTo>
                  <a:lnTo>
                    <a:pt x="0" y="82015"/>
                  </a:lnTo>
                  <a:cubicBezTo>
                    <a:pt x="0" y="86497"/>
                    <a:pt x="2241" y="90979"/>
                    <a:pt x="5826" y="94116"/>
                  </a:cubicBezTo>
                  <a:lnTo>
                    <a:pt x="20168" y="106216"/>
                  </a:lnTo>
                  <a:lnTo>
                    <a:pt x="20168" y="125040"/>
                  </a:lnTo>
                  <a:cubicBezTo>
                    <a:pt x="20168" y="126384"/>
                    <a:pt x="21064" y="127280"/>
                    <a:pt x="22409" y="127280"/>
                  </a:cubicBezTo>
                  <a:cubicBezTo>
                    <a:pt x="23753" y="127280"/>
                    <a:pt x="24649" y="126384"/>
                    <a:pt x="24649" y="125040"/>
                  </a:cubicBezTo>
                  <a:lnTo>
                    <a:pt x="24649" y="106216"/>
                  </a:lnTo>
                  <a:lnTo>
                    <a:pt x="38991" y="94116"/>
                  </a:lnTo>
                  <a:cubicBezTo>
                    <a:pt x="42576" y="90979"/>
                    <a:pt x="44817" y="86945"/>
                    <a:pt x="44817" y="82015"/>
                  </a:cubicBezTo>
                  <a:lnTo>
                    <a:pt x="44817" y="32268"/>
                  </a:lnTo>
                  <a:cubicBezTo>
                    <a:pt x="44817" y="30924"/>
                    <a:pt x="43921" y="30027"/>
                    <a:pt x="42576" y="30027"/>
                  </a:cubicBezTo>
                  <a:close/>
                  <a:moveTo>
                    <a:pt x="4482" y="59607"/>
                  </a:moveTo>
                  <a:lnTo>
                    <a:pt x="20168" y="72604"/>
                  </a:lnTo>
                  <a:lnTo>
                    <a:pt x="20168" y="83360"/>
                  </a:lnTo>
                  <a:lnTo>
                    <a:pt x="4482" y="70363"/>
                  </a:lnTo>
                  <a:lnTo>
                    <a:pt x="4482" y="59607"/>
                  </a:lnTo>
                  <a:close/>
                  <a:moveTo>
                    <a:pt x="24649" y="72604"/>
                  </a:moveTo>
                  <a:lnTo>
                    <a:pt x="40335" y="59607"/>
                  </a:lnTo>
                  <a:lnTo>
                    <a:pt x="40335" y="70363"/>
                  </a:lnTo>
                  <a:lnTo>
                    <a:pt x="24649" y="83360"/>
                  </a:lnTo>
                  <a:lnTo>
                    <a:pt x="24649" y="72604"/>
                  </a:lnTo>
                  <a:close/>
                  <a:moveTo>
                    <a:pt x="40335" y="53780"/>
                  </a:moveTo>
                  <a:lnTo>
                    <a:pt x="24649" y="66777"/>
                  </a:lnTo>
                  <a:lnTo>
                    <a:pt x="24649" y="56021"/>
                  </a:lnTo>
                  <a:lnTo>
                    <a:pt x="40335" y="43024"/>
                  </a:lnTo>
                  <a:lnTo>
                    <a:pt x="40335" y="53780"/>
                  </a:lnTo>
                  <a:close/>
                  <a:moveTo>
                    <a:pt x="17927" y="47954"/>
                  </a:moveTo>
                  <a:lnTo>
                    <a:pt x="17927" y="36302"/>
                  </a:lnTo>
                  <a:lnTo>
                    <a:pt x="22409" y="31820"/>
                  </a:lnTo>
                  <a:lnTo>
                    <a:pt x="26890" y="36302"/>
                  </a:lnTo>
                  <a:lnTo>
                    <a:pt x="26890" y="47954"/>
                  </a:lnTo>
                  <a:cubicBezTo>
                    <a:pt x="26890" y="47954"/>
                    <a:pt x="26890" y="47954"/>
                    <a:pt x="26890" y="47954"/>
                  </a:cubicBezTo>
                  <a:lnTo>
                    <a:pt x="22409" y="51540"/>
                  </a:lnTo>
                  <a:lnTo>
                    <a:pt x="17927" y="47954"/>
                  </a:lnTo>
                  <a:cubicBezTo>
                    <a:pt x="17927" y="47954"/>
                    <a:pt x="17927" y="47954"/>
                    <a:pt x="17927" y="47954"/>
                  </a:cubicBezTo>
                  <a:close/>
                  <a:moveTo>
                    <a:pt x="20168" y="56021"/>
                  </a:moveTo>
                  <a:lnTo>
                    <a:pt x="20168" y="66777"/>
                  </a:lnTo>
                  <a:lnTo>
                    <a:pt x="4482" y="53780"/>
                  </a:lnTo>
                  <a:lnTo>
                    <a:pt x="4482" y="43024"/>
                  </a:lnTo>
                  <a:lnTo>
                    <a:pt x="20168" y="56021"/>
                  </a:lnTo>
                  <a:close/>
                  <a:moveTo>
                    <a:pt x="8515" y="90530"/>
                  </a:moveTo>
                  <a:cubicBezTo>
                    <a:pt x="5826" y="88290"/>
                    <a:pt x="4482" y="85152"/>
                    <a:pt x="4482" y="82015"/>
                  </a:cubicBezTo>
                  <a:lnTo>
                    <a:pt x="4482" y="76189"/>
                  </a:lnTo>
                  <a:lnTo>
                    <a:pt x="20168" y="89186"/>
                  </a:lnTo>
                  <a:lnTo>
                    <a:pt x="20168" y="99942"/>
                  </a:lnTo>
                  <a:lnTo>
                    <a:pt x="8515" y="90530"/>
                  </a:lnTo>
                  <a:close/>
                  <a:moveTo>
                    <a:pt x="36302" y="90530"/>
                  </a:moveTo>
                  <a:lnTo>
                    <a:pt x="24649" y="100390"/>
                  </a:lnTo>
                  <a:lnTo>
                    <a:pt x="24649" y="89634"/>
                  </a:lnTo>
                  <a:lnTo>
                    <a:pt x="40335" y="76637"/>
                  </a:lnTo>
                  <a:lnTo>
                    <a:pt x="40335" y="82463"/>
                  </a:lnTo>
                  <a:cubicBezTo>
                    <a:pt x="40335" y="85152"/>
                    <a:pt x="38543" y="88290"/>
                    <a:pt x="36302" y="90530"/>
                  </a:cubicBezTo>
                  <a:close/>
                </a:path>
              </a:pathLst>
            </a:custGeom>
            <a:solidFill>
              <a:srgbClr val="231F20"/>
            </a:solidFill>
            <a:ln w="4477" cap="flat">
              <a:noFill/>
              <a:prstDash val="solid"/>
              <a:miter/>
            </a:ln>
          </p:spPr>
          <p:txBody>
            <a:bodyPr rtlCol="0" anchor="ctr"/>
            <a:lstStyle/>
            <a:p>
              <a:endParaRPr lang="en-US"/>
            </a:p>
          </p:txBody>
        </p:sp>
        <p:sp>
          <p:nvSpPr>
            <p:cNvPr id="2968" name="Freeform: Shape 2967">
              <a:extLst>
                <a:ext uri="{FF2B5EF4-FFF2-40B4-BE49-F238E27FC236}">
                  <a16:creationId xmlns:a16="http://schemas.microsoft.com/office/drawing/2014/main" id="{730DD649-DE83-47B2-AD83-23A7A219BFB9}"/>
                </a:ext>
              </a:extLst>
            </p:cNvPr>
            <p:cNvSpPr/>
            <p:nvPr/>
          </p:nvSpPr>
          <p:spPr>
            <a:xfrm>
              <a:off x="10539181" y="2135964"/>
              <a:ext cx="44817" cy="125488"/>
            </a:xfrm>
            <a:custGeom>
              <a:avLst/>
              <a:gdLst>
                <a:gd name="connsiteX0" fmla="*/ 42128 w 44817"/>
                <a:gd name="connsiteY0" fmla="*/ 30027 h 125487"/>
                <a:gd name="connsiteX1" fmla="*/ 39887 w 44817"/>
                <a:gd name="connsiteY1" fmla="*/ 32268 h 125487"/>
                <a:gd name="connsiteX2" fmla="*/ 39887 w 44817"/>
                <a:gd name="connsiteY2" fmla="*/ 37198 h 125487"/>
                <a:gd name="connsiteX3" fmla="*/ 30924 w 44817"/>
                <a:gd name="connsiteY3" fmla="*/ 44817 h 125487"/>
                <a:gd name="connsiteX4" fmla="*/ 30924 w 44817"/>
                <a:gd name="connsiteY4" fmla="*/ 35854 h 125487"/>
                <a:gd name="connsiteX5" fmla="*/ 30924 w 44817"/>
                <a:gd name="connsiteY5" fmla="*/ 2241 h 125487"/>
                <a:gd name="connsiteX6" fmla="*/ 28683 w 44817"/>
                <a:gd name="connsiteY6" fmla="*/ 0 h 125487"/>
                <a:gd name="connsiteX7" fmla="*/ 26442 w 44817"/>
                <a:gd name="connsiteY7" fmla="*/ 2241 h 125487"/>
                <a:gd name="connsiteX8" fmla="*/ 26442 w 44817"/>
                <a:gd name="connsiteY8" fmla="*/ 30027 h 125487"/>
                <a:gd name="connsiteX9" fmla="*/ 23753 w 44817"/>
                <a:gd name="connsiteY9" fmla="*/ 27338 h 125487"/>
                <a:gd name="connsiteX10" fmla="*/ 20616 w 44817"/>
                <a:gd name="connsiteY10" fmla="*/ 27338 h 125487"/>
                <a:gd name="connsiteX11" fmla="*/ 17927 w 44817"/>
                <a:gd name="connsiteY11" fmla="*/ 30027 h 125487"/>
                <a:gd name="connsiteX12" fmla="*/ 17927 w 44817"/>
                <a:gd name="connsiteY12" fmla="*/ 2241 h 125487"/>
                <a:gd name="connsiteX13" fmla="*/ 15686 w 44817"/>
                <a:gd name="connsiteY13" fmla="*/ 0 h 125487"/>
                <a:gd name="connsiteX14" fmla="*/ 13445 w 44817"/>
                <a:gd name="connsiteY14" fmla="*/ 2241 h 125487"/>
                <a:gd name="connsiteX15" fmla="*/ 13445 w 44817"/>
                <a:gd name="connsiteY15" fmla="*/ 35854 h 125487"/>
                <a:gd name="connsiteX16" fmla="*/ 13445 w 44817"/>
                <a:gd name="connsiteY16" fmla="*/ 44817 h 125487"/>
                <a:gd name="connsiteX17" fmla="*/ 4482 w 44817"/>
                <a:gd name="connsiteY17" fmla="*/ 37198 h 125487"/>
                <a:gd name="connsiteX18" fmla="*/ 4482 w 44817"/>
                <a:gd name="connsiteY18" fmla="*/ 32268 h 125487"/>
                <a:gd name="connsiteX19" fmla="*/ 2241 w 44817"/>
                <a:gd name="connsiteY19" fmla="*/ 30027 h 125487"/>
                <a:gd name="connsiteX20" fmla="*/ 0 w 44817"/>
                <a:gd name="connsiteY20" fmla="*/ 32268 h 125487"/>
                <a:gd name="connsiteX21" fmla="*/ 0 w 44817"/>
                <a:gd name="connsiteY21" fmla="*/ 82015 h 125487"/>
                <a:gd name="connsiteX22" fmla="*/ 5826 w 44817"/>
                <a:gd name="connsiteY22" fmla="*/ 94116 h 125487"/>
                <a:gd name="connsiteX23" fmla="*/ 20168 w 44817"/>
                <a:gd name="connsiteY23" fmla="*/ 106216 h 125487"/>
                <a:gd name="connsiteX24" fmla="*/ 20168 w 44817"/>
                <a:gd name="connsiteY24" fmla="*/ 125040 h 125487"/>
                <a:gd name="connsiteX25" fmla="*/ 22409 w 44817"/>
                <a:gd name="connsiteY25" fmla="*/ 127280 h 125487"/>
                <a:gd name="connsiteX26" fmla="*/ 24649 w 44817"/>
                <a:gd name="connsiteY26" fmla="*/ 125040 h 125487"/>
                <a:gd name="connsiteX27" fmla="*/ 24649 w 44817"/>
                <a:gd name="connsiteY27" fmla="*/ 106216 h 125487"/>
                <a:gd name="connsiteX28" fmla="*/ 38991 w 44817"/>
                <a:gd name="connsiteY28" fmla="*/ 94116 h 125487"/>
                <a:gd name="connsiteX29" fmla="*/ 44817 w 44817"/>
                <a:gd name="connsiteY29" fmla="*/ 82015 h 125487"/>
                <a:gd name="connsiteX30" fmla="*/ 44817 w 44817"/>
                <a:gd name="connsiteY30" fmla="*/ 32268 h 125487"/>
                <a:gd name="connsiteX31" fmla="*/ 42128 w 44817"/>
                <a:gd name="connsiteY31" fmla="*/ 30027 h 125487"/>
                <a:gd name="connsiteX32" fmla="*/ 4034 w 44817"/>
                <a:gd name="connsiteY32" fmla="*/ 59607 h 125487"/>
                <a:gd name="connsiteX33" fmla="*/ 19720 w 44817"/>
                <a:gd name="connsiteY33" fmla="*/ 72604 h 125487"/>
                <a:gd name="connsiteX34" fmla="*/ 19720 w 44817"/>
                <a:gd name="connsiteY34" fmla="*/ 83360 h 125487"/>
                <a:gd name="connsiteX35" fmla="*/ 4034 w 44817"/>
                <a:gd name="connsiteY35" fmla="*/ 70363 h 125487"/>
                <a:gd name="connsiteX36" fmla="*/ 4034 w 44817"/>
                <a:gd name="connsiteY36" fmla="*/ 59607 h 125487"/>
                <a:gd name="connsiteX37" fmla="*/ 24201 w 44817"/>
                <a:gd name="connsiteY37" fmla="*/ 72604 h 125487"/>
                <a:gd name="connsiteX38" fmla="*/ 39887 w 44817"/>
                <a:gd name="connsiteY38" fmla="*/ 59607 h 125487"/>
                <a:gd name="connsiteX39" fmla="*/ 39887 w 44817"/>
                <a:gd name="connsiteY39" fmla="*/ 70363 h 125487"/>
                <a:gd name="connsiteX40" fmla="*/ 24201 w 44817"/>
                <a:gd name="connsiteY40" fmla="*/ 83360 h 125487"/>
                <a:gd name="connsiteX41" fmla="*/ 24201 w 44817"/>
                <a:gd name="connsiteY41" fmla="*/ 72604 h 125487"/>
                <a:gd name="connsiteX42" fmla="*/ 39887 w 44817"/>
                <a:gd name="connsiteY42" fmla="*/ 53780 h 125487"/>
                <a:gd name="connsiteX43" fmla="*/ 24201 w 44817"/>
                <a:gd name="connsiteY43" fmla="*/ 66777 h 125487"/>
                <a:gd name="connsiteX44" fmla="*/ 24201 w 44817"/>
                <a:gd name="connsiteY44" fmla="*/ 56021 h 125487"/>
                <a:gd name="connsiteX45" fmla="*/ 39887 w 44817"/>
                <a:gd name="connsiteY45" fmla="*/ 43024 h 125487"/>
                <a:gd name="connsiteX46" fmla="*/ 39887 w 44817"/>
                <a:gd name="connsiteY46" fmla="*/ 53780 h 125487"/>
                <a:gd name="connsiteX47" fmla="*/ 17479 w 44817"/>
                <a:gd name="connsiteY47" fmla="*/ 47954 h 125487"/>
                <a:gd name="connsiteX48" fmla="*/ 17479 w 44817"/>
                <a:gd name="connsiteY48" fmla="*/ 36302 h 125487"/>
                <a:gd name="connsiteX49" fmla="*/ 21960 w 44817"/>
                <a:gd name="connsiteY49" fmla="*/ 31820 h 125487"/>
                <a:gd name="connsiteX50" fmla="*/ 26442 w 44817"/>
                <a:gd name="connsiteY50" fmla="*/ 36302 h 125487"/>
                <a:gd name="connsiteX51" fmla="*/ 26442 w 44817"/>
                <a:gd name="connsiteY51" fmla="*/ 47954 h 125487"/>
                <a:gd name="connsiteX52" fmla="*/ 26442 w 44817"/>
                <a:gd name="connsiteY52" fmla="*/ 47954 h 125487"/>
                <a:gd name="connsiteX53" fmla="*/ 21960 w 44817"/>
                <a:gd name="connsiteY53" fmla="*/ 51540 h 125487"/>
                <a:gd name="connsiteX54" fmla="*/ 17479 w 44817"/>
                <a:gd name="connsiteY54" fmla="*/ 47954 h 125487"/>
                <a:gd name="connsiteX55" fmla="*/ 17479 w 44817"/>
                <a:gd name="connsiteY55" fmla="*/ 47954 h 125487"/>
                <a:gd name="connsiteX56" fmla="*/ 19720 w 44817"/>
                <a:gd name="connsiteY56" fmla="*/ 56021 h 125487"/>
                <a:gd name="connsiteX57" fmla="*/ 19720 w 44817"/>
                <a:gd name="connsiteY57" fmla="*/ 66777 h 125487"/>
                <a:gd name="connsiteX58" fmla="*/ 4034 w 44817"/>
                <a:gd name="connsiteY58" fmla="*/ 53780 h 125487"/>
                <a:gd name="connsiteX59" fmla="*/ 4034 w 44817"/>
                <a:gd name="connsiteY59" fmla="*/ 43024 h 125487"/>
                <a:gd name="connsiteX60" fmla="*/ 19720 w 44817"/>
                <a:gd name="connsiteY60" fmla="*/ 56021 h 125487"/>
                <a:gd name="connsiteX61" fmla="*/ 8067 w 44817"/>
                <a:gd name="connsiteY61" fmla="*/ 90530 h 125487"/>
                <a:gd name="connsiteX62" fmla="*/ 4034 w 44817"/>
                <a:gd name="connsiteY62" fmla="*/ 82015 h 125487"/>
                <a:gd name="connsiteX63" fmla="*/ 4034 w 44817"/>
                <a:gd name="connsiteY63" fmla="*/ 76189 h 125487"/>
                <a:gd name="connsiteX64" fmla="*/ 19720 w 44817"/>
                <a:gd name="connsiteY64" fmla="*/ 89186 h 125487"/>
                <a:gd name="connsiteX65" fmla="*/ 19720 w 44817"/>
                <a:gd name="connsiteY65" fmla="*/ 99942 h 125487"/>
                <a:gd name="connsiteX66" fmla="*/ 8067 w 44817"/>
                <a:gd name="connsiteY66" fmla="*/ 90530 h 125487"/>
                <a:gd name="connsiteX67" fmla="*/ 35854 w 44817"/>
                <a:gd name="connsiteY67" fmla="*/ 90530 h 125487"/>
                <a:gd name="connsiteX68" fmla="*/ 24201 w 44817"/>
                <a:gd name="connsiteY68" fmla="*/ 100390 h 125487"/>
                <a:gd name="connsiteX69" fmla="*/ 24201 w 44817"/>
                <a:gd name="connsiteY69" fmla="*/ 89634 h 125487"/>
                <a:gd name="connsiteX70" fmla="*/ 39887 w 44817"/>
                <a:gd name="connsiteY70" fmla="*/ 76637 h 125487"/>
                <a:gd name="connsiteX71" fmla="*/ 39887 w 44817"/>
                <a:gd name="connsiteY71" fmla="*/ 82463 h 125487"/>
                <a:gd name="connsiteX72" fmla="*/ 35854 w 44817"/>
                <a:gd name="connsiteY72" fmla="*/ 90530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17" h="125487">
                  <a:moveTo>
                    <a:pt x="42128" y="30027"/>
                  </a:moveTo>
                  <a:cubicBezTo>
                    <a:pt x="40784" y="30027"/>
                    <a:pt x="39887" y="30924"/>
                    <a:pt x="39887" y="32268"/>
                  </a:cubicBezTo>
                  <a:lnTo>
                    <a:pt x="39887" y="37198"/>
                  </a:lnTo>
                  <a:lnTo>
                    <a:pt x="30924" y="44817"/>
                  </a:lnTo>
                  <a:lnTo>
                    <a:pt x="30924" y="35854"/>
                  </a:lnTo>
                  <a:lnTo>
                    <a:pt x="30924" y="2241"/>
                  </a:lnTo>
                  <a:cubicBezTo>
                    <a:pt x="30924" y="896"/>
                    <a:pt x="30027" y="0"/>
                    <a:pt x="28683" y="0"/>
                  </a:cubicBezTo>
                  <a:cubicBezTo>
                    <a:pt x="27339" y="0"/>
                    <a:pt x="26442" y="896"/>
                    <a:pt x="26442" y="2241"/>
                  </a:cubicBezTo>
                  <a:lnTo>
                    <a:pt x="26442" y="30027"/>
                  </a:lnTo>
                  <a:lnTo>
                    <a:pt x="23753" y="27338"/>
                  </a:lnTo>
                  <a:cubicBezTo>
                    <a:pt x="22857" y="26442"/>
                    <a:pt x="21512" y="26442"/>
                    <a:pt x="20616" y="27338"/>
                  </a:cubicBezTo>
                  <a:lnTo>
                    <a:pt x="17927" y="30027"/>
                  </a:lnTo>
                  <a:lnTo>
                    <a:pt x="17927" y="2241"/>
                  </a:lnTo>
                  <a:cubicBezTo>
                    <a:pt x="17927" y="896"/>
                    <a:pt x="17030" y="0"/>
                    <a:pt x="15686" y="0"/>
                  </a:cubicBezTo>
                  <a:cubicBezTo>
                    <a:pt x="14342" y="0"/>
                    <a:pt x="13445" y="896"/>
                    <a:pt x="13445" y="2241"/>
                  </a:cubicBezTo>
                  <a:lnTo>
                    <a:pt x="13445" y="35854"/>
                  </a:lnTo>
                  <a:lnTo>
                    <a:pt x="13445" y="44817"/>
                  </a:lnTo>
                  <a:lnTo>
                    <a:pt x="4482" y="37198"/>
                  </a:lnTo>
                  <a:lnTo>
                    <a:pt x="4482" y="32268"/>
                  </a:lnTo>
                  <a:cubicBezTo>
                    <a:pt x="4482" y="30924"/>
                    <a:pt x="3585" y="30027"/>
                    <a:pt x="2241" y="30027"/>
                  </a:cubicBezTo>
                  <a:cubicBezTo>
                    <a:pt x="896" y="30027"/>
                    <a:pt x="0" y="30924"/>
                    <a:pt x="0" y="32268"/>
                  </a:cubicBezTo>
                  <a:lnTo>
                    <a:pt x="0" y="82015"/>
                  </a:lnTo>
                  <a:cubicBezTo>
                    <a:pt x="0" y="86497"/>
                    <a:pt x="2241" y="90979"/>
                    <a:pt x="5826" y="94116"/>
                  </a:cubicBezTo>
                  <a:lnTo>
                    <a:pt x="20168" y="106216"/>
                  </a:lnTo>
                  <a:lnTo>
                    <a:pt x="20168" y="125040"/>
                  </a:lnTo>
                  <a:cubicBezTo>
                    <a:pt x="20168" y="126384"/>
                    <a:pt x="21064" y="127280"/>
                    <a:pt x="22409" y="127280"/>
                  </a:cubicBezTo>
                  <a:cubicBezTo>
                    <a:pt x="23753" y="127280"/>
                    <a:pt x="24649" y="126384"/>
                    <a:pt x="24649" y="125040"/>
                  </a:cubicBezTo>
                  <a:lnTo>
                    <a:pt x="24649" y="106216"/>
                  </a:lnTo>
                  <a:lnTo>
                    <a:pt x="38991" y="94116"/>
                  </a:lnTo>
                  <a:cubicBezTo>
                    <a:pt x="42576" y="90979"/>
                    <a:pt x="44817" y="86945"/>
                    <a:pt x="44817" y="82015"/>
                  </a:cubicBezTo>
                  <a:lnTo>
                    <a:pt x="44817" y="32268"/>
                  </a:lnTo>
                  <a:cubicBezTo>
                    <a:pt x="44369" y="30924"/>
                    <a:pt x="43473" y="30027"/>
                    <a:pt x="42128" y="30027"/>
                  </a:cubicBezTo>
                  <a:close/>
                  <a:moveTo>
                    <a:pt x="4034" y="59607"/>
                  </a:moveTo>
                  <a:lnTo>
                    <a:pt x="19720" y="72604"/>
                  </a:lnTo>
                  <a:lnTo>
                    <a:pt x="19720" y="83360"/>
                  </a:lnTo>
                  <a:lnTo>
                    <a:pt x="4034" y="70363"/>
                  </a:lnTo>
                  <a:lnTo>
                    <a:pt x="4034" y="59607"/>
                  </a:lnTo>
                  <a:close/>
                  <a:moveTo>
                    <a:pt x="24201" y="72604"/>
                  </a:moveTo>
                  <a:lnTo>
                    <a:pt x="39887" y="59607"/>
                  </a:lnTo>
                  <a:lnTo>
                    <a:pt x="39887" y="70363"/>
                  </a:lnTo>
                  <a:lnTo>
                    <a:pt x="24201" y="83360"/>
                  </a:lnTo>
                  <a:lnTo>
                    <a:pt x="24201" y="72604"/>
                  </a:lnTo>
                  <a:close/>
                  <a:moveTo>
                    <a:pt x="39887" y="53780"/>
                  </a:moveTo>
                  <a:lnTo>
                    <a:pt x="24201" y="66777"/>
                  </a:lnTo>
                  <a:lnTo>
                    <a:pt x="24201" y="56021"/>
                  </a:lnTo>
                  <a:lnTo>
                    <a:pt x="39887" y="43024"/>
                  </a:lnTo>
                  <a:lnTo>
                    <a:pt x="39887" y="53780"/>
                  </a:lnTo>
                  <a:close/>
                  <a:moveTo>
                    <a:pt x="17479" y="47954"/>
                  </a:moveTo>
                  <a:lnTo>
                    <a:pt x="17479" y="36302"/>
                  </a:lnTo>
                  <a:lnTo>
                    <a:pt x="21960" y="31820"/>
                  </a:lnTo>
                  <a:lnTo>
                    <a:pt x="26442" y="36302"/>
                  </a:lnTo>
                  <a:lnTo>
                    <a:pt x="26442" y="47954"/>
                  </a:lnTo>
                  <a:cubicBezTo>
                    <a:pt x="26442" y="47954"/>
                    <a:pt x="26442" y="47954"/>
                    <a:pt x="26442" y="47954"/>
                  </a:cubicBezTo>
                  <a:lnTo>
                    <a:pt x="21960" y="51540"/>
                  </a:lnTo>
                  <a:lnTo>
                    <a:pt x="17479" y="47954"/>
                  </a:lnTo>
                  <a:cubicBezTo>
                    <a:pt x="17479" y="47954"/>
                    <a:pt x="17479" y="47954"/>
                    <a:pt x="17479" y="47954"/>
                  </a:cubicBezTo>
                  <a:close/>
                  <a:moveTo>
                    <a:pt x="19720" y="56021"/>
                  </a:moveTo>
                  <a:lnTo>
                    <a:pt x="19720" y="66777"/>
                  </a:lnTo>
                  <a:lnTo>
                    <a:pt x="4034" y="53780"/>
                  </a:lnTo>
                  <a:lnTo>
                    <a:pt x="4034" y="43024"/>
                  </a:lnTo>
                  <a:lnTo>
                    <a:pt x="19720" y="56021"/>
                  </a:lnTo>
                  <a:close/>
                  <a:moveTo>
                    <a:pt x="8067" y="90530"/>
                  </a:moveTo>
                  <a:cubicBezTo>
                    <a:pt x="5378" y="88290"/>
                    <a:pt x="4034" y="85152"/>
                    <a:pt x="4034" y="82015"/>
                  </a:cubicBezTo>
                  <a:lnTo>
                    <a:pt x="4034" y="76189"/>
                  </a:lnTo>
                  <a:lnTo>
                    <a:pt x="19720" y="89186"/>
                  </a:lnTo>
                  <a:lnTo>
                    <a:pt x="19720" y="99942"/>
                  </a:lnTo>
                  <a:lnTo>
                    <a:pt x="8067" y="90530"/>
                  </a:lnTo>
                  <a:close/>
                  <a:moveTo>
                    <a:pt x="35854" y="90530"/>
                  </a:moveTo>
                  <a:lnTo>
                    <a:pt x="24201" y="100390"/>
                  </a:lnTo>
                  <a:lnTo>
                    <a:pt x="24201" y="89634"/>
                  </a:lnTo>
                  <a:lnTo>
                    <a:pt x="39887" y="76637"/>
                  </a:lnTo>
                  <a:lnTo>
                    <a:pt x="39887" y="82463"/>
                  </a:lnTo>
                  <a:cubicBezTo>
                    <a:pt x="39887" y="85152"/>
                    <a:pt x="38543" y="88290"/>
                    <a:pt x="35854" y="90530"/>
                  </a:cubicBezTo>
                  <a:close/>
                </a:path>
              </a:pathLst>
            </a:custGeom>
            <a:solidFill>
              <a:srgbClr val="231F20"/>
            </a:solidFill>
            <a:ln w="4477" cap="flat">
              <a:noFill/>
              <a:prstDash val="solid"/>
              <a:miter/>
            </a:ln>
          </p:spPr>
          <p:txBody>
            <a:bodyPr rtlCol="0" anchor="ctr"/>
            <a:lstStyle/>
            <a:p>
              <a:endParaRPr lang="en-US"/>
            </a:p>
          </p:txBody>
        </p:sp>
        <p:sp>
          <p:nvSpPr>
            <p:cNvPr id="2969" name="Freeform: Shape 2968">
              <a:extLst>
                <a:ext uri="{FF2B5EF4-FFF2-40B4-BE49-F238E27FC236}">
                  <a16:creationId xmlns:a16="http://schemas.microsoft.com/office/drawing/2014/main" id="{6FAEDEBC-4D69-4EA1-8CEA-34268258D55F}"/>
                </a:ext>
              </a:extLst>
            </p:cNvPr>
            <p:cNvSpPr/>
            <p:nvPr/>
          </p:nvSpPr>
          <p:spPr>
            <a:xfrm>
              <a:off x="10484952" y="2110418"/>
              <a:ext cx="44817" cy="152378"/>
            </a:xfrm>
            <a:custGeom>
              <a:avLst/>
              <a:gdLst>
                <a:gd name="connsiteX0" fmla="*/ 43024 w 44817"/>
                <a:gd name="connsiteY0" fmla="*/ 30476 h 152377"/>
                <a:gd name="connsiteX1" fmla="*/ 40783 w 44817"/>
                <a:gd name="connsiteY1" fmla="*/ 32716 h 152377"/>
                <a:gd name="connsiteX2" fmla="*/ 40783 w 44817"/>
                <a:gd name="connsiteY2" fmla="*/ 38094 h 152377"/>
                <a:gd name="connsiteX3" fmla="*/ 31820 w 44817"/>
                <a:gd name="connsiteY3" fmla="*/ 45713 h 152377"/>
                <a:gd name="connsiteX4" fmla="*/ 31820 w 44817"/>
                <a:gd name="connsiteY4" fmla="*/ 35854 h 152377"/>
                <a:gd name="connsiteX5" fmla="*/ 31820 w 44817"/>
                <a:gd name="connsiteY5" fmla="*/ 2241 h 152377"/>
                <a:gd name="connsiteX6" fmla="*/ 29579 w 44817"/>
                <a:gd name="connsiteY6" fmla="*/ 0 h 152377"/>
                <a:gd name="connsiteX7" fmla="*/ 27338 w 44817"/>
                <a:gd name="connsiteY7" fmla="*/ 2241 h 152377"/>
                <a:gd name="connsiteX8" fmla="*/ 27338 w 44817"/>
                <a:gd name="connsiteY8" fmla="*/ 30476 h 152377"/>
                <a:gd name="connsiteX9" fmla="*/ 24201 w 44817"/>
                <a:gd name="connsiteY9" fmla="*/ 27338 h 152377"/>
                <a:gd name="connsiteX10" fmla="*/ 21064 w 44817"/>
                <a:gd name="connsiteY10" fmla="*/ 27338 h 152377"/>
                <a:gd name="connsiteX11" fmla="*/ 17927 w 44817"/>
                <a:gd name="connsiteY11" fmla="*/ 30476 h 152377"/>
                <a:gd name="connsiteX12" fmla="*/ 17927 w 44817"/>
                <a:gd name="connsiteY12" fmla="*/ 2241 h 152377"/>
                <a:gd name="connsiteX13" fmla="*/ 15686 w 44817"/>
                <a:gd name="connsiteY13" fmla="*/ 0 h 152377"/>
                <a:gd name="connsiteX14" fmla="*/ 13445 w 44817"/>
                <a:gd name="connsiteY14" fmla="*/ 2241 h 152377"/>
                <a:gd name="connsiteX15" fmla="*/ 13445 w 44817"/>
                <a:gd name="connsiteY15" fmla="*/ 35854 h 152377"/>
                <a:gd name="connsiteX16" fmla="*/ 13445 w 44817"/>
                <a:gd name="connsiteY16" fmla="*/ 45265 h 152377"/>
                <a:gd name="connsiteX17" fmla="*/ 4482 w 44817"/>
                <a:gd name="connsiteY17" fmla="*/ 37646 h 152377"/>
                <a:gd name="connsiteX18" fmla="*/ 4482 w 44817"/>
                <a:gd name="connsiteY18" fmla="*/ 32268 h 152377"/>
                <a:gd name="connsiteX19" fmla="*/ 2241 w 44817"/>
                <a:gd name="connsiteY19" fmla="*/ 30027 h 152377"/>
                <a:gd name="connsiteX20" fmla="*/ 0 w 44817"/>
                <a:gd name="connsiteY20" fmla="*/ 32268 h 152377"/>
                <a:gd name="connsiteX21" fmla="*/ 0 w 44817"/>
                <a:gd name="connsiteY21" fmla="*/ 82912 h 152377"/>
                <a:gd name="connsiteX22" fmla="*/ 5826 w 44817"/>
                <a:gd name="connsiteY22" fmla="*/ 95012 h 152377"/>
                <a:gd name="connsiteX23" fmla="*/ 20616 w 44817"/>
                <a:gd name="connsiteY23" fmla="*/ 107113 h 152377"/>
                <a:gd name="connsiteX24" fmla="*/ 20616 w 44817"/>
                <a:gd name="connsiteY24" fmla="*/ 150137 h 152377"/>
                <a:gd name="connsiteX25" fmla="*/ 22857 w 44817"/>
                <a:gd name="connsiteY25" fmla="*/ 152378 h 152377"/>
                <a:gd name="connsiteX26" fmla="*/ 25097 w 44817"/>
                <a:gd name="connsiteY26" fmla="*/ 150137 h 152377"/>
                <a:gd name="connsiteX27" fmla="*/ 25097 w 44817"/>
                <a:gd name="connsiteY27" fmla="*/ 107561 h 152377"/>
                <a:gd name="connsiteX28" fmla="*/ 39887 w 44817"/>
                <a:gd name="connsiteY28" fmla="*/ 95460 h 152377"/>
                <a:gd name="connsiteX29" fmla="*/ 45713 w 44817"/>
                <a:gd name="connsiteY29" fmla="*/ 83360 h 152377"/>
                <a:gd name="connsiteX30" fmla="*/ 45713 w 44817"/>
                <a:gd name="connsiteY30" fmla="*/ 32716 h 152377"/>
                <a:gd name="connsiteX31" fmla="*/ 43024 w 44817"/>
                <a:gd name="connsiteY31" fmla="*/ 30476 h 152377"/>
                <a:gd name="connsiteX32" fmla="*/ 4482 w 44817"/>
                <a:gd name="connsiteY32" fmla="*/ 60503 h 152377"/>
                <a:gd name="connsiteX33" fmla="*/ 20168 w 44817"/>
                <a:gd name="connsiteY33" fmla="*/ 73500 h 152377"/>
                <a:gd name="connsiteX34" fmla="*/ 20168 w 44817"/>
                <a:gd name="connsiteY34" fmla="*/ 84704 h 152377"/>
                <a:gd name="connsiteX35" fmla="*/ 4482 w 44817"/>
                <a:gd name="connsiteY35" fmla="*/ 71707 h 152377"/>
                <a:gd name="connsiteX36" fmla="*/ 4482 w 44817"/>
                <a:gd name="connsiteY36" fmla="*/ 60503 h 152377"/>
                <a:gd name="connsiteX37" fmla="*/ 24649 w 44817"/>
                <a:gd name="connsiteY37" fmla="*/ 73948 h 152377"/>
                <a:gd name="connsiteX38" fmla="*/ 40335 w 44817"/>
                <a:gd name="connsiteY38" fmla="*/ 60951 h 152377"/>
                <a:gd name="connsiteX39" fmla="*/ 40335 w 44817"/>
                <a:gd name="connsiteY39" fmla="*/ 72155 h 152377"/>
                <a:gd name="connsiteX40" fmla="*/ 24649 w 44817"/>
                <a:gd name="connsiteY40" fmla="*/ 85152 h 152377"/>
                <a:gd name="connsiteX41" fmla="*/ 24649 w 44817"/>
                <a:gd name="connsiteY41" fmla="*/ 73948 h 152377"/>
                <a:gd name="connsiteX42" fmla="*/ 40783 w 44817"/>
                <a:gd name="connsiteY42" fmla="*/ 54677 h 152377"/>
                <a:gd name="connsiteX43" fmla="*/ 25097 w 44817"/>
                <a:gd name="connsiteY43" fmla="*/ 67674 h 152377"/>
                <a:gd name="connsiteX44" fmla="*/ 25097 w 44817"/>
                <a:gd name="connsiteY44" fmla="*/ 56469 h 152377"/>
                <a:gd name="connsiteX45" fmla="*/ 40783 w 44817"/>
                <a:gd name="connsiteY45" fmla="*/ 43473 h 152377"/>
                <a:gd name="connsiteX46" fmla="*/ 40783 w 44817"/>
                <a:gd name="connsiteY46" fmla="*/ 54677 h 152377"/>
                <a:gd name="connsiteX47" fmla="*/ 17927 w 44817"/>
                <a:gd name="connsiteY47" fmla="*/ 48851 h 152377"/>
                <a:gd name="connsiteX48" fmla="*/ 17927 w 44817"/>
                <a:gd name="connsiteY48" fmla="*/ 36750 h 152377"/>
                <a:gd name="connsiteX49" fmla="*/ 22409 w 44817"/>
                <a:gd name="connsiteY49" fmla="*/ 32268 h 152377"/>
                <a:gd name="connsiteX50" fmla="*/ 26890 w 44817"/>
                <a:gd name="connsiteY50" fmla="*/ 36750 h 152377"/>
                <a:gd name="connsiteX51" fmla="*/ 26890 w 44817"/>
                <a:gd name="connsiteY51" fmla="*/ 48851 h 152377"/>
                <a:gd name="connsiteX52" fmla="*/ 26890 w 44817"/>
                <a:gd name="connsiteY52" fmla="*/ 48851 h 152377"/>
                <a:gd name="connsiteX53" fmla="*/ 22409 w 44817"/>
                <a:gd name="connsiteY53" fmla="*/ 52436 h 152377"/>
                <a:gd name="connsiteX54" fmla="*/ 17927 w 44817"/>
                <a:gd name="connsiteY54" fmla="*/ 48851 h 152377"/>
                <a:gd name="connsiteX55" fmla="*/ 17927 w 44817"/>
                <a:gd name="connsiteY55" fmla="*/ 48851 h 152377"/>
                <a:gd name="connsiteX56" fmla="*/ 20168 w 44817"/>
                <a:gd name="connsiteY56" fmla="*/ 56918 h 152377"/>
                <a:gd name="connsiteX57" fmla="*/ 20168 w 44817"/>
                <a:gd name="connsiteY57" fmla="*/ 68122 h 152377"/>
                <a:gd name="connsiteX58" fmla="*/ 4482 w 44817"/>
                <a:gd name="connsiteY58" fmla="*/ 55125 h 152377"/>
                <a:gd name="connsiteX59" fmla="*/ 4482 w 44817"/>
                <a:gd name="connsiteY59" fmla="*/ 43921 h 152377"/>
                <a:gd name="connsiteX60" fmla="*/ 20168 w 44817"/>
                <a:gd name="connsiteY60" fmla="*/ 56918 h 152377"/>
                <a:gd name="connsiteX61" fmla="*/ 8515 w 44817"/>
                <a:gd name="connsiteY61" fmla="*/ 91875 h 152377"/>
                <a:gd name="connsiteX62" fmla="*/ 4482 w 44817"/>
                <a:gd name="connsiteY62" fmla="*/ 83360 h 152377"/>
                <a:gd name="connsiteX63" fmla="*/ 4482 w 44817"/>
                <a:gd name="connsiteY63" fmla="*/ 77533 h 152377"/>
                <a:gd name="connsiteX64" fmla="*/ 20168 w 44817"/>
                <a:gd name="connsiteY64" fmla="*/ 90530 h 152377"/>
                <a:gd name="connsiteX65" fmla="*/ 20168 w 44817"/>
                <a:gd name="connsiteY65" fmla="*/ 101735 h 152377"/>
                <a:gd name="connsiteX66" fmla="*/ 8515 w 44817"/>
                <a:gd name="connsiteY66" fmla="*/ 91875 h 152377"/>
                <a:gd name="connsiteX67" fmla="*/ 36302 w 44817"/>
                <a:gd name="connsiteY67" fmla="*/ 91875 h 152377"/>
                <a:gd name="connsiteX68" fmla="*/ 24649 w 44817"/>
                <a:gd name="connsiteY68" fmla="*/ 101735 h 152377"/>
                <a:gd name="connsiteX69" fmla="*/ 24649 w 44817"/>
                <a:gd name="connsiteY69" fmla="*/ 90530 h 152377"/>
                <a:gd name="connsiteX70" fmla="*/ 40335 w 44817"/>
                <a:gd name="connsiteY70" fmla="*/ 77533 h 152377"/>
                <a:gd name="connsiteX71" fmla="*/ 40335 w 44817"/>
                <a:gd name="connsiteY71" fmla="*/ 83360 h 152377"/>
                <a:gd name="connsiteX72" fmla="*/ 36302 w 44817"/>
                <a:gd name="connsiteY72" fmla="*/ 9187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17" h="152377">
                  <a:moveTo>
                    <a:pt x="43024" y="30476"/>
                  </a:moveTo>
                  <a:cubicBezTo>
                    <a:pt x="41680" y="30476"/>
                    <a:pt x="40783" y="31372"/>
                    <a:pt x="40783" y="32716"/>
                  </a:cubicBezTo>
                  <a:lnTo>
                    <a:pt x="40783" y="38094"/>
                  </a:lnTo>
                  <a:lnTo>
                    <a:pt x="31820" y="45713"/>
                  </a:lnTo>
                  <a:lnTo>
                    <a:pt x="31820" y="35854"/>
                  </a:lnTo>
                  <a:lnTo>
                    <a:pt x="31820" y="2241"/>
                  </a:lnTo>
                  <a:cubicBezTo>
                    <a:pt x="31820" y="896"/>
                    <a:pt x="30924" y="0"/>
                    <a:pt x="29579" y="0"/>
                  </a:cubicBezTo>
                  <a:cubicBezTo>
                    <a:pt x="28235" y="0"/>
                    <a:pt x="27338" y="896"/>
                    <a:pt x="27338" y="2241"/>
                  </a:cubicBezTo>
                  <a:lnTo>
                    <a:pt x="27338" y="30476"/>
                  </a:lnTo>
                  <a:lnTo>
                    <a:pt x="24201" y="27338"/>
                  </a:lnTo>
                  <a:cubicBezTo>
                    <a:pt x="23305" y="26442"/>
                    <a:pt x="21960" y="26442"/>
                    <a:pt x="21064" y="27338"/>
                  </a:cubicBezTo>
                  <a:lnTo>
                    <a:pt x="17927" y="30476"/>
                  </a:lnTo>
                  <a:lnTo>
                    <a:pt x="17927" y="2241"/>
                  </a:lnTo>
                  <a:cubicBezTo>
                    <a:pt x="17927" y="896"/>
                    <a:pt x="17030" y="0"/>
                    <a:pt x="15686" y="0"/>
                  </a:cubicBezTo>
                  <a:cubicBezTo>
                    <a:pt x="14342" y="0"/>
                    <a:pt x="13445" y="896"/>
                    <a:pt x="13445" y="2241"/>
                  </a:cubicBezTo>
                  <a:lnTo>
                    <a:pt x="13445" y="35854"/>
                  </a:lnTo>
                  <a:lnTo>
                    <a:pt x="13445" y="45265"/>
                  </a:lnTo>
                  <a:lnTo>
                    <a:pt x="4482" y="37646"/>
                  </a:lnTo>
                  <a:lnTo>
                    <a:pt x="4482" y="32268"/>
                  </a:lnTo>
                  <a:cubicBezTo>
                    <a:pt x="4482" y="30924"/>
                    <a:pt x="3585" y="30027"/>
                    <a:pt x="2241" y="30027"/>
                  </a:cubicBezTo>
                  <a:cubicBezTo>
                    <a:pt x="896" y="30027"/>
                    <a:pt x="0" y="30924"/>
                    <a:pt x="0" y="32268"/>
                  </a:cubicBezTo>
                  <a:lnTo>
                    <a:pt x="0" y="82912"/>
                  </a:lnTo>
                  <a:cubicBezTo>
                    <a:pt x="0" y="87393"/>
                    <a:pt x="2241" y="91875"/>
                    <a:pt x="5826" y="95012"/>
                  </a:cubicBezTo>
                  <a:lnTo>
                    <a:pt x="20616" y="107113"/>
                  </a:lnTo>
                  <a:lnTo>
                    <a:pt x="20616" y="150137"/>
                  </a:lnTo>
                  <a:cubicBezTo>
                    <a:pt x="20616" y="151482"/>
                    <a:pt x="21512" y="152378"/>
                    <a:pt x="22857" y="152378"/>
                  </a:cubicBezTo>
                  <a:cubicBezTo>
                    <a:pt x="24201" y="152378"/>
                    <a:pt x="25097" y="151482"/>
                    <a:pt x="25097" y="150137"/>
                  </a:cubicBezTo>
                  <a:lnTo>
                    <a:pt x="25097" y="107561"/>
                  </a:lnTo>
                  <a:lnTo>
                    <a:pt x="39887" y="95460"/>
                  </a:lnTo>
                  <a:cubicBezTo>
                    <a:pt x="43473" y="92323"/>
                    <a:pt x="45713" y="87841"/>
                    <a:pt x="45713" y="83360"/>
                  </a:cubicBezTo>
                  <a:lnTo>
                    <a:pt x="45713" y="32716"/>
                  </a:lnTo>
                  <a:cubicBezTo>
                    <a:pt x="45265" y="31372"/>
                    <a:pt x="43921" y="30476"/>
                    <a:pt x="43024" y="30476"/>
                  </a:cubicBezTo>
                  <a:close/>
                  <a:moveTo>
                    <a:pt x="4482" y="60503"/>
                  </a:moveTo>
                  <a:lnTo>
                    <a:pt x="20168" y="73500"/>
                  </a:lnTo>
                  <a:lnTo>
                    <a:pt x="20168" y="84704"/>
                  </a:lnTo>
                  <a:lnTo>
                    <a:pt x="4482" y="71707"/>
                  </a:lnTo>
                  <a:lnTo>
                    <a:pt x="4482" y="60503"/>
                  </a:lnTo>
                  <a:close/>
                  <a:moveTo>
                    <a:pt x="24649" y="73948"/>
                  </a:moveTo>
                  <a:lnTo>
                    <a:pt x="40335" y="60951"/>
                  </a:lnTo>
                  <a:lnTo>
                    <a:pt x="40335" y="72155"/>
                  </a:lnTo>
                  <a:lnTo>
                    <a:pt x="24649" y="85152"/>
                  </a:lnTo>
                  <a:lnTo>
                    <a:pt x="24649" y="73948"/>
                  </a:lnTo>
                  <a:close/>
                  <a:moveTo>
                    <a:pt x="40783" y="54677"/>
                  </a:moveTo>
                  <a:lnTo>
                    <a:pt x="25097" y="67674"/>
                  </a:lnTo>
                  <a:lnTo>
                    <a:pt x="25097" y="56469"/>
                  </a:lnTo>
                  <a:lnTo>
                    <a:pt x="40783" y="43473"/>
                  </a:lnTo>
                  <a:lnTo>
                    <a:pt x="40783" y="54677"/>
                  </a:lnTo>
                  <a:close/>
                  <a:moveTo>
                    <a:pt x="17927" y="48851"/>
                  </a:moveTo>
                  <a:lnTo>
                    <a:pt x="17927" y="36750"/>
                  </a:lnTo>
                  <a:lnTo>
                    <a:pt x="22409" y="32268"/>
                  </a:lnTo>
                  <a:lnTo>
                    <a:pt x="26890" y="36750"/>
                  </a:lnTo>
                  <a:lnTo>
                    <a:pt x="26890" y="48851"/>
                  </a:lnTo>
                  <a:cubicBezTo>
                    <a:pt x="26890" y="48851"/>
                    <a:pt x="26890" y="48851"/>
                    <a:pt x="26890" y="48851"/>
                  </a:cubicBezTo>
                  <a:lnTo>
                    <a:pt x="22409" y="52436"/>
                  </a:lnTo>
                  <a:lnTo>
                    <a:pt x="17927" y="48851"/>
                  </a:lnTo>
                  <a:cubicBezTo>
                    <a:pt x="17927" y="48851"/>
                    <a:pt x="17927" y="48851"/>
                    <a:pt x="17927" y="48851"/>
                  </a:cubicBezTo>
                  <a:close/>
                  <a:moveTo>
                    <a:pt x="20168" y="56918"/>
                  </a:moveTo>
                  <a:lnTo>
                    <a:pt x="20168" y="68122"/>
                  </a:lnTo>
                  <a:lnTo>
                    <a:pt x="4482" y="55125"/>
                  </a:lnTo>
                  <a:lnTo>
                    <a:pt x="4482" y="43921"/>
                  </a:lnTo>
                  <a:lnTo>
                    <a:pt x="20168" y="56918"/>
                  </a:lnTo>
                  <a:close/>
                  <a:moveTo>
                    <a:pt x="8515" y="91875"/>
                  </a:moveTo>
                  <a:cubicBezTo>
                    <a:pt x="5826" y="89634"/>
                    <a:pt x="4482" y="86497"/>
                    <a:pt x="4482" y="83360"/>
                  </a:cubicBezTo>
                  <a:lnTo>
                    <a:pt x="4482" y="77533"/>
                  </a:lnTo>
                  <a:lnTo>
                    <a:pt x="20168" y="90530"/>
                  </a:lnTo>
                  <a:lnTo>
                    <a:pt x="20168" y="101735"/>
                  </a:lnTo>
                  <a:lnTo>
                    <a:pt x="8515" y="91875"/>
                  </a:lnTo>
                  <a:close/>
                  <a:moveTo>
                    <a:pt x="36302" y="91875"/>
                  </a:moveTo>
                  <a:lnTo>
                    <a:pt x="24649" y="101735"/>
                  </a:lnTo>
                  <a:lnTo>
                    <a:pt x="24649" y="90530"/>
                  </a:lnTo>
                  <a:lnTo>
                    <a:pt x="40335" y="77533"/>
                  </a:lnTo>
                  <a:lnTo>
                    <a:pt x="40335" y="83360"/>
                  </a:lnTo>
                  <a:cubicBezTo>
                    <a:pt x="40783" y="86497"/>
                    <a:pt x="38991" y="89634"/>
                    <a:pt x="36302" y="91875"/>
                  </a:cubicBezTo>
                  <a:close/>
                </a:path>
              </a:pathLst>
            </a:custGeom>
            <a:solidFill>
              <a:srgbClr val="231F20"/>
            </a:solidFill>
            <a:ln w="4477" cap="flat">
              <a:noFill/>
              <a:prstDash val="solid"/>
              <a:miter/>
            </a:ln>
          </p:spPr>
          <p:txBody>
            <a:bodyPr rtlCol="0" anchor="ctr"/>
            <a:lstStyle/>
            <a:p>
              <a:endParaRPr lang="en-US"/>
            </a:p>
          </p:txBody>
        </p:sp>
      </p:grpSp>
      <p:sp>
        <p:nvSpPr>
          <p:cNvPr id="2521" name="Freeform: Shape 2520">
            <a:extLst>
              <a:ext uri="{FF2B5EF4-FFF2-40B4-BE49-F238E27FC236}">
                <a16:creationId xmlns:a16="http://schemas.microsoft.com/office/drawing/2014/main" id="{AD77D735-7770-4542-B443-0F3D4FEED83A}"/>
              </a:ext>
              <a:ext uri="{C183D7F6-B498-43B3-948B-1728B52AA6E4}">
                <adec:decorative xmlns:adec="http://schemas.microsoft.com/office/drawing/2017/decorative" val="1"/>
              </a:ext>
            </a:extLst>
          </p:cNvPr>
          <p:cNvSpPr>
            <a:spLocks noChangeAspect="1"/>
          </p:cNvSpPr>
          <p:nvPr/>
        </p:nvSpPr>
        <p:spPr>
          <a:xfrm>
            <a:off x="8800698" y="4166109"/>
            <a:ext cx="125488" cy="152378"/>
          </a:xfrm>
          <a:custGeom>
            <a:avLst/>
            <a:gdLst>
              <a:gd name="connsiteX0" fmla="*/ 125488 w 125487"/>
              <a:gd name="connsiteY0" fmla="*/ 62744 h 152377"/>
              <a:gd name="connsiteX1" fmla="*/ 62744 w 125487"/>
              <a:gd name="connsiteY1" fmla="*/ 0 h 152377"/>
              <a:gd name="connsiteX2" fmla="*/ 0 w 125487"/>
              <a:gd name="connsiteY2" fmla="*/ 62744 h 152377"/>
              <a:gd name="connsiteX3" fmla="*/ 60503 w 125487"/>
              <a:gd name="connsiteY3" fmla="*/ 125488 h 152377"/>
              <a:gd name="connsiteX4" fmla="*/ 60503 w 125487"/>
              <a:gd name="connsiteY4" fmla="*/ 150137 h 152377"/>
              <a:gd name="connsiteX5" fmla="*/ 62744 w 125487"/>
              <a:gd name="connsiteY5" fmla="*/ 152378 h 152377"/>
              <a:gd name="connsiteX6" fmla="*/ 64985 w 125487"/>
              <a:gd name="connsiteY6" fmla="*/ 150137 h 152377"/>
              <a:gd name="connsiteX7" fmla="*/ 64985 w 125487"/>
              <a:gd name="connsiteY7" fmla="*/ 125488 h 152377"/>
              <a:gd name="connsiteX8" fmla="*/ 125488 w 125487"/>
              <a:gd name="connsiteY8" fmla="*/ 62744 h 152377"/>
              <a:gd name="connsiteX9" fmla="*/ 64985 w 125487"/>
              <a:gd name="connsiteY9" fmla="*/ 121006 h 152377"/>
              <a:gd name="connsiteX10" fmla="*/ 64985 w 125487"/>
              <a:gd name="connsiteY10" fmla="*/ 76637 h 152377"/>
              <a:gd name="connsiteX11" fmla="*/ 86049 w 125487"/>
              <a:gd name="connsiteY11" fmla="*/ 55573 h 152377"/>
              <a:gd name="connsiteX12" fmla="*/ 86049 w 125487"/>
              <a:gd name="connsiteY12" fmla="*/ 52436 h 152377"/>
              <a:gd name="connsiteX13" fmla="*/ 82911 w 125487"/>
              <a:gd name="connsiteY13" fmla="*/ 52436 h 152377"/>
              <a:gd name="connsiteX14" fmla="*/ 64985 w 125487"/>
              <a:gd name="connsiteY14" fmla="*/ 70363 h 152377"/>
              <a:gd name="connsiteX15" fmla="*/ 64985 w 125487"/>
              <a:gd name="connsiteY15" fmla="*/ 32268 h 152377"/>
              <a:gd name="connsiteX16" fmla="*/ 62744 w 125487"/>
              <a:gd name="connsiteY16" fmla="*/ 30027 h 152377"/>
              <a:gd name="connsiteX17" fmla="*/ 60503 w 125487"/>
              <a:gd name="connsiteY17" fmla="*/ 32268 h 152377"/>
              <a:gd name="connsiteX18" fmla="*/ 60503 w 125487"/>
              <a:gd name="connsiteY18" fmla="*/ 95460 h 152377"/>
              <a:gd name="connsiteX19" fmla="*/ 33165 w 125487"/>
              <a:gd name="connsiteY19" fmla="*/ 68122 h 152377"/>
              <a:gd name="connsiteX20" fmla="*/ 30027 w 125487"/>
              <a:gd name="connsiteY20" fmla="*/ 68122 h 152377"/>
              <a:gd name="connsiteX21" fmla="*/ 30027 w 125487"/>
              <a:gd name="connsiteY21" fmla="*/ 71259 h 152377"/>
              <a:gd name="connsiteX22" fmla="*/ 60503 w 125487"/>
              <a:gd name="connsiteY22" fmla="*/ 101735 h 152377"/>
              <a:gd name="connsiteX23" fmla="*/ 60503 w 125487"/>
              <a:gd name="connsiteY23" fmla="*/ 121454 h 152377"/>
              <a:gd name="connsiteX24" fmla="*/ 4482 w 125487"/>
              <a:gd name="connsiteY24" fmla="*/ 63192 h 152377"/>
              <a:gd name="connsiteX25" fmla="*/ 62744 w 125487"/>
              <a:gd name="connsiteY25" fmla="*/ 4930 h 152377"/>
              <a:gd name="connsiteX26" fmla="*/ 121006 w 125487"/>
              <a:gd name="connsiteY26" fmla="*/ 63192 h 152377"/>
              <a:gd name="connsiteX27" fmla="*/ 64985 w 125487"/>
              <a:gd name="connsiteY27" fmla="*/ 12100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487" h="152377">
                <a:moveTo>
                  <a:pt x="125488" y="62744"/>
                </a:moveTo>
                <a:cubicBezTo>
                  <a:pt x="125488" y="28235"/>
                  <a:pt x="97253" y="0"/>
                  <a:pt x="62744" y="0"/>
                </a:cubicBezTo>
                <a:cubicBezTo>
                  <a:pt x="28235" y="0"/>
                  <a:pt x="0" y="28235"/>
                  <a:pt x="0" y="62744"/>
                </a:cubicBezTo>
                <a:cubicBezTo>
                  <a:pt x="0" y="96805"/>
                  <a:pt x="26890" y="124143"/>
                  <a:pt x="60503" y="125488"/>
                </a:cubicBezTo>
                <a:lnTo>
                  <a:pt x="60503" y="150137"/>
                </a:lnTo>
                <a:cubicBezTo>
                  <a:pt x="60503" y="151482"/>
                  <a:pt x="61399" y="152378"/>
                  <a:pt x="62744" y="152378"/>
                </a:cubicBezTo>
                <a:cubicBezTo>
                  <a:pt x="64088" y="152378"/>
                  <a:pt x="64985" y="151482"/>
                  <a:pt x="64985" y="150137"/>
                </a:cubicBezTo>
                <a:lnTo>
                  <a:pt x="64985" y="125488"/>
                </a:lnTo>
                <a:cubicBezTo>
                  <a:pt x="98597" y="124143"/>
                  <a:pt x="125488" y="96805"/>
                  <a:pt x="125488" y="62744"/>
                </a:cubicBezTo>
                <a:close/>
                <a:moveTo>
                  <a:pt x="64985" y="121006"/>
                </a:moveTo>
                <a:lnTo>
                  <a:pt x="64985" y="76637"/>
                </a:lnTo>
                <a:lnTo>
                  <a:pt x="86049" y="55573"/>
                </a:lnTo>
                <a:cubicBezTo>
                  <a:pt x="86945" y="54677"/>
                  <a:pt x="86945" y="53332"/>
                  <a:pt x="86049" y="52436"/>
                </a:cubicBezTo>
                <a:cubicBezTo>
                  <a:pt x="85152" y="51540"/>
                  <a:pt x="83808" y="51540"/>
                  <a:pt x="82911" y="52436"/>
                </a:cubicBezTo>
                <a:lnTo>
                  <a:pt x="64985" y="70363"/>
                </a:lnTo>
                <a:lnTo>
                  <a:pt x="64985" y="32268"/>
                </a:lnTo>
                <a:cubicBezTo>
                  <a:pt x="64985" y="30924"/>
                  <a:pt x="64088" y="30027"/>
                  <a:pt x="62744" y="30027"/>
                </a:cubicBezTo>
                <a:cubicBezTo>
                  <a:pt x="61399" y="30027"/>
                  <a:pt x="60503" y="30924"/>
                  <a:pt x="60503" y="32268"/>
                </a:cubicBezTo>
                <a:lnTo>
                  <a:pt x="60503" y="95460"/>
                </a:lnTo>
                <a:lnTo>
                  <a:pt x="33165" y="68122"/>
                </a:lnTo>
                <a:cubicBezTo>
                  <a:pt x="32268" y="67226"/>
                  <a:pt x="30924" y="67226"/>
                  <a:pt x="30027" y="68122"/>
                </a:cubicBezTo>
                <a:cubicBezTo>
                  <a:pt x="29131" y="69018"/>
                  <a:pt x="29131" y="70363"/>
                  <a:pt x="30027" y="71259"/>
                </a:cubicBezTo>
                <a:lnTo>
                  <a:pt x="60503" y="101735"/>
                </a:lnTo>
                <a:lnTo>
                  <a:pt x="60503" y="121454"/>
                </a:lnTo>
                <a:cubicBezTo>
                  <a:pt x="29579" y="120110"/>
                  <a:pt x="4482" y="94564"/>
                  <a:pt x="4482" y="63192"/>
                </a:cubicBezTo>
                <a:cubicBezTo>
                  <a:pt x="4482" y="30924"/>
                  <a:pt x="30476" y="4930"/>
                  <a:pt x="62744" y="4930"/>
                </a:cubicBezTo>
                <a:cubicBezTo>
                  <a:pt x="95012" y="4930"/>
                  <a:pt x="121006" y="30924"/>
                  <a:pt x="121006" y="63192"/>
                </a:cubicBezTo>
                <a:cubicBezTo>
                  <a:pt x="121006" y="94116"/>
                  <a:pt x="95909" y="119662"/>
                  <a:pt x="64985" y="121006"/>
                </a:cubicBezTo>
                <a:close/>
              </a:path>
            </a:pathLst>
          </a:custGeom>
          <a:solidFill>
            <a:srgbClr val="231F20"/>
          </a:solidFill>
          <a:ln w="4477" cap="flat">
            <a:noFill/>
            <a:prstDash val="solid"/>
            <a:miter/>
          </a:ln>
        </p:spPr>
        <p:txBody>
          <a:bodyPr rtlCol="0" anchor="ctr"/>
          <a:lstStyle/>
          <a:p>
            <a:endParaRPr lang="en-US"/>
          </a:p>
        </p:txBody>
      </p:sp>
      <p:sp>
        <p:nvSpPr>
          <p:cNvPr id="2522" name="Freeform: Shape 2521">
            <a:extLst>
              <a:ext uri="{FF2B5EF4-FFF2-40B4-BE49-F238E27FC236}">
                <a16:creationId xmlns:a16="http://schemas.microsoft.com/office/drawing/2014/main" id="{1962AAFF-8B0A-47EB-B1EB-56FC5587B52D}"/>
              </a:ext>
              <a:ext uri="{C183D7F6-B498-43B3-948B-1728B52AA6E4}">
                <adec:decorative xmlns:adec="http://schemas.microsoft.com/office/drawing/2017/decorative" val="1"/>
              </a:ext>
            </a:extLst>
          </p:cNvPr>
          <p:cNvSpPr>
            <a:spLocks noChangeAspect="1"/>
          </p:cNvSpPr>
          <p:nvPr/>
        </p:nvSpPr>
        <p:spPr>
          <a:xfrm>
            <a:off x="9329987" y="4173280"/>
            <a:ext cx="134451" cy="138933"/>
          </a:xfrm>
          <a:custGeom>
            <a:avLst/>
            <a:gdLst>
              <a:gd name="connsiteX0" fmla="*/ 104424 w 134451"/>
              <a:gd name="connsiteY0" fmla="*/ 39887 h 138932"/>
              <a:gd name="connsiteX1" fmla="*/ 104424 w 134451"/>
              <a:gd name="connsiteY1" fmla="*/ 36302 h 138932"/>
              <a:gd name="connsiteX2" fmla="*/ 68122 w 134451"/>
              <a:gd name="connsiteY2" fmla="*/ 0 h 138932"/>
              <a:gd name="connsiteX3" fmla="*/ 31820 w 134451"/>
              <a:gd name="connsiteY3" fmla="*/ 36302 h 138932"/>
              <a:gd name="connsiteX4" fmla="*/ 31820 w 134451"/>
              <a:gd name="connsiteY4" fmla="*/ 39887 h 138932"/>
              <a:gd name="connsiteX5" fmla="*/ 0 w 134451"/>
              <a:gd name="connsiteY5" fmla="*/ 75741 h 138932"/>
              <a:gd name="connsiteX6" fmla="*/ 36302 w 134451"/>
              <a:gd name="connsiteY6" fmla="*/ 112043 h 138932"/>
              <a:gd name="connsiteX7" fmla="*/ 65433 w 134451"/>
              <a:gd name="connsiteY7" fmla="*/ 112043 h 138932"/>
              <a:gd name="connsiteX8" fmla="*/ 65433 w 134451"/>
              <a:gd name="connsiteY8" fmla="*/ 136692 h 138932"/>
              <a:gd name="connsiteX9" fmla="*/ 67674 w 134451"/>
              <a:gd name="connsiteY9" fmla="*/ 138933 h 138932"/>
              <a:gd name="connsiteX10" fmla="*/ 69915 w 134451"/>
              <a:gd name="connsiteY10" fmla="*/ 136692 h 138932"/>
              <a:gd name="connsiteX11" fmla="*/ 69915 w 134451"/>
              <a:gd name="connsiteY11" fmla="*/ 112043 h 138932"/>
              <a:gd name="connsiteX12" fmla="*/ 99046 w 134451"/>
              <a:gd name="connsiteY12" fmla="*/ 112043 h 138932"/>
              <a:gd name="connsiteX13" fmla="*/ 135347 w 134451"/>
              <a:gd name="connsiteY13" fmla="*/ 75741 h 138932"/>
              <a:gd name="connsiteX14" fmla="*/ 104424 w 134451"/>
              <a:gd name="connsiteY14" fmla="*/ 39887 h 138932"/>
              <a:gd name="connsiteX15" fmla="*/ 99494 w 134451"/>
              <a:gd name="connsiteY15" fmla="*/ 107113 h 138932"/>
              <a:gd name="connsiteX16" fmla="*/ 70363 w 134451"/>
              <a:gd name="connsiteY16" fmla="*/ 107113 h 138932"/>
              <a:gd name="connsiteX17" fmla="*/ 70363 w 134451"/>
              <a:gd name="connsiteY17" fmla="*/ 77085 h 138932"/>
              <a:gd name="connsiteX18" fmla="*/ 89634 w 134451"/>
              <a:gd name="connsiteY18" fmla="*/ 57814 h 138932"/>
              <a:gd name="connsiteX19" fmla="*/ 89634 w 134451"/>
              <a:gd name="connsiteY19" fmla="*/ 54677 h 138932"/>
              <a:gd name="connsiteX20" fmla="*/ 86497 w 134451"/>
              <a:gd name="connsiteY20" fmla="*/ 54677 h 138932"/>
              <a:gd name="connsiteX21" fmla="*/ 70363 w 134451"/>
              <a:gd name="connsiteY21" fmla="*/ 70811 h 138932"/>
              <a:gd name="connsiteX22" fmla="*/ 70363 w 134451"/>
              <a:gd name="connsiteY22" fmla="*/ 36302 h 138932"/>
              <a:gd name="connsiteX23" fmla="*/ 68122 w 134451"/>
              <a:gd name="connsiteY23" fmla="*/ 34061 h 138932"/>
              <a:gd name="connsiteX24" fmla="*/ 65881 w 134451"/>
              <a:gd name="connsiteY24" fmla="*/ 36302 h 138932"/>
              <a:gd name="connsiteX25" fmla="*/ 65881 w 134451"/>
              <a:gd name="connsiteY25" fmla="*/ 93668 h 138932"/>
              <a:gd name="connsiteX26" fmla="*/ 41232 w 134451"/>
              <a:gd name="connsiteY26" fmla="*/ 69018 h 138932"/>
              <a:gd name="connsiteX27" fmla="*/ 38094 w 134451"/>
              <a:gd name="connsiteY27" fmla="*/ 69018 h 138932"/>
              <a:gd name="connsiteX28" fmla="*/ 38094 w 134451"/>
              <a:gd name="connsiteY28" fmla="*/ 72155 h 138932"/>
              <a:gd name="connsiteX29" fmla="*/ 65881 w 134451"/>
              <a:gd name="connsiteY29" fmla="*/ 99942 h 138932"/>
              <a:gd name="connsiteX30" fmla="*/ 65881 w 134451"/>
              <a:gd name="connsiteY30" fmla="*/ 107113 h 138932"/>
              <a:gd name="connsiteX31" fmla="*/ 36750 w 134451"/>
              <a:gd name="connsiteY31" fmla="*/ 107113 h 138932"/>
              <a:gd name="connsiteX32" fmla="*/ 4930 w 134451"/>
              <a:gd name="connsiteY32" fmla="*/ 75293 h 138932"/>
              <a:gd name="connsiteX33" fmla="*/ 34957 w 134451"/>
              <a:gd name="connsiteY33" fmla="*/ 43921 h 138932"/>
              <a:gd name="connsiteX34" fmla="*/ 36750 w 134451"/>
              <a:gd name="connsiteY34" fmla="*/ 43024 h 138932"/>
              <a:gd name="connsiteX35" fmla="*/ 37198 w 134451"/>
              <a:gd name="connsiteY35" fmla="*/ 41232 h 138932"/>
              <a:gd name="connsiteX36" fmla="*/ 36750 w 134451"/>
              <a:gd name="connsiteY36" fmla="*/ 35854 h 138932"/>
              <a:gd name="connsiteX37" fmla="*/ 68570 w 134451"/>
              <a:gd name="connsiteY37" fmla="*/ 4034 h 138932"/>
              <a:gd name="connsiteX38" fmla="*/ 100390 w 134451"/>
              <a:gd name="connsiteY38" fmla="*/ 35854 h 138932"/>
              <a:gd name="connsiteX39" fmla="*/ 99942 w 134451"/>
              <a:gd name="connsiteY39" fmla="*/ 41232 h 138932"/>
              <a:gd name="connsiteX40" fmla="*/ 100390 w 134451"/>
              <a:gd name="connsiteY40" fmla="*/ 43024 h 138932"/>
              <a:gd name="connsiteX41" fmla="*/ 102183 w 134451"/>
              <a:gd name="connsiteY41" fmla="*/ 43921 h 138932"/>
              <a:gd name="connsiteX42" fmla="*/ 132210 w 134451"/>
              <a:gd name="connsiteY42" fmla="*/ 75293 h 138932"/>
              <a:gd name="connsiteX43" fmla="*/ 99494 w 134451"/>
              <a:gd name="connsiteY43" fmla="*/ 107113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4451" h="138932">
                <a:moveTo>
                  <a:pt x="104424" y="39887"/>
                </a:moveTo>
                <a:cubicBezTo>
                  <a:pt x="104424" y="38543"/>
                  <a:pt x="104424" y="37198"/>
                  <a:pt x="104424" y="36302"/>
                </a:cubicBezTo>
                <a:cubicBezTo>
                  <a:pt x="104424" y="16582"/>
                  <a:pt x="87842" y="0"/>
                  <a:pt x="68122" y="0"/>
                </a:cubicBezTo>
                <a:cubicBezTo>
                  <a:pt x="48403" y="0"/>
                  <a:pt x="31820" y="16134"/>
                  <a:pt x="31820" y="36302"/>
                </a:cubicBezTo>
                <a:cubicBezTo>
                  <a:pt x="31820" y="37646"/>
                  <a:pt x="31820" y="38991"/>
                  <a:pt x="31820" y="39887"/>
                </a:cubicBezTo>
                <a:cubicBezTo>
                  <a:pt x="13893" y="42128"/>
                  <a:pt x="0" y="57366"/>
                  <a:pt x="0" y="75741"/>
                </a:cubicBezTo>
                <a:cubicBezTo>
                  <a:pt x="0" y="95460"/>
                  <a:pt x="16582" y="112043"/>
                  <a:pt x="36302" y="112043"/>
                </a:cubicBezTo>
                <a:lnTo>
                  <a:pt x="65433" y="112043"/>
                </a:lnTo>
                <a:lnTo>
                  <a:pt x="65433" y="136692"/>
                </a:lnTo>
                <a:cubicBezTo>
                  <a:pt x="65433" y="138036"/>
                  <a:pt x="66329" y="138933"/>
                  <a:pt x="67674" y="138933"/>
                </a:cubicBezTo>
                <a:cubicBezTo>
                  <a:pt x="69018" y="138933"/>
                  <a:pt x="69915" y="138036"/>
                  <a:pt x="69915" y="136692"/>
                </a:cubicBezTo>
                <a:lnTo>
                  <a:pt x="69915" y="112043"/>
                </a:lnTo>
                <a:lnTo>
                  <a:pt x="99046" y="112043"/>
                </a:lnTo>
                <a:cubicBezTo>
                  <a:pt x="119213" y="112043"/>
                  <a:pt x="135347" y="95908"/>
                  <a:pt x="135347" y="75741"/>
                </a:cubicBezTo>
                <a:cubicBezTo>
                  <a:pt x="136244" y="57366"/>
                  <a:pt x="122351" y="42128"/>
                  <a:pt x="104424" y="39887"/>
                </a:cubicBezTo>
                <a:close/>
                <a:moveTo>
                  <a:pt x="99494" y="107113"/>
                </a:moveTo>
                <a:lnTo>
                  <a:pt x="70363" y="107113"/>
                </a:lnTo>
                <a:lnTo>
                  <a:pt x="70363" y="77085"/>
                </a:lnTo>
                <a:lnTo>
                  <a:pt x="89634" y="57814"/>
                </a:lnTo>
                <a:cubicBezTo>
                  <a:pt x="90530" y="56918"/>
                  <a:pt x="90530" y="55573"/>
                  <a:pt x="89634" y="54677"/>
                </a:cubicBezTo>
                <a:cubicBezTo>
                  <a:pt x="88738" y="53780"/>
                  <a:pt x="87393" y="53780"/>
                  <a:pt x="86497" y="54677"/>
                </a:cubicBezTo>
                <a:lnTo>
                  <a:pt x="70363" y="70811"/>
                </a:lnTo>
                <a:lnTo>
                  <a:pt x="70363" y="36302"/>
                </a:lnTo>
                <a:cubicBezTo>
                  <a:pt x="70363" y="34957"/>
                  <a:pt x="69466" y="34061"/>
                  <a:pt x="68122" y="34061"/>
                </a:cubicBezTo>
                <a:cubicBezTo>
                  <a:pt x="66777" y="34061"/>
                  <a:pt x="65881" y="34957"/>
                  <a:pt x="65881" y="36302"/>
                </a:cubicBezTo>
                <a:lnTo>
                  <a:pt x="65881" y="93668"/>
                </a:lnTo>
                <a:lnTo>
                  <a:pt x="41232" y="69018"/>
                </a:lnTo>
                <a:cubicBezTo>
                  <a:pt x="40335" y="68122"/>
                  <a:pt x="38991" y="68122"/>
                  <a:pt x="38094" y="69018"/>
                </a:cubicBezTo>
                <a:cubicBezTo>
                  <a:pt x="37198" y="69915"/>
                  <a:pt x="37198" y="71259"/>
                  <a:pt x="38094" y="72155"/>
                </a:cubicBezTo>
                <a:lnTo>
                  <a:pt x="65881" y="99942"/>
                </a:lnTo>
                <a:lnTo>
                  <a:pt x="65881" y="107113"/>
                </a:lnTo>
                <a:lnTo>
                  <a:pt x="36750" y="107113"/>
                </a:lnTo>
                <a:cubicBezTo>
                  <a:pt x="19272" y="107113"/>
                  <a:pt x="4930" y="92771"/>
                  <a:pt x="4930" y="75293"/>
                </a:cubicBezTo>
                <a:cubicBezTo>
                  <a:pt x="4930" y="58710"/>
                  <a:pt x="17927" y="44817"/>
                  <a:pt x="34957" y="43921"/>
                </a:cubicBezTo>
                <a:cubicBezTo>
                  <a:pt x="35406" y="43921"/>
                  <a:pt x="36302" y="43473"/>
                  <a:pt x="36750" y="43024"/>
                </a:cubicBezTo>
                <a:cubicBezTo>
                  <a:pt x="37198" y="42576"/>
                  <a:pt x="37198" y="41680"/>
                  <a:pt x="37198" y="41232"/>
                </a:cubicBezTo>
                <a:cubicBezTo>
                  <a:pt x="36750" y="39439"/>
                  <a:pt x="36750" y="37646"/>
                  <a:pt x="36750" y="35854"/>
                </a:cubicBezTo>
                <a:cubicBezTo>
                  <a:pt x="36750" y="18375"/>
                  <a:pt x="51092" y="4034"/>
                  <a:pt x="68570" y="4034"/>
                </a:cubicBezTo>
                <a:cubicBezTo>
                  <a:pt x="86049" y="4034"/>
                  <a:pt x="100390" y="18375"/>
                  <a:pt x="100390" y="35854"/>
                </a:cubicBezTo>
                <a:cubicBezTo>
                  <a:pt x="100390" y="37646"/>
                  <a:pt x="100390" y="39439"/>
                  <a:pt x="99942" y="41232"/>
                </a:cubicBezTo>
                <a:cubicBezTo>
                  <a:pt x="99942" y="41680"/>
                  <a:pt x="99942" y="42576"/>
                  <a:pt x="100390" y="43024"/>
                </a:cubicBezTo>
                <a:cubicBezTo>
                  <a:pt x="100838" y="43473"/>
                  <a:pt x="101287" y="43921"/>
                  <a:pt x="102183" y="43921"/>
                </a:cubicBezTo>
                <a:cubicBezTo>
                  <a:pt x="118765" y="44817"/>
                  <a:pt x="132210" y="58710"/>
                  <a:pt x="132210" y="75293"/>
                </a:cubicBezTo>
                <a:cubicBezTo>
                  <a:pt x="131762" y="93219"/>
                  <a:pt x="117421" y="107113"/>
                  <a:pt x="99494" y="107113"/>
                </a:cubicBezTo>
                <a:close/>
              </a:path>
            </a:pathLst>
          </a:custGeom>
          <a:solidFill>
            <a:srgbClr val="231F20"/>
          </a:solidFill>
          <a:ln w="4477" cap="flat">
            <a:noFill/>
            <a:prstDash val="solid"/>
            <a:miter/>
          </a:ln>
        </p:spPr>
        <p:txBody>
          <a:bodyPr rtlCol="0" anchor="ctr"/>
          <a:lstStyle/>
          <a:p>
            <a:endParaRPr lang="en-US"/>
          </a:p>
        </p:txBody>
      </p:sp>
      <p:sp>
        <p:nvSpPr>
          <p:cNvPr id="2523" name="Freeform: Shape 2522">
            <a:extLst>
              <a:ext uri="{FF2B5EF4-FFF2-40B4-BE49-F238E27FC236}">
                <a16:creationId xmlns:a16="http://schemas.microsoft.com/office/drawing/2014/main" id="{61AED331-EF4C-4775-8EDD-ACFBBEF68B8A}"/>
              </a:ext>
              <a:ext uri="{C183D7F6-B498-43B3-948B-1728B52AA6E4}">
                <adec:decorative xmlns:adec="http://schemas.microsoft.com/office/drawing/2017/decorative" val="1"/>
              </a:ext>
            </a:extLst>
          </p:cNvPr>
          <p:cNvSpPr>
            <a:spLocks noChangeAspect="1"/>
          </p:cNvSpPr>
          <p:nvPr/>
        </p:nvSpPr>
        <p:spPr>
          <a:xfrm>
            <a:off x="9080171" y="4165661"/>
            <a:ext cx="98597" cy="152378"/>
          </a:xfrm>
          <a:custGeom>
            <a:avLst/>
            <a:gdLst>
              <a:gd name="connsiteX0" fmla="*/ 98335 w 98597"/>
              <a:gd name="connsiteY0" fmla="*/ 123247 h 152377"/>
              <a:gd name="connsiteX1" fmla="*/ 51277 w 98597"/>
              <a:gd name="connsiteY1" fmla="*/ 1344 h 152377"/>
              <a:gd name="connsiteX2" fmla="*/ 47244 w 98597"/>
              <a:gd name="connsiteY2" fmla="*/ 1344 h 152377"/>
              <a:gd name="connsiteX3" fmla="*/ 186 w 98597"/>
              <a:gd name="connsiteY3" fmla="*/ 123247 h 152377"/>
              <a:gd name="connsiteX4" fmla="*/ 634 w 98597"/>
              <a:gd name="connsiteY4" fmla="*/ 125488 h 152377"/>
              <a:gd name="connsiteX5" fmla="*/ 2427 w 98597"/>
              <a:gd name="connsiteY5" fmla="*/ 126384 h 152377"/>
              <a:gd name="connsiteX6" fmla="*/ 47244 w 98597"/>
              <a:gd name="connsiteY6" fmla="*/ 126384 h 152377"/>
              <a:gd name="connsiteX7" fmla="*/ 47244 w 98597"/>
              <a:gd name="connsiteY7" fmla="*/ 151033 h 152377"/>
              <a:gd name="connsiteX8" fmla="*/ 49484 w 98597"/>
              <a:gd name="connsiteY8" fmla="*/ 153274 h 152377"/>
              <a:gd name="connsiteX9" fmla="*/ 51725 w 98597"/>
              <a:gd name="connsiteY9" fmla="*/ 151033 h 152377"/>
              <a:gd name="connsiteX10" fmla="*/ 51725 w 98597"/>
              <a:gd name="connsiteY10" fmla="*/ 126384 h 152377"/>
              <a:gd name="connsiteX11" fmla="*/ 96542 w 98597"/>
              <a:gd name="connsiteY11" fmla="*/ 126384 h 152377"/>
              <a:gd name="connsiteX12" fmla="*/ 98335 w 98597"/>
              <a:gd name="connsiteY12" fmla="*/ 125488 h 152377"/>
              <a:gd name="connsiteX13" fmla="*/ 98335 w 98597"/>
              <a:gd name="connsiteY13" fmla="*/ 123247 h 152377"/>
              <a:gd name="connsiteX14" fmla="*/ 49484 w 98597"/>
              <a:gd name="connsiteY14" fmla="*/ 121902 h 152377"/>
              <a:gd name="connsiteX15" fmla="*/ 49484 w 98597"/>
              <a:gd name="connsiteY15" fmla="*/ 121902 h 152377"/>
              <a:gd name="connsiteX16" fmla="*/ 49484 w 98597"/>
              <a:gd name="connsiteY16" fmla="*/ 121902 h 152377"/>
              <a:gd name="connsiteX17" fmla="*/ 5564 w 98597"/>
              <a:gd name="connsiteY17" fmla="*/ 121902 h 152377"/>
              <a:gd name="connsiteX18" fmla="*/ 49484 w 98597"/>
              <a:gd name="connsiteY18" fmla="*/ 8515 h 152377"/>
              <a:gd name="connsiteX19" fmla="*/ 93405 w 98597"/>
              <a:gd name="connsiteY19" fmla="*/ 121902 h 152377"/>
              <a:gd name="connsiteX20" fmla="*/ 49484 w 98597"/>
              <a:gd name="connsiteY20" fmla="*/ 12190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597" h="152377">
                <a:moveTo>
                  <a:pt x="98335" y="123247"/>
                </a:moveTo>
                <a:lnTo>
                  <a:pt x="51277" y="1344"/>
                </a:lnTo>
                <a:cubicBezTo>
                  <a:pt x="50829" y="-448"/>
                  <a:pt x="47692" y="-448"/>
                  <a:pt x="47244" y="1344"/>
                </a:cubicBezTo>
                <a:lnTo>
                  <a:pt x="186" y="123247"/>
                </a:lnTo>
                <a:cubicBezTo>
                  <a:pt x="-263" y="124143"/>
                  <a:pt x="186" y="124591"/>
                  <a:pt x="634" y="125488"/>
                </a:cubicBezTo>
                <a:cubicBezTo>
                  <a:pt x="1082" y="126384"/>
                  <a:pt x="1530" y="126384"/>
                  <a:pt x="2427" y="126384"/>
                </a:cubicBezTo>
                <a:lnTo>
                  <a:pt x="47244" y="126384"/>
                </a:lnTo>
                <a:lnTo>
                  <a:pt x="47244" y="151033"/>
                </a:lnTo>
                <a:cubicBezTo>
                  <a:pt x="47244" y="152378"/>
                  <a:pt x="48140" y="153274"/>
                  <a:pt x="49484" y="153274"/>
                </a:cubicBezTo>
                <a:cubicBezTo>
                  <a:pt x="50829" y="153274"/>
                  <a:pt x="51725" y="152378"/>
                  <a:pt x="51725" y="151033"/>
                </a:cubicBezTo>
                <a:lnTo>
                  <a:pt x="51725" y="126384"/>
                </a:lnTo>
                <a:lnTo>
                  <a:pt x="96542" y="126384"/>
                </a:lnTo>
                <a:cubicBezTo>
                  <a:pt x="97438" y="126384"/>
                  <a:pt x="97887" y="125936"/>
                  <a:pt x="98335" y="125488"/>
                </a:cubicBezTo>
                <a:cubicBezTo>
                  <a:pt x="98783" y="125039"/>
                  <a:pt x="98783" y="124143"/>
                  <a:pt x="98335" y="123247"/>
                </a:cubicBezTo>
                <a:close/>
                <a:moveTo>
                  <a:pt x="49484" y="121902"/>
                </a:moveTo>
                <a:cubicBezTo>
                  <a:pt x="49484" y="121902"/>
                  <a:pt x="49484" y="121902"/>
                  <a:pt x="49484" y="121902"/>
                </a:cubicBezTo>
                <a:cubicBezTo>
                  <a:pt x="49036" y="121902"/>
                  <a:pt x="49036" y="121902"/>
                  <a:pt x="49484" y="121902"/>
                </a:cubicBezTo>
                <a:lnTo>
                  <a:pt x="5564" y="121902"/>
                </a:lnTo>
                <a:lnTo>
                  <a:pt x="49484" y="8515"/>
                </a:lnTo>
                <a:lnTo>
                  <a:pt x="93405" y="121902"/>
                </a:lnTo>
                <a:lnTo>
                  <a:pt x="49484" y="121902"/>
                </a:lnTo>
                <a:close/>
              </a:path>
            </a:pathLst>
          </a:custGeom>
          <a:solidFill>
            <a:srgbClr val="231F20"/>
          </a:solidFill>
          <a:ln w="4477" cap="flat">
            <a:noFill/>
            <a:prstDash val="solid"/>
            <a:miter/>
          </a:ln>
        </p:spPr>
        <p:txBody>
          <a:bodyPr rtlCol="0" anchor="ctr"/>
          <a:lstStyle/>
          <a:p>
            <a:endParaRPr lang="en-US"/>
          </a:p>
        </p:txBody>
      </p:sp>
      <p:grpSp>
        <p:nvGrpSpPr>
          <p:cNvPr id="2524" name="Group 2523">
            <a:extLst>
              <a:ext uri="{FF2B5EF4-FFF2-40B4-BE49-F238E27FC236}">
                <a16:creationId xmlns:a16="http://schemas.microsoft.com/office/drawing/2014/main" id="{03D2C24A-1AE4-4DD5-A940-6374942EBBB4}"/>
              </a:ext>
              <a:ext uri="{C183D7F6-B498-43B3-948B-1728B52AA6E4}">
                <adec:decorative xmlns:adec="http://schemas.microsoft.com/office/drawing/2017/decorative" val="1"/>
              </a:ext>
            </a:extLst>
          </p:cNvPr>
          <p:cNvGrpSpPr>
            <a:grpSpLocks noChangeAspect="1"/>
          </p:cNvGrpSpPr>
          <p:nvPr/>
        </p:nvGrpSpPr>
        <p:grpSpPr>
          <a:xfrm>
            <a:off x="10902960" y="4170494"/>
            <a:ext cx="125488" cy="134451"/>
            <a:chOff x="10959460" y="2114803"/>
            <a:chExt cx="125488" cy="134451"/>
          </a:xfrm>
        </p:grpSpPr>
        <p:sp>
          <p:nvSpPr>
            <p:cNvPr id="2965" name="Freeform: Shape 2964">
              <a:extLst>
                <a:ext uri="{FF2B5EF4-FFF2-40B4-BE49-F238E27FC236}">
                  <a16:creationId xmlns:a16="http://schemas.microsoft.com/office/drawing/2014/main" id="{3A1E60B0-A4BA-4E21-8513-DB77C48E74D7}"/>
                </a:ext>
              </a:extLst>
            </p:cNvPr>
            <p:cNvSpPr/>
            <p:nvPr/>
          </p:nvSpPr>
          <p:spPr>
            <a:xfrm>
              <a:off x="10993177" y="2148064"/>
              <a:ext cx="44817" cy="44817"/>
            </a:xfrm>
            <a:custGeom>
              <a:avLst/>
              <a:gdLst>
                <a:gd name="connsiteX0" fmla="*/ 43921 w 44817"/>
                <a:gd name="connsiteY0" fmla="*/ 0 h 44817"/>
                <a:gd name="connsiteX1" fmla="*/ 28235 w 44817"/>
                <a:gd name="connsiteY1" fmla="*/ 0 h 44817"/>
                <a:gd name="connsiteX2" fmla="*/ 17927 w 44817"/>
                <a:gd name="connsiteY2" fmla="*/ 0 h 44817"/>
                <a:gd name="connsiteX3" fmla="*/ 2241 w 44817"/>
                <a:gd name="connsiteY3" fmla="*/ 0 h 44817"/>
                <a:gd name="connsiteX4" fmla="*/ 0 w 44817"/>
                <a:gd name="connsiteY4" fmla="*/ 2241 h 44817"/>
                <a:gd name="connsiteX5" fmla="*/ 0 w 44817"/>
                <a:gd name="connsiteY5" fmla="*/ 44369 h 44817"/>
                <a:gd name="connsiteX6" fmla="*/ 2241 w 44817"/>
                <a:gd name="connsiteY6" fmla="*/ 46610 h 44817"/>
                <a:gd name="connsiteX7" fmla="*/ 44369 w 44817"/>
                <a:gd name="connsiteY7" fmla="*/ 46610 h 44817"/>
                <a:gd name="connsiteX8" fmla="*/ 46610 w 44817"/>
                <a:gd name="connsiteY8" fmla="*/ 44369 h 44817"/>
                <a:gd name="connsiteX9" fmla="*/ 46610 w 44817"/>
                <a:gd name="connsiteY9" fmla="*/ 2241 h 44817"/>
                <a:gd name="connsiteX10" fmla="*/ 43921 w 44817"/>
                <a:gd name="connsiteY10" fmla="*/ 0 h 44817"/>
                <a:gd name="connsiteX11" fmla="*/ 25994 w 44817"/>
                <a:gd name="connsiteY11" fmla="*/ 4482 h 44817"/>
                <a:gd name="connsiteX12" fmla="*/ 25994 w 44817"/>
                <a:gd name="connsiteY12" fmla="*/ 10308 h 44817"/>
                <a:gd name="connsiteX13" fmla="*/ 20168 w 44817"/>
                <a:gd name="connsiteY13" fmla="*/ 10308 h 44817"/>
                <a:gd name="connsiteX14" fmla="*/ 20168 w 44817"/>
                <a:gd name="connsiteY14" fmla="*/ 4482 h 44817"/>
                <a:gd name="connsiteX15" fmla="*/ 25994 w 44817"/>
                <a:gd name="connsiteY15" fmla="*/ 4482 h 44817"/>
                <a:gd name="connsiteX16" fmla="*/ 4034 w 44817"/>
                <a:gd name="connsiteY16" fmla="*/ 41680 h 44817"/>
                <a:gd name="connsiteX17" fmla="*/ 4034 w 44817"/>
                <a:gd name="connsiteY17" fmla="*/ 4034 h 44817"/>
                <a:gd name="connsiteX18" fmla="*/ 15238 w 44817"/>
                <a:gd name="connsiteY18" fmla="*/ 4034 h 44817"/>
                <a:gd name="connsiteX19" fmla="*/ 15238 w 44817"/>
                <a:gd name="connsiteY19" fmla="*/ 12101 h 44817"/>
                <a:gd name="connsiteX20" fmla="*/ 17479 w 44817"/>
                <a:gd name="connsiteY20" fmla="*/ 14342 h 44817"/>
                <a:gd name="connsiteX21" fmla="*/ 27787 w 44817"/>
                <a:gd name="connsiteY21" fmla="*/ 14342 h 44817"/>
                <a:gd name="connsiteX22" fmla="*/ 30027 w 44817"/>
                <a:gd name="connsiteY22" fmla="*/ 12101 h 44817"/>
                <a:gd name="connsiteX23" fmla="*/ 30027 w 44817"/>
                <a:gd name="connsiteY23" fmla="*/ 4034 h 44817"/>
                <a:gd name="connsiteX24" fmla="*/ 41232 w 44817"/>
                <a:gd name="connsiteY24" fmla="*/ 4034 h 44817"/>
                <a:gd name="connsiteX25" fmla="*/ 41232 w 44817"/>
                <a:gd name="connsiteY25" fmla="*/ 30924 h 44817"/>
                <a:gd name="connsiteX26" fmla="*/ 31820 w 44817"/>
                <a:gd name="connsiteY26" fmla="*/ 30924 h 44817"/>
                <a:gd name="connsiteX27" fmla="*/ 29579 w 44817"/>
                <a:gd name="connsiteY27" fmla="*/ 33165 h 44817"/>
                <a:gd name="connsiteX28" fmla="*/ 31820 w 44817"/>
                <a:gd name="connsiteY28" fmla="*/ 35405 h 44817"/>
                <a:gd name="connsiteX29" fmla="*/ 41232 w 44817"/>
                <a:gd name="connsiteY29" fmla="*/ 35405 h 44817"/>
                <a:gd name="connsiteX30" fmla="*/ 41232 w 44817"/>
                <a:gd name="connsiteY30" fmla="*/ 41232 h 44817"/>
                <a:gd name="connsiteX31" fmla="*/ 4034 w 44817"/>
                <a:gd name="connsiteY31" fmla="*/ 4123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817" h="44817">
                  <a:moveTo>
                    <a:pt x="43921" y="0"/>
                  </a:moveTo>
                  <a:lnTo>
                    <a:pt x="28235" y="0"/>
                  </a:lnTo>
                  <a:lnTo>
                    <a:pt x="17927" y="0"/>
                  </a:lnTo>
                  <a:lnTo>
                    <a:pt x="2241" y="0"/>
                  </a:lnTo>
                  <a:cubicBezTo>
                    <a:pt x="896" y="0"/>
                    <a:pt x="0" y="896"/>
                    <a:pt x="0" y="2241"/>
                  </a:cubicBezTo>
                  <a:lnTo>
                    <a:pt x="0" y="44369"/>
                  </a:lnTo>
                  <a:cubicBezTo>
                    <a:pt x="0" y="45713"/>
                    <a:pt x="896" y="46610"/>
                    <a:pt x="2241" y="46610"/>
                  </a:cubicBezTo>
                  <a:lnTo>
                    <a:pt x="44369" y="46610"/>
                  </a:lnTo>
                  <a:cubicBezTo>
                    <a:pt x="45713" y="46610"/>
                    <a:pt x="46610" y="45713"/>
                    <a:pt x="46610" y="44369"/>
                  </a:cubicBezTo>
                  <a:lnTo>
                    <a:pt x="46610" y="2241"/>
                  </a:lnTo>
                  <a:cubicBezTo>
                    <a:pt x="46162" y="896"/>
                    <a:pt x="45265" y="0"/>
                    <a:pt x="43921" y="0"/>
                  </a:cubicBezTo>
                  <a:close/>
                  <a:moveTo>
                    <a:pt x="25994" y="4482"/>
                  </a:moveTo>
                  <a:lnTo>
                    <a:pt x="25994" y="10308"/>
                  </a:lnTo>
                  <a:lnTo>
                    <a:pt x="20168" y="10308"/>
                  </a:lnTo>
                  <a:lnTo>
                    <a:pt x="20168" y="4482"/>
                  </a:lnTo>
                  <a:lnTo>
                    <a:pt x="25994" y="4482"/>
                  </a:lnTo>
                  <a:close/>
                  <a:moveTo>
                    <a:pt x="4034" y="41680"/>
                  </a:moveTo>
                  <a:lnTo>
                    <a:pt x="4034" y="4034"/>
                  </a:lnTo>
                  <a:lnTo>
                    <a:pt x="15238" y="4034"/>
                  </a:lnTo>
                  <a:lnTo>
                    <a:pt x="15238" y="12101"/>
                  </a:lnTo>
                  <a:cubicBezTo>
                    <a:pt x="15238" y="13445"/>
                    <a:pt x="16134" y="14342"/>
                    <a:pt x="17479" y="14342"/>
                  </a:cubicBezTo>
                  <a:lnTo>
                    <a:pt x="27787" y="14342"/>
                  </a:lnTo>
                  <a:cubicBezTo>
                    <a:pt x="29131" y="14342"/>
                    <a:pt x="30027" y="13445"/>
                    <a:pt x="30027" y="12101"/>
                  </a:cubicBezTo>
                  <a:lnTo>
                    <a:pt x="30027" y="4034"/>
                  </a:lnTo>
                  <a:lnTo>
                    <a:pt x="41232" y="4034"/>
                  </a:lnTo>
                  <a:lnTo>
                    <a:pt x="41232" y="30924"/>
                  </a:lnTo>
                  <a:lnTo>
                    <a:pt x="31820" y="30924"/>
                  </a:lnTo>
                  <a:cubicBezTo>
                    <a:pt x="30476" y="30924"/>
                    <a:pt x="29579" y="31820"/>
                    <a:pt x="29579" y="33165"/>
                  </a:cubicBezTo>
                  <a:cubicBezTo>
                    <a:pt x="29579" y="34509"/>
                    <a:pt x="30476" y="35405"/>
                    <a:pt x="31820" y="35405"/>
                  </a:cubicBezTo>
                  <a:lnTo>
                    <a:pt x="41232" y="35405"/>
                  </a:lnTo>
                  <a:lnTo>
                    <a:pt x="41232" y="41232"/>
                  </a:lnTo>
                  <a:lnTo>
                    <a:pt x="4034" y="41232"/>
                  </a:lnTo>
                  <a:close/>
                </a:path>
              </a:pathLst>
            </a:custGeom>
            <a:solidFill>
              <a:srgbClr val="231F20"/>
            </a:solidFill>
            <a:ln w="4477" cap="flat">
              <a:noFill/>
              <a:prstDash val="solid"/>
              <a:miter/>
            </a:ln>
          </p:spPr>
          <p:txBody>
            <a:bodyPr rtlCol="0" anchor="ctr"/>
            <a:lstStyle/>
            <a:p>
              <a:endParaRPr lang="en-US"/>
            </a:p>
          </p:txBody>
        </p:sp>
        <p:sp>
          <p:nvSpPr>
            <p:cNvPr id="2966" name="Freeform: Shape 2965">
              <a:extLst>
                <a:ext uri="{FF2B5EF4-FFF2-40B4-BE49-F238E27FC236}">
                  <a16:creationId xmlns:a16="http://schemas.microsoft.com/office/drawing/2014/main" id="{CD87F938-78CE-455F-AF51-47361B47A0FC}"/>
                </a:ext>
              </a:extLst>
            </p:cNvPr>
            <p:cNvSpPr/>
            <p:nvPr/>
          </p:nvSpPr>
          <p:spPr>
            <a:xfrm>
              <a:off x="10959460" y="2114803"/>
              <a:ext cx="125488" cy="134451"/>
            </a:xfrm>
            <a:custGeom>
              <a:avLst/>
              <a:gdLst>
                <a:gd name="connsiteX0" fmla="*/ 125591 w 125487"/>
                <a:gd name="connsiteY0" fmla="*/ 135444 h 134451"/>
                <a:gd name="connsiteX1" fmla="*/ 94668 w 125487"/>
                <a:gd name="connsiteY1" fmla="*/ 96902 h 134451"/>
                <a:gd name="connsiteX2" fmla="*/ 112146 w 125487"/>
                <a:gd name="connsiteY2" fmla="*/ 52533 h 134451"/>
                <a:gd name="connsiteX3" fmla="*/ 52540 w 125487"/>
                <a:gd name="connsiteY3" fmla="*/ 97 h 134451"/>
                <a:gd name="connsiteX4" fmla="*/ 13997 w 125487"/>
                <a:gd name="connsiteY4" fmla="*/ 18920 h 134451"/>
                <a:gd name="connsiteX5" fmla="*/ 104 w 125487"/>
                <a:gd name="connsiteY5" fmla="*/ 59255 h 134451"/>
                <a:gd name="connsiteX6" fmla="*/ 18927 w 125487"/>
                <a:gd name="connsiteY6" fmla="*/ 97798 h 134451"/>
                <a:gd name="connsiteX7" fmla="*/ 56125 w 125487"/>
                <a:gd name="connsiteY7" fmla="*/ 111691 h 134451"/>
                <a:gd name="connsiteX8" fmla="*/ 59711 w 125487"/>
                <a:gd name="connsiteY8" fmla="*/ 111691 h 134451"/>
                <a:gd name="connsiteX9" fmla="*/ 80326 w 125487"/>
                <a:gd name="connsiteY9" fmla="*/ 106313 h 134451"/>
                <a:gd name="connsiteX10" fmla="*/ 91083 w 125487"/>
                <a:gd name="connsiteY10" fmla="*/ 99591 h 134451"/>
                <a:gd name="connsiteX11" fmla="*/ 121558 w 125487"/>
                <a:gd name="connsiteY11" fmla="*/ 137685 h 134451"/>
                <a:gd name="connsiteX12" fmla="*/ 123351 w 125487"/>
                <a:gd name="connsiteY12" fmla="*/ 138581 h 134451"/>
                <a:gd name="connsiteX13" fmla="*/ 124695 w 125487"/>
                <a:gd name="connsiteY13" fmla="*/ 138133 h 134451"/>
                <a:gd name="connsiteX14" fmla="*/ 125591 w 125487"/>
                <a:gd name="connsiteY14" fmla="*/ 135444 h 134451"/>
                <a:gd name="connsiteX15" fmla="*/ 78982 w 125487"/>
                <a:gd name="connsiteY15" fmla="*/ 102728 h 134451"/>
                <a:gd name="connsiteX16" fmla="*/ 59711 w 125487"/>
                <a:gd name="connsiteY16" fmla="*/ 107658 h 134451"/>
                <a:gd name="connsiteX17" fmla="*/ 22512 w 125487"/>
                <a:gd name="connsiteY17" fmla="*/ 94661 h 134451"/>
                <a:gd name="connsiteX18" fmla="*/ 5034 w 125487"/>
                <a:gd name="connsiteY18" fmla="*/ 59255 h 134451"/>
                <a:gd name="connsiteX19" fmla="*/ 18031 w 125487"/>
                <a:gd name="connsiteY19" fmla="*/ 22057 h 134451"/>
                <a:gd name="connsiteX20" fmla="*/ 53436 w 125487"/>
                <a:gd name="connsiteY20" fmla="*/ 4579 h 134451"/>
                <a:gd name="connsiteX21" fmla="*/ 56573 w 125487"/>
                <a:gd name="connsiteY21" fmla="*/ 4579 h 134451"/>
                <a:gd name="connsiteX22" fmla="*/ 90634 w 125487"/>
                <a:gd name="connsiteY22" fmla="*/ 17575 h 134451"/>
                <a:gd name="connsiteX23" fmla="*/ 108113 w 125487"/>
                <a:gd name="connsiteY23" fmla="*/ 52981 h 134451"/>
                <a:gd name="connsiteX24" fmla="*/ 90634 w 125487"/>
                <a:gd name="connsiteY24" fmla="*/ 95109 h 134451"/>
                <a:gd name="connsiteX25" fmla="*/ 90186 w 125487"/>
                <a:gd name="connsiteY25" fmla="*/ 95557 h 134451"/>
                <a:gd name="connsiteX26" fmla="*/ 78982 w 125487"/>
                <a:gd name="connsiteY26" fmla="*/ 102728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5487" h="134451">
                  <a:moveTo>
                    <a:pt x="125591" y="135444"/>
                  </a:moveTo>
                  <a:lnTo>
                    <a:pt x="94668" y="96902"/>
                  </a:lnTo>
                  <a:cubicBezTo>
                    <a:pt x="106769" y="85249"/>
                    <a:pt x="113491" y="69563"/>
                    <a:pt x="112146" y="52533"/>
                  </a:cubicBezTo>
                  <a:cubicBezTo>
                    <a:pt x="110354" y="21609"/>
                    <a:pt x="83464" y="-1696"/>
                    <a:pt x="52540" y="97"/>
                  </a:cubicBezTo>
                  <a:cubicBezTo>
                    <a:pt x="37750" y="993"/>
                    <a:pt x="23857" y="7716"/>
                    <a:pt x="13997" y="18920"/>
                  </a:cubicBezTo>
                  <a:cubicBezTo>
                    <a:pt x="4137" y="30124"/>
                    <a:pt x="-792" y="44466"/>
                    <a:pt x="104" y="59255"/>
                  </a:cubicBezTo>
                  <a:cubicBezTo>
                    <a:pt x="1000" y="74045"/>
                    <a:pt x="7723" y="87938"/>
                    <a:pt x="18927" y="97798"/>
                  </a:cubicBezTo>
                  <a:cubicBezTo>
                    <a:pt x="29235" y="106761"/>
                    <a:pt x="42232" y="111691"/>
                    <a:pt x="56125" y="111691"/>
                  </a:cubicBezTo>
                  <a:cubicBezTo>
                    <a:pt x="57470" y="111691"/>
                    <a:pt x="58366" y="111691"/>
                    <a:pt x="59711" y="111691"/>
                  </a:cubicBezTo>
                  <a:cubicBezTo>
                    <a:pt x="66433" y="111243"/>
                    <a:pt x="73156" y="109450"/>
                    <a:pt x="80326" y="106313"/>
                  </a:cubicBezTo>
                  <a:cubicBezTo>
                    <a:pt x="84360" y="104520"/>
                    <a:pt x="88393" y="101383"/>
                    <a:pt x="91083" y="99591"/>
                  </a:cubicBezTo>
                  <a:lnTo>
                    <a:pt x="121558" y="137685"/>
                  </a:lnTo>
                  <a:cubicBezTo>
                    <a:pt x="122006" y="138133"/>
                    <a:pt x="122454" y="138581"/>
                    <a:pt x="123351" y="138581"/>
                  </a:cubicBezTo>
                  <a:cubicBezTo>
                    <a:pt x="123799" y="138581"/>
                    <a:pt x="124247" y="138581"/>
                    <a:pt x="124695" y="138133"/>
                  </a:cubicBezTo>
                  <a:cubicBezTo>
                    <a:pt x="126040" y="138133"/>
                    <a:pt x="126488" y="136789"/>
                    <a:pt x="125591" y="135444"/>
                  </a:cubicBezTo>
                  <a:close/>
                  <a:moveTo>
                    <a:pt x="78982" y="102728"/>
                  </a:moveTo>
                  <a:cubicBezTo>
                    <a:pt x="72259" y="105865"/>
                    <a:pt x="65985" y="107210"/>
                    <a:pt x="59711" y="107658"/>
                  </a:cubicBezTo>
                  <a:cubicBezTo>
                    <a:pt x="45817" y="108554"/>
                    <a:pt x="32820" y="104072"/>
                    <a:pt x="22512" y="94661"/>
                  </a:cubicBezTo>
                  <a:cubicBezTo>
                    <a:pt x="12204" y="85697"/>
                    <a:pt x="5930" y="73149"/>
                    <a:pt x="5034" y="59255"/>
                  </a:cubicBezTo>
                  <a:cubicBezTo>
                    <a:pt x="4137" y="45362"/>
                    <a:pt x="8619" y="32365"/>
                    <a:pt x="18031" y="22057"/>
                  </a:cubicBezTo>
                  <a:cubicBezTo>
                    <a:pt x="26994" y="11749"/>
                    <a:pt x="39543" y="5475"/>
                    <a:pt x="53436" y="4579"/>
                  </a:cubicBezTo>
                  <a:cubicBezTo>
                    <a:pt x="54333" y="4579"/>
                    <a:pt x="55677" y="4579"/>
                    <a:pt x="56573" y="4579"/>
                  </a:cubicBezTo>
                  <a:cubicBezTo>
                    <a:pt x="69122" y="4579"/>
                    <a:pt x="81223" y="9060"/>
                    <a:pt x="90634" y="17575"/>
                  </a:cubicBezTo>
                  <a:cubicBezTo>
                    <a:pt x="100942" y="26539"/>
                    <a:pt x="107217" y="39088"/>
                    <a:pt x="108113" y="52981"/>
                  </a:cubicBezTo>
                  <a:cubicBezTo>
                    <a:pt x="109009" y="69115"/>
                    <a:pt x="102735" y="84353"/>
                    <a:pt x="90634" y="95109"/>
                  </a:cubicBezTo>
                  <a:cubicBezTo>
                    <a:pt x="90634" y="95109"/>
                    <a:pt x="90186" y="95109"/>
                    <a:pt x="90186" y="95557"/>
                  </a:cubicBezTo>
                  <a:cubicBezTo>
                    <a:pt x="85704" y="99143"/>
                    <a:pt x="82119" y="101383"/>
                    <a:pt x="78982" y="102728"/>
                  </a:cubicBezTo>
                  <a:close/>
                </a:path>
              </a:pathLst>
            </a:custGeom>
            <a:solidFill>
              <a:srgbClr val="231F20"/>
            </a:solidFill>
            <a:ln w="4477" cap="flat">
              <a:noFill/>
              <a:prstDash val="solid"/>
              <a:miter/>
            </a:ln>
          </p:spPr>
          <p:txBody>
            <a:bodyPr rtlCol="0" anchor="ctr"/>
            <a:lstStyle/>
            <a:p>
              <a:endParaRPr lang="en-US"/>
            </a:p>
          </p:txBody>
        </p:sp>
      </p:grpSp>
      <p:sp>
        <p:nvSpPr>
          <p:cNvPr id="2525" name="Freeform: Shape 2524">
            <a:extLst>
              <a:ext uri="{FF2B5EF4-FFF2-40B4-BE49-F238E27FC236}">
                <a16:creationId xmlns:a16="http://schemas.microsoft.com/office/drawing/2014/main" id="{5B2A21B8-1C40-4F7A-A1CB-4CCA146D43B5}"/>
              </a:ext>
              <a:ext uri="{C183D7F6-B498-43B3-948B-1728B52AA6E4}">
                <adec:decorative xmlns:adec="http://schemas.microsoft.com/office/drawing/2017/decorative" val="1"/>
              </a:ext>
            </a:extLst>
          </p:cNvPr>
          <p:cNvSpPr>
            <a:spLocks noChangeAspect="1"/>
          </p:cNvSpPr>
          <p:nvPr/>
        </p:nvSpPr>
        <p:spPr>
          <a:xfrm>
            <a:off x="8273650" y="4166557"/>
            <a:ext cx="152378" cy="152378"/>
          </a:xfrm>
          <a:custGeom>
            <a:avLst/>
            <a:gdLst>
              <a:gd name="connsiteX0" fmla="*/ 76637 w 152377"/>
              <a:gd name="connsiteY0" fmla="*/ 0 h 152377"/>
              <a:gd name="connsiteX1" fmla="*/ 18823 w 152377"/>
              <a:gd name="connsiteY1" fmla="*/ 26890 h 152377"/>
              <a:gd name="connsiteX2" fmla="*/ 18375 w 152377"/>
              <a:gd name="connsiteY2" fmla="*/ 26890 h 152377"/>
              <a:gd name="connsiteX3" fmla="*/ 17927 w 152377"/>
              <a:gd name="connsiteY3" fmla="*/ 27338 h 152377"/>
              <a:gd name="connsiteX4" fmla="*/ 0 w 152377"/>
              <a:gd name="connsiteY4" fmla="*/ 76189 h 152377"/>
              <a:gd name="connsiteX5" fmla="*/ 76189 w 152377"/>
              <a:gd name="connsiteY5" fmla="*/ 152378 h 152377"/>
              <a:gd name="connsiteX6" fmla="*/ 152378 w 152377"/>
              <a:gd name="connsiteY6" fmla="*/ 76189 h 152377"/>
              <a:gd name="connsiteX7" fmla="*/ 76637 w 152377"/>
              <a:gd name="connsiteY7" fmla="*/ 0 h 152377"/>
              <a:gd name="connsiteX8" fmla="*/ 4930 w 152377"/>
              <a:gd name="connsiteY8" fmla="*/ 75741 h 152377"/>
              <a:gd name="connsiteX9" fmla="*/ 20616 w 152377"/>
              <a:gd name="connsiteY9" fmla="*/ 31372 h 152377"/>
              <a:gd name="connsiteX10" fmla="*/ 52436 w 152377"/>
              <a:gd name="connsiteY10" fmla="*/ 63192 h 152377"/>
              <a:gd name="connsiteX11" fmla="*/ 47954 w 152377"/>
              <a:gd name="connsiteY11" fmla="*/ 69018 h 152377"/>
              <a:gd name="connsiteX12" fmla="*/ 44369 w 152377"/>
              <a:gd name="connsiteY12" fmla="*/ 63640 h 152377"/>
              <a:gd name="connsiteX13" fmla="*/ 44369 w 152377"/>
              <a:gd name="connsiteY13" fmla="*/ 59158 h 152377"/>
              <a:gd name="connsiteX14" fmla="*/ 42128 w 152377"/>
              <a:gd name="connsiteY14" fmla="*/ 56918 h 152377"/>
              <a:gd name="connsiteX15" fmla="*/ 39887 w 152377"/>
              <a:gd name="connsiteY15" fmla="*/ 59158 h 152377"/>
              <a:gd name="connsiteX16" fmla="*/ 39887 w 152377"/>
              <a:gd name="connsiteY16" fmla="*/ 63640 h 152377"/>
              <a:gd name="connsiteX17" fmla="*/ 47506 w 152377"/>
              <a:gd name="connsiteY17" fmla="*/ 73500 h 152377"/>
              <a:gd name="connsiteX18" fmla="*/ 47506 w 152377"/>
              <a:gd name="connsiteY18" fmla="*/ 85152 h 152377"/>
              <a:gd name="connsiteX19" fmla="*/ 34061 w 152377"/>
              <a:gd name="connsiteY19" fmla="*/ 85152 h 152377"/>
              <a:gd name="connsiteX20" fmla="*/ 31820 w 152377"/>
              <a:gd name="connsiteY20" fmla="*/ 87393 h 152377"/>
              <a:gd name="connsiteX21" fmla="*/ 34061 w 152377"/>
              <a:gd name="connsiteY21" fmla="*/ 89634 h 152377"/>
              <a:gd name="connsiteX22" fmla="*/ 47506 w 152377"/>
              <a:gd name="connsiteY22" fmla="*/ 89634 h 152377"/>
              <a:gd name="connsiteX23" fmla="*/ 47506 w 152377"/>
              <a:gd name="connsiteY23" fmla="*/ 90979 h 152377"/>
              <a:gd name="connsiteX24" fmla="*/ 48851 w 152377"/>
              <a:gd name="connsiteY24" fmla="*/ 99494 h 152377"/>
              <a:gd name="connsiteX25" fmla="*/ 39887 w 152377"/>
              <a:gd name="connsiteY25" fmla="*/ 109354 h 152377"/>
              <a:gd name="connsiteX26" fmla="*/ 39887 w 152377"/>
              <a:gd name="connsiteY26" fmla="*/ 113835 h 152377"/>
              <a:gd name="connsiteX27" fmla="*/ 42128 w 152377"/>
              <a:gd name="connsiteY27" fmla="*/ 116076 h 152377"/>
              <a:gd name="connsiteX28" fmla="*/ 44369 w 152377"/>
              <a:gd name="connsiteY28" fmla="*/ 113835 h 152377"/>
              <a:gd name="connsiteX29" fmla="*/ 44369 w 152377"/>
              <a:gd name="connsiteY29" fmla="*/ 109354 h 152377"/>
              <a:gd name="connsiteX30" fmla="*/ 49747 w 152377"/>
              <a:gd name="connsiteY30" fmla="*/ 103975 h 152377"/>
              <a:gd name="connsiteX31" fmla="*/ 50643 w 152377"/>
              <a:gd name="connsiteY31" fmla="*/ 103975 h 152377"/>
              <a:gd name="connsiteX32" fmla="*/ 77085 w 152377"/>
              <a:gd name="connsiteY32" fmla="*/ 120558 h 152377"/>
              <a:gd name="connsiteX33" fmla="*/ 99494 w 152377"/>
              <a:gd name="connsiteY33" fmla="*/ 110250 h 152377"/>
              <a:gd name="connsiteX34" fmla="*/ 121454 w 152377"/>
              <a:gd name="connsiteY34" fmla="*/ 132210 h 152377"/>
              <a:gd name="connsiteX35" fmla="*/ 77085 w 152377"/>
              <a:gd name="connsiteY35" fmla="*/ 147896 h 152377"/>
              <a:gd name="connsiteX36" fmla="*/ 4930 w 152377"/>
              <a:gd name="connsiteY36" fmla="*/ 75741 h 152377"/>
              <a:gd name="connsiteX37" fmla="*/ 67226 w 152377"/>
              <a:gd name="connsiteY37" fmla="*/ 60055 h 152377"/>
              <a:gd name="connsiteX38" fmla="*/ 76637 w 152377"/>
              <a:gd name="connsiteY38" fmla="*/ 50643 h 152377"/>
              <a:gd name="connsiteX39" fmla="*/ 86049 w 152377"/>
              <a:gd name="connsiteY39" fmla="*/ 60055 h 152377"/>
              <a:gd name="connsiteX40" fmla="*/ 86049 w 152377"/>
              <a:gd name="connsiteY40" fmla="*/ 61847 h 152377"/>
              <a:gd name="connsiteX41" fmla="*/ 67226 w 152377"/>
              <a:gd name="connsiteY41" fmla="*/ 61847 h 152377"/>
              <a:gd name="connsiteX42" fmla="*/ 67226 w 152377"/>
              <a:gd name="connsiteY42" fmla="*/ 60055 h 152377"/>
              <a:gd name="connsiteX43" fmla="*/ 96357 w 152377"/>
              <a:gd name="connsiteY43" fmla="*/ 66329 h 152377"/>
              <a:gd name="connsiteX44" fmla="*/ 101735 w 152377"/>
              <a:gd name="connsiteY44" fmla="*/ 71707 h 152377"/>
              <a:gd name="connsiteX45" fmla="*/ 101735 w 152377"/>
              <a:gd name="connsiteY45" fmla="*/ 90979 h 152377"/>
              <a:gd name="connsiteX46" fmla="*/ 98597 w 152377"/>
              <a:gd name="connsiteY46" fmla="*/ 103079 h 152377"/>
              <a:gd name="connsiteX47" fmla="*/ 61399 w 152377"/>
              <a:gd name="connsiteY47" fmla="*/ 65881 h 152377"/>
              <a:gd name="connsiteX48" fmla="*/ 96357 w 152377"/>
              <a:gd name="connsiteY48" fmla="*/ 65881 h 152377"/>
              <a:gd name="connsiteX49" fmla="*/ 103976 w 152377"/>
              <a:gd name="connsiteY49" fmla="*/ 104424 h 152377"/>
              <a:gd name="connsiteX50" fmla="*/ 109353 w 152377"/>
              <a:gd name="connsiteY50" fmla="*/ 109802 h 152377"/>
              <a:gd name="connsiteX51" fmla="*/ 109353 w 152377"/>
              <a:gd name="connsiteY51" fmla="*/ 114283 h 152377"/>
              <a:gd name="connsiteX52" fmla="*/ 101735 w 152377"/>
              <a:gd name="connsiteY52" fmla="*/ 106664 h 152377"/>
              <a:gd name="connsiteX53" fmla="*/ 103079 w 152377"/>
              <a:gd name="connsiteY53" fmla="*/ 104424 h 152377"/>
              <a:gd name="connsiteX54" fmla="*/ 103976 w 152377"/>
              <a:gd name="connsiteY54" fmla="*/ 104424 h 152377"/>
              <a:gd name="connsiteX55" fmla="*/ 95908 w 152377"/>
              <a:gd name="connsiteY55" fmla="*/ 107113 h 152377"/>
              <a:gd name="connsiteX56" fmla="*/ 76637 w 152377"/>
              <a:gd name="connsiteY56" fmla="*/ 116076 h 152377"/>
              <a:gd name="connsiteX57" fmla="*/ 51540 w 152377"/>
              <a:gd name="connsiteY57" fmla="*/ 90979 h 152377"/>
              <a:gd name="connsiteX58" fmla="*/ 51540 w 152377"/>
              <a:gd name="connsiteY58" fmla="*/ 71707 h 152377"/>
              <a:gd name="connsiteX59" fmla="*/ 55125 w 152377"/>
              <a:gd name="connsiteY59" fmla="*/ 66329 h 152377"/>
              <a:gd name="connsiteX60" fmla="*/ 95908 w 152377"/>
              <a:gd name="connsiteY60" fmla="*/ 107113 h 152377"/>
              <a:gd name="connsiteX61" fmla="*/ 124591 w 152377"/>
              <a:gd name="connsiteY61" fmla="*/ 129073 h 152377"/>
              <a:gd name="connsiteX62" fmla="*/ 112043 w 152377"/>
              <a:gd name="connsiteY62" fmla="*/ 116524 h 152377"/>
              <a:gd name="connsiteX63" fmla="*/ 114283 w 152377"/>
              <a:gd name="connsiteY63" fmla="*/ 114283 h 152377"/>
              <a:gd name="connsiteX64" fmla="*/ 114283 w 152377"/>
              <a:gd name="connsiteY64" fmla="*/ 109802 h 152377"/>
              <a:gd name="connsiteX65" fmla="*/ 105320 w 152377"/>
              <a:gd name="connsiteY65" fmla="*/ 99942 h 152377"/>
              <a:gd name="connsiteX66" fmla="*/ 106665 w 152377"/>
              <a:gd name="connsiteY66" fmla="*/ 91427 h 152377"/>
              <a:gd name="connsiteX67" fmla="*/ 106665 w 152377"/>
              <a:gd name="connsiteY67" fmla="*/ 90082 h 152377"/>
              <a:gd name="connsiteX68" fmla="*/ 120110 w 152377"/>
              <a:gd name="connsiteY68" fmla="*/ 90082 h 152377"/>
              <a:gd name="connsiteX69" fmla="*/ 122351 w 152377"/>
              <a:gd name="connsiteY69" fmla="*/ 87841 h 152377"/>
              <a:gd name="connsiteX70" fmla="*/ 120110 w 152377"/>
              <a:gd name="connsiteY70" fmla="*/ 85600 h 152377"/>
              <a:gd name="connsiteX71" fmla="*/ 106665 w 152377"/>
              <a:gd name="connsiteY71" fmla="*/ 85600 h 152377"/>
              <a:gd name="connsiteX72" fmla="*/ 106665 w 152377"/>
              <a:gd name="connsiteY72" fmla="*/ 73948 h 152377"/>
              <a:gd name="connsiteX73" fmla="*/ 114283 w 152377"/>
              <a:gd name="connsiteY73" fmla="*/ 64088 h 152377"/>
              <a:gd name="connsiteX74" fmla="*/ 114283 w 152377"/>
              <a:gd name="connsiteY74" fmla="*/ 59607 h 152377"/>
              <a:gd name="connsiteX75" fmla="*/ 112043 w 152377"/>
              <a:gd name="connsiteY75" fmla="*/ 57366 h 152377"/>
              <a:gd name="connsiteX76" fmla="*/ 109802 w 152377"/>
              <a:gd name="connsiteY76" fmla="*/ 59607 h 152377"/>
              <a:gd name="connsiteX77" fmla="*/ 109802 w 152377"/>
              <a:gd name="connsiteY77" fmla="*/ 64088 h 152377"/>
              <a:gd name="connsiteX78" fmla="*/ 106216 w 152377"/>
              <a:gd name="connsiteY78" fmla="*/ 69466 h 152377"/>
              <a:gd name="connsiteX79" fmla="*/ 96805 w 152377"/>
              <a:gd name="connsiteY79" fmla="*/ 61847 h 152377"/>
              <a:gd name="connsiteX80" fmla="*/ 91427 w 152377"/>
              <a:gd name="connsiteY80" fmla="*/ 61847 h 152377"/>
              <a:gd name="connsiteX81" fmla="*/ 91427 w 152377"/>
              <a:gd name="connsiteY81" fmla="*/ 60055 h 152377"/>
              <a:gd name="connsiteX82" fmla="*/ 90979 w 152377"/>
              <a:gd name="connsiteY82" fmla="*/ 56918 h 152377"/>
              <a:gd name="connsiteX83" fmla="*/ 98597 w 152377"/>
              <a:gd name="connsiteY83" fmla="*/ 50195 h 152377"/>
              <a:gd name="connsiteX84" fmla="*/ 99494 w 152377"/>
              <a:gd name="connsiteY84" fmla="*/ 48402 h 152377"/>
              <a:gd name="connsiteX85" fmla="*/ 99494 w 152377"/>
              <a:gd name="connsiteY85" fmla="*/ 32716 h 152377"/>
              <a:gd name="connsiteX86" fmla="*/ 97253 w 152377"/>
              <a:gd name="connsiteY86" fmla="*/ 30476 h 152377"/>
              <a:gd name="connsiteX87" fmla="*/ 95012 w 152377"/>
              <a:gd name="connsiteY87" fmla="*/ 32716 h 152377"/>
              <a:gd name="connsiteX88" fmla="*/ 95012 w 152377"/>
              <a:gd name="connsiteY88" fmla="*/ 47506 h 152377"/>
              <a:gd name="connsiteX89" fmla="*/ 89634 w 152377"/>
              <a:gd name="connsiteY89" fmla="*/ 52436 h 152377"/>
              <a:gd name="connsiteX90" fmla="*/ 77982 w 152377"/>
              <a:gd name="connsiteY90" fmla="*/ 46161 h 152377"/>
              <a:gd name="connsiteX91" fmla="*/ 66329 w 152377"/>
              <a:gd name="connsiteY91" fmla="*/ 52436 h 152377"/>
              <a:gd name="connsiteX92" fmla="*/ 60951 w 152377"/>
              <a:gd name="connsiteY92" fmla="*/ 47506 h 152377"/>
              <a:gd name="connsiteX93" fmla="*/ 60951 w 152377"/>
              <a:gd name="connsiteY93" fmla="*/ 32716 h 152377"/>
              <a:gd name="connsiteX94" fmla="*/ 58710 w 152377"/>
              <a:gd name="connsiteY94" fmla="*/ 30476 h 152377"/>
              <a:gd name="connsiteX95" fmla="*/ 56469 w 152377"/>
              <a:gd name="connsiteY95" fmla="*/ 32716 h 152377"/>
              <a:gd name="connsiteX96" fmla="*/ 56469 w 152377"/>
              <a:gd name="connsiteY96" fmla="*/ 48402 h 152377"/>
              <a:gd name="connsiteX97" fmla="*/ 57366 w 152377"/>
              <a:gd name="connsiteY97" fmla="*/ 50195 h 152377"/>
              <a:gd name="connsiteX98" fmla="*/ 64985 w 152377"/>
              <a:gd name="connsiteY98" fmla="*/ 56918 h 152377"/>
              <a:gd name="connsiteX99" fmla="*/ 64536 w 152377"/>
              <a:gd name="connsiteY99" fmla="*/ 60055 h 152377"/>
              <a:gd name="connsiteX100" fmla="*/ 64536 w 152377"/>
              <a:gd name="connsiteY100" fmla="*/ 61847 h 152377"/>
              <a:gd name="connsiteX101" fmla="*/ 59159 w 152377"/>
              <a:gd name="connsiteY101" fmla="*/ 61847 h 152377"/>
              <a:gd name="connsiteX102" fmla="*/ 59159 w 152377"/>
              <a:gd name="connsiteY102" fmla="*/ 61847 h 152377"/>
              <a:gd name="connsiteX103" fmla="*/ 25546 w 152377"/>
              <a:gd name="connsiteY103" fmla="*/ 28235 h 152377"/>
              <a:gd name="connsiteX104" fmla="*/ 78878 w 152377"/>
              <a:gd name="connsiteY104" fmla="*/ 4482 h 152377"/>
              <a:gd name="connsiteX105" fmla="*/ 150585 w 152377"/>
              <a:gd name="connsiteY105" fmla="*/ 76189 h 152377"/>
              <a:gd name="connsiteX106" fmla="*/ 124591 w 152377"/>
              <a:gd name="connsiteY106" fmla="*/ 12907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52377" h="152377">
                <a:moveTo>
                  <a:pt x="76637" y="0"/>
                </a:moveTo>
                <a:cubicBezTo>
                  <a:pt x="53332" y="0"/>
                  <a:pt x="32717" y="10308"/>
                  <a:pt x="18823" y="26890"/>
                </a:cubicBezTo>
                <a:cubicBezTo>
                  <a:pt x="18823" y="26890"/>
                  <a:pt x="18823" y="26890"/>
                  <a:pt x="18375" y="26890"/>
                </a:cubicBezTo>
                <a:cubicBezTo>
                  <a:pt x="18375" y="26890"/>
                  <a:pt x="18375" y="27338"/>
                  <a:pt x="17927" y="27338"/>
                </a:cubicBezTo>
                <a:cubicBezTo>
                  <a:pt x="6723" y="40783"/>
                  <a:pt x="0" y="57814"/>
                  <a:pt x="0" y="76189"/>
                </a:cubicBezTo>
                <a:cubicBezTo>
                  <a:pt x="0" y="118317"/>
                  <a:pt x="34061" y="152378"/>
                  <a:pt x="76189" y="152378"/>
                </a:cubicBezTo>
                <a:cubicBezTo>
                  <a:pt x="118317" y="152378"/>
                  <a:pt x="152378" y="118317"/>
                  <a:pt x="152378" y="76189"/>
                </a:cubicBezTo>
                <a:cubicBezTo>
                  <a:pt x="152826" y="34061"/>
                  <a:pt x="118765" y="0"/>
                  <a:pt x="76637" y="0"/>
                </a:cubicBezTo>
                <a:close/>
                <a:moveTo>
                  <a:pt x="4930" y="75741"/>
                </a:moveTo>
                <a:cubicBezTo>
                  <a:pt x="4930" y="59158"/>
                  <a:pt x="10756" y="43473"/>
                  <a:pt x="20616" y="31372"/>
                </a:cubicBezTo>
                <a:lnTo>
                  <a:pt x="52436" y="63192"/>
                </a:lnTo>
                <a:cubicBezTo>
                  <a:pt x="50195" y="64536"/>
                  <a:pt x="48402" y="66777"/>
                  <a:pt x="47954" y="69018"/>
                </a:cubicBezTo>
                <a:cubicBezTo>
                  <a:pt x="45713" y="68122"/>
                  <a:pt x="44369" y="66329"/>
                  <a:pt x="44369" y="63640"/>
                </a:cubicBezTo>
                <a:lnTo>
                  <a:pt x="44369" y="59158"/>
                </a:lnTo>
                <a:cubicBezTo>
                  <a:pt x="44369" y="57814"/>
                  <a:pt x="43473" y="56918"/>
                  <a:pt x="42128" y="56918"/>
                </a:cubicBezTo>
                <a:cubicBezTo>
                  <a:pt x="40784" y="56918"/>
                  <a:pt x="39887" y="57814"/>
                  <a:pt x="39887" y="59158"/>
                </a:cubicBezTo>
                <a:lnTo>
                  <a:pt x="39887" y="63640"/>
                </a:lnTo>
                <a:cubicBezTo>
                  <a:pt x="39887" y="68570"/>
                  <a:pt x="43024" y="72155"/>
                  <a:pt x="47506" y="73500"/>
                </a:cubicBezTo>
                <a:lnTo>
                  <a:pt x="47506" y="85152"/>
                </a:lnTo>
                <a:lnTo>
                  <a:pt x="34061" y="85152"/>
                </a:lnTo>
                <a:cubicBezTo>
                  <a:pt x="32717" y="85152"/>
                  <a:pt x="31820" y="86049"/>
                  <a:pt x="31820" y="87393"/>
                </a:cubicBezTo>
                <a:cubicBezTo>
                  <a:pt x="31820" y="88738"/>
                  <a:pt x="32717" y="89634"/>
                  <a:pt x="34061" y="89634"/>
                </a:cubicBezTo>
                <a:lnTo>
                  <a:pt x="47506" y="89634"/>
                </a:lnTo>
                <a:lnTo>
                  <a:pt x="47506" y="90979"/>
                </a:lnTo>
                <a:cubicBezTo>
                  <a:pt x="47506" y="94116"/>
                  <a:pt x="47954" y="96805"/>
                  <a:pt x="48851" y="99494"/>
                </a:cubicBezTo>
                <a:cubicBezTo>
                  <a:pt x="43921" y="99942"/>
                  <a:pt x="39887" y="104424"/>
                  <a:pt x="39887" y="109354"/>
                </a:cubicBezTo>
                <a:lnTo>
                  <a:pt x="39887" y="113835"/>
                </a:lnTo>
                <a:cubicBezTo>
                  <a:pt x="39887" y="115180"/>
                  <a:pt x="40784" y="116076"/>
                  <a:pt x="42128" y="116076"/>
                </a:cubicBezTo>
                <a:cubicBezTo>
                  <a:pt x="43473" y="116076"/>
                  <a:pt x="44369" y="115180"/>
                  <a:pt x="44369" y="113835"/>
                </a:cubicBezTo>
                <a:lnTo>
                  <a:pt x="44369" y="109354"/>
                </a:lnTo>
                <a:cubicBezTo>
                  <a:pt x="44369" y="106216"/>
                  <a:pt x="47058" y="103975"/>
                  <a:pt x="49747" y="103975"/>
                </a:cubicBezTo>
                <a:cubicBezTo>
                  <a:pt x="50195" y="103975"/>
                  <a:pt x="50195" y="103975"/>
                  <a:pt x="50643" y="103975"/>
                </a:cubicBezTo>
                <a:cubicBezTo>
                  <a:pt x="55573" y="113835"/>
                  <a:pt x="65433" y="120558"/>
                  <a:pt x="77085" y="120558"/>
                </a:cubicBezTo>
                <a:cubicBezTo>
                  <a:pt x="86049" y="120558"/>
                  <a:pt x="94116" y="116524"/>
                  <a:pt x="99494" y="110250"/>
                </a:cubicBezTo>
                <a:lnTo>
                  <a:pt x="121454" y="132210"/>
                </a:lnTo>
                <a:cubicBezTo>
                  <a:pt x="109353" y="142070"/>
                  <a:pt x="93668" y="147896"/>
                  <a:pt x="77085" y="147896"/>
                </a:cubicBezTo>
                <a:cubicBezTo>
                  <a:pt x="37198" y="147448"/>
                  <a:pt x="4930" y="115628"/>
                  <a:pt x="4930" y="75741"/>
                </a:cubicBezTo>
                <a:close/>
                <a:moveTo>
                  <a:pt x="67226" y="60055"/>
                </a:moveTo>
                <a:cubicBezTo>
                  <a:pt x="67226" y="54677"/>
                  <a:pt x="71259" y="50643"/>
                  <a:pt x="76637" y="50643"/>
                </a:cubicBezTo>
                <a:cubicBezTo>
                  <a:pt x="82015" y="50643"/>
                  <a:pt x="86049" y="54677"/>
                  <a:pt x="86049" y="60055"/>
                </a:cubicBezTo>
                <a:lnTo>
                  <a:pt x="86049" y="61847"/>
                </a:lnTo>
                <a:lnTo>
                  <a:pt x="67226" y="61847"/>
                </a:lnTo>
                <a:lnTo>
                  <a:pt x="67226" y="60055"/>
                </a:lnTo>
                <a:close/>
                <a:moveTo>
                  <a:pt x="96357" y="66329"/>
                </a:moveTo>
                <a:cubicBezTo>
                  <a:pt x="99494" y="66329"/>
                  <a:pt x="101735" y="69018"/>
                  <a:pt x="101735" y="71707"/>
                </a:cubicBezTo>
                <a:lnTo>
                  <a:pt x="101735" y="90979"/>
                </a:lnTo>
                <a:cubicBezTo>
                  <a:pt x="101735" y="95460"/>
                  <a:pt x="100390" y="99494"/>
                  <a:pt x="98597" y="103079"/>
                </a:cubicBezTo>
                <a:lnTo>
                  <a:pt x="61399" y="65881"/>
                </a:lnTo>
                <a:lnTo>
                  <a:pt x="96357" y="65881"/>
                </a:lnTo>
                <a:close/>
                <a:moveTo>
                  <a:pt x="103976" y="104424"/>
                </a:moveTo>
                <a:cubicBezTo>
                  <a:pt x="107113" y="104424"/>
                  <a:pt x="109353" y="107113"/>
                  <a:pt x="109353" y="109802"/>
                </a:cubicBezTo>
                <a:lnTo>
                  <a:pt x="109353" y="114283"/>
                </a:lnTo>
                <a:lnTo>
                  <a:pt x="101735" y="106664"/>
                </a:lnTo>
                <a:cubicBezTo>
                  <a:pt x="102183" y="105768"/>
                  <a:pt x="102631" y="104872"/>
                  <a:pt x="103079" y="104424"/>
                </a:cubicBezTo>
                <a:cubicBezTo>
                  <a:pt x="103527" y="104424"/>
                  <a:pt x="103527" y="104424"/>
                  <a:pt x="103976" y="104424"/>
                </a:cubicBezTo>
                <a:close/>
                <a:moveTo>
                  <a:pt x="95908" y="107113"/>
                </a:moveTo>
                <a:cubicBezTo>
                  <a:pt x="91427" y="112491"/>
                  <a:pt x="84256" y="116076"/>
                  <a:pt x="76637" y="116076"/>
                </a:cubicBezTo>
                <a:cubicBezTo>
                  <a:pt x="62744" y="116076"/>
                  <a:pt x="51540" y="104872"/>
                  <a:pt x="51540" y="90979"/>
                </a:cubicBezTo>
                <a:lnTo>
                  <a:pt x="51540" y="71707"/>
                </a:lnTo>
                <a:cubicBezTo>
                  <a:pt x="51540" y="69466"/>
                  <a:pt x="53332" y="67226"/>
                  <a:pt x="55125" y="66329"/>
                </a:cubicBezTo>
                <a:lnTo>
                  <a:pt x="95908" y="107113"/>
                </a:lnTo>
                <a:close/>
                <a:moveTo>
                  <a:pt x="124591" y="129073"/>
                </a:moveTo>
                <a:lnTo>
                  <a:pt x="112043" y="116524"/>
                </a:lnTo>
                <a:cubicBezTo>
                  <a:pt x="113387" y="116524"/>
                  <a:pt x="114283" y="115628"/>
                  <a:pt x="114283" y="114283"/>
                </a:cubicBezTo>
                <a:lnTo>
                  <a:pt x="114283" y="109802"/>
                </a:lnTo>
                <a:cubicBezTo>
                  <a:pt x="114283" y="104424"/>
                  <a:pt x="110250" y="100390"/>
                  <a:pt x="105320" y="99942"/>
                </a:cubicBezTo>
                <a:cubicBezTo>
                  <a:pt x="106216" y="97253"/>
                  <a:pt x="106665" y="94116"/>
                  <a:pt x="106665" y="91427"/>
                </a:cubicBezTo>
                <a:lnTo>
                  <a:pt x="106665" y="90082"/>
                </a:lnTo>
                <a:lnTo>
                  <a:pt x="120110" y="90082"/>
                </a:lnTo>
                <a:cubicBezTo>
                  <a:pt x="121454" y="90082"/>
                  <a:pt x="122351" y="89186"/>
                  <a:pt x="122351" y="87841"/>
                </a:cubicBezTo>
                <a:cubicBezTo>
                  <a:pt x="122351" y="86497"/>
                  <a:pt x="121454" y="85600"/>
                  <a:pt x="120110" y="85600"/>
                </a:cubicBezTo>
                <a:lnTo>
                  <a:pt x="106665" y="85600"/>
                </a:lnTo>
                <a:lnTo>
                  <a:pt x="106665" y="73948"/>
                </a:lnTo>
                <a:cubicBezTo>
                  <a:pt x="111146" y="73052"/>
                  <a:pt x="114283" y="69018"/>
                  <a:pt x="114283" y="64088"/>
                </a:cubicBezTo>
                <a:lnTo>
                  <a:pt x="114283" y="59607"/>
                </a:lnTo>
                <a:cubicBezTo>
                  <a:pt x="114283" y="58262"/>
                  <a:pt x="113387" y="57366"/>
                  <a:pt x="112043" y="57366"/>
                </a:cubicBezTo>
                <a:cubicBezTo>
                  <a:pt x="110698" y="57366"/>
                  <a:pt x="109802" y="58262"/>
                  <a:pt x="109802" y="59607"/>
                </a:cubicBezTo>
                <a:lnTo>
                  <a:pt x="109802" y="64088"/>
                </a:lnTo>
                <a:cubicBezTo>
                  <a:pt x="109802" y="66329"/>
                  <a:pt x="108457" y="68570"/>
                  <a:pt x="106216" y="69466"/>
                </a:cubicBezTo>
                <a:cubicBezTo>
                  <a:pt x="104872" y="65433"/>
                  <a:pt x="101286" y="61847"/>
                  <a:pt x="96805" y="61847"/>
                </a:cubicBezTo>
                <a:lnTo>
                  <a:pt x="91427" y="61847"/>
                </a:lnTo>
                <a:lnTo>
                  <a:pt x="91427" y="60055"/>
                </a:lnTo>
                <a:cubicBezTo>
                  <a:pt x="91427" y="59158"/>
                  <a:pt x="91427" y="57814"/>
                  <a:pt x="90979" y="56918"/>
                </a:cubicBezTo>
                <a:lnTo>
                  <a:pt x="98597" y="50195"/>
                </a:lnTo>
                <a:cubicBezTo>
                  <a:pt x="99046" y="49747"/>
                  <a:pt x="99494" y="49299"/>
                  <a:pt x="99494" y="48402"/>
                </a:cubicBezTo>
                <a:lnTo>
                  <a:pt x="99494" y="32716"/>
                </a:lnTo>
                <a:cubicBezTo>
                  <a:pt x="99494" y="31372"/>
                  <a:pt x="98597" y="30476"/>
                  <a:pt x="97253" y="30476"/>
                </a:cubicBezTo>
                <a:cubicBezTo>
                  <a:pt x="95908" y="30476"/>
                  <a:pt x="95012" y="31372"/>
                  <a:pt x="95012" y="32716"/>
                </a:cubicBezTo>
                <a:lnTo>
                  <a:pt x="95012" y="47506"/>
                </a:lnTo>
                <a:lnTo>
                  <a:pt x="89634" y="52436"/>
                </a:lnTo>
                <a:cubicBezTo>
                  <a:pt x="86945" y="48402"/>
                  <a:pt x="82911" y="46161"/>
                  <a:pt x="77982" y="46161"/>
                </a:cubicBezTo>
                <a:cubicBezTo>
                  <a:pt x="73052" y="46161"/>
                  <a:pt x="68570" y="48851"/>
                  <a:pt x="66329" y="52436"/>
                </a:cubicBezTo>
                <a:lnTo>
                  <a:pt x="60951" y="47506"/>
                </a:lnTo>
                <a:lnTo>
                  <a:pt x="60951" y="32716"/>
                </a:lnTo>
                <a:cubicBezTo>
                  <a:pt x="60951" y="31372"/>
                  <a:pt x="60055" y="30476"/>
                  <a:pt x="58710" y="30476"/>
                </a:cubicBezTo>
                <a:cubicBezTo>
                  <a:pt x="57366" y="30476"/>
                  <a:pt x="56469" y="31372"/>
                  <a:pt x="56469" y="32716"/>
                </a:cubicBezTo>
                <a:lnTo>
                  <a:pt x="56469" y="48402"/>
                </a:lnTo>
                <a:cubicBezTo>
                  <a:pt x="56469" y="48851"/>
                  <a:pt x="56918" y="49747"/>
                  <a:pt x="57366" y="50195"/>
                </a:cubicBezTo>
                <a:lnTo>
                  <a:pt x="64985" y="56918"/>
                </a:lnTo>
                <a:cubicBezTo>
                  <a:pt x="64536" y="57814"/>
                  <a:pt x="64536" y="59158"/>
                  <a:pt x="64536" y="60055"/>
                </a:cubicBezTo>
                <a:lnTo>
                  <a:pt x="64536" y="61847"/>
                </a:lnTo>
                <a:lnTo>
                  <a:pt x="59159" y="61847"/>
                </a:lnTo>
                <a:cubicBezTo>
                  <a:pt x="59159" y="61847"/>
                  <a:pt x="59159" y="61847"/>
                  <a:pt x="59159" y="61847"/>
                </a:cubicBezTo>
                <a:lnTo>
                  <a:pt x="25546" y="28235"/>
                </a:lnTo>
                <a:cubicBezTo>
                  <a:pt x="38543" y="13445"/>
                  <a:pt x="57814" y="4482"/>
                  <a:pt x="78878" y="4482"/>
                </a:cubicBezTo>
                <a:cubicBezTo>
                  <a:pt x="118317" y="4482"/>
                  <a:pt x="150585" y="36750"/>
                  <a:pt x="150585" y="76189"/>
                </a:cubicBezTo>
                <a:cubicBezTo>
                  <a:pt x="148344" y="97253"/>
                  <a:pt x="138933" y="116076"/>
                  <a:pt x="124591" y="129073"/>
                </a:cubicBezTo>
                <a:close/>
              </a:path>
            </a:pathLst>
          </a:custGeom>
          <a:solidFill>
            <a:srgbClr val="231F20"/>
          </a:solidFill>
          <a:ln w="4477" cap="flat">
            <a:noFill/>
            <a:prstDash val="solid"/>
            <a:miter/>
          </a:ln>
        </p:spPr>
        <p:txBody>
          <a:bodyPr rtlCol="0" anchor="ctr"/>
          <a:lstStyle/>
          <a:p>
            <a:endParaRPr lang="en-US"/>
          </a:p>
        </p:txBody>
      </p:sp>
      <p:grpSp>
        <p:nvGrpSpPr>
          <p:cNvPr id="2526" name="Group 2525">
            <a:extLst>
              <a:ext uri="{FF2B5EF4-FFF2-40B4-BE49-F238E27FC236}">
                <a16:creationId xmlns:a16="http://schemas.microsoft.com/office/drawing/2014/main" id="{3A12FB11-2264-4D2C-8788-C64DA3D370FB}"/>
              </a:ext>
              <a:ext uri="{C183D7F6-B498-43B3-948B-1728B52AA6E4}">
                <adec:decorative xmlns:adec="http://schemas.microsoft.com/office/drawing/2017/decorative" val="1"/>
              </a:ext>
            </a:extLst>
          </p:cNvPr>
          <p:cNvGrpSpPr>
            <a:grpSpLocks noChangeAspect="1"/>
          </p:cNvGrpSpPr>
          <p:nvPr/>
        </p:nvGrpSpPr>
        <p:grpSpPr>
          <a:xfrm>
            <a:off x="8014159" y="4193447"/>
            <a:ext cx="152378" cy="95909"/>
            <a:chOff x="8070659" y="2137756"/>
            <a:chExt cx="152378" cy="95909"/>
          </a:xfrm>
        </p:grpSpPr>
        <p:sp>
          <p:nvSpPr>
            <p:cNvPr id="2963" name="Freeform: Shape 2962">
              <a:extLst>
                <a:ext uri="{FF2B5EF4-FFF2-40B4-BE49-F238E27FC236}">
                  <a16:creationId xmlns:a16="http://schemas.microsoft.com/office/drawing/2014/main" id="{E201F7F6-F8CA-478D-9D37-0F353E061274}"/>
                </a:ext>
              </a:extLst>
            </p:cNvPr>
            <p:cNvSpPr/>
            <p:nvPr/>
          </p:nvSpPr>
          <p:spPr>
            <a:xfrm>
              <a:off x="8070659" y="2144031"/>
              <a:ext cx="152378" cy="89634"/>
            </a:xfrm>
            <a:custGeom>
              <a:avLst/>
              <a:gdLst>
                <a:gd name="connsiteX0" fmla="*/ 129969 w 152377"/>
                <a:gd name="connsiteY0" fmla="*/ 47058 h 89634"/>
                <a:gd name="connsiteX1" fmla="*/ 108457 w 152377"/>
                <a:gd name="connsiteY1" fmla="*/ 63640 h 89634"/>
                <a:gd name="connsiteX2" fmla="*/ 56469 w 152377"/>
                <a:gd name="connsiteY2" fmla="*/ 55573 h 89634"/>
                <a:gd name="connsiteX3" fmla="*/ 44369 w 152377"/>
                <a:gd name="connsiteY3" fmla="*/ 46162 h 89634"/>
                <a:gd name="connsiteX4" fmla="*/ 25994 w 152377"/>
                <a:gd name="connsiteY4" fmla="*/ 6723 h 89634"/>
                <a:gd name="connsiteX5" fmla="*/ 15238 w 152377"/>
                <a:gd name="connsiteY5" fmla="*/ 0 h 89634"/>
                <a:gd name="connsiteX6" fmla="*/ 2241 w 152377"/>
                <a:gd name="connsiteY6" fmla="*/ 0 h 89634"/>
                <a:gd name="connsiteX7" fmla="*/ 0 w 152377"/>
                <a:gd name="connsiteY7" fmla="*/ 2241 h 89634"/>
                <a:gd name="connsiteX8" fmla="*/ 2241 w 152377"/>
                <a:gd name="connsiteY8" fmla="*/ 4482 h 89634"/>
                <a:gd name="connsiteX9" fmla="*/ 15238 w 152377"/>
                <a:gd name="connsiteY9" fmla="*/ 4482 h 89634"/>
                <a:gd name="connsiteX10" fmla="*/ 21960 w 152377"/>
                <a:gd name="connsiteY10" fmla="*/ 8515 h 89634"/>
                <a:gd name="connsiteX11" fmla="*/ 40335 w 152377"/>
                <a:gd name="connsiteY11" fmla="*/ 47954 h 89634"/>
                <a:gd name="connsiteX12" fmla="*/ 55573 w 152377"/>
                <a:gd name="connsiteY12" fmla="*/ 59607 h 89634"/>
                <a:gd name="connsiteX13" fmla="*/ 60055 w 152377"/>
                <a:gd name="connsiteY13" fmla="*/ 60503 h 89634"/>
                <a:gd name="connsiteX14" fmla="*/ 60055 w 152377"/>
                <a:gd name="connsiteY14" fmla="*/ 82463 h 89634"/>
                <a:gd name="connsiteX15" fmla="*/ 62744 w 152377"/>
                <a:gd name="connsiteY15" fmla="*/ 89186 h 89634"/>
                <a:gd name="connsiteX16" fmla="*/ 69018 w 152377"/>
                <a:gd name="connsiteY16" fmla="*/ 91875 h 89634"/>
                <a:gd name="connsiteX17" fmla="*/ 69018 w 152377"/>
                <a:gd name="connsiteY17" fmla="*/ 91875 h 89634"/>
                <a:gd name="connsiteX18" fmla="*/ 75741 w 152377"/>
                <a:gd name="connsiteY18" fmla="*/ 89634 h 89634"/>
                <a:gd name="connsiteX19" fmla="*/ 97253 w 152377"/>
                <a:gd name="connsiteY19" fmla="*/ 66777 h 89634"/>
                <a:gd name="connsiteX20" fmla="*/ 107561 w 152377"/>
                <a:gd name="connsiteY20" fmla="*/ 68570 h 89634"/>
                <a:gd name="connsiteX21" fmla="*/ 107561 w 152377"/>
                <a:gd name="connsiteY21" fmla="*/ 69915 h 89634"/>
                <a:gd name="connsiteX22" fmla="*/ 129969 w 152377"/>
                <a:gd name="connsiteY22" fmla="*/ 92323 h 89634"/>
                <a:gd name="connsiteX23" fmla="*/ 152378 w 152377"/>
                <a:gd name="connsiteY23" fmla="*/ 69915 h 89634"/>
                <a:gd name="connsiteX24" fmla="*/ 129969 w 152377"/>
                <a:gd name="connsiteY24" fmla="*/ 47058 h 89634"/>
                <a:gd name="connsiteX25" fmla="*/ 72604 w 152377"/>
                <a:gd name="connsiteY25" fmla="*/ 86497 h 89634"/>
                <a:gd name="connsiteX26" fmla="*/ 69018 w 152377"/>
                <a:gd name="connsiteY26" fmla="*/ 87393 h 89634"/>
                <a:gd name="connsiteX27" fmla="*/ 65433 w 152377"/>
                <a:gd name="connsiteY27" fmla="*/ 86049 h 89634"/>
                <a:gd name="connsiteX28" fmla="*/ 64088 w 152377"/>
                <a:gd name="connsiteY28" fmla="*/ 82912 h 89634"/>
                <a:gd name="connsiteX29" fmla="*/ 64088 w 152377"/>
                <a:gd name="connsiteY29" fmla="*/ 61399 h 89634"/>
                <a:gd name="connsiteX30" fmla="*/ 91875 w 152377"/>
                <a:gd name="connsiteY30" fmla="*/ 65881 h 89634"/>
                <a:gd name="connsiteX31" fmla="*/ 72604 w 152377"/>
                <a:gd name="connsiteY31" fmla="*/ 86497 h 89634"/>
                <a:gd name="connsiteX32" fmla="*/ 129969 w 152377"/>
                <a:gd name="connsiteY32" fmla="*/ 87393 h 89634"/>
                <a:gd name="connsiteX33" fmla="*/ 112043 w 152377"/>
                <a:gd name="connsiteY33" fmla="*/ 69466 h 89634"/>
                <a:gd name="connsiteX34" fmla="*/ 112043 w 152377"/>
                <a:gd name="connsiteY34" fmla="*/ 69018 h 89634"/>
                <a:gd name="connsiteX35" fmla="*/ 129521 w 152377"/>
                <a:gd name="connsiteY35" fmla="*/ 71707 h 89634"/>
                <a:gd name="connsiteX36" fmla="*/ 129969 w 152377"/>
                <a:gd name="connsiteY36" fmla="*/ 71707 h 89634"/>
                <a:gd name="connsiteX37" fmla="*/ 132210 w 152377"/>
                <a:gd name="connsiteY37" fmla="*/ 69915 h 89634"/>
                <a:gd name="connsiteX38" fmla="*/ 130418 w 152377"/>
                <a:gd name="connsiteY38" fmla="*/ 67226 h 89634"/>
                <a:gd name="connsiteX39" fmla="*/ 112939 w 152377"/>
                <a:gd name="connsiteY39" fmla="*/ 64536 h 89634"/>
                <a:gd name="connsiteX40" fmla="*/ 129969 w 152377"/>
                <a:gd name="connsiteY40" fmla="*/ 51540 h 89634"/>
                <a:gd name="connsiteX41" fmla="*/ 147896 w 152377"/>
                <a:gd name="connsiteY41" fmla="*/ 69466 h 89634"/>
                <a:gd name="connsiteX42" fmla="*/ 129969 w 152377"/>
                <a:gd name="connsiteY42" fmla="*/ 87393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377" h="89634">
                  <a:moveTo>
                    <a:pt x="129969" y="47058"/>
                  </a:moveTo>
                  <a:cubicBezTo>
                    <a:pt x="119661" y="47058"/>
                    <a:pt x="110698" y="54229"/>
                    <a:pt x="108457" y="63640"/>
                  </a:cubicBezTo>
                  <a:lnTo>
                    <a:pt x="56469" y="55573"/>
                  </a:lnTo>
                  <a:cubicBezTo>
                    <a:pt x="51091" y="54677"/>
                    <a:pt x="46610" y="51091"/>
                    <a:pt x="44369" y="46162"/>
                  </a:cubicBezTo>
                  <a:lnTo>
                    <a:pt x="25994" y="6723"/>
                  </a:lnTo>
                  <a:cubicBezTo>
                    <a:pt x="24201" y="2689"/>
                    <a:pt x="19719" y="0"/>
                    <a:pt x="15238" y="0"/>
                  </a:cubicBezTo>
                  <a:lnTo>
                    <a:pt x="2241" y="0"/>
                  </a:lnTo>
                  <a:cubicBezTo>
                    <a:pt x="896" y="0"/>
                    <a:pt x="0" y="896"/>
                    <a:pt x="0" y="2241"/>
                  </a:cubicBezTo>
                  <a:cubicBezTo>
                    <a:pt x="0" y="3585"/>
                    <a:pt x="896" y="4482"/>
                    <a:pt x="2241" y="4482"/>
                  </a:cubicBezTo>
                  <a:lnTo>
                    <a:pt x="15238" y="4482"/>
                  </a:lnTo>
                  <a:cubicBezTo>
                    <a:pt x="17927" y="4482"/>
                    <a:pt x="20616" y="6274"/>
                    <a:pt x="21960" y="8515"/>
                  </a:cubicBezTo>
                  <a:lnTo>
                    <a:pt x="40335" y="47954"/>
                  </a:lnTo>
                  <a:cubicBezTo>
                    <a:pt x="43024" y="54229"/>
                    <a:pt x="48851" y="58710"/>
                    <a:pt x="55573" y="59607"/>
                  </a:cubicBezTo>
                  <a:lnTo>
                    <a:pt x="60055" y="60503"/>
                  </a:lnTo>
                  <a:lnTo>
                    <a:pt x="60055" y="82463"/>
                  </a:lnTo>
                  <a:cubicBezTo>
                    <a:pt x="60055" y="84704"/>
                    <a:pt x="60951" y="87393"/>
                    <a:pt x="62744" y="89186"/>
                  </a:cubicBezTo>
                  <a:cubicBezTo>
                    <a:pt x="64536" y="90979"/>
                    <a:pt x="66777" y="91875"/>
                    <a:pt x="69018" y="91875"/>
                  </a:cubicBezTo>
                  <a:cubicBezTo>
                    <a:pt x="69018" y="91875"/>
                    <a:pt x="69018" y="91875"/>
                    <a:pt x="69018" y="91875"/>
                  </a:cubicBezTo>
                  <a:cubicBezTo>
                    <a:pt x="71259" y="91875"/>
                    <a:pt x="73500" y="91427"/>
                    <a:pt x="75741" y="89634"/>
                  </a:cubicBezTo>
                  <a:lnTo>
                    <a:pt x="97253" y="66777"/>
                  </a:lnTo>
                  <a:lnTo>
                    <a:pt x="107561" y="68570"/>
                  </a:lnTo>
                  <a:cubicBezTo>
                    <a:pt x="107561" y="69018"/>
                    <a:pt x="107561" y="69466"/>
                    <a:pt x="107561" y="69915"/>
                  </a:cubicBezTo>
                  <a:cubicBezTo>
                    <a:pt x="107561" y="82463"/>
                    <a:pt x="117421" y="92323"/>
                    <a:pt x="129969" y="92323"/>
                  </a:cubicBezTo>
                  <a:cubicBezTo>
                    <a:pt x="142518" y="92323"/>
                    <a:pt x="152378" y="82463"/>
                    <a:pt x="152378" y="69915"/>
                  </a:cubicBezTo>
                  <a:cubicBezTo>
                    <a:pt x="152378" y="57366"/>
                    <a:pt x="142518" y="47058"/>
                    <a:pt x="129969" y="47058"/>
                  </a:cubicBezTo>
                  <a:close/>
                  <a:moveTo>
                    <a:pt x="72604" y="86497"/>
                  </a:moveTo>
                  <a:cubicBezTo>
                    <a:pt x="71707" y="87393"/>
                    <a:pt x="71259" y="87393"/>
                    <a:pt x="69018" y="87393"/>
                  </a:cubicBezTo>
                  <a:cubicBezTo>
                    <a:pt x="67674" y="87393"/>
                    <a:pt x="66329" y="86945"/>
                    <a:pt x="65433" y="86049"/>
                  </a:cubicBezTo>
                  <a:cubicBezTo>
                    <a:pt x="64536" y="85152"/>
                    <a:pt x="64088" y="83808"/>
                    <a:pt x="64088" y="82912"/>
                  </a:cubicBezTo>
                  <a:lnTo>
                    <a:pt x="64088" y="61399"/>
                  </a:lnTo>
                  <a:lnTo>
                    <a:pt x="91875" y="65881"/>
                  </a:lnTo>
                  <a:lnTo>
                    <a:pt x="72604" y="86497"/>
                  </a:lnTo>
                  <a:close/>
                  <a:moveTo>
                    <a:pt x="129969" y="87393"/>
                  </a:moveTo>
                  <a:cubicBezTo>
                    <a:pt x="120110" y="87393"/>
                    <a:pt x="112043" y="79326"/>
                    <a:pt x="112043" y="69466"/>
                  </a:cubicBezTo>
                  <a:cubicBezTo>
                    <a:pt x="112043" y="69466"/>
                    <a:pt x="112043" y="69018"/>
                    <a:pt x="112043" y="69018"/>
                  </a:cubicBezTo>
                  <a:lnTo>
                    <a:pt x="129521" y="71707"/>
                  </a:lnTo>
                  <a:cubicBezTo>
                    <a:pt x="129521" y="71707"/>
                    <a:pt x="129969" y="71707"/>
                    <a:pt x="129969" y="71707"/>
                  </a:cubicBezTo>
                  <a:cubicBezTo>
                    <a:pt x="130866" y="71707"/>
                    <a:pt x="132210" y="70811"/>
                    <a:pt x="132210" y="69915"/>
                  </a:cubicBezTo>
                  <a:cubicBezTo>
                    <a:pt x="132210" y="68570"/>
                    <a:pt x="131762" y="67674"/>
                    <a:pt x="130418" y="67226"/>
                  </a:cubicBezTo>
                  <a:lnTo>
                    <a:pt x="112939" y="64536"/>
                  </a:lnTo>
                  <a:cubicBezTo>
                    <a:pt x="115180" y="56918"/>
                    <a:pt x="121902" y="51540"/>
                    <a:pt x="129969" y="51540"/>
                  </a:cubicBezTo>
                  <a:cubicBezTo>
                    <a:pt x="139829" y="51540"/>
                    <a:pt x="147896" y="59607"/>
                    <a:pt x="147896" y="69466"/>
                  </a:cubicBezTo>
                  <a:cubicBezTo>
                    <a:pt x="147896" y="79326"/>
                    <a:pt x="139829" y="87393"/>
                    <a:pt x="129969" y="87393"/>
                  </a:cubicBezTo>
                  <a:close/>
                </a:path>
              </a:pathLst>
            </a:custGeom>
            <a:solidFill>
              <a:srgbClr val="231F20"/>
            </a:solidFill>
            <a:ln w="4477" cap="flat">
              <a:noFill/>
              <a:prstDash val="solid"/>
              <a:miter/>
            </a:ln>
          </p:spPr>
          <p:txBody>
            <a:bodyPr rtlCol="0" anchor="ctr"/>
            <a:lstStyle/>
            <a:p>
              <a:endParaRPr lang="en-US"/>
            </a:p>
          </p:txBody>
        </p:sp>
        <p:sp>
          <p:nvSpPr>
            <p:cNvPr id="2964" name="Freeform: Shape 2963">
              <a:extLst>
                <a:ext uri="{FF2B5EF4-FFF2-40B4-BE49-F238E27FC236}">
                  <a16:creationId xmlns:a16="http://schemas.microsoft.com/office/drawing/2014/main" id="{1F1C8B71-B221-4AF5-A3C0-5754724CE9A2}"/>
                </a:ext>
              </a:extLst>
            </p:cNvPr>
            <p:cNvSpPr/>
            <p:nvPr/>
          </p:nvSpPr>
          <p:spPr>
            <a:xfrm>
              <a:off x="8121415" y="2137756"/>
              <a:ext cx="76189" cy="58262"/>
            </a:xfrm>
            <a:custGeom>
              <a:avLst/>
              <a:gdLst>
                <a:gd name="connsiteX0" fmla="*/ 10196 w 76188"/>
                <a:gd name="connsiteY0" fmla="*/ 49299 h 58262"/>
                <a:gd name="connsiteX1" fmla="*/ 19159 w 76188"/>
                <a:gd name="connsiteY1" fmla="*/ 56021 h 58262"/>
                <a:gd name="connsiteX2" fmla="*/ 48739 w 76188"/>
                <a:gd name="connsiteY2" fmla="*/ 60503 h 58262"/>
                <a:gd name="connsiteX3" fmla="*/ 50531 w 76188"/>
                <a:gd name="connsiteY3" fmla="*/ 60503 h 58262"/>
                <a:gd name="connsiteX4" fmla="*/ 60391 w 76188"/>
                <a:gd name="connsiteY4" fmla="*/ 55125 h 58262"/>
                <a:gd name="connsiteX5" fmla="*/ 79214 w 76188"/>
                <a:gd name="connsiteY5" fmla="*/ 25546 h 58262"/>
                <a:gd name="connsiteX6" fmla="*/ 79214 w 76188"/>
                <a:gd name="connsiteY6" fmla="*/ 23305 h 58262"/>
                <a:gd name="connsiteX7" fmla="*/ 77421 w 76188"/>
                <a:gd name="connsiteY7" fmla="*/ 21960 h 58262"/>
                <a:gd name="connsiteX8" fmla="*/ 68906 w 76188"/>
                <a:gd name="connsiteY8" fmla="*/ 21960 h 58262"/>
                <a:gd name="connsiteX9" fmla="*/ 52324 w 76188"/>
                <a:gd name="connsiteY9" fmla="*/ 5378 h 58262"/>
                <a:gd name="connsiteX10" fmla="*/ 39775 w 76188"/>
                <a:gd name="connsiteY10" fmla="*/ 0 h 58262"/>
                <a:gd name="connsiteX11" fmla="*/ 27226 w 76188"/>
                <a:gd name="connsiteY11" fmla="*/ 5378 h 58262"/>
                <a:gd name="connsiteX12" fmla="*/ 10644 w 76188"/>
                <a:gd name="connsiteY12" fmla="*/ 21960 h 58262"/>
                <a:gd name="connsiteX13" fmla="*/ 2129 w 76188"/>
                <a:gd name="connsiteY13" fmla="*/ 21960 h 58262"/>
                <a:gd name="connsiteX14" fmla="*/ 336 w 76188"/>
                <a:gd name="connsiteY14" fmla="*/ 22857 h 58262"/>
                <a:gd name="connsiteX15" fmla="*/ 336 w 76188"/>
                <a:gd name="connsiteY15" fmla="*/ 25097 h 58262"/>
                <a:gd name="connsiteX16" fmla="*/ 10196 w 76188"/>
                <a:gd name="connsiteY16" fmla="*/ 49299 h 58262"/>
                <a:gd name="connsiteX17" fmla="*/ 30364 w 76188"/>
                <a:gd name="connsiteY17" fmla="*/ 8963 h 58262"/>
                <a:gd name="connsiteX18" fmla="*/ 49635 w 76188"/>
                <a:gd name="connsiteY18" fmla="*/ 8963 h 58262"/>
                <a:gd name="connsiteX19" fmla="*/ 63080 w 76188"/>
                <a:gd name="connsiteY19" fmla="*/ 22409 h 58262"/>
                <a:gd name="connsiteX20" fmla="*/ 17367 w 76188"/>
                <a:gd name="connsiteY20" fmla="*/ 22409 h 58262"/>
                <a:gd name="connsiteX21" fmla="*/ 30364 w 76188"/>
                <a:gd name="connsiteY21" fmla="*/ 8963 h 58262"/>
                <a:gd name="connsiteX22" fmla="*/ 73388 w 76188"/>
                <a:gd name="connsiteY22" fmla="*/ 26890 h 58262"/>
                <a:gd name="connsiteX23" fmla="*/ 56806 w 76188"/>
                <a:gd name="connsiteY23" fmla="*/ 52884 h 58262"/>
                <a:gd name="connsiteX24" fmla="*/ 49635 w 76188"/>
                <a:gd name="connsiteY24" fmla="*/ 56021 h 58262"/>
                <a:gd name="connsiteX25" fmla="*/ 20056 w 76188"/>
                <a:gd name="connsiteY25" fmla="*/ 51540 h 58262"/>
                <a:gd name="connsiteX26" fmla="*/ 14678 w 76188"/>
                <a:gd name="connsiteY26" fmla="*/ 47506 h 58262"/>
                <a:gd name="connsiteX27" fmla="*/ 5714 w 76188"/>
                <a:gd name="connsiteY27" fmla="*/ 26890 h 58262"/>
                <a:gd name="connsiteX28" fmla="*/ 73388 w 76188"/>
                <a:gd name="connsiteY28" fmla="*/ 2689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6188" h="58262">
                  <a:moveTo>
                    <a:pt x="10196" y="49299"/>
                  </a:moveTo>
                  <a:cubicBezTo>
                    <a:pt x="11989" y="52884"/>
                    <a:pt x="15126" y="55573"/>
                    <a:pt x="19159" y="56021"/>
                  </a:cubicBezTo>
                  <a:lnTo>
                    <a:pt x="48739" y="60503"/>
                  </a:lnTo>
                  <a:cubicBezTo>
                    <a:pt x="49187" y="60503"/>
                    <a:pt x="50083" y="60503"/>
                    <a:pt x="50531" y="60503"/>
                  </a:cubicBezTo>
                  <a:cubicBezTo>
                    <a:pt x="54565" y="60503"/>
                    <a:pt x="58150" y="58710"/>
                    <a:pt x="60391" y="55125"/>
                  </a:cubicBezTo>
                  <a:lnTo>
                    <a:pt x="79214" y="25546"/>
                  </a:lnTo>
                  <a:cubicBezTo>
                    <a:pt x="79662" y="24649"/>
                    <a:pt x="79662" y="24201"/>
                    <a:pt x="79214" y="23305"/>
                  </a:cubicBezTo>
                  <a:cubicBezTo>
                    <a:pt x="78766" y="22409"/>
                    <a:pt x="77870" y="21960"/>
                    <a:pt x="77421" y="21960"/>
                  </a:cubicBezTo>
                  <a:lnTo>
                    <a:pt x="68906" y="21960"/>
                  </a:lnTo>
                  <a:lnTo>
                    <a:pt x="52324" y="5378"/>
                  </a:lnTo>
                  <a:cubicBezTo>
                    <a:pt x="48739" y="1793"/>
                    <a:pt x="44257" y="0"/>
                    <a:pt x="39775" y="0"/>
                  </a:cubicBezTo>
                  <a:cubicBezTo>
                    <a:pt x="35294" y="0"/>
                    <a:pt x="30364" y="1793"/>
                    <a:pt x="27226" y="5378"/>
                  </a:cubicBezTo>
                  <a:lnTo>
                    <a:pt x="10644" y="21960"/>
                  </a:lnTo>
                  <a:lnTo>
                    <a:pt x="2129" y="21960"/>
                  </a:lnTo>
                  <a:cubicBezTo>
                    <a:pt x="1233" y="21960"/>
                    <a:pt x="784" y="22409"/>
                    <a:pt x="336" y="22857"/>
                  </a:cubicBezTo>
                  <a:cubicBezTo>
                    <a:pt x="-112" y="23305"/>
                    <a:pt x="-112" y="24201"/>
                    <a:pt x="336" y="25097"/>
                  </a:cubicBezTo>
                  <a:lnTo>
                    <a:pt x="10196" y="49299"/>
                  </a:lnTo>
                  <a:close/>
                  <a:moveTo>
                    <a:pt x="30364" y="8963"/>
                  </a:moveTo>
                  <a:cubicBezTo>
                    <a:pt x="35294" y="4034"/>
                    <a:pt x="44257" y="4034"/>
                    <a:pt x="49635" y="8963"/>
                  </a:cubicBezTo>
                  <a:lnTo>
                    <a:pt x="63080" y="22409"/>
                  </a:lnTo>
                  <a:lnTo>
                    <a:pt x="17367" y="22409"/>
                  </a:lnTo>
                  <a:lnTo>
                    <a:pt x="30364" y="8963"/>
                  </a:lnTo>
                  <a:close/>
                  <a:moveTo>
                    <a:pt x="73388" y="26890"/>
                  </a:moveTo>
                  <a:lnTo>
                    <a:pt x="56806" y="52884"/>
                  </a:lnTo>
                  <a:cubicBezTo>
                    <a:pt x="55461" y="55125"/>
                    <a:pt x="52324" y="56469"/>
                    <a:pt x="49635" y="56021"/>
                  </a:cubicBezTo>
                  <a:lnTo>
                    <a:pt x="20056" y="51540"/>
                  </a:lnTo>
                  <a:cubicBezTo>
                    <a:pt x="17815" y="51091"/>
                    <a:pt x="15574" y="49747"/>
                    <a:pt x="14678" y="47506"/>
                  </a:cubicBezTo>
                  <a:lnTo>
                    <a:pt x="5714" y="26890"/>
                  </a:lnTo>
                  <a:lnTo>
                    <a:pt x="73388" y="26890"/>
                  </a:lnTo>
                  <a:close/>
                </a:path>
              </a:pathLst>
            </a:custGeom>
            <a:solidFill>
              <a:srgbClr val="231F20"/>
            </a:solidFill>
            <a:ln w="4477" cap="flat">
              <a:noFill/>
              <a:prstDash val="solid"/>
              <a:miter/>
            </a:ln>
          </p:spPr>
          <p:txBody>
            <a:bodyPr rtlCol="0" anchor="ctr"/>
            <a:lstStyle/>
            <a:p>
              <a:endParaRPr lang="en-US"/>
            </a:p>
          </p:txBody>
        </p:sp>
      </p:grpSp>
      <p:grpSp>
        <p:nvGrpSpPr>
          <p:cNvPr id="2527" name="Group 2526">
            <a:extLst>
              <a:ext uri="{FF2B5EF4-FFF2-40B4-BE49-F238E27FC236}">
                <a16:creationId xmlns:a16="http://schemas.microsoft.com/office/drawing/2014/main" id="{3AE6CB80-788A-40C8-9D4D-6B2828123836}"/>
              </a:ext>
              <a:ext uri="{C183D7F6-B498-43B3-948B-1728B52AA6E4}">
                <adec:decorative xmlns:adec="http://schemas.microsoft.com/office/drawing/2017/decorative" val="1"/>
              </a:ext>
            </a:extLst>
          </p:cNvPr>
          <p:cNvGrpSpPr>
            <a:grpSpLocks noChangeAspect="1"/>
          </p:cNvGrpSpPr>
          <p:nvPr/>
        </p:nvGrpSpPr>
        <p:grpSpPr>
          <a:xfrm>
            <a:off x="8547482" y="4166091"/>
            <a:ext cx="147896" cy="143432"/>
            <a:chOff x="8603982" y="2110400"/>
            <a:chExt cx="147896" cy="143432"/>
          </a:xfrm>
        </p:grpSpPr>
        <p:sp>
          <p:nvSpPr>
            <p:cNvPr id="2957" name="Freeform: Shape 2956">
              <a:extLst>
                <a:ext uri="{FF2B5EF4-FFF2-40B4-BE49-F238E27FC236}">
                  <a16:creationId xmlns:a16="http://schemas.microsoft.com/office/drawing/2014/main" id="{382B2167-6791-4C33-990B-F8EE30696F5A}"/>
                </a:ext>
              </a:extLst>
            </p:cNvPr>
            <p:cNvSpPr/>
            <p:nvPr/>
          </p:nvSpPr>
          <p:spPr>
            <a:xfrm>
              <a:off x="8621909" y="2110400"/>
              <a:ext cx="103079" cy="80671"/>
            </a:xfrm>
            <a:custGeom>
              <a:avLst/>
              <a:gdLst>
                <a:gd name="connsiteX0" fmla="*/ 7171 w 103079"/>
                <a:gd name="connsiteY0" fmla="*/ 55591 h 80670"/>
                <a:gd name="connsiteX1" fmla="*/ 6274 w 103079"/>
                <a:gd name="connsiteY1" fmla="*/ 59625 h 80670"/>
                <a:gd name="connsiteX2" fmla="*/ 14790 w 103079"/>
                <a:gd name="connsiteY2" fmla="*/ 68140 h 80670"/>
                <a:gd name="connsiteX3" fmla="*/ 17030 w 103079"/>
                <a:gd name="connsiteY3" fmla="*/ 68140 h 80670"/>
                <a:gd name="connsiteX4" fmla="*/ 15686 w 103079"/>
                <a:gd name="connsiteY4" fmla="*/ 72622 h 80670"/>
                <a:gd name="connsiteX5" fmla="*/ 24201 w 103079"/>
                <a:gd name="connsiteY5" fmla="*/ 81137 h 80670"/>
                <a:gd name="connsiteX6" fmla="*/ 73500 w 103079"/>
                <a:gd name="connsiteY6" fmla="*/ 81137 h 80670"/>
                <a:gd name="connsiteX7" fmla="*/ 105320 w 103079"/>
                <a:gd name="connsiteY7" fmla="*/ 57384 h 80670"/>
                <a:gd name="connsiteX8" fmla="*/ 90978 w 103079"/>
                <a:gd name="connsiteY8" fmla="*/ 20186 h 80670"/>
                <a:gd name="connsiteX9" fmla="*/ 60503 w 103079"/>
                <a:gd name="connsiteY9" fmla="*/ 1363 h 80670"/>
                <a:gd name="connsiteX10" fmla="*/ 53780 w 103079"/>
                <a:gd name="connsiteY10" fmla="*/ 466 h 80670"/>
                <a:gd name="connsiteX11" fmla="*/ 48402 w 103079"/>
                <a:gd name="connsiteY11" fmla="*/ 4500 h 80670"/>
                <a:gd name="connsiteX12" fmla="*/ 51091 w 103079"/>
                <a:gd name="connsiteY12" fmla="*/ 16152 h 80670"/>
                <a:gd name="connsiteX13" fmla="*/ 62296 w 103079"/>
                <a:gd name="connsiteY13" fmla="*/ 23323 h 80670"/>
                <a:gd name="connsiteX14" fmla="*/ 63192 w 103079"/>
                <a:gd name="connsiteY14" fmla="*/ 26012 h 80670"/>
                <a:gd name="connsiteX15" fmla="*/ 60951 w 103079"/>
                <a:gd name="connsiteY15" fmla="*/ 27805 h 80670"/>
                <a:gd name="connsiteX16" fmla="*/ 17927 w 103079"/>
                <a:gd name="connsiteY16" fmla="*/ 27805 h 80670"/>
                <a:gd name="connsiteX17" fmla="*/ 9412 w 103079"/>
                <a:gd name="connsiteY17" fmla="*/ 36320 h 80670"/>
                <a:gd name="connsiteX18" fmla="*/ 10308 w 103079"/>
                <a:gd name="connsiteY18" fmla="*/ 39905 h 80670"/>
                <a:gd name="connsiteX19" fmla="*/ 8515 w 103079"/>
                <a:gd name="connsiteY19" fmla="*/ 39905 h 80670"/>
                <a:gd name="connsiteX20" fmla="*/ 0 w 103079"/>
                <a:gd name="connsiteY20" fmla="*/ 48421 h 80670"/>
                <a:gd name="connsiteX21" fmla="*/ 7171 w 103079"/>
                <a:gd name="connsiteY21" fmla="*/ 55591 h 80670"/>
                <a:gd name="connsiteX22" fmla="*/ 8515 w 103079"/>
                <a:gd name="connsiteY22" fmla="*/ 43939 h 80670"/>
                <a:gd name="connsiteX23" fmla="*/ 17479 w 103079"/>
                <a:gd name="connsiteY23" fmla="*/ 43939 h 80670"/>
                <a:gd name="connsiteX24" fmla="*/ 47954 w 103079"/>
                <a:gd name="connsiteY24" fmla="*/ 43939 h 80670"/>
                <a:gd name="connsiteX25" fmla="*/ 48402 w 103079"/>
                <a:gd name="connsiteY25" fmla="*/ 43939 h 80670"/>
                <a:gd name="connsiteX26" fmla="*/ 50643 w 103079"/>
                <a:gd name="connsiteY26" fmla="*/ 41698 h 80670"/>
                <a:gd name="connsiteX27" fmla="*/ 48402 w 103079"/>
                <a:gd name="connsiteY27" fmla="*/ 39457 h 80670"/>
                <a:gd name="connsiteX28" fmla="*/ 47954 w 103079"/>
                <a:gd name="connsiteY28" fmla="*/ 39457 h 80670"/>
                <a:gd name="connsiteX29" fmla="*/ 17479 w 103079"/>
                <a:gd name="connsiteY29" fmla="*/ 39457 h 80670"/>
                <a:gd name="connsiteX30" fmla="*/ 13445 w 103079"/>
                <a:gd name="connsiteY30" fmla="*/ 35872 h 80670"/>
                <a:gd name="connsiteX31" fmla="*/ 17479 w 103079"/>
                <a:gd name="connsiteY31" fmla="*/ 31838 h 80670"/>
                <a:gd name="connsiteX32" fmla="*/ 60503 w 103079"/>
                <a:gd name="connsiteY32" fmla="*/ 31838 h 80670"/>
                <a:gd name="connsiteX33" fmla="*/ 67226 w 103079"/>
                <a:gd name="connsiteY33" fmla="*/ 26908 h 80670"/>
                <a:gd name="connsiteX34" fmla="*/ 64536 w 103079"/>
                <a:gd name="connsiteY34" fmla="*/ 19290 h 80670"/>
                <a:gd name="connsiteX35" fmla="*/ 53332 w 103079"/>
                <a:gd name="connsiteY35" fmla="*/ 12119 h 80670"/>
                <a:gd name="connsiteX36" fmla="*/ 51988 w 103079"/>
                <a:gd name="connsiteY36" fmla="*/ 6293 h 80670"/>
                <a:gd name="connsiteX37" fmla="*/ 54677 w 103079"/>
                <a:gd name="connsiteY37" fmla="*/ 4500 h 80670"/>
                <a:gd name="connsiteX38" fmla="*/ 57814 w 103079"/>
                <a:gd name="connsiteY38" fmla="*/ 4948 h 80670"/>
                <a:gd name="connsiteX39" fmla="*/ 88290 w 103079"/>
                <a:gd name="connsiteY39" fmla="*/ 23771 h 80670"/>
                <a:gd name="connsiteX40" fmla="*/ 100838 w 103079"/>
                <a:gd name="connsiteY40" fmla="*/ 55591 h 80670"/>
                <a:gd name="connsiteX41" fmla="*/ 73052 w 103079"/>
                <a:gd name="connsiteY41" fmla="*/ 76207 h 80670"/>
                <a:gd name="connsiteX42" fmla="*/ 23753 w 103079"/>
                <a:gd name="connsiteY42" fmla="*/ 76207 h 80670"/>
                <a:gd name="connsiteX43" fmla="*/ 19719 w 103079"/>
                <a:gd name="connsiteY43" fmla="*/ 72174 h 80670"/>
                <a:gd name="connsiteX44" fmla="*/ 23753 w 103079"/>
                <a:gd name="connsiteY44" fmla="*/ 67692 h 80670"/>
                <a:gd name="connsiteX45" fmla="*/ 47954 w 103079"/>
                <a:gd name="connsiteY45" fmla="*/ 67692 h 80670"/>
                <a:gd name="connsiteX46" fmla="*/ 48402 w 103079"/>
                <a:gd name="connsiteY46" fmla="*/ 67692 h 80670"/>
                <a:gd name="connsiteX47" fmla="*/ 50643 w 103079"/>
                <a:gd name="connsiteY47" fmla="*/ 65451 h 80670"/>
                <a:gd name="connsiteX48" fmla="*/ 48402 w 103079"/>
                <a:gd name="connsiteY48" fmla="*/ 63210 h 80670"/>
                <a:gd name="connsiteX49" fmla="*/ 47954 w 103079"/>
                <a:gd name="connsiteY49" fmla="*/ 63210 h 80670"/>
                <a:gd name="connsiteX50" fmla="*/ 23753 w 103079"/>
                <a:gd name="connsiteY50" fmla="*/ 63210 h 80670"/>
                <a:gd name="connsiteX51" fmla="*/ 14342 w 103079"/>
                <a:gd name="connsiteY51" fmla="*/ 63210 h 80670"/>
                <a:gd name="connsiteX52" fmla="*/ 10308 w 103079"/>
                <a:gd name="connsiteY52" fmla="*/ 59177 h 80670"/>
                <a:gd name="connsiteX53" fmla="*/ 14342 w 103079"/>
                <a:gd name="connsiteY53" fmla="*/ 55143 h 80670"/>
                <a:gd name="connsiteX54" fmla="*/ 47954 w 103079"/>
                <a:gd name="connsiteY54" fmla="*/ 55143 h 80670"/>
                <a:gd name="connsiteX55" fmla="*/ 50195 w 103079"/>
                <a:gd name="connsiteY55" fmla="*/ 52902 h 80670"/>
                <a:gd name="connsiteX56" fmla="*/ 47954 w 103079"/>
                <a:gd name="connsiteY56" fmla="*/ 50661 h 80670"/>
                <a:gd name="connsiteX57" fmla="*/ 14342 w 103079"/>
                <a:gd name="connsiteY57" fmla="*/ 50661 h 80670"/>
                <a:gd name="connsiteX58" fmla="*/ 8067 w 103079"/>
                <a:gd name="connsiteY58" fmla="*/ 50661 h 80670"/>
                <a:gd name="connsiteX59" fmla="*/ 4034 w 103079"/>
                <a:gd name="connsiteY59" fmla="*/ 46628 h 80670"/>
                <a:gd name="connsiteX60" fmla="*/ 8515 w 103079"/>
                <a:gd name="connsiteY60" fmla="*/ 43939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03079" h="80670">
                  <a:moveTo>
                    <a:pt x="7171" y="55591"/>
                  </a:moveTo>
                  <a:cubicBezTo>
                    <a:pt x="6723" y="56936"/>
                    <a:pt x="6274" y="58280"/>
                    <a:pt x="6274" y="59625"/>
                  </a:cubicBezTo>
                  <a:cubicBezTo>
                    <a:pt x="6274" y="64107"/>
                    <a:pt x="9860" y="68140"/>
                    <a:pt x="14790" y="68140"/>
                  </a:cubicBezTo>
                  <a:lnTo>
                    <a:pt x="17030" y="68140"/>
                  </a:lnTo>
                  <a:cubicBezTo>
                    <a:pt x="16134" y="69485"/>
                    <a:pt x="15686" y="70829"/>
                    <a:pt x="15686" y="72622"/>
                  </a:cubicBezTo>
                  <a:cubicBezTo>
                    <a:pt x="15686" y="77103"/>
                    <a:pt x="19271" y="81137"/>
                    <a:pt x="24201" y="81137"/>
                  </a:cubicBezTo>
                  <a:lnTo>
                    <a:pt x="73500" y="81137"/>
                  </a:lnTo>
                  <a:cubicBezTo>
                    <a:pt x="88290" y="81137"/>
                    <a:pt x="101286" y="71277"/>
                    <a:pt x="105320" y="57384"/>
                  </a:cubicBezTo>
                  <a:cubicBezTo>
                    <a:pt x="109353" y="43491"/>
                    <a:pt x="103527" y="28253"/>
                    <a:pt x="90978" y="20186"/>
                  </a:cubicBezTo>
                  <a:lnTo>
                    <a:pt x="60503" y="1363"/>
                  </a:lnTo>
                  <a:cubicBezTo>
                    <a:pt x="58710" y="18"/>
                    <a:pt x="56021" y="-430"/>
                    <a:pt x="53780" y="466"/>
                  </a:cubicBezTo>
                  <a:cubicBezTo>
                    <a:pt x="51540" y="914"/>
                    <a:pt x="49299" y="2707"/>
                    <a:pt x="48402" y="4500"/>
                  </a:cubicBezTo>
                  <a:cubicBezTo>
                    <a:pt x="46161" y="8533"/>
                    <a:pt x="47058" y="13911"/>
                    <a:pt x="51091" y="16152"/>
                  </a:cubicBezTo>
                  <a:lnTo>
                    <a:pt x="62296" y="23323"/>
                  </a:lnTo>
                  <a:cubicBezTo>
                    <a:pt x="63192" y="23771"/>
                    <a:pt x="63640" y="25116"/>
                    <a:pt x="63192" y="26012"/>
                  </a:cubicBezTo>
                  <a:cubicBezTo>
                    <a:pt x="62744" y="26908"/>
                    <a:pt x="61847" y="27805"/>
                    <a:pt x="60951" y="27805"/>
                  </a:cubicBezTo>
                  <a:lnTo>
                    <a:pt x="17927" y="27805"/>
                  </a:lnTo>
                  <a:cubicBezTo>
                    <a:pt x="13445" y="27805"/>
                    <a:pt x="9412" y="31390"/>
                    <a:pt x="9412" y="36320"/>
                  </a:cubicBezTo>
                  <a:cubicBezTo>
                    <a:pt x="9412" y="37664"/>
                    <a:pt x="9860" y="39009"/>
                    <a:pt x="10308" y="39905"/>
                  </a:cubicBezTo>
                  <a:lnTo>
                    <a:pt x="8515" y="39905"/>
                  </a:lnTo>
                  <a:cubicBezTo>
                    <a:pt x="4034" y="39905"/>
                    <a:pt x="0" y="43491"/>
                    <a:pt x="0" y="48421"/>
                  </a:cubicBezTo>
                  <a:cubicBezTo>
                    <a:pt x="0" y="52006"/>
                    <a:pt x="3137" y="55143"/>
                    <a:pt x="7171" y="55591"/>
                  </a:cubicBezTo>
                  <a:close/>
                  <a:moveTo>
                    <a:pt x="8515" y="43939"/>
                  </a:moveTo>
                  <a:lnTo>
                    <a:pt x="17479" y="43939"/>
                  </a:lnTo>
                  <a:lnTo>
                    <a:pt x="47954" y="43939"/>
                  </a:lnTo>
                  <a:lnTo>
                    <a:pt x="48402" y="43939"/>
                  </a:lnTo>
                  <a:cubicBezTo>
                    <a:pt x="49747" y="43939"/>
                    <a:pt x="50643" y="43043"/>
                    <a:pt x="50643" y="41698"/>
                  </a:cubicBezTo>
                  <a:cubicBezTo>
                    <a:pt x="50643" y="40353"/>
                    <a:pt x="49747" y="39457"/>
                    <a:pt x="48402" y="39457"/>
                  </a:cubicBezTo>
                  <a:lnTo>
                    <a:pt x="47954" y="39457"/>
                  </a:lnTo>
                  <a:lnTo>
                    <a:pt x="17479" y="39457"/>
                  </a:lnTo>
                  <a:cubicBezTo>
                    <a:pt x="15238" y="39457"/>
                    <a:pt x="13445" y="38113"/>
                    <a:pt x="13445" y="35872"/>
                  </a:cubicBezTo>
                  <a:cubicBezTo>
                    <a:pt x="13445" y="33631"/>
                    <a:pt x="15238" y="31838"/>
                    <a:pt x="17479" y="31838"/>
                  </a:cubicBezTo>
                  <a:lnTo>
                    <a:pt x="60503" y="31838"/>
                  </a:lnTo>
                  <a:cubicBezTo>
                    <a:pt x="63640" y="31838"/>
                    <a:pt x="66329" y="29597"/>
                    <a:pt x="67226" y="26908"/>
                  </a:cubicBezTo>
                  <a:cubicBezTo>
                    <a:pt x="68122" y="24219"/>
                    <a:pt x="66777" y="20634"/>
                    <a:pt x="64536" y="19290"/>
                  </a:cubicBezTo>
                  <a:lnTo>
                    <a:pt x="53332" y="12119"/>
                  </a:lnTo>
                  <a:cubicBezTo>
                    <a:pt x="51540" y="10774"/>
                    <a:pt x="50643" y="8533"/>
                    <a:pt x="51988" y="6293"/>
                  </a:cubicBezTo>
                  <a:cubicBezTo>
                    <a:pt x="52436" y="5396"/>
                    <a:pt x="53332" y="4500"/>
                    <a:pt x="54677" y="4500"/>
                  </a:cubicBezTo>
                  <a:cubicBezTo>
                    <a:pt x="55573" y="4052"/>
                    <a:pt x="56918" y="4500"/>
                    <a:pt x="57814" y="4948"/>
                  </a:cubicBezTo>
                  <a:lnTo>
                    <a:pt x="88290" y="23771"/>
                  </a:lnTo>
                  <a:cubicBezTo>
                    <a:pt x="99046" y="30494"/>
                    <a:pt x="103976" y="43491"/>
                    <a:pt x="100838" y="55591"/>
                  </a:cubicBezTo>
                  <a:cubicBezTo>
                    <a:pt x="97253" y="67692"/>
                    <a:pt x="86049" y="76207"/>
                    <a:pt x="73052" y="76207"/>
                  </a:cubicBezTo>
                  <a:lnTo>
                    <a:pt x="23753" y="76207"/>
                  </a:lnTo>
                  <a:cubicBezTo>
                    <a:pt x="21512" y="76207"/>
                    <a:pt x="19719" y="74414"/>
                    <a:pt x="19719" y="72174"/>
                  </a:cubicBezTo>
                  <a:cubicBezTo>
                    <a:pt x="19719" y="69933"/>
                    <a:pt x="21512" y="67692"/>
                    <a:pt x="23753" y="67692"/>
                  </a:cubicBezTo>
                  <a:lnTo>
                    <a:pt x="47954" y="67692"/>
                  </a:lnTo>
                  <a:lnTo>
                    <a:pt x="48402" y="67692"/>
                  </a:lnTo>
                  <a:cubicBezTo>
                    <a:pt x="49747" y="67692"/>
                    <a:pt x="50643" y="66796"/>
                    <a:pt x="50643" y="65451"/>
                  </a:cubicBezTo>
                  <a:cubicBezTo>
                    <a:pt x="50643" y="64107"/>
                    <a:pt x="49747" y="63210"/>
                    <a:pt x="48402" y="63210"/>
                  </a:cubicBezTo>
                  <a:lnTo>
                    <a:pt x="47954" y="63210"/>
                  </a:lnTo>
                  <a:lnTo>
                    <a:pt x="23753" y="63210"/>
                  </a:lnTo>
                  <a:lnTo>
                    <a:pt x="14342" y="63210"/>
                  </a:lnTo>
                  <a:cubicBezTo>
                    <a:pt x="12101" y="63210"/>
                    <a:pt x="10308" y="61417"/>
                    <a:pt x="10308" y="59177"/>
                  </a:cubicBezTo>
                  <a:cubicBezTo>
                    <a:pt x="10308" y="56936"/>
                    <a:pt x="12101" y="55143"/>
                    <a:pt x="14342" y="55143"/>
                  </a:cubicBezTo>
                  <a:lnTo>
                    <a:pt x="47954" y="55143"/>
                  </a:lnTo>
                  <a:cubicBezTo>
                    <a:pt x="49299" y="55143"/>
                    <a:pt x="50195" y="54247"/>
                    <a:pt x="50195" y="52902"/>
                  </a:cubicBezTo>
                  <a:cubicBezTo>
                    <a:pt x="50195" y="51558"/>
                    <a:pt x="49299" y="50661"/>
                    <a:pt x="47954" y="50661"/>
                  </a:cubicBezTo>
                  <a:lnTo>
                    <a:pt x="14342" y="50661"/>
                  </a:lnTo>
                  <a:lnTo>
                    <a:pt x="8067" y="50661"/>
                  </a:lnTo>
                  <a:cubicBezTo>
                    <a:pt x="5826" y="50661"/>
                    <a:pt x="4034" y="48869"/>
                    <a:pt x="4034" y="46628"/>
                  </a:cubicBezTo>
                  <a:cubicBezTo>
                    <a:pt x="4482" y="45283"/>
                    <a:pt x="6274" y="43939"/>
                    <a:pt x="8515" y="43939"/>
                  </a:cubicBezTo>
                  <a:close/>
                </a:path>
              </a:pathLst>
            </a:custGeom>
            <a:solidFill>
              <a:srgbClr val="231F20"/>
            </a:solidFill>
            <a:ln w="4477" cap="flat">
              <a:noFill/>
              <a:prstDash val="solid"/>
              <a:miter/>
            </a:ln>
          </p:spPr>
          <p:txBody>
            <a:bodyPr rtlCol="0" anchor="ctr"/>
            <a:lstStyle/>
            <a:p>
              <a:endParaRPr lang="en-US"/>
            </a:p>
          </p:txBody>
        </p:sp>
        <p:sp>
          <p:nvSpPr>
            <p:cNvPr id="2958" name="Freeform: Shape 2957">
              <a:extLst>
                <a:ext uri="{FF2B5EF4-FFF2-40B4-BE49-F238E27FC236}">
                  <a16:creationId xmlns:a16="http://schemas.microsoft.com/office/drawing/2014/main" id="{7DD9237A-2E17-437F-83E3-F144730118C4}"/>
                </a:ext>
              </a:extLst>
            </p:cNvPr>
            <p:cNvSpPr/>
            <p:nvPr/>
          </p:nvSpPr>
          <p:spPr>
            <a:xfrm>
              <a:off x="8603982" y="2213497"/>
              <a:ext cx="147896" cy="40335"/>
            </a:xfrm>
            <a:custGeom>
              <a:avLst/>
              <a:gdLst>
                <a:gd name="connsiteX0" fmla="*/ 148344 w 147896"/>
                <a:gd name="connsiteY0" fmla="*/ 0 h 40335"/>
                <a:gd name="connsiteX1" fmla="*/ 120110 w 147896"/>
                <a:gd name="connsiteY1" fmla="*/ 0 h 40335"/>
                <a:gd name="connsiteX2" fmla="*/ 104424 w 147896"/>
                <a:gd name="connsiteY2" fmla="*/ 7619 h 40335"/>
                <a:gd name="connsiteX3" fmla="*/ 87393 w 147896"/>
                <a:gd name="connsiteY3" fmla="*/ 29579 h 40335"/>
                <a:gd name="connsiteX4" fmla="*/ 75293 w 147896"/>
                <a:gd name="connsiteY4" fmla="*/ 35854 h 40335"/>
                <a:gd name="connsiteX5" fmla="*/ 63192 w 147896"/>
                <a:gd name="connsiteY5" fmla="*/ 29579 h 40335"/>
                <a:gd name="connsiteX6" fmla="*/ 46161 w 147896"/>
                <a:gd name="connsiteY6" fmla="*/ 7619 h 40335"/>
                <a:gd name="connsiteX7" fmla="*/ 30476 w 147896"/>
                <a:gd name="connsiteY7" fmla="*/ 0 h 40335"/>
                <a:gd name="connsiteX8" fmla="*/ 2241 w 147896"/>
                <a:gd name="connsiteY8" fmla="*/ 0 h 40335"/>
                <a:gd name="connsiteX9" fmla="*/ 0 w 147896"/>
                <a:gd name="connsiteY9" fmla="*/ 2241 h 40335"/>
                <a:gd name="connsiteX10" fmla="*/ 2241 w 147896"/>
                <a:gd name="connsiteY10" fmla="*/ 4482 h 40335"/>
                <a:gd name="connsiteX11" fmla="*/ 30476 w 147896"/>
                <a:gd name="connsiteY11" fmla="*/ 4482 h 40335"/>
                <a:gd name="connsiteX12" fmla="*/ 42576 w 147896"/>
                <a:gd name="connsiteY12" fmla="*/ 10756 h 40335"/>
                <a:gd name="connsiteX13" fmla="*/ 59607 w 147896"/>
                <a:gd name="connsiteY13" fmla="*/ 32716 h 40335"/>
                <a:gd name="connsiteX14" fmla="*/ 75293 w 147896"/>
                <a:gd name="connsiteY14" fmla="*/ 40335 h 40335"/>
                <a:gd name="connsiteX15" fmla="*/ 90978 w 147896"/>
                <a:gd name="connsiteY15" fmla="*/ 32716 h 40335"/>
                <a:gd name="connsiteX16" fmla="*/ 108009 w 147896"/>
                <a:gd name="connsiteY16" fmla="*/ 10756 h 40335"/>
                <a:gd name="connsiteX17" fmla="*/ 120110 w 147896"/>
                <a:gd name="connsiteY17" fmla="*/ 4482 h 40335"/>
                <a:gd name="connsiteX18" fmla="*/ 148344 w 147896"/>
                <a:gd name="connsiteY18" fmla="*/ 4482 h 40335"/>
                <a:gd name="connsiteX19" fmla="*/ 150585 w 147896"/>
                <a:gd name="connsiteY19" fmla="*/ 2241 h 40335"/>
                <a:gd name="connsiteX20" fmla="*/ 148344 w 147896"/>
                <a:gd name="connsiteY20" fmla="*/ 0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7896" h="40335">
                  <a:moveTo>
                    <a:pt x="148344" y="0"/>
                  </a:moveTo>
                  <a:lnTo>
                    <a:pt x="120110" y="0"/>
                  </a:lnTo>
                  <a:cubicBezTo>
                    <a:pt x="114283" y="0"/>
                    <a:pt x="108457" y="2689"/>
                    <a:pt x="104424" y="7619"/>
                  </a:cubicBezTo>
                  <a:lnTo>
                    <a:pt x="87393" y="29579"/>
                  </a:lnTo>
                  <a:cubicBezTo>
                    <a:pt x="84256" y="33613"/>
                    <a:pt x="79774" y="35854"/>
                    <a:pt x="75293" y="35854"/>
                  </a:cubicBezTo>
                  <a:cubicBezTo>
                    <a:pt x="70811" y="35854"/>
                    <a:pt x="66329" y="33613"/>
                    <a:pt x="63192" y="29579"/>
                  </a:cubicBezTo>
                  <a:lnTo>
                    <a:pt x="46161" y="7619"/>
                  </a:lnTo>
                  <a:cubicBezTo>
                    <a:pt x="42128" y="2689"/>
                    <a:pt x="36750" y="0"/>
                    <a:pt x="30476" y="0"/>
                  </a:cubicBezTo>
                  <a:lnTo>
                    <a:pt x="2241" y="0"/>
                  </a:lnTo>
                  <a:cubicBezTo>
                    <a:pt x="896" y="0"/>
                    <a:pt x="0" y="896"/>
                    <a:pt x="0" y="2241"/>
                  </a:cubicBezTo>
                  <a:cubicBezTo>
                    <a:pt x="0" y="3585"/>
                    <a:pt x="896" y="4482"/>
                    <a:pt x="2241" y="4482"/>
                  </a:cubicBezTo>
                  <a:lnTo>
                    <a:pt x="30476" y="4482"/>
                  </a:lnTo>
                  <a:cubicBezTo>
                    <a:pt x="34957" y="4482"/>
                    <a:pt x="39439" y="6723"/>
                    <a:pt x="42576" y="10756"/>
                  </a:cubicBezTo>
                  <a:lnTo>
                    <a:pt x="59607" y="32716"/>
                  </a:lnTo>
                  <a:cubicBezTo>
                    <a:pt x="63640" y="37646"/>
                    <a:pt x="69018" y="40335"/>
                    <a:pt x="75293" y="40335"/>
                  </a:cubicBezTo>
                  <a:cubicBezTo>
                    <a:pt x="81567" y="40335"/>
                    <a:pt x="86945" y="37646"/>
                    <a:pt x="90978" y="32716"/>
                  </a:cubicBezTo>
                  <a:lnTo>
                    <a:pt x="108009" y="10756"/>
                  </a:lnTo>
                  <a:cubicBezTo>
                    <a:pt x="111146" y="6723"/>
                    <a:pt x="115628" y="4482"/>
                    <a:pt x="120110" y="4482"/>
                  </a:cubicBezTo>
                  <a:lnTo>
                    <a:pt x="148344" y="4482"/>
                  </a:lnTo>
                  <a:cubicBezTo>
                    <a:pt x="149689" y="4482"/>
                    <a:pt x="150585" y="3585"/>
                    <a:pt x="150585" y="2241"/>
                  </a:cubicBezTo>
                  <a:cubicBezTo>
                    <a:pt x="150585" y="896"/>
                    <a:pt x="149689" y="0"/>
                    <a:pt x="148344" y="0"/>
                  </a:cubicBezTo>
                  <a:close/>
                </a:path>
              </a:pathLst>
            </a:custGeom>
            <a:solidFill>
              <a:srgbClr val="231F20"/>
            </a:solidFill>
            <a:ln w="4477" cap="flat">
              <a:noFill/>
              <a:prstDash val="solid"/>
              <a:miter/>
            </a:ln>
          </p:spPr>
          <p:txBody>
            <a:bodyPr rtlCol="0" anchor="ctr"/>
            <a:lstStyle/>
            <a:p>
              <a:endParaRPr lang="en-US"/>
            </a:p>
          </p:txBody>
        </p:sp>
        <p:sp>
          <p:nvSpPr>
            <p:cNvPr id="2959" name="Freeform: Shape 2958">
              <a:extLst>
                <a:ext uri="{FF2B5EF4-FFF2-40B4-BE49-F238E27FC236}">
                  <a16:creationId xmlns:a16="http://schemas.microsoft.com/office/drawing/2014/main" id="{7A81F8BD-4D92-40A0-9320-8C8382876557}"/>
                </a:ext>
              </a:extLst>
            </p:cNvPr>
            <p:cNvSpPr/>
            <p:nvPr/>
          </p:nvSpPr>
          <p:spPr>
            <a:xfrm>
              <a:off x="8667846" y="2198483"/>
              <a:ext cx="8963" cy="8963"/>
            </a:xfrm>
            <a:custGeom>
              <a:avLst/>
              <a:gdLst>
                <a:gd name="connsiteX0" fmla="*/ 10084 w 8963"/>
                <a:gd name="connsiteY0" fmla="*/ 672 h 8963"/>
                <a:gd name="connsiteX1" fmla="*/ 6947 w 8963"/>
                <a:gd name="connsiteY1" fmla="*/ 672 h 8963"/>
                <a:gd name="connsiteX2" fmla="*/ 672 w 8963"/>
                <a:gd name="connsiteY2" fmla="*/ 6947 h 8963"/>
                <a:gd name="connsiteX3" fmla="*/ 672 w 8963"/>
                <a:gd name="connsiteY3" fmla="*/ 10084 h 8963"/>
                <a:gd name="connsiteX4" fmla="*/ 2465 w 8963"/>
                <a:gd name="connsiteY4" fmla="*/ 10532 h 8963"/>
                <a:gd name="connsiteX5" fmla="*/ 4258 w 8963"/>
                <a:gd name="connsiteY5" fmla="*/ 10084 h 8963"/>
                <a:gd name="connsiteX6" fmla="*/ 10532 w 8963"/>
                <a:gd name="connsiteY6" fmla="*/ 3809 h 8963"/>
                <a:gd name="connsiteX7" fmla="*/ 10084 w 8963"/>
                <a:gd name="connsiteY7" fmla="*/ 67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10084" y="672"/>
                  </a:moveTo>
                  <a:cubicBezTo>
                    <a:pt x="9187" y="-224"/>
                    <a:pt x="7843" y="-224"/>
                    <a:pt x="6947" y="672"/>
                  </a:cubicBezTo>
                  <a:lnTo>
                    <a:pt x="672" y="6947"/>
                  </a:lnTo>
                  <a:cubicBezTo>
                    <a:pt x="-224" y="7843"/>
                    <a:pt x="-224" y="9188"/>
                    <a:pt x="672" y="10084"/>
                  </a:cubicBezTo>
                  <a:cubicBezTo>
                    <a:pt x="1120" y="10532"/>
                    <a:pt x="1569" y="10532"/>
                    <a:pt x="2465" y="10532"/>
                  </a:cubicBezTo>
                  <a:cubicBezTo>
                    <a:pt x="3361" y="10532"/>
                    <a:pt x="3809" y="10532"/>
                    <a:pt x="4258" y="10084"/>
                  </a:cubicBezTo>
                  <a:lnTo>
                    <a:pt x="10532" y="3809"/>
                  </a:lnTo>
                  <a:cubicBezTo>
                    <a:pt x="10532" y="2913"/>
                    <a:pt x="10532" y="1569"/>
                    <a:pt x="10084" y="672"/>
                  </a:cubicBezTo>
                  <a:close/>
                </a:path>
              </a:pathLst>
            </a:custGeom>
            <a:solidFill>
              <a:srgbClr val="231F20"/>
            </a:solidFill>
            <a:ln w="4477" cap="flat">
              <a:noFill/>
              <a:prstDash val="solid"/>
              <a:miter/>
            </a:ln>
          </p:spPr>
          <p:txBody>
            <a:bodyPr rtlCol="0" anchor="ctr"/>
            <a:lstStyle/>
            <a:p>
              <a:endParaRPr lang="en-US"/>
            </a:p>
          </p:txBody>
        </p:sp>
        <p:sp>
          <p:nvSpPr>
            <p:cNvPr id="2960" name="Freeform: Shape 2959">
              <a:extLst>
                <a:ext uri="{FF2B5EF4-FFF2-40B4-BE49-F238E27FC236}">
                  <a16:creationId xmlns:a16="http://schemas.microsoft.com/office/drawing/2014/main" id="{1C9B41A4-F1F5-4195-9910-92C62F99C1AA}"/>
                </a:ext>
              </a:extLst>
            </p:cNvPr>
            <p:cNvSpPr/>
            <p:nvPr/>
          </p:nvSpPr>
          <p:spPr>
            <a:xfrm>
              <a:off x="8680395" y="2168008"/>
              <a:ext cx="8963" cy="8963"/>
            </a:xfrm>
            <a:custGeom>
              <a:avLst/>
              <a:gdLst>
                <a:gd name="connsiteX0" fmla="*/ 2017 w 8963"/>
                <a:gd name="connsiteY0" fmla="*/ 10532 h 8963"/>
                <a:gd name="connsiteX1" fmla="*/ 3809 w 8963"/>
                <a:gd name="connsiteY1" fmla="*/ 10084 h 8963"/>
                <a:gd name="connsiteX2" fmla="*/ 10084 w 8963"/>
                <a:gd name="connsiteY2" fmla="*/ 3809 h 8963"/>
                <a:gd name="connsiteX3" fmla="*/ 10084 w 8963"/>
                <a:gd name="connsiteY3" fmla="*/ 672 h 8963"/>
                <a:gd name="connsiteX4" fmla="*/ 6947 w 8963"/>
                <a:gd name="connsiteY4" fmla="*/ 672 h 8963"/>
                <a:gd name="connsiteX5" fmla="*/ 672 w 8963"/>
                <a:gd name="connsiteY5" fmla="*/ 6947 h 8963"/>
                <a:gd name="connsiteX6" fmla="*/ 672 w 8963"/>
                <a:gd name="connsiteY6" fmla="*/ 10084 h 8963"/>
                <a:gd name="connsiteX7" fmla="*/ 2017 w 8963"/>
                <a:gd name="connsiteY7" fmla="*/ 1053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2017" y="10532"/>
                  </a:moveTo>
                  <a:cubicBezTo>
                    <a:pt x="2465" y="10532"/>
                    <a:pt x="3361" y="10532"/>
                    <a:pt x="3809" y="10084"/>
                  </a:cubicBezTo>
                  <a:lnTo>
                    <a:pt x="10084" y="3809"/>
                  </a:lnTo>
                  <a:cubicBezTo>
                    <a:pt x="10980" y="2913"/>
                    <a:pt x="10980" y="1569"/>
                    <a:pt x="10084" y="672"/>
                  </a:cubicBezTo>
                  <a:cubicBezTo>
                    <a:pt x="9188" y="-224"/>
                    <a:pt x="7843" y="-224"/>
                    <a:pt x="6947" y="672"/>
                  </a:cubicBezTo>
                  <a:lnTo>
                    <a:pt x="672" y="6947"/>
                  </a:lnTo>
                  <a:cubicBezTo>
                    <a:pt x="-224" y="7843"/>
                    <a:pt x="-224" y="9187"/>
                    <a:pt x="672" y="10084"/>
                  </a:cubicBezTo>
                  <a:cubicBezTo>
                    <a:pt x="672" y="10084"/>
                    <a:pt x="1120" y="10532"/>
                    <a:pt x="2017" y="10532"/>
                  </a:cubicBezTo>
                  <a:close/>
                </a:path>
              </a:pathLst>
            </a:custGeom>
            <a:solidFill>
              <a:srgbClr val="231F20"/>
            </a:solidFill>
            <a:ln w="4477" cap="flat">
              <a:noFill/>
              <a:prstDash val="solid"/>
              <a:miter/>
            </a:ln>
          </p:spPr>
          <p:txBody>
            <a:bodyPr rtlCol="0" anchor="ctr"/>
            <a:lstStyle/>
            <a:p>
              <a:endParaRPr lang="en-US"/>
            </a:p>
          </p:txBody>
        </p:sp>
        <p:sp>
          <p:nvSpPr>
            <p:cNvPr id="2961" name="Freeform: Shape 2960">
              <a:extLst>
                <a:ext uri="{FF2B5EF4-FFF2-40B4-BE49-F238E27FC236}">
                  <a16:creationId xmlns:a16="http://schemas.microsoft.com/office/drawing/2014/main" id="{BE8DE24B-DEF9-4148-8B7B-E5CBFA07A519}"/>
                </a:ext>
              </a:extLst>
            </p:cNvPr>
            <p:cNvSpPr/>
            <p:nvPr/>
          </p:nvSpPr>
          <p:spPr>
            <a:xfrm>
              <a:off x="8679947" y="2210584"/>
              <a:ext cx="8963" cy="8963"/>
            </a:xfrm>
            <a:custGeom>
              <a:avLst/>
              <a:gdLst>
                <a:gd name="connsiteX0" fmla="*/ 10084 w 8963"/>
                <a:gd name="connsiteY0" fmla="*/ 672 h 8963"/>
                <a:gd name="connsiteX1" fmla="*/ 6947 w 8963"/>
                <a:gd name="connsiteY1" fmla="*/ 672 h 8963"/>
                <a:gd name="connsiteX2" fmla="*/ 672 w 8963"/>
                <a:gd name="connsiteY2" fmla="*/ 6947 h 8963"/>
                <a:gd name="connsiteX3" fmla="*/ 672 w 8963"/>
                <a:gd name="connsiteY3" fmla="*/ 10084 h 8963"/>
                <a:gd name="connsiteX4" fmla="*/ 2465 w 8963"/>
                <a:gd name="connsiteY4" fmla="*/ 10532 h 8963"/>
                <a:gd name="connsiteX5" fmla="*/ 4258 w 8963"/>
                <a:gd name="connsiteY5" fmla="*/ 10084 h 8963"/>
                <a:gd name="connsiteX6" fmla="*/ 10532 w 8963"/>
                <a:gd name="connsiteY6" fmla="*/ 3810 h 8963"/>
                <a:gd name="connsiteX7" fmla="*/ 10084 w 8963"/>
                <a:gd name="connsiteY7" fmla="*/ 67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10084" y="672"/>
                  </a:moveTo>
                  <a:cubicBezTo>
                    <a:pt x="9188" y="-224"/>
                    <a:pt x="7843" y="-224"/>
                    <a:pt x="6947" y="672"/>
                  </a:cubicBezTo>
                  <a:lnTo>
                    <a:pt x="672" y="6947"/>
                  </a:lnTo>
                  <a:cubicBezTo>
                    <a:pt x="-224" y="7843"/>
                    <a:pt x="-224" y="9188"/>
                    <a:pt x="672" y="10084"/>
                  </a:cubicBezTo>
                  <a:cubicBezTo>
                    <a:pt x="1120" y="10532"/>
                    <a:pt x="1569" y="10532"/>
                    <a:pt x="2465" y="10532"/>
                  </a:cubicBezTo>
                  <a:cubicBezTo>
                    <a:pt x="3361" y="10532"/>
                    <a:pt x="3809" y="10532"/>
                    <a:pt x="4258" y="10084"/>
                  </a:cubicBezTo>
                  <a:lnTo>
                    <a:pt x="10532" y="3810"/>
                  </a:lnTo>
                  <a:cubicBezTo>
                    <a:pt x="10980" y="2913"/>
                    <a:pt x="10980" y="1569"/>
                    <a:pt x="10084" y="672"/>
                  </a:cubicBezTo>
                  <a:close/>
                </a:path>
              </a:pathLst>
            </a:custGeom>
            <a:solidFill>
              <a:srgbClr val="231F20"/>
            </a:solidFill>
            <a:ln w="4477" cap="flat">
              <a:noFill/>
              <a:prstDash val="solid"/>
              <a:miter/>
            </a:ln>
          </p:spPr>
          <p:txBody>
            <a:bodyPr rtlCol="0" anchor="ctr"/>
            <a:lstStyle/>
            <a:p>
              <a:endParaRPr lang="en-US"/>
            </a:p>
          </p:txBody>
        </p:sp>
        <p:sp>
          <p:nvSpPr>
            <p:cNvPr id="2962" name="Freeform: Shape 2961">
              <a:extLst>
                <a:ext uri="{FF2B5EF4-FFF2-40B4-BE49-F238E27FC236}">
                  <a16:creationId xmlns:a16="http://schemas.microsoft.com/office/drawing/2014/main" id="{CF6AB73D-11BD-4BC7-BD6C-67DAF6E0CC57}"/>
                </a:ext>
              </a:extLst>
            </p:cNvPr>
            <p:cNvSpPr/>
            <p:nvPr/>
          </p:nvSpPr>
          <p:spPr>
            <a:xfrm>
              <a:off x="8674120" y="2228959"/>
              <a:ext cx="8963" cy="8963"/>
            </a:xfrm>
            <a:custGeom>
              <a:avLst/>
              <a:gdLst>
                <a:gd name="connsiteX0" fmla="*/ 2017 w 8963"/>
                <a:gd name="connsiteY0" fmla="*/ 10532 h 8963"/>
                <a:gd name="connsiteX1" fmla="*/ 3809 w 8963"/>
                <a:gd name="connsiteY1" fmla="*/ 10084 h 8963"/>
                <a:gd name="connsiteX2" fmla="*/ 10084 w 8963"/>
                <a:gd name="connsiteY2" fmla="*/ 3809 h 8963"/>
                <a:gd name="connsiteX3" fmla="*/ 10084 w 8963"/>
                <a:gd name="connsiteY3" fmla="*/ 672 h 8963"/>
                <a:gd name="connsiteX4" fmla="*/ 6947 w 8963"/>
                <a:gd name="connsiteY4" fmla="*/ 672 h 8963"/>
                <a:gd name="connsiteX5" fmla="*/ 672 w 8963"/>
                <a:gd name="connsiteY5" fmla="*/ 6947 h 8963"/>
                <a:gd name="connsiteX6" fmla="*/ 672 w 8963"/>
                <a:gd name="connsiteY6" fmla="*/ 10084 h 8963"/>
                <a:gd name="connsiteX7" fmla="*/ 2017 w 8963"/>
                <a:gd name="connsiteY7" fmla="*/ 1053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8963">
                  <a:moveTo>
                    <a:pt x="2017" y="10532"/>
                  </a:moveTo>
                  <a:cubicBezTo>
                    <a:pt x="2465" y="10532"/>
                    <a:pt x="3361" y="10532"/>
                    <a:pt x="3809" y="10084"/>
                  </a:cubicBezTo>
                  <a:lnTo>
                    <a:pt x="10084" y="3809"/>
                  </a:lnTo>
                  <a:cubicBezTo>
                    <a:pt x="10980" y="2913"/>
                    <a:pt x="10980" y="1569"/>
                    <a:pt x="10084" y="672"/>
                  </a:cubicBezTo>
                  <a:cubicBezTo>
                    <a:pt x="9188" y="-224"/>
                    <a:pt x="7843" y="-224"/>
                    <a:pt x="6947" y="672"/>
                  </a:cubicBezTo>
                  <a:lnTo>
                    <a:pt x="672" y="6947"/>
                  </a:lnTo>
                  <a:cubicBezTo>
                    <a:pt x="-224" y="7843"/>
                    <a:pt x="-224" y="9188"/>
                    <a:pt x="672" y="10084"/>
                  </a:cubicBezTo>
                  <a:cubicBezTo>
                    <a:pt x="672" y="10084"/>
                    <a:pt x="1569" y="10532"/>
                    <a:pt x="2017" y="10532"/>
                  </a:cubicBezTo>
                  <a:close/>
                </a:path>
              </a:pathLst>
            </a:custGeom>
            <a:solidFill>
              <a:srgbClr val="231F20"/>
            </a:solidFill>
            <a:ln w="4477" cap="flat">
              <a:noFill/>
              <a:prstDash val="solid"/>
              <a:miter/>
            </a:ln>
          </p:spPr>
          <p:txBody>
            <a:bodyPr rtlCol="0" anchor="ctr"/>
            <a:lstStyle/>
            <a:p>
              <a:endParaRPr lang="en-US"/>
            </a:p>
          </p:txBody>
        </p:sp>
      </p:grpSp>
      <p:grpSp>
        <p:nvGrpSpPr>
          <p:cNvPr id="2528" name="Group 2527">
            <a:extLst>
              <a:ext uri="{FF2B5EF4-FFF2-40B4-BE49-F238E27FC236}">
                <a16:creationId xmlns:a16="http://schemas.microsoft.com/office/drawing/2014/main" id="{2F23B567-0031-4F70-9AC5-51A28A1F2374}"/>
              </a:ext>
              <a:ext uri="{C183D7F6-B498-43B3-948B-1728B52AA6E4}">
                <adec:decorative xmlns:adec="http://schemas.microsoft.com/office/drawing/2017/decorative" val="1"/>
              </a:ext>
            </a:extLst>
          </p:cNvPr>
          <p:cNvGrpSpPr>
            <a:grpSpLocks noChangeAspect="1"/>
          </p:cNvGrpSpPr>
          <p:nvPr/>
        </p:nvGrpSpPr>
        <p:grpSpPr>
          <a:xfrm>
            <a:off x="6973508" y="4152664"/>
            <a:ext cx="112043" cy="179268"/>
            <a:chOff x="7030008" y="2096973"/>
            <a:chExt cx="112043" cy="179268"/>
          </a:xfrm>
        </p:grpSpPr>
        <p:sp>
          <p:nvSpPr>
            <p:cNvPr id="2951" name="Freeform: Shape 2950">
              <a:extLst>
                <a:ext uri="{FF2B5EF4-FFF2-40B4-BE49-F238E27FC236}">
                  <a16:creationId xmlns:a16="http://schemas.microsoft.com/office/drawing/2014/main" id="{752EED0B-D08D-411F-9D4E-2F53C217FE70}"/>
                </a:ext>
              </a:extLst>
            </p:cNvPr>
            <p:cNvSpPr/>
            <p:nvPr/>
          </p:nvSpPr>
          <p:spPr>
            <a:xfrm>
              <a:off x="7030008" y="2137308"/>
              <a:ext cx="112043" cy="138933"/>
            </a:xfrm>
            <a:custGeom>
              <a:avLst/>
              <a:gdLst>
                <a:gd name="connsiteX0" fmla="*/ 104872 w 112042"/>
                <a:gd name="connsiteY0" fmla="*/ 0 h 138932"/>
                <a:gd name="connsiteX1" fmla="*/ 8067 w 112042"/>
                <a:gd name="connsiteY1" fmla="*/ 0 h 138932"/>
                <a:gd name="connsiteX2" fmla="*/ 0 w 112042"/>
                <a:gd name="connsiteY2" fmla="*/ 8067 h 138932"/>
                <a:gd name="connsiteX3" fmla="*/ 0 w 112042"/>
                <a:gd name="connsiteY3" fmla="*/ 130866 h 138932"/>
                <a:gd name="connsiteX4" fmla="*/ 8067 w 112042"/>
                <a:gd name="connsiteY4" fmla="*/ 138933 h 138932"/>
                <a:gd name="connsiteX5" fmla="*/ 104872 w 112042"/>
                <a:gd name="connsiteY5" fmla="*/ 138933 h 138932"/>
                <a:gd name="connsiteX6" fmla="*/ 112939 w 112042"/>
                <a:gd name="connsiteY6" fmla="*/ 130866 h 138932"/>
                <a:gd name="connsiteX7" fmla="*/ 112939 w 112042"/>
                <a:gd name="connsiteY7" fmla="*/ 8067 h 138932"/>
                <a:gd name="connsiteX8" fmla="*/ 104872 w 112042"/>
                <a:gd name="connsiteY8" fmla="*/ 0 h 138932"/>
                <a:gd name="connsiteX9" fmla="*/ 8067 w 112042"/>
                <a:gd name="connsiteY9" fmla="*/ 4482 h 138932"/>
                <a:gd name="connsiteX10" fmla="*/ 104872 w 112042"/>
                <a:gd name="connsiteY10" fmla="*/ 4482 h 138932"/>
                <a:gd name="connsiteX11" fmla="*/ 108457 w 112042"/>
                <a:gd name="connsiteY11" fmla="*/ 8067 h 138932"/>
                <a:gd name="connsiteX12" fmla="*/ 108457 w 112042"/>
                <a:gd name="connsiteY12" fmla="*/ 60055 h 138932"/>
                <a:gd name="connsiteX13" fmla="*/ 4482 w 112042"/>
                <a:gd name="connsiteY13" fmla="*/ 60055 h 138932"/>
                <a:gd name="connsiteX14" fmla="*/ 4482 w 112042"/>
                <a:gd name="connsiteY14" fmla="*/ 8067 h 138932"/>
                <a:gd name="connsiteX15" fmla="*/ 8067 w 112042"/>
                <a:gd name="connsiteY15" fmla="*/ 4482 h 138932"/>
                <a:gd name="connsiteX16" fmla="*/ 40783 w 112042"/>
                <a:gd name="connsiteY16" fmla="*/ 106216 h 138932"/>
                <a:gd name="connsiteX17" fmla="*/ 40783 w 112042"/>
                <a:gd name="connsiteY17" fmla="*/ 95012 h 138932"/>
                <a:gd name="connsiteX18" fmla="*/ 73052 w 112042"/>
                <a:gd name="connsiteY18" fmla="*/ 95012 h 138932"/>
                <a:gd name="connsiteX19" fmla="*/ 73052 w 112042"/>
                <a:gd name="connsiteY19" fmla="*/ 106216 h 138932"/>
                <a:gd name="connsiteX20" fmla="*/ 58262 w 112042"/>
                <a:gd name="connsiteY20" fmla="*/ 121006 h 138932"/>
                <a:gd name="connsiteX21" fmla="*/ 55573 w 112042"/>
                <a:gd name="connsiteY21" fmla="*/ 121006 h 138932"/>
                <a:gd name="connsiteX22" fmla="*/ 40783 w 112042"/>
                <a:gd name="connsiteY22" fmla="*/ 106216 h 138932"/>
                <a:gd name="connsiteX23" fmla="*/ 77982 w 112042"/>
                <a:gd name="connsiteY23" fmla="*/ 97701 h 138932"/>
                <a:gd name="connsiteX24" fmla="*/ 85600 w 112042"/>
                <a:gd name="connsiteY24" fmla="*/ 100390 h 138932"/>
                <a:gd name="connsiteX25" fmla="*/ 77533 w 112042"/>
                <a:gd name="connsiteY25" fmla="*/ 109802 h 138932"/>
                <a:gd name="connsiteX26" fmla="*/ 77982 w 112042"/>
                <a:gd name="connsiteY26" fmla="*/ 106216 h 138932"/>
                <a:gd name="connsiteX27" fmla="*/ 77982 w 112042"/>
                <a:gd name="connsiteY27" fmla="*/ 97701 h 138932"/>
                <a:gd name="connsiteX28" fmla="*/ 74844 w 112042"/>
                <a:gd name="connsiteY28" fmla="*/ 116524 h 138932"/>
                <a:gd name="connsiteX29" fmla="*/ 77982 w 112042"/>
                <a:gd name="connsiteY29" fmla="*/ 114732 h 138932"/>
                <a:gd name="connsiteX30" fmla="*/ 89634 w 112042"/>
                <a:gd name="connsiteY30" fmla="*/ 99494 h 138932"/>
                <a:gd name="connsiteX31" fmla="*/ 77533 w 112042"/>
                <a:gd name="connsiteY31" fmla="*/ 93219 h 138932"/>
                <a:gd name="connsiteX32" fmla="*/ 77533 w 112042"/>
                <a:gd name="connsiteY32" fmla="*/ 92771 h 138932"/>
                <a:gd name="connsiteX33" fmla="*/ 75293 w 112042"/>
                <a:gd name="connsiteY33" fmla="*/ 90530 h 138932"/>
                <a:gd name="connsiteX34" fmla="*/ 38543 w 112042"/>
                <a:gd name="connsiteY34" fmla="*/ 90530 h 138932"/>
                <a:gd name="connsiteX35" fmla="*/ 36302 w 112042"/>
                <a:gd name="connsiteY35" fmla="*/ 92771 h 138932"/>
                <a:gd name="connsiteX36" fmla="*/ 36302 w 112042"/>
                <a:gd name="connsiteY36" fmla="*/ 106216 h 138932"/>
                <a:gd name="connsiteX37" fmla="*/ 43472 w 112042"/>
                <a:gd name="connsiteY37" fmla="*/ 121006 h 138932"/>
                <a:gd name="connsiteX38" fmla="*/ 4482 w 112042"/>
                <a:gd name="connsiteY38" fmla="*/ 121006 h 138932"/>
                <a:gd name="connsiteX39" fmla="*/ 4482 w 112042"/>
                <a:gd name="connsiteY39" fmla="*/ 64536 h 138932"/>
                <a:gd name="connsiteX40" fmla="*/ 39439 w 112042"/>
                <a:gd name="connsiteY40" fmla="*/ 64536 h 138932"/>
                <a:gd name="connsiteX41" fmla="*/ 39439 w 112042"/>
                <a:gd name="connsiteY41" fmla="*/ 75741 h 138932"/>
                <a:gd name="connsiteX42" fmla="*/ 41680 w 112042"/>
                <a:gd name="connsiteY42" fmla="*/ 77982 h 138932"/>
                <a:gd name="connsiteX43" fmla="*/ 46162 w 112042"/>
                <a:gd name="connsiteY43" fmla="*/ 77982 h 138932"/>
                <a:gd name="connsiteX44" fmla="*/ 46162 w 112042"/>
                <a:gd name="connsiteY44" fmla="*/ 84256 h 138932"/>
                <a:gd name="connsiteX45" fmla="*/ 48402 w 112042"/>
                <a:gd name="connsiteY45" fmla="*/ 86497 h 138932"/>
                <a:gd name="connsiteX46" fmla="*/ 50643 w 112042"/>
                <a:gd name="connsiteY46" fmla="*/ 84256 h 138932"/>
                <a:gd name="connsiteX47" fmla="*/ 50643 w 112042"/>
                <a:gd name="connsiteY47" fmla="*/ 77982 h 138932"/>
                <a:gd name="connsiteX48" fmla="*/ 62296 w 112042"/>
                <a:gd name="connsiteY48" fmla="*/ 77982 h 138932"/>
                <a:gd name="connsiteX49" fmla="*/ 62296 w 112042"/>
                <a:gd name="connsiteY49" fmla="*/ 84256 h 138932"/>
                <a:gd name="connsiteX50" fmla="*/ 64536 w 112042"/>
                <a:gd name="connsiteY50" fmla="*/ 86497 h 138932"/>
                <a:gd name="connsiteX51" fmla="*/ 66777 w 112042"/>
                <a:gd name="connsiteY51" fmla="*/ 84256 h 138932"/>
                <a:gd name="connsiteX52" fmla="*/ 66777 w 112042"/>
                <a:gd name="connsiteY52" fmla="*/ 77982 h 138932"/>
                <a:gd name="connsiteX53" fmla="*/ 71259 w 112042"/>
                <a:gd name="connsiteY53" fmla="*/ 77982 h 138932"/>
                <a:gd name="connsiteX54" fmla="*/ 73500 w 112042"/>
                <a:gd name="connsiteY54" fmla="*/ 75741 h 138932"/>
                <a:gd name="connsiteX55" fmla="*/ 73500 w 112042"/>
                <a:gd name="connsiteY55" fmla="*/ 64536 h 138932"/>
                <a:gd name="connsiteX56" fmla="*/ 108457 w 112042"/>
                <a:gd name="connsiteY56" fmla="*/ 64536 h 138932"/>
                <a:gd name="connsiteX57" fmla="*/ 108457 w 112042"/>
                <a:gd name="connsiteY57" fmla="*/ 121006 h 138932"/>
                <a:gd name="connsiteX58" fmla="*/ 70811 w 112042"/>
                <a:gd name="connsiteY58" fmla="*/ 121006 h 138932"/>
                <a:gd name="connsiteX59" fmla="*/ 74844 w 112042"/>
                <a:gd name="connsiteY59" fmla="*/ 116524 h 138932"/>
                <a:gd name="connsiteX60" fmla="*/ 69018 w 112042"/>
                <a:gd name="connsiteY60" fmla="*/ 64536 h 138932"/>
                <a:gd name="connsiteX61" fmla="*/ 69018 w 112042"/>
                <a:gd name="connsiteY61" fmla="*/ 73500 h 138932"/>
                <a:gd name="connsiteX62" fmla="*/ 44369 w 112042"/>
                <a:gd name="connsiteY62" fmla="*/ 73500 h 138932"/>
                <a:gd name="connsiteX63" fmla="*/ 44369 w 112042"/>
                <a:gd name="connsiteY63" fmla="*/ 64536 h 138932"/>
                <a:gd name="connsiteX64" fmla="*/ 69018 w 112042"/>
                <a:gd name="connsiteY64" fmla="*/ 64536 h 138932"/>
                <a:gd name="connsiteX65" fmla="*/ 104872 w 112042"/>
                <a:gd name="connsiteY65" fmla="*/ 134451 h 138932"/>
                <a:gd name="connsiteX66" fmla="*/ 8067 w 112042"/>
                <a:gd name="connsiteY66" fmla="*/ 134451 h 138932"/>
                <a:gd name="connsiteX67" fmla="*/ 4482 w 112042"/>
                <a:gd name="connsiteY67" fmla="*/ 130866 h 138932"/>
                <a:gd name="connsiteX68" fmla="*/ 4482 w 112042"/>
                <a:gd name="connsiteY68" fmla="*/ 125488 h 138932"/>
                <a:gd name="connsiteX69" fmla="*/ 55573 w 112042"/>
                <a:gd name="connsiteY69" fmla="*/ 125488 h 138932"/>
                <a:gd name="connsiteX70" fmla="*/ 58262 w 112042"/>
                <a:gd name="connsiteY70" fmla="*/ 125488 h 138932"/>
                <a:gd name="connsiteX71" fmla="*/ 108009 w 112042"/>
                <a:gd name="connsiteY71" fmla="*/ 125488 h 138932"/>
                <a:gd name="connsiteX72" fmla="*/ 108009 w 112042"/>
                <a:gd name="connsiteY72" fmla="*/ 130866 h 138932"/>
                <a:gd name="connsiteX73" fmla="*/ 104872 w 112042"/>
                <a:gd name="connsiteY73"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12042" h="138932">
                  <a:moveTo>
                    <a:pt x="104872" y="0"/>
                  </a:moveTo>
                  <a:lnTo>
                    <a:pt x="8067" y="0"/>
                  </a:lnTo>
                  <a:cubicBezTo>
                    <a:pt x="3585" y="0"/>
                    <a:pt x="0" y="3585"/>
                    <a:pt x="0" y="8067"/>
                  </a:cubicBezTo>
                  <a:lnTo>
                    <a:pt x="0" y="130866"/>
                  </a:lnTo>
                  <a:cubicBezTo>
                    <a:pt x="0" y="135347"/>
                    <a:pt x="3585" y="138933"/>
                    <a:pt x="8067" y="138933"/>
                  </a:cubicBezTo>
                  <a:lnTo>
                    <a:pt x="104872" y="138933"/>
                  </a:lnTo>
                  <a:cubicBezTo>
                    <a:pt x="109353" y="138933"/>
                    <a:pt x="112939" y="135347"/>
                    <a:pt x="112939" y="130866"/>
                  </a:cubicBezTo>
                  <a:lnTo>
                    <a:pt x="112939" y="8067"/>
                  </a:lnTo>
                  <a:cubicBezTo>
                    <a:pt x="112939" y="3585"/>
                    <a:pt x="109353" y="0"/>
                    <a:pt x="104872" y="0"/>
                  </a:cubicBezTo>
                  <a:close/>
                  <a:moveTo>
                    <a:pt x="8067" y="4482"/>
                  </a:moveTo>
                  <a:lnTo>
                    <a:pt x="104872" y="4482"/>
                  </a:lnTo>
                  <a:cubicBezTo>
                    <a:pt x="106665" y="4482"/>
                    <a:pt x="108457" y="6274"/>
                    <a:pt x="108457" y="8067"/>
                  </a:cubicBezTo>
                  <a:lnTo>
                    <a:pt x="108457" y="60055"/>
                  </a:lnTo>
                  <a:lnTo>
                    <a:pt x="4482" y="60055"/>
                  </a:lnTo>
                  <a:lnTo>
                    <a:pt x="4482" y="8067"/>
                  </a:lnTo>
                  <a:cubicBezTo>
                    <a:pt x="4482" y="6274"/>
                    <a:pt x="6274" y="4482"/>
                    <a:pt x="8067" y="4482"/>
                  </a:cubicBezTo>
                  <a:close/>
                  <a:moveTo>
                    <a:pt x="40783" y="106216"/>
                  </a:moveTo>
                  <a:lnTo>
                    <a:pt x="40783" y="95012"/>
                  </a:lnTo>
                  <a:lnTo>
                    <a:pt x="73052" y="95012"/>
                  </a:lnTo>
                  <a:lnTo>
                    <a:pt x="73052" y="106216"/>
                  </a:lnTo>
                  <a:cubicBezTo>
                    <a:pt x="73052" y="114283"/>
                    <a:pt x="66329" y="121006"/>
                    <a:pt x="58262" y="121006"/>
                  </a:cubicBezTo>
                  <a:lnTo>
                    <a:pt x="55573" y="121006"/>
                  </a:lnTo>
                  <a:cubicBezTo>
                    <a:pt x="47506" y="121006"/>
                    <a:pt x="40783" y="114732"/>
                    <a:pt x="40783" y="106216"/>
                  </a:cubicBezTo>
                  <a:close/>
                  <a:moveTo>
                    <a:pt x="77982" y="97701"/>
                  </a:moveTo>
                  <a:cubicBezTo>
                    <a:pt x="82911" y="97701"/>
                    <a:pt x="84704" y="98149"/>
                    <a:pt x="85600" y="100390"/>
                  </a:cubicBezTo>
                  <a:cubicBezTo>
                    <a:pt x="86497" y="104424"/>
                    <a:pt x="82911" y="107113"/>
                    <a:pt x="77533" y="109802"/>
                  </a:cubicBezTo>
                  <a:cubicBezTo>
                    <a:pt x="77533" y="108457"/>
                    <a:pt x="77982" y="107561"/>
                    <a:pt x="77982" y="106216"/>
                  </a:cubicBezTo>
                  <a:lnTo>
                    <a:pt x="77982" y="97701"/>
                  </a:lnTo>
                  <a:close/>
                  <a:moveTo>
                    <a:pt x="74844" y="116524"/>
                  </a:moveTo>
                  <a:cubicBezTo>
                    <a:pt x="75741" y="116076"/>
                    <a:pt x="76637" y="115180"/>
                    <a:pt x="77982" y="114732"/>
                  </a:cubicBezTo>
                  <a:cubicBezTo>
                    <a:pt x="83360" y="112043"/>
                    <a:pt x="91875" y="107561"/>
                    <a:pt x="89634" y="99494"/>
                  </a:cubicBezTo>
                  <a:cubicBezTo>
                    <a:pt x="87841" y="93219"/>
                    <a:pt x="82015" y="93219"/>
                    <a:pt x="77533" y="93219"/>
                  </a:cubicBezTo>
                  <a:lnTo>
                    <a:pt x="77533" y="92771"/>
                  </a:lnTo>
                  <a:cubicBezTo>
                    <a:pt x="77533" y="91427"/>
                    <a:pt x="76637" y="90530"/>
                    <a:pt x="75293" y="90530"/>
                  </a:cubicBezTo>
                  <a:lnTo>
                    <a:pt x="38543" y="90530"/>
                  </a:lnTo>
                  <a:cubicBezTo>
                    <a:pt x="37198" y="90530"/>
                    <a:pt x="36302" y="91427"/>
                    <a:pt x="36302" y="92771"/>
                  </a:cubicBezTo>
                  <a:lnTo>
                    <a:pt x="36302" y="106216"/>
                  </a:lnTo>
                  <a:cubicBezTo>
                    <a:pt x="36302" y="112043"/>
                    <a:pt x="38991" y="117421"/>
                    <a:pt x="43472" y="121006"/>
                  </a:cubicBezTo>
                  <a:lnTo>
                    <a:pt x="4482" y="121006"/>
                  </a:lnTo>
                  <a:lnTo>
                    <a:pt x="4482" y="64536"/>
                  </a:lnTo>
                  <a:lnTo>
                    <a:pt x="39439" y="64536"/>
                  </a:lnTo>
                  <a:lnTo>
                    <a:pt x="39439" y="75741"/>
                  </a:lnTo>
                  <a:cubicBezTo>
                    <a:pt x="39439" y="77085"/>
                    <a:pt x="40335" y="77982"/>
                    <a:pt x="41680" y="77982"/>
                  </a:cubicBezTo>
                  <a:lnTo>
                    <a:pt x="46162" y="77982"/>
                  </a:lnTo>
                  <a:lnTo>
                    <a:pt x="46162" y="84256"/>
                  </a:lnTo>
                  <a:cubicBezTo>
                    <a:pt x="46162" y="85601"/>
                    <a:pt x="47058" y="86497"/>
                    <a:pt x="48402" y="86497"/>
                  </a:cubicBezTo>
                  <a:cubicBezTo>
                    <a:pt x="49747" y="86497"/>
                    <a:pt x="50643" y="85601"/>
                    <a:pt x="50643" y="84256"/>
                  </a:cubicBezTo>
                  <a:lnTo>
                    <a:pt x="50643" y="77982"/>
                  </a:lnTo>
                  <a:lnTo>
                    <a:pt x="62296" y="77982"/>
                  </a:lnTo>
                  <a:lnTo>
                    <a:pt x="62296" y="84256"/>
                  </a:lnTo>
                  <a:cubicBezTo>
                    <a:pt x="62296" y="85601"/>
                    <a:pt x="63192" y="86497"/>
                    <a:pt x="64536" y="86497"/>
                  </a:cubicBezTo>
                  <a:cubicBezTo>
                    <a:pt x="65881" y="86497"/>
                    <a:pt x="66777" y="85601"/>
                    <a:pt x="66777" y="84256"/>
                  </a:cubicBezTo>
                  <a:lnTo>
                    <a:pt x="66777" y="77982"/>
                  </a:lnTo>
                  <a:lnTo>
                    <a:pt x="71259" y="77982"/>
                  </a:lnTo>
                  <a:cubicBezTo>
                    <a:pt x="72604" y="77982"/>
                    <a:pt x="73500" y="77085"/>
                    <a:pt x="73500" y="75741"/>
                  </a:cubicBezTo>
                  <a:lnTo>
                    <a:pt x="73500" y="64536"/>
                  </a:lnTo>
                  <a:lnTo>
                    <a:pt x="108457" y="64536"/>
                  </a:lnTo>
                  <a:lnTo>
                    <a:pt x="108457" y="121006"/>
                  </a:lnTo>
                  <a:lnTo>
                    <a:pt x="70811" y="121006"/>
                  </a:lnTo>
                  <a:cubicBezTo>
                    <a:pt x="72155" y="119662"/>
                    <a:pt x="73948" y="118317"/>
                    <a:pt x="74844" y="116524"/>
                  </a:cubicBezTo>
                  <a:close/>
                  <a:moveTo>
                    <a:pt x="69018" y="64536"/>
                  </a:moveTo>
                  <a:lnTo>
                    <a:pt x="69018" y="73500"/>
                  </a:lnTo>
                  <a:lnTo>
                    <a:pt x="44369" y="73500"/>
                  </a:lnTo>
                  <a:lnTo>
                    <a:pt x="44369" y="64536"/>
                  </a:lnTo>
                  <a:lnTo>
                    <a:pt x="69018" y="64536"/>
                  </a:lnTo>
                  <a:close/>
                  <a:moveTo>
                    <a:pt x="104872" y="134451"/>
                  </a:moveTo>
                  <a:lnTo>
                    <a:pt x="8067" y="134451"/>
                  </a:lnTo>
                  <a:cubicBezTo>
                    <a:pt x="6274" y="134451"/>
                    <a:pt x="4482" y="132658"/>
                    <a:pt x="4482" y="130866"/>
                  </a:cubicBezTo>
                  <a:lnTo>
                    <a:pt x="4482" y="125488"/>
                  </a:lnTo>
                  <a:lnTo>
                    <a:pt x="55573" y="125488"/>
                  </a:lnTo>
                  <a:lnTo>
                    <a:pt x="58262" y="125488"/>
                  </a:lnTo>
                  <a:lnTo>
                    <a:pt x="108009" y="125488"/>
                  </a:lnTo>
                  <a:lnTo>
                    <a:pt x="108009" y="130866"/>
                  </a:lnTo>
                  <a:cubicBezTo>
                    <a:pt x="108457" y="133107"/>
                    <a:pt x="107113" y="134451"/>
                    <a:pt x="104872" y="134451"/>
                  </a:cubicBezTo>
                  <a:close/>
                </a:path>
              </a:pathLst>
            </a:custGeom>
            <a:solidFill>
              <a:srgbClr val="231F20"/>
            </a:solidFill>
            <a:ln w="4477" cap="flat">
              <a:noFill/>
              <a:prstDash val="solid"/>
              <a:miter/>
            </a:ln>
          </p:spPr>
          <p:txBody>
            <a:bodyPr rtlCol="0" anchor="ctr"/>
            <a:lstStyle/>
            <a:p>
              <a:endParaRPr lang="en-US"/>
            </a:p>
          </p:txBody>
        </p:sp>
        <p:sp>
          <p:nvSpPr>
            <p:cNvPr id="2952" name="Freeform: Shape 2951">
              <a:extLst>
                <a:ext uri="{FF2B5EF4-FFF2-40B4-BE49-F238E27FC236}">
                  <a16:creationId xmlns:a16="http://schemas.microsoft.com/office/drawing/2014/main" id="{5247A1BD-7C7F-4AF4-BD30-0F8F123A1594}"/>
                </a:ext>
              </a:extLst>
            </p:cNvPr>
            <p:cNvSpPr/>
            <p:nvPr/>
          </p:nvSpPr>
          <p:spPr>
            <a:xfrm>
              <a:off x="7065862" y="2168680"/>
              <a:ext cx="40335" cy="13445"/>
            </a:xfrm>
            <a:custGeom>
              <a:avLst/>
              <a:gdLst>
                <a:gd name="connsiteX0" fmla="*/ 2241 w 40335"/>
                <a:gd name="connsiteY0" fmla="*/ 16582 h 13445"/>
                <a:gd name="connsiteX1" fmla="*/ 38991 w 40335"/>
                <a:gd name="connsiteY1" fmla="*/ 16582 h 13445"/>
                <a:gd name="connsiteX2" fmla="*/ 41232 w 40335"/>
                <a:gd name="connsiteY2" fmla="*/ 14341 h 13445"/>
                <a:gd name="connsiteX3" fmla="*/ 41232 w 40335"/>
                <a:gd name="connsiteY3" fmla="*/ 2241 h 13445"/>
                <a:gd name="connsiteX4" fmla="*/ 38991 w 40335"/>
                <a:gd name="connsiteY4" fmla="*/ 0 h 13445"/>
                <a:gd name="connsiteX5" fmla="*/ 2241 w 40335"/>
                <a:gd name="connsiteY5" fmla="*/ 0 h 13445"/>
                <a:gd name="connsiteX6" fmla="*/ 0 w 40335"/>
                <a:gd name="connsiteY6" fmla="*/ 2241 h 13445"/>
                <a:gd name="connsiteX7" fmla="*/ 0 w 40335"/>
                <a:gd name="connsiteY7" fmla="*/ 14341 h 13445"/>
                <a:gd name="connsiteX8" fmla="*/ 2241 w 40335"/>
                <a:gd name="connsiteY8" fmla="*/ 16582 h 13445"/>
                <a:gd name="connsiteX9" fmla="*/ 4482 w 40335"/>
                <a:gd name="connsiteY9" fmla="*/ 4482 h 13445"/>
                <a:gd name="connsiteX10" fmla="*/ 36750 w 40335"/>
                <a:gd name="connsiteY10" fmla="*/ 4482 h 13445"/>
                <a:gd name="connsiteX11" fmla="*/ 36750 w 40335"/>
                <a:gd name="connsiteY11" fmla="*/ 12101 h 13445"/>
                <a:gd name="connsiteX12" fmla="*/ 4482 w 40335"/>
                <a:gd name="connsiteY12" fmla="*/ 12101 h 13445"/>
                <a:gd name="connsiteX13" fmla="*/ 4482 w 40335"/>
                <a:gd name="connsiteY13"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5" h="13445">
                  <a:moveTo>
                    <a:pt x="2241" y="16582"/>
                  </a:moveTo>
                  <a:lnTo>
                    <a:pt x="38991" y="16582"/>
                  </a:lnTo>
                  <a:cubicBezTo>
                    <a:pt x="40335" y="16582"/>
                    <a:pt x="41232" y="15686"/>
                    <a:pt x="41232" y="14341"/>
                  </a:cubicBezTo>
                  <a:lnTo>
                    <a:pt x="41232" y="2241"/>
                  </a:lnTo>
                  <a:cubicBezTo>
                    <a:pt x="41232" y="896"/>
                    <a:pt x="40335" y="0"/>
                    <a:pt x="38991" y="0"/>
                  </a:cubicBezTo>
                  <a:lnTo>
                    <a:pt x="2241" y="0"/>
                  </a:lnTo>
                  <a:cubicBezTo>
                    <a:pt x="896" y="0"/>
                    <a:pt x="0" y="896"/>
                    <a:pt x="0" y="2241"/>
                  </a:cubicBezTo>
                  <a:lnTo>
                    <a:pt x="0" y="14341"/>
                  </a:lnTo>
                  <a:cubicBezTo>
                    <a:pt x="0" y="15686"/>
                    <a:pt x="896" y="16582"/>
                    <a:pt x="2241" y="16582"/>
                  </a:cubicBezTo>
                  <a:close/>
                  <a:moveTo>
                    <a:pt x="4482" y="4482"/>
                  </a:moveTo>
                  <a:lnTo>
                    <a:pt x="36750" y="4482"/>
                  </a:lnTo>
                  <a:lnTo>
                    <a:pt x="36750" y="12101"/>
                  </a:lnTo>
                  <a:lnTo>
                    <a:pt x="4482" y="12101"/>
                  </a:lnTo>
                  <a:lnTo>
                    <a:pt x="4482" y="4482"/>
                  </a:lnTo>
                  <a:close/>
                </a:path>
              </a:pathLst>
            </a:custGeom>
            <a:solidFill>
              <a:srgbClr val="231F20"/>
            </a:solidFill>
            <a:ln w="4477" cap="flat">
              <a:noFill/>
              <a:prstDash val="solid"/>
              <a:miter/>
            </a:ln>
          </p:spPr>
          <p:txBody>
            <a:bodyPr rtlCol="0" anchor="ctr"/>
            <a:lstStyle/>
            <a:p>
              <a:endParaRPr lang="en-US"/>
            </a:p>
          </p:txBody>
        </p:sp>
        <p:sp>
          <p:nvSpPr>
            <p:cNvPr id="2953" name="Freeform: Shape 2952">
              <a:extLst>
                <a:ext uri="{FF2B5EF4-FFF2-40B4-BE49-F238E27FC236}">
                  <a16:creationId xmlns:a16="http://schemas.microsoft.com/office/drawing/2014/main" id="{EB3EA96F-5607-4D80-9086-261092807551}"/>
                </a:ext>
              </a:extLst>
            </p:cNvPr>
            <p:cNvSpPr/>
            <p:nvPr/>
          </p:nvSpPr>
          <p:spPr>
            <a:xfrm>
              <a:off x="7065862" y="2187951"/>
              <a:ext cx="40335" cy="4482"/>
            </a:xfrm>
            <a:custGeom>
              <a:avLst/>
              <a:gdLst>
                <a:gd name="connsiteX0" fmla="*/ 2241 w 40335"/>
                <a:gd name="connsiteY0" fmla="*/ 4482 h 4481"/>
                <a:gd name="connsiteX1" fmla="*/ 38991 w 40335"/>
                <a:gd name="connsiteY1" fmla="*/ 4482 h 4481"/>
                <a:gd name="connsiteX2" fmla="*/ 41232 w 40335"/>
                <a:gd name="connsiteY2" fmla="*/ 2241 h 4481"/>
                <a:gd name="connsiteX3" fmla="*/ 38991 w 40335"/>
                <a:gd name="connsiteY3" fmla="*/ 0 h 4481"/>
                <a:gd name="connsiteX4" fmla="*/ 2241 w 40335"/>
                <a:gd name="connsiteY4" fmla="*/ 0 h 4481"/>
                <a:gd name="connsiteX5" fmla="*/ 0 w 40335"/>
                <a:gd name="connsiteY5" fmla="*/ 2241 h 4481"/>
                <a:gd name="connsiteX6" fmla="*/ 2241 w 40335"/>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5" h="4481">
                  <a:moveTo>
                    <a:pt x="2241" y="4482"/>
                  </a:moveTo>
                  <a:lnTo>
                    <a:pt x="38991" y="4482"/>
                  </a:lnTo>
                  <a:cubicBezTo>
                    <a:pt x="40335" y="4482"/>
                    <a:pt x="41232" y="3585"/>
                    <a:pt x="41232" y="2241"/>
                  </a:cubicBezTo>
                  <a:cubicBezTo>
                    <a:pt x="41232" y="896"/>
                    <a:pt x="40335" y="0"/>
                    <a:pt x="38991"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954" name="Freeform: Shape 2953">
              <a:extLst>
                <a:ext uri="{FF2B5EF4-FFF2-40B4-BE49-F238E27FC236}">
                  <a16:creationId xmlns:a16="http://schemas.microsoft.com/office/drawing/2014/main" id="{9B4C9FEC-DE8B-4449-944A-91620249CDE8}"/>
                </a:ext>
              </a:extLst>
            </p:cNvPr>
            <p:cNvSpPr/>
            <p:nvPr/>
          </p:nvSpPr>
          <p:spPr>
            <a:xfrm>
              <a:off x="7079307" y="2120278"/>
              <a:ext cx="13445" cy="13445"/>
            </a:xfrm>
            <a:custGeom>
              <a:avLst/>
              <a:gdLst>
                <a:gd name="connsiteX0" fmla="*/ 0 w 13445"/>
                <a:gd name="connsiteY0" fmla="*/ 7619 h 13445"/>
                <a:gd name="connsiteX1" fmla="*/ 7619 w 13445"/>
                <a:gd name="connsiteY1" fmla="*/ 15238 h 13445"/>
                <a:gd name="connsiteX2" fmla="*/ 15238 w 13445"/>
                <a:gd name="connsiteY2" fmla="*/ 7619 h 13445"/>
                <a:gd name="connsiteX3" fmla="*/ 7619 w 13445"/>
                <a:gd name="connsiteY3" fmla="*/ 0 h 13445"/>
                <a:gd name="connsiteX4" fmla="*/ 0 w 13445"/>
                <a:gd name="connsiteY4" fmla="*/ 7619 h 13445"/>
                <a:gd name="connsiteX5" fmla="*/ 10308 w 13445"/>
                <a:gd name="connsiteY5" fmla="*/ 7619 h 13445"/>
                <a:gd name="connsiteX6" fmla="*/ 7171 w 13445"/>
                <a:gd name="connsiteY6" fmla="*/ 10756 h 13445"/>
                <a:gd name="connsiteX7" fmla="*/ 4034 w 13445"/>
                <a:gd name="connsiteY7" fmla="*/ 7619 h 13445"/>
                <a:gd name="connsiteX8" fmla="*/ 7171 w 13445"/>
                <a:gd name="connsiteY8" fmla="*/ 4482 h 13445"/>
                <a:gd name="connsiteX9" fmla="*/ 10308 w 13445"/>
                <a:gd name="connsiteY9" fmla="*/ 7619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0" y="7619"/>
                  </a:moveTo>
                  <a:cubicBezTo>
                    <a:pt x="0" y="11652"/>
                    <a:pt x="3137" y="15238"/>
                    <a:pt x="7619" y="15238"/>
                  </a:cubicBezTo>
                  <a:cubicBezTo>
                    <a:pt x="12101" y="15238"/>
                    <a:pt x="15238" y="12101"/>
                    <a:pt x="15238" y="7619"/>
                  </a:cubicBezTo>
                  <a:cubicBezTo>
                    <a:pt x="15238" y="3585"/>
                    <a:pt x="12101" y="0"/>
                    <a:pt x="7619" y="0"/>
                  </a:cubicBezTo>
                  <a:cubicBezTo>
                    <a:pt x="3137" y="0"/>
                    <a:pt x="0" y="3585"/>
                    <a:pt x="0" y="7619"/>
                  </a:cubicBezTo>
                  <a:close/>
                  <a:moveTo>
                    <a:pt x="10308" y="7619"/>
                  </a:moveTo>
                  <a:cubicBezTo>
                    <a:pt x="10308" y="9412"/>
                    <a:pt x="8963" y="10756"/>
                    <a:pt x="7171" y="10756"/>
                  </a:cubicBezTo>
                  <a:cubicBezTo>
                    <a:pt x="5378" y="10756"/>
                    <a:pt x="4034" y="9412"/>
                    <a:pt x="4034" y="7619"/>
                  </a:cubicBezTo>
                  <a:cubicBezTo>
                    <a:pt x="4034" y="5826"/>
                    <a:pt x="5378" y="4482"/>
                    <a:pt x="7171" y="4482"/>
                  </a:cubicBezTo>
                  <a:cubicBezTo>
                    <a:pt x="8963" y="4482"/>
                    <a:pt x="10308" y="6274"/>
                    <a:pt x="10308" y="7619"/>
                  </a:cubicBezTo>
                  <a:close/>
                </a:path>
              </a:pathLst>
            </a:custGeom>
            <a:solidFill>
              <a:srgbClr val="231F20"/>
            </a:solidFill>
            <a:ln w="4477" cap="flat">
              <a:noFill/>
              <a:prstDash val="solid"/>
              <a:miter/>
            </a:ln>
          </p:spPr>
          <p:txBody>
            <a:bodyPr rtlCol="0" anchor="ctr"/>
            <a:lstStyle/>
            <a:p>
              <a:endParaRPr lang="en-US"/>
            </a:p>
          </p:txBody>
        </p:sp>
        <p:sp>
          <p:nvSpPr>
            <p:cNvPr id="2955" name="Freeform: Shape 2954">
              <a:extLst>
                <a:ext uri="{FF2B5EF4-FFF2-40B4-BE49-F238E27FC236}">
                  <a16:creationId xmlns:a16="http://schemas.microsoft.com/office/drawing/2014/main" id="{D7F266DA-3F37-4053-9BFB-92D229E7D901}"/>
                </a:ext>
              </a:extLst>
            </p:cNvPr>
            <p:cNvSpPr/>
            <p:nvPr/>
          </p:nvSpPr>
          <p:spPr>
            <a:xfrm>
              <a:off x="7068374" y="2109073"/>
              <a:ext cx="35854" cy="8963"/>
            </a:xfrm>
            <a:custGeom>
              <a:avLst/>
              <a:gdLst>
                <a:gd name="connsiteX0" fmla="*/ 35582 w 35853"/>
                <a:gd name="connsiteY0" fmla="*/ 11204 h 8963"/>
                <a:gd name="connsiteX1" fmla="*/ 35582 w 35853"/>
                <a:gd name="connsiteY1" fmla="*/ 8067 h 8963"/>
                <a:gd name="connsiteX2" fmla="*/ 18103 w 35853"/>
                <a:gd name="connsiteY2" fmla="*/ 0 h 8963"/>
                <a:gd name="connsiteX3" fmla="*/ 625 w 35853"/>
                <a:gd name="connsiteY3" fmla="*/ 8067 h 8963"/>
                <a:gd name="connsiteX4" fmla="*/ 1073 w 35853"/>
                <a:gd name="connsiteY4" fmla="*/ 11204 h 8963"/>
                <a:gd name="connsiteX5" fmla="*/ 2417 w 35853"/>
                <a:gd name="connsiteY5" fmla="*/ 11652 h 8963"/>
                <a:gd name="connsiteX6" fmla="*/ 4210 w 35853"/>
                <a:gd name="connsiteY6" fmla="*/ 10756 h 8963"/>
                <a:gd name="connsiteX7" fmla="*/ 18103 w 35853"/>
                <a:gd name="connsiteY7" fmla="*/ 4482 h 8963"/>
                <a:gd name="connsiteX8" fmla="*/ 31997 w 35853"/>
                <a:gd name="connsiteY8" fmla="*/ 10756 h 8963"/>
                <a:gd name="connsiteX9" fmla="*/ 35582 w 35853"/>
                <a:gd name="connsiteY9" fmla="*/ 11204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8963">
                  <a:moveTo>
                    <a:pt x="35582" y="11204"/>
                  </a:moveTo>
                  <a:cubicBezTo>
                    <a:pt x="36478" y="10308"/>
                    <a:pt x="36478" y="8963"/>
                    <a:pt x="35582" y="8067"/>
                  </a:cubicBezTo>
                  <a:cubicBezTo>
                    <a:pt x="31100" y="3137"/>
                    <a:pt x="24826" y="0"/>
                    <a:pt x="18103" y="0"/>
                  </a:cubicBezTo>
                  <a:cubicBezTo>
                    <a:pt x="11381" y="0"/>
                    <a:pt x="5106" y="3137"/>
                    <a:pt x="625" y="8067"/>
                  </a:cubicBezTo>
                  <a:cubicBezTo>
                    <a:pt x="-272" y="8963"/>
                    <a:pt x="-272" y="10308"/>
                    <a:pt x="1073" y="11204"/>
                  </a:cubicBezTo>
                  <a:cubicBezTo>
                    <a:pt x="1521" y="11652"/>
                    <a:pt x="1969" y="11652"/>
                    <a:pt x="2417" y="11652"/>
                  </a:cubicBezTo>
                  <a:cubicBezTo>
                    <a:pt x="2866" y="11652"/>
                    <a:pt x="3762" y="11204"/>
                    <a:pt x="4210" y="10756"/>
                  </a:cubicBezTo>
                  <a:cubicBezTo>
                    <a:pt x="7795" y="6723"/>
                    <a:pt x="12725" y="4482"/>
                    <a:pt x="18103" y="4482"/>
                  </a:cubicBezTo>
                  <a:cubicBezTo>
                    <a:pt x="23481" y="4482"/>
                    <a:pt x="28411" y="6723"/>
                    <a:pt x="31997" y="10756"/>
                  </a:cubicBezTo>
                  <a:cubicBezTo>
                    <a:pt x="32893" y="11652"/>
                    <a:pt x="34237" y="11652"/>
                    <a:pt x="35582" y="11204"/>
                  </a:cubicBezTo>
                  <a:close/>
                </a:path>
              </a:pathLst>
            </a:custGeom>
            <a:solidFill>
              <a:srgbClr val="231F20"/>
            </a:solidFill>
            <a:ln w="4477" cap="flat">
              <a:noFill/>
              <a:prstDash val="solid"/>
              <a:miter/>
            </a:ln>
          </p:spPr>
          <p:txBody>
            <a:bodyPr rtlCol="0" anchor="ctr"/>
            <a:lstStyle/>
            <a:p>
              <a:endParaRPr lang="en-US"/>
            </a:p>
          </p:txBody>
        </p:sp>
        <p:sp>
          <p:nvSpPr>
            <p:cNvPr id="2956" name="Freeform: Shape 2955">
              <a:extLst>
                <a:ext uri="{FF2B5EF4-FFF2-40B4-BE49-F238E27FC236}">
                  <a16:creationId xmlns:a16="http://schemas.microsoft.com/office/drawing/2014/main" id="{BAFA9955-AA1E-48EE-B5DE-CB549185B6C7}"/>
                </a:ext>
              </a:extLst>
            </p:cNvPr>
            <p:cNvSpPr/>
            <p:nvPr/>
          </p:nvSpPr>
          <p:spPr>
            <a:xfrm>
              <a:off x="7061340" y="2096973"/>
              <a:ext cx="49299" cy="13445"/>
            </a:xfrm>
            <a:custGeom>
              <a:avLst/>
              <a:gdLst>
                <a:gd name="connsiteX0" fmla="*/ 2281 w 49298"/>
                <a:gd name="connsiteY0" fmla="*/ 16134 h 13445"/>
                <a:gd name="connsiteX1" fmla="*/ 4074 w 49298"/>
                <a:gd name="connsiteY1" fmla="*/ 15238 h 13445"/>
                <a:gd name="connsiteX2" fmla="*/ 25138 w 49298"/>
                <a:gd name="connsiteY2" fmla="*/ 4482 h 13445"/>
                <a:gd name="connsiteX3" fmla="*/ 46202 w 49298"/>
                <a:gd name="connsiteY3" fmla="*/ 14790 h 13445"/>
                <a:gd name="connsiteX4" fmla="*/ 49339 w 49298"/>
                <a:gd name="connsiteY4" fmla="*/ 15238 h 13445"/>
                <a:gd name="connsiteX5" fmla="*/ 49787 w 49298"/>
                <a:gd name="connsiteY5" fmla="*/ 12101 h 13445"/>
                <a:gd name="connsiteX6" fmla="*/ 25138 w 49298"/>
                <a:gd name="connsiteY6" fmla="*/ 0 h 13445"/>
                <a:gd name="connsiteX7" fmla="*/ 489 w 49298"/>
                <a:gd name="connsiteY7" fmla="*/ 12549 h 13445"/>
                <a:gd name="connsiteX8" fmla="*/ 937 w 49298"/>
                <a:gd name="connsiteY8" fmla="*/ 15686 h 13445"/>
                <a:gd name="connsiteX9" fmla="*/ 2281 w 49298"/>
                <a:gd name="connsiteY9" fmla="*/ 16134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2281" y="16134"/>
                  </a:moveTo>
                  <a:cubicBezTo>
                    <a:pt x="3178" y="16134"/>
                    <a:pt x="3626" y="15686"/>
                    <a:pt x="4074" y="15238"/>
                  </a:cubicBezTo>
                  <a:cubicBezTo>
                    <a:pt x="9004" y="8515"/>
                    <a:pt x="16623" y="4482"/>
                    <a:pt x="25138" y="4482"/>
                  </a:cubicBezTo>
                  <a:cubicBezTo>
                    <a:pt x="33205" y="4482"/>
                    <a:pt x="40824" y="8067"/>
                    <a:pt x="46202" y="14790"/>
                  </a:cubicBezTo>
                  <a:cubicBezTo>
                    <a:pt x="47098" y="15686"/>
                    <a:pt x="48443" y="16134"/>
                    <a:pt x="49339" y="15238"/>
                  </a:cubicBezTo>
                  <a:cubicBezTo>
                    <a:pt x="50235" y="14341"/>
                    <a:pt x="50684" y="12997"/>
                    <a:pt x="49787" y="12101"/>
                  </a:cubicBezTo>
                  <a:cubicBezTo>
                    <a:pt x="43961" y="4482"/>
                    <a:pt x="34998" y="0"/>
                    <a:pt x="25138" y="0"/>
                  </a:cubicBezTo>
                  <a:cubicBezTo>
                    <a:pt x="15278" y="0"/>
                    <a:pt x="6315" y="4482"/>
                    <a:pt x="489" y="12549"/>
                  </a:cubicBezTo>
                  <a:cubicBezTo>
                    <a:pt x="-408" y="13445"/>
                    <a:pt x="40" y="14790"/>
                    <a:pt x="937" y="15686"/>
                  </a:cubicBezTo>
                  <a:cubicBezTo>
                    <a:pt x="1385" y="16134"/>
                    <a:pt x="1833" y="16134"/>
                    <a:pt x="2281" y="16134"/>
                  </a:cubicBezTo>
                  <a:close/>
                </a:path>
              </a:pathLst>
            </a:custGeom>
            <a:solidFill>
              <a:srgbClr val="231F20"/>
            </a:solidFill>
            <a:ln w="4477" cap="flat">
              <a:noFill/>
              <a:prstDash val="solid"/>
              <a:miter/>
            </a:ln>
          </p:spPr>
          <p:txBody>
            <a:bodyPr rtlCol="0" anchor="ctr"/>
            <a:lstStyle/>
            <a:p>
              <a:endParaRPr lang="en-US"/>
            </a:p>
          </p:txBody>
        </p:sp>
      </p:grpSp>
      <p:grpSp>
        <p:nvGrpSpPr>
          <p:cNvPr id="2529" name="Group 2528">
            <a:extLst>
              <a:ext uri="{FF2B5EF4-FFF2-40B4-BE49-F238E27FC236}">
                <a16:creationId xmlns:a16="http://schemas.microsoft.com/office/drawing/2014/main" id="{CE4A544A-B015-4FA3-B400-B1CE677B3D05}"/>
              </a:ext>
              <a:ext uri="{C183D7F6-B498-43B3-948B-1728B52AA6E4}">
                <adec:decorative xmlns:adec="http://schemas.microsoft.com/office/drawing/2017/decorative" val="1"/>
              </a:ext>
            </a:extLst>
          </p:cNvPr>
          <p:cNvGrpSpPr>
            <a:grpSpLocks noChangeAspect="1"/>
          </p:cNvGrpSpPr>
          <p:nvPr/>
        </p:nvGrpSpPr>
        <p:grpSpPr>
          <a:xfrm>
            <a:off x="6683542" y="5213035"/>
            <a:ext cx="152378" cy="152826"/>
            <a:chOff x="6740042" y="3157344"/>
            <a:chExt cx="152378" cy="152826"/>
          </a:xfrm>
        </p:grpSpPr>
        <p:sp>
          <p:nvSpPr>
            <p:cNvPr id="2945" name="Freeform: Shape 2944">
              <a:extLst>
                <a:ext uri="{FF2B5EF4-FFF2-40B4-BE49-F238E27FC236}">
                  <a16:creationId xmlns:a16="http://schemas.microsoft.com/office/drawing/2014/main" id="{A9E8403F-232B-455A-BE73-4D24CC0746BB}"/>
                </a:ext>
              </a:extLst>
            </p:cNvPr>
            <p:cNvSpPr/>
            <p:nvPr/>
          </p:nvSpPr>
          <p:spPr>
            <a:xfrm>
              <a:off x="6780377" y="3198127"/>
              <a:ext cx="71707" cy="112043"/>
            </a:xfrm>
            <a:custGeom>
              <a:avLst/>
              <a:gdLst>
                <a:gd name="connsiteX0" fmla="*/ 56021 w 71707"/>
                <a:gd name="connsiteY0" fmla="*/ 0 h 112042"/>
                <a:gd name="connsiteX1" fmla="*/ 15686 w 71707"/>
                <a:gd name="connsiteY1" fmla="*/ 0 h 112042"/>
                <a:gd name="connsiteX2" fmla="*/ 0 w 71707"/>
                <a:gd name="connsiteY2" fmla="*/ 15686 h 112042"/>
                <a:gd name="connsiteX3" fmla="*/ 0 w 71707"/>
                <a:gd name="connsiteY3" fmla="*/ 56469 h 112042"/>
                <a:gd name="connsiteX4" fmla="*/ 6723 w 71707"/>
                <a:gd name="connsiteY4" fmla="*/ 63192 h 112042"/>
                <a:gd name="connsiteX5" fmla="*/ 13445 w 71707"/>
                <a:gd name="connsiteY5" fmla="*/ 63192 h 112042"/>
                <a:gd name="connsiteX6" fmla="*/ 13445 w 71707"/>
                <a:gd name="connsiteY6" fmla="*/ 105320 h 112042"/>
                <a:gd name="connsiteX7" fmla="*/ 20168 w 71707"/>
                <a:gd name="connsiteY7" fmla="*/ 112043 h 112042"/>
                <a:gd name="connsiteX8" fmla="*/ 51540 w 71707"/>
                <a:gd name="connsiteY8" fmla="*/ 112043 h 112042"/>
                <a:gd name="connsiteX9" fmla="*/ 58262 w 71707"/>
                <a:gd name="connsiteY9" fmla="*/ 105320 h 112042"/>
                <a:gd name="connsiteX10" fmla="*/ 58262 w 71707"/>
                <a:gd name="connsiteY10" fmla="*/ 63192 h 112042"/>
                <a:gd name="connsiteX11" fmla="*/ 64985 w 71707"/>
                <a:gd name="connsiteY11" fmla="*/ 63192 h 112042"/>
                <a:gd name="connsiteX12" fmla="*/ 71707 w 71707"/>
                <a:gd name="connsiteY12" fmla="*/ 56469 h 112042"/>
                <a:gd name="connsiteX13" fmla="*/ 71707 w 71707"/>
                <a:gd name="connsiteY13" fmla="*/ 15686 h 112042"/>
                <a:gd name="connsiteX14" fmla="*/ 56021 w 71707"/>
                <a:gd name="connsiteY14" fmla="*/ 0 h 112042"/>
                <a:gd name="connsiteX15" fmla="*/ 67226 w 71707"/>
                <a:gd name="connsiteY15" fmla="*/ 56469 h 112042"/>
                <a:gd name="connsiteX16" fmla="*/ 64985 w 71707"/>
                <a:gd name="connsiteY16" fmla="*/ 58710 h 112042"/>
                <a:gd name="connsiteX17" fmla="*/ 58262 w 71707"/>
                <a:gd name="connsiteY17" fmla="*/ 58710 h 112042"/>
                <a:gd name="connsiteX18" fmla="*/ 58262 w 71707"/>
                <a:gd name="connsiteY18" fmla="*/ 21960 h 112042"/>
                <a:gd name="connsiteX19" fmla="*/ 56021 w 71707"/>
                <a:gd name="connsiteY19" fmla="*/ 19719 h 112042"/>
                <a:gd name="connsiteX20" fmla="*/ 53780 w 71707"/>
                <a:gd name="connsiteY20" fmla="*/ 21960 h 112042"/>
                <a:gd name="connsiteX21" fmla="*/ 53780 w 71707"/>
                <a:gd name="connsiteY21" fmla="*/ 104872 h 112042"/>
                <a:gd name="connsiteX22" fmla="*/ 51540 w 71707"/>
                <a:gd name="connsiteY22" fmla="*/ 107113 h 112042"/>
                <a:gd name="connsiteX23" fmla="*/ 38094 w 71707"/>
                <a:gd name="connsiteY23" fmla="*/ 107113 h 112042"/>
                <a:gd name="connsiteX24" fmla="*/ 38094 w 71707"/>
                <a:gd name="connsiteY24" fmla="*/ 60503 h 112042"/>
                <a:gd name="connsiteX25" fmla="*/ 35854 w 71707"/>
                <a:gd name="connsiteY25" fmla="*/ 58262 h 112042"/>
                <a:gd name="connsiteX26" fmla="*/ 33613 w 71707"/>
                <a:gd name="connsiteY26" fmla="*/ 60503 h 112042"/>
                <a:gd name="connsiteX27" fmla="*/ 33613 w 71707"/>
                <a:gd name="connsiteY27" fmla="*/ 107113 h 112042"/>
                <a:gd name="connsiteX28" fmla="*/ 20168 w 71707"/>
                <a:gd name="connsiteY28" fmla="*/ 107113 h 112042"/>
                <a:gd name="connsiteX29" fmla="*/ 17927 w 71707"/>
                <a:gd name="connsiteY29" fmla="*/ 104872 h 112042"/>
                <a:gd name="connsiteX30" fmla="*/ 17927 w 71707"/>
                <a:gd name="connsiteY30" fmla="*/ 21960 h 112042"/>
                <a:gd name="connsiteX31" fmla="*/ 15686 w 71707"/>
                <a:gd name="connsiteY31" fmla="*/ 19719 h 112042"/>
                <a:gd name="connsiteX32" fmla="*/ 13445 w 71707"/>
                <a:gd name="connsiteY32" fmla="*/ 21960 h 112042"/>
                <a:gd name="connsiteX33" fmla="*/ 13445 w 71707"/>
                <a:gd name="connsiteY33" fmla="*/ 58710 h 112042"/>
                <a:gd name="connsiteX34" fmla="*/ 6723 w 71707"/>
                <a:gd name="connsiteY34" fmla="*/ 58710 h 112042"/>
                <a:gd name="connsiteX35" fmla="*/ 4482 w 71707"/>
                <a:gd name="connsiteY35" fmla="*/ 56469 h 112042"/>
                <a:gd name="connsiteX36" fmla="*/ 4482 w 71707"/>
                <a:gd name="connsiteY36" fmla="*/ 15686 h 112042"/>
                <a:gd name="connsiteX37" fmla="*/ 15686 w 71707"/>
                <a:gd name="connsiteY37" fmla="*/ 4482 h 112042"/>
                <a:gd name="connsiteX38" fmla="*/ 56021 w 71707"/>
                <a:gd name="connsiteY38" fmla="*/ 4482 h 112042"/>
                <a:gd name="connsiteX39" fmla="*/ 67226 w 71707"/>
                <a:gd name="connsiteY39" fmla="*/ 15686 h 112042"/>
                <a:gd name="connsiteX40" fmla="*/ 67226 w 71707"/>
                <a:gd name="connsiteY40" fmla="*/ 5646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12042">
                  <a:moveTo>
                    <a:pt x="56021" y="0"/>
                  </a:moveTo>
                  <a:lnTo>
                    <a:pt x="15686" y="0"/>
                  </a:lnTo>
                  <a:cubicBezTo>
                    <a:pt x="7171" y="0"/>
                    <a:pt x="0" y="7171"/>
                    <a:pt x="0" y="15686"/>
                  </a:cubicBezTo>
                  <a:lnTo>
                    <a:pt x="0" y="56469"/>
                  </a:lnTo>
                  <a:cubicBezTo>
                    <a:pt x="0" y="60055"/>
                    <a:pt x="3137" y="63192"/>
                    <a:pt x="6723" y="63192"/>
                  </a:cubicBezTo>
                  <a:lnTo>
                    <a:pt x="13445" y="63192"/>
                  </a:lnTo>
                  <a:lnTo>
                    <a:pt x="13445" y="105320"/>
                  </a:lnTo>
                  <a:cubicBezTo>
                    <a:pt x="13445" y="108905"/>
                    <a:pt x="16582" y="112043"/>
                    <a:pt x="20168" y="112043"/>
                  </a:cubicBezTo>
                  <a:lnTo>
                    <a:pt x="51540" y="112043"/>
                  </a:lnTo>
                  <a:cubicBezTo>
                    <a:pt x="55125" y="112043"/>
                    <a:pt x="58262" y="108905"/>
                    <a:pt x="58262" y="105320"/>
                  </a:cubicBezTo>
                  <a:lnTo>
                    <a:pt x="58262" y="63192"/>
                  </a:lnTo>
                  <a:lnTo>
                    <a:pt x="64985" y="63192"/>
                  </a:lnTo>
                  <a:cubicBezTo>
                    <a:pt x="68570" y="63192"/>
                    <a:pt x="71707" y="60055"/>
                    <a:pt x="71707" y="56469"/>
                  </a:cubicBezTo>
                  <a:lnTo>
                    <a:pt x="71707" y="15686"/>
                  </a:lnTo>
                  <a:cubicBezTo>
                    <a:pt x="71707" y="7171"/>
                    <a:pt x="64537" y="0"/>
                    <a:pt x="56021" y="0"/>
                  </a:cubicBezTo>
                  <a:close/>
                  <a:moveTo>
                    <a:pt x="67226" y="56469"/>
                  </a:moveTo>
                  <a:cubicBezTo>
                    <a:pt x="67226" y="57814"/>
                    <a:pt x="66329" y="58710"/>
                    <a:pt x="64985" y="58710"/>
                  </a:cubicBezTo>
                  <a:lnTo>
                    <a:pt x="58262" y="58710"/>
                  </a:lnTo>
                  <a:lnTo>
                    <a:pt x="58262" y="21960"/>
                  </a:lnTo>
                  <a:cubicBezTo>
                    <a:pt x="58262" y="20616"/>
                    <a:pt x="57366" y="19719"/>
                    <a:pt x="56021" y="19719"/>
                  </a:cubicBezTo>
                  <a:cubicBezTo>
                    <a:pt x="54677" y="19719"/>
                    <a:pt x="53780" y="20616"/>
                    <a:pt x="53780" y="21960"/>
                  </a:cubicBezTo>
                  <a:lnTo>
                    <a:pt x="53780" y="104872"/>
                  </a:lnTo>
                  <a:cubicBezTo>
                    <a:pt x="53780" y="106216"/>
                    <a:pt x="52884" y="107113"/>
                    <a:pt x="51540" y="107113"/>
                  </a:cubicBezTo>
                  <a:lnTo>
                    <a:pt x="38094" y="107113"/>
                  </a:lnTo>
                  <a:lnTo>
                    <a:pt x="38094" y="60503"/>
                  </a:lnTo>
                  <a:cubicBezTo>
                    <a:pt x="38094" y="59158"/>
                    <a:pt x="37198" y="58262"/>
                    <a:pt x="35854" y="58262"/>
                  </a:cubicBezTo>
                  <a:cubicBezTo>
                    <a:pt x="34509" y="58262"/>
                    <a:pt x="33613" y="59158"/>
                    <a:pt x="33613" y="60503"/>
                  </a:cubicBezTo>
                  <a:lnTo>
                    <a:pt x="33613" y="107113"/>
                  </a:lnTo>
                  <a:lnTo>
                    <a:pt x="20168" y="107113"/>
                  </a:lnTo>
                  <a:cubicBezTo>
                    <a:pt x="18823" y="107113"/>
                    <a:pt x="17927" y="106216"/>
                    <a:pt x="17927" y="104872"/>
                  </a:cubicBezTo>
                  <a:lnTo>
                    <a:pt x="17927" y="21960"/>
                  </a:lnTo>
                  <a:cubicBezTo>
                    <a:pt x="17927" y="20616"/>
                    <a:pt x="17030" y="19719"/>
                    <a:pt x="15686" y="19719"/>
                  </a:cubicBezTo>
                  <a:cubicBezTo>
                    <a:pt x="14341" y="19719"/>
                    <a:pt x="13445" y="20616"/>
                    <a:pt x="13445" y="21960"/>
                  </a:cubicBezTo>
                  <a:lnTo>
                    <a:pt x="13445" y="58710"/>
                  </a:lnTo>
                  <a:lnTo>
                    <a:pt x="6723" y="58710"/>
                  </a:lnTo>
                  <a:cubicBezTo>
                    <a:pt x="5378" y="58710"/>
                    <a:pt x="4482" y="57814"/>
                    <a:pt x="4482" y="56469"/>
                  </a:cubicBezTo>
                  <a:lnTo>
                    <a:pt x="4482" y="15686"/>
                  </a:lnTo>
                  <a:cubicBezTo>
                    <a:pt x="4482" y="9411"/>
                    <a:pt x="9412" y="4482"/>
                    <a:pt x="15686" y="4482"/>
                  </a:cubicBezTo>
                  <a:lnTo>
                    <a:pt x="56021" y="4482"/>
                  </a:lnTo>
                  <a:cubicBezTo>
                    <a:pt x="62296" y="4482"/>
                    <a:pt x="67226" y="9411"/>
                    <a:pt x="67226" y="15686"/>
                  </a:cubicBezTo>
                  <a:lnTo>
                    <a:pt x="67226" y="56469"/>
                  </a:lnTo>
                  <a:close/>
                </a:path>
              </a:pathLst>
            </a:custGeom>
            <a:solidFill>
              <a:srgbClr val="231F20"/>
            </a:solidFill>
            <a:ln w="4477" cap="flat">
              <a:noFill/>
              <a:prstDash val="solid"/>
              <a:miter/>
            </a:ln>
          </p:spPr>
          <p:txBody>
            <a:bodyPr rtlCol="0" anchor="ctr"/>
            <a:lstStyle/>
            <a:p>
              <a:endParaRPr lang="en-US"/>
            </a:p>
          </p:txBody>
        </p:sp>
        <p:sp>
          <p:nvSpPr>
            <p:cNvPr id="2946" name="Freeform: Shape 2945">
              <a:extLst>
                <a:ext uri="{FF2B5EF4-FFF2-40B4-BE49-F238E27FC236}">
                  <a16:creationId xmlns:a16="http://schemas.microsoft.com/office/drawing/2014/main" id="{9B7F1315-6877-4600-A9E5-B7B2D77E78C0}"/>
                </a:ext>
              </a:extLst>
            </p:cNvPr>
            <p:cNvSpPr/>
            <p:nvPr/>
          </p:nvSpPr>
          <p:spPr>
            <a:xfrm>
              <a:off x="6798752" y="3157344"/>
              <a:ext cx="31372" cy="31372"/>
            </a:xfrm>
            <a:custGeom>
              <a:avLst/>
              <a:gdLst>
                <a:gd name="connsiteX0" fmla="*/ 17479 w 31371"/>
                <a:gd name="connsiteY0" fmla="*/ 34957 h 31371"/>
                <a:gd name="connsiteX1" fmla="*/ 34957 w 31371"/>
                <a:gd name="connsiteY1" fmla="*/ 17479 h 31371"/>
                <a:gd name="connsiteX2" fmla="*/ 17479 w 31371"/>
                <a:gd name="connsiteY2" fmla="*/ 0 h 31371"/>
                <a:gd name="connsiteX3" fmla="*/ 0 w 31371"/>
                <a:gd name="connsiteY3" fmla="*/ 17479 h 31371"/>
                <a:gd name="connsiteX4" fmla="*/ 17479 w 31371"/>
                <a:gd name="connsiteY4" fmla="*/ 34957 h 31371"/>
                <a:gd name="connsiteX5" fmla="*/ 17479 w 31371"/>
                <a:gd name="connsiteY5" fmla="*/ 4930 h 31371"/>
                <a:gd name="connsiteX6" fmla="*/ 30476 w 31371"/>
                <a:gd name="connsiteY6" fmla="*/ 17927 h 31371"/>
                <a:gd name="connsiteX7" fmla="*/ 17479 w 31371"/>
                <a:gd name="connsiteY7" fmla="*/ 30924 h 31371"/>
                <a:gd name="connsiteX8" fmla="*/ 4482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26890" y="34957"/>
                    <a:pt x="34957" y="27338"/>
                    <a:pt x="34957" y="17479"/>
                  </a:cubicBezTo>
                  <a:cubicBezTo>
                    <a:pt x="34957" y="8067"/>
                    <a:pt x="27338" y="0"/>
                    <a:pt x="17479" y="0"/>
                  </a:cubicBezTo>
                  <a:cubicBezTo>
                    <a:pt x="8067" y="0"/>
                    <a:pt x="0" y="7619"/>
                    <a:pt x="0" y="17479"/>
                  </a:cubicBezTo>
                  <a:cubicBezTo>
                    <a:pt x="0" y="27338"/>
                    <a:pt x="8067" y="34957"/>
                    <a:pt x="17479" y="34957"/>
                  </a:cubicBezTo>
                  <a:close/>
                  <a:moveTo>
                    <a:pt x="17479" y="4930"/>
                  </a:moveTo>
                  <a:cubicBezTo>
                    <a:pt x="24649" y="4930"/>
                    <a:pt x="30476" y="10756"/>
                    <a:pt x="30476" y="17927"/>
                  </a:cubicBezTo>
                  <a:cubicBezTo>
                    <a:pt x="30476" y="25098"/>
                    <a:pt x="24649" y="30924"/>
                    <a:pt x="17479" y="30924"/>
                  </a:cubicBezTo>
                  <a:cubicBezTo>
                    <a:pt x="10308" y="30924"/>
                    <a:pt x="4482" y="25098"/>
                    <a:pt x="4482" y="17927"/>
                  </a:cubicBezTo>
                  <a:cubicBezTo>
                    <a:pt x="4482" y="10756"/>
                    <a:pt x="10308" y="4930"/>
                    <a:pt x="17479" y="4930"/>
                  </a:cubicBezTo>
                  <a:close/>
                </a:path>
              </a:pathLst>
            </a:custGeom>
            <a:solidFill>
              <a:srgbClr val="231F20"/>
            </a:solidFill>
            <a:ln w="4477" cap="flat">
              <a:noFill/>
              <a:prstDash val="solid"/>
              <a:miter/>
            </a:ln>
          </p:spPr>
          <p:txBody>
            <a:bodyPr rtlCol="0" anchor="ctr"/>
            <a:lstStyle/>
            <a:p>
              <a:endParaRPr lang="en-US"/>
            </a:p>
          </p:txBody>
        </p:sp>
        <p:sp>
          <p:nvSpPr>
            <p:cNvPr id="2947" name="Freeform: Shape 2946">
              <a:extLst>
                <a:ext uri="{FF2B5EF4-FFF2-40B4-BE49-F238E27FC236}">
                  <a16:creationId xmlns:a16="http://schemas.microsoft.com/office/drawing/2014/main" id="{810D9ECE-904A-4F4A-9421-31968216649B}"/>
                </a:ext>
              </a:extLst>
            </p:cNvPr>
            <p:cNvSpPr/>
            <p:nvPr/>
          </p:nvSpPr>
          <p:spPr>
            <a:xfrm>
              <a:off x="6740042" y="3278350"/>
              <a:ext cx="31372" cy="31372"/>
            </a:xfrm>
            <a:custGeom>
              <a:avLst/>
              <a:gdLst>
                <a:gd name="connsiteX0" fmla="*/ 30476 w 31371"/>
                <a:gd name="connsiteY0" fmla="*/ 896 h 31371"/>
                <a:gd name="connsiteX1" fmla="*/ 27338 w 31371"/>
                <a:gd name="connsiteY1" fmla="*/ 896 h 31371"/>
                <a:gd name="connsiteX2" fmla="*/ 4482 w 31371"/>
                <a:gd name="connsiteY2" fmla="*/ 23753 h 31371"/>
                <a:gd name="connsiteX3" fmla="*/ 4482 w 31371"/>
                <a:gd name="connsiteY3" fmla="*/ 2241 h 31371"/>
                <a:gd name="connsiteX4" fmla="*/ 2241 w 31371"/>
                <a:gd name="connsiteY4" fmla="*/ 0 h 31371"/>
                <a:gd name="connsiteX5" fmla="*/ 0 w 31371"/>
                <a:gd name="connsiteY5" fmla="*/ 2241 h 31371"/>
                <a:gd name="connsiteX6" fmla="*/ 0 w 31371"/>
                <a:gd name="connsiteY6" fmla="*/ 29131 h 31371"/>
                <a:gd name="connsiteX7" fmla="*/ 0 w 31371"/>
                <a:gd name="connsiteY7" fmla="*/ 30027 h 31371"/>
                <a:gd name="connsiteX8" fmla="*/ 1345 w 31371"/>
                <a:gd name="connsiteY8" fmla="*/ 31372 h 31371"/>
                <a:gd name="connsiteX9" fmla="*/ 2241 w 31371"/>
                <a:gd name="connsiteY9" fmla="*/ 31372 h 31371"/>
                <a:gd name="connsiteX10" fmla="*/ 29131 w 31371"/>
                <a:gd name="connsiteY10" fmla="*/ 31372 h 31371"/>
                <a:gd name="connsiteX11" fmla="*/ 31372 w 31371"/>
                <a:gd name="connsiteY11" fmla="*/ 29131 h 31371"/>
                <a:gd name="connsiteX12" fmla="*/ 29131 w 31371"/>
                <a:gd name="connsiteY12" fmla="*/ 26890 h 31371"/>
                <a:gd name="connsiteX13" fmla="*/ 7619 w 31371"/>
                <a:gd name="connsiteY13" fmla="*/ 26890 h 31371"/>
                <a:gd name="connsiteX14" fmla="*/ 30476 w 31371"/>
                <a:gd name="connsiteY14" fmla="*/ 4034 h 31371"/>
                <a:gd name="connsiteX15" fmla="*/ 30476 w 31371"/>
                <a:gd name="connsiteY15" fmla="*/ 89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71" h="31371">
                  <a:moveTo>
                    <a:pt x="30476" y="896"/>
                  </a:moveTo>
                  <a:cubicBezTo>
                    <a:pt x="29579" y="0"/>
                    <a:pt x="28235" y="0"/>
                    <a:pt x="27338" y="896"/>
                  </a:cubicBezTo>
                  <a:lnTo>
                    <a:pt x="4482" y="23753"/>
                  </a:lnTo>
                  <a:lnTo>
                    <a:pt x="4482" y="2241"/>
                  </a:lnTo>
                  <a:cubicBezTo>
                    <a:pt x="4482" y="896"/>
                    <a:pt x="3585" y="0"/>
                    <a:pt x="2241" y="0"/>
                  </a:cubicBezTo>
                  <a:cubicBezTo>
                    <a:pt x="896" y="0"/>
                    <a:pt x="0" y="896"/>
                    <a:pt x="0" y="2241"/>
                  </a:cubicBezTo>
                  <a:lnTo>
                    <a:pt x="0" y="29131"/>
                  </a:lnTo>
                  <a:cubicBezTo>
                    <a:pt x="0" y="29579"/>
                    <a:pt x="0" y="29579"/>
                    <a:pt x="0" y="30027"/>
                  </a:cubicBezTo>
                  <a:cubicBezTo>
                    <a:pt x="448" y="30476"/>
                    <a:pt x="448" y="30924"/>
                    <a:pt x="1345" y="31372"/>
                  </a:cubicBezTo>
                  <a:cubicBezTo>
                    <a:pt x="1793" y="31372"/>
                    <a:pt x="1793" y="31372"/>
                    <a:pt x="2241" y="31372"/>
                  </a:cubicBezTo>
                  <a:lnTo>
                    <a:pt x="29131" y="31372"/>
                  </a:lnTo>
                  <a:cubicBezTo>
                    <a:pt x="30476" y="31372"/>
                    <a:pt x="31372" y="30476"/>
                    <a:pt x="31372" y="29131"/>
                  </a:cubicBezTo>
                  <a:cubicBezTo>
                    <a:pt x="31372" y="27786"/>
                    <a:pt x="30476" y="26890"/>
                    <a:pt x="29131" y="26890"/>
                  </a:cubicBezTo>
                  <a:lnTo>
                    <a:pt x="7619" y="26890"/>
                  </a:lnTo>
                  <a:lnTo>
                    <a:pt x="30476" y="4034"/>
                  </a:lnTo>
                  <a:cubicBezTo>
                    <a:pt x="31372" y="3585"/>
                    <a:pt x="31372" y="1793"/>
                    <a:pt x="30476" y="896"/>
                  </a:cubicBezTo>
                  <a:close/>
                </a:path>
              </a:pathLst>
            </a:custGeom>
            <a:solidFill>
              <a:srgbClr val="231F20"/>
            </a:solidFill>
            <a:ln w="4477" cap="flat">
              <a:noFill/>
              <a:prstDash val="solid"/>
              <a:miter/>
            </a:ln>
          </p:spPr>
          <p:txBody>
            <a:bodyPr rtlCol="0" anchor="ctr"/>
            <a:lstStyle/>
            <a:p>
              <a:endParaRPr lang="en-US"/>
            </a:p>
          </p:txBody>
        </p:sp>
        <p:sp>
          <p:nvSpPr>
            <p:cNvPr id="2948" name="Freeform: Shape 2947">
              <a:extLst>
                <a:ext uri="{FF2B5EF4-FFF2-40B4-BE49-F238E27FC236}">
                  <a16:creationId xmlns:a16="http://schemas.microsoft.com/office/drawing/2014/main" id="{71B77250-13B7-43C5-8F19-5D6B02455B11}"/>
                </a:ext>
              </a:extLst>
            </p:cNvPr>
            <p:cNvSpPr/>
            <p:nvPr/>
          </p:nvSpPr>
          <p:spPr>
            <a:xfrm>
              <a:off x="6860600" y="3157792"/>
              <a:ext cx="31372" cy="31372"/>
            </a:xfrm>
            <a:custGeom>
              <a:avLst/>
              <a:gdLst>
                <a:gd name="connsiteX0" fmla="*/ 31372 w 31371"/>
                <a:gd name="connsiteY0" fmla="*/ 1344 h 31371"/>
                <a:gd name="connsiteX1" fmla="*/ 30027 w 31371"/>
                <a:gd name="connsiteY1" fmla="*/ 0 h 31371"/>
                <a:gd name="connsiteX2" fmla="*/ 29131 w 31371"/>
                <a:gd name="connsiteY2" fmla="*/ 0 h 31371"/>
                <a:gd name="connsiteX3" fmla="*/ 29131 w 31371"/>
                <a:gd name="connsiteY3" fmla="*/ 0 h 31371"/>
                <a:gd name="connsiteX4" fmla="*/ 2241 w 31371"/>
                <a:gd name="connsiteY4" fmla="*/ 0 h 31371"/>
                <a:gd name="connsiteX5" fmla="*/ 0 w 31371"/>
                <a:gd name="connsiteY5" fmla="*/ 2241 h 31371"/>
                <a:gd name="connsiteX6" fmla="*/ 2241 w 31371"/>
                <a:gd name="connsiteY6" fmla="*/ 4482 h 31371"/>
                <a:gd name="connsiteX7" fmla="*/ 23753 w 31371"/>
                <a:gd name="connsiteY7" fmla="*/ 4482 h 31371"/>
                <a:gd name="connsiteX8" fmla="*/ 896 w 31371"/>
                <a:gd name="connsiteY8" fmla="*/ 27338 h 31371"/>
                <a:gd name="connsiteX9" fmla="*/ 896 w 31371"/>
                <a:gd name="connsiteY9" fmla="*/ 30476 h 31371"/>
                <a:gd name="connsiteX10" fmla="*/ 2689 w 31371"/>
                <a:gd name="connsiteY10" fmla="*/ 30924 h 31371"/>
                <a:gd name="connsiteX11" fmla="*/ 4482 w 31371"/>
                <a:gd name="connsiteY11" fmla="*/ 30476 h 31371"/>
                <a:gd name="connsiteX12" fmla="*/ 27338 w 31371"/>
                <a:gd name="connsiteY12" fmla="*/ 7619 h 31371"/>
                <a:gd name="connsiteX13" fmla="*/ 27338 w 31371"/>
                <a:gd name="connsiteY13" fmla="*/ 29131 h 31371"/>
                <a:gd name="connsiteX14" fmla="*/ 29579 w 31371"/>
                <a:gd name="connsiteY14" fmla="*/ 31372 h 31371"/>
                <a:gd name="connsiteX15" fmla="*/ 31820 w 31371"/>
                <a:gd name="connsiteY15" fmla="*/ 29131 h 31371"/>
                <a:gd name="connsiteX16" fmla="*/ 31820 w 31371"/>
                <a:gd name="connsiteY16" fmla="*/ 2241 h 31371"/>
                <a:gd name="connsiteX17" fmla="*/ 31820 w 31371"/>
                <a:gd name="connsiteY17" fmla="*/ 2241 h 31371"/>
                <a:gd name="connsiteX18" fmla="*/ 31372 w 31371"/>
                <a:gd name="connsiteY18" fmla="*/ 1344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71" h="31371">
                  <a:moveTo>
                    <a:pt x="31372" y="1344"/>
                  </a:moveTo>
                  <a:cubicBezTo>
                    <a:pt x="30924" y="896"/>
                    <a:pt x="30924" y="448"/>
                    <a:pt x="30027" y="0"/>
                  </a:cubicBezTo>
                  <a:cubicBezTo>
                    <a:pt x="29579" y="0"/>
                    <a:pt x="29579" y="0"/>
                    <a:pt x="29131" y="0"/>
                  </a:cubicBezTo>
                  <a:cubicBezTo>
                    <a:pt x="29131" y="0"/>
                    <a:pt x="29131" y="0"/>
                    <a:pt x="29131" y="0"/>
                  </a:cubicBezTo>
                  <a:lnTo>
                    <a:pt x="2241" y="0"/>
                  </a:lnTo>
                  <a:cubicBezTo>
                    <a:pt x="896" y="0"/>
                    <a:pt x="0" y="896"/>
                    <a:pt x="0" y="2241"/>
                  </a:cubicBezTo>
                  <a:cubicBezTo>
                    <a:pt x="0" y="3585"/>
                    <a:pt x="896" y="4482"/>
                    <a:pt x="2241" y="4482"/>
                  </a:cubicBezTo>
                  <a:lnTo>
                    <a:pt x="23753" y="4482"/>
                  </a:lnTo>
                  <a:lnTo>
                    <a:pt x="896" y="27338"/>
                  </a:lnTo>
                  <a:cubicBezTo>
                    <a:pt x="0" y="28235"/>
                    <a:pt x="0" y="29579"/>
                    <a:pt x="896" y="30476"/>
                  </a:cubicBezTo>
                  <a:cubicBezTo>
                    <a:pt x="1345" y="30924"/>
                    <a:pt x="1793" y="30924"/>
                    <a:pt x="2689" y="30924"/>
                  </a:cubicBezTo>
                  <a:cubicBezTo>
                    <a:pt x="3585" y="30924"/>
                    <a:pt x="4034" y="30924"/>
                    <a:pt x="4482" y="30476"/>
                  </a:cubicBezTo>
                  <a:lnTo>
                    <a:pt x="27338" y="7619"/>
                  </a:lnTo>
                  <a:lnTo>
                    <a:pt x="27338" y="29131"/>
                  </a:lnTo>
                  <a:cubicBezTo>
                    <a:pt x="27338" y="30476"/>
                    <a:pt x="28235" y="31372"/>
                    <a:pt x="29579" y="31372"/>
                  </a:cubicBezTo>
                  <a:cubicBezTo>
                    <a:pt x="30924" y="31372"/>
                    <a:pt x="31820" y="30476"/>
                    <a:pt x="31820" y="29131"/>
                  </a:cubicBezTo>
                  <a:lnTo>
                    <a:pt x="31820" y="2241"/>
                  </a:lnTo>
                  <a:lnTo>
                    <a:pt x="31820" y="2241"/>
                  </a:lnTo>
                  <a:cubicBezTo>
                    <a:pt x="31820" y="1793"/>
                    <a:pt x="31820" y="1793"/>
                    <a:pt x="31372" y="1344"/>
                  </a:cubicBezTo>
                  <a:close/>
                </a:path>
              </a:pathLst>
            </a:custGeom>
            <a:solidFill>
              <a:srgbClr val="231F20"/>
            </a:solidFill>
            <a:ln w="4477" cap="flat">
              <a:noFill/>
              <a:prstDash val="solid"/>
              <a:miter/>
            </a:ln>
          </p:spPr>
          <p:txBody>
            <a:bodyPr rtlCol="0" anchor="ctr"/>
            <a:lstStyle/>
            <a:p>
              <a:endParaRPr lang="en-US"/>
            </a:p>
          </p:txBody>
        </p:sp>
        <p:sp>
          <p:nvSpPr>
            <p:cNvPr id="2949" name="Freeform: Shape 2948">
              <a:extLst>
                <a:ext uri="{FF2B5EF4-FFF2-40B4-BE49-F238E27FC236}">
                  <a16:creationId xmlns:a16="http://schemas.microsoft.com/office/drawing/2014/main" id="{1920E052-E573-4024-8135-A4C7FBD9FEDC}"/>
                </a:ext>
              </a:extLst>
            </p:cNvPr>
            <p:cNvSpPr/>
            <p:nvPr/>
          </p:nvSpPr>
          <p:spPr>
            <a:xfrm>
              <a:off x="6861048" y="3278798"/>
              <a:ext cx="31372" cy="31372"/>
            </a:xfrm>
            <a:custGeom>
              <a:avLst/>
              <a:gdLst>
                <a:gd name="connsiteX0" fmla="*/ 29131 w 31371"/>
                <a:gd name="connsiteY0" fmla="*/ 0 h 31371"/>
                <a:gd name="connsiteX1" fmla="*/ 26890 w 31371"/>
                <a:gd name="connsiteY1" fmla="*/ 2241 h 31371"/>
                <a:gd name="connsiteX2" fmla="*/ 26890 w 31371"/>
                <a:gd name="connsiteY2" fmla="*/ 23753 h 31371"/>
                <a:gd name="connsiteX3" fmla="*/ 4034 w 31371"/>
                <a:gd name="connsiteY3" fmla="*/ 896 h 31371"/>
                <a:gd name="connsiteX4" fmla="*/ 896 w 31371"/>
                <a:gd name="connsiteY4" fmla="*/ 896 h 31371"/>
                <a:gd name="connsiteX5" fmla="*/ 896 w 31371"/>
                <a:gd name="connsiteY5" fmla="*/ 4034 h 31371"/>
                <a:gd name="connsiteX6" fmla="*/ 23753 w 31371"/>
                <a:gd name="connsiteY6" fmla="*/ 26890 h 31371"/>
                <a:gd name="connsiteX7" fmla="*/ 2241 w 31371"/>
                <a:gd name="connsiteY7" fmla="*/ 26890 h 31371"/>
                <a:gd name="connsiteX8" fmla="*/ 0 w 31371"/>
                <a:gd name="connsiteY8" fmla="*/ 29131 h 31371"/>
                <a:gd name="connsiteX9" fmla="*/ 2241 w 31371"/>
                <a:gd name="connsiteY9" fmla="*/ 31372 h 31371"/>
                <a:gd name="connsiteX10" fmla="*/ 29131 w 31371"/>
                <a:gd name="connsiteY10" fmla="*/ 31372 h 31371"/>
                <a:gd name="connsiteX11" fmla="*/ 30027 w 31371"/>
                <a:gd name="connsiteY11" fmla="*/ 31372 h 31371"/>
                <a:gd name="connsiteX12" fmla="*/ 31372 w 31371"/>
                <a:gd name="connsiteY12" fmla="*/ 30027 h 31371"/>
                <a:gd name="connsiteX13" fmla="*/ 31372 w 31371"/>
                <a:gd name="connsiteY13" fmla="*/ 29131 h 31371"/>
                <a:gd name="connsiteX14" fmla="*/ 31372 w 31371"/>
                <a:gd name="connsiteY14" fmla="*/ 2241 h 31371"/>
                <a:gd name="connsiteX15" fmla="*/ 29131 w 31371"/>
                <a:gd name="connsiteY15" fmla="*/ 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71" h="31371">
                  <a:moveTo>
                    <a:pt x="29131" y="0"/>
                  </a:moveTo>
                  <a:cubicBezTo>
                    <a:pt x="27787" y="0"/>
                    <a:pt x="26890" y="896"/>
                    <a:pt x="26890" y="2241"/>
                  </a:cubicBezTo>
                  <a:lnTo>
                    <a:pt x="26890" y="23753"/>
                  </a:lnTo>
                  <a:lnTo>
                    <a:pt x="4034" y="896"/>
                  </a:lnTo>
                  <a:cubicBezTo>
                    <a:pt x="3137" y="0"/>
                    <a:pt x="1793" y="0"/>
                    <a:pt x="896" y="896"/>
                  </a:cubicBezTo>
                  <a:cubicBezTo>
                    <a:pt x="0" y="1793"/>
                    <a:pt x="0" y="3137"/>
                    <a:pt x="896" y="4034"/>
                  </a:cubicBezTo>
                  <a:lnTo>
                    <a:pt x="23753" y="26890"/>
                  </a:lnTo>
                  <a:lnTo>
                    <a:pt x="2241" y="26890"/>
                  </a:lnTo>
                  <a:cubicBezTo>
                    <a:pt x="896" y="26890"/>
                    <a:pt x="0" y="27786"/>
                    <a:pt x="0" y="29131"/>
                  </a:cubicBezTo>
                  <a:cubicBezTo>
                    <a:pt x="0" y="30476"/>
                    <a:pt x="896" y="31372"/>
                    <a:pt x="2241" y="31372"/>
                  </a:cubicBezTo>
                  <a:lnTo>
                    <a:pt x="29131" y="31372"/>
                  </a:lnTo>
                  <a:cubicBezTo>
                    <a:pt x="29579" y="31372"/>
                    <a:pt x="29579" y="31372"/>
                    <a:pt x="30027" y="31372"/>
                  </a:cubicBezTo>
                  <a:cubicBezTo>
                    <a:pt x="30476" y="30924"/>
                    <a:pt x="30924" y="30924"/>
                    <a:pt x="31372" y="30027"/>
                  </a:cubicBezTo>
                  <a:cubicBezTo>
                    <a:pt x="31372" y="29579"/>
                    <a:pt x="31372" y="29579"/>
                    <a:pt x="31372" y="29131"/>
                  </a:cubicBezTo>
                  <a:lnTo>
                    <a:pt x="31372" y="2241"/>
                  </a:ln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950" name="Freeform: Shape 2949">
              <a:extLst>
                <a:ext uri="{FF2B5EF4-FFF2-40B4-BE49-F238E27FC236}">
                  <a16:creationId xmlns:a16="http://schemas.microsoft.com/office/drawing/2014/main" id="{81544F86-953F-478B-B55B-FC42DE26B6B8}"/>
                </a:ext>
              </a:extLst>
            </p:cNvPr>
            <p:cNvSpPr/>
            <p:nvPr/>
          </p:nvSpPr>
          <p:spPr>
            <a:xfrm>
              <a:off x="6740042" y="3157792"/>
              <a:ext cx="31372" cy="31372"/>
            </a:xfrm>
            <a:custGeom>
              <a:avLst/>
              <a:gdLst>
                <a:gd name="connsiteX0" fmla="*/ 31372 w 31371"/>
                <a:gd name="connsiteY0" fmla="*/ 2241 h 31371"/>
                <a:gd name="connsiteX1" fmla="*/ 29131 w 31371"/>
                <a:gd name="connsiteY1" fmla="*/ 0 h 31371"/>
                <a:gd name="connsiteX2" fmla="*/ 2241 w 31371"/>
                <a:gd name="connsiteY2" fmla="*/ 0 h 31371"/>
                <a:gd name="connsiteX3" fmla="*/ 1345 w 31371"/>
                <a:gd name="connsiteY3" fmla="*/ 0 h 31371"/>
                <a:gd name="connsiteX4" fmla="*/ 0 w 31371"/>
                <a:gd name="connsiteY4" fmla="*/ 1344 h 31371"/>
                <a:gd name="connsiteX5" fmla="*/ 0 w 31371"/>
                <a:gd name="connsiteY5" fmla="*/ 2241 h 31371"/>
                <a:gd name="connsiteX6" fmla="*/ 0 w 31371"/>
                <a:gd name="connsiteY6" fmla="*/ 29131 h 31371"/>
                <a:gd name="connsiteX7" fmla="*/ 2241 w 31371"/>
                <a:gd name="connsiteY7" fmla="*/ 31372 h 31371"/>
                <a:gd name="connsiteX8" fmla="*/ 4482 w 31371"/>
                <a:gd name="connsiteY8" fmla="*/ 29131 h 31371"/>
                <a:gd name="connsiteX9" fmla="*/ 4482 w 31371"/>
                <a:gd name="connsiteY9" fmla="*/ 7619 h 31371"/>
                <a:gd name="connsiteX10" fmla="*/ 27338 w 31371"/>
                <a:gd name="connsiteY10" fmla="*/ 30476 h 31371"/>
                <a:gd name="connsiteX11" fmla="*/ 29131 w 31371"/>
                <a:gd name="connsiteY11" fmla="*/ 30924 h 31371"/>
                <a:gd name="connsiteX12" fmla="*/ 30924 w 31371"/>
                <a:gd name="connsiteY12" fmla="*/ 30476 h 31371"/>
                <a:gd name="connsiteX13" fmla="*/ 30924 w 31371"/>
                <a:gd name="connsiteY13" fmla="*/ 27338 h 31371"/>
                <a:gd name="connsiteX14" fmla="*/ 8067 w 31371"/>
                <a:gd name="connsiteY14" fmla="*/ 4482 h 31371"/>
                <a:gd name="connsiteX15" fmla="*/ 29579 w 31371"/>
                <a:gd name="connsiteY15" fmla="*/ 4482 h 31371"/>
                <a:gd name="connsiteX16" fmla="*/ 31372 w 31371"/>
                <a:gd name="connsiteY16" fmla="*/ 2241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372" y="2241"/>
                  </a:moveTo>
                  <a:cubicBezTo>
                    <a:pt x="31372" y="896"/>
                    <a:pt x="30476" y="0"/>
                    <a:pt x="29131" y="0"/>
                  </a:cubicBezTo>
                  <a:lnTo>
                    <a:pt x="2241" y="0"/>
                  </a:lnTo>
                  <a:cubicBezTo>
                    <a:pt x="1793" y="0"/>
                    <a:pt x="1793" y="0"/>
                    <a:pt x="1345" y="0"/>
                  </a:cubicBezTo>
                  <a:cubicBezTo>
                    <a:pt x="896" y="448"/>
                    <a:pt x="448" y="448"/>
                    <a:pt x="0" y="1344"/>
                  </a:cubicBezTo>
                  <a:cubicBezTo>
                    <a:pt x="0" y="1793"/>
                    <a:pt x="0" y="1793"/>
                    <a:pt x="0" y="2241"/>
                  </a:cubicBezTo>
                  <a:lnTo>
                    <a:pt x="0" y="29131"/>
                  </a:lnTo>
                  <a:cubicBezTo>
                    <a:pt x="0" y="30476"/>
                    <a:pt x="896" y="31372"/>
                    <a:pt x="2241" y="31372"/>
                  </a:cubicBezTo>
                  <a:cubicBezTo>
                    <a:pt x="3585" y="31372"/>
                    <a:pt x="4482" y="30476"/>
                    <a:pt x="4482" y="29131"/>
                  </a:cubicBezTo>
                  <a:lnTo>
                    <a:pt x="4482" y="7619"/>
                  </a:lnTo>
                  <a:lnTo>
                    <a:pt x="27338" y="30476"/>
                  </a:lnTo>
                  <a:cubicBezTo>
                    <a:pt x="27787" y="30924"/>
                    <a:pt x="28235" y="30924"/>
                    <a:pt x="29131" y="30924"/>
                  </a:cubicBezTo>
                  <a:cubicBezTo>
                    <a:pt x="30027" y="30924"/>
                    <a:pt x="30476" y="30924"/>
                    <a:pt x="30924" y="30476"/>
                  </a:cubicBezTo>
                  <a:cubicBezTo>
                    <a:pt x="31820" y="29579"/>
                    <a:pt x="31820" y="28235"/>
                    <a:pt x="30924" y="27338"/>
                  </a:cubicBezTo>
                  <a:lnTo>
                    <a:pt x="8067" y="4482"/>
                  </a:lnTo>
                  <a:lnTo>
                    <a:pt x="29579" y="4482"/>
                  </a:lnTo>
                  <a:cubicBezTo>
                    <a:pt x="30476" y="4482"/>
                    <a:pt x="31372" y="3585"/>
                    <a:pt x="31372" y="2241"/>
                  </a:cubicBezTo>
                  <a:close/>
                </a:path>
              </a:pathLst>
            </a:custGeom>
            <a:solidFill>
              <a:srgbClr val="231F20"/>
            </a:solidFill>
            <a:ln w="4477" cap="flat">
              <a:noFill/>
              <a:prstDash val="solid"/>
              <a:miter/>
            </a:ln>
          </p:spPr>
          <p:txBody>
            <a:bodyPr rtlCol="0" anchor="ctr"/>
            <a:lstStyle/>
            <a:p>
              <a:endParaRPr lang="en-US"/>
            </a:p>
          </p:txBody>
        </p:sp>
      </p:grpSp>
      <p:grpSp>
        <p:nvGrpSpPr>
          <p:cNvPr id="2530" name="Group 2529">
            <a:extLst>
              <a:ext uri="{FF2B5EF4-FFF2-40B4-BE49-F238E27FC236}">
                <a16:creationId xmlns:a16="http://schemas.microsoft.com/office/drawing/2014/main" id="{448819A6-2515-4F05-B60C-F0A0883B226A}"/>
              </a:ext>
              <a:ext uri="{C183D7F6-B498-43B3-948B-1728B52AA6E4}">
                <adec:decorative xmlns:adec="http://schemas.microsoft.com/office/drawing/2017/decorative" val="1"/>
              </a:ext>
            </a:extLst>
          </p:cNvPr>
          <p:cNvGrpSpPr>
            <a:grpSpLocks noChangeAspect="1"/>
          </p:cNvGrpSpPr>
          <p:nvPr/>
        </p:nvGrpSpPr>
        <p:grpSpPr>
          <a:xfrm>
            <a:off x="9321023" y="5566641"/>
            <a:ext cx="138933" cy="148344"/>
            <a:chOff x="9377523" y="3510950"/>
            <a:chExt cx="138933" cy="148344"/>
          </a:xfrm>
        </p:grpSpPr>
        <p:sp>
          <p:nvSpPr>
            <p:cNvPr id="2941" name="Freeform: Shape 2940">
              <a:extLst>
                <a:ext uri="{FF2B5EF4-FFF2-40B4-BE49-F238E27FC236}">
                  <a16:creationId xmlns:a16="http://schemas.microsoft.com/office/drawing/2014/main" id="{46C1A64C-D987-4068-96FD-721077028B9D}"/>
                </a:ext>
              </a:extLst>
            </p:cNvPr>
            <p:cNvSpPr/>
            <p:nvPr/>
          </p:nvSpPr>
          <p:spPr>
            <a:xfrm>
              <a:off x="9406654" y="3510950"/>
              <a:ext cx="67226" cy="67226"/>
            </a:xfrm>
            <a:custGeom>
              <a:avLst/>
              <a:gdLst>
                <a:gd name="connsiteX0" fmla="*/ 33613 w 67225"/>
                <a:gd name="connsiteY0" fmla="*/ 67226 h 67225"/>
                <a:gd name="connsiteX1" fmla="*/ 67226 w 67225"/>
                <a:gd name="connsiteY1" fmla="*/ 33613 h 67225"/>
                <a:gd name="connsiteX2" fmla="*/ 33613 w 67225"/>
                <a:gd name="connsiteY2" fmla="*/ 0 h 67225"/>
                <a:gd name="connsiteX3" fmla="*/ 0 w 67225"/>
                <a:gd name="connsiteY3" fmla="*/ 33613 h 67225"/>
                <a:gd name="connsiteX4" fmla="*/ 33613 w 67225"/>
                <a:gd name="connsiteY4" fmla="*/ 67226 h 67225"/>
                <a:gd name="connsiteX5" fmla="*/ 33613 w 67225"/>
                <a:gd name="connsiteY5" fmla="*/ 4482 h 67225"/>
                <a:gd name="connsiteX6" fmla="*/ 62744 w 67225"/>
                <a:gd name="connsiteY6" fmla="*/ 33613 h 67225"/>
                <a:gd name="connsiteX7" fmla="*/ 33613 w 67225"/>
                <a:gd name="connsiteY7" fmla="*/ 62744 h 67225"/>
                <a:gd name="connsiteX8" fmla="*/ 4482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51988" y="67226"/>
                    <a:pt x="67226" y="51988"/>
                    <a:pt x="67226" y="33613"/>
                  </a:cubicBezTo>
                  <a:cubicBezTo>
                    <a:pt x="67226" y="15238"/>
                    <a:pt x="51988" y="0"/>
                    <a:pt x="33613" y="0"/>
                  </a:cubicBezTo>
                  <a:cubicBezTo>
                    <a:pt x="15238" y="0"/>
                    <a:pt x="0" y="15238"/>
                    <a:pt x="0" y="33613"/>
                  </a:cubicBezTo>
                  <a:cubicBezTo>
                    <a:pt x="0" y="52436"/>
                    <a:pt x="14790" y="67226"/>
                    <a:pt x="33613" y="67226"/>
                  </a:cubicBezTo>
                  <a:close/>
                  <a:moveTo>
                    <a:pt x="33613" y="4482"/>
                  </a:moveTo>
                  <a:cubicBezTo>
                    <a:pt x="49747" y="4482"/>
                    <a:pt x="62744" y="17479"/>
                    <a:pt x="62744" y="33613"/>
                  </a:cubicBezTo>
                  <a:cubicBezTo>
                    <a:pt x="62744" y="49747"/>
                    <a:pt x="49747" y="62744"/>
                    <a:pt x="33613" y="62744"/>
                  </a:cubicBezTo>
                  <a:cubicBezTo>
                    <a:pt x="17479" y="62744"/>
                    <a:pt x="4482" y="49747"/>
                    <a:pt x="4482" y="33613"/>
                  </a:cubicBezTo>
                  <a:cubicBezTo>
                    <a:pt x="4482" y="17479"/>
                    <a:pt x="17479" y="4482"/>
                    <a:pt x="33613" y="4482"/>
                  </a:cubicBezTo>
                  <a:close/>
                </a:path>
              </a:pathLst>
            </a:custGeom>
            <a:solidFill>
              <a:srgbClr val="231F20"/>
            </a:solidFill>
            <a:ln w="4477" cap="flat">
              <a:noFill/>
              <a:prstDash val="solid"/>
              <a:miter/>
            </a:ln>
          </p:spPr>
          <p:txBody>
            <a:bodyPr rtlCol="0" anchor="ctr"/>
            <a:lstStyle/>
            <a:p>
              <a:endParaRPr lang="en-US"/>
            </a:p>
          </p:txBody>
        </p:sp>
        <p:sp>
          <p:nvSpPr>
            <p:cNvPr id="2942" name="Freeform: Shape 2941">
              <a:extLst>
                <a:ext uri="{FF2B5EF4-FFF2-40B4-BE49-F238E27FC236}">
                  <a16:creationId xmlns:a16="http://schemas.microsoft.com/office/drawing/2014/main" id="{B00111E5-D3D0-41C8-9D1A-CF5BCF96BBA2}"/>
                </a:ext>
              </a:extLst>
            </p:cNvPr>
            <p:cNvSpPr/>
            <p:nvPr/>
          </p:nvSpPr>
          <p:spPr>
            <a:xfrm>
              <a:off x="9377523" y="3585346"/>
              <a:ext cx="103079" cy="71707"/>
            </a:xfrm>
            <a:custGeom>
              <a:avLst/>
              <a:gdLst>
                <a:gd name="connsiteX0" fmla="*/ 82911 w 103079"/>
                <a:gd name="connsiteY0" fmla="*/ 69466 h 71707"/>
                <a:gd name="connsiteX1" fmla="*/ 13893 w 103079"/>
                <a:gd name="connsiteY1" fmla="*/ 69466 h 71707"/>
                <a:gd name="connsiteX2" fmla="*/ 4482 w 103079"/>
                <a:gd name="connsiteY2" fmla="*/ 60055 h 71707"/>
                <a:gd name="connsiteX3" fmla="*/ 4482 w 103079"/>
                <a:gd name="connsiteY3" fmla="*/ 40335 h 71707"/>
                <a:gd name="connsiteX4" fmla="*/ 40335 w 103079"/>
                <a:gd name="connsiteY4" fmla="*/ 4482 h 71707"/>
                <a:gd name="connsiteX5" fmla="*/ 85152 w 103079"/>
                <a:gd name="connsiteY5" fmla="*/ 4482 h 71707"/>
                <a:gd name="connsiteX6" fmla="*/ 103079 w 103079"/>
                <a:gd name="connsiteY6" fmla="*/ 9412 h 71707"/>
                <a:gd name="connsiteX7" fmla="*/ 106216 w 103079"/>
                <a:gd name="connsiteY7" fmla="*/ 8515 h 71707"/>
                <a:gd name="connsiteX8" fmla="*/ 105320 w 103079"/>
                <a:gd name="connsiteY8" fmla="*/ 5378 h 71707"/>
                <a:gd name="connsiteX9" fmla="*/ 85152 w 103079"/>
                <a:gd name="connsiteY9" fmla="*/ 0 h 71707"/>
                <a:gd name="connsiteX10" fmla="*/ 40335 w 103079"/>
                <a:gd name="connsiteY10" fmla="*/ 0 h 71707"/>
                <a:gd name="connsiteX11" fmla="*/ 0 w 103079"/>
                <a:gd name="connsiteY11" fmla="*/ 40335 h 71707"/>
                <a:gd name="connsiteX12" fmla="*/ 0 w 103079"/>
                <a:gd name="connsiteY12" fmla="*/ 60055 h 71707"/>
                <a:gd name="connsiteX13" fmla="*/ 13893 w 103079"/>
                <a:gd name="connsiteY13" fmla="*/ 73948 h 71707"/>
                <a:gd name="connsiteX14" fmla="*/ 82911 w 103079"/>
                <a:gd name="connsiteY14" fmla="*/ 73948 h 71707"/>
                <a:gd name="connsiteX15" fmla="*/ 85152 w 103079"/>
                <a:gd name="connsiteY15" fmla="*/ 71707 h 71707"/>
                <a:gd name="connsiteX16" fmla="*/ 82911 w 103079"/>
                <a:gd name="connsiteY16" fmla="*/ 6946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69466"/>
                  </a:moveTo>
                  <a:lnTo>
                    <a:pt x="13893" y="69466"/>
                  </a:lnTo>
                  <a:cubicBezTo>
                    <a:pt x="8963" y="69466"/>
                    <a:pt x="4482" y="65433"/>
                    <a:pt x="4482" y="60055"/>
                  </a:cubicBezTo>
                  <a:lnTo>
                    <a:pt x="4482" y="40335"/>
                  </a:lnTo>
                  <a:cubicBezTo>
                    <a:pt x="4482" y="20616"/>
                    <a:pt x="20616" y="4482"/>
                    <a:pt x="40335" y="4482"/>
                  </a:cubicBezTo>
                  <a:lnTo>
                    <a:pt x="85152" y="4482"/>
                  </a:lnTo>
                  <a:cubicBezTo>
                    <a:pt x="91427" y="4482"/>
                    <a:pt x="97701" y="6274"/>
                    <a:pt x="103079" y="9412"/>
                  </a:cubicBezTo>
                  <a:cubicBezTo>
                    <a:pt x="103976" y="9860"/>
                    <a:pt x="105320" y="9860"/>
                    <a:pt x="106216" y="8515"/>
                  </a:cubicBezTo>
                  <a:cubicBezTo>
                    <a:pt x="106665" y="7619"/>
                    <a:pt x="106665" y="6274"/>
                    <a:pt x="105320" y="5378"/>
                  </a:cubicBezTo>
                  <a:cubicBezTo>
                    <a:pt x="99046" y="1793"/>
                    <a:pt x="91875" y="0"/>
                    <a:pt x="85152" y="0"/>
                  </a:cubicBezTo>
                  <a:lnTo>
                    <a:pt x="40335" y="0"/>
                  </a:lnTo>
                  <a:cubicBezTo>
                    <a:pt x="18375" y="0"/>
                    <a:pt x="0" y="17927"/>
                    <a:pt x="0" y="40335"/>
                  </a:cubicBezTo>
                  <a:lnTo>
                    <a:pt x="0" y="60055"/>
                  </a:lnTo>
                  <a:cubicBezTo>
                    <a:pt x="0" y="67674"/>
                    <a:pt x="6274" y="73948"/>
                    <a:pt x="13893" y="73948"/>
                  </a:cubicBezTo>
                  <a:lnTo>
                    <a:pt x="82911" y="73948"/>
                  </a:lnTo>
                  <a:cubicBezTo>
                    <a:pt x="84256" y="73948"/>
                    <a:pt x="85152" y="73052"/>
                    <a:pt x="85152" y="71707"/>
                  </a:cubicBezTo>
                  <a:cubicBezTo>
                    <a:pt x="85152" y="70363"/>
                    <a:pt x="84256" y="69466"/>
                    <a:pt x="82911" y="69466"/>
                  </a:cubicBezTo>
                  <a:close/>
                </a:path>
              </a:pathLst>
            </a:custGeom>
            <a:solidFill>
              <a:srgbClr val="231F20"/>
            </a:solidFill>
            <a:ln w="4477" cap="flat">
              <a:noFill/>
              <a:prstDash val="solid"/>
              <a:miter/>
            </a:ln>
          </p:spPr>
          <p:txBody>
            <a:bodyPr rtlCol="0" anchor="ctr"/>
            <a:lstStyle/>
            <a:p>
              <a:endParaRPr lang="en-US"/>
            </a:p>
          </p:txBody>
        </p:sp>
        <p:sp>
          <p:nvSpPr>
            <p:cNvPr id="2943" name="Freeform: Shape 2942">
              <a:extLst>
                <a:ext uri="{FF2B5EF4-FFF2-40B4-BE49-F238E27FC236}">
                  <a16:creationId xmlns:a16="http://schemas.microsoft.com/office/drawing/2014/main" id="{2E743178-CE11-4555-8AA9-65D705CA25CE}"/>
                </a:ext>
              </a:extLst>
            </p:cNvPr>
            <p:cNvSpPr/>
            <p:nvPr/>
          </p:nvSpPr>
          <p:spPr>
            <a:xfrm>
              <a:off x="9458194" y="3601032"/>
              <a:ext cx="58262" cy="58262"/>
            </a:xfrm>
            <a:custGeom>
              <a:avLst/>
              <a:gdLst>
                <a:gd name="connsiteX0" fmla="*/ 29131 w 58262"/>
                <a:gd name="connsiteY0" fmla="*/ 0 h 58262"/>
                <a:gd name="connsiteX1" fmla="*/ 0 w 58262"/>
                <a:gd name="connsiteY1" fmla="*/ 29131 h 58262"/>
                <a:gd name="connsiteX2" fmla="*/ 29131 w 58262"/>
                <a:gd name="connsiteY2" fmla="*/ 58262 h 58262"/>
                <a:gd name="connsiteX3" fmla="*/ 58262 w 58262"/>
                <a:gd name="connsiteY3" fmla="*/ 29131 h 58262"/>
                <a:gd name="connsiteX4" fmla="*/ 29131 w 58262"/>
                <a:gd name="connsiteY4" fmla="*/ 0 h 58262"/>
                <a:gd name="connsiteX5" fmla="*/ 29131 w 58262"/>
                <a:gd name="connsiteY5" fmla="*/ 53780 h 58262"/>
                <a:gd name="connsiteX6" fmla="*/ 4482 w 58262"/>
                <a:gd name="connsiteY6" fmla="*/ 29131 h 58262"/>
                <a:gd name="connsiteX7" fmla="*/ 29131 w 58262"/>
                <a:gd name="connsiteY7" fmla="*/ 4482 h 58262"/>
                <a:gd name="connsiteX8" fmla="*/ 53780 w 58262"/>
                <a:gd name="connsiteY8" fmla="*/ 29131 h 58262"/>
                <a:gd name="connsiteX9" fmla="*/ 29131 w 58262"/>
                <a:gd name="connsiteY9"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0"/>
                  </a:moveTo>
                  <a:cubicBezTo>
                    <a:pt x="12997" y="0"/>
                    <a:pt x="0" y="12997"/>
                    <a:pt x="0" y="29131"/>
                  </a:cubicBezTo>
                  <a:cubicBezTo>
                    <a:pt x="0" y="45265"/>
                    <a:pt x="12997" y="58262"/>
                    <a:pt x="29131" y="58262"/>
                  </a:cubicBezTo>
                  <a:cubicBezTo>
                    <a:pt x="45265" y="58262"/>
                    <a:pt x="58262" y="45265"/>
                    <a:pt x="58262" y="29131"/>
                  </a:cubicBezTo>
                  <a:cubicBezTo>
                    <a:pt x="58262" y="12997"/>
                    <a:pt x="45265" y="0"/>
                    <a:pt x="29131" y="0"/>
                  </a:cubicBezTo>
                  <a:close/>
                  <a:moveTo>
                    <a:pt x="29131" y="53780"/>
                  </a:moveTo>
                  <a:cubicBezTo>
                    <a:pt x="15686" y="53780"/>
                    <a:pt x="4482" y="42576"/>
                    <a:pt x="4482" y="29131"/>
                  </a:cubicBezTo>
                  <a:cubicBezTo>
                    <a:pt x="4482" y="15686"/>
                    <a:pt x="15686" y="4482"/>
                    <a:pt x="29131" y="4482"/>
                  </a:cubicBezTo>
                  <a:cubicBezTo>
                    <a:pt x="42576" y="4482"/>
                    <a:pt x="53780" y="15686"/>
                    <a:pt x="53780" y="29131"/>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944" name="Freeform: Shape 2943">
              <a:extLst>
                <a:ext uri="{FF2B5EF4-FFF2-40B4-BE49-F238E27FC236}">
                  <a16:creationId xmlns:a16="http://schemas.microsoft.com/office/drawing/2014/main" id="{1E8B83AD-178B-4DEE-BBDE-E6D72ACD3D47}"/>
                </a:ext>
              </a:extLst>
            </p:cNvPr>
            <p:cNvSpPr/>
            <p:nvPr/>
          </p:nvSpPr>
          <p:spPr>
            <a:xfrm>
              <a:off x="9470295" y="3613133"/>
              <a:ext cx="31372" cy="31372"/>
            </a:xfrm>
            <a:custGeom>
              <a:avLst/>
              <a:gdLst>
                <a:gd name="connsiteX0" fmla="*/ 31820 w 31371"/>
                <a:gd name="connsiteY0" fmla="*/ 14790 h 31371"/>
                <a:gd name="connsiteX1" fmla="*/ 19271 w 31371"/>
                <a:gd name="connsiteY1" fmla="*/ 14790 h 31371"/>
                <a:gd name="connsiteX2" fmla="*/ 19271 w 31371"/>
                <a:gd name="connsiteY2" fmla="*/ 2241 h 31371"/>
                <a:gd name="connsiteX3" fmla="*/ 17030 w 31371"/>
                <a:gd name="connsiteY3" fmla="*/ 0 h 31371"/>
                <a:gd name="connsiteX4" fmla="*/ 14790 w 31371"/>
                <a:gd name="connsiteY4" fmla="*/ 2241 h 31371"/>
                <a:gd name="connsiteX5" fmla="*/ 14790 w 31371"/>
                <a:gd name="connsiteY5" fmla="*/ 14790 h 31371"/>
                <a:gd name="connsiteX6" fmla="*/ 2241 w 31371"/>
                <a:gd name="connsiteY6" fmla="*/ 14790 h 31371"/>
                <a:gd name="connsiteX7" fmla="*/ 0 w 31371"/>
                <a:gd name="connsiteY7" fmla="*/ 17030 h 31371"/>
                <a:gd name="connsiteX8" fmla="*/ 2241 w 31371"/>
                <a:gd name="connsiteY8" fmla="*/ 19271 h 31371"/>
                <a:gd name="connsiteX9" fmla="*/ 14790 w 31371"/>
                <a:gd name="connsiteY9" fmla="*/ 19271 h 31371"/>
                <a:gd name="connsiteX10" fmla="*/ 14790 w 31371"/>
                <a:gd name="connsiteY10" fmla="*/ 31820 h 31371"/>
                <a:gd name="connsiteX11" fmla="*/ 17030 w 31371"/>
                <a:gd name="connsiteY11" fmla="*/ 34061 h 31371"/>
                <a:gd name="connsiteX12" fmla="*/ 19271 w 31371"/>
                <a:gd name="connsiteY12" fmla="*/ 31820 h 31371"/>
                <a:gd name="connsiteX13" fmla="*/ 19271 w 31371"/>
                <a:gd name="connsiteY13" fmla="*/ 19271 h 31371"/>
                <a:gd name="connsiteX14" fmla="*/ 31820 w 31371"/>
                <a:gd name="connsiteY14" fmla="*/ 19271 h 31371"/>
                <a:gd name="connsiteX15" fmla="*/ 34061 w 31371"/>
                <a:gd name="connsiteY15" fmla="*/ 17030 h 31371"/>
                <a:gd name="connsiteX16" fmla="*/ 31820 w 31371"/>
                <a:gd name="connsiteY16" fmla="*/ 147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820" y="14790"/>
                  </a:moveTo>
                  <a:lnTo>
                    <a:pt x="19271" y="14790"/>
                  </a:lnTo>
                  <a:lnTo>
                    <a:pt x="19271" y="2241"/>
                  </a:lnTo>
                  <a:cubicBezTo>
                    <a:pt x="19271" y="896"/>
                    <a:pt x="18375" y="0"/>
                    <a:pt x="17030" y="0"/>
                  </a:cubicBezTo>
                  <a:cubicBezTo>
                    <a:pt x="15686" y="0"/>
                    <a:pt x="14790" y="896"/>
                    <a:pt x="14790" y="2241"/>
                  </a:cubicBezTo>
                  <a:lnTo>
                    <a:pt x="14790" y="14790"/>
                  </a:lnTo>
                  <a:lnTo>
                    <a:pt x="2241" y="14790"/>
                  </a:lnTo>
                  <a:cubicBezTo>
                    <a:pt x="896" y="14790"/>
                    <a:pt x="0" y="15686"/>
                    <a:pt x="0" y="17030"/>
                  </a:cubicBezTo>
                  <a:cubicBezTo>
                    <a:pt x="0" y="18375"/>
                    <a:pt x="896" y="19271"/>
                    <a:pt x="2241" y="19271"/>
                  </a:cubicBezTo>
                  <a:lnTo>
                    <a:pt x="14790" y="19271"/>
                  </a:lnTo>
                  <a:lnTo>
                    <a:pt x="14790" y="31820"/>
                  </a:lnTo>
                  <a:cubicBezTo>
                    <a:pt x="14790" y="33165"/>
                    <a:pt x="15686" y="34061"/>
                    <a:pt x="17030" y="34061"/>
                  </a:cubicBezTo>
                  <a:cubicBezTo>
                    <a:pt x="18375" y="34061"/>
                    <a:pt x="19271" y="33165"/>
                    <a:pt x="19271" y="31820"/>
                  </a:cubicBezTo>
                  <a:lnTo>
                    <a:pt x="19271" y="19271"/>
                  </a:lnTo>
                  <a:lnTo>
                    <a:pt x="31820" y="19271"/>
                  </a:lnTo>
                  <a:cubicBezTo>
                    <a:pt x="33165" y="19271"/>
                    <a:pt x="34061" y="18375"/>
                    <a:pt x="34061" y="17030"/>
                  </a:cubicBezTo>
                  <a:cubicBezTo>
                    <a:pt x="34061" y="15686"/>
                    <a:pt x="33165" y="14790"/>
                    <a:pt x="31820" y="14790"/>
                  </a:cubicBezTo>
                  <a:close/>
                </a:path>
              </a:pathLst>
            </a:custGeom>
            <a:solidFill>
              <a:srgbClr val="231F20"/>
            </a:solidFill>
            <a:ln w="4477" cap="flat">
              <a:noFill/>
              <a:prstDash val="solid"/>
              <a:miter/>
            </a:ln>
          </p:spPr>
          <p:txBody>
            <a:bodyPr rtlCol="0" anchor="ctr"/>
            <a:lstStyle/>
            <a:p>
              <a:endParaRPr lang="en-US"/>
            </a:p>
          </p:txBody>
        </p:sp>
      </p:grpSp>
      <p:grpSp>
        <p:nvGrpSpPr>
          <p:cNvPr id="2531" name="Group 2530">
            <a:extLst>
              <a:ext uri="{FF2B5EF4-FFF2-40B4-BE49-F238E27FC236}">
                <a16:creationId xmlns:a16="http://schemas.microsoft.com/office/drawing/2014/main" id="{026BFBA0-C799-4353-AE4C-77AB50DDAF34}"/>
              </a:ext>
              <a:ext uri="{C183D7F6-B498-43B3-948B-1728B52AA6E4}">
                <adec:decorative xmlns:adec="http://schemas.microsoft.com/office/drawing/2017/decorative" val="1"/>
              </a:ext>
            </a:extLst>
          </p:cNvPr>
          <p:cNvGrpSpPr>
            <a:grpSpLocks noChangeAspect="1"/>
          </p:cNvGrpSpPr>
          <p:nvPr/>
        </p:nvGrpSpPr>
        <p:grpSpPr>
          <a:xfrm>
            <a:off x="9580962" y="5566641"/>
            <a:ext cx="138933" cy="148344"/>
            <a:chOff x="9637462" y="3510950"/>
            <a:chExt cx="138933" cy="148344"/>
          </a:xfrm>
        </p:grpSpPr>
        <p:sp>
          <p:nvSpPr>
            <p:cNvPr id="2937" name="Freeform: Shape 2936">
              <a:extLst>
                <a:ext uri="{FF2B5EF4-FFF2-40B4-BE49-F238E27FC236}">
                  <a16:creationId xmlns:a16="http://schemas.microsoft.com/office/drawing/2014/main" id="{17D46026-678A-44F4-A40D-3E3F3D898CD1}"/>
                </a:ext>
              </a:extLst>
            </p:cNvPr>
            <p:cNvSpPr/>
            <p:nvPr/>
          </p:nvSpPr>
          <p:spPr>
            <a:xfrm>
              <a:off x="9666593"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2938" name="Freeform: Shape 2937">
              <a:extLst>
                <a:ext uri="{FF2B5EF4-FFF2-40B4-BE49-F238E27FC236}">
                  <a16:creationId xmlns:a16="http://schemas.microsoft.com/office/drawing/2014/main" id="{4D18C513-F75B-464A-AF6A-64C3BE9B183E}"/>
                </a:ext>
              </a:extLst>
            </p:cNvPr>
            <p:cNvSpPr/>
            <p:nvPr/>
          </p:nvSpPr>
          <p:spPr>
            <a:xfrm>
              <a:off x="9637462"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6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6" y="5826"/>
                    <a:pt x="106665" y="7171"/>
                    <a:pt x="106216" y="8515"/>
                  </a:cubicBezTo>
                  <a:cubicBezTo>
                    <a:pt x="105768" y="9412"/>
                    <a:pt x="104424"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3808" y="73948"/>
                    <a:pt x="82911" y="73948"/>
                  </a:cubicBezTo>
                  <a:close/>
                </a:path>
              </a:pathLst>
            </a:custGeom>
            <a:solidFill>
              <a:srgbClr val="231F20"/>
            </a:solidFill>
            <a:ln w="4477" cap="flat">
              <a:noFill/>
              <a:prstDash val="solid"/>
              <a:miter/>
            </a:ln>
          </p:spPr>
          <p:txBody>
            <a:bodyPr rtlCol="0" anchor="ctr"/>
            <a:lstStyle/>
            <a:p>
              <a:endParaRPr lang="en-US"/>
            </a:p>
          </p:txBody>
        </p:sp>
        <p:sp>
          <p:nvSpPr>
            <p:cNvPr id="2939" name="Freeform: Shape 2938">
              <a:extLst>
                <a:ext uri="{FF2B5EF4-FFF2-40B4-BE49-F238E27FC236}">
                  <a16:creationId xmlns:a16="http://schemas.microsoft.com/office/drawing/2014/main" id="{2143C634-BBD0-42C8-A79C-DDAD036C9660}"/>
                </a:ext>
              </a:extLst>
            </p:cNvPr>
            <p:cNvSpPr/>
            <p:nvPr/>
          </p:nvSpPr>
          <p:spPr>
            <a:xfrm>
              <a:off x="9718133" y="3601032"/>
              <a:ext cx="58262" cy="58262"/>
            </a:xfrm>
            <a:custGeom>
              <a:avLst/>
              <a:gdLst>
                <a:gd name="connsiteX0" fmla="*/ 29131 w 58262"/>
                <a:gd name="connsiteY0" fmla="*/ 58262 h 58262"/>
                <a:gd name="connsiteX1" fmla="*/ 0 w 58262"/>
                <a:gd name="connsiteY1" fmla="*/ 29131 h 58262"/>
                <a:gd name="connsiteX2" fmla="*/ 29131 w 58262"/>
                <a:gd name="connsiteY2" fmla="*/ 0 h 58262"/>
                <a:gd name="connsiteX3" fmla="*/ 58262 w 58262"/>
                <a:gd name="connsiteY3" fmla="*/ 29131 h 58262"/>
                <a:gd name="connsiteX4" fmla="*/ 29131 w 58262"/>
                <a:gd name="connsiteY4" fmla="*/ 58262 h 58262"/>
                <a:gd name="connsiteX5" fmla="*/ 29131 w 58262"/>
                <a:gd name="connsiteY5" fmla="*/ 4482 h 58262"/>
                <a:gd name="connsiteX6" fmla="*/ 4482 w 58262"/>
                <a:gd name="connsiteY6" fmla="*/ 29131 h 58262"/>
                <a:gd name="connsiteX7" fmla="*/ 29131 w 58262"/>
                <a:gd name="connsiteY7" fmla="*/ 53780 h 58262"/>
                <a:gd name="connsiteX8" fmla="*/ 53780 w 58262"/>
                <a:gd name="connsiteY8" fmla="*/ 29131 h 58262"/>
                <a:gd name="connsiteX9" fmla="*/ 29131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58262"/>
                  </a:moveTo>
                  <a:cubicBezTo>
                    <a:pt x="12997" y="58262"/>
                    <a:pt x="0" y="45265"/>
                    <a:pt x="0" y="29131"/>
                  </a:cubicBezTo>
                  <a:cubicBezTo>
                    <a:pt x="0" y="12997"/>
                    <a:pt x="12997" y="0"/>
                    <a:pt x="29131" y="0"/>
                  </a:cubicBezTo>
                  <a:cubicBezTo>
                    <a:pt x="45265" y="0"/>
                    <a:pt x="58262" y="12997"/>
                    <a:pt x="58262" y="29131"/>
                  </a:cubicBezTo>
                  <a:cubicBezTo>
                    <a:pt x="58262" y="45265"/>
                    <a:pt x="45265" y="58262"/>
                    <a:pt x="29131" y="58262"/>
                  </a:cubicBezTo>
                  <a:close/>
                  <a:moveTo>
                    <a:pt x="29131" y="4482"/>
                  </a:moveTo>
                  <a:cubicBezTo>
                    <a:pt x="15686" y="4482"/>
                    <a:pt x="4482" y="15686"/>
                    <a:pt x="4482" y="29131"/>
                  </a:cubicBezTo>
                  <a:cubicBezTo>
                    <a:pt x="4482" y="42576"/>
                    <a:pt x="15686" y="53780"/>
                    <a:pt x="29131" y="53780"/>
                  </a:cubicBezTo>
                  <a:cubicBezTo>
                    <a:pt x="42576" y="53780"/>
                    <a:pt x="53780" y="42576"/>
                    <a:pt x="53780" y="29131"/>
                  </a:cubicBezTo>
                  <a:cubicBezTo>
                    <a:pt x="53780" y="15686"/>
                    <a:pt x="42576" y="4482"/>
                    <a:pt x="29131" y="4482"/>
                  </a:cubicBezTo>
                  <a:close/>
                </a:path>
              </a:pathLst>
            </a:custGeom>
            <a:solidFill>
              <a:srgbClr val="231F20"/>
            </a:solidFill>
            <a:ln w="4477" cap="flat">
              <a:noFill/>
              <a:prstDash val="solid"/>
              <a:miter/>
            </a:ln>
          </p:spPr>
          <p:txBody>
            <a:bodyPr rtlCol="0" anchor="ctr"/>
            <a:lstStyle/>
            <a:p>
              <a:endParaRPr lang="en-US"/>
            </a:p>
          </p:txBody>
        </p:sp>
        <p:sp>
          <p:nvSpPr>
            <p:cNvPr id="2940" name="Freeform: Shape 2939">
              <a:extLst>
                <a:ext uri="{FF2B5EF4-FFF2-40B4-BE49-F238E27FC236}">
                  <a16:creationId xmlns:a16="http://schemas.microsoft.com/office/drawing/2014/main" id="{AD6A1EA4-F50F-49CD-ABA9-7CBF90B3A795}"/>
                </a:ext>
              </a:extLst>
            </p:cNvPr>
            <p:cNvSpPr/>
            <p:nvPr/>
          </p:nvSpPr>
          <p:spPr>
            <a:xfrm>
              <a:off x="9745023" y="3608203"/>
              <a:ext cx="17927" cy="22409"/>
            </a:xfrm>
            <a:custGeom>
              <a:avLst/>
              <a:gdLst>
                <a:gd name="connsiteX0" fmla="*/ 15686 w 17926"/>
                <a:gd name="connsiteY0" fmla="*/ 24201 h 22408"/>
                <a:gd name="connsiteX1" fmla="*/ 2241 w 17926"/>
                <a:gd name="connsiteY1" fmla="*/ 24201 h 22408"/>
                <a:gd name="connsiteX2" fmla="*/ 0 w 17926"/>
                <a:gd name="connsiteY2" fmla="*/ 21960 h 22408"/>
                <a:gd name="connsiteX3" fmla="*/ 0 w 17926"/>
                <a:gd name="connsiteY3" fmla="*/ 2241 h 22408"/>
                <a:gd name="connsiteX4" fmla="*/ 2241 w 17926"/>
                <a:gd name="connsiteY4" fmla="*/ 0 h 22408"/>
                <a:gd name="connsiteX5" fmla="*/ 4482 w 17926"/>
                <a:gd name="connsiteY5" fmla="*/ 2241 h 22408"/>
                <a:gd name="connsiteX6" fmla="*/ 4482 w 17926"/>
                <a:gd name="connsiteY6" fmla="*/ 19719 h 22408"/>
                <a:gd name="connsiteX7" fmla="*/ 15686 w 17926"/>
                <a:gd name="connsiteY7" fmla="*/ 19719 h 22408"/>
                <a:gd name="connsiteX8" fmla="*/ 17927 w 17926"/>
                <a:gd name="connsiteY8" fmla="*/ 21960 h 22408"/>
                <a:gd name="connsiteX9" fmla="*/ 15686 w 17926"/>
                <a:gd name="connsiteY9" fmla="*/ 24201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22408">
                  <a:moveTo>
                    <a:pt x="15686" y="24201"/>
                  </a:moveTo>
                  <a:lnTo>
                    <a:pt x="2241" y="24201"/>
                  </a:lnTo>
                  <a:cubicBezTo>
                    <a:pt x="896" y="24201"/>
                    <a:pt x="0" y="23305"/>
                    <a:pt x="0" y="21960"/>
                  </a:cubicBezTo>
                  <a:lnTo>
                    <a:pt x="0" y="2241"/>
                  </a:lnTo>
                  <a:cubicBezTo>
                    <a:pt x="0" y="896"/>
                    <a:pt x="896" y="0"/>
                    <a:pt x="2241" y="0"/>
                  </a:cubicBezTo>
                  <a:cubicBezTo>
                    <a:pt x="3586" y="0"/>
                    <a:pt x="4482" y="896"/>
                    <a:pt x="4482" y="2241"/>
                  </a:cubicBezTo>
                  <a:lnTo>
                    <a:pt x="4482" y="19719"/>
                  </a:lnTo>
                  <a:lnTo>
                    <a:pt x="15686" y="19719"/>
                  </a:lnTo>
                  <a:cubicBezTo>
                    <a:pt x="17031" y="19719"/>
                    <a:pt x="17927" y="20616"/>
                    <a:pt x="17927" y="21960"/>
                  </a:cubicBezTo>
                  <a:cubicBezTo>
                    <a:pt x="17927" y="23305"/>
                    <a:pt x="17031" y="24201"/>
                    <a:pt x="15686" y="24201"/>
                  </a:cubicBezTo>
                  <a:close/>
                </a:path>
              </a:pathLst>
            </a:custGeom>
            <a:solidFill>
              <a:srgbClr val="231F20"/>
            </a:solidFill>
            <a:ln w="4477" cap="flat">
              <a:noFill/>
              <a:prstDash val="solid"/>
              <a:miter/>
            </a:ln>
          </p:spPr>
          <p:txBody>
            <a:bodyPr rtlCol="0" anchor="ctr"/>
            <a:lstStyle/>
            <a:p>
              <a:endParaRPr lang="en-US"/>
            </a:p>
          </p:txBody>
        </p:sp>
      </p:grpSp>
      <p:grpSp>
        <p:nvGrpSpPr>
          <p:cNvPr id="2532" name="Group 2531">
            <a:extLst>
              <a:ext uri="{FF2B5EF4-FFF2-40B4-BE49-F238E27FC236}">
                <a16:creationId xmlns:a16="http://schemas.microsoft.com/office/drawing/2014/main" id="{12ED0F71-DE35-4776-936C-F0C95CFA0E30}"/>
              </a:ext>
              <a:ext uri="{C183D7F6-B498-43B3-948B-1728B52AA6E4}">
                <adec:decorative xmlns:adec="http://schemas.microsoft.com/office/drawing/2017/decorative" val="1"/>
              </a:ext>
            </a:extLst>
          </p:cNvPr>
          <p:cNvGrpSpPr>
            <a:grpSpLocks noChangeAspect="1"/>
          </p:cNvGrpSpPr>
          <p:nvPr/>
        </p:nvGrpSpPr>
        <p:grpSpPr>
          <a:xfrm>
            <a:off x="9050777" y="5566641"/>
            <a:ext cx="135795" cy="146103"/>
            <a:chOff x="9107277" y="3510950"/>
            <a:chExt cx="135795" cy="146103"/>
          </a:xfrm>
        </p:grpSpPr>
        <p:sp>
          <p:nvSpPr>
            <p:cNvPr id="2934" name="Freeform: Shape 2933">
              <a:extLst>
                <a:ext uri="{FF2B5EF4-FFF2-40B4-BE49-F238E27FC236}">
                  <a16:creationId xmlns:a16="http://schemas.microsoft.com/office/drawing/2014/main" id="{9F33B0DF-C139-4290-90DD-FD62D929BB20}"/>
                </a:ext>
              </a:extLst>
            </p:cNvPr>
            <p:cNvSpPr/>
            <p:nvPr/>
          </p:nvSpPr>
          <p:spPr>
            <a:xfrm>
              <a:off x="9136408"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299" y="4482"/>
                    <a:pt x="33613" y="4482"/>
                  </a:cubicBezTo>
                  <a:close/>
                </a:path>
              </a:pathLst>
            </a:custGeom>
            <a:solidFill>
              <a:srgbClr val="231F20"/>
            </a:solidFill>
            <a:ln w="4477" cap="flat">
              <a:noFill/>
              <a:prstDash val="solid"/>
              <a:miter/>
            </a:ln>
          </p:spPr>
          <p:txBody>
            <a:bodyPr rtlCol="0" anchor="ctr"/>
            <a:lstStyle/>
            <a:p>
              <a:endParaRPr lang="en-US"/>
            </a:p>
          </p:txBody>
        </p:sp>
        <p:sp>
          <p:nvSpPr>
            <p:cNvPr id="2935" name="Freeform: Shape 2934">
              <a:extLst>
                <a:ext uri="{FF2B5EF4-FFF2-40B4-BE49-F238E27FC236}">
                  <a16:creationId xmlns:a16="http://schemas.microsoft.com/office/drawing/2014/main" id="{1F82C669-C655-443A-8528-F46FBEA60F53}"/>
                </a:ext>
              </a:extLst>
            </p:cNvPr>
            <p:cNvSpPr/>
            <p:nvPr/>
          </p:nvSpPr>
          <p:spPr>
            <a:xfrm>
              <a:off x="9107277" y="3585346"/>
              <a:ext cx="107561" cy="71707"/>
            </a:xfrm>
            <a:custGeom>
              <a:avLst/>
              <a:gdLst>
                <a:gd name="connsiteX0" fmla="*/ 82911 w 107560"/>
                <a:gd name="connsiteY0" fmla="*/ 73948 h 71707"/>
                <a:gd name="connsiteX1" fmla="*/ 13893 w 107560"/>
                <a:gd name="connsiteY1" fmla="*/ 73948 h 71707"/>
                <a:gd name="connsiteX2" fmla="*/ 0 w 107560"/>
                <a:gd name="connsiteY2" fmla="*/ 60055 h 71707"/>
                <a:gd name="connsiteX3" fmla="*/ 0 w 107560"/>
                <a:gd name="connsiteY3" fmla="*/ 40335 h 71707"/>
                <a:gd name="connsiteX4" fmla="*/ 40335 w 107560"/>
                <a:gd name="connsiteY4" fmla="*/ 0 h 71707"/>
                <a:gd name="connsiteX5" fmla="*/ 85152 w 107560"/>
                <a:gd name="connsiteY5" fmla="*/ 0 h 71707"/>
                <a:gd name="connsiteX6" fmla="*/ 111146 w 107560"/>
                <a:gd name="connsiteY6" fmla="*/ 9412 h 71707"/>
                <a:gd name="connsiteX7" fmla="*/ 111594 w 107560"/>
                <a:gd name="connsiteY7" fmla="*/ 12549 h 71707"/>
                <a:gd name="connsiteX8" fmla="*/ 108457 w 107560"/>
                <a:gd name="connsiteY8" fmla="*/ 12997 h 71707"/>
                <a:gd name="connsiteX9" fmla="*/ 85152 w 107560"/>
                <a:gd name="connsiteY9" fmla="*/ 4482 h 71707"/>
                <a:gd name="connsiteX10" fmla="*/ 40335 w 107560"/>
                <a:gd name="connsiteY10" fmla="*/ 4482 h 71707"/>
                <a:gd name="connsiteX11" fmla="*/ 4482 w 107560"/>
                <a:gd name="connsiteY11" fmla="*/ 40335 h 71707"/>
                <a:gd name="connsiteX12" fmla="*/ 4482 w 107560"/>
                <a:gd name="connsiteY12" fmla="*/ 60055 h 71707"/>
                <a:gd name="connsiteX13" fmla="*/ 13893 w 107560"/>
                <a:gd name="connsiteY13" fmla="*/ 69466 h 71707"/>
                <a:gd name="connsiteX14" fmla="*/ 82911 w 107560"/>
                <a:gd name="connsiteY14" fmla="*/ 69466 h 71707"/>
                <a:gd name="connsiteX15" fmla="*/ 85152 w 107560"/>
                <a:gd name="connsiteY15" fmla="*/ 71707 h 71707"/>
                <a:gd name="connsiteX16" fmla="*/ 82911 w 107560"/>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560" h="71707">
                  <a:moveTo>
                    <a:pt x="82911" y="73948"/>
                  </a:moveTo>
                  <a:lnTo>
                    <a:pt x="13893" y="73948"/>
                  </a:lnTo>
                  <a:cubicBezTo>
                    <a:pt x="6274" y="73948"/>
                    <a:pt x="0" y="67674"/>
                    <a:pt x="0" y="60055"/>
                  </a:cubicBezTo>
                  <a:lnTo>
                    <a:pt x="0" y="40335"/>
                  </a:lnTo>
                  <a:cubicBezTo>
                    <a:pt x="0" y="18375"/>
                    <a:pt x="17927" y="0"/>
                    <a:pt x="40335" y="0"/>
                  </a:cubicBezTo>
                  <a:lnTo>
                    <a:pt x="85152" y="0"/>
                  </a:lnTo>
                  <a:cubicBezTo>
                    <a:pt x="94564" y="0"/>
                    <a:pt x="103976" y="3586"/>
                    <a:pt x="111146" y="9412"/>
                  </a:cubicBezTo>
                  <a:cubicBezTo>
                    <a:pt x="112043" y="10308"/>
                    <a:pt x="112043" y="11653"/>
                    <a:pt x="111594" y="12549"/>
                  </a:cubicBezTo>
                  <a:cubicBezTo>
                    <a:pt x="110698" y="13445"/>
                    <a:pt x="109354" y="13445"/>
                    <a:pt x="108457" y="12997"/>
                  </a:cubicBezTo>
                  <a:cubicBezTo>
                    <a:pt x="101735" y="7619"/>
                    <a:pt x="93668"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3808" y="73948"/>
                    <a:pt x="82911" y="73948"/>
                  </a:cubicBezTo>
                  <a:close/>
                </a:path>
              </a:pathLst>
            </a:custGeom>
            <a:solidFill>
              <a:srgbClr val="231F20"/>
            </a:solidFill>
            <a:ln w="4477" cap="flat">
              <a:noFill/>
              <a:prstDash val="solid"/>
              <a:miter/>
            </a:ln>
          </p:spPr>
          <p:txBody>
            <a:bodyPr rtlCol="0" anchor="ctr"/>
            <a:lstStyle/>
            <a:p>
              <a:endParaRPr lang="en-US"/>
            </a:p>
          </p:txBody>
        </p:sp>
        <p:sp>
          <p:nvSpPr>
            <p:cNvPr id="2936" name="Freeform: Shape 2935">
              <a:extLst>
                <a:ext uri="{FF2B5EF4-FFF2-40B4-BE49-F238E27FC236}">
                  <a16:creationId xmlns:a16="http://schemas.microsoft.com/office/drawing/2014/main" id="{5D6AF610-2980-4A48-A495-25B74113BB35}"/>
                </a:ext>
              </a:extLst>
            </p:cNvPr>
            <p:cNvSpPr/>
            <p:nvPr/>
          </p:nvSpPr>
          <p:spPr>
            <a:xfrm>
              <a:off x="9189292" y="3605514"/>
              <a:ext cx="53780" cy="49299"/>
            </a:xfrm>
            <a:custGeom>
              <a:avLst/>
              <a:gdLst>
                <a:gd name="connsiteX0" fmla="*/ 43025 w 53780"/>
                <a:gd name="connsiteY0" fmla="*/ 51988 h 49298"/>
                <a:gd name="connsiteX1" fmla="*/ 41680 w 53780"/>
                <a:gd name="connsiteY1" fmla="*/ 51539 h 49298"/>
                <a:gd name="connsiteX2" fmla="*/ 27339 w 53780"/>
                <a:gd name="connsiteY2" fmla="*/ 41232 h 49298"/>
                <a:gd name="connsiteX3" fmla="*/ 13445 w 53780"/>
                <a:gd name="connsiteY3" fmla="*/ 51539 h 49298"/>
                <a:gd name="connsiteX4" fmla="*/ 10756 w 53780"/>
                <a:gd name="connsiteY4" fmla="*/ 51539 h 49298"/>
                <a:gd name="connsiteX5" fmla="*/ 9860 w 53780"/>
                <a:gd name="connsiteY5" fmla="*/ 48851 h 49298"/>
                <a:gd name="connsiteX6" fmla="*/ 15238 w 53780"/>
                <a:gd name="connsiteY6" fmla="*/ 32268 h 49298"/>
                <a:gd name="connsiteX7" fmla="*/ 896 w 53780"/>
                <a:gd name="connsiteY7" fmla="*/ 21960 h 49298"/>
                <a:gd name="connsiteX8" fmla="*/ 0 w 53780"/>
                <a:gd name="connsiteY8" fmla="*/ 19271 h 49298"/>
                <a:gd name="connsiteX9" fmla="*/ 2241 w 53780"/>
                <a:gd name="connsiteY9" fmla="*/ 17927 h 49298"/>
                <a:gd name="connsiteX10" fmla="*/ 19720 w 53780"/>
                <a:gd name="connsiteY10" fmla="*/ 17927 h 49298"/>
                <a:gd name="connsiteX11" fmla="*/ 25098 w 53780"/>
                <a:gd name="connsiteY11" fmla="*/ 1345 h 49298"/>
                <a:gd name="connsiteX12" fmla="*/ 29579 w 53780"/>
                <a:gd name="connsiteY12" fmla="*/ 1345 h 49298"/>
                <a:gd name="connsiteX13" fmla="*/ 34957 w 53780"/>
                <a:gd name="connsiteY13" fmla="*/ 17927 h 49298"/>
                <a:gd name="connsiteX14" fmla="*/ 52436 w 53780"/>
                <a:gd name="connsiteY14" fmla="*/ 17927 h 49298"/>
                <a:gd name="connsiteX15" fmla="*/ 54677 w 53780"/>
                <a:gd name="connsiteY15" fmla="*/ 19271 h 49298"/>
                <a:gd name="connsiteX16" fmla="*/ 53780 w 53780"/>
                <a:gd name="connsiteY16" fmla="*/ 21960 h 49298"/>
                <a:gd name="connsiteX17" fmla="*/ 39439 w 53780"/>
                <a:gd name="connsiteY17" fmla="*/ 32268 h 49298"/>
                <a:gd name="connsiteX18" fmla="*/ 44817 w 53780"/>
                <a:gd name="connsiteY18" fmla="*/ 48851 h 49298"/>
                <a:gd name="connsiteX19" fmla="*/ 43921 w 53780"/>
                <a:gd name="connsiteY19" fmla="*/ 51539 h 49298"/>
                <a:gd name="connsiteX20" fmla="*/ 43025 w 53780"/>
                <a:gd name="connsiteY20" fmla="*/ 51988 h 49298"/>
                <a:gd name="connsiteX21" fmla="*/ 9412 w 53780"/>
                <a:gd name="connsiteY21" fmla="*/ 22857 h 49298"/>
                <a:gd name="connsiteX22" fmla="*/ 17927 w 53780"/>
                <a:gd name="connsiteY22" fmla="*/ 29131 h 49298"/>
                <a:gd name="connsiteX23" fmla="*/ 19272 w 53780"/>
                <a:gd name="connsiteY23" fmla="*/ 34061 h 49298"/>
                <a:gd name="connsiteX24" fmla="*/ 16134 w 53780"/>
                <a:gd name="connsiteY24" fmla="*/ 44369 h 49298"/>
                <a:gd name="connsiteX25" fmla="*/ 24649 w 53780"/>
                <a:gd name="connsiteY25" fmla="*/ 38094 h 49298"/>
                <a:gd name="connsiteX26" fmla="*/ 29579 w 53780"/>
                <a:gd name="connsiteY26" fmla="*/ 38094 h 49298"/>
                <a:gd name="connsiteX27" fmla="*/ 38094 w 53780"/>
                <a:gd name="connsiteY27" fmla="*/ 44369 h 49298"/>
                <a:gd name="connsiteX28" fmla="*/ 34957 w 53780"/>
                <a:gd name="connsiteY28" fmla="*/ 34061 h 49298"/>
                <a:gd name="connsiteX29" fmla="*/ 36302 w 53780"/>
                <a:gd name="connsiteY29" fmla="*/ 29131 h 49298"/>
                <a:gd name="connsiteX30" fmla="*/ 44817 w 53780"/>
                <a:gd name="connsiteY30" fmla="*/ 22857 h 49298"/>
                <a:gd name="connsiteX31" fmla="*/ 34061 w 53780"/>
                <a:gd name="connsiteY31" fmla="*/ 22857 h 49298"/>
                <a:gd name="connsiteX32" fmla="*/ 30027 w 53780"/>
                <a:gd name="connsiteY32" fmla="*/ 19719 h 49298"/>
                <a:gd name="connsiteX33" fmla="*/ 26890 w 53780"/>
                <a:gd name="connsiteY33" fmla="*/ 9412 h 49298"/>
                <a:gd name="connsiteX34" fmla="*/ 23753 w 53780"/>
                <a:gd name="connsiteY34" fmla="*/ 19719 h 49298"/>
                <a:gd name="connsiteX35" fmla="*/ 19720 w 53780"/>
                <a:gd name="connsiteY35" fmla="*/ 22857 h 49298"/>
                <a:gd name="connsiteX36" fmla="*/ 9412 w 53780"/>
                <a:gd name="connsiteY36" fmla="*/ 22857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780" h="49298">
                  <a:moveTo>
                    <a:pt x="43025" y="51988"/>
                  </a:moveTo>
                  <a:cubicBezTo>
                    <a:pt x="42576" y="51988"/>
                    <a:pt x="42128" y="51988"/>
                    <a:pt x="41680" y="51539"/>
                  </a:cubicBezTo>
                  <a:lnTo>
                    <a:pt x="27339" y="41232"/>
                  </a:lnTo>
                  <a:lnTo>
                    <a:pt x="13445" y="51539"/>
                  </a:lnTo>
                  <a:cubicBezTo>
                    <a:pt x="12549" y="51988"/>
                    <a:pt x="11653" y="51988"/>
                    <a:pt x="10756" y="51539"/>
                  </a:cubicBezTo>
                  <a:cubicBezTo>
                    <a:pt x="9860" y="51091"/>
                    <a:pt x="9860" y="49747"/>
                    <a:pt x="9860" y="48851"/>
                  </a:cubicBezTo>
                  <a:lnTo>
                    <a:pt x="15238" y="32268"/>
                  </a:lnTo>
                  <a:lnTo>
                    <a:pt x="896" y="21960"/>
                  </a:lnTo>
                  <a:cubicBezTo>
                    <a:pt x="0" y="21512"/>
                    <a:pt x="0" y="20168"/>
                    <a:pt x="0" y="19271"/>
                  </a:cubicBezTo>
                  <a:cubicBezTo>
                    <a:pt x="0" y="18375"/>
                    <a:pt x="1345" y="17927"/>
                    <a:pt x="2241" y="17927"/>
                  </a:cubicBezTo>
                  <a:lnTo>
                    <a:pt x="19720" y="17927"/>
                  </a:lnTo>
                  <a:lnTo>
                    <a:pt x="25098" y="1345"/>
                  </a:lnTo>
                  <a:cubicBezTo>
                    <a:pt x="25546" y="-448"/>
                    <a:pt x="28683" y="-448"/>
                    <a:pt x="29579" y="1345"/>
                  </a:cubicBezTo>
                  <a:lnTo>
                    <a:pt x="34957" y="17927"/>
                  </a:lnTo>
                  <a:lnTo>
                    <a:pt x="52436" y="17927"/>
                  </a:lnTo>
                  <a:cubicBezTo>
                    <a:pt x="53332" y="17927"/>
                    <a:pt x="54229" y="18375"/>
                    <a:pt x="54677" y="19271"/>
                  </a:cubicBezTo>
                  <a:cubicBezTo>
                    <a:pt x="55125" y="20168"/>
                    <a:pt x="54677" y="21064"/>
                    <a:pt x="53780" y="21960"/>
                  </a:cubicBezTo>
                  <a:lnTo>
                    <a:pt x="39439" y="32268"/>
                  </a:lnTo>
                  <a:lnTo>
                    <a:pt x="44817" y="48851"/>
                  </a:lnTo>
                  <a:cubicBezTo>
                    <a:pt x="45265" y="49747"/>
                    <a:pt x="44817" y="50643"/>
                    <a:pt x="43921" y="51539"/>
                  </a:cubicBezTo>
                  <a:cubicBezTo>
                    <a:pt x="43921" y="51988"/>
                    <a:pt x="43473" y="51988"/>
                    <a:pt x="43025" y="51988"/>
                  </a:cubicBezTo>
                  <a:close/>
                  <a:moveTo>
                    <a:pt x="9412" y="22857"/>
                  </a:moveTo>
                  <a:lnTo>
                    <a:pt x="17927" y="29131"/>
                  </a:lnTo>
                  <a:cubicBezTo>
                    <a:pt x="19272" y="30027"/>
                    <a:pt x="20168" y="32268"/>
                    <a:pt x="19272" y="34061"/>
                  </a:cubicBezTo>
                  <a:lnTo>
                    <a:pt x="16134" y="44369"/>
                  </a:lnTo>
                  <a:lnTo>
                    <a:pt x="24649" y="38094"/>
                  </a:lnTo>
                  <a:cubicBezTo>
                    <a:pt x="25994" y="37198"/>
                    <a:pt x="28235" y="37198"/>
                    <a:pt x="29579" y="38094"/>
                  </a:cubicBezTo>
                  <a:lnTo>
                    <a:pt x="38094" y="44369"/>
                  </a:lnTo>
                  <a:lnTo>
                    <a:pt x="34957" y="34061"/>
                  </a:lnTo>
                  <a:cubicBezTo>
                    <a:pt x="34509" y="32268"/>
                    <a:pt x="34957" y="30476"/>
                    <a:pt x="36302" y="29131"/>
                  </a:cubicBezTo>
                  <a:lnTo>
                    <a:pt x="44817" y="22857"/>
                  </a:lnTo>
                  <a:lnTo>
                    <a:pt x="34061" y="22857"/>
                  </a:lnTo>
                  <a:cubicBezTo>
                    <a:pt x="32268" y="22857"/>
                    <a:pt x="30476" y="21512"/>
                    <a:pt x="30027" y="19719"/>
                  </a:cubicBezTo>
                  <a:lnTo>
                    <a:pt x="26890" y="9412"/>
                  </a:lnTo>
                  <a:lnTo>
                    <a:pt x="23753" y="19719"/>
                  </a:lnTo>
                  <a:cubicBezTo>
                    <a:pt x="23305" y="21512"/>
                    <a:pt x="21512" y="22857"/>
                    <a:pt x="19720" y="22857"/>
                  </a:cubicBezTo>
                  <a:lnTo>
                    <a:pt x="9412" y="22857"/>
                  </a:lnTo>
                  <a:close/>
                </a:path>
              </a:pathLst>
            </a:custGeom>
            <a:solidFill>
              <a:srgbClr val="231F20"/>
            </a:solidFill>
            <a:ln w="4477" cap="flat">
              <a:noFill/>
              <a:prstDash val="solid"/>
              <a:miter/>
            </a:ln>
          </p:spPr>
          <p:txBody>
            <a:bodyPr rtlCol="0" anchor="ctr"/>
            <a:lstStyle/>
            <a:p>
              <a:endParaRPr lang="en-US"/>
            </a:p>
          </p:txBody>
        </p:sp>
      </p:grpSp>
      <p:grpSp>
        <p:nvGrpSpPr>
          <p:cNvPr id="2533" name="Group 2532">
            <a:extLst>
              <a:ext uri="{FF2B5EF4-FFF2-40B4-BE49-F238E27FC236}">
                <a16:creationId xmlns:a16="http://schemas.microsoft.com/office/drawing/2014/main" id="{263787B8-6971-43DB-B245-DA9388C36CFA}"/>
              </a:ext>
              <a:ext uri="{C183D7F6-B498-43B3-948B-1728B52AA6E4}">
                <adec:decorative xmlns:adec="http://schemas.microsoft.com/office/drawing/2017/decorative" val="1"/>
              </a:ext>
            </a:extLst>
          </p:cNvPr>
          <p:cNvGrpSpPr>
            <a:grpSpLocks noChangeAspect="1"/>
          </p:cNvGrpSpPr>
          <p:nvPr/>
        </p:nvGrpSpPr>
        <p:grpSpPr>
          <a:xfrm>
            <a:off x="9851209" y="5566641"/>
            <a:ext cx="135796" cy="147000"/>
            <a:chOff x="9907709" y="3510950"/>
            <a:chExt cx="135796" cy="147000"/>
          </a:xfrm>
        </p:grpSpPr>
        <p:sp>
          <p:nvSpPr>
            <p:cNvPr id="2931" name="Freeform: Shape 2930">
              <a:extLst>
                <a:ext uri="{FF2B5EF4-FFF2-40B4-BE49-F238E27FC236}">
                  <a16:creationId xmlns:a16="http://schemas.microsoft.com/office/drawing/2014/main" id="{EF283EB4-3B1D-4799-A07F-45A4F462A906}"/>
                </a:ext>
              </a:extLst>
            </p:cNvPr>
            <p:cNvSpPr/>
            <p:nvPr/>
          </p:nvSpPr>
          <p:spPr>
            <a:xfrm>
              <a:off x="9936840"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2436"/>
                    <a:pt x="51988" y="67226"/>
                    <a:pt x="33613" y="67226"/>
                  </a:cubicBezTo>
                  <a:close/>
                  <a:moveTo>
                    <a:pt x="33613" y="4482"/>
                  </a:moveTo>
                  <a:cubicBezTo>
                    <a:pt x="17478" y="4482"/>
                    <a:pt x="4482" y="17479"/>
                    <a:pt x="4482" y="33613"/>
                  </a:cubicBezTo>
                  <a:cubicBezTo>
                    <a:pt x="4482" y="49747"/>
                    <a:pt x="17478"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2932" name="Freeform: Shape 2931">
              <a:extLst>
                <a:ext uri="{FF2B5EF4-FFF2-40B4-BE49-F238E27FC236}">
                  <a16:creationId xmlns:a16="http://schemas.microsoft.com/office/drawing/2014/main" id="{DC95A4F6-5AED-4377-8D2D-42D9FF47A80C}"/>
                </a:ext>
              </a:extLst>
            </p:cNvPr>
            <p:cNvSpPr/>
            <p:nvPr/>
          </p:nvSpPr>
          <p:spPr>
            <a:xfrm>
              <a:off x="9907709"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6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6" y="5826"/>
                    <a:pt x="106664" y="7171"/>
                    <a:pt x="106216" y="8515"/>
                  </a:cubicBezTo>
                  <a:cubicBezTo>
                    <a:pt x="105768" y="9412"/>
                    <a:pt x="104424"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4256" y="73948"/>
                    <a:pt x="82911" y="73948"/>
                  </a:cubicBezTo>
                  <a:close/>
                </a:path>
              </a:pathLst>
            </a:custGeom>
            <a:solidFill>
              <a:srgbClr val="231F20"/>
            </a:solidFill>
            <a:ln w="4477" cap="flat">
              <a:noFill/>
              <a:prstDash val="solid"/>
              <a:miter/>
            </a:ln>
          </p:spPr>
          <p:txBody>
            <a:bodyPr rtlCol="0" anchor="ctr"/>
            <a:lstStyle/>
            <a:p>
              <a:endParaRPr lang="en-US"/>
            </a:p>
          </p:txBody>
        </p:sp>
        <p:sp>
          <p:nvSpPr>
            <p:cNvPr id="2933" name="Freeform: Shape 2932">
              <a:extLst>
                <a:ext uri="{FF2B5EF4-FFF2-40B4-BE49-F238E27FC236}">
                  <a16:creationId xmlns:a16="http://schemas.microsoft.com/office/drawing/2014/main" id="{4B71A99D-598A-4C3F-8AC4-60A7F8AB0E61}"/>
                </a:ext>
              </a:extLst>
            </p:cNvPr>
            <p:cNvSpPr/>
            <p:nvPr/>
          </p:nvSpPr>
          <p:spPr>
            <a:xfrm>
              <a:off x="9980761" y="3599688"/>
              <a:ext cx="62744" cy="58262"/>
            </a:xfrm>
            <a:custGeom>
              <a:avLst/>
              <a:gdLst>
                <a:gd name="connsiteX0" fmla="*/ 32716 w 62743"/>
                <a:gd name="connsiteY0" fmla="*/ 59607 h 58262"/>
                <a:gd name="connsiteX1" fmla="*/ 29579 w 62743"/>
                <a:gd name="connsiteY1" fmla="*/ 58262 h 58262"/>
                <a:gd name="connsiteX2" fmla="*/ 5826 w 62743"/>
                <a:gd name="connsiteY2" fmla="*/ 34509 h 58262"/>
                <a:gd name="connsiteX3" fmla="*/ 0 w 62743"/>
                <a:gd name="connsiteY3" fmla="*/ 20168 h 58262"/>
                <a:gd name="connsiteX4" fmla="*/ 5826 w 62743"/>
                <a:gd name="connsiteY4" fmla="*/ 5826 h 58262"/>
                <a:gd name="connsiteX5" fmla="*/ 20168 w 62743"/>
                <a:gd name="connsiteY5" fmla="*/ 0 h 58262"/>
                <a:gd name="connsiteX6" fmla="*/ 33164 w 62743"/>
                <a:gd name="connsiteY6" fmla="*/ 4930 h 58262"/>
                <a:gd name="connsiteX7" fmla="*/ 46161 w 62743"/>
                <a:gd name="connsiteY7" fmla="*/ 0 h 58262"/>
                <a:gd name="connsiteX8" fmla="*/ 60503 w 62743"/>
                <a:gd name="connsiteY8" fmla="*/ 5826 h 58262"/>
                <a:gd name="connsiteX9" fmla="*/ 60503 w 62743"/>
                <a:gd name="connsiteY9" fmla="*/ 34061 h 58262"/>
                <a:gd name="connsiteX10" fmla="*/ 36750 w 62743"/>
                <a:gd name="connsiteY10" fmla="*/ 57814 h 58262"/>
                <a:gd name="connsiteX11" fmla="*/ 32716 w 62743"/>
                <a:gd name="connsiteY11" fmla="*/ 59607 h 58262"/>
                <a:gd name="connsiteX12" fmla="*/ 19719 w 62743"/>
                <a:gd name="connsiteY12" fmla="*/ 4482 h 58262"/>
                <a:gd name="connsiteX13" fmla="*/ 8963 w 62743"/>
                <a:gd name="connsiteY13" fmla="*/ 8963 h 58262"/>
                <a:gd name="connsiteX14" fmla="*/ 4482 w 62743"/>
                <a:gd name="connsiteY14" fmla="*/ 19720 h 58262"/>
                <a:gd name="connsiteX15" fmla="*/ 8963 w 62743"/>
                <a:gd name="connsiteY15" fmla="*/ 30476 h 58262"/>
                <a:gd name="connsiteX16" fmla="*/ 32716 w 62743"/>
                <a:gd name="connsiteY16" fmla="*/ 54229 h 58262"/>
                <a:gd name="connsiteX17" fmla="*/ 56918 w 62743"/>
                <a:gd name="connsiteY17" fmla="*/ 30476 h 58262"/>
                <a:gd name="connsiteX18" fmla="*/ 56918 w 62743"/>
                <a:gd name="connsiteY18" fmla="*/ 8515 h 58262"/>
                <a:gd name="connsiteX19" fmla="*/ 34957 w 62743"/>
                <a:gd name="connsiteY19" fmla="*/ 8515 h 58262"/>
                <a:gd name="connsiteX20" fmla="*/ 34509 w 62743"/>
                <a:gd name="connsiteY20" fmla="*/ 8963 h 58262"/>
                <a:gd name="connsiteX21" fmla="*/ 32716 w 62743"/>
                <a:gd name="connsiteY21" fmla="*/ 9412 h 58262"/>
                <a:gd name="connsiteX22" fmla="*/ 32716 w 62743"/>
                <a:gd name="connsiteY22" fmla="*/ 9412 h 58262"/>
                <a:gd name="connsiteX23" fmla="*/ 30924 w 62743"/>
                <a:gd name="connsiteY23" fmla="*/ 8963 h 58262"/>
                <a:gd name="connsiteX24" fmla="*/ 30476 w 62743"/>
                <a:gd name="connsiteY24" fmla="*/ 8515 h 58262"/>
                <a:gd name="connsiteX25" fmla="*/ 19719 w 62743"/>
                <a:gd name="connsiteY25"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743" h="58262">
                  <a:moveTo>
                    <a:pt x="32716" y="59607"/>
                  </a:moveTo>
                  <a:cubicBezTo>
                    <a:pt x="31372" y="59607"/>
                    <a:pt x="30476" y="59159"/>
                    <a:pt x="29579" y="58262"/>
                  </a:cubicBezTo>
                  <a:lnTo>
                    <a:pt x="5826" y="34509"/>
                  </a:lnTo>
                  <a:cubicBezTo>
                    <a:pt x="2241" y="30924"/>
                    <a:pt x="0" y="25546"/>
                    <a:pt x="0" y="20168"/>
                  </a:cubicBezTo>
                  <a:cubicBezTo>
                    <a:pt x="0" y="14790"/>
                    <a:pt x="2241" y="9860"/>
                    <a:pt x="5826" y="5826"/>
                  </a:cubicBezTo>
                  <a:cubicBezTo>
                    <a:pt x="9411" y="2241"/>
                    <a:pt x="14790" y="0"/>
                    <a:pt x="20168" y="0"/>
                  </a:cubicBezTo>
                  <a:cubicBezTo>
                    <a:pt x="25097" y="0"/>
                    <a:pt x="29579" y="1793"/>
                    <a:pt x="33164" y="4930"/>
                  </a:cubicBezTo>
                  <a:cubicBezTo>
                    <a:pt x="36750" y="1793"/>
                    <a:pt x="41232" y="0"/>
                    <a:pt x="46161" y="0"/>
                  </a:cubicBezTo>
                  <a:cubicBezTo>
                    <a:pt x="51540" y="0"/>
                    <a:pt x="56469" y="2241"/>
                    <a:pt x="60503" y="5826"/>
                  </a:cubicBezTo>
                  <a:cubicBezTo>
                    <a:pt x="68122" y="13445"/>
                    <a:pt x="68122" y="26442"/>
                    <a:pt x="60503" y="34061"/>
                  </a:cubicBezTo>
                  <a:lnTo>
                    <a:pt x="36750" y="57814"/>
                  </a:lnTo>
                  <a:cubicBezTo>
                    <a:pt x="35405" y="59159"/>
                    <a:pt x="34061" y="59607"/>
                    <a:pt x="32716" y="59607"/>
                  </a:cubicBezTo>
                  <a:close/>
                  <a:moveTo>
                    <a:pt x="19719" y="4482"/>
                  </a:moveTo>
                  <a:cubicBezTo>
                    <a:pt x="15686" y="4482"/>
                    <a:pt x="11652" y="6274"/>
                    <a:pt x="8963" y="8963"/>
                  </a:cubicBezTo>
                  <a:cubicBezTo>
                    <a:pt x="5826" y="12101"/>
                    <a:pt x="4482" y="15686"/>
                    <a:pt x="4482" y="19720"/>
                  </a:cubicBezTo>
                  <a:cubicBezTo>
                    <a:pt x="4482" y="23753"/>
                    <a:pt x="6274" y="27787"/>
                    <a:pt x="8963" y="30476"/>
                  </a:cubicBezTo>
                  <a:lnTo>
                    <a:pt x="32716" y="54229"/>
                  </a:lnTo>
                  <a:lnTo>
                    <a:pt x="56918" y="30476"/>
                  </a:lnTo>
                  <a:cubicBezTo>
                    <a:pt x="62744" y="24649"/>
                    <a:pt x="62744" y="14790"/>
                    <a:pt x="56918" y="8515"/>
                  </a:cubicBezTo>
                  <a:cubicBezTo>
                    <a:pt x="51091" y="2689"/>
                    <a:pt x="40783" y="2689"/>
                    <a:pt x="34957" y="8515"/>
                  </a:cubicBezTo>
                  <a:lnTo>
                    <a:pt x="34509" y="8963"/>
                  </a:lnTo>
                  <a:cubicBezTo>
                    <a:pt x="34061" y="9412"/>
                    <a:pt x="33613" y="9412"/>
                    <a:pt x="32716" y="9412"/>
                  </a:cubicBezTo>
                  <a:cubicBezTo>
                    <a:pt x="32716" y="9412"/>
                    <a:pt x="32716" y="9412"/>
                    <a:pt x="32716" y="9412"/>
                  </a:cubicBezTo>
                  <a:cubicBezTo>
                    <a:pt x="32268" y="9412"/>
                    <a:pt x="31372" y="8963"/>
                    <a:pt x="30924" y="8963"/>
                  </a:cubicBezTo>
                  <a:lnTo>
                    <a:pt x="30476" y="8515"/>
                  </a:lnTo>
                  <a:cubicBezTo>
                    <a:pt x="27787" y="6274"/>
                    <a:pt x="24201" y="4482"/>
                    <a:pt x="19719" y="4482"/>
                  </a:cubicBezTo>
                  <a:close/>
                </a:path>
              </a:pathLst>
            </a:custGeom>
            <a:solidFill>
              <a:srgbClr val="231F20"/>
            </a:solidFill>
            <a:ln w="4477" cap="flat">
              <a:noFill/>
              <a:prstDash val="solid"/>
              <a:miter/>
            </a:ln>
          </p:spPr>
          <p:txBody>
            <a:bodyPr rtlCol="0" anchor="ctr"/>
            <a:lstStyle/>
            <a:p>
              <a:endParaRPr lang="en-US"/>
            </a:p>
          </p:txBody>
        </p:sp>
      </p:grpSp>
      <p:grpSp>
        <p:nvGrpSpPr>
          <p:cNvPr id="2536" name="Group 2535">
            <a:extLst>
              <a:ext uri="{FF2B5EF4-FFF2-40B4-BE49-F238E27FC236}">
                <a16:creationId xmlns:a16="http://schemas.microsoft.com/office/drawing/2014/main" id="{0789AC36-82AC-4EE3-861E-77C82A454B8A}"/>
              </a:ext>
              <a:ext uri="{C183D7F6-B498-43B3-948B-1728B52AA6E4}">
                <adec:decorative xmlns:adec="http://schemas.microsoft.com/office/drawing/2017/decorative" val="1"/>
              </a:ext>
            </a:extLst>
          </p:cNvPr>
          <p:cNvGrpSpPr>
            <a:grpSpLocks noChangeAspect="1"/>
          </p:cNvGrpSpPr>
          <p:nvPr/>
        </p:nvGrpSpPr>
        <p:grpSpPr>
          <a:xfrm>
            <a:off x="8790390" y="4877803"/>
            <a:ext cx="152378" cy="121006"/>
            <a:chOff x="8846890" y="2822112"/>
            <a:chExt cx="152378" cy="121006"/>
          </a:xfrm>
        </p:grpSpPr>
        <p:sp>
          <p:nvSpPr>
            <p:cNvPr id="2929" name="Freeform: Shape 2928">
              <a:extLst>
                <a:ext uri="{FF2B5EF4-FFF2-40B4-BE49-F238E27FC236}">
                  <a16:creationId xmlns:a16="http://schemas.microsoft.com/office/drawing/2014/main" id="{F3485067-AE69-4165-8F1D-6275A6D13A71}"/>
                </a:ext>
              </a:extLst>
            </p:cNvPr>
            <p:cNvSpPr/>
            <p:nvPr/>
          </p:nvSpPr>
          <p:spPr>
            <a:xfrm>
              <a:off x="8846890" y="2822112"/>
              <a:ext cx="152378" cy="121006"/>
            </a:xfrm>
            <a:custGeom>
              <a:avLst/>
              <a:gdLst>
                <a:gd name="connsiteX0" fmla="*/ 136692 w 152377"/>
                <a:gd name="connsiteY0" fmla="*/ 23753 h 121005"/>
                <a:gd name="connsiteX1" fmla="*/ 114283 w 152377"/>
                <a:gd name="connsiteY1" fmla="*/ 23753 h 121005"/>
                <a:gd name="connsiteX2" fmla="*/ 98597 w 152377"/>
                <a:gd name="connsiteY2" fmla="*/ 23753 h 121005"/>
                <a:gd name="connsiteX3" fmla="*/ 98597 w 152377"/>
                <a:gd name="connsiteY3" fmla="*/ 8515 h 121005"/>
                <a:gd name="connsiteX4" fmla="*/ 90082 w 152377"/>
                <a:gd name="connsiteY4" fmla="*/ 0 h 121005"/>
                <a:gd name="connsiteX5" fmla="*/ 62295 w 152377"/>
                <a:gd name="connsiteY5" fmla="*/ 0 h 121005"/>
                <a:gd name="connsiteX6" fmla="*/ 53780 w 152377"/>
                <a:gd name="connsiteY6" fmla="*/ 8515 h 121005"/>
                <a:gd name="connsiteX7" fmla="*/ 53780 w 152377"/>
                <a:gd name="connsiteY7" fmla="*/ 23753 h 121005"/>
                <a:gd name="connsiteX8" fmla="*/ 38094 w 152377"/>
                <a:gd name="connsiteY8" fmla="*/ 23753 h 121005"/>
                <a:gd name="connsiteX9" fmla="*/ 15686 w 152377"/>
                <a:gd name="connsiteY9" fmla="*/ 23753 h 121005"/>
                <a:gd name="connsiteX10" fmla="*/ 0 w 152377"/>
                <a:gd name="connsiteY10" fmla="*/ 38991 h 121005"/>
                <a:gd name="connsiteX11" fmla="*/ 0 w 152377"/>
                <a:gd name="connsiteY11" fmla="*/ 109802 h 121005"/>
                <a:gd name="connsiteX12" fmla="*/ 15686 w 152377"/>
                <a:gd name="connsiteY12" fmla="*/ 125040 h 121005"/>
                <a:gd name="connsiteX13" fmla="*/ 135796 w 152377"/>
                <a:gd name="connsiteY13" fmla="*/ 125040 h 121005"/>
                <a:gd name="connsiteX14" fmla="*/ 152378 w 152377"/>
                <a:gd name="connsiteY14" fmla="*/ 109354 h 121005"/>
                <a:gd name="connsiteX15" fmla="*/ 152378 w 152377"/>
                <a:gd name="connsiteY15" fmla="*/ 38991 h 121005"/>
                <a:gd name="connsiteX16" fmla="*/ 136692 w 152377"/>
                <a:gd name="connsiteY16" fmla="*/ 23753 h 121005"/>
                <a:gd name="connsiteX17" fmla="*/ 58710 w 152377"/>
                <a:gd name="connsiteY17" fmla="*/ 8515 h 121005"/>
                <a:gd name="connsiteX18" fmla="*/ 62744 w 152377"/>
                <a:gd name="connsiteY18" fmla="*/ 4482 h 121005"/>
                <a:gd name="connsiteX19" fmla="*/ 90530 w 152377"/>
                <a:gd name="connsiteY19" fmla="*/ 4482 h 121005"/>
                <a:gd name="connsiteX20" fmla="*/ 94564 w 152377"/>
                <a:gd name="connsiteY20" fmla="*/ 8515 h 121005"/>
                <a:gd name="connsiteX21" fmla="*/ 94564 w 152377"/>
                <a:gd name="connsiteY21" fmla="*/ 23753 h 121005"/>
                <a:gd name="connsiteX22" fmla="*/ 58710 w 152377"/>
                <a:gd name="connsiteY22" fmla="*/ 23753 h 121005"/>
                <a:gd name="connsiteX23" fmla="*/ 58710 w 152377"/>
                <a:gd name="connsiteY23" fmla="*/ 8515 h 121005"/>
                <a:gd name="connsiteX24" fmla="*/ 148344 w 152377"/>
                <a:gd name="connsiteY24" fmla="*/ 109802 h 121005"/>
                <a:gd name="connsiteX25" fmla="*/ 136244 w 152377"/>
                <a:gd name="connsiteY25" fmla="*/ 121006 h 121005"/>
                <a:gd name="connsiteX26" fmla="*/ 16134 w 152377"/>
                <a:gd name="connsiteY26" fmla="*/ 121006 h 121005"/>
                <a:gd name="connsiteX27" fmla="*/ 4930 w 152377"/>
                <a:gd name="connsiteY27" fmla="*/ 110250 h 121005"/>
                <a:gd name="connsiteX28" fmla="*/ 4930 w 152377"/>
                <a:gd name="connsiteY28" fmla="*/ 39439 h 121005"/>
                <a:gd name="connsiteX29" fmla="*/ 16134 w 152377"/>
                <a:gd name="connsiteY29" fmla="*/ 28683 h 121005"/>
                <a:gd name="connsiteX30" fmla="*/ 38543 w 152377"/>
                <a:gd name="connsiteY30" fmla="*/ 28683 h 121005"/>
                <a:gd name="connsiteX31" fmla="*/ 114283 w 152377"/>
                <a:gd name="connsiteY31" fmla="*/ 28683 h 121005"/>
                <a:gd name="connsiteX32" fmla="*/ 136692 w 152377"/>
                <a:gd name="connsiteY32" fmla="*/ 28683 h 121005"/>
                <a:gd name="connsiteX33" fmla="*/ 147896 w 152377"/>
                <a:gd name="connsiteY33" fmla="*/ 39439 h 121005"/>
                <a:gd name="connsiteX34" fmla="*/ 147896 w 152377"/>
                <a:gd name="connsiteY34" fmla="*/ 109802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2377" h="121005">
                  <a:moveTo>
                    <a:pt x="136692" y="23753"/>
                  </a:moveTo>
                  <a:lnTo>
                    <a:pt x="114283" y="23753"/>
                  </a:lnTo>
                  <a:lnTo>
                    <a:pt x="98597" y="23753"/>
                  </a:lnTo>
                  <a:lnTo>
                    <a:pt x="98597" y="8515"/>
                  </a:lnTo>
                  <a:cubicBezTo>
                    <a:pt x="98597" y="3585"/>
                    <a:pt x="94564" y="0"/>
                    <a:pt x="90082" y="0"/>
                  </a:cubicBezTo>
                  <a:lnTo>
                    <a:pt x="62295" y="0"/>
                  </a:lnTo>
                  <a:cubicBezTo>
                    <a:pt x="57366" y="0"/>
                    <a:pt x="53780" y="4034"/>
                    <a:pt x="53780" y="8515"/>
                  </a:cubicBezTo>
                  <a:lnTo>
                    <a:pt x="53780" y="23753"/>
                  </a:lnTo>
                  <a:lnTo>
                    <a:pt x="38094" y="23753"/>
                  </a:lnTo>
                  <a:lnTo>
                    <a:pt x="15686" y="23753"/>
                  </a:lnTo>
                  <a:cubicBezTo>
                    <a:pt x="6723" y="23753"/>
                    <a:pt x="0" y="30476"/>
                    <a:pt x="0" y="38991"/>
                  </a:cubicBezTo>
                  <a:lnTo>
                    <a:pt x="0" y="109802"/>
                  </a:lnTo>
                  <a:cubicBezTo>
                    <a:pt x="0" y="118317"/>
                    <a:pt x="7171" y="125040"/>
                    <a:pt x="15686" y="125040"/>
                  </a:cubicBezTo>
                  <a:lnTo>
                    <a:pt x="135796" y="125040"/>
                  </a:lnTo>
                  <a:cubicBezTo>
                    <a:pt x="144759" y="125040"/>
                    <a:pt x="152378" y="117869"/>
                    <a:pt x="152378" y="109354"/>
                  </a:cubicBezTo>
                  <a:lnTo>
                    <a:pt x="152378" y="38991"/>
                  </a:lnTo>
                  <a:cubicBezTo>
                    <a:pt x="152826" y="30924"/>
                    <a:pt x="145655" y="23753"/>
                    <a:pt x="136692" y="23753"/>
                  </a:cubicBezTo>
                  <a:close/>
                  <a:moveTo>
                    <a:pt x="58710" y="8515"/>
                  </a:moveTo>
                  <a:cubicBezTo>
                    <a:pt x="58710" y="6274"/>
                    <a:pt x="60503" y="4482"/>
                    <a:pt x="62744" y="4482"/>
                  </a:cubicBezTo>
                  <a:lnTo>
                    <a:pt x="90530" y="4482"/>
                  </a:lnTo>
                  <a:cubicBezTo>
                    <a:pt x="92771" y="4482"/>
                    <a:pt x="94564" y="6274"/>
                    <a:pt x="94564" y="8515"/>
                  </a:cubicBezTo>
                  <a:lnTo>
                    <a:pt x="94564" y="23753"/>
                  </a:lnTo>
                  <a:lnTo>
                    <a:pt x="58710" y="23753"/>
                  </a:lnTo>
                  <a:lnTo>
                    <a:pt x="58710" y="8515"/>
                  </a:lnTo>
                  <a:close/>
                  <a:moveTo>
                    <a:pt x="148344" y="109802"/>
                  </a:moveTo>
                  <a:cubicBezTo>
                    <a:pt x="148344" y="116076"/>
                    <a:pt x="142966" y="121006"/>
                    <a:pt x="136244" y="121006"/>
                  </a:cubicBezTo>
                  <a:lnTo>
                    <a:pt x="16134" y="121006"/>
                  </a:lnTo>
                  <a:cubicBezTo>
                    <a:pt x="9860" y="121006"/>
                    <a:pt x="4930" y="116076"/>
                    <a:pt x="4930" y="110250"/>
                  </a:cubicBezTo>
                  <a:lnTo>
                    <a:pt x="4930" y="39439"/>
                  </a:lnTo>
                  <a:cubicBezTo>
                    <a:pt x="4930" y="33613"/>
                    <a:pt x="9860" y="28683"/>
                    <a:pt x="16134" y="28683"/>
                  </a:cubicBezTo>
                  <a:lnTo>
                    <a:pt x="38543" y="28683"/>
                  </a:lnTo>
                  <a:lnTo>
                    <a:pt x="114283" y="28683"/>
                  </a:lnTo>
                  <a:lnTo>
                    <a:pt x="136692" y="28683"/>
                  </a:lnTo>
                  <a:cubicBezTo>
                    <a:pt x="142966" y="28683"/>
                    <a:pt x="147896" y="33613"/>
                    <a:pt x="147896" y="39439"/>
                  </a:cubicBezTo>
                  <a:lnTo>
                    <a:pt x="147896" y="109802"/>
                  </a:lnTo>
                  <a:close/>
                </a:path>
              </a:pathLst>
            </a:custGeom>
            <a:solidFill>
              <a:srgbClr val="231F20"/>
            </a:solidFill>
            <a:ln w="4477" cap="flat">
              <a:noFill/>
              <a:prstDash val="solid"/>
              <a:miter/>
            </a:ln>
          </p:spPr>
          <p:txBody>
            <a:bodyPr rtlCol="0" anchor="ctr"/>
            <a:lstStyle/>
            <a:p>
              <a:endParaRPr lang="en-US"/>
            </a:p>
          </p:txBody>
        </p:sp>
        <p:sp>
          <p:nvSpPr>
            <p:cNvPr id="2930" name="Freeform: Shape 2929">
              <a:extLst>
                <a:ext uri="{FF2B5EF4-FFF2-40B4-BE49-F238E27FC236}">
                  <a16:creationId xmlns:a16="http://schemas.microsoft.com/office/drawing/2014/main" id="{D942462D-6000-4D61-9F5F-685E0ED12352}"/>
                </a:ext>
              </a:extLst>
            </p:cNvPr>
            <p:cNvSpPr/>
            <p:nvPr/>
          </p:nvSpPr>
          <p:spPr>
            <a:xfrm>
              <a:off x="8896637" y="2871411"/>
              <a:ext cx="53780" cy="53780"/>
            </a:xfrm>
            <a:custGeom>
              <a:avLst/>
              <a:gdLst>
                <a:gd name="connsiteX0" fmla="*/ 51540 w 53780"/>
                <a:gd name="connsiteY0" fmla="*/ 17927 h 53780"/>
                <a:gd name="connsiteX1" fmla="*/ 35854 w 53780"/>
                <a:gd name="connsiteY1" fmla="*/ 17927 h 53780"/>
                <a:gd name="connsiteX2" fmla="*/ 35854 w 53780"/>
                <a:gd name="connsiteY2" fmla="*/ 2241 h 53780"/>
                <a:gd name="connsiteX3" fmla="*/ 33613 w 53780"/>
                <a:gd name="connsiteY3" fmla="*/ 0 h 53780"/>
                <a:gd name="connsiteX4" fmla="*/ 20168 w 53780"/>
                <a:gd name="connsiteY4" fmla="*/ 0 h 53780"/>
                <a:gd name="connsiteX5" fmla="*/ 17927 w 53780"/>
                <a:gd name="connsiteY5" fmla="*/ 2241 h 53780"/>
                <a:gd name="connsiteX6" fmla="*/ 17927 w 53780"/>
                <a:gd name="connsiteY6" fmla="*/ 17927 h 53780"/>
                <a:gd name="connsiteX7" fmla="*/ 2241 w 53780"/>
                <a:gd name="connsiteY7" fmla="*/ 17927 h 53780"/>
                <a:gd name="connsiteX8" fmla="*/ 0 w 53780"/>
                <a:gd name="connsiteY8" fmla="*/ 20168 h 53780"/>
                <a:gd name="connsiteX9" fmla="*/ 0 w 53780"/>
                <a:gd name="connsiteY9" fmla="*/ 33613 h 53780"/>
                <a:gd name="connsiteX10" fmla="*/ 2241 w 53780"/>
                <a:gd name="connsiteY10" fmla="*/ 35854 h 53780"/>
                <a:gd name="connsiteX11" fmla="*/ 17927 w 53780"/>
                <a:gd name="connsiteY11" fmla="*/ 35854 h 53780"/>
                <a:gd name="connsiteX12" fmla="*/ 17927 w 53780"/>
                <a:gd name="connsiteY12" fmla="*/ 51540 h 53780"/>
                <a:gd name="connsiteX13" fmla="*/ 20168 w 53780"/>
                <a:gd name="connsiteY13" fmla="*/ 53780 h 53780"/>
                <a:gd name="connsiteX14" fmla="*/ 33613 w 53780"/>
                <a:gd name="connsiteY14" fmla="*/ 53780 h 53780"/>
                <a:gd name="connsiteX15" fmla="*/ 35854 w 53780"/>
                <a:gd name="connsiteY15" fmla="*/ 51540 h 53780"/>
                <a:gd name="connsiteX16" fmla="*/ 35854 w 53780"/>
                <a:gd name="connsiteY16" fmla="*/ 35854 h 53780"/>
                <a:gd name="connsiteX17" fmla="*/ 51540 w 53780"/>
                <a:gd name="connsiteY17" fmla="*/ 35854 h 53780"/>
                <a:gd name="connsiteX18" fmla="*/ 53780 w 53780"/>
                <a:gd name="connsiteY18" fmla="*/ 33613 h 53780"/>
                <a:gd name="connsiteX19" fmla="*/ 53780 w 53780"/>
                <a:gd name="connsiteY19" fmla="*/ 20168 h 53780"/>
                <a:gd name="connsiteX20" fmla="*/ 51540 w 53780"/>
                <a:gd name="connsiteY20" fmla="*/ 17927 h 53780"/>
                <a:gd name="connsiteX21" fmla="*/ 49299 w 53780"/>
                <a:gd name="connsiteY21" fmla="*/ 31372 h 53780"/>
                <a:gd name="connsiteX22" fmla="*/ 33613 w 53780"/>
                <a:gd name="connsiteY22" fmla="*/ 31372 h 53780"/>
                <a:gd name="connsiteX23" fmla="*/ 32716 w 53780"/>
                <a:gd name="connsiteY23" fmla="*/ 31372 h 53780"/>
                <a:gd name="connsiteX24" fmla="*/ 32716 w 53780"/>
                <a:gd name="connsiteY24" fmla="*/ 31372 h 53780"/>
                <a:gd name="connsiteX25" fmla="*/ 32268 w 53780"/>
                <a:gd name="connsiteY25" fmla="*/ 31372 h 53780"/>
                <a:gd name="connsiteX26" fmla="*/ 31820 w 53780"/>
                <a:gd name="connsiteY26" fmla="*/ 31820 h 53780"/>
                <a:gd name="connsiteX27" fmla="*/ 31820 w 53780"/>
                <a:gd name="connsiteY27" fmla="*/ 31820 h 53780"/>
                <a:gd name="connsiteX28" fmla="*/ 31372 w 53780"/>
                <a:gd name="connsiteY28" fmla="*/ 32268 h 53780"/>
                <a:gd name="connsiteX29" fmla="*/ 31372 w 53780"/>
                <a:gd name="connsiteY29" fmla="*/ 32717 h 53780"/>
                <a:gd name="connsiteX30" fmla="*/ 31372 w 53780"/>
                <a:gd name="connsiteY30" fmla="*/ 33165 h 53780"/>
                <a:gd name="connsiteX31" fmla="*/ 31372 w 53780"/>
                <a:gd name="connsiteY31" fmla="*/ 48851 h 53780"/>
                <a:gd name="connsiteX32" fmla="*/ 22409 w 53780"/>
                <a:gd name="connsiteY32" fmla="*/ 48851 h 53780"/>
                <a:gd name="connsiteX33" fmla="*/ 22409 w 53780"/>
                <a:gd name="connsiteY33" fmla="*/ 33165 h 53780"/>
                <a:gd name="connsiteX34" fmla="*/ 22409 w 53780"/>
                <a:gd name="connsiteY34" fmla="*/ 32717 h 53780"/>
                <a:gd name="connsiteX35" fmla="*/ 22409 w 53780"/>
                <a:gd name="connsiteY35" fmla="*/ 32268 h 53780"/>
                <a:gd name="connsiteX36" fmla="*/ 21960 w 53780"/>
                <a:gd name="connsiteY36" fmla="*/ 31820 h 53780"/>
                <a:gd name="connsiteX37" fmla="*/ 21960 w 53780"/>
                <a:gd name="connsiteY37" fmla="*/ 31372 h 53780"/>
                <a:gd name="connsiteX38" fmla="*/ 21512 w 53780"/>
                <a:gd name="connsiteY38" fmla="*/ 31372 h 53780"/>
                <a:gd name="connsiteX39" fmla="*/ 21064 w 53780"/>
                <a:gd name="connsiteY39" fmla="*/ 30924 h 53780"/>
                <a:gd name="connsiteX40" fmla="*/ 21064 w 53780"/>
                <a:gd name="connsiteY40" fmla="*/ 30924 h 53780"/>
                <a:gd name="connsiteX41" fmla="*/ 20168 w 53780"/>
                <a:gd name="connsiteY41" fmla="*/ 30924 h 53780"/>
                <a:gd name="connsiteX42" fmla="*/ 4482 w 53780"/>
                <a:gd name="connsiteY42" fmla="*/ 30924 h 53780"/>
                <a:gd name="connsiteX43" fmla="*/ 4482 w 53780"/>
                <a:gd name="connsiteY43" fmla="*/ 21960 h 53780"/>
                <a:gd name="connsiteX44" fmla="*/ 20168 w 53780"/>
                <a:gd name="connsiteY44" fmla="*/ 21960 h 53780"/>
                <a:gd name="connsiteX45" fmla="*/ 21064 w 53780"/>
                <a:gd name="connsiteY45" fmla="*/ 21960 h 53780"/>
                <a:gd name="connsiteX46" fmla="*/ 21064 w 53780"/>
                <a:gd name="connsiteY46" fmla="*/ 21960 h 53780"/>
                <a:gd name="connsiteX47" fmla="*/ 21512 w 53780"/>
                <a:gd name="connsiteY47" fmla="*/ 21512 h 53780"/>
                <a:gd name="connsiteX48" fmla="*/ 21960 w 53780"/>
                <a:gd name="connsiteY48" fmla="*/ 21512 h 53780"/>
                <a:gd name="connsiteX49" fmla="*/ 21960 w 53780"/>
                <a:gd name="connsiteY49" fmla="*/ 21064 h 53780"/>
                <a:gd name="connsiteX50" fmla="*/ 22409 w 53780"/>
                <a:gd name="connsiteY50" fmla="*/ 20616 h 53780"/>
                <a:gd name="connsiteX51" fmla="*/ 22409 w 53780"/>
                <a:gd name="connsiteY51" fmla="*/ 20168 h 53780"/>
                <a:gd name="connsiteX52" fmla="*/ 22409 w 53780"/>
                <a:gd name="connsiteY52" fmla="*/ 19720 h 53780"/>
                <a:gd name="connsiteX53" fmla="*/ 22409 w 53780"/>
                <a:gd name="connsiteY53" fmla="*/ 4034 h 53780"/>
                <a:gd name="connsiteX54" fmla="*/ 31372 w 53780"/>
                <a:gd name="connsiteY54" fmla="*/ 4034 h 53780"/>
                <a:gd name="connsiteX55" fmla="*/ 31372 w 53780"/>
                <a:gd name="connsiteY55" fmla="*/ 19720 h 53780"/>
                <a:gd name="connsiteX56" fmla="*/ 31372 w 53780"/>
                <a:gd name="connsiteY56" fmla="*/ 20168 h 53780"/>
                <a:gd name="connsiteX57" fmla="*/ 31372 w 53780"/>
                <a:gd name="connsiteY57" fmla="*/ 20616 h 53780"/>
                <a:gd name="connsiteX58" fmla="*/ 31820 w 53780"/>
                <a:gd name="connsiteY58" fmla="*/ 21064 h 53780"/>
                <a:gd name="connsiteX59" fmla="*/ 31820 w 53780"/>
                <a:gd name="connsiteY59" fmla="*/ 21064 h 53780"/>
                <a:gd name="connsiteX60" fmla="*/ 32268 w 53780"/>
                <a:gd name="connsiteY60" fmla="*/ 21512 h 53780"/>
                <a:gd name="connsiteX61" fmla="*/ 32716 w 53780"/>
                <a:gd name="connsiteY61" fmla="*/ 21512 h 53780"/>
                <a:gd name="connsiteX62" fmla="*/ 32716 w 53780"/>
                <a:gd name="connsiteY62" fmla="*/ 21512 h 53780"/>
                <a:gd name="connsiteX63" fmla="*/ 33613 w 53780"/>
                <a:gd name="connsiteY63" fmla="*/ 21512 h 53780"/>
                <a:gd name="connsiteX64" fmla="*/ 49299 w 53780"/>
                <a:gd name="connsiteY64" fmla="*/ 21512 h 53780"/>
                <a:gd name="connsiteX65" fmla="*/ 49299 w 53780"/>
                <a:gd name="connsiteY65" fmla="*/ 31372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3780" h="53780">
                  <a:moveTo>
                    <a:pt x="51540" y="17927"/>
                  </a:moveTo>
                  <a:lnTo>
                    <a:pt x="35854" y="17927"/>
                  </a:lnTo>
                  <a:lnTo>
                    <a:pt x="35854" y="2241"/>
                  </a:lnTo>
                  <a:cubicBezTo>
                    <a:pt x="35854" y="896"/>
                    <a:pt x="34957" y="0"/>
                    <a:pt x="33613" y="0"/>
                  </a:cubicBezTo>
                  <a:lnTo>
                    <a:pt x="20168" y="0"/>
                  </a:lnTo>
                  <a:cubicBezTo>
                    <a:pt x="18823" y="0"/>
                    <a:pt x="17927" y="896"/>
                    <a:pt x="17927" y="2241"/>
                  </a:cubicBezTo>
                  <a:lnTo>
                    <a:pt x="17927" y="17927"/>
                  </a:lnTo>
                  <a:lnTo>
                    <a:pt x="2241" y="17927"/>
                  </a:lnTo>
                  <a:cubicBezTo>
                    <a:pt x="896" y="17927"/>
                    <a:pt x="0" y="18823"/>
                    <a:pt x="0" y="20168"/>
                  </a:cubicBezTo>
                  <a:lnTo>
                    <a:pt x="0" y="33613"/>
                  </a:lnTo>
                  <a:cubicBezTo>
                    <a:pt x="0" y="34957"/>
                    <a:pt x="896" y="35854"/>
                    <a:pt x="2241" y="35854"/>
                  </a:cubicBezTo>
                  <a:lnTo>
                    <a:pt x="17927" y="35854"/>
                  </a:lnTo>
                  <a:lnTo>
                    <a:pt x="17927" y="51540"/>
                  </a:lnTo>
                  <a:cubicBezTo>
                    <a:pt x="17927" y="52884"/>
                    <a:pt x="18823" y="53780"/>
                    <a:pt x="20168" y="53780"/>
                  </a:cubicBezTo>
                  <a:lnTo>
                    <a:pt x="33613" y="53780"/>
                  </a:lnTo>
                  <a:cubicBezTo>
                    <a:pt x="34957" y="53780"/>
                    <a:pt x="35854" y="52884"/>
                    <a:pt x="35854" y="51540"/>
                  </a:cubicBezTo>
                  <a:lnTo>
                    <a:pt x="35854" y="35854"/>
                  </a:lnTo>
                  <a:lnTo>
                    <a:pt x="51540" y="35854"/>
                  </a:lnTo>
                  <a:cubicBezTo>
                    <a:pt x="52884" y="35854"/>
                    <a:pt x="53780" y="34957"/>
                    <a:pt x="53780" y="33613"/>
                  </a:cubicBezTo>
                  <a:lnTo>
                    <a:pt x="53780" y="20168"/>
                  </a:lnTo>
                  <a:cubicBezTo>
                    <a:pt x="53780" y="18823"/>
                    <a:pt x="52884" y="17927"/>
                    <a:pt x="51540" y="17927"/>
                  </a:cubicBezTo>
                  <a:close/>
                  <a:moveTo>
                    <a:pt x="49299" y="31372"/>
                  </a:moveTo>
                  <a:lnTo>
                    <a:pt x="33613" y="31372"/>
                  </a:lnTo>
                  <a:cubicBezTo>
                    <a:pt x="33165" y="31372"/>
                    <a:pt x="33165" y="31372"/>
                    <a:pt x="32716" y="31372"/>
                  </a:cubicBezTo>
                  <a:cubicBezTo>
                    <a:pt x="32716" y="31372"/>
                    <a:pt x="32716" y="31372"/>
                    <a:pt x="32716" y="31372"/>
                  </a:cubicBezTo>
                  <a:cubicBezTo>
                    <a:pt x="32716" y="31372"/>
                    <a:pt x="32716" y="31372"/>
                    <a:pt x="32268" y="31372"/>
                  </a:cubicBezTo>
                  <a:cubicBezTo>
                    <a:pt x="32268" y="31372"/>
                    <a:pt x="31820" y="31372"/>
                    <a:pt x="31820" y="31820"/>
                  </a:cubicBezTo>
                  <a:cubicBezTo>
                    <a:pt x="31820" y="31820"/>
                    <a:pt x="31820" y="31820"/>
                    <a:pt x="31820" y="31820"/>
                  </a:cubicBezTo>
                  <a:cubicBezTo>
                    <a:pt x="31820" y="31820"/>
                    <a:pt x="31372" y="32268"/>
                    <a:pt x="31372" y="32268"/>
                  </a:cubicBezTo>
                  <a:cubicBezTo>
                    <a:pt x="31372" y="32268"/>
                    <a:pt x="31372" y="32717"/>
                    <a:pt x="31372" y="32717"/>
                  </a:cubicBezTo>
                  <a:cubicBezTo>
                    <a:pt x="31372" y="32717"/>
                    <a:pt x="31372" y="33165"/>
                    <a:pt x="31372" y="33165"/>
                  </a:cubicBezTo>
                  <a:lnTo>
                    <a:pt x="31372" y="48851"/>
                  </a:lnTo>
                  <a:lnTo>
                    <a:pt x="22409" y="48851"/>
                  </a:lnTo>
                  <a:lnTo>
                    <a:pt x="22409" y="33165"/>
                  </a:lnTo>
                  <a:cubicBezTo>
                    <a:pt x="22409" y="32717"/>
                    <a:pt x="22409" y="32717"/>
                    <a:pt x="22409" y="32717"/>
                  </a:cubicBezTo>
                  <a:cubicBezTo>
                    <a:pt x="22409" y="32717"/>
                    <a:pt x="22409" y="32717"/>
                    <a:pt x="22409" y="32268"/>
                  </a:cubicBezTo>
                  <a:cubicBezTo>
                    <a:pt x="22409" y="32268"/>
                    <a:pt x="22409" y="31820"/>
                    <a:pt x="21960" y="31820"/>
                  </a:cubicBezTo>
                  <a:cubicBezTo>
                    <a:pt x="21960" y="31820"/>
                    <a:pt x="21960" y="31820"/>
                    <a:pt x="21960" y="31372"/>
                  </a:cubicBezTo>
                  <a:cubicBezTo>
                    <a:pt x="21960" y="31372"/>
                    <a:pt x="21960" y="31372"/>
                    <a:pt x="21512" y="31372"/>
                  </a:cubicBezTo>
                  <a:cubicBezTo>
                    <a:pt x="21512" y="31372"/>
                    <a:pt x="21064" y="31372"/>
                    <a:pt x="21064" y="30924"/>
                  </a:cubicBezTo>
                  <a:cubicBezTo>
                    <a:pt x="21064" y="30924"/>
                    <a:pt x="21064" y="30924"/>
                    <a:pt x="21064" y="30924"/>
                  </a:cubicBezTo>
                  <a:cubicBezTo>
                    <a:pt x="20616" y="30924"/>
                    <a:pt x="20616" y="30924"/>
                    <a:pt x="20168" y="30924"/>
                  </a:cubicBezTo>
                  <a:lnTo>
                    <a:pt x="4482" y="30924"/>
                  </a:lnTo>
                  <a:lnTo>
                    <a:pt x="4482" y="21960"/>
                  </a:lnTo>
                  <a:lnTo>
                    <a:pt x="20168" y="21960"/>
                  </a:lnTo>
                  <a:cubicBezTo>
                    <a:pt x="20616" y="21960"/>
                    <a:pt x="20616" y="21960"/>
                    <a:pt x="21064" y="21960"/>
                  </a:cubicBezTo>
                  <a:cubicBezTo>
                    <a:pt x="21064" y="21960"/>
                    <a:pt x="21064" y="21960"/>
                    <a:pt x="21064" y="21960"/>
                  </a:cubicBezTo>
                  <a:cubicBezTo>
                    <a:pt x="21064" y="21960"/>
                    <a:pt x="21512" y="21960"/>
                    <a:pt x="21512" y="21512"/>
                  </a:cubicBezTo>
                  <a:cubicBezTo>
                    <a:pt x="21512" y="21512"/>
                    <a:pt x="21512" y="21512"/>
                    <a:pt x="21960" y="21512"/>
                  </a:cubicBezTo>
                  <a:cubicBezTo>
                    <a:pt x="21960" y="21512"/>
                    <a:pt x="21960" y="21512"/>
                    <a:pt x="21960" y="21064"/>
                  </a:cubicBezTo>
                  <a:cubicBezTo>
                    <a:pt x="21960" y="21064"/>
                    <a:pt x="22409" y="20616"/>
                    <a:pt x="22409" y="20616"/>
                  </a:cubicBezTo>
                  <a:cubicBezTo>
                    <a:pt x="22409" y="20616"/>
                    <a:pt x="22409" y="20616"/>
                    <a:pt x="22409" y="20168"/>
                  </a:cubicBezTo>
                  <a:cubicBezTo>
                    <a:pt x="22409" y="20168"/>
                    <a:pt x="22409" y="19720"/>
                    <a:pt x="22409" y="19720"/>
                  </a:cubicBezTo>
                  <a:lnTo>
                    <a:pt x="22409" y="4034"/>
                  </a:lnTo>
                  <a:lnTo>
                    <a:pt x="31372" y="4034"/>
                  </a:lnTo>
                  <a:lnTo>
                    <a:pt x="31372" y="19720"/>
                  </a:lnTo>
                  <a:cubicBezTo>
                    <a:pt x="31372" y="19720"/>
                    <a:pt x="31372" y="20168"/>
                    <a:pt x="31372" y="20168"/>
                  </a:cubicBezTo>
                  <a:cubicBezTo>
                    <a:pt x="31372" y="20168"/>
                    <a:pt x="31372" y="20616"/>
                    <a:pt x="31372" y="20616"/>
                  </a:cubicBezTo>
                  <a:cubicBezTo>
                    <a:pt x="31372" y="21064"/>
                    <a:pt x="31820" y="21064"/>
                    <a:pt x="31820" y="21064"/>
                  </a:cubicBezTo>
                  <a:cubicBezTo>
                    <a:pt x="31820" y="21064"/>
                    <a:pt x="31820" y="21064"/>
                    <a:pt x="31820" y="21064"/>
                  </a:cubicBezTo>
                  <a:cubicBezTo>
                    <a:pt x="31820" y="21064"/>
                    <a:pt x="32268" y="21064"/>
                    <a:pt x="32268" y="21512"/>
                  </a:cubicBezTo>
                  <a:cubicBezTo>
                    <a:pt x="32268" y="21512"/>
                    <a:pt x="32268" y="21512"/>
                    <a:pt x="32716" y="21512"/>
                  </a:cubicBezTo>
                  <a:cubicBezTo>
                    <a:pt x="32716" y="21512"/>
                    <a:pt x="32716" y="21512"/>
                    <a:pt x="32716" y="21512"/>
                  </a:cubicBezTo>
                  <a:cubicBezTo>
                    <a:pt x="32716" y="21512"/>
                    <a:pt x="33165" y="21512"/>
                    <a:pt x="33613" y="21512"/>
                  </a:cubicBezTo>
                  <a:lnTo>
                    <a:pt x="49299" y="21512"/>
                  </a:lnTo>
                  <a:lnTo>
                    <a:pt x="49299" y="31372"/>
                  </a:lnTo>
                  <a:close/>
                </a:path>
              </a:pathLst>
            </a:custGeom>
            <a:solidFill>
              <a:srgbClr val="231F20"/>
            </a:solidFill>
            <a:ln w="4477" cap="flat">
              <a:noFill/>
              <a:prstDash val="solid"/>
              <a:miter/>
            </a:ln>
          </p:spPr>
          <p:txBody>
            <a:bodyPr rtlCol="0" anchor="ctr"/>
            <a:lstStyle/>
            <a:p>
              <a:endParaRPr lang="en-US"/>
            </a:p>
          </p:txBody>
        </p:sp>
      </p:grpSp>
      <p:sp>
        <p:nvSpPr>
          <p:cNvPr id="2537" name="Freeform: Shape 2536">
            <a:extLst>
              <a:ext uri="{FF2B5EF4-FFF2-40B4-BE49-F238E27FC236}">
                <a16:creationId xmlns:a16="http://schemas.microsoft.com/office/drawing/2014/main" id="{EBF6D3E1-3B92-40BA-B41E-0B2393CF8350}"/>
              </a:ext>
              <a:ext uri="{C183D7F6-B498-43B3-948B-1728B52AA6E4}">
                <adec:decorative xmlns:adec="http://schemas.microsoft.com/office/drawing/2017/decorative" val="1"/>
              </a:ext>
            </a:extLst>
          </p:cNvPr>
          <p:cNvSpPr>
            <a:spLocks noChangeAspect="1"/>
          </p:cNvSpPr>
          <p:nvPr/>
        </p:nvSpPr>
        <p:spPr>
          <a:xfrm>
            <a:off x="9872721" y="4867495"/>
            <a:ext cx="103079" cy="147896"/>
          </a:xfrm>
          <a:custGeom>
            <a:avLst/>
            <a:gdLst>
              <a:gd name="connsiteX0" fmla="*/ 50195 w 103079"/>
              <a:gd name="connsiteY0" fmla="*/ 113835 h 147896"/>
              <a:gd name="connsiteX1" fmla="*/ 50195 w 103079"/>
              <a:gd name="connsiteY1" fmla="*/ 113835 h 147896"/>
              <a:gd name="connsiteX2" fmla="*/ 103976 w 103079"/>
              <a:gd name="connsiteY2" fmla="*/ 59607 h 147896"/>
              <a:gd name="connsiteX3" fmla="*/ 54677 w 103079"/>
              <a:gd name="connsiteY3" fmla="*/ 5378 h 147896"/>
              <a:gd name="connsiteX4" fmla="*/ 43473 w 103079"/>
              <a:gd name="connsiteY4" fmla="*/ 0 h 147896"/>
              <a:gd name="connsiteX5" fmla="*/ 31820 w 103079"/>
              <a:gd name="connsiteY5" fmla="*/ 8067 h 147896"/>
              <a:gd name="connsiteX6" fmla="*/ 43473 w 103079"/>
              <a:gd name="connsiteY6" fmla="*/ 16134 h 147896"/>
              <a:gd name="connsiteX7" fmla="*/ 54677 w 103079"/>
              <a:gd name="connsiteY7" fmla="*/ 10308 h 147896"/>
              <a:gd name="connsiteX8" fmla="*/ 99494 w 103079"/>
              <a:gd name="connsiteY8" fmla="*/ 60055 h 147896"/>
              <a:gd name="connsiteX9" fmla="*/ 49747 w 103079"/>
              <a:gd name="connsiteY9" fmla="*/ 109802 h 147896"/>
              <a:gd name="connsiteX10" fmla="*/ 44817 w 103079"/>
              <a:gd name="connsiteY10" fmla="*/ 109802 h 147896"/>
              <a:gd name="connsiteX11" fmla="*/ 44817 w 103079"/>
              <a:gd name="connsiteY11" fmla="*/ 102631 h 147896"/>
              <a:gd name="connsiteX12" fmla="*/ 85152 w 103079"/>
              <a:gd name="connsiteY12" fmla="*/ 53780 h 147896"/>
              <a:gd name="connsiteX13" fmla="*/ 84704 w 103079"/>
              <a:gd name="connsiteY13" fmla="*/ 51988 h 147896"/>
              <a:gd name="connsiteX14" fmla="*/ 82911 w 103079"/>
              <a:gd name="connsiteY14" fmla="*/ 51091 h 147896"/>
              <a:gd name="connsiteX15" fmla="*/ 2241 w 103079"/>
              <a:gd name="connsiteY15" fmla="*/ 51091 h 147896"/>
              <a:gd name="connsiteX16" fmla="*/ 448 w 103079"/>
              <a:gd name="connsiteY16" fmla="*/ 51988 h 147896"/>
              <a:gd name="connsiteX17" fmla="*/ 0 w 103079"/>
              <a:gd name="connsiteY17" fmla="*/ 53780 h 147896"/>
              <a:gd name="connsiteX18" fmla="*/ 40335 w 103079"/>
              <a:gd name="connsiteY18" fmla="*/ 102631 h 147896"/>
              <a:gd name="connsiteX19" fmla="*/ 40335 w 103079"/>
              <a:gd name="connsiteY19" fmla="*/ 109802 h 147896"/>
              <a:gd name="connsiteX20" fmla="*/ 34957 w 103079"/>
              <a:gd name="connsiteY20" fmla="*/ 109802 h 147896"/>
              <a:gd name="connsiteX21" fmla="*/ 20168 w 103079"/>
              <a:gd name="connsiteY21" fmla="*/ 124591 h 147896"/>
              <a:gd name="connsiteX22" fmla="*/ 34957 w 103079"/>
              <a:gd name="connsiteY22" fmla="*/ 139381 h 147896"/>
              <a:gd name="connsiteX23" fmla="*/ 40335 w 103079"/>
              <a:gd name="connsiteY23" fmla="*/ 139381 h 147896"/>
              <a:gd name="connsiteX24" fmla="*/ 40335 w 103079"/>
              <a:gd name="connsiteY24" fmla="*/ 145207 h 147896"/>
              <a:gd name="connsiteX25" fmla="*/ 15686 w 103079"/>
              <a:gd name="connsiteY25" fmla="*/ 145207 h 147896"/>
              <a:gd name="connsiteX26" fmla="*/ 13445 w 103079"/>
              <a:gd name="connsiteY26" fmla="*/ 147448 h 147896"/>
              <a:gd name="connsiteX27" fmla="*/ 15686 w 103079"/>
              <a:gd name="connsiteY27" fmla="*/ 149689 h 147896"/>
              <a:gd name="connsiteX28" fmla="*/ 69466 w 103079"/>
              <a:gd name="connsiteY28" fmla="*/ 149689 h 147896"/>
              <a:gd name="connsiteX29" fmla="*/ 71707 w 103079"/>
              <a:gd name="connsiteY29" fmla="*/ 147448 h 147896"/>
              <a:gd name="connsiteX30" fmla="*/ 69466 w 103079"/>
              <a:gd name="connsiteY30" fmla="*/ 145207 h 147896"/>
              <a:gd name="connsiteX31" fmla="*/ 44817 w 103079"/>
              <a:gd name="connsiteY31" fmla="*/ 145207 h 147896"/>
              <a:gd name="connsiteX32" fmla="*/ 44817 w 103079"/>
              <a:gd name="connsiteY32" fmla="*/ 139381 h 147896"/>
              <a:gd name="connsiteX33" fmla="*/ 65433 w 103079"/>
              <a:gd name="connsiteY33" fmla="*/ 139381 h 147896"/>
              <a:gd name="connsiteX34" fmla="*/ 67674 w 103079"/>
              <a:gd name="connsiteY34" fmla="*/ 137140 h 147896"/>
              <a:gd name="connsiteX35" fmla="*/ 65433 w 103079"/>
              <a:gd name="connsiteY35" fmla="*/ 134899 h 147896"/>
              <a:gd name="connsiteX36" fmla="*/ 44817 w 103079"/>
              <a:gd name="connsiteY36" fmla="*/ 134899 h 147896"/>
              <a:gd name="connsiteX37" fmla="*/ 44817 w 103079"/>
              <a:gd name="connsiteY37" fmla="*/ 114283 h 147896"/>
              <a:gd name="connsiteX38" fmla="*/ 50195 w 103079"/>
              <a:gd name="connsiteY38" fmla="*/ 114283 h 147896"/>
              <a:gd name="connsiteX39" fmla="*/ 43473 w 103079"/>
              <a:gd name="connsiteY39" fmla="*/ 11204 h 147896"/>
              <a:gd name="connsiteX40" fmla="*/ 36302 w 103079"/>
              <a:gd name="connsiteY40" fmla="*/ 7619 h 147896"/>
              <a:gd name="connsiteX41" fmla="*/ 43473 w 103079"/>
              <a:gd name="connsiteY41" fmla="*/ 4034 h 147896"/>
              <a:gd name="connsiteX42" fmla="*/ 50643 w 103079"/>
              <a:gd name="connsiteY42" fmla="*/ 7619 h 147896"/>
              <a:gd name="connsiteX43" fmla="*/ 43473 w 103079"/>
              <a:gd name="connsiteY43" fmla="*/ 11204 h 147896"/>
              <a:gd name="connsiteX44" fmla="*/ 4482 w 103079"/>
              <a:gd name="connsiteY44" fmla="*/ 55125 h 147896"/>
              <a:gd name="connsiteX45" fmla="*/ 80222 w 103079"/>
              <a:gd name="connsiteY45" fmla="*/ 55125 h 147896"/>
              <a:gd name="connsiteX46" fmla="*/ 43024 w 103079"/>
              <a:gd name="connsiteY46" fmla="*/ 97701 h 147896"/>
              <a:gd name="connsiteX47" fmla="*/ 42128 w 103079"/>
              <a:gd name="connsiteY47" fmla="*/ 97701 h 147896"/>
              <a:gd name="connsiteX48" fmla="*/ 41680 w 103079"/>
              <a:gd name="connsiteY48" fmla="*/ 97701 h 147896"/>
              <a:gd name="connsiteX49" fmla="*/ 4482 w 103079"/>
              <a:gd name="connsiteY49" fmla="*/ 55125 h 147896"/>
              <a:gd name="connsiteX50" fmla="*/ 40335 w 103079"/>
              <a:gd name="connsiteY50" fmla="*/ 134451 h 147896"/>
              <a:gd name="connsiteX51" fmla="*/ 34957 w 103079"/>
              <a:gd name="connsiteY51" fmla="*/ 134451 h 147896"/>
              <a:gd name="connsiteX52" fmla="*/ 24649 w 103079"/>
              <a:gd name="connsiteY52" fmla="*/ 124143 h 147896"/>
              <a:gd name="connsiteX53" fmla="*/ 34957 w 103079"/>
              <a:gd name="connsiteY53" fmla="*/ 113835 h 147896"/>
              <a:gd name="connsiteX54" fmla="*/ 40335 w 103079"/>
              <a:gd name="connsiteY54" fmla="*/ 113835 h 147896"/>
              <a:gd name="connsiteX55" fmla="*/ 40335 w 103079"/>
              <a:gd name="connsiteY55" fmla="*/ 13445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3079" h="147896">
                <a:moveTo>
                  <a:pt x="50195" y="113835"/>
                </a:moveTo>
                <a:cubicBezTo>
                  <a:pt x="50195" y="113835"/>
                  <a:pt x="50195" y="113835"/>
                  <a:pt x="50195" y="113835"/>
                </a:cubicBezTo>
                <a:cubicBezTo>
                  <a:pt x="79774" y="113387"/>
                  <a:pt x="103976" y="89186"/>
                  <a:pt x="103976" y="59607"/>
                </a:cubicBezTo>
                <a:cubicBezTo>
                  <a:pt x="103976" y="31372"/>
                  <a:pt x="82463" y="8067"/>
                  <a:pt x="54677" y="5378"/>
                </a:cubicBezTo>
                <a:cubicBezTo>
                  <a:pt x="53332" y="2241"/>
                  <a:pt x="48850" y="0"/>
                  <a:pt x="43473" y="0"/>
                </a:cubicBezTo>
                <a:cubicBezTo>
                  <a:pt x="36750" y="0"/>
                  <a:pt x="31820" y="3585"/>
                  <a:pt x="31820" y="8067"/>
                </a:cubicBezTo>
                <a:cubicBezTo>
                  <a:pt x="31820" y="12549"/>
                  <a:pt x="37198" y="16134"/>
                  <a:pt x="43473" y="16134"/>
                </a:cubicBezTo>
                <a:cubicBezTo>
                  <a:pt x="48850" y="16134"/>
                  <a:pt x="53332" y="13893"/>
                  <a:pt x="54677" y="10308"/>
                </a:cubicBezTo>
                <a:cubicBezTo>
                  <a:pt x="79774" y="12997"/>
                  <a:pt x="99494" y="34509"/>
                  <a:pt x="99494" y="60055"/>
                </a:cubicBezTo>
                <a:cubicBezTo>
                  <a:pt x="99494" y="87393"/>
                  <a:pt x="77085" y="109802"/>
                  <a:pt x="49747" y="109802"/>
                </a:cubicBezTo>
                <a:lnTo>
                  <a:pt x="44817" y="109802"/>
                </a:lnTo>
                <a:lnTo>
                  <a:pt x="44817" y="102631"/>
                </a:lnTo>
                <a:cubicBezTo>
                  <a:pt x="64985" y="101287"/>
                  <a:pt x="82015" y="80671"/>
                  <a:pt x="85152" y="53780"/>
                </a:cubicBezTo>
                <a:cubicBezTo>
                  <a:pt x="85152" y="53332"/>
                  <a:pt x="85152" y="52436"/>
                  <a:pt x="84704" y="51988"/>
                </a:cubicBezTo>
                <a:cubicBezTo>
                  <a:pt x="84256" y="51540"/>
                  <a:pt x="83808" y="51091"/>
                  <a:pt x="82911" y="51091"/>
                </a:cubicBezTo>
                <a:lnTo>
                  <a:pt x="2241" y="51091"/>
                </a:lnTo>
                <a:cubicBezTo>
                  <a:pt x="1793" y="51091"/>
                  <a:pt x="896" y="51540"/>
                  <a:pt x="448" y="51988"/>
                </a:cubicBezTo>
                <a:cubicBezTo>
                  <a:pt x="0" y="52436"/>
                  <a:pt x="0" y="52884"/>
                  <a:pt x="0" y="53780"/>
                </a:cubicBezTo>
                <a:cubicBezTo>
                  <a:pt x="3137" y="80671"/>
                  <a:pt x="20168" y="101287"/>
                  <a:pt x="40335" y="102631"/>
                </a:cubicBezTo>
                <a:lnTo>
                  <a:pt x="40335" y="109802"/>
                </a:lnTo>
                <a:lnTo>
                  <a:pt x="34957" y="109802"/>
                </a:lnTo>
                <a:cubicBezTo>
                  <a:pt x="26890" y="109802"/>
                  <a:pt x="20168" y="116524"/>
                  <a:pt x="20168" y="124591"/>
                </a:cubicBezTo>
                <a:cubicBezTo>
                  <a:pt x="20168" y="132658"/>
                  <a:pt x="26890" y="139381"/>
                  <a:pt x="34957" y="139381"/>
                </a:cubicBezTo>
                <a:lnTo>
                  <a:pt x="40335" y="139381"/>
                </a:lnTo>
                <a:lnTo>
                  <a:pt x="40335" y="145207"/>
                </a:lnTo>
                <a:lnTo>
                  <a:pt x="15686" y="145207"/>
                </a:lnTo>
                <a:cubicBezTo>
                  <a:pt x="14342" y="145207"/>
                  <a:pt x="13445" y="146104"/>
                  <a:pt x="13445" y="147448"/>
                </a:cubicBezTo>
                <a:cubicBezTo>
                  <a:pt x="13445" y="148793"/>
                  <a:pt x="14342" y="149689"/>
                  <a:pt x="15686" y="149689"/>
                </a:cubicBezTo>
                <a:lnTo>
                  <a:pt x="69466" y="149689"/>
                </a:lnTo>
                <a:cubicBezTo>
                  <a:pt x="70811" y="149689"/>
                  <a:pt x="71707" y="148793"/>
                  <a:pt x="71707" y="147448"/>
                </a:cubicBezTo>
                <a:cubicBezTo>
                  <a:pt x="71707" y="146104"/>
                  <a:pt x="70811" y="145207"/>
                  <a:pt x="69466" y="145207"/>
                </a:cubicBezTo>
                <a:lnTo>
                  <a:pt x="44817" y="145207"/>
                </a:lnTo>
                <a:lnTo>
                  <a:pt x="44817" y="139381"/>
                </a:lnTo>
                <a:lnTo>
                  <a:pt x="65433" y="139381"/>
                </a:lnTo>
                <a:cubicBezTo>
                  <a:pt x="66777" y="139381"/>
                  <a:pt x="67674" y="138485"/>
                  <a:pt x="67674" y="137140"/>
                </a:cubicBezTo>
                <a:cubicBezTo>
                  <a:pt x="67674" y="135796"/>
                  <a:pt x="66777" y="134899"/>
                  <a:pt x="65433" y="134899"/>
                </a:cubicBezTo>
                <a:lnTo>
                  <a:pt x="44817" y="134899"/>
                </a:lnTo>
                <a:lnTo>
                  <a:pt x="44817" y="114283"/>
                </a:lnTo>
                <a:lnTo>
                  <a:pt x="50195" y="114283"/>
                </a:lnTo>
                <a:close/>
                <a:moveTo>
                  <a:pt x="43473" y="11204"/>
                </a:moveTo>
                <a:cubicBezTo>
                  <a:pt x="38991" y="11204"/>
                  <a:pt x="36302" y="8963"/>
                  <a:pt x="36302" y="7619"/>
                </a:cubicBezTo>
                <a:cubicBezTo>
                  <a:pt x="36302" y="6274"/>
                  <a:pt x="38991" y="4034"/>
                  <a:pt x="43473" y="4034"/>
                </a:cubicBezTo>
                <a:cubicBezTo>
                  <a:pt x="47954" y="4034"/>
                  <a:pt x="50643" y="6274"/>
                  <a:pt x="50643" y="7619"/>
                </a:cubicBezTo>
                <a:cubicBezTo>
                  <a:pt x="50643" y="8963"/>
                  <a:pt x="47954" y="11204"/>
                  <a:pt x="43473" y="11204"/>
                </a:cubicBezTo>
                <a:close/>
                <a:moveTo>
                  <a:pt x="4482" y="55125"/>
                </a:moveTo>
                <a:lnTo>
                  <a:pt x="80222" y="55125"/>
                </a:lnTo>
                <a:cubicBezTo>
                  <a:pt x="76637" y="79326"/>
                  <a:pt x="60951" y="97701"/>
                  <a:pt x="43024" y="97701"/>
                </a:cubicBezTo>
                <a:cubicBezTo>
                  <a:pt x="42576" y="97701"/>
                  <a:pt x="42128" y="97701"/>
                  <a:pt x="42128" y="97701"/>
                </a:cubicBezTo>
                <a:cubicBezTo>
                  <a:pt x="42128" y="97701"/>
                  <a:pt x="41680" y="97701"/>
                  <a:pt x="41680" y="97701"/>
                </a:cubicBezTo>
                <a:cubicBezTo>
                  <a:pt x="23753" y="97253"/>
                  <a:pt x="8067" y="79326"/>
                  <a:pt x="4482" y="55125"/>
                </a:cubicBezTo>
                <a:close/>
                <a:moveTo>
                  <a:pt x="40335" y="134451"/>
                </a:moveTo>
                <a:lnTo>
                  <a:pt x="34957" y="134451"/>
                </a:lnTo>
                <a:cubicBezTo>
                  <a:pt x="29131" y="134451"/>
                  <a:pt x="24649" y="129969"/>
                  <a:pt x="24649" y="124143"/>
                </a:cubicBezTo>
                <a:cubicBezTo>
                  <a:pt x="24649" y="118317"/>
                  <a:pt x="29131" y="113835"/>
                  <a:pt x="34957" y="113835"/>
                </a:cubicBezTo>
                <a:lnTo>
                  <a:pt x="40335" y="113835"/>
                </a:lnTo>
                <a:lnTo>
                  <a:pt x="40335" y="134451"/>
                </a:lnTo>
                <a:close/>
              </a:path>
            </a:pathLst>
          </a:custGeom>
          <a:solidFill>
            <a:srgbClr val="231F20"/>
          </a:solidFill>
          <a:ln w="4477" cap="flat">
            <a:noFill/>
            <a:prstDash val="solid"/>
            <a:miter/>
          </a:ln>
        </p:spPr>
        <p:txBody>
          <a:bodyPr rtlCol="0" anchor="ctr"/>
          <a:lstStyle/>
          <a:p>
            <a:endParaRPr lang="en-US"/>
          </a:p>
        </p:txBody>
      </p:sp>
      <p:sp>
        <p:nvSpPr>
          <p:cNvPr id="2538" name="Freeform: Shape 2537">
            <a:extLst>
              <a:ext uri="{FF2B5EF4-FFF2-40B4-BE49-F238E27FC236}">
                <a16:creationId xmlns:a16="http://schemas.microsoft.com/office/drawing/2014/main" id="{AD53A807-C8F7-4714-BCD7-0F5A5111C464}"/>
              </a:ext>
              <a:ext uri="{C183D7F6-B498-43B3-948B-1728B52AA6E4}">
                <adec:decorative xmlns:adec="http://schemas.microsoft.com/office/drawing/2017/decorative" val="1"/>
              </a:ext>
            </a:extLst>
          </p:cNvPr>
          <p:cNvSpPr>
            <a:spLocks noChangeAspect="1"/>
          </p:cNvSpPr>
          <p:nvPr/>
        </p:nvSpPr>
        <p:spPr>
          <a:xfrm>
            <a:off x="10397040" y="4878700"/>
            <a:ext cx="121006" cy="121006"/>
          </a:xfrm>
          <a:custGeom>
            <a:avLst/>
            <a:gdLst>
              <a:gd name="connsiteX0" fmla="*/ 73989 w 121005"/>
              <a:gd name="connsiteY0" fmla="*/ 124591 h 121005"/>
              <a:gd name="connsiteX1" fmla="*/ 47098 w 121005"/>
              <a:gd name="connsiteY1" fmla="*/ 124591 h 121005"/>
              <a:gd name="connsiteX2" fmla="*/ 44858 w 121005"/>
              <a:gd name="connsiteY2" fmla="*/ 122350 h 121005"/>
              <a:gd name="connsiteX3" fmla="*/ 44858 w 121005"/>
              <a:gd name="connsiteY3" fmla="*/ 90979 h 121005"/>
              <a:gd name="connsiteX4" fmla="*/ 18415 w 121005"/>
              <a:gd name="connsiteY4" fmla="*/ 108457 h 121005"/>
              <a:gd name="connsiteX5" fmla="*/ 16623 w 121005"/>
              <a:gd name="connsiteY5" fmla="*/ 108905 h 121005"/>
              <a:gd name="connsiteX6" fmla="*/ 15278 w 121005"/>
              <a:gd name="connsiteY6" fmla="*/ 108009 h 121005"/>
              <a:gd name="connsiteX7" fmla="*/ 489 w 121005"/>
              <a:gd name="connsiteY7" fmla="*/ 85601 h 121005"/>
              <a:gd name="connsiteX8" fmla="*/ 937 w 121005"/>
              <a:gd name="connsiteY8" fmla="*/ 82463 h 121005"/>
              <a:gd name="connsiteX9" fmla="*/ 31412 w 121005"/>
              <a:gd name="connsiteY9" fmla="*/ 62296 h 121005"/>
              <a:gd name="connsiteX10" fmla="*/ 937 w 121005"/>
              <a:gd name="connsiteY10" fmla="*/ 42128 h 121005"/>
              <a:gd name="connsiteX11" fmla="*/ 489 w 121005"/>
              <a:gd name="connsiteY11" fmla="*/ 38991 h 121005"/>
              <a:gd name="connsiteX12" fmla="*/ 15278 w 121005"/>
              <a:gd name="connsiteY12" fmla="*/ 16582 h 121005"/>
              <a:gd name="connsiteX13" fmla="*/ 16623 w 121005"/>
              <a:gd name="connsiteY13" fmla="*/ 15686 h 121005"/>
              <a:gd name="connsiteX14" fmla="*/ 18415 w 121005"/>
              <a:gd name="connsiteY14" fmla="*/ 16134 h 121005"/>
              <a:gd name="connsiteX15" fmla="*/ 44858 w 121005"/>
              <a:gd name="connsiteY15" fmla="*/ 33613 h 121005"/>
              <a:gd name="connsiteX16" fmla="*/ 44858 w 121005"/>
              <a:gd name="connsiteY16" fmla="*/ 2241 h 121005"/>
              <a:gd name="connsiteX17" fmla="*/ 47098 w 121005"/>
              <a:gd name="connsiteY17" fmla="*/ 0 h 121005"/>
              <a:gd name="connsiteX18" fmla="*/ 73989 w 121005"/>
              <a:gd name="connsiteY18" fmla="*/ 0 h 121005"/>
              <a:gd name="connsiteX19" fmla="*/ 76229 w 121005"/>
              <a:gd name="connsiteY19" fmla="*/ 2241 h 121005"/>
              <a:gd name="connsiteX20" fmla="*/ 76229 w 121005"/>
              <a:gd name="connsiteY20" fmla="*/ 33613 h 121005"/>
              <a:gd name="connsiteX21" fmla="*/ 102671 w 121005"/>
              <a:gd name="connsiteY21" fmla="*/ 16134 h 121005"/>
              <a:gd name="connsiteX22" fmla="*/ 104464 w 121005"/>
              <a:gd name="connsiteY22" fmla="*/ 15686 h 121005"/>
              <a:gd name="connsiteX23" fmla="*/ 105809 w 121005"/>
              <a:gd name="connsiteY23" fmla="*/ 16582 h 121005"/>
              <a:gd name="connsiteX24" fmla="*/ 120598 w 121005"/>
              <a:gd name="connsiteY24" fmla="*/ 38991 h 121005"/>
              <a:gd name="connsiteX25" fmla="*/ 120150 w 121005"/>
              <a:gd name="connsiteY25" fmla="*/ 42128 h 121005"/>
              <a:gd name="connsiteX26" fmla="*/ 89675 w 121005"/>
              <a:gd name="connsiteY26" fmla="*/ 62296 h 121005"/>
              <a:gd name="connsiteX27" fmla="*/ 120150 w 121005"/>
              <a:gd name="connsiteY27" fmla="*/ 82463 h 121005"/>
              <a:gd name="connsiteX28" fmla="*/ 121046 w 121005"/>
              <a:gd name="connsiteY28" fmla="*/ 83808 h 121005"/>
              <a:gd name="connsiteX29" fmla="*/ 120598 w 121005"/>
              <a:gd name="connsiteY29" fmla="*/ 85601 h 121005"/>
              <a:gd name="connsiteX30" fmla="*/ 105809 w 121005"/>
              <a:gd name="connsiteY30" fmla="*/ 108009 h 121005"/>
              <a:gd name="connsiteX31" fmla="*/ 102671 w 121005"/>
              <a:gd name="connsiteY31" fmla="*/ 108457 h 121005"/>
              <a:gd name="connsiteX32" fmla="*/ 76229 w 121005"/>
              <a:gd name="connsiteY32" fmla="*/ 90979 h 121005"/>
              <a:gd name="connsiteX33" fmla="*/ 76229 w 121005"/>
              <a:gd name="connsiteY33" fmla="*/ 122350 h 121005"/>
              <a:gd name="connsiteX34" fmla="*/ 73989 w 121005"/>
              <a:gd name="connsiteY34" fmla="*/ 124591 h 121005"/>
              <a:gd name="connsiteX35" fmla="*/ 49339 w 121005"/>
              <a:gd name="connsiteY35" fmla="*/ 120110 h 121005"/>
              <a:gd name="connsiteX36" fmla="*/ 71748 w 121005"/>
              <a:gd name="connsiteY36" fmla="*/ 120110 h 121005"/>
              <a:gd name="connsiteX37" fmla="*/ 71748 w 121005"/>
              <a:gd name="connsiteY37" fmla="*/ 89634 h 121005"/>
              <a:gd name="connsiteX38" fmla="*/ 73540 w 121005"/>
              <a:gd name="connsiteY38" fmla="*/ 86497 h 121005"/>
              <a:gd name="connsiteX39" fmla="*/ 77126 w 121005"/>
              <a:gd name="connsiteY39" fmla="*/ 86497 h 121005"/>
              <a:gd name="connsiteX40" fmla="*/ 102671 w 121005"/>
              <a:gd name="connsiteY40" fmla="*/ 103527 h 121005"/>
              <a:gd name="connsiteX41" fmla="*/ 115220 w 121005"/>
              <a:gd name="connsiteY41" fmla="*/ 84704 h 121005"/>
              <a:gd name="connsiteX42" fmla="*/ 85193 w 121005"/>
              <a:gd name="connsiteY42" fmla="*/ 64985 h 121005"/>
              <a:gd name="connsiteX43" fmla="*/ 85193 w 121005"/>
              <a:gd name="connsiteY43" fmla="*/ 64985 h 121005"/>
              <a:gd name="connsiteX44" fmla="*/ 83400 w 121005"/>
              <a:gd name="connsiteY44" fmla="*/ 61847 h 121005"/>
              <a:gd name="connsiteX45" fmla="*/ 85193 w 121005"/>
              <a:gd name="connsiteY45" fmla="*/ 58710 h 121005"/>
              <a:gd name="connsiteX46" fmla="*/ 115220 w 121005"/>
              <a:gd name="connsiteY46" fmla="*/ 38991 h 121005"/>
              <a:gd name="connsiteX47" fmla="*/ 102671 w 121005"/>
              <a:gd name="connsiteY47" fmla="*/ 20168 h 121005"/>
              <a:gd name="connsiteX48" fmla="*/ 77126 w 121005"/>
              <a:gd name="connsiteY48" fmla="*/ 37198 h 121005"/>
              <a:gd name="connsiteX49" fmla="*/ 73540 w 121005"/>
              <a:gd name="connsiteY49" fmla="*/ 37198 h 121005"/>
              <a:gd name="connsiteX50" fmla="*/ 71748 w 121005"/>
              <a:gd name="connsiteY50" fmla="*/ 34061 h 121005"/>
              <a:gd name="connsiteX51" fmla="*/ 71748 w 121005"/>
              <a:gd name="connsiteY51" fmla="*/ 3137 h 121005"/>
              <a:gd name="connsiteX52" fmla="*/ 49339 w 121005"/>
              <a:gd name="connsiteY52" fmla="*/ 3137 h 121005"/>
              <a:gd name="connsiteX53" fmla="*/ 49339 w 121005"/>
              <a:gd name="connsiteY53" fmla="*/ 34061 h 121005"/>
              <a:gd name="connsiteX54" fmla="*/ 47546 w 121005"/>
              <a:gd name="connsiteY54" fmla="*/ 37198 h 121005"/>
              <a:gd name="connsiteX55" fmla="*/ 43961 w 121005"/>
              <a:gd name="connsiteY55" fmla="*/ 37198 h 121005"/>
              <a:gd name="connsiteX56" fmla="*/ 18415 w 121005"/>
              <a:gd name="connsiteY56" fmla="*/ 20168 h 121005"/>
              <a:gd name="connsiteX57" fmla="*/ 6315 w 121005"/>
              <a:gd name="connsiteY57" fmla="*/ 38991 h 121005"/>
              <a:gd name="connsiteX58" fmla="*/ 36342 w 121005"/>
              <a:gd name="connsiteY58" fmla="*/ 58710 h 121005"/>
              <a:gd name="connsiteX59" fmla="*/ 38135 w 121005"/>
              <a:gd name="connsiteY59" fmla="*/ 61847 h 121005"/>
              <a:gd name="connsiteX60" fmla="*/ 36342 w 121005"/>
              <a:gd name="connsiteY60" fmla="*/ 64985 h 121005"/>
              <a:gd name="connsiteX61" fmla="*/ 6315 w 121005"/>
              <a:gd name="connsiteY61" fmla="*/ 84704 h 121005"/>
              <a:gd name="connsiteX62" fmla="*/ 18415 w 121005"/>
              <a:gd name="connsiteY62" fmla="*/ 103527 h 121005"/>
              <a:gd name="connsiteX63" fmla="*/ 43961 w 121005"/>
              <a:gd name="connsiteY63" fmla="*/ 86497 h 121005"/>
              <a:gd name="connsiteX64" fmla="*/ 47546 w 121005"/>
              <a:gd name="connsiteY64" fmla="*/ 86497 h 121005"/>
              <a:gd name="connsiteX65" fmla="*/ 49339 w 121005"/>
              <a:gd name="connsiteY65" fmla="*/ 89634 h 121005"/>
              <a:gd name="connsiteX66" fmla="*/ 49339 w 121005"/>
              <a:gd name="connsiteY66" fmla="*/ 120110 h 121005"/>
              <a:gd name="connsiteX67" fmla="*/ 87882 w 121005"/>
              <a:gd name="connsiteY67" fmla="*/ 61399 h 121005"/>
              <a:gd name="connsiteX68" fmla="*/ 87882 w 121005"/>
              <a:gd name="connsiteY68" fmla="*/ 61399 h 121005"/>
              <a:gd name="connsiteX69" fmla="*/ 87882 w 121005"/>
              <a:gd name="connsiteY69" fmla="*/ 61399 h 121005"/>
              <a:gd name="connsiteX70" fmla="*/ 87882 w 121005"/>
              <a:gd name="connsiteY70" fmla="*/ 61399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21005" h="121005">
                <a:moveTo>
                  <a:pt x="73989" y="124591"/>
                </a:moveTo>
                <a:lnTo>
                  <a:pt x="47098" y="124591"/>
                </a:lnTo>
                <a:cubicBezTo>
                  <a:pt x="45754" y="124591"/>
                  <a:pt x="44858" y="123695"/>
                  <a:pt x="44858" y="122350"/>
                </a:cubicBezTo>
                <a:lnTo>
                  <a:pt x="44858" y="90979"/>
                </a:lnTo>
                <a:lnTo>
                  <a:pt x="18415" y="108457"/>
                </a:lnTo>
                <a:cubicBezTo>
                  <a:pt x="17967" y="108905"/>
                  <a:pt x="17519" y="108905"/>
                  <a:pt x="16623" y="108905"/>
                </a:cubicBezTo>
                <a:cubicBezTo>
                  <a:pt x="16175" y="108905"/>
                  <a:pt x="15726" y="108457"/>
                  <a:pt x="15278" y="108009"/>
                </a:cubicBezTo>
                <a:lnTo>
                  <a:pt x="489" y="85601"/>
                </a:lnTo>
                <a:cubicBezTo>
                  <a:pt x="-408" y="84704"/>
                  <a:pt x="41" y="83360"/>
                  <a:pt x="937" y="82463"/>
                </a:cubicBezTo>
                <a:lnTo>
                  <a:pt x="31412" y="62296"/>
                </a:lnTo>
                <a:lnTo>
                  <a:pt x="937" y="42128"/>
                </a:lnTo>
                <a:cubicBezTo>
                  <a:pt x="41" y="41232"/>
                  <a:pt x="-408" y="39887"/>
                  <a:pt x="489" y="38991"/>
                </a:cubicBezTo>
                <a:lnTo>
                  <a:pt x="15278" y="16582"/>
                </a:lnTo>
                <a:cubicBezTo>
                  <a:pt x="15726" y="16134"/>
                  <a:pt x="16175" y="15686"/>
                  <a:pt x="16623" y="15686"/>
                </a:cubicBezTo>
                <a:cubicBezTo>
                  <a:pt x="17071" y="15686"/>
                  <a:pt x="17967" y="15686"/>
                  <a:pt x="18415" y="16134"/>
                </a:cubicBezTo>
                <a:lnTo>
                  <a:pt x="44858" y="33613"/>
                </a:lnTo>
                <a:lnTo>
                  <a:pt x="44858" y="2241"/>
                </a:lnTo>
                <a:cubicBezTo>
                  <a:pt x="44858" y="896"/>
                  <a:pt x="45754" y="0"/>
                  <a:pt x="47098" y="0"/>
                </a:cubicBezTo>
                <a:lnTo>
                  <a:pt x="73989" y="0"/>
                </a:lnTo>
                <a:cubicBezTo>
                  <a:pt x="75333" y="0"/>
                  <a:pt x="76229" y="896"/>
                  <a:pt x="76229" y="2241"/>
                </a:cubicBezTo>
                <a:lnTo>
                  <a:pt x="76229" y="33613"/>
                </a:lnTo>
                <a:lnTo>
                  <a:pt x="102671" y="16134"/>
                </a:lnTo>
                <a:cubicBezTo>
                  <a:pt x="103120" y="15686"/>
                  <a:pt x="103568" y="15686"/>
                  <a:pt x="104464" y="15686"/>
                </a:cubicBezTo>
                <a:cubicBezTo>
                  <a:pt x="104912" y="15686"/>
                  <a:pt x="105360" y="16134"/>
                  <a:pt x="105809" y="16582"/>
                </a:cubicBezTo>
                <a:lnTo>
                  <a:pt x="120598" y="38991"/>
                </a:lnTo>
                <a:cubicBezTo>
                  <a:pt x="121495" y="39887"/>
                  <a:pt x="121046" y="41232"/>
                  <a:pt x="120150" y="42128"/>
                </a:cubicBezTo>
                <a:lnTo>
                  <a:pt x="89675" y="62296"/>
                </a:lnTo>
                <a:lnTo>
                  <a:pt x="120150" y="82463"/>
                </a:lnTo>
                <a:cubicBezTo>
                  <a:pt x="120598" y="82912"/>
                  <a:pt x="121046" y="83360"/>
                  <a:pt x="121046" y="83808"/>
                </a:cubicBezTo>
                <a:cubicBezTo>
                  <a:pt x="121046" y="84256"/>
                  <a:pt x="121046" y="85152"/>
                  <a:pt x="120598" y="85601"/>
                </a:cubicBezTo>
                <a:lnTo>
                  <a:pt x="105809" y="108009"/>
                </a:lnTo>
                <a:cubicBezTo>
                  <a:pt x="104912" y="108905"/>
                  <a:pt x="103568" y="109354"/>
                  <a:pt x="102671" y="108457"/>
                </a:cubicBezTo>
                <a:lnTo>
                  <a:pt x="76229" y="90979"/>
                </a:lnTo>
                <a:lnTo>
                  <a:pt x="76229" y="122350"/>
                </a:lnTo>
                <a:cubicBezTo>
                  <a:pt x="76229" y="123695"/>
                  <a:pt x="75333" y="124591"/>
                  <a:pt x="73989" y="124591"/>
                </a:cubicBezTo>
                <a:close/>
                <a:moveTo>
                  <a:pt x="49339" y="120110"/>
                </a:moveTo>
                <a:lnTo>
                  <a:pt x="71748" y="120110"/>
                </a:lnTo>
                <a:lnTo>
                  <a:pt x="71748" y="89634"/>
                </a:lnTo>
                <a:cubicBezTo>
                  <a:pt x="71748" y="88290"/>
                  <a:pt x="72644" y="86945"/>
                  <a:pt x="73540" y="86497"/>
                </a:cubicBezTo>
                <a:cubicBezTo>
                  <a:pt x="74885" y="86049"/>
                  <a:pt x="76229" y="86049"/>
                  <a:pt x="77126" y="86497"/>
                </a:cubicBezTo>
                <a:lnTo>
                  <a:pt x="102671" y="103527"/>
                </a:lnTo>
                <a:lnTo>
                  <a:pt x="115220" y="84704"/>
                </a:lnTo>
                <a:lnTo>
                  <a:pt x="85193" y="64985"/>
                </a:lnTo>
                <a:lnTo>
                  <a:pt x="85193" y="64985"/>
                </a:lnTo>
                <a:cubicBezTo>
                  <a:pt x="84296" y="64088"/>
                  <a:pt x="83400" y="63192"/>
                  <a:pt x="83400" y="61847"/>
                </a:cubicBezTo>
                <a:cubicBezTo>
                  <a:pt x="83400" y="60503"/>
                  <a:pt x="83848" y="59607"/>
                  <a:pt x="85193" y="58710"/>
                </a:cubicBezTo>
                <a:lnTo>
                  <a:pt x="115220" y="38991"/>
                </a:lnTo>
                <a:lnTo>
                  <a:pt x="102671" y="20168"/>
                </a:lnTo>
                <a:lnTo>
                  <a:pt x="77126" y="37198"/>
                </a:lnTo>
                <a:cubicBezTo>
                  <a:pt x="76229" y="38094"/>
                  <a:pt x="74437" y="38094"/>
                  <a:pt x="73540" y="37198"/>
                </a:cubicBezTo>
                <a:cubicBezTo>
                  <a:pt x="72196" y="36750"/>
                  <a:pt x="71748" y="35405"/>
                  <a:pt x="71748" y="34061"/>
                </a:cubicBezTo>
                <a:lnTo>
                  <a:pt x="71748" y="3137"/>
                </a:lnTo>
                <a:lnTo>
                  <a:pt x="49339" y="3137"/>
                </a:lnTo>
                <a:lnTo>
                  <a:pt x="49339" y="34061"/>
                </a:lnTo>
                <a:cubicBezTo>
                  <a:pt x="49339" y="35405"/>
                  <a:pt x="48443" y="36750"/>
                  <a:pt x="47546" y="37198"/>
                </a:cubicBezTo>
                <a:cubicBezTo>
                  <a:pt x="46202" y="37646"/>
                  <a:pt x="44858" y="37646"/>
                  <a:pt x="43961" y="37198"/>
                </a:cubicBezTo>
                <a:lnTo>
                  <a:pt x="18415" y="20168"/>
                </a:lnTo>
                <a:lnTo>
                  <a:pt x="6315" y="38991"/>
                </a:lnTo>
                <a:lnTo>
                  <a:pt x="36342" y="58710"/>
                </a:lnTo>
                <a:cubicBezTo>
                  <a:pt x="37239" y="59607"/>
                  <a:pt x="38135" y="60503"/>
                  <a:pt x="38135" y="61847"/>
                </a:cubicBezTo>
                <a:cubicBezTo>
                  <a:pt x="38135" y="63192"/>
                  <a:pt x="37687" y="64088"/>
                  <a:pt x="36342" y="64985"/>
                </a:cubicBezTo>
                <a:lnTo>
                  <a:pt x="6315" y="84704"/>
                </a:lnTo>
                <a:lnTo>
                  <a:pt x="18415" y="103527"/>
                </a:lnTo>
                <a:lnTo>
                  <a:pt x="43961" y="86497"/>
                </a:lnTo>
                <a:cubicBezTo>
                  <a:pt x="44858" y="85601"/>
                  <a:pt x="46650" y="85601"/>
                  <a:pt x="47546" y="86497"/>
                </a:cubicBezTo>
                <a:cubicBezTo>
                  <a:pt x="48443" y="87393"/>
                  <a:pt x="49339" y="88290"/>
                  <a:pt x="49339" y="89634"/>
                </a:cubicBezTo>
                <a:lnTo>
                  <a:pt x="49339" y="120110"/>
                </a:lnTo>
                <a:close/>
                <a:moveTo>
                  <a:pt x="87882" y="61399"/>
                </a:moveTo>
                <a:cubicBezTo>
                  <a:pt x="87882" y="61399"/>
                  <a:pt x="87882" y="61399"/>
                  <a:pt x="87882" y="61399"/>
                </a:cubicBezTo>
                <a:lnTo>
                  <a:pt x="87882" y="61399"/>
                </a:lnTo>
                <a:cubicBezTo>
                  <a:pt x="87882" y="61399"/>
                  <a:pt x="87882" y="61399"/>
                  <a:pt x="87882" y="61399"/>
                </a:cubicBezTo>
                <a:close/>
              </a:path>
            </a:pathLst>
          </a:custGeom>
          <a:solidFill>
            <a:srgbClr val="231F20"/>
          </a:solidFill>
          <a:ln w="4477" cap="flat">
            <a:noFill/>
            <a:prstDash val="solid"/>
            <a:miter/>
          </a:ln>
        </p:spPr>
        <p:txBody>
          <a:bodyPr rtlCol="0" anchor="ctr"/>
          <a:lstStyle/>
          <a:p>
            <a:endParaRPr lang="en-US"/>
          </a:p>
        </p:txBody>
      </p:sp>
      <p:grpSp>
        <p:nvGrpSpPr>
          <p:cNvPr id="2539" name="Group 2538">
            <a:extLst>
              <a:ext uri="{FF2B5EF4-FFF2-40B4-BE49-F238E27FC236}">
                <a16:creationId xmlns:a16="http://schemas.microsoft.com/office/drawing/2014/main" id="{BAB6796E-5E14-4EC4-83CE-B702B016200B}"/>
              </a:ext>
              <a:ext uri="{C183D7F6-B498-43B3-948B-1728B52AA6E4}">
                <adec:decorative xmlns:adec="http://schemas.microsoft.com/office/drawing/2017/decorative" val="1"/>
              </a:ext>
            </a:extLst>
          </p:cNvPr>
          <p:cNvGrpSpPr>
            <a:grpSpLocks noChangeAspect="1"/>
          </p:cNvGrpSpPr>
          <p:nvPr/>
        </p:nvGrpSpPr>
        <p:grpSpPr>
          <a:xfrm>
            <a:off x="6953341" y="5213035"/>
            <a:ext cx="150136" cy="151930"/>
            <a:chOff x="7009841" y="3157344"/>
            <a:chExt cx="150136" cy="151930"/>
          </a:xfrm>
        </p:grpSpPr>
        <p:sp>
          <p:nvSpPr>
            <p:cNvPr id="2923" name="Freeform: Shape 2922">
              <a:extLst>
                <a:ext uri="{FF2B5EF4-FFF2-40B4-BE49-F238E27FC236}">
                  <a16:creationId xmlns:a16="http://schemas.microsoft.com/office/drawing/2014/main" id="{EB970A48-4009-4196-80DB-436889073645}"/>
                </a:ext>
              </a:extLst>
            </p:cNvPr>
            <p:cNvSpPr/>
            <p:nvPr/>
          </p:nvSpPr>
          <p:spPr>
            <a:xfrm>
              <a:off x="7014995" y="3244289"/>
              <a:ext cx="71707" cy="62744"/>
            </a:xfrm>
            <a:custGeom>
              <a:avLst/>
              <a:gdLst>
                <a:gd name="connsiteX0" fmla="*/ 71035 w 71707"/>
                <a:gd name="connsiteY0" fmla="*/ 61399 h 62743"/>
                <a:gd name="connsiteX1" fmla="*/ 41904 w 71707"/>
                <a:gd name="connsiteY1" fmla="*/ 61399 h 62743"/>
                <a:gd name="connsiteX2" fmla="*/ 27114 w 71707"/>
                <a:gd name="connsiteY2" fmla="*/ 47058 h 62743"/>
                <a:gd name="connsiteX3" fmla="*/ 27114 w 71707"/>
                <a:gd name="connsiteY3" fmla="*/ 7619 h 62743"/>
                <a:gd name="connsiteX4" fmla="*/ 45041 w 71707"/>
                <a:gd name="connsiteY4" fmla="*/ 25098 h 62743"/>
                <a:gd name="connsiteX5" fmla="*/ 46386 w 71707"/>
                <a:gd name="connsiteY5" fmla="*/ 25546 h 62743"/>
                <a:gd name="connsiteX6" fmla="*/ 48178 w 71707"/>
                <a:gd name="connsiteY6" fmla="*/ 24649 h 62743"/>
                <a:gd name="connsiteX7" fmla="*/ 48178 w 71707"/>
                <a:gd name="connsiteY7" fmla="*/ 21512 h 62743"/>
                <a:gd name="connsiteX8" fmla="*/ 26218 w 71707"/>
                <a:gd name="connsiteY8" fmla="*/ 448 h 62743"/>
                <a:gd name="connsiteX9" fmla="*/ 26218 w 71707"/>
                <a:gd name="connsiteY9" fmla="*/ 448 h 62743"/>
                <a:gd name="connsiteX10" fmla="*/ 26218 w 71707"/>
                <a:gd name="connsiteY10" fmla="*/ 448 h 62743"/>
                <a:gd name="connsiteX11" fmla="*/ 25770 w 71707"/>
                <a:gd name="connsiteY11" fmla="*/ 448 h 62743"/>
                <a:gd name="connsiteX12" fmla="*/ 25322 w 71707"/>
                <a:gd name="connsiteY12" fmla="*/ 0 h 62743"/>
                <a:gd name="connsiteX13" fmla="*/ 24425 w 71707"/>
                <a:gd name="connsiteY13" fmla="*/ 0 h 62743"/>
                <a:gd name="connsiteX14" fmla="*/ 24425 w 71707"/>
                <a:gd name="connsiteY14" fmla="*/ 0 h 62743"/>
                <a:gd name="connsiteX15" fmla="*/ 24425 w 71707"/>
                <a:gd name="connsiteY15" fmla="*/ 0 h 62743"/>
                <a:gd name="connsiteX16" fmla="*/ 23529 w 71707"/>
                <a:gd name="connsiteY16" fmla="*/ 0 h 62743"/>
                <a:gd name="connsiteX17" fmla="*/ 23081 w 71707"/>
                <a:gd name="connsiteY17" fmla="*/ 448 h 62743"/>
                <a:gd name="connsiteX18" fmla="*/ 22633 w 71707"/>
                <a:gd name="connsiteY18" fmla="*/ 448 h 62743"/>
                <a:gd name="connsiteX19" fmla="*/ 672 w 71707"/>
                <a:gd name="connsiteY19" fmla="*/ 21512 h 62743"/>
                <a:gd name="connsiteX20" fmla="*/ 672 w 71707"/>
                <a:gd name="connsiteY20" fmla="*/ 24649 h 62743"/>
                <a:gd name="connsiteX21" fmla="*/ 3809 w 71707"/>
                <a:gd name="connsiteY21" fmla="*/ 24649 h 62743"/>
                <a:gd name="connsiteX22" fmla="*/ 21736 w 71707"/>
                <a:gd name="connsiteY22" fmla="*/ 7171 h 62743"/>
                <a:gd name="connsiteX23" fmla="*/ 21736 w 71707"/>
                <a:gd name="connsiteY23" fmla="*/ 46610 h 62743"/>
                <a:gd name="connsiteX24" fmla="*/ 41008 w 71707"/>
                <a:gd name="connsiteY24" fmla="*/ 65433 h 62743"/>
                <a:gd name="connsiteX25" fmla="*/ 70139 w 71707"/>
                <a:gd name="connsiteY25" fmla="*/ 65433 h 62743"/>
                <a:gd name="connsiteX26" fmla="*/ 72380 w 71707"/>
                <a:gd name="connsiteY26" fmla="*/ 63192 h 62743"/>
                <a:gd name="connsiteX27" fmla="*/ 71035 w 71707"/>
                <a:gd name="connsiteY27" fmla="*/ 61399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707" h="62743">
                  <a:moveTo>
                    <a:pt x="71035" y="61399"/>
                  </a:moveTo>
                  <a:lnTo>
                    <a:pt x="41904" y="61399"/>
                  </a:lnTo>
                  <a:cubicBezTo>
                    <a:pt x="33837" y="61399"/>
                    <a:pt x="27114" y="55125"/>
                    <a:pt x="27114" y="47058"/>
                  </a:cubicBezTo>
                  <a:lnTo>
                    <a:pt x="27114" y="7619"/>
                  </a:lnTo>
                  <a:lnTo>
                    <a:pt x="45041" y="25098"/>
                  </a:lnTo>
                  <a:cubicBezTo>
                    <a:pt x="45489" y="25546"/>
                    <a:pt x="45937" y="25546"/>
                    <a:pt x="46386" y="25546"/>
                  </a:cubicBezTo>
                  <a:cubicBezTo>
                    <a:pt x="46834" y="25546"/>
                    <a:pt x="47730" y="25098"/>
                    <a:pt x="48178" y="24649"/>
                  </a:cubicBezTo>
                  <a:cubicBezTo>
                    <a:pt x="49075" y="23753"/>
                    <a:pt x="49075" y="22409"/>
                    <a:pt x="48178" y="21512"/>
                  </a:cubicBezTo>
                  <a:lnTo>
                    <a:pt x="26218" y="448"/>
                  </a:lnTo>
                  <a:cubicBezTo>
                    <a:pt x="26218" y="448"/>
                    <a:pt x="26218" y="448"/>
                    <a:pt x="26218" y="448"/>
                  </a:cubicBezTo>
                  <a:lnTo>
                    <a:pt x="26218" y="448"/>
                  </a:lnTo>
                  <a:cubicBezTo>
                    <a:pt x="26218" y="448"/>
                    <a:pt x="26218" y="448"/>
                    <a:pt x="25770" y="448"/>
                  </a:cubicBezTo>
                  <a:cubicBezTo>
                    <a:pt x="25770" y="448"/>
                    <a:pt x="25322" y="0"/>
                    <a:pt x="25322" y="0"/>
                  </a:cubicBezTo>
                  <a:cubicBezTo>
                    <a:pt x="24873" y="0"/>
                    <a:pt x="24873" y="0"/>
                    <a:pt x="24425" y="0"/>
                  </a:cubicBezTo>
                  <a:cubicBezTo>
                    <a:pt x="24425" y="0"/>
                    <a:pt x="24425" y="0"/>
                    <a:pt x="24425" y="0"/>
                  </a:cubicBezTo>
                  <a:cubicBezTo>
                    <a:pt x="24425" y="0"/>
                    <a:pt x="24425" y="0"/>
                    <a:pt x="24425" y="0"/>
                  </a:cubicBezTo>
                  <a:cubicBezTo>
                    <a:pt x="23977" y="0"/>
                    <a:pt x="23977" y="0"/>
                    <a:pt x="23529" y="0"/>
                  </a:cubicBezTo>
                  <a:cubicBezTo>
                    <a:pt x="23529" y="0"/>
                    <a:pt x="23081" y="0"/>
                    <a:pt x="23081" y="448"/>
                  </a:cubicBezTo>
                  <a:cubicBezTo>
                    <a:pt x="23081" y="448"/>
                    <a:pt x="23081" y="448"/>
                    <a:pt x="22633" y="448"/>
                  </a:cubicBezTo>
                  <a:lnTo>
                    <a:pt x="672" y="21512"/>
                  </a:lnTo>
                  <a:cubicBezTo>
                    <a:pt x="-224" y="22409"/>
                    <a:pt x="-224" y="23753"/>
                    <a:pt x="672" y="24649"/>
                  </a:cubicBezTo>
                  <a:cubicBezTo>
                    <a:pt x="1569" y="25546"/>
                    <a:pt x="2913" y="25546"/>
                    <a:pt x="3809" y="24649"/>
                  </a:cubicBezTo>
                  <a:lnTo>
                    <a:pt x="21736" y="7171"/>
                  </a:lnTo>
                  <a:lnTo>
                    <a:pt x="21736" y="46610"/>
                  </a:lnTo>
                  <a:cubicBezTo>
                    <a:pt x="21736" y="56918"/>
                    <a:pt x="30251" y="65433"/>
                    <a:pt x="41008" y="65433"/>
                  </a:cubicBezTo>
                  <a:lnTo>
                    <a:pt x="70139" y="65433"/>
                  </a:lnTo>
                  <a:cubicBezTo>
                    <a:pt x="71483" y="65433"/>
                    <a:pt x="72380" y="64536"/>
                    <a:pt x="72380" y="63192"/>
                  </a:cubicBezTo>
                  <a:cubicBezTo>
                    <a:pt x="73276" y="62296"/>
                    <a:pt x="72380" y="61399"/>
                    <a:pt x="71035" y="61399"/>
                  </a:cubicBezTo>
                  <a:close/>
                </a:path>
              </a:pathLst>
            </a:custGeom>
            <a:solidFill>
              <a:srgbClr val="231F20"/>
            </a:solidFill>
            <a:ln w="4477" cap="flat">
              <a:noFill/>
              <a:prstDash val="solid"/>
              <a:miter/>
            </a:ln>
          </p:spPr>
          <p:txBody>
            <a:bodyPr rtlCol="0" anchor="ctr"/>
            <a:lstStyle/>
            <a:p>
              <a:endParaRPr lang="en-US"/>
            </a:p>
          </p:txBody>
        </p:sp>
        <p:sp>
          <p:nvSpPr>
            <p:cNvPr id="2924" name="Freeform: Shape 2923">
              <a:extLst>
                <a:ext uri="{FF2B5EF4-FFF2-40B4-BE49-F238E27FC236}">
                  <a16:creationId xmlns:a16="http://schemas.microsoft.com/office/drawing/2014/main" id="{EFAAB36C-AB91-4367-8618-5AAF145B5109}"/>
                </a:ext>
              </a:extLst>
            </p:cNvPr>
            <p:cNvSpPr/>
            <p:nvPr/>
          </p:nvSpPr>
          <p:spPr>
            <a:xfrm>
              <a:off x="7085669" y="3157792"/>
              <a:ext cx="71707" cy="62744"/>
            </a:xfrm>
            <a:custGeom>
              <a:avLst/>
              <a:gdLst>
                <a:gd name="connsiteX0" fmla="*/ 1705 w 71707"/>
                <a:gd name="connsiteY0" fmla="*/ 4482 h 62743"/>
                <a:gd name="connsiteX1" fmla="*/ 30836 w 71707"/>
                <a:gd name="connsiteY1" fmla="*/ 4482 h 62743"/>
                <a:gd name="connsiteX2" fmla="*/ 45626 w 71707"/>
                <a:gd name="connsiteY2" fmla="*/ 18823 h 62743"/>
                <a:gd name="connsiteX3" fmla="*/ 45626 w 71707"/>
                <a:gd name="connsiteY3" fmla="*/ 58262 h 62743"/>
                <a:gd name="connsiteX4" fmla="*/ 27699 w 71707"/>
                <a:gd name="connsiteY4" fmla="*/ 40783 h 62743"/>
                <a:gd name="connsiteX5" fmla="*/ 24562 w 71707"/>
                <a:gd name="connsiteY5" fmla="*/ 40783 h 62743"/>
                <a:gd name="connsiteX6" fmla="*/ 24562 w 71707"/>
                <a:gd name="connsiteY6" fmla="*/ 43921 h 62743"/>
                <a:gd name="connsiteX7" fmla="*/ 46522 w 71707"/>
                <a:gd name="connsiteY7" fmla="*/ 64985 h 62743"/>
                <a:gd name="connsiteX8" fmla="*/ 46970 w 71707"/>
                <a:gd name="connsiteY8" fmla="*/ 64985 h 62743"/>
                <a:gd name="connsiteX9" fmla="*/ 47419 w 71707"/>
                <a:gd name="connsiteY9" fmla="*/ 65433 h 62743"/>
                <a:gd name="connsiteX10" fmla="*/ 48315 w 71707"/>
                <a:gd name="connsiteY10" fmla="*/ 65433 h 62743"/>
                <a:gd name="connsiteX11" fmla="*/ 49211 w 71707"/>
                <a:gd name="connsiteY11" fmla="*/ 65433 h 62743"/>
                <a:gd name="connsiteX12" fmla="*/ 49660 w 71707"/>
                <a:gd name="connsiteY12" fmla="*/ 64985 h 62743"/>
                <a:gd name="connsiteX13" fmla="*/ 50108 w 71707"/>
                <a:gd name="connsiteY13" fmla="*/ 64985 h 62743"/>
                <a:gd name="connsiteX14" fmla="*/ 50108 w 71707"/>
                <a:gd name="connsiteY14" fmla="*/ 64985 h 62743"/>
                <a:gd name="connsiteX15" fmla="*/ 50108 w 71707"/>
                <a:gd name="connsiteY15" fmla="*/ 64985 h 62743"/>
                <a:gd name="connsiteX16" fmla="*/ 72068 w 71707"/>
                <a:gd name="connsiteY16" fmla="*/ 43921 h 62743"/>
                <a:gd name="connsiteX17" fmla="*/ 72068 w 71707"/>
                <a:gd name="connsiteY17" fmla="*/ 40783 h 62743"/>
                <a:gd name="connsiteX18" fmla="*/ 68931 w 71707"/>
                <a:gd name="connsiteY18" fmla="*/ 40783 h 62743"/>
                <a:gd name="connsiteX19" fmla="*/ 51004 w 71707"/>
                <a:gd name="connsiteY19" fmla="*/ 58262 h 62743"/>
                <a:gd name="connsiteX20" fmla="*/ 51004 w 71707"/>
                <a:gd name="connsiteY20" fmla="*/ 18823 h 62743"/>
                <a:gd name="connsiteX21" fmla="*/ 31733 w 71707"/>
                <a:gd name="connsiteY21" fmla="*/ 0 h 62743"/>
                <a:gd name="connsiteX22" fmla="*/ 2602 w 71707"/>
                <a:gd name="connsiteY22" fmla="*/ 0 h 62743"/>
                <a:gd name="connsiteX23" fmla="*/ 361 w 71707"/>
                <a:gd name="connsiteY23" fmla="*/ 2241 h 62743"/>
                <a:gd name="connsiteX24" fmla="*/ 1705 w 71707"/>
                <a:gd name="connsiteY24" fmla="*/ 448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707" h="62743">
                  <a:moveTo>
                    <a:pt x="1705" y="4482"/>
                  </a:moveTo>
                  <a:lnTo>
                    <a:pt x="30836" y="4482"/>
                  </a:lnTo>
                  <a:cubicBezTo>
                    <a:pt x="38903" y="4482"/>
                    <a:pt x="45626" y="10756"/>
                    <a:pt x="45626" y="18823"/>
                  </a:cubicBezTo>
                  <a:lnTo>
                    <a:pt x="45626" y="58262"/>
                  </a:lnTo>
                  <a:lnTo>
                    <a:pt x="27699" y="40783"/>
                  </a:lnTo>
                  <a:cubicBezTo>
                    <a:pt x="26803" y="39887"/>
                    <a:pt x="25458" y="39887"/>
                    <a:pt x="24562" y="40783"/>
                  </a:cubicBezTo>
                  <a:cubicBezTo>
                    <a:pt x="23666" y="41680"/>
                    <a:pt x="23666" y="43024"/>
                    <a:pt x="24562" y="43921"/>
                  </a:cubicBezTo>
                  <a:lnTo>
                    <a:pt x="46522" y="64985"/>
                  </a:lnTo>
                  <a:cubicBezTo>
                    <a:pt x="46522" y="64985"/>
                    <a:pt x="46522" y="64985"/>
                    <a:pt x="46970" y="64985"/>
                  </a:cubicBezTo>
                  <a:cubicBezTo>
                    <a:pt x="46970" y="64985"/>
                    <a:pt x="47419" y="64985"/>
                    <a:pt x="47419" y="65433"/>
                  </a:cubicBezTo>
                  <a:cubicBezTo>
                    <a:pt x="47867" y="65433"/>
                    <a:pt x="47867" y="65433"/>
                    <a:pt x="48315" y="65433"/>
                  </a:cubicBezTo>
                  <a:cubicBezTo>
                    <a:pt x="48763" y="65433"/>
                    <a:pt x="48763" y="65433"/>
                    <a:pt x="49211" y="65433"/>
                  </a:cubicBezTo>
                  <a:cubicBezTo>
                    <a:pt x="49211" y="65433"/>
                    <a:pt x="49660" y="65433"/>
                    <a:pt x="49660" y="64985"/>
                  </a:cubicBezTo>
                  <a:cubicBezTo>
                    <a:pt x="49660" y="64985"/>
                    <a:pt x="49660" y="64985"/>
                    <a:pt x="50108" y="64985"/>
                  </a:cubicBezTo>
                  <a:lnTo>
                    <a:pt x="50108" y="64985"/>
                  </a:lnTo>
                  <a:cubicBezTo>
                    <a:pt x="50108" y="64985"/>
                    <a:pt x="50108" y="64985"/>
                    <a:pt x="50108" y="64985"/>
                  </a:cubicBezTo>
                  <a:lnTo>
                    <a:pt x="72068" y="43921"/>
                  </a:lnTo>
                  <a:cubicBezTo>
                    <a:pt x="72964" y="43024"/>
                    <a:pt x="72964" y="41680"/>
                    <a:pt x="72068" y="40783"/>
                  </a:cubicBezTo>
                  <a:cubicBezTo>
                    <a:pt x="71172" y="39887"/>
                    <a:pt x="69827" y="39887"/>
                    <a:pt x="68931" y="40783"/>
                  </a:cubicBezTo>
                  <a:lnTo>
                    <a:pt x="51004" y="58262"/>
                  </a:lnTo>
                  <a:lnTo>
                    <a:pt x="51004" y="18823"/>
                  </a:lnTo>
                  <a:cubicBezTo>
                    <a:pt x="51004" y="8515"/>
                    <a:pt x="42489" y="0"/>
                    <a:pt x="31733" y="0"/>
                  </a:cubicBezTo>
                  <a:lnTo>
                    <a:pt x="2602" y="0"/>
                  </a:lnTo>
                  <a:cubicBezTo>
                    <a:pt x="1257" y="0"/>
                    <a:pt x="361" y="896"/>
                    <a:pt x="361" y="2241"/>
                  </a:cubicBezTo>
                  <a:cubicBezTo>
                    <a:pt x="-536" y="3585"/>
                    <a:pt x="361" y="4482"/>
                    <a:pt x="1705" y="4482"/>
                  </a:cubicBezTo>
                  <a:close/>
                </a:path>
              </a:pathLst>
            </a:custGeom>
            <a:solidFill>
              <a:srgbClr val="231F20"/>
            </a:solidFill>
            <a:ln w="4477" cap="flat">
              <a:noFill/>
              <a:prstDash val="solid"/>
              <a:miter/>
            </a:ln>
          </p:spPr>
          <p:txBody>
            <a:bodyPr rtlCol="0" anchor="ctr"/>
            <a:lstStyle/>
            <a:p>
              <a:endParaRPr lang="en-US"/>
            </a:p>
          </p:txBody>
        </p:sp>
        <p:sp>
          <p:nvSpPr>
            <p:cNvPr id="2925" name="Freeform: Shape 2924">
              <a:extLst>
                <a:ext uri="{FF2B5EF4-FFF2-40B4-BE49-F238E27FC236}">
                  <a16:creationId xmlns:a16="http://schemas.microsoft.com/office/drawing/2014/main" id="{29DAB7FB-4FFB-4D63-9B9F-79B322CE7CB0}"/>
                </a:ext>
              </a:extLst>
            </p:cNvPr>
            <p:cNvSpPr/>
            <p:nvPr/>
          </p:nvSpPr>
          <p:spPr>
            <a:xfrm>
              <a:off x="7023734" y="3157344"/>
              <a:ext cx="31372" cy="31372"/>
            </a:xfrm>
            <a:custGeom>
              <a:avLst/>
              <a:gdLst>
                <a:gd name="connsiteX0" fmla="*/ 17030 w 31371"/>
                <a:gd name="connsiteY0" fmla="*/ 34061 h 31371"/>
                <a:gd name="connsiteX1" fmla="*/ 34061 w 31371"/>
                <a:gd name="connsiteY1" fmla="*/ 17030 h 31371"/>
                <a:gd name="connsiteX2" fmla="*/ 17030 w 31371"/>
                <a:gd name="connsiteY2" fmla="*/ 0 h 31371"/>
                <a:gd name="connsiteX3" fmla="*/ 0 w 31371"/>
                <a:gd name="connsiteY3" fmla="*/ 17030 h 31371"/>
                <a:gd name="connsiteX4" fmla="*/ 17030 w 31371"/>
                <a:gd name="connsiteY4" fmla="*/ 34061 h 31371"/>
                <a:gd name="connsiteX5" fmla="*/ 17030 w 31371"/>
                <a:gd name="connsiteY5" fmla="*/ 4930 h 31371"/>
                <a:gd name="connsiteX6" fmla="*/ 29579 w 31371"/>
                <a:gd name="connsiteY6" fmla="*/ 17479 h 31371"/>
                <a:gd name="connsiteX7" fmla="*/ 17030 w 31371"/>
                <a:gd name="connsiteY7" fmla="*/ 30027 h 31371"/>
                <a:gd name="connsiteX8" fmla="*/ 4482 w 31371"/>
                <a:gd name="connsiteY8" fmla="*/ 17479 h 31371"/>
                <a:gd name="connsiteX9" fmla="*/ 17030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030" y="34061"/>
                  </a:moveTo>
                  <a:cubicBezTo>
                    <a:pt x="26442" y="34061"/>
                    <a:pt x="34061" y="26442"/>
                    <a:pt x="34061" y="17030"/>
                  </a:cubicBezTo>
                  <a:cubicBezTo>
                    <a:pt x="34061" y="7619"/>
                    <a:pt x="26442" y="0"/>
                    <a:pt x="17030" y="0"/>
                  </a:cubicBezTo>
                  <a:cubicBezTo>
                    <a:pt x="7619" y="0"/>
                    <a:pt x="0" y="7619"/>
                    <a:pt x="0" y="17030"/>
                  </a:cubicBezTo>
                  <a:cubicBezTo>
                    <a:pt x="0" y="26442"/>
                    <a:pt x="7619" y="34061"/>
                    <a:pt x="17030" y="34061"/>
                  </a:cubicBezTo>
                  <a:close/>
                  <a:moveTo>
                    <a:pt x="17030" y="4930"/>
                  </a:moveTo>
                  <a:cubicBezTo>
                    <a:pt x="23753" y="4930"/>
                    <a:pt x="29579" y="10308"/>
                    <a:pt x="29579" y="17479"/>
                  </a:cubicBezTo>
                  <a:cubicBezTo>
                    <a:pt x="29579" y="24649"/>
                    <a:pt x="24201" y="30027"/>
                    <a:pt x="17030" y="30027"/>
                  </a:cubicBezTo>
                  <a:cubicBezTo>
                    <a:pt x="10308" y="30027"/>
                    <a:pt x="4482" y="24649"/>
                    <a:pt x="4482" y="17479"/>
                  </a:cubicBezTo>
                  <a:cubicBezTo>
                    <a:pt x="4482" y="10308"/>
                    <a:pt x="10308" y="4930"/>
                    <a:pt x="17030" y="4930"/>
                  </a:cubicBezTo>
                  <a:close/>
                </a:path>
              </a:pathLst>
            </a:custGeom>
            <a:solidFill>
              <a:srgbClr val="231F20"/>
            </a:solidFill>
            <a:ln w="4477" cap="flat">
              <a:noFill/>
              <a:prstDash val="solid"/>
              <a:miter/>
            </a:ln>
          </p:spPr>
          <p:txBody>
            <a:bodyPr rtlCol="0" anchor="ctr"/>
            <a:lstStyle/>
            <a:p>
              <a:endParaRPr lang="en-US"/>
            </a:p>
          </p:txBody>
        </p:sp>
        <p:sp>
          <p:nvSpPr>
            <p:cNvPr id="2926" name="Freeform: Shape 2925">
              <a:extLst>
                <a:ext uri="{FF2B5EF4-FFF2-40B4-BE49-F238E27FC236}">
                  <a16:creationId xmlns:a16="http://schemas.microsoft.com/office/drawing/2014/main" id="{6080221F-B622-4726-905C-332DAA332836}"/>
                </a:ext>
              </a:extLst>
            </p:cNvPr>
            <p:cNvSpPr/>
            <p:nvPr/>
          </p:nvSpPr>
          <p:spPr>
            <a:xfrm>
              <a:off x="7009841" y="3195438"/>
              <a:ext cx="58262" cy="35854"/>
            </a:xfrm>
            <a:custGeom>
              <a:avLst/>
              <a:gdLst>
                <a:gd name="connsiteX0" fmla="*/ 51988 w 58262"/>
                <a:gd name="connsiteY0" fmla="*/ 36750 h 35853"/>
                <a:gd name="connsiteX1" fmla="*/ 61399 w 58262"/>
                <a:gd name="connsiteY1" fmla="*/ 27338 h 35853"/>
                <a:gd name="connsiteX2" fmla="*/ 61399 w 58262"/>
                <a:gd name="connsiteY2" fmla="*/ 20168 h 35853"/>
                <a:gd name="connsiteX3" fmla="*/ 41232 w 58262"/>
                <a:gd name="connsiteY3" fmla="*/ 0 h 35853"/>
                <a:gd name="connsiteX4" fmla="*/ 20168 w 58262"/>
                <a:gd name="connsiteY4" fmla="*/ 0 h 35853"/>
                <a:gd name="connsiteX5" fmla="*/ 0 w 58262"/>
                <a:gd name="connsiteY5" fmla="*/ 20168 h 35853"/>
                <a:gd name="connsiteX6" fmla="*/ 0 w 58262"/>
                <a:gd name="connsiteY6" fmla="*/ 27338 h 35853"/>
                <a:gd name="connsiteX7" fmla="*/ 9412 w 58262"/>
                <a:gd name="connsiteY7" fmla="*/ 36750 h 35853"/>
                <a:gd name="connsiteX8" fmla="*/ 51988 w 58262"/>
                <a:gd name="connsiteY8" fmla="*/ 36750 h 35853"/>
                <a:gd name="connsiteX9" fmla="*/ 4930 w 58262"/>
                <a:gd name="connsiteY9" fmla="*/ 27338 h 35853"/>
                <a:gd name="connsiteX10" fmla="*/ 4930 w 58262"/>
                <a:gd name="connsiteY10" fmla="*/ 20168 h 35853"/>
                <a:gd name="connsiteX11" fmla="*/ 20616 w 58262"/>
                <a:gd name="connsiteY11" fmla="*/ 4482 h 35853"/>
                <a:gd name="connsiteX12" fmla="*/ 41680 w 58262"/>
                <a:gd name="connsiteY12" fmla="*/ 4482 h 35853"/>
                <a:gd name="connsiteX13" fmla="*/ 57366 w 58262"/>
                <a:gd name="connsiteY13" fmla="*/ 20168 h 35853"/>
                <a:gd name="connsiteX14" fmla="*/ 57366 w 58262"/>
                <a:gd name="connsiteY14" fmla="*/ 27338 h 35853"/>
                <a:gd name="connsiteX15" fmla="*/ 52436 w 58262"/>
                <a:gd name="connsiteY15" fmla="*/ 32268 h 35853"/>
                <a:gd name="connsiteX16" fmla="*/ 9860 w 58262"/>
                <a:gd name="connsiteY16" fmla="*/ 32268 h 35853"/>
                <a:gd name="connsiteX17" fmla="*/ 4930 w 58262"/>
                <a:gd name="connsiteY17" fmla="*/ 27338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35853">
                  <a:moveTo>
                    <a:pt x="51988" y="36750"/>
                  </a:moveTo>
                  <a:cubicBezTo>
                    <a:pt x="57366" y="36750"/>
                    <a:pt x="61399" y="32716"/>
                    <a:pt x="61399" y="27338"/>
                  </a:cubicBezTo>
                  <a:lnTo>
                    <a:pt x="61399" y="20168"/>
                  </a:lnTo>
                  <a:cubicBezTo>
                    <a:pt x="61399" y="8963"/>
                    <a:pt x="52436" y="0"/>
                    <a:pt x="41232" y="0"/>
                  </a:cubicBezTo>
                  <a:lnTo>
                    <a:pt x="20168" y="0"/>
                  </a:lnTo>
                  <a:cubicBezTo>
                    <a:pt x="8963" y="0"/>
                    <a:pt x="0" y="8963"/>
                    <a:pt x="0" y="20168"/>
                  </a:cubicBezTo>
                  <a:lnTo>
                    <a:pt x="0" y="27338"/>
                  </a:lnTo>
                  <a:cubicBezTo>
                    <a:pt x="0" y="32716"/>
                    <a:pt x="4034" y="36750"/>
                    <a:pt x="9412" y="36750"/>
                  </a:cubicBezTo>
                  <a:lnTo>
                    <a:pt x="51988" y="36750"/>
                  </a:lnTo>
                  <a:close/>
                  <a:moveTo>
                    <a:pt x="4930" y="27338"/>
                  </a:moveTo>
                  <a:lnTo>
                    <a:pt x="4930" y="20168"/>
                  </a:lnTo>
                  <a:cubicBezTo>
                    <a:pt x="4930" y="11652"/>
                    <a:pt x="12101" y="4482"/>
                    <a:pt x="20616" y="4482"/>
                  </a:cubicBezTo>
                  <a:lnTo>
                    <a:pt x="41680" y="4482"/>
                  </a:lnTo>
                  <a:cubicBezTo>
                    <a:pt x="50195" y="4482"/>
                    <a:pt x="57366" y="11652"/>
                    <a:pt x="57366" y="20168"/>
                  </a:cubicBezTo>
                  <a:lnTo>
                    <a:pt x="57366" y="27338"/>
                  </a:lnTo>
                  <a:cubicBezTo>
                    <a:pt x="57366" y="30027"/>
                    <a:pt x="55125" y="32268"/>
                    <a:pt x="52436" y="32268"/>
                  </a:cubicBezTo>
                  <a:lnTo>
                    <a:pt x="9860" y="32268"/>
                  </a:lnTo>
                  <a:cubicBezTo>
                    <a:pt x="7171" y="32268"/>
                    <a:pt x="4930" y="30027"/>
                    <a:pt x="4930" y="27338"/>
                  </a:cubicBezTo>
                  <a:close/>
                </a:path>
              </a:pathLst>
            </a:custGeom>
            <a:solidFill>
              <a:srgbClr val="231F20"/>
            </a:solidFill>
            <a:ln w="4477" cap="flat">
              <a:noFill/>
              <a:prstDash val="solid"/>
              <a:miter/>
            </a:ln>
          </p:spPr>
          <p:txBody>
            <a:bodyPr rtlCol="0" anchor="ctr"/>
            <a:lstStyle/>
            <a:p>
              <a:endParaRPr lang="en-US"/>
            </a:p>
          </p:txBody>
        </p:sp>
        <p:sp>
          <p:nvSpPr>
            <p:cNvPr id="2927" name="Freeform: Shape 2926">
              <a:extLst>
                <a:ext uri="{FF2B5EF4-FFF2-40B4-BE49-F238E27FC236}">
                  <a16:creationId xmlns:a16="http://schemas.microsoft.com/office/drawing/2014/main" id="{17B2CB20-0893-41FE-9526-A06FDE525BAD}"/>
                </a:ext>
              </a:extLst>
            </p:cNvPr>
            <p:cNvSpPr/>
            <p:nvPr/>
          </p:nvSpPr>
          <p:spPr>
            <a:xfrm>
              <a:off x="7115609" y="3235774"/>
              <a:ext cx="31372" cy="31372"/>
            </a:xfrm>
            <a:custGeom>
              <a:avLst/>
              <a:gdLst>
                <a:gd name="connsiteX0" fmla="*/ 0 w 31371"/>
                <a:gd name="connsiteY0" fmla="*/ 17030 h 31371"/>
                <a:gd name="connsiteX1" fmla="*/ 17030 w 31371"/>
                <a:gd name="connsiteY1" fmla="*/ 34061 h 31371"/>
                <a:gd name="connsiteX2" fmla="*/ 34061 w 31371"/>
                <a:gd name="connsiteY2" fmla="*/ 17030 h 31371"/>
                <a:gd name="connsiteX3" fmla="*/ 17030 w 31371"/>
                <a:gd name="connsiteY3" fmla="*/ 0 h 31371"/>
                <a:gd name="connsiteX4" fmla="*/ 0 w 31371"/>
                <a:gd name="connsiteY4" fmla="*/ 17030 h 31371"/>
                <a:gd name="connsiteX5" fmla="*/ 29131 w 31371"/>
                <a:gd name="connsiteY5" fmla="*/ 17030 h 31371"/>
                <a:gd name="connsiteX6" fmla="*/ 16582 w 31371"/>
                <a:gd name="connsiteY6" fmla="*/ 29579 h 31371"/>
                <a:gd name="connsiteX7" fmla="*/ 4034 w 31371"/>
                <a:gd name="connsiteY7" fmla="*/ 17030 h 31371"/>
                <a:gd name="connsiteX8" fmla="*/ 16582 w 31371"/>
                <a:gd name="connsiteY8" fmla="*/ 4482 h 31371"/>
                <a:gd name="connsiteX9" fmla="*/ 29131 w 31371"/>
                <a:gd name="connsiteY9" fmla="*/ 170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0" y="17030"/>
                  </a:moveTo>
                  <a:cubicBezTo>
                    <a:pt x="0" y="26442"/>
                    <a:pt x="7619" y="34061"/>
                    <a:pt x="17030" y="34061"/>
                  </a:cubicBezTo>
                  <a:cubicBezTo>
                    <a:pt x="26442" y="34061"/>
                    <a:pt x="34061" y="26442"/>
                    <a:pt x="34061" y="17030"/>
                  </a:cubicBezTo>
                  <a:cubicBezTo>
                    <a:pt x="34061" y="7619"/>
                    <a:pt x="26442" y="0"/>
                    <a:pt x="17030" y="0"/>
                  </a:cubicBezTo>
                  <a:cubicBezTo>
                    <a:pt x="7619" y="0"/>
                    <a:pt x="0" y="7619"/>
                    <a:pt x="0" y="17030"/>
                  </a:cubicBezTo>
                  <a:close/>
                  <a:moveTo>
                    <a:pt x="29131" y="17030"/>
                  </a:moveTo>
                  <a:cubicBezTo>
                    <a:pt x="29131" y="23753"/>
                    <a:pt x="23753" y="29579"/>
                    <a:pt x="16582" y="29579"/>
                  </a:cubicBezTo>
                  <a:cubicBezTo>
                    <a:pt x="9860" y="29579"/>
                    <a:pt x="4034" y="24201"/>
                    <a:pt x="4034" y="17030"/>
                  </a:cubicBezTo>
                  <a:cubicBezTo>
                    <a:pt x="4034" y="10308"/>
                    <a:pt x="9412" y="4482"/>
                    <a:pt x="16582" y="4482"/>
                  </a:cubicBezTo>
                  <a:cubicBezTo>
                    <a:pt x="23753" y="4482"/>
                    <a:pt x="29131" y="9860"/>
                    <a:pt x="29131" y="17030"/>
                  </a:cubicBezTo>
                  <a:close/>
                </a:path>
              </a:pathLst>
            </a:custGeom>
            <a:solidFill>
              <a:srgbClr val="231F20"/>
            </a:solidFill>
            <a:ln w="4477" cap="flat">
              <a:noFill/>
              <a:prstDash val="solid"/>
              <a:miter/>
            </a:ln>
          </p:spPr>
          <p:txBody>
            <a:bodyPr rtlCol="0" anchor="ctr"/>
            <a:lstStyle/>
            <a:p>
              <a:endParaRPr lang="en-US"/>
            </a:p>
          </p:txBody>
        </p:sp>
        <p:sp>
          <p:nvSpPr>
            <p:cNvPr id="2928" name="Freeform: Shape 2927">
              <a:extLst>
                <a:ext uri="{FF2B5EF4-FFF2-40B4-BE49-F238E27FC236}">
                  <a16:creationId xmlns:a16="http://schemas.microsoft.com/office/drawing/2014/main" id="{01146E6B-765E-4C95-9D6E-5120C894EB73}"/>
                </a:ext>
              </a:extLst>
            </p:cNvPr>
            <p:cNvSpPr/>
            <p:nvPr/>
          </p:nvSpPr>
          <p:spPr>
            <a:xfrm>
              <a:off x="7101715" y="3273420"/>
              <a:ext cx="58262" cy="35854"/>
            </a:xfrm>
            <a:custGeom>
              <a:avLst/>
              <a:gdLst>
                <a:gd name="connsiteX0" fmla="*/ 41232 w 58262"/>
                <a:gd name="connsiteY0" fmla="*/ 0 h 35853"/>
                <a:gd name="connsiteX1" fmla="*/ 20168 w 58262"/>
                <a:gd name="connsiteY1" fmla="*/ 0 h 35853"/>
                <a:gd name="connsiteX2" fmla="*/ 0 w 58262"/>
                <a:gd name="connsiteY2" fmla="*/ 20168 h 35853"/>
                <a:gd name="connsiteX3" fmla="*/ 0 w 58262"/>
                <a:gd name="connsiteY3" fmla="*/ 27338 h 35853"/>
                <a:gd name="connsiteX4" fmla="*/ 9412 w 58262"/>
                <a:gd name="connsiteY4" fmla="*/ 36750 h 35853"/>
                <a:gd name="connsiteX5" fmla="*/ 51540 w 58262"/>
                <a:gd name="connsiteY5" fmla="*/ 36750 h 35853"/>
                <a:gd name="connsiteX6" fmla="*/ 60951 w 58262"/>
                <a:gd name="connsiteY6" fmla="*/ 27338 h 35853"/>
                <a:gd name="connsiteX7" fmla="*/ 60951 w 58262"/>
                <a:gd name="connsiteY7" fmla="*/ 20168 h 35853"/>
                <a:gd name="connsiteX8" fmla="*/ 41232 w 58262"/>
                <a:gd name="connsiteY8" fmla="*/ 0 h 35853"/>
                <a:gd name="connsiteX9" fmla="*/ 56469 w 58262"/>
                <a:gd name="connsiteY9" fmla="*/ 27338 h 35853"/>
                <a:gd name="connsiteX10" fmla="*/ 51540 w 58262"/>
                <a:gd name="connsiteY10" fmla="*/ 32268 h 35853"/>
                <a:gd name="connsiteX11" fmla="*/ 9412 w 58262"/>
                <a:gd name="connsiteY11" fmla="*/ 32268 h 35853"/>
                <a:gd name="connsiteX12" fmla="*/ 4482 w 58262"/>
                <a:gd name="connsiteY12" fmla="*/ 27338 h 35853"/>
                <a:gd name="connsiteX13" fmla="*/ 4482 w 58262"/>
                <a:gd name="connsiteY13" fmla="*/ 20168 h 35853"/>
                <a:gd name="connsiteX14" fmla="*/ 20168 w 58262"/>
                <a:gd name="connsiteY14" fmla="*/ 4482 h 35853"/>
                <a:gd name="connsiteX15" fmla="*/ 41232 w 58262"/>
                <a:gd name="connsiteY15" fmla="*/ 4482 h 35853"/>
                <a:gd name="connsiteX16" fmla="*/ 56918 w 58262"/>
                <a:gd name="connsiteY16" fmla="*/ 20168 h 35853"/>
                <a:gd name="connsiteX17" fmla="*/ 56918 w 58262"/>
                <a:gd name="connsiteY17" fmla="*/ 27338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35853">
                  <a:moveTo>
                    <a:pt x="41232" y="0"/>
                  </a:moveTo>
                  <a:lnTo>
                    <a:pt x="20168" y="0"/>
                  </a:lnTo>
                  <a:cubicBezTo>
                    <a:pt x="8963" y="0"/>
                    <a:pt x="0" y="8963"/>
                    <a:pt x="0" y="20168"/>
                  </a:cubicBezTo>
                  <a:lnTo>
                    <a:pt x="0" y="27338"/>
                  </a:lnTo>
                  <a:cubicBezTo>
                    <a:pt x="0" y="32716"/>
                    <a:pt x="4034" y="36750"/>
                    <a:pt x="9412" y="36750"/>
                  </a:cubicBezTo>
                  <a:lnTo>
                    <a:pt x="51540" y="36750"/>
                  </a:lnTo>
                  <a:cubicBezTo>
                    <a:pt x="56918" y="36750"/>
                    <a:pt x="60951" y="32716"/>
                    <a:pt x="60951" y="27338"/>
                  </a:cubicBezTo>
                  <a:lnTo>
                    <a:pt x="60951" y="20168"/>
                  </a:lnTo>
                  <a:cubicBezTo>
                    <a:pt x="60951" y="8963"/>
                    <a:pt x="51988" y="0"/>
                    <a:pt x="41232" y="0"/>
                  </a:cubicBezTo>
                  <a:close/>
                  <a:moveTo>
                    <a:pt x="56469" y="27338"/>
                  </a:moveTo>
                  <a:cubicBezTo>
                    <a:pt x="56469" y="30027"/>
                    <a:pt x="54229" y="32268"/>
                    <a:pt x="51540" y="32268"/>
                  </a:cubicBezTo>
                  <a:lnTo>
                    <a:pt x="9412" y="32268"/>
                  </a:lnTo>
                  <a:cubicBezTo>
                    <a:pt x="6723" y="32268"/>
                    <a:pt x="4482" y="30027"/>
                    <a:pt x="4482" y="27338"/>
                  </a:cubicBezTo>
                  <a:lnTo>
                    <a:pt x="4482" y="20168"/>
                  </a:lnTo>
                  <a:cubicBezTo>
                    <a:pt x="4482" y="11652"/>
                    <a:pt x="11652" y="4482"/>
                    <a:pt x="20168" y="4482"/>
                  </a:cubicBezTo>
                  <a:lnTo>
                    <a:pt x="41232" y="4482"/>
                  </a:lnTo>
                  <a:cubicBezTo>
                    <a:pt x="49747" y="4482"/>
                    <a:pt x="56918" y="11652"/>
                    <a:pt x="56918" y="20168"/>
                  </a:cubicBezTo>
                  <a:lnTo>
                    <a:pt x="56918" y="27338"/>
                  </a:lnTo>
                  <a:close/>
                </a:path>
              </a:pathLst>
            </a:custGeom>
            <a:solidFill>
              <a:srgbClr val="231F20"/>
            </a:solidFill>
            <a:ln w="4477" cap="flat">
              <a:noFill/>
              <a:prstDash val="solid"/>
              <a:miter/>
            </a:ln>
          </p:spPr>
          <p:txBody>
            <a:bodyPr rtlCol="0" anchor="ctr"/>
            <a:lstStyle/>
            <a:p>
              <a:endParaRPr lang="en-US"/>
            </a:p>
          </p:txBody>
        </p:sp>
      </p:grpSp>
      <p:grpSp>
        <p:nvGrpSpPr>
          <p:cNvPr id="2540" name="Group 2539">
            <a:extLst>
              <a:ext uri="{FF2B5EF4-FFF2-40B4-BE49-F238E27FC236}">
                <a16:creationId xmlns:a16="http://schemas.microsoft.com/office/drawing/2014/main" id="{BBEE9802-69F5-417D-B1B5-135FEBF5D36F}"/>
              </a:ext>
              <a:ext uri="{C183D7F6-B498-43B3-948B-1728B52AA6E4}">
                <adec:decorative xmlns:adec="http://schemas.microsoft.com/office/drawing/2017/decorative" val="1"/>
              </a:ext>
            </a:extLst>
          </p:cNvPr>
          <p:cNvGrpSpPr>
            <a:grpSpLocks noChangeAspect="1"/>
          </p:cNvGrpSpPr>
          <p:nvPr/>
        </p:nvGrpSpPr>
        <p:grpSpPr>
          <a:xfrm>
            <a:off x="7730019" y="5209449"/>
            <a:ext cx="165823" cy="157308"/>
            <a:chOff x="7786519" y="3153758"/>
            <a:chExt cx="165823" cy="157308"/>
          </a:xfrm>
        </p:grpSpPr>
        <p:sp>
          <p:nvSpPr>
            <p:cNvPr id="2918" name="Freeform: Shape 2917">
              <a:extLst>
                <a:ext uri="{FF2B5EF4-FFF2-40B4-BE49-F238E27FC236}">
                  <a16:creationId xmlns:a16="http://schemas.microsoft.com/office/drawing/2014/main" id="{34E20B69-C109-4CBE-9717-75893A4514DB}"/>
                </a:ext>
              </a:extLst>
            </p:cNvPr>
            <p:cNvSpPr/>
            <p:nvPr/>
          </p:nvSpPr>
          <p:spPr>
            <a:xfrm>
              <a:off x="7821897" y="3153758"/>
              <a:ext cx="107561" cy="80671"/>
            </a:xfrm>
            <a:custGeom>
              <a:avLst/>
              <a:gdLst>
                <a:gd name="connsiteX0" fmla="*/ 10336 w 107560"/>
                <a:gd name="connsiteY0" fmla="*/ 70811 h 80670"/>
                <a:gd name="connsiteX1" fmla="*/ 12577 w 107560"/>
                <a:gd name="connsiteY1" fmla="*/ 70811 h 80670"/>
                <a:gd name="connsiteX2" fmla="*/ 12577 w 107560"/>
                <a:gd name="connsiteY2" fmla="*/ 81567 h 80670"/>
                <a:gd name="connsiteX3" fmla="*/ 13922 w 107560"/>
                <a:gd name="connsiteY3" fmla="*/ 83808 h 80670"/>
                <a:gd name="connsiteX4" fmla="*/ 14818 w 107560"/>
                <a:gd name="connsiteY4" fmla="*/ 83808 h 80670"/>
                <a:gd name="connsiteX5" fmla="*/ 16611 w 107560"/>
                <a:gd name="connsiteY5" fmla="*/ 83360 h 80670"/>
                <a:gd name="connsiteX6" fmla="*/ 29159 w 107560"/>
                <a:gd name="connsiteY6" fmla="*/ 70811 h 80670"/>
                <a:gd name="connsiteX7" fmla="*/ 58739 w 107560"/>
                <a:gd name="connsiteY7" fmla="*/ 70811 h 80670"/>
                <a:gd name="connsiteX8" fmla="*/ 69943 w 107560"/>
                <a:gd name="connsiteY8" fmla="*/ 59607 h 80670"/>
                <a:gd name="connsiteX9" fmla="*/ 69943 w 107560"/>
                <a:gd name="connsiteY9" fmla="*/ 44369 h 80670"/>
                <a:gd name="connsiteX10" fmla="*/ 79803 w 107560"/>
                <a:gd name="connsiteY10" fmla="*/ 44369 h 80670"/>
                <a:gd name="connsiteX11" fmla="*/ 92351 w 107560"/>
                <a:gd name="connsiteY11" fmla="*/ 56918 h 80670"/>
                <a:gd name="connsiteX12" fmla="*/ 94144 w 107560"/>
                <a:gd name="connsiteY12" fmla="*/ 57366 h 80670"/>
                <a:gd name="connsiteX13" fmla="*/ 95040 w 107560"/>
                <a:gd name="connsiteY13" fmla="*/ 57366 h 80670"/>
                <a:gd name="connsiteX14" fmla="*/ 96385 w 107560"/>
                <a:gd name="connsiteY14" fmla="*/ 55125 h 80670"/>
                <a:gd name="connsiteX15" fmla="*/ 96385 w 107560"/>
                <a:gd name="connsiteY15" fmla="*/ 44369 h 80670"/>
                <a:gd name="connsiteX16" fmla="*/ 98626 w 107560"/>
                <a:gd name="connsiteY16" fmla="*/ 44369 h 80670"/>
                <a:gd name="connsiteX17" fmla="*/ 109830 w 107560"/>
                <a:gd name="connsiteY17" fmla="*/ 33165 h 80670"/>
                <a:gd name="connsiteX18" fmla="*/ 109830 w 107560"/>
                <a:gd name="connsiteY18" fmla="*/ 11204 h 80670"/>
                <a:gd name="connsiteX19" fmla="*/ 98626 w 107560"/>
                <a:gd name="connsiteY19" fmla="*/ 0 h 80670"/>
                <a:gd name="connsiteX20" fmla="*/ 50672 w 107560"/>
                <a:gd name="connsiteY20" fmla="*/ 0 h 80670"/>
                <a:gd name="connsiteX21" fmla="*/ 39467 w 107560"/>
                <a:gd name="connsiteY21" fmla="*/ 11204 h 80670"/>
                <a:gd name="connsiteX22" fmla="*/ 39467 w 107560"/>
                <a:gd name="connsiteY22" fmla="*/ 26442 h 80670"/>
                <a:gd name="connsiteX23" fmla="*/ 11233 w 107560"/>
                <a:gd name="connsiteY23" fmla="*/ 26442 h 80670"/>
                <a:gd name="connsiteX24" fmla="*/ 28 w 107560"/>
                <a:gd name="connsiteY24" fmla="*/ 37646 h 80670"/>
                <a:gd name="connsiteX25" fmla="*/ 28 w 107560"/>
                <a:gd name="connsiteY25" fmla="*/ 59607 h 80670"/>
                <a:gd name="connsiteX26" fmla="*/ 10336 w 107560"/>
                <a:gd name="connsiteY26" fmla="*/ 70811 h 80670"/>
                <a:gd name="connsiteX27" fmla="*/ 43501 w 107560"/>
                <a:gd name="connsiteY27" fmla="*/ 11652 h 80670"/>
                <a:gd name="connsiteX28" fmla="*/ 50223 w 107560"/>
                <a:gd name="connsiteY28" fmla="*/ 4930 h 80670"/>
                <a:gd name="connsiteX29" fmla="*/ 98178 w 107560"/>
                <a:gd name="connsiteY29" fmla="*/ 4930 h 80670"/>
                <a:gd name="connsiteX30" fmla="*/ 104900 w 107560"/>
                <a:gd name="connsiteY30" fmla="*/ 11652 h 80670"/>
                <a:gd name="connsiteX31" fmla="*/ 104900 w 107560"/>
                <a:gd name="connsiteY31" fmla="*/ 33613 h 80670"/>
                <a:gd name="connsiteX32" fmla="*/ 98178 w 107560"/>
                <a:gd name="connsiteY32" fmla="*/ 40335 h 80670"/>
                <a:gd name="connsiteX33" fmla="*/ 93696 w 107560"/>
                <a:gd name="connsiteY33" fmla="*/ 40335 h 80670"/>
                <a:gd name="connsiteX34" fmla="*/ 91455 w 107560"/>
                <a:gd name="connsiteY34" fmla="*/ 42576 h 80670"/>
                <a:gd name="connsiteX35" fmla="*/ 91455 w 107560"/>
                <a:gd name="connsiteY35" fmla="*/ 50195 h 80670"/>
                <a:gd name="connsiteX36" fmla="*/ 82043 w 107560"/>
                <a:gd name="connsiteY36" fmla="*/ 40784 h 80670"/>
                <a:gd name="connsiteX37" fmla="*/ 80251 w 107560"/>
                <a:gd name="connsiteY37" fmla="*/ 40335 h 80670"/>
                <a:gd name="connsiteX38" fmla="*/ 69495 w 107560"/>
                <a:gd name="connsiteY38" fmla="*/ 40335 h 80670"/>
                <a:gd name="connsiteX39" fmla="*/ 69495 w 107560"/>
                <a:gd name="connsiteY39" fmla="*/ 38094 h 80670"/>
                <a:gd name="connsiteX40" fmla="*/ 58290 w 107560"/>
                <a:gd name="connsiteY40" fmla="*/ 26890 h 80670"/>
                <a:gd name="connsiteX41" fmla="*/ 43053 w 107560"/>
                <a:gd name="connsiteY41" fmla="*/ 26890 h 80670"/>
                <a:gd name="connsiteX42" fmla="*/ 43053 w 107560"/>
                <a:gd name="connsiteY42" fmla="*/ 11652 h 80670"/>
                <a:gd name="connsiteX43" fmla="*/ 4062 w 107560"/>
                <a:gd name="connsiteY43" fmla="*/ 37646 h 80670"/>
                <a:gd name="connsiteX44" fmla="*/ 10784 w 107560"/>
                <a:gd name="connsiteY44" fmla="*/ 30924 h 80670"/>
                <a:gd name="connsiteX45" fmla="*/ 58739 w 107560"/>
                <a:gd name="connsiteY45" fmla="*/ 30924 h 80670"/>
                <a:gd name="connsiteX46" fmla="*/ 65461 w 107560"/>
                <a:gd name="connsiteY46" fmla="*/ 37646 h 80670"/>
                <a:gd name="connsiteX47" fmla="*/ 65461 w 107560"/>
                <a:gd name="connsiteY47" fmla="*/ 59607 h 80670"/>
                <a:gd name="connsiteX48" fmla="*/ 58739 w 107560"/>
                <a:gd name="connsiteY48" fmla="*/ 66329 h 80670"/>
                <a:gd name="connsiteX49" fmla="*/ 28263 w 107560"/>
                <a:gd name="connsiteY49" fmla="*/ 66329 h 80670"/>
                <a:gd name="connsiteX50" fmla="*/ 26470 w 107560"/>
                <a:gd name="connsiteY50" fmla="*/ 66777 h 80670"/>
                <a:gd name="connsiteX51" fmla="*/ 17059 w 107560"/>
                <a:gd name="connsiteY51" fmla="*/ 76189 h 80670"/>
                <a:gd name="connsiteX52" fmla="*/ 17059 w 107560"/>
                <a:gd name="connsiteY52" fmla="*/ 68570 h 80670"/>
                <a:gd name="connsiteX53" fmla="*/ 14818 w 107560"/>
                <a:gd name="connsiteY53" fmla="*/ 66329 h 80670"/>
                <a:gd name="connsiteX54" fmla="*/ 10336 w 107560"/>
                <a:gd name="connsiteY54" fmla="*/ 66329 h 80670"/>
                <a:gd name="connsiteX55" fmla="*/ 3614 w 107560"/>
                <a:gd name="connsiteY55" fmla="*/ 59607 h 80670"/>
                <a:gd name="connsiteX56" fmla="*/ 3614 w 107560"/>
                <a:gd name="connsiteY56" fmla="*/ 37646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07560" h="80670">
                  <a:moveTo>
                    <a:pt x="10336" y="70811"/>
                  </a:moveTo>
                  <a:lnTo>
                    <a:pt x="12577" y="70811"/>
                  </a:lnTo>
                  <a:lnTo>
                    <a:pt x="12577" y="81567"/>
                  </a:lnTo>
                  <a:cubicBezTo>
                    <a:pt x="12577" y="82463"/>
                    <a:pt x="13025" y="83360"/>
                    <a:pt x="13922" y="83808"/>
                  </a:cubicBezTo>
                  <a:cubicBezTo>
                    <a:pt x="14370" y="83808"/>
                    <a:pt x="14370" y="83808"/>
                    <a:pt x="14818" y="83808"/>
                  </a:cubicBezTo>
                  <a:cubicBezTo>
                    <a:pt x="15266" y="83808"/>
                    <a:pt x="16163" y="83360"/>
                    <a:pt x="16611" y="83360"/>
                  </a:cubicBezTo>
                  <a:lnTo>
                    <a:pt x="29159" y="70811"/>
                  </a:lnTo>
                  <a:lnTo>
                    <a:pt x="58739" y="70811"/>
                  </a:lnTo>
                  <a:cubicBezTo>
                    <a:pt x="65013" y="70811"/>
                    <a:pt x="69943" y="65881"/>
                    <a:pt x="69943" y="59607"/>
                  </a:cubicBezTo>
                  <a:lnTo>
                    <a:pt x="69943" y="44369"/>
                  </a:lnTo>
                  <a:lnTo>
                    <a:pt x="79803" y="44369"/>
                  </a:lnTo>
                  <a:lnTo>
                    <a:pt x="92351" y="56918"/>
                  </a:lnTo>
                  <a:cubicBezTo>
                    <a:pt x="92800" y="57366"/>
                    <a:pt x="93248" y="57366"/>
                    <a:pt x="94144" y="57366"/>
                  </a:cubicBezTo>
                  <a:cubicBezTo>
                    <a:pt x="94592" y="57366"/>
                    <a:pt x="94592" y="57366"/>
                    <a:pt x="95040" y="57366"/>
                  </a:cubicBezTo>
                  <a:cubicBezTo>
                    <a:pt x="95937" y="56918"/>
                    <a:pt x="96385" y="56021"/>
                    <a:pt x="96385" y="55125"/>
                  </a:cubicBezTo>
                  <a:lnTo>
                    <a:pt x="96385" y="44369"/>
                  </a:lnTo>
                  <a:lnTo>
                    <a:pt x="98626" y="44369"/>
                  </a:lnTo>
                  <a:cubicBezTo>
                    <a:pt x="104900" y="44369"/>
                    <a:pt x="109830" y="39439"/>
                    <a:pt x="109830" y="33165"/>
                  </a:cubicBezTo>
                  <a:lnTo>
                    <a:pt x="109830" y="11204"/>
                  </a:lnTo>
                  <a:cubicBezTo>
                    <a:pt x="109830" y="4930"/>
                    <a:pt x="104900" y="0"/>
                    <a:pt x="98626" y="0"/>
                  </a:cubicBezTo>
                  <a:lnTo>
                    <a:pt x="50672" y="0"/>
                  </a:lnTo>
                  <a:cubicBezTo>
                    <a:pt x="44397" y="0"/>
                    <a:pt x="39467" y="4930"/>
                    <a:pt x="39467" y="11204"/>
                  </a:cubicBezTo>
                  <a:lnTo>
                    <a:pt x="39467" y="26442"/>
                  </a:lnTo>
                  <a:lnTo>
                    <a:pt x="11233" y="26442"/>
                  </a:lnTo>
                  <a:cubicBezTo>
                    <a:pt x="4958" y="26442"/>
                    <a:pt x="28" y="31372"/>
                    <a:pt x="28" y="37646"/>
                  </a:cubicBezTo>
                  <a:lnTo>
                    <a:pt x="28" y="59607"/>
                  </a:lnTo>
                  <a:cubicBezTo>
                    <a:pt x="-420" y="65881"/>
                    <a:pt x="4510" y="70811"/>
                    <a:pt x="10336" y="70811"/>
                  </a:cubicBezTo>
                  <a:close/>
                  <a:moveTo>
                    <a:pt x="43501" y="11652"/>
                  </a:moveTo>
                  <a:cubicBezTo>
                    <a:pt x="43501" y="8067"/>
                    <a:pt x="46638" y="4930"/>
                    <a:pt x="50223" y="4930"/>
                  </a:cubicBezTo>
                  <a:lnTo>
                    <a:pt x="98178" y="4930"/>
                  </a:lnTo>
                  <a:cubicBezTo>
                    <a:pt x="101763" y="4930"/>
                    <a:pt x="104900" y="8067"/>
                    <a:pt x="104900" y="11652"/>
                  </a:cubicBezTo>
                  <a:lnTo>
                    <a:pt x="104900" y="33613"/>
                  </a:lnTo>
                  <a:cubicBezTo>
                    <a:pt x="104900" y="37198"/>
                    <a:pt x="101763" y="40335"/>
                    <a:pt x="98178" y="40335"/>
                  </a:cubicBezTo>
                  <a:lnTo>
                    <a:pt x="93696" y="40335"/>
                  </a:lnTo>
                  <a:cubicBezTo>
                    <a:pt x="92351" y="40335"/>
                    <a:pt x="91455" y="41232"/>
                    <a:pt x="91455" y="42576"/>
                  </a:cubicBezTo>
                  <a:lnTo>
                    <a:pt x="91455" y="50195"/>
                  </a:lnTo>
                  <a:lnTo>
                    <a:pt x="82043" y="40784"/>
                  </a:lnTo>
                  <a:cubicBezTo>
                    <a:pt x="81595" y="40335"/>
                    <a:pt x="81147" y="40335"/>
                    <a:pt x="80251" y="40335"/>
                  </a:cubicBezTo>
                  <a:lnTo>
                    <a:pt x="69495" y="40335"/>
                  </a:lnTo>
                  <a:lnTo>
                    <a:pt x="69495" y="38094"/>
                  </a:lnTo>
                  <a:cubicBezTo>
                    <a:pt x="69495" y="31820"/>
                    <a:pt x="64565" y="26890"/>
                    <a:pt x="58290" y="26890"/>
                  </a:cubicBezTo>
                  <a:lnTo>
                    <a:pt x="43053" y="26890"/>
                  </a:lnTo>
                  <a:lnTo>
                    <a:pt x="43053" y="11652"/>
                  </a:lnTo>
                  <a:close/>
                  <a:moveTo>
                    <a:pt x="4062" y="37646"/>
                  </a:moveTo>
                  <a:cubicBezTo>
                    <a:pt x="4062" y="34061"/>
                    <a:pt x="7199" y="30924"/>
                    <a:pt x="10784" y="30924"/>
                  </a:cubicBezTo>
                  <a:lnTo>
                    <a:pt x="58739" y="30924"/>
                  </a:lnTo>
                  <a:cubicBezTo>
                    <a:pt x="62324" y="30924"/>
                    <a:pt x="65461" y="34061"/>
                    <a:pt x="65461" y="37646"/>
                  </a:cubicBezTo>
                  <a:lnTo>
                    <a:pt x="65461" y="59607"/>
                  </a:lnTo>
                  <a:cubicBezTo>
                    <a:pt x="65461" y="63192"/>
                    <a:pt x="62324" y="66329"/>
                    <a:pt x="58739" y="66329"/>
                  </a:cubicBezTo>
                  <a:lnTo>
                    <a:pt x="28263" y="66329"/>
                  </a:lnTo>
                  <a:cubicBezTo>
                    <a:pt x="27815" y="66329"/>
                    <a:pt x="26919" y="66777"/>
                    <a:pt x="26470" y="66777"/>
                  </a:cubicBezTo>
                  <a:lnTo>
                    <a:pt x="17059" y="76189"/>
                  </a:lnTo>
                  <a:lnTo>
                    <a:pt x="17059" y="68570"/>
                  </a:lnTo>
                  <a:cubicBezTo>
                    <a:pt x="17059" y="67226"/>
                    <a:pt x="16163" y="66329"/>
                    <a:pt x="14818" y="66329"/>
                  </a:cubicBezTo>
                  <a:lnTo>
                    <a:pt x="10336" y="66329"/>
                  </a:lnTo>
                  <a:cubicBezTo>
                    <a:pt x="6751" y="66329"/>
                    <a:pt x="3614" y="63192"/>
                    <a:pt x="3614" y="59607"/>
                  </a:cubicBezTo>
                  <a:lnTo>
                    <a:pt x="3614" y="37646"/>
                  </a:lnTo>
                  <a:close/>
                </a:path>
              </a:pathLst>
            </a:custGeom>
            <a:solidFill>
              <a:srgbClr val="231F20"/>
            </a:solidFill>
            <a:ln w="4477" cap="flat">
              <a:noFill/>
              <a:prstDash val="solid"/>
              <a:miter/>
            </a:ln>
          </p:spPr>
          <p:txBody>
            <a:bodyPr rtlCol="0" anchor="ctr"/>
            <a:lstStyle/>
            <a:p>
              <a:endParaRPr lang="en-US"/>
            </a:p>
          </p:txBody>
        </p:sp>
        <p:sp>
          <p:nvSpPr>
            <p:cNvPr id="2919" name="Freeform: Shape 2918">
              <a:extLst>
                <a:ext uri="{FF2B5EF4-FFF2-40B4-BE49-F238E27FC236}">
                  <a16:creationId xmlns:a16="http://schemas.microsoft.com/office/drawing/2014/main" id="{9BE6B125-6B2A-4EB4-9C59-6DFCA14198EF}"/>
                </a:ext>
              </a:extLst>
            </p:cNvPr>
            <p:cNvSpPr/>
            <p:nvPr/>
          </p:nvSpPr>
          <p:spPr>
            <a:xfrm>
              <a:off x="7851504" y="3237566"/>
              <a:ext cx="35854" cy="35854"/>
            </a:xfrm>
            <a:custGeom>
              <a:avLst/>
              <a:gdLst>
                <a:gd name="connsiteX0" fmla="*/ 0 w 35853"/>
                <a:gd name="connsiteY0" fmla="*/ 17927 h 35853"/>
                <a:gd name="connsiteX1" fmla="*/ 17927 w 35853"/>
                <a:gd name="connsiteY1" fmla="*/ 35854 h 35853"/>
                <a:gd name="connsiteX2" fmla="*/ 35854 w 35853"/>
                <a:gd name="connsiteY2" fmla="*/ 17927 h 35853"/>
                <a:gd name="connsiteX3" fmla="*/ 17927 w 35853"/>
                <a:gd name="connsiteY3" fmla="*/ 0 h 35853"/>
                <a:gd name="connsiteX4" fmla="*/ 0 w 35853"/>
                <a:gd name="connsiteY4" fmla="*/ 17927 h 35853"/>
                <a:gd name="connsiteX5" fmla="*/ 31820 w 35853"/>
                <a:gd name="connsiteY5" fmla="*/ 17927 h 35853"/>
                <a:gd name="connsiteX6" fmla="*/ 18375 w 35853"/>
                <a:gd name="connsiteY6" fmla="*/ 31372 h 35853"/>
                <a:gd name="connsiteX7" fmla="*/ 4930 w 35853"/>
                <a:gd name="connsiteY7" fmla="*/ 17927 h 35853"/>
                <a:gd name="connsiteX8" fmla="*/ 18375 w 35853"/>
                <a:gd name="connsiteY8" fmla="*/ 4482 h 35853"/>
                <a:gd name="connsiteX9" fmla="*/ 31820 w 35853"/>
                <a:gd name="connsiteY9" fmla="*/ 17927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0" y="17927"/>
                  </a:moveTo>
                  <a:cubicBezTo>
                    <a:pt x="0" y="27787"/>
                    <a:pt x="8067" y="35854"/>
                    <a:pt x="17927" y="35854"/>
                  </a:cubicBezTo>
                  <a:cubicBezTo>
                    <a:pt x="27786" y="35854"/>
                    <a:pt x="35854" y="27787"/>
                    <a:pt x="35854" y="17927"/>
                  </a:cubicBezTo>
                  <a:cubicBezTo>
                    <a:pt x="35854" y="8067"/>
                    <a:pt x="27786" y="0"/>
                    <a:pt x="17927" y="0"/>
                  </a:cubicBezTo>
                  <a:cubicBezTo>
                    <a:pt x="8067" y="0"/>
                    <a:pt x="0" y="8067"/>
                    <a:pt x="0" y="17927"/>
                  </a:cubicBezTo>
                  <a:close/>
                  <a:moveTo>
                    <a:pt x="31820" y="17927"/>
                  </a:moveTo>
                  <a:cubicBezTo>
                    <a:pt x="31820" y="25546"/>
                    <a:pt x="25546" y="31372"/>
                    <a:pt x="18375" y="31372"/>
                  </a:cubicBezTo>
                  <a:cubicBezTo>
                    <a:pt x="11204" y="31372"/>
                    <a:pt x="4930" y="25098"/>
                    <a:pt x="4930" y="17927"/>
                  </a:cubicBezTo>
                  <a:cubicBezTo>
                    <a:pt x="4930" y="10308"/>
                    <a:pt x="11204" y="4482"/>
                    <a:pt x="18375" y="4482"/>
                  </a:cubicBezTo>
                  <a:cubicBezTo>
                    <a:pt x="25546" y="4482"/>
                    <a:pt x="31820" y="10756"/>
                    <a:pt x="31820" y="17927"/>
                  </a:cubicBezTo>
                  <a:close/>
                </a:path>
              </a:pathLst>
            </a:custGeom>
            <a:solidFill>
              <a:srgbClr val="231F20"/>
            </a:solidFill>
            <a:ln w="4477" cap="flat">
              <a:noFill/>
              <a:prstDash val="solid"/>
              <a:miter/>
            </a:ln>
          </p:spPr>
          <p:txBody>
            <a:bodyPr rtlCol="0" anchor="ctr"/>
            <a:lstStyle/>
            <a:p>
              <a:endParaRPr lang="en-US"/>
            </a:p>
          </p:txBody>
        </p:sp>
        <p:sp>
          <p:nvSpPr>
            <p:cNvPr id="2920" name="Freeform: Shape 2919">
              <a:extLst>
                <a:ext uri="{FF2B5EF4-FFF2-40B4-BE49-F238E27FC236}">
                  <a16:creationId xmlns:a16="http://schemas.microsoft.com/office/drawing/2014/main" id="{4DEF515F-9DE2-44FB-ABED-70CF5ACF985B}"/>
                </a:ext>
              </a:extLst>
            </p:cNvPr>
            <p:cNvSpPr/>
            <p:nvPr/>
          </p:nvSpPr>
          <p:spPr>
            <a:xfrm>
              <a:off x="7901699" y="3233084"/>
              <a:ext cx="35854" cy="35854"/>
            </a:xfrm>
            <a:custGeom>
              <a:avLst/>
              <a:gdLst>
                <a:gd name="connsiteX0" fmla="*/ 0 w 35853"/>
                <a:gd name="connsiteY0" fmla="*/ 17927 h 35853"/>
                <a:gd name="connsiteX1" fmla="*/ 17927 w 35853"/>
                <a:gd name="connsiteY1" fmla="*/ 35854 h 35853"/>
                <a:gd name="connsiteX2" fmla="*/ 35854 w 35853"/>
                <a:gd name="connsiteY2" fmla="*/ 17927 h 35853"/>
                <a:gd name="connsiteX3" fmla="*/ 17927 w 35853"/>
                <a:gd name="connsiteY3" fmla="*/ 0 h 35853"/>
                <a:gd name="connsiteX4" fmla="*/ 0 w 35853"/>
                <a:gd name="connsiteY4" fmla="*/ 17927 h 35853"/>
                <a:gd name="connsiteX5" fmla="*/ 31820 w 35853"/>
                <a:gd name="connsiteY5" fmla="*/ 17927 h 35853"/>
                <a:gd name="connsiteX6" fmla="*/ 18375 w 35853"/>
                <a:gd name="connsiteY6" fmla="*/ 31372 h 35853"/>
                <a:gd name="connsiteX7" fmla="*/ 4930 w 35853"/>
                <a:gd name="connsiteY7" fmla="*/ 17927 h 35853"/>
                <a:gd name="connsiteX8" fmla="*/ 18375 w 35853"/>
                <a:gd name="connsiteY8" fmla="*/ 4482 h 35853"/>
                <a:gd name="connsiteX9" fmla="*/ 31820 w 35853"/>
                <a:gd name="connsiteY9" fmla="*/ 17927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0" y="17927"/>
                  </a:moveTo>
                  <a:cubicBezTo>
                    <a:pt x="0" y="27787"/>
                    <a:pt x="8067" y="35854"/>
                    <a:pt x="17927" y="35854"/>
                  </a:cubicBezTo>
                  <a:cubicBezTo>
                    <a:pt x="27787" y="35854"/>
                    <a:pt x="35854" y="27787"/>
                    <a:pt x="35854" y="17927"/>
                  </a:cubicBezTo>
                  <a:cubicBezTo>
                    <a:pt x="35854" y="8067"/>
                    <a:pt x="27787" y="0"/>
                    <a:pt x="17927" y="0"/>
                  </a:cubicBezTo>
                  <a:cubicBezTo>
                    <a:pt x="8067" y="0"/>
                    <a:pt x="0" y="8067"/>
                    <a:pt x="0" y="17927"/>
                  </a:cubicBezTo>
                  <a:close/>
                  <a:moveTo>
                    <a:pt x="31820" y="17927"/>
                  </a:moveTo>
                  <a:cubicBezTo>
                    <a:pt x="31820" y="25546"/>
                    <a:pt x="25546" y="31372"/>
                    <a:pt x="18375" y="31372"/>
                  </a:cubicBezTo>
                  <a:cubicBezTo>
                    <a:pt x="11204" y="31372"/>
                    <a:pt x="4930" y="25098"/>
                    <a:pt x="4930" y="17927"/>
                  </a:cubicBezTo>
                  <a:cubicBezTo>
                    <a:pt x="4930" y="10308"/>
                    <a:pt x="11204" y="4482"/>
                    <a:pt x="18375" y="4482"/>
                  </a:cubicBezTo>
                  <a:cubicBezTo>
                    <a:pt x="25546" y="4482"/>
                    <a:pt x="31820" y="10308"/>
                    <a:pt x="31820" y="17927"/>
                  </a:cubicBezTo>
                  <a:close/>
                </a:path>
              </a:pathLst>
            </a:custGeom>
            <a:solidFill>
              <a:srgbClr val="231F20"/>
            </a:solidFill>
            <a:ln w="4477" cap="flat">
              <a:noFill/>
              <a:prstDash val="solid"/>
              <a:miter/>
            </a:ln>
          </p:spPr>
          <p:txBody>
            <a:bodyPr rtlCol="0" anchor="ctr"/>
            <a:lstStyle/>
            <a:p>
              <a:endParaRPr lang="en-US"/>
            </a:p>
          </p:txBody>
        </p:sp>
        <p:sp>
          <p:nvSpPr>
            <p:cNvPr id="2921" name="Freeform: Shape 2920">
              <a:extLst>
                <a:ext uri="{FF2B5EF4-FFF2-40B4-BE49-F238E27FC236}">
                  <a16:creationId xmlns:a16="http://schemas.microsoft.com/office/drawing/2014/main" id="{4D68CE8E-6A46-427C-9DB0-8FA4503CF228}"/>
                </a:ext>
              </a:extLst>
            </p:cNvPr>
            <p:cNvSpPr/>
            <p:nvPr/>
          </p:nvSpPr>
          <p:spPr>
            <a:xfrm>
              <a:off x="7786519" y="3270731"/>
              <a:ext cx="165823" cy="40335"/>
            </a:xfrm>
            <a:custGeom>
              <a:avLst/>
              <a:gdLst>
                <a:gd name="connsiteX0" fmla="*/ 147896 w 165822"/>
                <a:gd name="connsiteY0" fmla="*/ 0 h 40335"/>
                <a:gd name="connsiteX1" fmla="*/ 118765 w 165822"/>
                <a:gd name="connsiteY1" fmla="*/ 0 h 40335"/>
                <a:gd name="connsiteX2" fmla="*/ 104872 w 165822"/>
                <a:gd name="connsiteY2" fmla="*/ 6274 h 40335"/>
                <a:gd name="connsiteX3" fmla="*/ 97253 w 165822"/>
                <a:gd name="connsiteY3" fmla="*/ 4482 h 40335"/>
                <a:gd name="connsiteX4" fmla="*/ 68122 w 165822"/>
                <a:gd name="connsiteY4" fmla="*/ 4482 h 40335"/>
                <a:gd name="connsiteX5" fmla="*/ 60951 w 165822"/>
                <a:gd name="connsiteY5" fmla="*/ 5826 h 40335"/>
                <a:gd name="connsiteX6" fmla="*/ 47506 w 165822"/>
                <a:gd name="connsiteY6" fmla="*/ 0 h 40335"/>
                <a:gd name="connsiteX7" fmla="*/ 18375 w 165822"/>
                <a:gd name="connsiteY7" fmla="*/ 0 h 40335"/>
                <a:gd name="connsiteX8" fmla="*/ 0 w 165822"/>
                <a:gd name="connsiteY8" fmla="*/ 18375 h 40335"/>
                <a:gd name="connsiteX9" fmla="*/ 0 w 165822"/>
                <a:gd name="connsiteY9" fmla="*/ 31820 h 40335"/>
                <a:gd name="connsiteX10" fmla="*/ 7619 w 165822"/>
                <a:gd name="connsiteY10" fmla="*/ 39439 h 40335"/>
                <a:gd name="connsiteX11" fmla="*/ 50643 w 165822"/>
                <a:gd name="connsiteY11" fmla="*/ 39439 h 40335"/>
                <a:gd name="connsiteX12" fmla="*/ 57366 w 165822"/>
                <a:gd name="connsiteY12" fmla="*/ 43921 h 40335"/>
                <a:gd name="connsiteX13" fmla="*/ 107561 w 165822"/>
                <a:gd name="connsiteY13" fmla="*/ 43921 h 40335"/>
                <a:gd name="connsiteX14" fmla="*/ 114732 w 165822"/>
                <a:gd name="connsiteY14" fmla="*/ 39439 h 40335"/>
                <a:gd name="connsiteX15" fmla="*/ 158204 w 165822"/>
                <a:gd name="connsiteY15" fmla="*/ 39439 h 40335"/>
                <a:gd name="connsiteX16" fmla="*/ 165823 w 165822"/>
                <a:gd name="connsiteY16" fmla="*/ 31820 h 40335"/>
                <a:gd name="connsiteX17" fmla="*/ 165823 w 165822"/>
                <a:gd name="connsiteY17" fmla="*/ 18375 h 40335"/>
                <a:gd name="connsiteX18" fmla="*/ 147896 w 165822"/>
                <a:gd name="connsiteY18" fmla="*/ 0 h 40335"/>
                <a:gd name="connsiteX19" fmla="*/ 4930 w 165822"/>
                <a:gd name="connsiteY19" fmla="*/ 31820 h 40335"/>
                <a:gd name="connsiteX20" fmla="*/ 4930 w 165822"/>
                <a:gd name="connsiteY20" fmla="*/ 18375 h 40335"/>
                <a:gd name="connsiteX21" fmla="*/ 18823 w 165822"/>
                <a:gd name="connsiteY21" fmla="*/ 4482 h 40335"/>
                <a:gd name="connsiteX22" fmla="*/ 47954 w 165822"/>
                <a:gd name="connsiteY22" fmla="*/ 4482 h 40335"/>
                <a:gd name="connsiteX23" fmla="*/ 57366 w 165822"/>
                <a:gd name="connsiteY23" fmla="*/ 8515 h 40335"/>
                <a:gd name="connsiteX24" fmla="*/ 57366 w 165822"/>
                <a:gd name="connsiteY24" fmla="*/ 8515 h 40335"/>
                <a:gd name="connsiteX25" fmla="*/ 54677 w 165822"/>
                <a:gd name="connsiteY25" fmla="*/ 11204 h 40335"/>
                <a:gd name="connsiteX26" fmla="*/ 54229 w 165822"/>
                <a:gd name="connsiteY26" fmla="*/ 11652 h 40335"/>
                <a:gd name="connsiteX27" fmla="*/ 52436 w 165822"/>
                <a:gd name="connsiteY27" fmla="*/ 14790 h 40335"/>
                <a:gd name="connsiteX28" fmla="*/ 51988 w 165822"/>
                <a:gd name="connsiteY28" fmla="*/ 15238 h 40335"/>
                <a:gd name="connsiteX29" fmla="*/ 50643 w 165822"/>
                <a:gd name="connsiteY29" fmla="*/ 18823 h 40335"/>
                <a:gd name="connsiteX30" fmla="*/ 50643 w 165822"/>
                <a:gd name="connsiteY30" fmla="*/ 19271 h 40335"/>
                <a:gd name="connsiteX31" fmla="*/ 50195 w 165822"/>
                <a:gd name="connsiteY31" fmla="*/ 23305 h 40335"/>
                <a:gd name="connsiteX32" fmla="*/ 50195 w 165822"/>
                <a:gd name="connsiteY32" fmla="*/ 35405 h 40335"/>
                <a:gd name="connsiteX33" fmla="*/ 8067 w 165822"/>
                <a:gd name="connsiteY33" fmla="*/ 35405 h 40335"/>
                <a:gd name="connsiteX34" fmla="*/ 4930 w 165822"/>
                <a:gd name="connsiteY34" fmla="*/ 31820 h 40335"/>
                <a:gd name="connsiteX35" fmla="*/ 108457 w 165822"/>
                <a:gd name="connsiteY35" fmla="*/ 39439 h 40335"/>
                <a:gd name="connsiteX36" fmla="*/ 57814 w 165822"/>
                <a:gd name="connsiteY36" fmla="*/ 39439 h 40335"/>
                <a:gd name="connsiteX37" fmla="*/ 54677 w 165822"/>
                <a:gd name="connsiteY37" fmla="*/ 36750 h 40335"/>
                <a:gd name="connsiteX38" fmla="*/ 54677 w 165822"/>
                <a:gd name="connsiteY38" fmla="*/ 36302 h 40335"/>
                <a:gd name="connsiteX39" fmla="*/ 54677 w 165822"/>
                <a:gd name="connsiteY39" fmla="*/ 22857 h 40335"/>
                <a:gd name="connsiteX40" fmla="*/ 55573 w 165822"/>
                <a:gd name="connsiteY40" fmla="*/ 17479 h 40335"/>
                <a:gd name="connsiteX41" fmla="*/ 61399 w 165822"/>
                <a:gd name="connsiteY41" fmla="*/ 10756 h 40335"/>
                <a:gd name="connsiteX42" fmla="*/ 68122 w 165822"/>
                <a:gd name="connsiteY42" fmla="*/ 8963 h 40335"/>
                <a:gd name="connsiteX43" fmla="*/ 97253 w 165822"/>
                <a:gd name="connsiteY43" fmla="*/ 8963 h 40335"/>
                <a:gd name="connsiteX44" fmla="*/ 104424 w 165822"/>
                <a:gd name="connsiteY44" fmla="*/ 10756 h 40335"/>
                <a:gd name="connsiteX45" fmla="*/ 111146 w 165822"/>
                <a:gd name="connsiteY45" fmla="*/ 22857 h 40335"/>
                <a:gd name="connsiteX46" fmla="*/ 111146 w 165822"/>
                <a:gd name="connsiteY46" fmla="*/ 36302 h 40335"/>
                <a:gd name="connsiteX47" fmla="*/ 111146 w 165822"/>
                <a:gd name="connsiteY47" fmla="*/ 36750 h 40335"/>
                <a:gd name="connsiteX48" fmla="*/ 108457 w 165822"/>
                <a:gd name="connsiteY48" fmla="*/ 39439 h 40335"/>
                <a:gd name="connsiteX49" fmla="*/ 161789 w 165822"/>
                <a:gd name="connsiteY49" fmla="*/ 31820 h 40335"/>
                <a:gd name="connsiteX50" fmla="*/ 158652 w 165822"/>
                <a:gd name="connsiteY50" fmla="*/ 34957 h 40335"/>
                <a:gd name="connsiteX51" fmla="*/ 116076 w 165822"/>
                <a:gd name="connsiteY51" fmla="*/ 34957 h 40335"/>
                <a:gd name="connsiteX52" fmla="*/ 116076 w 165822"/>
                <a:gd name="connsiteY52" fmla="*/ 22857 h 40335"/>
                <a:gd name="connsiteX53" fmla="*/ 115628 w 165822"/>
                <a:gd name="connsiteY53" fmla="*/ 19271 h 40335"/>
                <a:gd name="connsiteX54" fmla="*/ 115628 w 165822"/>
                <a:gd name="connsiteY54" fmla="*/ 18823 h 40335"/>
                <a:gd name="connsiteX55" fmla="*/ 114283 w 165822"/>
                <a:gd name="connsiteY55" fmla="*/ 15686 h 40335"/>
                <a:gd name="connsiteX56" fmla="*/ 113835 w 165822"/>
                <a:gd name="connsiteY56" fmla="*/ 15238 h 40335"/>
                <a:gd name="connsiteX57" fmla="*/ 112043 w 165822"/>
                <a:gd name="connsiteY57" fmla="*/ 12101 h 40335"/>
                <a:gd name="connsiteX58" fmla="*/ 111594 w 165822"/>
                <a:gd name="connsiteY58" fmla="*/ 11652 h 40335"/>
                <a:gd name="connsiteX59" fmla="*/ 108905 w 165822"/>
                <a:gd name="connsiteY59" fmla="*/ 8963 h 40335"/>
                <a:gd name="connsiteX60" fmla="*/ 108905 w 165822"/>
                <a:gd name="connsiteY60" fmla="*/ 8963 h 40335"/>
                <a:gd name="connsiteX61" fmla="*/ 118765 w 165822"/>
                <a:gd name="connsiteY61" fmla="*/ 4930 h 40335"/>
                <a:gd name="connsiteX62" fmla="*/ 147896 w 165822"/>
                <a:gd name="connsiteY62" fmla="*/ 4930 h 40335"/>
                <a:gd name="connsiteX63" fmla="*/ 161789 w 165822"/>
                <a:gd name="connsiteY63" fmla="*/ 18823 h 40335"/>
                <a:gd name="connsiteX64" fmla="*/ 161789 w 165822"/>
                <a:gd name="connsiteY64" fmla="*/ 31820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5822" h="40335">
                  <a:moveTo>
                    <a:pt x="147896" y="0"/>
                  </a:moveTo>
                  <a:lnTo>
                    <a:pt x="118765" y="0"/>
                  </a:lnTo>
                  <a:cubicBezTo>
                    <a:pt x="113387" y="0"/>
                    <a:pt x="108457" y="2241"/>
                    <a:pt x="104872" y="6274"/>
                  </a:cubicBezTo>
                  <a:cubicBezTo>
                    <a:pt x="102631" y="5378"/>
                    <a:pt x="99942" y="4482"/>
                    <a:pt x="97253" y="4482"/>
                  </a:cubicBezTo>
                  <a:lnTo>
                    <a:pt x="68122" y="4482"/>
                  </a:lnTo>
                  <a:cubicBezTo>
                    <a:pt x="65881" y="4482"/>
                    <a:pt x="63192" y="4930"/>
                    <a:pt x="60951" y="5826"/>
                  </a:cubicBezTo>
                  <a:cubicBezTo>
                    <a:pt x="57366" y="1793"/>
                    <a:pt x="52436" y="0"/>
                    <a:pt x="47506" y="0"/>
                  </a:cubicBezTo>
                  <a:lnTo>
                    <a:pt x="18375" y="0"/>
                  </a:lnTo>
                  <a:cubicBezTo>
                    <a:pt x="8515" y="0"/>
                    <a:pt x="0" y="8067"/>
                    <a:pt x="0" y="18375"/>
                  </a:cubicBezTo>
                  <a:lnTo>
                    <a:pt x="0" y="31820"/>
                  </a:lnTo>
                  <a:cubicBezTo>
                    <a:pt x="0" y="35854"/>
                    <a:pt x="3585" y="39439"/>
                    <a:pt x="7619" y="39439"/>
                  </a:cubicBezTo>
                  <a:lnTo>
                    <a:pt x="50643" y="39439"/>
                  </a:lnTo>
                  <a:cubicBezTo>
                    <a:pt x="51988" y="42128"/>
                    <a:pt x="54677" y="43921"/>
                    <a:pt x="57366" y="43921"/>
                  </a:cubicBezTo>
                  <a:lnTo>
                    <a:pt x="107561" y="43921"/>
                  </a:lnTo>
                  <a:cubicBezTo>
                    <a:pt x="110698" y="43921"/>
                    <a:pt x="113387" y="42128"/>
                    <a:pt x="114732" y="39439"/>
                  </a:cubicBezTo>
                  <a:lnTo>
                    <a:pt x="158204" y="39439"/>
                  </a:lnTo>
                  <a:cubicBezTo>
                    <a:pt x="162238" y="39439"/>
                    <a:pt x="165823" y="35854"/>
                    <a:pt x="165823" y="31820"/>
                  </a:cubicBezTo>
                  <a:lnTo>
                    <a:pt x="165823" y="18375"/>
                  </a:lnTo>
                  <a:cubicBezTo>
                    <a:pt x="166271" y="8067"/>
                    <a:pt x="158204" y="0"/>
                    <a:pt x="147896" y="0"/>
                  </a:cubicBezTo>
                  <a:close/>
                  <a:moveTo>
                    <a:pt x="4930" y="31820"/>
                  </a:moveTo>
                  <a:lnTo>
                    <a:pt x="4930" y="18375"/>
                  </a:lnTo>
                  <a:cubicBezTo>
                    <a:pt x="4930" y="10756"/>
                    <a:pt x="11204" y="4482"/>
                    <a:pt x="18823" y="4482"/>
                  </a:cubicBezTo>
                  <a:lnTo>
                    <a:pt x="47954" y="4482"/>
                  </a:lnTo>
                  <a:cubicBezTo>
                    <a:pt x="51540" y="4482"/>
                    <a:pt x="55125" y="5826"/>
                    <a:pt x="57366" y="8515"/>
                  </a:cubicBezTo>
                  <a:cubicBezTo>
                    <a:pt x="57366" y="8515"/>
                    <a:pt x="57366" y="8515"/>
                    <a:pt x="57366" y="8515"/>
                  </a:cubicBezTo>
                  <a:cubicBezTo>
                    <a:pt x="56469" y="9412"/>
                    <a:pt x="55573" y="10308"/>
                    <a:pt x="54677" y="11204"/>
                  </a:cubicBezTo>
                  <a:cubicBezTo>
                    <a:pt x="54677" y="11204"/>
                    <a:pt x="54677" y="11652"/>
                    <a:pt x="54229" y="11652"/>
                  </a:cubicBezTo>
                  <a:cubicBezTo>
                    <a:pt x="53332" y="12549"/>
                    <a:pt x="52884" y="13445"/>
                    <a:pt x="52436" y="14790"/>
                  </a:cubicBezTo>
                  <a:cubicBezTo>
                    <a:pt x="52436" y="14790"/>
                    <a:pt x="52436" y="15238"/>
                    <a:pt x="51988" y="15238"/>
                  </a:cubicBezTo>
                  <a:cubicBezTo>
                    <a:pt x="51540" y="16134"/>
                    <a:pt x="51091" y="17479"/>
                    <a:pt x="50643" y="18823"/>
                  </a:cubicBezTo>
                  <a:cubicBezTo>
                    <a:pt x="50643" y="18823"/>
                    <a:pt x="50643" y="19271"/>
                    <a:pt x="50643" y="19271"/>
                  </a:cubicBezTo>
                  <a:cubicBezTo>
                    <a:pt x="50195" y="20616"/>
                    <a:pt x="50195" y="21960"/>
                    <a:pt x="50195" y="23305"/>
                  </a:cubicBezTo>
                  <a:lnTo>
                    <a:pt x="50195" y="35405"/>
                  </a:lnTo>
                  <a:lnTo>
                    <a:pt x="8067" y="35405"/>
                  </a:lnTo>
                  <a:cubicBezTo>
                    <a:pt x="6274" y="34957"/>
                    <a:pt x="4930" y="33613"/>
                    <a:pt x="4930" y="31820"/>
                  </a:cubicBezTo>
                  <a:close/>
                  <a:moveTo>
                    <a:pt x="108457" y="39439"/>
                  </a:moveTo>
                  <a:lnTo>
                    <a:pt x="57814" y="39439"/>
                  </a:lnTo>
                  <a:cubicBezTo>
                    <a:pt x="56469" y="39439"/>
                    <a:pt x="55125" y="38094"/>
                    <a:pt x="54677" y="36750"/>
                  </a:cubicBezTo>
                  <a:cubicBezTo>
                    <a:pt x="54677" y="36750"/>
                    <a:pt x="54677" y="36302"/>
                    <a:pt x="54677" y="36302"/>
                  </a:cubicBezTo>
                  <a:lnTo>
                    <a:pt x="54677" y="22857"/>
                  </a:lnTo>
                  <a:cubicBezTo>
                    <a:pt x="54677" y="21064"/>
                    <a:pt x="55125" y="19271"/>
                    <a:pt x="55573" y="17479"/>
                  </a:cubicBezTo>
                  <a:cubicBezTo>
                    <a:pt x="56918" y="14790"/>
                    <a:pt x="58710" y="12101"/>
                    <a:pt x="61399" y="10756"/>
                  </a:cubicBezTo>
                  <a:cubicBezTo>
                    <a:pt x="63640" y="9412"/>
                    <a:pt x="65881" y="8963"/>
                    <a:pt x="68122" y="8963"/>
                  </a:cubicBezTo>
                  <a:lnTo>
                    <a:pt x="97253" y="8963"/>
                  </a:lnTo>
                  <a:cubicBezTo>
                    <a:pt x="99942" y="8963"/>
                    <a:pt x="102183" y="9412"/>
                    <a:pt x="104424" y="10756"/>
                  </a:cubicBezTo>
                  <a:cubicBezTo>
                    <a:pt x="108457" y="13445"/>
                    <a:pt x="111146" y="17927"/>
                    <a:pt x="111146" y="22857"/>
                  </a:cubicBezTo>
                  <a:lnTo>
                    <a:pt x="111146" y="36302"/>
                  </a:lnTo>
                  <a:cubicBezTo>
                    <a:pt x="111146" y="36302"/>
                    <a:pt x="111146" y="36750"/>
                    <a:pt x="111146" y="36750"/>
                  </a:cubicBezTo>
                  <a:cubicBezTo>
                    <a:pt x="111146" y="38543"/>
                    <a:pt x="109802" y="39439"/>
                    <a:pt x="108457" y="39439"/>
                  </a:cubicBezTo>
                  <a:close/>
                  <a:moveTo>
                    <a:pt x="161789" y="31820"/>
                  </a:moveTo>
                  <a:cubicBezTo>
                    <a:pt x="161789" y="33613"/>
                    <a:pt x="160445" y="34957"/>
                    <a:pt x="158652" y="34957"/>
                  </a:cubicBezTo>
                  <a:lnTo>
                    <a:pt x="116076" y="34957"/>
                  </a:lnTo>
                  <a:lnTo>
                    <a:pt x="116076" y="22857"/>
                  </a:lnTo>
                  <a:cubicBezTo>
                    <a:pt x="116076" y="21512"/>
                    <a:pt x="116076" y="20168"/>
                    <a:pt x="115628" y="19271"/>
                  </a:cubicBezTo>
                  <a:cubicBezTo>
                    <a:pt x="115628" y="19271"/>
                    <a:pt x="115628" y="18823"/>
                    <a:pt x="115628" y="18823"/>
                  </a:cubicBezTo>
                  <a:cubicBezTo>
                    <a:pt x="115180" y="17479"/>
                    <a:pt x="114732" y="16582"/>
                    <a:pt x="114283" y="15686"/>
                  </a:cubicBezTo>
                  <a:cubicBezTo>
                    <a:pt x="114283" y="15686"/>
                    <a:pt x="114283" y="15238"/>
                    <a:pt x="113835" y="15238"/>
                  </a:cubicBezTo>
                  <a:cubicBezTo>
                    <a:pt x="113387" y="14342"/>
                    <a:pt x="112491" y="12997"/>
                    <a:pt x="112043" y="12101"/>
                  </a:cubicBezTo>
                  <a:cubicBezTo>
                    <a:pt x="112043" y="12101"/>
                    <a:pt x="112043" y="12101"/>
                    <a:pt x="111594" y="11652"/>
                  </a:cubicBezTo>
                  <a:cubicBezTo>
                    <a:pt x="110698" y="10756"/>
                    <a:pt x="109802" y="9860"/>
                    <a:pt x="108905" y="8963"/>
                  </a:cubicBezTo>
                  <a:cubicBezTo>
                    <a:pt x="108905" y="8963"/>
                    <a:pt x="108905" y="8963"/>
                    <a:pt x="108905" y="8963"/>
                  </a:cubicBezTo>
                  <a:cubicBezTo>
                    <a:pt x="111594" y="6274"/>
                    <a:pt x="115180" y="4930"/>
                    <a:pt x="118765" y="4930"/>
                  </a:cubicBezTo>
                  <a:lnTo>
                    <a:pt x="147896" y="4930"/>
                  </a:lnTo>
                  <a:cubicBezTo>
                    <a:pt x="155515" y="4930"/>
                    <a:pt x="161789" y="11204"/>
                    <a:pt x="161789" y="18823"/>
                  </a:cubicBezTo>
                  <a:lnTo>
                    <a:pt x="161789" y="31820"/>
                  </a:lnTo>
                  <a:close/>
                </a:path>
              </a:pathLst>
            </a:custGeom>
            <a:solidFill>
              <a:srgbClr val="231F20"/>
            </a:solidFill>
            <a:ln w="4477" cap="flat">
              <a:noFill/>
              <a:prstDash val="solid"/>
              <a:miter/>
            </a:ln>
          </p:spPr>
          <p:txBody>
            <a:bodyPr rtlCol="0" anchor="ctr"/>
            <a:lstStyle/>
            <a:p>
              <a:endParaRPr lang="en-US"/>
            </a:p>
          </p:txBody>
        </p:sp>
        <p:sp>
          <p:nvSpPr>
            <p:cNvPr id="2922" name="Freeform: Shape 2921">
              <a:extLst>
                <a:ext uri="{FF2B5EF4-FFF2-40B4-BE49-F238E27FC236}">
                  <a16:creationId xmlns:a16="http://schemas.microsoft.com/office/drawing/2014/main" id="{D526AC0C-F995-4733-8203-87435F7E4A80}"/>
                </a:ext>
              </a:extLst>
            </p:cNvPr>
            <p:cNvSpPr/>
            <p:nvPr/>
          </p:nvSpPr>
          <p:spPr>
            <a:xfrm>
              <a:off x="7801757" y="3233084"/>
              <a:ext cx="35854" cy="35854"/>
            </a:xfrm>
            <a:custGeom>
              <a:avLst/>
              <a:gdLst>
                <a:gd name="connsiteX0" fmla="*/ 17927 w 35853"/>
                <a:gd name="connsiteY0" fmla="*/ 35854 h 35853"/>
                <a:gd name="connsiteX1" fmla="*/ 35854 w 35853"/>
                <a:gd name="connsiteY1" fmla="*/ 17927 h 35853"/>
                <a:gd name="connsiteX2" fmla="*/ 17927 w 35853"/>
                <a:gd name="connsiteY2" fmla="*/ 0 h 35853"/>
                <a:gd name="connsiteX3" fmla="*/ 0 w 35853"/>
                <a:gd name="connsiteY3" fmla="*/ 17927 h 35853"/>
                <a:gd name="connsiteX4" fmla="*/ 17927 w 35853"/>
                <a:gd name="connsiteY4" fmla="*/ 35854 h 35853"/>
                <a:gd name="connsiteX5" fmla="*/ 17927 w 35853"/>
                <a:gd name="connsiteY5" fmla="*/ 4482 h 35853"/>
                <a:gd name="connsiteX6" fmla="*/ 31372 w 35853"/>
                <a:gd name="connsiteY6" fmla="*/ 17927 h 35853"/>
                <a:gd name="connsiteX7" fmla="*/ 17927 w 35853"/>
                <a:gd name="connsiteY7" fmla="*/ 31372 h 35853"/>
                <a:gd name="connsiteX8" fmla="*/ 4482 w 35853"/>
                <a:gd name="connsiteY8" fmla="*/ 17927 h 35853"/>
                <a:gd name="connsiteX9" fmla="*/ 17927 w 35853"/>
                <a:gd name="connsiteY9" fmla="*/ 4482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7927" y="35854"/>
                  </a:moveTo>
                  <a:cubicBezTo>
                    <a:pt x="27787" y="35854"/>
                    <a:pt x="35854" y="27787"/>
                    <a:pt x="35854" y="17927"/>
                  </a:cubicBezTo>
                  <a:cubicBezTo>
                    <a:pt x="35854" y="8067"/>
                    <a:pt x="27787" y="0"/>
                    <a:pt x="17927" y="0"/>
                  </a:cubicBezTo>
                  <a:cubicBezTo>
                    <a:pt x="8067" y="0"/>
                    <a:pt x="0" y="8067"/>
                    <a:pt x="0" y="17927"/>
                  </a:cubicBezTo>
                  <a:cubicBezTo>
                    <a:pt x="0" y="27787"/>
                    <a:pt x="8067" y="35854"/>
                    <a:pt x="17927" y="35854"/>
                  </a:cubicBezTo>
                  <a:close/>
                  <a:moveTo>
                    <a:pt x="17927" y="4482"/>
                  </a:moveTo>
                  <a:cubicBezTo>
                    <a:pt x="25546" y="4482"/>
                    <a:pt x="31372" y="10756"/>
                    <a:pt x="31372" y="17927"/>
                  </a:cubicBezTo>
                  <a:cubicBezTo>
                    <a:pt x="31372" y="25546"/>
                    <a:pt x="25098" y="31372"/>
                    <a:pt x="17927" y="31372"/>
                  </a:cubicBezTo>
                  <a:cubicBezTo>
                    <a:pt x="10308" y="31372"/>
                    <a:pt x="4482" y="25098"/>
                    <a:pt x="4482" y="17927"/>
                  </a:cubicBezTo>
                  <a:cubicBezTo>
                    <a:pt x="4482" y="10308"/>
                    <a:pt x="10308" y="4482"/>
                    <a:pt x="17927" y="4482"/>
                  </a:cubicBezTo>
                  <a:close/>
                </a:path>
              </a:pathLst>
            </a:custGeom>
            <a:solidFill>
              <a:srgbClr val="231F20"/>
            </a:solidFill>
            <a:ln w="4477" cap="flat">
              <a:noFill/>
              <a:prstDash val="solid"/>
              <a:miter/>
            </a:ln>
          </p:spPr>
          <p:txBody>
            <a:bodyPr rtlCol="0" anchor="ctr"/>
            <a:lstStyle/>
            <a:p>
              <a:endParaRPr lang="en-US"/>
            </a:p>
          </p:txBody>
        </p:sp>
      </p:grpSp>
      <p:grpSp>
        <p:nvGrpSpPr>
          <p:cNvPr id="2541" name="Group 2540">
            <a:extLst>
              <a:ext uri="{FF2B5EF4-FFF2-40B4-BE49-F238E27FC236}">
                <a16:creationId xmlns:a16="http://schemas.microsoft.com/office/drawing/2014/main" id="{8B9C390E-55ED-4DE4-8C28-C2FBC5DF78E3}"/>
              </a:ext>
              <a:ext uri="{C183D7F6-B498-43B3-948B-1728B52AA6E4}">
                <adec:decorative xmlns:adec="http://schemas.microsoft.com/office/drawing/2017/decorative" val="1"/>
              </a:ext>
            </a:extLst>
          </p:cNvPr>
          <p:cNvGrpSpPr>
            <a:grpSpLocks noChangeAspect="1"/>
          </p:cNvGrpSpPr>
          <p:nvPr/>
        </p:nvGrpSpPr>
        <p:grpSpPr>
          <a:xfrm>
            <a:off x="6683990" y="5563952"/>
            <a:ext cx="151649" cy="152378"/>
            <a:chOff x="6740490" y="3508261"/>
            <a:chExt cx="151649" cy="152378"/>
          </a:xfrm>
        </p:grpSpPr>
        <p:sp>
          <p:nvSpPr>
            <p:cNvPr id="2914" name="Freeform: Shape 2913">
              <a:extLst>
                <a:ext uri="{FF2B5EF4-FFF2-40B4-BE49-F238E27FC236}">
                  <a16:creationId xmlns:a16="http://schemas.microsoft.com/office/drawing/2014/main" id="{459AFEF2-8396-453B-B829-DE89CECEB2E5}"/>
                </a:ext>
              </a:extLst>
            </p:cNvPr>
            <p:cNvSpPr/>
            <p:nvPr/>
          </p:nvSpPr>
          <p:spPr>
            <a:xfrm>
              <a:off x="6833877" y="3600751"/>
              <a:ext cx="58262" cy="58262"/>
            </a:xfrm>
            <a:custGeom>
              <a:avLst/>
              <a:gdLst>
                <a:gd name="connsiteX0" fmla="*/ 49580 w 58262"/>
                <a:gd name="connsiteY0" fmla="*/ 8348 h 58262"/>
                <a:gd name="connsiteX1" fmla="*/ 8348 w 58262"/>
                <a:gd name="connsiteY1" fmla="*/ 8796 h 58262"/>
                <a:gd name="connsiteX2" fmla="*/ 8796 w 58262"/>
                <a:gd name="connsiteY2" fmla="*/ 50028 h 58262"/>
                <a:gd name="connsiteX3" fmla="*/ 29412 w 58262"/>
                <a:gd name="connsiteY3" fmla="*/ 58543 h 58262"/>
                <a:gd name="connsiteX4" fmla="*/ 29860 w 58262"/>
                <a:gd name="connsiteY4" fmla="*/ 58543 h 58262"/>
                <a:gd name="connsiteX5" fmla="*/ 50476 w 58262"/>
                <a:gd name="connsiteY5" fmla="*/ 50028 h 58262"/>
                <a:gd name="connsiteX6" fmla="*/ 58991 w 58262"/>
                <a:gd name="connsiteY6" fmla="*/ 29412 h 58262"/>
                <a:gd name="connsiteX7" fmla="*/ 49580 w 58262"/>
                <a:gd name="connsiteY7" fmla="*/ 8348 h 58262"/>
                <a:gd name="connsiteX8" fmla="*/ 46891 w 58262"/>
                <a:gd name="connsiteY8" fmla="*/ 46442 h 58262"/>
                <a:gd name="connsiteX9" fmla="*/ 29412 w 58262"/>
                <a:gd name="connsiteY9" fmla="*/ 53613 h 58262"/>
                <a:gd name="connsiteX10" fmla="*/ 11933 w 58262"/>
                <a:gd name="connsiteY10" fmla="*/ 46442 h 58262"/>
                <a:gd name="connsiteX11" fmla="*/ 11485 w 58262"/>
                <a:gd name="connsiteY11" fmla="*/ 11485 h 58262"/>
                <a:gd name="connsiteX12" fmla="*/ 46442 w 58262"/>
                <a:gd name="connsiteY12" fmla="*/ 11037 h 58262"/>
                <a:gd name="connsiteX13" fmla="*/ 53613 w 58262"/>
                <a:gd name="connsiteY13" fmla="*/ 28516 h 58262"/>
                <a:gd name="connsiteX14" fmla="*/ 46891 w 58262"/>
                <a:gd name="connsiteY14"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58262">
                  <a:moveTo>
                    <a:pt x="49580" y="8348"/>
                  </a:moveTo>
                  <a:cubicBezTo>
                    <a:pt x="37927" y="-2856"/>
                    <a:pt x="19552" y="-2856"/>
                    <a:pt x="8348" y="8796"/>
                  </a:cubicBezTo>
                  <a:cubicBezTo>
                    <a:pt x="-2856" y="20448"/>
                    <a:pt x="-2856" y="38824"/>
                    <a:pt x="8796" y="50028"/>
                  </a:cubicBezTo>
                  <a:cubicBezTo>
                    <a:pt x="14174" y="55406"/>
                    <a:pt x="21345" y="58543"/>
                    <a:pt x="29412" y="58543"/>
                  </a:cubicBezTo>
                  <a:cubicBezTo>
                    <a:pt x="29412" y="58543"/>
                    <a:pt x="29412" y="58543"/>
                    <a:pt x="29860" y="58543"/>
                  </a:cubicBezTo>
                  <a:cubicBezTo>
                    <a:pt x="37479" y="58543"/>
                    <a:pt x="45098" y="55406"/>
                    <a:pt x="50476" y="50028"/>
                  </a:cubicBezTo>
                  <a:cubicBezTo>
                    <a:pt x="55854" y="44650"/>
                    <a:pt x="58991" y="37031"/>
                    <a:pt x="58991" y="29412"/>
                  </a:cubicBezTo>
                  <a:cubicBezTo>
                    <a:pt x="58543" y="21345"/>
                    <a:pt x="55406" y="14174"/>
                    <a:pt x="49580" y="8348"/>
                  </a:cubicBezTo>
                  <a:close/>
                  <a:moveTo>
                    <a:pt x="46891" y="46442"/>
                  </a:moveTo>
                  <a:cubicBezTo>
                    <a:pt x="42409" y="50924"/>
                    <a:pt x="36135" y="53613"/>
                    <a:pt x="29412" y="53613"/>
                  </a:cubicBezTo>
                  <a:cubicBezTo>
                    <a:pt x="22689" y="53613"/>
                    <a:pt x="16415" y="51372"/>
                    <a:pt x="11933" y="46442"/>
                  </a:cubicBezTo>
                  <a:cubicBezTo>
                    <a:pt x="2074" y="37031"/>
                    <a:pt x="2074" y="21345"/>
                    <a:pt x="11485" y="11485"/>
                  </a:cubicBezTo>
                  <a:cubicBezTo>
                    <a:pt x="20897" y="1625"/>
                    <a:pt x="36583" y="1625"/>
                    <a:pt x="46442" y="11037"/>
                  </a:cubicBezTo>
                  <a:cubicBezTo>
                    <a:pt x="50924" y="15519"/>
                    <a:pt x="53613" y="21793"/>
                    <a:pt x="53613" y="28516"/>
                  </a:cubicBezTo>
                  <a:cubicBezTo>
                    <a:pt x="54061" y="35686"/>
                    <a:pt x="51372" y="41961"/>
                    <a:pt x="46891" y="46442"/>
                  </a:cubicBezTo>
                  <a:close/>
                </a:path>
              </a:pathLst>
            </a:custGeom>
            <a:solidFill>
              <a:srgbClr val="231F20"/>
            </a:solidFill>
            <a:ln w="4477" cap="flat">
              <a:noFill/>
              <a:prstDash val="solid"/>
              <a:miter/>
            </a:ln>
          </p:spPr>
          <p:txBody>
            <a:bodyPr rtlCol="0" anchor="ctr"/>
            <a:lstStyle/>
            <a:p>
              <a:endParaRPr lang="en-US"/>
            </a:p>
          </p:txBody>
        </p:sp>
        <p:sp>
          <p:nvSpPr>
            <p:cNvPr id="2915" name="Freeform: Shape 2914">
              <a:extLst>
                <a:ext uri="{FF2B5EF4-FFF2-40B4-BE49-F238E27FC236}">
                  <a16:creationId xmlns:a16="http://schemas.microsoft.com/office/drawing/2014/main" id="{493552FB-2906-4DCF-9712-A27327A1D908}"/>
                </a:ext>
              </a:extLst>
            </p:cNvPr>
            <p:cNvSpPr/>
            <p:nvPr/>
          </p:nvSpPr>
          <p:spPr>
            <a:xfrm>
              <a:off x="6740490" y="3508261"/>
              <a:ext cx="103079" cy="152378"/>
            </a:xfrm>
            <a:custGeom>
              <a:avLst/>
              <a:gdLst>
                <a:gd name="connsiteX0" fmla="*/ 100390 w 103079"/>
                <a:gd name="connsiteY0" fmla="*/ 97253 h 152377"/>
                <a:gd name="connsiteX1" fmla="*/ 102631 w 103079"/>
                <a:gd name="connsiteY1" fmla="*/ 95908 h 152377"/>
                <a:gd name="connsiteX2" fmla="*/ 101286 w 103079"/>
                <a:gd name="connsiteY2" fmla="*/ 93219 h 152377"/>
                <a:gd name="connsiteX3" fmla="*/ 89634 w 103079"/>
                <a:gd name="connsiteY3" fmla="*/ 90530 h 152377"/>
                <a:gd name="connsiteX4" fmla="*/ 77982 w 103079"/>
                <a:gd name="connsiteY4" fmla="*/ 84256 h 152377"/>
                <a:gd name="connsiteX5" fmla="*/ 77085 w 103079"/>
                <a:gd name="connsiteY5" fmla="*/ 71707 h 152377"/>
                <a:gd name="connsiteX6" fmla="*/ 82911 w 103079"/>
                <a:gd name="connsiteY6" fmla="*/ 65433 h 152377"/>
                <a:gd name="connsiteX7" fmla="*/ 89186 w 103079"/>
                <a:gd name="connsiteY7" fmla="*/ 45713 h 152377"/>
                <a:gd name="connsiteX8" fmla="*/ 89634 w 103079"/>
                <a:gd name="connsiteY8" fmla="*/ 43024 h 152377"/>
                <a:gd name="connsiteX9" fmla="*/ 90530 w 103079"/>
                <a:gd name="connsiteY9" fmla="*/ 37646 h 152377"/>
                <a:gd name="connsiteX10" fmla="*/ 88738 w 103079"/>
                <a:gd name="connsiteY10" fmla="*/ 29131 h 152377"/>
                <a:gd name="connsiteX11" fmla="*/ 78430 w 103079"/>
                <a:gd name="connsiteY11" fmla="*/ 24201 h 152377"/>
                <a:gd name="connsiteX12" fmla="*/ 67674 w 103079"/>
                <a:gd name="connsiteY12" fmla="*/ 18375 h 152377"/>
                <a:gd name="connsiteX13" fmla="*/ 64536 w 103079"/>
                <a:gd name="connsiteY13" fmla="*/ 11652 h 152377"/>
                <a:gd name="connsiteX14" fmla="*/ 64536 w 103079"/>
                <a:gd name="connsiteY14" fmla="*/ 11652 h 152377"/>
                <a:gd name="connsiteX15" fmla="*/ 62744 w 103079"/>
                <a:gd name="connsiteY15" fmla="*/ 8963 h 152377"/>
                <a:gd name="connsiteX16" fmla="*/ 60055 w 103079"/>
                <a:gd name="connsiteY16" fmla="*/ 10756 h 152377"/>
                <a:gd name="connsiteX17" fmla="*/ 60055 w 103079"/>
                <a:gd name="connsiteY17" fmla="*/ 10756 h 152377"/>
                <a:gd name="connsiteX18" fmla="*/ 52436 w 103079"/>
                <a:gd name="connsiteY18" fmla="*/ 21960 h 152377"/>
                <a:gd name="connsiteX19" fmla="*/ 50643 w 103079"/>
                <a:gd name="connsiteY19" fmla="*/ 22857 h 152377"/>
                <a:gd name="connsiteX20" fmla="*/ 43473 w 103079"/>
                <a:gd name="connsiteY20" fmla="*/ 26890 h 152377"/>
                <a:gd name="connsiteX21" fmla="*/ 38094 w 103079"/>
                <a:gd name="connsiteY21" fmla="*/ 46610 h 152377"/>
                <a:gd name="connsiteX22" fmla="*/ 47506 w 103079"/>
                <a:gd name="connsiteY22" fmla="*/ 67226 h 152377"/>
                <a:gd name="connsiteX23" fmla="*/ 47506 w 103079"/>
                <a:gd name="connsiteY23" fmla="*/ 68122 h 152377"/>
                <a:gd name="connsiteX24" fmla="*/ 46610 w 103079"/>
                <a:gd name="connsiteY24" fmla="*/ 83808 h 152377"/>
                <a:gd name="connsiteX25" fmla="*/ 34957 w 103079"/>
                <a:gd name="connsiteY25" fmla="*/ 90530 h 152377"/>
                <a:gd name="connsiteX26" fmla="*/ 25546 w 103079"/>
                <a:gd name="connsiteY26" fmla="*/ 93219 h 152377"/>
                <a:gd name="connsiteX27" fmla="*/ 33165 w 103079"/>
                <a:gd name="connsiteY27" fmla="*/ 36750 h 152377"/>
                <a:gd name="connsiteX28" fmla="*/ 41680 w 103079"/>
                <a:gd name="connsiteY28" fmla="*/ 13893 h 152377"/>
                <a:gd name="connsiteX29" fmla="*/ 63640 w 103079"/>
                <a:gd name="connsiteY29" fmla="*/ 4482 h 152377"/>
                <a:gd name="connsiteX30" fmla="*/ 85601 w 103079"/>
                <a:gd name="connsiteY30" fmla="*/ 13893 h 152377"/>
                <a:gd name="connsiteX31" fmla="*/ 94116 w 103079"/>
                <a:gd name="connsiteY31" fmla="*/ 36750 h 152377"/>
                <a:gd name="connsiteX32" fmla="*/ 101735 w 103079"/>
                <a:gd name="connsiteY32" fmla="*/ 91875 h 152377"/>
                <a:gd name="connsiteX33" fmla="*/ 103975 w 103079"/>
                <a:gd name="connsiteY33" fmla="*/ 93219 h 152377"/>
                <a:gd name="connsiteX34" fmla="*/ 104872 w 103079"/>
                <a:gd name="connsiteY34" fmla="*/ 93219 h 152377"/>
                <a:gd name="connsiteX35" fmla="*/ 106216 w 103079"/>
                <a:gd name="connsiteY35" fmla="*/ 90082 h 152377"/>
                <a:gd name="connsiteX36" fmla="*/ 99046 w 103079"/>
                <a:gd name="connsiteY36" fmla="*/ 36750 h 152377"/>
                <a:gd name="connsiteX37" fmla="*/ 89186 w 103079"/>
                <a:gd name="connsiteY37" fmla="*/ 10756 h 152377"/>
                <a:gd name="connsiteX38" fmla="*/ 64088 w 103079"/>
                <a:gd name="connsiteY38" fmla="*/ 0 h 152377"/>
                <a:gd name="connsiteX39" fmla="*/ 64088 w 103079"/>
                <a:gd name="connsiteY39" fmla="*/ 0 h 152377"/>
                <a:gd name="connsiteX40" fmla="*/ 64088 w 103079"/>
                <a:gd name="connsiteY40" fmla="*/ 0 h 152377"/>
                <a:gd name="connsiteX41" fmla="*/ 63640 w 103079"/>
                <a:gd name="connsiteY41" fmla="*/ 0 h 152377"/>
                <a:gd name="connsiteX42" fmla="*/ 38991 w 103079"/>
                <a:gd name="connsiteY42" fmla="*/ 10756 h 152377"/>
                <a:gd name="connsiteX43" fmla="*/ 29131 w 103079"/>
                <a:gd name="connsiteY43" fmla="*/ 36750 h 152377"/>
                <a:gd name="connsiteX44" fmla="*/ 20168 w 103079"/>
                <a:gd name="connsiteY44" fmla="*/ 95908 h 152377"/>
                <a:gd name="connsiteX45" fmla="*/ 0 w 103079"/>
                <a:gd name="connsiteY45" fmla="*/ 127729 h 152377"/>
                <a:gd name="connsiteX46" fmla="*/ 0 w 103079"/>
                <a:gd name="connsiteY46" fmla="*/ 150137 h 152377"/>
                <a:gd name="connsiteX47" fmla="*/ 2241 w 103079"/>
                <a:gd name="connsiteY47" fmla="*/ 152378 h 152377"/>
                <a:gd name="connsiteX48" fmla="*/ 4482 w 103079"/>
                <a:gd name="connsiteY48" fmla="*/ 150137 h 152377"/>
                <a:gd name="connsiteX49" fmla="*/ 4482 w 103079"/>
                <a:gd name="connsiteY49" fmla="*/ 127729 h 152377"/>
                <a:gd name="connsiteX50" fmla="*/ 36302 w 103079"/>
                <a:gd name="connsiteY50" fmla="*/ 95460 h 152377"/>
                <a:gd name="connsiteX51" fmla="*/ 51091 w 103079"/>
                <a:gd name="connsiteY51" fmla="*/ 86945 h 152377"/>
                <a:gd name="connsiteX52" fmla="*/ 53780 w 103079"/>
                <a:gd name="connsiteY52" fmla="*/ 73052 h 152377"/>
                <a:gd name="connsiteX53" fmla="*/ 64985 w 103079"/>
                <a:gd name="connsiteY53" fmla="*/ 76637 h 152377"/>
                <a:gd name="connsiteX54" fmla="*/ 72604 w 103079"/>
                <a:gd name="connsiteY54" fmla="*/ 75293 h 152377"/>
                <a:gd name="connsiteX55" fmla="*/ 74844 w 103079"/>
                <a:gd name="connsiteY55" fmla="*/ 87393 h 152377"/>
                <a:gd name="connsiteX56" fmla="*/ 89634 w 103079"/>
                <a:gd name="connsiteY56" fmla="*/ 95460 h 152377"/>
                <a:gd name="connsiteX57" fmla="*/ 100390 w 103079"/>
                <a:gd name="connsiteY57" fmla="*/ 98149 h 152377"/>
                <a:gd name="connsiteX58" fmla="*/ 100390 w 103079"/>
                <a:gd name="connsiteY58" fmla="*/ 97253 h 152377"/>
                <a:gd name="connsiteX59" fmla="*/ 42576 w 103079"/>
                <a:gd name="connsiteY59" fmla="*/ 44817 h 152377"/>
                <a:gd name="connsiteX60" fmla="*/ 46610 w 103079"/>
                <a:gd name="connsiteY60" fmla="*/ 30027 h 152377"/>
                <a:gd name="connsiteX61" fmla="*/ 52436 w 103079"/>
                <a:gd name="connsiteY61" fmla="*/ 26890 h 152377"/>
                <a:gd name="connsiteX62" fmla="*/ 54229 w 103079"/>
                <a:gd name="connsiteY62" fmla="*/ 25994 h 152377"/>
                <a:gd name="connsiteX63" fmla="*/ 61847 w 103079"/>
                <a:gd name="connsiteY63" fmla="*/ 18375 h 152377"/>
                <a:gd name="connsiteX64" fmla="*/ 63640 w 103079"/>
                <a:gd name="connsiteY64" fmla="*/ 20616 h 152377"/>
                <a:gd name="connsiteX65" fmla="*/ 77085 w 103079"/>
                <a:gd name="connsiteY65" fmla="*/ 28235 h 152377"/>
                <a:gd name="connsiteX66" fmla="*/ 84256 w 103079"/>
                <a:gd name="connsiteY66" fmla="*/ 31372 h 152377"/>
                <a:gd name="connsiteX67" fmla="*/ 85152 w 103079"/>
                <a:gd name="connsiteY67" fmla="*/ 36750 h 152377"/>
                <a:gd name="connsiteX68" fmla="*/ 84256 w 103079"/>
                <a:gd name="connsiteY68" fmla="*/ 41680 h 152377"/>
                <a:gd name="connsiteX69" fmla="*/ 83808 w 103079"/>
                <a:gd name="connsiteY69" fmla="*/ 44369 h 152377"/>
                <a:gd name="connsiteX70" fmla="*/ 78430 w 103079"/>
                <a:gd name="connsiteY70" fmla="*/ 62296 h 152377"/>
                <a:gd name="connsiteX71" fmla="*/ 64088 w 103079"/>
                <a:gd name="connsiteY71" fmla="*/ 70811 h 152377"/>
                <a:gd name="connsiteX72" fmla="*/ 42576 w 103079"/>
                <a:gd name="connsiteY72" fmla="*/ 4481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03079" h="152377">
                  <a:moveTo>
                    <a:pt x="100390" y="97253"/>
                  </a:moveTo>
                  <a:cubicBezTo>
                    <a:pt x="101286" y="97253"/>
                    <a:pt x="102183" y="96805"/>
                    <a:pt x="102631" y="95908"/>
                  </a:cubicBezTo>
                  <a:cubicBezTo>
                    <a:pt x="103079" y="94564"/>
                    <a:pt x="102183" y="93667"/>
                    <a:pt x="101286" y="93219"/>
                  </a:cubicBezTo>
                  <a:cubicBezTo>
                    <a:pt x="97253" y="91875"/>
                    <a:pt x="90082" y="90530"/>
                    <a:pt x="89634" y="90530"/>
                  </a:cubicBezTo>
                  <a:cubicBezTo>
                    <a:pt x="83808" y="89634"/>
                    <a:pt x="80222" y="87393"/>
                    <a:pt x="77982" y="84256"/>
                  </a:cubicBezTo>
                  <a:cubicBezTo>
                    <a:pt x="76189" y="81119"/>
                    <a:pt x="75741" y="77085"/>
                    <a:pt x="77085" y="71707"/>
                  </a:cubicBezTo>
                  <a:cubicBezTo>
                    <a:pt x="79326" y="69914"/>
                    <a:pt x="81119" y="68122"/>
                    <a:pt x="82911" y="65433"/>
                  </a:cubicBezTo>
                  <a:cubicBezTo>
                    <a:pt x="85601" y="61399"/>
                    <a:pt x="88290" y="51988"/>
                    <a:pt x="89186" y="45713"/>
                  </a:cubicBezTo>
                  <a:cubicBezTo>
                    <a:pt x="89186" y="44817"/>
                    <a:pt x="89634" y="43921"/>
                    <a:pt x="89634" y="43024"/>
                  </a:cubicBezTo>
                  <a:cubicBezTo>
                    <a:pt x="90082" y="41231"/>
                    <a:pt x="90082" y="39439"/>
                    <a:pt x="90530" y="37646"/>
                  </a:cubicBezTo>
                  <a:cubicBezTo>
                    <a:pt x="90979" y="34061"/>
                    <a:pt x="90082" y="31372"/>
                    <a:pt x="88738" y="29131"/>
                  </a:cubicBezTo>
                  <a:cubicBezTo>
                    <a:pt x="86497" y="25994"/>
                    <a:pt x="82463" y="25097"/>
                    <a:pt x="78430" y="24201"/>
                  </a:cubicBezTo>
                  <a:cubicBezTo>
                    <a:pt x="73052" y="23305"/>
                    <a:pt x="69915" y="21512"/>
                    <a:pt x="67674" y="18375"/>
                  </a:cubicBezTo>
                  <a:cubicBezTo>
                    <a:pt x="65881" y="15686"/>
                    <a:pt x="64536" y="12997"/>
                    <a:pt x="64536" y="11652"/>
                  </a:cubicBezTo>
                  <a:lnTo>
                    <a:pt x="64536" y="11652"/>
                  </a:lnTo>
                  <a:cubicBezTo>
                    <a:pt x="64536" y="10308"/>
                    <a:pt x="64088" y="9411"/>
                    <a:pt x="62744" y="8963"/>
                  </a:cubicBezTo>
                  <a:cubicBezTo>
                    <a:pt x="61399" y="8963"/>
                    <a:pt x="60503" y="9411"/>
                    <a:pt x="60055" y="10756"/>
                  </a:cubicBezTo>
                  <a:cubicBezTo>
                    <a:pt x="60055" y="10756"/>
                    <a:pt x="60055" y="10756"/>
                    <a:pt x="60055" y="10756"/>
                  </a:cubicBezTo>
                  <a:cubicBezTo>
                    <a:pt x="59158" y="16134"/>
                    <a:pt x="56469" y="20168"/>
                    <a:pt x="52436" y="21960"/>
                  </a:cubicBezTo>
                  <a:lnTo>
                    <a:pt x="50643" y="22857"/>
                  </a:lnTo>
                  <a:cubicBezTo>
                    <a:pt x="48402" y="23753"/>
                    <a:pt x="45713" y="25097"/>
                    <a:pt x="43473" y="26890"/>
                  </a:cubicBezTo>
                  <a:cubicBezTo>
                    <a:pt x="38094" y="31372"/>
                    <a:pt x="36302" y="38991"/>
                    <a:pt x="38094" y="46610"/>
                  </a:cubicBezTo>
                  <a:cubicBezTo>
                    <a:pt x="40335" y="55573"/>
                    <a:pt x="43921" y="62296"/>
                    <a:pt x="47506" y="67226"/>
                  </a:cubicBezTo>
                  <a:cubicBezTo>
                    <a:pt x="47506" y="67226"/>
                    <a:pt x="47506" y="67674"/>
                    <a:pt x="47506" y="68122"/>
                  </a:cubicBezTo>
                  <a:cubicBezTo>
                    <a:pt x="49299" y="74844"/>
                    <a:pt x="48851" y="80222"/>
                    <a:pt x="46610" y="83808"/>
                  </a:cubicBezTo>
                  <a:cubicBezTo>
                    <a:pt x="43921" y="88289"/>
                    <a:pt x="38543" y="90082"/>
                    <a:pt x="34957" y="90530"/>
                  </a:cubicBezTo>
                  <a:cubicBezTo>
                    <a:pt x="31372" y="90979"/>
                    <a:pt x="28235" y="91875"/>
                    <a:pt x="25546" y="93219"/>
                  </a:cubicBezTo>
                  <a:cubicBezTo>
                    <a:pt x="33165" y="73948"/>
                    <a:pt x="33613" y="54228"/>
                    <a:pt x="33165" y="36750"/>
                  </a:cubicBezTo>
                  <a:cubicBezTo>
                    <a:pt x="32716" y="28235"/>
                    <a:pt x="35854" y="20168"/>
                    <a:pt x="41680" y="13893"/>
                  </a:cubicBezTo>
                  <a:cubicBezTo>
                    <a:pt x="47506" y="7619"/>
                    <a:pt x="55573" y="4482"/>
                    <a:pt x="63640" y="4482"/>
                  </a:cubicBezTo>
                  <a:cubicBezTo>
                    <a:pt x="71707" y="4482"/>
                    <a:pt x="79774" y="8067"/>
                    <a:pt x="85601" y="13893"/>
                  </a:cubicBezTo>
                  <a:cubicBezTo>
                    <a:pt x="91427" y="20168"/>
                    <a:pt x="94564" y="28235"/>
                    <a:pt x="94116" y="36750"/>
                  </a:cubicBezTo>
                  <a:cubicBezTo>
                    <a:pt x="93668" y="53780"/>
                    <a:pt x="92771" y="71707"/>
                    <a:pt x="101735" y="91875"/>
                  </a:cubicBezTo>
                  <a:cubicBezTo>
                    <a:pt x="102183" y="92771"/>
                    <a:pt x="103079" y="93219"/>
                    <a:pt x="103975" y="93219"/>
                  </a:cubicBezTo>
                  <a:cubicBezTo>
                    <a:pt x="104424" y="93219"/>
                    <a:pt x="104424" y="93219"/>
                    <a:pt x="104872" y="93219"/>
                  </a:cubicBezTo>
                  <a:cubicBezTo>
                    <a:pt x="106216" y="92771"/>
                    <a:pt x="106664" y="91427"/>
                    <a:pt x="106216" y="90082"/>
                  </a:cubicBezTo>
                  <a:cubicBezTo>
                    <a:pt x="97701" y="70363"/>
                    <a:pt x="98597" y="53332"/>
                    <a:pt x="99046" y="36750"/>
                  </a:cubicBezTo>
                  <a:cubicBezTo>
                    <a:pt x="99494" y="26890"/>
                    <a:pt x="95908" y="17478"/>
                    <a:pt x="89186" y="10756"/>
                  </a:cubicBezTo>
                  <a:cubicBezTo>
                    <a:pt x="82463" y="4033"/>
                    <a:pt x="73500" y="0"/>
                    <a:pt x="64088" y="0"/>
                  </a:cubicBezTo>
                  <a:cubicBezTo>
                    <a:pt x="64088" y="0"/>
                    <a:pt x="64088" y="0"/>
                    <a:pt x="64088" y="0"/>
                  </a:cubicBezTo>
                  <a:cubicBezTo>
                    <a:pt x="64088" y="0"/>
                    <a:pt x="64088" y="0"/>
                    <a:pt x="64088" y="0"/>
                  </a:cubicBezTo>
                  <a:cubicBezTo>
                    <a:pt x="64088" y="0"/>
                    <a:pt x="64088" y="0"/>
                    <a:pt x="63640" y="0"/>
                  </a:cubicBezTo>
                  <a:cubicBezTo>
                    <a:pt x="54229" y="0"/>
                    <a:pt x="45265" y="4033"/>
                    <a:pt x="38991" y="10756"/>
                  </a:cubicBezTo>
                  <a:cubicBezTo>
                    <a:pt x="32268" y="17927"/>
                    <a:pt x="28683" y="26890"/>
                    <a:pt x="29131" y="36750"/>
                  </a:cubicBezTo>
                  <a:cubicBezTo>
                    <a:pt x="30027" y="55125"/>
                    <a:pt x="29131" y="76189"/>
                    <a:pt x="20168" y="95908"/>
                  </a:cubicBezTo>
                  <a:cubicBezTo>
                    <a:pt x="7619" y="102183"/>
                    <a:pt x="448" y="113387"/>
                    <a:pt x="0" y="127729"/>
                  </a:cubicBezTo>
                  <a:lnTo>
                    <a:pt x="0" y="150137"/>
                  </a:lnTo>
                  <a:cubicBezTo>
                    <a:pt x="0" y="151482"/>
                    <a:pt x="896" y="152378"/>
                    <a:pt x="2241" y="152378"/>
                  </a:cubicBezTo>
                  <a:cubicBezTo>
                    <a:pt x="3585" y="152378"/>
                    <a:pt x="4482" y="151482"/>
                    <a:pt x="4482" y="150137"/>
                  </a:cubicBezTo>
                  <a:lnTo>
                    <a:pt x="4482" y="127729"/>
                  </a:lnTo>
                  <a:cubicBezTo>
                    <a:pt x="4930" y="110698"/>
                    <a:pt x="16582" y="98597"/>
                    <a:pt x="36302" y="95460"/>
                  </a:cubicBezTo>
                  <a:cubicBezTo>
                    <a:pt x="43024" y="94116"/>
                    <a:pt x="47954" y="91427"/>
                    <a:pt x="51091" y="86945"/>
                  </a:cubicBezTo>
                  <a:cubicBezTo>
                    <a:pt x="53332" y="83360"/>
                    <a:pt x="54229" y="78430"/>
                    <a:pt x="53780" y="73052"/>
                  </a:cubicBezTo>
                  <a:cubicBezTo>
                    <a:pt x="56918" y="75293"/>
                    <a:pt x="60951" y="76637"/>
                    <a:pt x="64985" y="76637"/>
                  </a:cubicBezTo>
                  <a:cubicBezTo>
                    <a:pt x="67674" y="76637"/>
                    <a:pt x="70363" y="76189"/>
                    <a:pt x="72604" y="75293"/>
                  </a:cubicBezTo>
                  <a:cubicBezTo>
                    <a:pt x="72155" y="80222"/>
                    <a:pt x="73052" y="84256"/>
                    <a:pt x="74844" y="87393"/>
                  </a:cubicBezTo>
                  <a:cubicBezTo>
                    <a:pt x="77533" y="91875"/>
                    <a:pt x="82463" y="94564"/>
                    <a:pt x="89634" y="95460"/>
                  </a:cubicBezTo>
                  <a:cubicBezTo>
                    <a:pt x="89634" y="95460"/>
                    <a:pt x="96805" y="96805"/>
                    <a:pt x="100390" y="98149"/>
                  </a:cubicBezTo>
                  <a:cubicBezTo>
                    <a:pt x="99942" y="97253"/>
                    <a:pt x="99942" y="97253"/>
                    <a:pt x="100390" y="97253"/>
                  </a:cubicBezTo>
                  <a:close/>
                  <a:moveTo>
                    <a:pt x="42576" y="44817"/>
                  </a:moveTo>
                  <a:cubicBezTo>
                    <a:pt x="41232" y="38991"/>
                    <a:pt x="42576" y="33164"/>
                    <a:pt x="46610" y="30027"/>
                  </a:cubicBezTo>
                  <a:cubicBezTo>
                    <a:pt x="48402" y="28683"/>
                    <a:pt x="50195" y="27786"/>
                    <a:pt x="52436" y="26890"/>
                  </a:cubicBezTo>
                  <a:cubicBezTo>
                    <a:pt x="52884" y="26442"/>
                    <a:pt x="53780" y="26442"/>
                    <a:pt x="54229" y="25994"/>
                  </a:cubicBezTo>
                  <a:cubicBezTo>
                    <a:pt x="57366" y="24201"/>
                    <a:pt x="60055" y="21960"/>
                    <a:pt x="61847" y="18375"/>
                  </a:cubicBezTo>
                  <a:cubicBezTo>
                    <a:pt x="62296" y="19271"/>
                    <a:pt x="63192" y="20168"/>
                    <a:pt x="63640" y="20616"/>
                  </a:cubicBezTo>
                  <a:cubicBezTo>
                    <a:pt x="67674" y="25994"/>
                    <a:pt x="73052" y="27338"/>
                    <a:pt x="77085" y="28235"/>
                  </a:cubicBezTo>
                  <a:cubicBezTo>
                    <a:pt x="79774" y="28683"/>
                    <a:pt x="82911" y="29131"/>
                    <a:pt x="84256" y="31372"/>
                  </a:cubicBezTo>
                  <a:cubicBezTo>
                    <a:pt x="85601" y="32716"/>
                    <a:pt x="85601" y="34957"/>
                    <a:pt x="85152" y="36750"/>
                  </a:cubicBezTo>
                  <a:cubicBezTo>
                    <a:pt x="85152" y="38543"/>
                    <a:pt x="84704" y="40335"/>
                    <a:pt x="84256" y="41680"/>
                  </a:cubicBezTo>
                  <a:cubicBezTo>
                    <a:pt x="84256" y="42576"/>
                    <a:pt x="83808" y="43472"/>
                    <a:pt x="83808" y="44369"/>
                  </a:cubicBezTo>
                  <a:cubicBezTo>
                    <a:pt x="82911" y="50643"/>
                    <a:pt x="80222" y="58710"/>
                    <a:pt x="78430" y="62296"/>
                  </a:cubicBezTo>
                  <a:cubicBezTo>
                    <a:pt x="74844" y="68122"/>
                    <a:pt x="70363" y="70811"/>
                    <a:pt x="64088" y="70811"/>
                  </a:cubicBezTo>
                  <a:cubicBezTo>
                    <a:pt x="54229" y="70811"/>
                    <a:pt x="47058" y="62296"/>
                    <a:pt x="42576" y="44817"/>
                  </a:cubicBezTo>
                  <a:close/>
                </a:path>
              </a:pathLst>
            </a:custGeom>
            <a:solidFill>
              <a:srgbClr val="231F20"/>
            </a:solidFill>
            <a:ln w="4477" cap="flat">
              <a:noFill/>
              <a:prstDash val="solid"/>
              <a:miter/>
            </a:ln>
          </p:spPr>
          <p:txBody>
            <a:bodyPr rtlCol="0" anchor="ctr"/>
            <a:lstStyle/>
            <a:p>
              <a:endParaRPr lang="en-US"/>
            </a:p>
          </p:txBody>
        </p:sp>
        <p:sp>
          <p:nvSpPr>
            <p:cNvPr id="2916" name="Freeform: Shape 2915">
              <a:extLst>
                <a:ext uri="{FF2B5EF4-FFF2-40B4-BE49-F238E27FC236}">
                  <a16:creationId xmlns:a16="http://schemas.microsoft.com/office/drawing/2014/main" id="{D7EB2926-97BE-4D1D-B5D8-EC11ACA56580}"/>
                </a:ext>
              </a:extLst>
            </p:cNvPr>
            <p:cNvSpPr/>
            <p:nvPr/>
          </p:nvSpPr>
          <p:spPr>
            <a:xfrm>
              <a:off x="6859704" y="3608651"/>
              <a:ext cx="4482" cy="4482"/>
            </a:xfrm>
            <a:custGeom>
              <a:avLst/>
              <a:gdLst>
                <a:gd name="connsiteX0" fmla="*/ 3585 w 4481"/>
                <a:gd name="connsiteY0" fmla="*/ 0 h 4481"/>
                <a:gd name="connsiteX1" fmla="*/ 0 w 4481"/>
                <a:gd name="connsiteY1" fmla="*/ 3585 h 4481"/>
                <a:gd name="connsiteX2" fmla="*/ 3585 w 4481"/>
                <a:gd name="connsiteY2" fmla="*/ 7171 h 4481"/>
                <a:gd name="connsiteX3" fmla="*/ 6274 w 4481"/>
                <a:gd name="connsiteY3" fmla="*/ 6274 h 4481"/>
                <a:gd name="connsiteX4" fmla="*/ 7171 w 4481"/>
                <a:gd name="connsiteY4" fmla="*/ 3585 h 4481"/>
                <a:gd name="connsiteX5" fmla="*/ 3585 w 4481"/>
                <a:gd name="connsiteY5" fmla="*/ 0 h 4481"/>
                <a:gd name="connsiteX6" fmla="*/ 2689 w 4481"/>
                <a:gd name="connsiteY6" fmla="*/ 3585 h 4481"/>
                <a:gd name="connsiteX7" fmla="*/ 3137 w 4481"/>
                <a:gd name="connsiteY7" fmla="*/ 2689 h 4481"/>
                <a:gd name="connsiteX8" fmla="*/ 3585 w 4481"/>
                <a:gd name="connsiteY8" fmla="*/ 2241 h 4481"/>
                <a:gd name="connsiteX9" fmla="*/ 4482 w 4481"/>
                <a:gd name="connsiteY9" fmla="*/ 3137 h 4481"/>
                <a:gd name="connsiteX10" fmla="*/ 2689 w 4481"/>
                <a:gd name="connsiteY10" fmla="*/ 3585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81" h="4481">
                  <a:moveTo>
                    <a:pt x="3585" y="0"/>
                  </a:moveTo>
                  <a:cubicBezTo>
                    <a:pt x="1793" y="0"/>
                    <a:pt x="0" y="1344"/>
                    <a:pt x="0" y="3585"/>
                  </a:cubicBezTo>
                  <a:cubicBezTo>
                    <a:pt x="0" y="5378"/>
                    <a:pt x="1344" y="7171"/>
                    <a:pt x="3585" y="7171"/>
                  </a:cubicBezTo>
                  <a:cubicBezTo>
                    <a:pt x="4482" y="7171"/>
                    <a:pt x="5378" y="6723"/>
                    <a:pt x="6274" y="6274"/>
                  </a:cubicBezTo>
                  <a:cubicBezTo>
                    <a:pt x="6723" y="5826"/>
                    <a:pt x="7171" y="4930"/>
                    <a:pt x="7171" y="3585"/>
                  </a:cubicBezTo>
                  <a:cubicBezTo>
                    <a:pt x="7171" y="1344"/>
                    <a:pt x="5378" y="0"/>
                    <a:pt x="3585" y="0"/>
                  </a:cubicBezTo>
                  <a:close/>
                  <a:moveTo>
                    <a:pt x="2689" y="3585"/>
                  </a:moveTo>
                  <a:cubicBezTo>
                    <a:pt x="2689" y="3137"/>
                    <a:pt x="2689" y="3137"/>
                    <a:pt x="3137" y="2689"/>
                  </a:cubicBezTo>
                  <a:cubicBezTo>
                    <a:pt x="3137" y="2689"/>
                    <a:pt x="3585" y="2241"/>
                    <a:pt x="3585" y="2241"/>
                  </a:cubicBezTo>
                  <a:cubicBezTo>
                    <a:pt x="4034" y="2241"/>
                    <a:pt x="4482" y="2689"/>
                    <a:pt x="4482" y="3137"/>
                  </a:cubicBezTo>
                  <a:cubicBezTo>
                    <a:pt x="4482" y="4482"/>
                    <a:pt x="2689" y="4482"/>
                    <a:pt x="2689" y="3585"/>
                  </a:cubicBezTo>
                  <a:close/>
                </a:path>
              </a:pathLst>
            </a:custGeom>
            <a:solidFill>
              <a:srgbClr val="231F20"/>
            </a:solidFill>
            <a:ln w="4477" cap="flat">
              <a:noFill/>
              <a:prstDash val="solid"/>
              <a:miter/>
            </a:ln>
          </p:spPr>
          <p:txBody>
            <a:bodyPr rtlCol="0" anchor="ctr"/>
            <a:lstStyle/>
            <a:p>
              <a:endParaRPr lang="en-US"/>
            </a:p>
          </p:txBody>
        </p:sp>
        <p:sp>
          <p:nvSpPr>
            <p:cNvPr id="2917" name="Freeform: Shape 2916">
              <a:extLst>
                <a:ext uri="{FF2B5EF4-FFF2-40B4-BE49-F238E27FC236}">
                  <a16:creationId xmlns:a16="http://schemas.microsoft.com/office/drawing/2014/main" id="{382817A3-15BA-40BE-9E11-C40F45A59A0F}"/>
                </a:ext>
              </a:extLst>
            </p:cNvPr>
            <p:cNvSpPr/>
            <p:nvPr/>
          </p:nvSpPr>
          <p:spPr>
            <a:xfrm>
              <a:off x="6861048" y="3618511"/>
              <a:ext cx="4482" cy="26890"/>
            </a:xfrm>
            <a:custGeom>
              <a:avLst/>
              <a:gdLst>
                <a:gd name="connsiteX0" fmla="*/ 2241 w 4481"/>
                <a:gd name="connsiteY0" fmla="*/ 0 h 26890"/>
                <a:gd name="connsiteX1" fmla="*/ 0 w 4481"/>
                <a:gd name="connsiteY1" fmla="*/ 2241 h 26890"/>
                <a:gd name="connsiteX2" fmla="*/ 0 w 4481"/>
                <a:gd name="connsiteY2" fmla="*/ 27338 h 26890"/>
                <a:gd name="connsiteX3" fmla="*/ 2241 w 4481"/>
                <a:gd name="connsiteY3" fmla="*/ 29579 h 26890"/>
                <a:gd name="connsiteX4" fmla="*/ 4482 w 4481"/>
                <a:gd name="connsiteY4" fmla="*/ 27338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338"/>
                  </a:lnTo>
                  <a:cubicBezTo>
                    <a:pt x="0" y="28683"/>
                    <a:pt x="896" y="29579"/>
                    <a:pt x="2241" y="29579"/>
                  </a:cubicBezTo>
                  <a:cubicBezTo>
                    <a:pt x="3585" y="29579"/>
                    <a:pt x="4482" y="28683"/>
                    <a:pt x="4482" y="27338"/>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grpSp>
        <p:nvGrpSpPr>
          <p:cNvPr id="2542" name="Group 2541">
            <a:extLst>
              <a:ext uri="{FF2B5EF4-FFF2-40B4-BE49-F238E27FC236}">
                <a16:creationId xmlns:a16="http://schemas.microsoft.com/office/drawing/2014/main" id="{8DA19814-328A-4452-9348-4C52DB6E90C5}"/>
              </a:ext>
              <a:ext uri="{C183D7F6-B498-43B3-948B-1728B52AA6E4}">
                <adec:decorative xmlns:adec="http://schemas.microsoft.com/office/drawing/2017/decorative" val="1"/>
              </a:ext>
            </a:extLst>
          </p:cNvPr>
          <p:cNvGrpSpPr>
            <a:grpSpLocks noChangeAspect="1"/>
          </p:cNvGrpSpPr>
          <p:nvPr/>
        </p:nvGrpSpPr>
        <p:grpSpPr>
          <a:xfrm>
            <a:off x="6424052" y="5560367"/>
            <a:ext cx="148063" cy="154170"/>
            <a:chOff x="6480552" y="3504676"/>
            <a:chExt cx="148063" cy="154170"/>
          </a:xfrm>
        </p:grpSpPr>
        <p:sp>
          <p:nvSpPr>
            <p:cNvPr id="2911" name="Freeform: Shape 2910">
              <a:extLst>
                <a:ext uri="{FF2B5EF4-FFF2-40B4-BE49-F238E27FC236}">
                  <a16:creationId xmlns:a16="http://schemas.microsoft.com/office/drawing/2014/main" id="{4E02964A-550B-4D11-9A85-A0E96BBDB1E1}"/>
                </a:ext>
              </a:extLst>
            </p:cNvPr>
            <p:cNvSpPr/>
            <p:nvPr/>
          </p:nvSpPr>
          <p:spPr>
            <a:xfrm>
              <a:off x="6574835" y="3600584"/>
              <a:ext cx="53780" cy="58262"/>
            </a:xfrm>
            <a:custGeom>
              <a:avLst/>
              <a:gdLst>
                <a:gd name="connsiteX0" fmla="*/ 49131 w 53780"/>
                <a:gd name="connsiteY0" fmla="*/ 8515 h 58262"/>
                <a:gd name="connsiteX1" fmla="*/ 28516 w 53780"/>
                <a:gd name="connsiteY1" fmla="*/ 0 h 58262"/>
                <a:gd name="connsiteX2" fmla="*/ 8348 w 53780"/>
                <a:gd name="connsiteY2" fmla="*/ 8515 h 58262"/>
                <a:gd name="connsiteX3" fmla="*/ 8796 w 53780"/>
                <a:gd name="connsiteY3" fmla="*/ 49747 h 58262"/>
                <a:gd name="connsiteX4" fmla="*/ 28964 w 53780"/>
                <a:gd name="connsiteY4" fmla="*/ 58262 h 58262"/>
                <a:gd name="connsiteX5" fmla="*/ 29412 w 53780"/>
                <a:gd name="connsiteY5" fmla="*/ 58262 h 58262"/>
                <a:gd name="connsiteX6" fmla="*/ 49580 w 53780"/>
                <a:gd name="connsiteY6" fmla="*/ 49747 h 58262"/>
                <a:gd name="connsiteX7" fmla="*/ 49131 w 53780"/>
                <a:gd name="connsiteY7" fmla="*/ 8515 h 58262"/>
                <a:gd name="connsiteX8" fmla="*/ 45994 w 53780"/>
                <a:gd name="connsiteY8" fmla="*/ 46610 h 58262"/>
                <a:gd name="connsiteX9" fmla="*/ 28964 w 53780"/>
                <a:gd name="connsiteY9" fmla="*/ 53780 h 58262"/>
                <a:gd name="connsiteX10" fmla="*/ 11485 w 53780"/>
                <a:gd name="connsiteY10" fmla="*/ 46610 h 58262"/>
                <a:gd name="connsiteX11" fmla="*/ 11037 w 53780"/>
                <a:gd name="connsiteY11" fmla="*/ 11652 h 58262"/>
                <a:gd name="connsiteX12" fmla="*/ 11037 w 53780"/>
                <a:gd name="connsiteY12" fmla="*/ 11652 h 58262"/>
                <a:gd name="connsiteX13" fmla="*/ 28067 w 53780"/>
                <a:gd name="connsiteY13" fmla="*/ 4482 h 58262"/>
                <a:gd name="connsiteX14" fmla="*/ 28067 w 53780"/>
                <a:gd name="connsiteY14" fmla="*/ 4482 h 58262"/>
                <a:gd name="connsiteX15" fmla="*/ 45098 w 53780"/>
                <a:gd name="connsiteY15" fmla="*/ 11652 h 58262"/>
                <a:gd name="connsiteX16" fmla="*/ 45994 w 53780"/>
                <a:gd name="connsiteY16" fmla="*/ 4661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780" h="58262">
                  <a:moveTo>
                    <a:pt x="49131" y="8515"/>
                  </a:moveTo>
                  <a:cubicBezTo>
                    <a:pt x="43753" y="3137"/>
                    <a:pt x="36583" y="0"/>
                    <a:pt x="28516" y="0"/>
                  </a:cubicBezTo>
                  <a:cubicBezTo>
                    <a:pt x="20897" y="0"/>
                    <a:pt x="13726" y="3137"/>
                    <a:pt x="8348" y="8515"/>
                  </a:cubicBezTo>
                  <a:cubicBezTo>
                    <a:pt x="-2856" y="20168"/>
                    <a:pt x="-2856" y="38543"/>
                    <a:pt x="8796" y="49747"/>
                  </a:cubicBezTo>
                  <a:cubicBezTo>
                    <a:pt x="14174" y="55125"/>
                    <a:pt x="21345" y="58262"/>
                    <a:pt x="28964" y="58262"/>
                  </a:cubicBezTo>
                  <a:cubicBezTo>
                    <a:pt x="28964" y="58262"/>
                    <a:pt x="28964" y="58262"/>
                    <a:pt x="29412" y="58262"/>
                  </a:cubicBezTo>
                  <a:cubicBezTo>
                    <a:pt x="37031" y="58262"/>
                    <a:pt x="44202" y="55125"/>
                    <a:pt x="49580" y="49747"/>
                  </a:cubicBezTo>
                  <a:cubicBezTo>
                    <a:pt x="60336" y="38543"/>
                    <a:pt x="60336" y="20168"/>
                    <a:pt x="49131" y="8515"/>
                  </a:cubicBezTo>
                  <a:close/>
                  <a:moveTo>
                    <a:pt x="45994" y="46610"/>
                  </a:moveTo>
                  <a:cubicBezTo>
                    <a:pt x="41513" y="51092"/>
                    <a:pt x="35238" y="53780"/>
                    <a:pt x="28964" y="53780"/>
                  </a:cubicBezTo>
                  <a:cubicBezTo>
                    <a:pt x="22689" y="53780"/>
                    <a:pt x="16415" y="51540"/>
                    <a:pt x="11485" y="46610"/>
                  </a:cubicBezTo>
                  <a:cubicBezTo>
                    <a:pt x="2074" y="37198"/>
                    <a:pt x="1625" y="21512"/>
                    <a:pt x="11037" y="11652"/>
                  </a:cubicBezTo>
                  <a:lnTo>
                    <a:pt x="11037" y="11652"/>
                  </a:lnTo>
                  <a:cubicBezTo>
                    <a:pt x="15519" y="7171"/>
                    <a:pt x="21793" y="4482"/>
                    <a:pt x="28067" y="4482"/>
                  </a:cubicBezTo>
                  <a:cubicBezTo>
                    <a:pt x="28067" y="4482"/>
                    <a:pt x="28067" y="4482"/>
                    <a:pt x="28067" y="4482"/>
                  </a:cubicBezTo>
                  <a:cubicBezTo>
                    <a:pt x="34342" y="4482"/>
                    <a:pt x="40616" y="7171"/>
                    <a:pt x="45098" y="11652"/>
                  </a:cubicBezTo>
                  <a:cubicBezTo>
                    <a:pt x="55406" y="21512"/>
                    <a:pt x="55406" y="37198"/>
                    <a:pt x="45994" y="46610"/>
                  </a:cubicBezTo>
                  <a:close/>
                </a:path>
              </a:pathLst>
            </a:custGeom>
            <a:solidFill>
              <a:srgbClr val="231F20"/>
            </a:solidFill>
            <a:ln w="4477" cap="flat">
              <a:noFill/>
              <a:prstDash val="solid"/>
              <a:miter/>
            </a:ln>
          </p:spPr>
          <p:txBody>
            <a:bodyPr rtlCol="0" anchor="ctr"/>
            <a:lstStyle/>
            <a:p>
              <a:endParaRPr lang="en-US"/>
            </a:p>
          </p:txBody>
        </p:sp>
        <p:sp>
          <p:nvSpPr>
            <p:cNvPr id="2912" name="Freeform: Shape 2911">
              <a:extLst>
                <a:ext uri="{FF2B5EF4-FFF2-40B4-BE49-F238E27FC236}">
                  <a16:creationId xmlns:a16="http://schemas.microsoft.com/office/drawing/2014/main" id="{BE022759-E8D6-45DF-8DE3-856CBBABD58B}"/>
                </a:ext>
              </a:extLst>
            </p:cNvPr>
            <p:cNvSpPr/>
            <p:nvPr/>
          </p:nvSpPr>
          <p:spPr>
            <a:xfrm>
              <a:off x="6591026" y="3617391"/>
              <a:ext cx="22409" cy="22409"/>
            </a:xfrm>
            <a:custGeom>
              <a:avLst/>
              <a:gdLst>
                <a:gd name="connsiteX0" fmla="*/ 15910 w 22408"/>
                <a:gd name="connsiteY0" fmla="*/ 12773 h 22408"/>
                <a:gd name="connsiteX1" fmla="*/ 24873 w 22408"/>
                <a:gd name="connsiteY1" fmla="*/ 3809 h 22408"/>
                <a:gd name="connsiteX2" fmla="*/ 24873 w 22408"/>
                <a:gd name="connsiteY2" fmla="*/ 672 h 22408"/>
                <a:gd name="connsiteX3" fmla="*/ 21736 w 22408"/>
                <a:gd name="connsiteY3" fmla="*/ 672 h 22408"/>
                <a:gd name="connsiteX4" fmla="*/ 12773 w 22408"/>
                <a:gd name="connsiteY4" fmla="*/ 9636 h 22408"/>
                <a:gd name="connsiteX5" fmla="*/ 3809 w 22408"/>
                <a:gd name="connsiteY5" fmla="*/ 672 h 22408"/>
                <a:gd name="connsiteX6" fmla="*/ 672 w 22408"/>
                <a:gd name="connsiteY6" fmla="*/ 672 h 22408"/>
                <a:gd name="connsiteX7" fmla="*/ 672 w 22408"/>
                <a:gd name="connsiteY7" fmla="*/ 3809 h 22408"/>
                <a:gd name="connsiteX8" fmla="*/ 9636 w 22408"/>
                <a:gd name="connsiteY8" fmla="*/ 12773 h 22408"/>
                <a:gd name="connsiteX9" fmla="*/ 672 w 22408"/>
                <a:gd name="connsiteY9" fmla="*/ 21736 h 22408"/>
                <a:gd name="connsiteX10" fmla="*/ 672 w 22408"/>
                <a:gd name="connsiteY10" fmla="*/ 24873 h 22408"/>
                <a:gd name="connsiteX11" fmla="*/ 2017 w 22408"/>
                <a:gd name="connsiteY11" fmla="*/ 25322 h 22408"/>
                <a:gd name="connsiteX12" fmla="*/ 3809 w 22408"/>
                <a:gd name="connsiteY12" fmla="*/ 24425 h 22408"/>
                <a:gd name="connsiteX13" fmla="*/ 12773 w 22408"/>
                <a:gd name="connsiteY13" fmla="*/ 15462 h 22408"/>
                <a:gd name="connsiteX14" fmla="*/ 21736 w 22408"/>
                <a:gd name="connsiteY14" fmla="*/ 24425 h 22408"/>
                <a:gd name="connsiteX15" fmla="*/ 23529 w 22408"/>
                <a:gd name="connsiteY15" fmla="*/ 24873 h 22408"/>
                <a:gd name="connsiteX16" fmla="*/ 25322 w 22408"/>
                <a:gd name="connsiteY16" fmla="*/ 24425 h 22408"/>
                <a:gd name="connsiteX17" fmla="*/ 25322 w 22408"/>
                <a:gd name="connsiteY17" fmla="*/ 21288 h 22408"/>
                <a:gd name="connsiteX18" fmla="*/ 15910 w 22408"/>
                <a:gd name="connsiteY18" fmla="*/ 1277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15910" y="12773"/>
                  </a:moveTo>
                  <a:lnTo>
                    <a:pt x="24873" y="3809"/>
                  </a:lnTo>
                  <a:cubicBezTo>
                    <a:pt x="25770" y="2913"/>
                    <a:pt x="25770" y="1568"/>
                    <a:pt x="24873" y="672"/>
                  </a:cubicBezTo>
                  <a:cubicBezTo>
                    <a:pt x="23977" y="-224"/>
                    <a:pt x="22633" y="-224"/>
                    <a:pt x="21736" y="672"/>
                  </a:cubicBezTo>
                  <a:lnTo>
                    <a:pt x="12773" y="9636"/>
                  </a:lnTo>
                  <a:lnTo>
                    <a:pt x="3809" y="672"/>
                  </a:lnTo>
                  <a:cubicBezTo>
                    <a:pt x="2913" y="-224"/>
                    <a:pt x="1569" y="-224"/>
                    <a:pt x="672" y="672"/>
                  </a:cubicBezTo>
                  <a:cubicBezTo>
                    <a:pt x="-224" y="1568"/>
                    <a:pt x="-224" y="2913"/>
                    <a:pt x="672" y="3809"/>
                  </a:cubicBezTo>
                  <a:lnTo>
                    <a:pt x="9636" y="12773"/>
                  </a:lnTo>
                  <a:lnTo>
                    <a:pt x="672" y="21736"/>
                  </a:lnTo>
                  <a:cubicBezTo>
                    <a:pt x="-224" y="22632"/>
                    <a:pt x="-224" y="23977"/>
                    <a:pt x="672" y="24873"/>
                  </a:cubicBezTo>
                  <a:cubicBezTo>
                    <a:pt x="1120" y="25322"/>
                    <a:pt x="1569" y="25322"/>
                    <a:pt x="2017" y="25322"/>
                  </a:cubicBezTo>
                  <a:cubicBezTo>
                    <a:pt x="2465" y="25322"/>
                    <a:pt x="3361" y="24873"/>
                    <a:pt x="3809" y="24425"/>
                  </a:cubicBezTo>
                  <a:lnTo>
                    <a:pt x="12773" y="15462"/>
                  </a:lnTo>
                  <a:lnTo>
                    <a:pt x="21736" y="24425"/>
                  </a:lnTo>
                  <a:cubicBezTo>
                    <a:pt x="22184" y="24873"/>
                    <a:pt x="22633" y="24873"/>
                    <a:pt x="23529" y="24873"/>
                  </a:cubicBezTo>
                  <a:cubicBezTo>
                    <a:pt x="24425" y="24873"/>
                    <a:pt x="24873" y="24873"/>
                    <a:pt x="25322" y="24425"/>
                  </a:cubicBezTo>
                  <a:cubicBezTo>
                    <a:pt x="26218" y="23529"/>
                    <a:pt x="26218" y="22184"/>
                    <a:pt x="25322" y="21288"/>
                  </a:cubicBezTo>
                  <a:lnTo>
                    <a:pt x="15910" y="12773"/>
                  </a:lnTo>
                  <a:close/>
                </a:path>
              </a:pathLst>
            </a:custGeom>
            <a:solidFill>
              <a:srgbClr val="231F20"/>
            </a:solidFill>
            <a:ln w="4477" cap="flat">
              <a:noFill/>
              <a:prstDash val="solid"/>
              <a:miter/>
            </a:ln>
          </p:spPr>
          <p:txBody>
            <a:bodyPr rtlCol="0" anchor="ctr"/>
            <a:lstStyle/>
            <a:p>
              <a:endParaRPr lang="en-US"/>
            </a:p>
          </p:txBody>
        </p:sp>
        <p:sp>
          <p:nvSpPr>
            <p:cNvPr id="2913" name="Freeform: Shape 2912">
              <a:extLst>
                <a:ext uri="{FF2B5EF4-FFF2-40B4-BE49-F238E27FC236}">
                  <a16:creationId xmlns:a16="http://schemas.microsoft.com/office/drawing/2014/main" id="{ED393887-0B08-4ED3-85F3-6EF4A0D2011A}"/>
                </a:ext>
              </a:extLst>
            </p:cNvPr>
            <p:cNvSpPr/>
            <p:nvPr/>
          </p:nvSpPr>
          <p:spPr>
            <a:xfrm>
              <a:off x="6480552" y="3504676"/>
              <a:ext cx="103079" cy="152378"/>
            </a:xfrm>
            <a:custGeom>
              <a:avLst/>
              <a:gdLst>
                <a:gd name="connsiteX0" fmla="*/ 96805 w 103079"/>
                <a:gd name="connsiteY0" fmla="*/ 99942 h 152377"/>
                <a:gd name="connsiteX1" fmla="*/ 96357 w 103079"/>
                <a:gd name="connsiteY1" fmla="*/ 96805 h 152377"/>
                <a:gd name="connsiteX2" fmla="*/ 88290 w 103079"/>
                <a:gd name="connsiteY2" fmla="*/ 78878 h 152377"/>
                <a:gd name="connsiteX3" fmla="*/ 88738 w 103079"/>
                <a:gd name="connsiteY3" fmla="*/ 73052 h 152377"/>
                <a:gd name="connsiteX4" fmla="*/ 98597 w 103079"/>
                <a:gd name="connsiteY4" fmla="*/ 56021 h 152377"/>
                <a:gd name="connsiteX5" fmla="*/ 104872 w 103079"/>
                <a:gd name="connsiteY5" fmla="*/ 47058 h 152377"/>
                <a:gd name="connsiteX6" fmla="*/ 101286 w 103079"/>
                <a:gd name="connsiteY6" fmla="*/ 38991 h 152377"/>
                <a:gd name="connsiteX7" fmla="*/ 99942 w 103079"/>
                <a:gd name="connsiteY7" fmla="*/ 17031 h 152377"/>
                <a:gd name="connsiteX8" fmla="*/ 69018 w 103079"/>
                <a:gd name="connsiteY8" fmla="*/ 0 h 152377"/>
                <a:gd name="connsiteX9" fmla="*/ 38094 w 103079"/>
                <a:gd name="connsiteY9" fmla="*/ 17927 h 152377"/>
                <a:gd name="connsiteX10" fmla="*/ 39439 w 103079"/>
                <a:gd name="connsiteY10" fmla="*/ 40335 h 152377"/>
                <a:gd name="connsiteX11" fmla="*/ 35854 w 103079"/>
                <a:gd name="connsiteY11" fmla="*/ 48403 h 152377"/>
                <a:gd name="connsiteX12" fmla="*/ 42128 w 103079"/>
                <a:gd name="connsiteY12" fmla="*/ 57366 h 152377"/>
                <a:gd name="connsiteX13" fmla="*/ 51540 w 103079"/>
                <a:gd name="connsiteY13" fmla="*/ 73500 h 152377"/>
                <a:gd name="connsiteX14" fmla="*/ 51988 w 103079"/>
                <a:gd name="connsiteY14" fmla="*/ 79326 h 152377"/>
                <a:gd name="connsiteX15" fmla="*/ 36302 w 103079"/>
                <a:gd name="connsiteY15" fmla="*/ 96357 h 152377"/>
                <a:gd name="connsiteX16" fmla="*/ 0 w 103079"/>
                <a:gd name="connsiteY16" fmla="*/ 134003 h 152377"/>
                <a:gd name="connsiteX17" fmla="*/ 0 w 103079"/>
                <a:gd name="connsiteY17" fmla="*/ 136692 h 152377"/>
                <a:gd name="connsiteX18" fmla="*/ 0 w 103079"/>
                <a:gd name="connsiteY18" fmla="*/ 152826 h 152377"/>
                <a:gd name="connsiteX19" fmla="*/ 2241 w 103079"/>
                <a:gd name="connsiteY19" fmla="*/ 155067 h 152377"/>
                <a:gd name="connsiteX20" fmla="*/ 2241 w 103079"/>
                <a:gd name="connsiteY20" fmla="*/ 155067 h 152377"/>
                <a:gd name="connsiteX21" fmla="*/ 4482 w 103079"/>
                <a:gd name="connsiteY21" fmla="*/ 152826 h 152377"/>
                <a:gd name="connsiteX22" fmla="*/ 4482 w 103079"/>
                <a:gd name="connsiteY22" fmla="*/ 136692 h 152377"/>
                <a:gd name="connsiteX23" fmla="*/ 4482 w 103079"/>
                <a:gd name="connsiteY23" fmla="*/ 134003 h 152377"/>
                <a:gd name="connsiteX24" fmla="*/ 36302 w 103079"/>
                <a:gd name="connsiteY24" fmla="*/ 100838 h 152377"/>
                <a:gd name="connsiteX25" fmla="*/ 56469 w 103079"/>
                <a:gd name="connsiteY25" fmla="*/ 79326 h 152377"/>
                <a:gd name="connsiteX26" fmla="*/ 56469 w 103079"/>
                <a:gd name="connsiteY26" fmla="*/ 76637 h 152377"/>
                <a:gd name="connsiteX27" fmla="*/ 68122 w 103079"/>
                <a:gd name="connsiteY27" fmla="*/ 79326 h 152377"/>
                <a:gd name="connsiteX28" fmla="*/ 72155 w 103079"/>
                <a:gd name="connsiteY28" fmla="*/ 79326 h 152377"/>
                <a:gd name="connsiteX29" fmla="*/ 83808 w 103079"/>
                <a:gd name="connsiteY29" fmla="*/ 76637 h 152377"/>
                <a:gd name="connsiteX30" fmla="*/ 83808 w 103079"/>
                <a:gd name="connsiteY30" fmla="*/ 79326 h 152377"/>
                <a:gd name="connsiteX31" fmla="*/ 93668 w 103079"/>
                <a:gd name="connsiteY31" fmla="*/ 100838 h 152377"/>
                <a:gd name="connsiteX32" fmla="*/ 95012 w 103079"/>
                <a:gd name="connsiteY32" fmla="*/ 101287 h 152377"/>
                <a:gd name="connsiteX33" fmla="*/ 96805 w 103079"/>
                <a:gd name="connsiteY33" fmla="*/ 99942 h 152377"/>
                <a:gd name="connsiteX34" fmla="*/ 99942 w 103079"/>
                <a:gd name="connsiteY34" fmla="*/ 46610 h 152377"/>
                <a:gd name="connsiteX35" fmla="*/ 98597 w 103079"/>
                <a:gd name="connsiteY35" fmla="*/ 50643 h 152377"/>
                <a:gd name="connsiteX36" fmla="*/ 98597 w 103079"/>
                <a:gd name="connsiteY36" fmla="*/ 43025 h 152377"/>
                <a:gd name="connsiteX37" fmla="*/ 98597 w 103079"/>
                <a:gd name="connsiteY37" fmla="*/ 43025 h 152377"/>
                <a:gd name="connsiteX38" fmla="*/ 99942 w 103079"/>
                <a:gd name="connsiteY38" fmla="*/ 46610 h 152377"/>
                <a:gd name="connsiteX39" fmla="*/ 41232 w 103079"/>
                <a:gd name="connsiteY39" fmla="*/ 19272 h 152377"/>
                <a:gd name="connsiteX40" fmla="*/ 68122 w 103079"/>
                <a:gd name="connsiteY40" fmla="*/ 4034 h 152377"/>
                <a:gd name="connsiteX41" fmla="*/ 95012 w 103079"/>
                <a:gd name="connsiteY41" fmla="*/ 18823 h 152377"/>
                <a:gd name="connsiteX42" fmla="*/ 97701 w 103079"/>
                <a:gd name="connsiteY42" fmla="*/ 30476 h 152377"/>
                <a:gd name="connsiteX43" fmla="*/ 94564 w 103079"/>
                <a:gd name="connsiteY43" fmla="*/ 24649 h 152377"/>
                <a:gd name="connsiteX44" fmla="*/ 92771 w 103079"/>
                <a:gd name="connsiteY44" fmla="*/ 23753 h 152377"/>
                <a:gd name="connsiteX45" fmla="*/ 63640 w 103079"/>
                <a:gd name="connsiteY45" fmla="*/ 23753 h 152377"/>
                <a:gd name="connsiteX46" fmla="*/ 61399 w 103079"/>
                <a:gd name="connsiteY46" fmla="*/ 22857 h 152377"/>
                <a:gd name="connsiteX47" fmla="*/ 59607 w 103079"/>
                <a:gd name="connsiteY47" fmla="*/ 18823 h 152377"/>
                <a:gd name="connsiteX48" fmla="*/ 59158 w 103079"/>
                <a:gd name="connsiteY48" fmla="*/ 17031 h 152377"/>
                <a:gd name="connsiteX49" fmla="*/ 57366 w 103079"/>
                <a:gd name="connsiteY49" fmla="*/ 16582 h 152377"/>
                <a:gd name="connsiteX50" fmla="*/ 40335 w 103079"/>
                <a:gd name="connsiteY50" fmla="*/ 34509 h 152377"/>
                <a:gd name="connsiteX51" fmla="*/ 40335 w 103079"/>
                <a:gd name="connsiteY51" fmla="*/ 34509 h 152377"/>
                <a:gd name="connsiteX52" fmla="*/ 41232 w 103079"/>
                <a:gd name="connsiteY52" fmla="*/ 19272 h 152377"/>
                <a:gd name="connsiteX53" fmla="*/ 41232 w 103079"/>
                <a:gd name="connsiteY53" fmla="*/ 43473 h 152377"/>
                <a:gd name="connsiteX54" fmla="*/ 41232 w 103079"/>
                <a:gd name="connsiteY54" fmla="*/ 51540 h 152377"/>
                <a:gd name="connsiteX55" fmla="*/ 39887 w 103079"/>
                <a:gd name="connsiteY55" fmla="*/ 47506 h 152377"/>
                <a:gd name="connsiteX56" fmla="*/ 41232 w 103079"/>
                <a:gd name="connsiteY56" fmla="*/ 43473 h 152377"/>
                <a:gd name="connsiteX57" fmla="*/ 68122 w 103079"/>
                <a:gd name="connsiteY57" fmla="*/ 74396 h 152377"/>
                <a:gd name="connsiteX58" fmla="*/ 45713 w 103079"/>
                <a:gd name="connsiteY58" fmla="*/ 51988 h 152377"/>
                <a:gd name="connsiteX59" fmla="*/ 45713 w 103079"/>
                <a:gd name="connsiteY59" fmla="*/ 34509 h 152377"/>
                <a:gd name="connsiteX60" fmla="*/ 56021 w 103079"/>
                <a:gd name="connsiteY60" fmla="*/ 21512 h 152377"/>
                <a:gd name="connsiteX61" fmla="*/ 58710 w 103079"/>
                <a:gd name="connsiteY61" fmla="*/ 25994 h 152377"/>
                <a:gd name="connsiteX62" fmla="*/ 64088 w 103079"/>
                <a:gd name="connsiteY62" fmla="*/ 28235 h 152377"/>
                <a:gd name="connsiteX63" fmla="*/ 92323 w 103079"/>
                <a:gd name="connsiteY63" fmla="*/ 28235 h 152377"/>
                <a:gd name="connsiteX64" fmla="*/ 94564 w 103079"/>
                <a:gd name="connsiteY64" fmla="*/ 34509 h 152377"/>
                <a:gd name="connsiteX65" fmla="*/ 94564 w 103079"/>
                <a:gd name="connsiteY65" fmla="*/ 51988 h 152377"/>
                <a:gd name="connsiteX66" fmla="*/ 72155 w 103079"/>
                <a:gd name="connsiteY66" fmla="*/ 74396 h 152377"/>
                <a:gd name="connsiteX67" fmla="*/ 68122 w 103079"/>
                <a:gd name="connsiteY67" fmla="*/ 743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3079" h="152377">
                  <a:moveTo>
                    <a:pt x="96805" y="99942"/>
                  </a:moveTo>
                  <a:cubicBezTo>
                    <a:pt x="97701" y="99046"/>
                    <a:pt x="97253" y="97701"/>
                    <a:pt x="96357" y="96805"/>
                  </a:cubicBezTo>
                  <a:cubicBezTo>
                    <a:pt x="91427" y="93220"/>
                    <a:pt x="88290" y="86497"/>
                    <a:pt x="88290" y="78878"/>
                  </a:cubicBezTo>
                  <a:cubicBezTo>
                    <a:pt x="88290" y="76637"/>
                    <a:pt x="88290" y="75293"/>
                    <a:pt x="88738" y="73052"/>
                  </a:cubicBezTo>
                  <a:cubicBezTo>
                    <a:pt x="94116" y="69018"/>
                    <a:pt x="97253" y="62744"/>
                    <a:pt x="98597" y="56021"/>
                  </a:cubicBezTo>
                  <a:cubicBezTo>
                    <a:pt x="102183" y="55125"/>
                    <a:pt x="104872" y="51540"/>
                    <a:pt x="104872" y="47058"/>
                  </a:cubicBezTo>
                  <a:cubicBezTo>
                    <a:pt x="104872" y="43473"/>
                    <a:pt x="103527" y="40784"/>
                    <a:pt x="101286" y="38991"/>
                  </a:cubicBezTo>
                  <a:cubicBezTo>
                    <a:pt x="103975" y="31820"/>
                    <a:pt x="103527" y="24201"/>
                    <a:pt x="99942" y="17031"/>
                  </a:cubicBezTo>
                  <a:cubicBezTo>
                    <a:pt x="94116" y="6723"/>
                    <a:pt x="82463" y="0"/>
                    <a:pt x="69018" y="0"/>
                  </a:cubicBezTo>
                  <a:cubicBezTo>
                    <a:pt x="55125" y="0"/>
                    <a:pt x="43024" y="7171"/>
                    <a:pt x="38094" y="17927"/>
                  </a:cubicBezTo>
                  <a:cubicBezTo>
                    <a:pt x="34509" y="25098"/>
                    <a:pt x="35405" y="33165"/>
                    <a:pt x="39439" y="40335"/>
                  </a:cubicBezTo>
                  <a:cubicBezTo>
                    <a:pt x="37198" y="42128"/>
                    <a:pt x="35854" y="44817"/>
                    <a:pt x="35854" y="48403"/>
                  </a:cubicBezTo>
                  <a:cubicBezTo>
                    <a:pt x="35854" y="53332"/>
                    <a:pt x="38543" y="56918"/>
                    <a:pt x="42128" y="57366"/>
                  </a:cubicBezTo>
                  <a:cubicBezTo>
                    <a:pt x="43473" y="64089"/>
                    <a:pt x="46610" y="69466"/>
                    <a:pt x="51540" y="73500"/>
                  </a:cubicBezTo>
                  <a:cubicBezTo>
                    <a:pt x="51988" y="75293"/>
                    <a:pt x="51988" y="77982"/>
                    <a:pt x="51988" y="79326"/>
                  </a:cubicBezTo>
                  <a:cubicBezTo>
                    <a:pt x="51988" y="88738"/>
                    <a:pt x="44817" y="96357"/>
                    <a:pt x="36302" y="96357"/>
                  </a:cubicBezTo>
                  <a:cubicBezTo>
                    <a:pt x="16582" y="96357"/>
                    <a:pt x="448" y="112939"/>
                    <a:pt x="0" y="134003"/>
                  </a:cubicBezTo>
                  <a:lnTo>
                    <a:pt x="0" y="136692"/>
                  </a:lnTo>
                  <a:cubicBezTo>
                    <a:pt x="0" y="142070"/>
                    <a:pt x="0" y="147896"/>
                    <a:pt x="0" y="152826"/>
                  </a:cubicBezTo>
                  <a:cubicBezTo>
                    <a:pt x="0" y="154171"/>
                    <a:pt x="896" y="155067"/>
                    <a:pt x="2241" y="155067"/>
                  </a:cubicBezTo>
                  <a:cubicBezTo>
                    <a:pt x="2241" y="155067"/>
                    <a:pt x="2241" y="155067"/>
                    <a:pt x="2241" y="155067"/>
                  </a:cubicBezTo>
                  <a:cubicBezTo>
                    <a:pt x="3585" y="155067"/>
                    <a:pt x="4482" y="154171"/>
                    <a:pt x="4482" y="152826"/>
                  </a:cubicBezTo>
                  <a:cubicBezTo>
                    <a:pt x="4482" y="147448"/>
                    <a:pt x="4482" y="141622"/>
                    <a:pt x="4482" y="136692"/>
                  </a:cubicBezTo>
                  <a:lnTo>
                    <a:pt x="4482" y="134003"/>
                  </a:lnTo>
                  <a:cubicBezTo>
                    <a:pt x="4930" y="115628"/>
                    <a:pt x="18823" y="100838"/>
                    <a:pt x="36302" y="100838"/>
                  </a:cubicBezTo>
                  <a:cubicBezTo>
                    <a:pt x="47506" y="100838"/>
                    <a:pt x="56469" y="91427"/>
                    <a:pt x="56469" y="79326"/>
                  </a:cubicBezTo>
                  <a:cubicBezTo>
                    <a:pt x="56469" y="78878"/>
                    <a:pt x="56469" y="77534"/>
                    <a:pt x="56469" y="76637"/>
                  </a:cubicBezTo>
                  <a:cubicBezTo>
                    <a:pt x="60055" y="78430"/>
                    <a:pt x="64088" y="79326"/>
                    <a:pt x="68122" y="79326"/>
                  </a:cubicBezTo>
                  <a:lnTo>
                    <a:pt x="72155" y="79326"/>
                  </a:lnTo>
                  <a:cubicBezTo>
                    <a:pt x="76189" y="79326"/>
                    <a:pt x="80222" y="78430"/>
                    <a:pt x="83808" y="76637"/>
                  </a:cubicBezTo>
                  <a:cubicBezTo>
                    <a:pt x="83808" y="77534"/>
                    <a:pt x="83808" y="78430"/>
                    <a:pt x="83808" y="79326"/>
                  </a:cubicBezTo>
                  <a:cubicBezTo>
                    <a:pt x="83808" y="88290"/>
                    <a:pt x="87393" y="96357"/>
                    <a:pt x="93668" y="100838"/>
                  </a:cubicBezTo>
                  <a:cubicBezTo>
                    <a:pt x="94116" y="101287"/>
                    <a:pt x="94564" y="101287"/>
                    <a:pt x="95012" y="101287"/>
                  </a:cubicBezTo>
                  <a:cubicBezTo>
                    <a:pt x="95460" y="100838"/>
                    <a:pt x="96357" y="100390"/>
                    <a:pt x="96805" y="99942"/>
                  </a:cubicBezTo>
                  <a:close/>
                  <a:moveTo>
                    <a:pt x="99942" y="46610"/>
                  </a:moveTo>
                  <a:cubicBezTo>
                    <a:pt x="99942" y="48403"/>
                    <a:pt x="99494" y="49747"/>
                    <a:pt x="98597" y="50643"/>
                  </a:cubicBezTo>
                  <a:lnTo>
                    <a:pt x="98597" y="43025"/>
                  </a:lnTo>
                  <a:cubicBezTo>
                    <a:pt x="98597" y="43025"/>
                    <a:pt x="98597" y="43025"/>
                    <a:pt x="98597" y="43025"/>
                  </a:cubicBezTo>
                  <a:cubicBezTo>
                    <a:pt x="99494" y="43473"/>
                    <a:pt x="99942" y="44817"/>
                    <a:pt x="99942" y="46610"/>
                  </a:cubicBezTo>
                  <a:close/>
                  <a:moveTo>
                    <a:pt x="41232" y="19272"/>
                  </a:moveTo>
                  <a:cubicBezTo>
                    <a:pt x="45265" y="10308"/>
                    <a:pt x="56469" y="4034"/>
                    <a:pt x="68122" y="4034"/>
                  </a:cubicBezTo>
                  <a:cubicBezTo>
                    <a:pt x="79774" y="4034"/>
                    <a:pt x="90082" y="9860"/>
                    <a:pt x="95012" y="18823"/>
                  </a:cubicBezTo>
                  <a:cubicBezTo>
                    <a:pt x="97253" y="22409"/>
                    <a:pt x="98149" y="26442"/>
                    <a:pt x="97701" y="30476"/>
                  </a:cubicBezTo>
                  <a:cubicBezTo>
                    <a:pt x="96805" y="28235"/>
                    <a:pt x="95908" y="26442"/>
                    <a:pt x="94564" y="24649"/>
                  </a:cubicBezTo>
                  <a:cubicBezTo>
                    <a:pt x="94116" y="24201"/>
                    <a:pt x="93219" y="23305"/>
                    <a:pt x="92771" y="23753"/>
                  </a:cubicBezTo>
                  <a:lnTo>
                    <a:pt x="63640" y="23753"/>
                  </a:lnTo>
                  <a:cubicBezTo>
                    <a:pt x="62744" y="23753"/>
                    <a:pt x="61847" y="23305"/>
                    <a:pt x="61399" y="22857"/>
                  </a:cubicBezTo>
                  <a:cubicBezTo>
                    <a:pt x="60503" y="21960"/>
                    <a:pt x="59607" y="20168"/>
                    <a:pt x="59607" y="18823"/>
                  </a:cubicBezTo>
                  <a:cubicBezTo>
                    <a:pt x="59607" y="18375"/>
                    <a:pt x="59607" y="17479"/>
                    <a:pt x="59158" y="17031"/>
                  </a:cubicBezTo>
                  <a:cubicBezTo>
                    <a:pt x="58710" y="16582"/>
                    <a:pt x="58262" y="16134"/>
                    <a:pt x="57366" y="16582"/>
                  </a:cubicBezTo>
                  <a:cubicBezTo>
                    <a:pt x="51540" y="16582"/>
                    <a:pt x="40335" y="20616"/>
                    <a:pt x="40335" y="34509"/>
                  </a:cubicBezTo>
                  <a:lnTo>
                    <a:pt x="40335" y="34509"/>
                  </a:lnTo>
                  <a:cubicBezTo>
                    <a:pt x="38991" y="29131"/>
                    <a:pt x="38991" y="24201"/>
                    <a:pt x="41232" y="19272"/>
                  </a:cubicBezTo>
                  <a:close/>
                  <a:moveTo>
                    <a:pt x="41232" y="43473"/>
                  </a:moveTo>
                  <a:lnTo>
                    <a:pt x="41232" y="51540"/>
                  </a:lnTo>
                  <a:cubicBezTo>
                    <a:pt x="40335" y="50643"/>
                    <a:pt x="39887" y="49299"/>
                    <a:pt x="39887" y="47506"/>
                  </a:cubicBezTo>
                  <a:cubicBezTo>
                    <a:pt x="39887" y="45713"/>
                    <a:pt x="40335" y="44369"/>
                    <a:pt x="41232" y="43473"/>
                  </a:cubicBezTo>
                  <a:close/>
                  <a:moveTo>
                    <a:pt x="68122" y="74396"/>
                  </a:moveTo>
                  <a:cubicBezTo>
                    <a:pt x="56021" y="74396"/>
                    <a:pt x="45713" y="64089"/>
                    <a:pt x="45713" y="51988"/>
                  </a:cubicBezTo>
                  <a:lnTo>
                    <a:pt x="45713" y="34509"/>
                  </a:lnTo>
                  <a:cubicBezTo>
                    <a:pt x="45713" y="24649"/>
                    <a:pt x="52436" y="21960"/>
                    <a:pt x="56021" y="21512"/>
                  </a:cubicBezTo>
                  <a:cubicBezTo>
                    <a:pt x="56469" y="23305"/>
                    <a:pt x="57366" y="24649"/>
                    <a:pt x="58710" y="25994"/>
                  </a:cubicBezTo>
                  <a:cubicBezTo>
                    <a:pt x="60055" y="27339"/>
                    <a:pt x="61847" y="28235"/>
                    <a:pt x="64088" y="28235"/>
                  </a:cubicBezTo>
                  <a:lnTo>
                    <a:pt x="92323" y="28235"/>
                  </a:lnTo>
                  <a:cubicBezTo>
                    <a:pt x="93668" y="30027"/>
                    <a:pt x="94564" y="32268"/>
                    <a:pt x="94564" y="34509"/>
                  </a:cubicBezTo>
                  <a:lnTo>
                    <a:pt x="94564" y="51988"/>
                  </a:lnTo>
                  <a:cubicBezTo>
                    <a:pt x="94564" y="64537"/>
                    <a:pt x="84704" y="74396"/>
                    <a:pt x="72155" y="74396"/>
                  </a:cubicBezTo>
                  <a:lnTo>
                    <a:pt x="68122" y="74396"/>
                  </a:lnTo>
                  <a:close/>
                </a:path>
              </a:pathLst>
            </a:custGeom>
            <a:solidFill>
              <a:srgbClr val="231F20"/>
            </a:solidFill>
            <a:ln w="4477" cap="flat">
              <a:noFill/>
              <a:prstDash val="solid"/>
              <a:miter/>
            </a:ln>
          </p:spPr>
          <p:txBody>
            <a:bodyPr rtlCol="0" anchor="ctr"/>
            <a:lstStyle/>
            <a:p>
              <a:endParaRPr lang="en-US"/>
            </a:p>
          </p:txBody>
        </p:sp>
      </p:grpSp>
      <p:sp>
        <p:nvSpPr>
          <p:cNvPr id="2544" name="Freeform: Shape 2543">
            <a:extLst>
              <a:ext uri="{FF2B5EF4-FFF2-40B4-BE49-F238E27FC236}">
                <a16:creationId xmlns:a16="http://schemas.microsoft.com/office/drawing/2014/main" id="{2A888945-3D09-49D8-8696-3B8DECBEEDB4}"/>
              </a:ext>
              <a:ext uri="{C183D7F6-B498-43B3-948B-1728B52AA6E4}">
                <adec:decorative xmlns:adec="http://schemas.microsoft.com/office/drawing/2017/decorative" val="1"/>
              </a:ext>
            </a:extLst>
          </p:cNvPr>
          <p:cNvSpPr>
            <a:spLocks noChangeAspect="1"/>
          </p:cNvSpPr>
          <p:nvPr/>
        </p:nvSpPr>
        <p:spPr>
          <a:xfrm>
            <a:off x="8019089" y="5562607"/>
            <a:ext cx="125488" cy="152378"/>
          </a:xfrm>
          <a:custGeom>
            <a:avLst/>
            <a:gdLst>
              <a:gd name="connsiteX0" fmla="*/ 129073 w 125487"/>
              <a:gd name="connsiteY0" fmla="*/ 127729 h 152377"/>
              <a:gd name="connsiteX1" fmla="*/ 109353 w 125487"/>
              <a:gd name="connsiteY1" fmla="*/ 96357 h 152377"/>
              <a:gd name="connsiteX2" fmla="*/ 108905 w 125487"/>
              <a:gd name="connsiteY2" fmla="*/ 95012 h 152377"/>
              <a:gd name="connsiteX3" fmla="*/ 99046 w 125487"/>
              <a:gd name="connsiteY3" fmla="*/ 36750 h 152377"/>
              <a:gd name="connsiteX4" fmla="*/ 89186 w 125487"/>
              <a:gd name="connsiteY4" fmla="*/ 10756 h 152377"/>
              <a:gd name="connsiteX5" fmla="*/ 64088 w 125487"/>
              <a:gd name="connsiteY5" fmla="*/ 0 h 152377"/>
              <a:gd name="connsiteX6" fmla="*/ 64088 w 125487"/>
              <a:gd name="connsiteY6" fmla="*/ 0 h 152377"/>
              <a:gd name="connsiteX7" fmla="*/ 64088 w 125487"/>
              <a:gd name="connsiteY7" fmla="*/ 0 h 152377"/>
              <a:gd name="connsiteX8" fmla="*/ 63640 w 125487"/>
              <a:gd name="connsiteY8" fmla="*/ 0 h 152377"/>
              <a:gd name="connsiteX9" fmla="*/ 38991 w 125487"/>
              <a:gd name="connsiteY9" fmla="*/ 10756 h 152377"/>
              <a:gd name="connsiteX10" fmla="*/ 29131 w 125487"/>
              <a:gd name="connsiteY10" fmla="*/ 36750 h 152377"/>
              <a:gd name="connsiteX11" fmla="*/ 20168 w 125487"/>
              <a:gd name="connsiteY11" fmla="*/ 95909 h 152377"/>
              <a:gd name="connsiteX12" fmla="*/ 0 w 125487"/>
              <a:gd name="connsiteY12" fmla="*/ 127729 h 152377"/>
              <a:gd name="connsiteX13" fmla="*/ 0 w 125487"/>
              <a:gd name="connsiteY13" fmla="*/ 150137 h 152377"/>
              <a:gd name="connsiteX14" fmla="*/ 2241 w 125487"/>
              <a:gd name="connsiteY14" fmla="*/ 152378 h 152377"/>
              <a:gd name="connsiteX15" fmla="*/ 4482 w 125487"/>
              <a:gd name="connsiteY15" fmla="*/ 150137 h 152377"/>
              <a:gd name="connsiteX16" fmla="*/ 4482 w 125487"/>
              <a:gd name="connsiteY16" fmla="*/ 127729 h 152377"/>
              <a:gd name="connsiteX17" fmla="*/ 36302 w 125487"/>
              <a:gd name="connsiteY17" fmla="*/ 95460 h 152377"/>
              <a:gd name="connsiteX18" fmla="*/ 51091 w 125487"/>
              <a:gd name="connsiteY18" fmla="*/ 86945 h 152377"/>
              <a:gd name="connsiteX19" fmla="*/ 53780 w 125487"/>
              <a:gd name="connsiteY19" fmla="*/ 73052 h 152377"/>
              <a:gd name="connsiteX20" fmla="*/ 64985 w 125487"/>
              <a:gd name="connsiteY20" fmla="*/ 76637 h 152377"/>
              <a:gd name="connsiteX21" fmla="*/ 75741 w 125487"/>
              <a:gd name="connsiteY21" fmla="*/ 73948 h 152377"/>
              <a:gd name="connsiteX22" fmla="*/ 78430 w 125487"/>
              <a:gd name="connsiteY22" fmla="*/ 87393 h 152377"/>
              <a:gd name="connsiteX23" fmla="*/ 93219 w 125487"/>
              <a:gd name="connsiteY23" fmla="*/ 95909 h 152377"/>
              <a:gd name="connsiteX24" fmla="*/ 125039 w 125487"/>
              <a:gd name="connsiteY24" fmla="*/ 128177 h 152377"/>
              <a:gd name="connsiteX25" fmla="*/ 125039 w 125487"/>
              <a:gd name="connsiteY25" fmla="*/ 150585 h 152377"/>
              <a:gd name="connsiteX26" fmla="*/ 127280 w 125487"/>
              <a:gd name="connsiteY26" fmla="*/ 152826 h 152377"/>
              <a:gd name="connsiteX27" fmla="*/ 129521 w 125487"/>
              <a:gd name="connsiteY27" fmla="*/ 150585 h 152377"/>
              <a:gd name="connsiteX28" fmla="*/ 129521 w 125487"/>
              <a:gd name="connsiteY28" fmla="*/ 127729 h 152377"/>
              <a:gd name="connsiteX29" fmla="*/ 43024 w 125487"/>
              <a:gd name="connsiteY29" fmla="*/ 45713 h 152377"/>
              <a:gd name="connsiteX30" fmla="*/ 47058 w 125487"/>
              <a:gd name="connsiteY30" fmla="*/ 30924 h 152377"/>
              <a:gd name="connsiteX31" fmla="*/ 52884 w 125487"/>
              <a:gd name="connsiteY31" fmla="*/ 27787 h 152377"/>
              <a:gd name="connsiteX32" fmla="*/ 54677 w 125487"/>
              <a:gd name="connsiteY32" fmla="*/ 26890 h 152377"/>
              <a:gd name="connsiteX33" fmla="*/ 62296 w 125487"/>
              <a:gd name="connsiteY33" fmla="*/ 19272 h 152377"/>
              <a:gd name="connsiteX34" fmla="*/ 64088 w 125487"/>
              <a:gd name="connsiteY34" fmla="*/ 21512 h 152377"/>
              <a:gd name="connsiteX35" fmla="*/ 77533 w 125487"/>
              <a:gd name="connsiteY35" fmla="*/ 29131 h 152377"/>
              <a:gd name="connsiteX36" fmla="*/ 84704 w 125487"/>
              <a:gd name="connsiteY36" fmla="*/ 32268 h 152377"/>
              <a:gd name="connsiteX37" fmla="*/ 85601 w 125487"/>
              <a:gd name="connsiteY37" fmla="*/ 37646 h 152377"/>
              <a:gd name="connsiteX38" fmla="*/ 84704 w 125487"/>
              <a:gd name="connsiteY38" fmla="*/ 42576 h 152377"/>
              <a:gd name="connsiteX39" fmla="*/ 84256 w 125487"/>
              <a:gd name="connsiteY39" fmla="*/ 45265 h 152377"/>
              <a:gd name="connsiteX40" fmla="*/ 78878 w 125487"/>
              <a:gd name="connsiteY40" fmla="*/ 63192 h 152377"/>
              <a:gd name="connsiteX41" fmla="*/ 64536 w 125487"/>
              <a:gd name="connsiteY41" fmla="*/ 71707 h 152377"/>
              <a:gd name="connsiteX42" fmla="*/ 43024 w 125487"/>
              <a:gd name="connsiteY42" fmla="*/ 45713 h 152377"/>
              <a:gd name="connsiteX43" fmla="*/ 82015 w 125487"/>
              <a:gd name="connsiteY43" fmla="*/ 84256 h 152377"/>
              <a:gd name="connsiteX44" fmla="*/ 80671 w 125487"/>
              <a:gd name="connsiteY44" fmla="*/ 68570 h 152377"/>
              <a:gd name="connsiteX45" fmla="*/ 82911 w 125487"/>
              <a:gd name="connsiteY45" fmla="*/ 65881 h 152377"/>
              <a:gd name="connsiteX46" fmla="*/ 89186 w 125487"/>
              <a:gd name="connsiteY46" fmla="*/ 46162 h 152377"/>
              <a:gd name="connsiteX47" fmla="*/ 89186 w 125487"/>
              <a:gd name="connsiteY47" fmla="*/ 46162 h 152377"/>
              <a:gd name="connsiteX48" fmla="*/ 89634 w 125487"/>
              <a:gd name="connsiteY48" fmla="*/ 43473 h 152377"/>
              <a:gd name="connsiteX49" fmla="*/ 90530 w 125487"/>
              <a:gd name="connsiteY49" fmla="*/ 38094 h 152377"/>
              <a:gd name="connsiteX50" fmla="*/ 88738 w 125487"/>
              <a:gd name="connsiteY50" fmla="*/ 29579 h 152377"/>
              <a:gd name="connsiteX51" fmla="*/ 78430 w 125487"/>
              <a:gd name="connsiteY51" fmla="*/ 24649 h 152377"/>
              <a:gd name="connsiteX52" fmla="*/ 67674 w 125487"/>
              <a:gd name="connsiteY52" fmla="*/ 18823 h 152377"/>
              <a:gd name="connsiteX53" fmla="*/ 64536 w 125487"/>
              <a:gd name="connsiteY53" fmla="*/ 12101 h 152377"/>
              <a:gd name="connsiteX54" fmla="*/ 64536 w 125487"/>
              <a:gd name="connsiteY54" fmla="*/ 12101 h 152377"/>
              <a:gd name="connsiteX55" fmla="*/ 62744 w 125487"/>
              <a:gd name="connsiteY55" fmla="*/ 9412 h 152377"/>
              <a:gd name="connsiteX56" fmla="*/ 60055 w 125487"/>
              <a:gd name="connsiteY56" fmla="*/ 11204 h 152377"/>
              <a:gd name="connsiteX57" fmla="*/ 60055 w 125487"/>
              <a:gd name="connsiteY57" fmla="*/ 11204 h 152377"/>
              <a:gd name="connsiteX58" fmla="*/ 60055 w 125487"/>
              <a:gd name="connsiteY58" fmla="*/ 11204 h 152377"/>
              <a:gd name="connsiteX59" fmla="*/ 52436 w 125487"/>
              <a:gd name="connsiteY59" fmla="*/ 22409 h 152377"/>
              <a:gd name="connsiteX60" fmla="*/ 50643 w 125487"/>
              <a:gd name="connsiteY60" fmla="*/ 23305 h 152377"/>
              <a:gd name="connsiteX61" fmla="*/ 43472 w 125487"/>
              <a:gd name="connsiteY61" fmla="*/ 27339 h 152377"/>
              <a:gd name="connsiteX62" fmla="*/ 38094 w 125487"/>
              <a:gd name="connsiteY62" fmla="*/ 47058 h 152377"/>
              <a:gd name="connsiteX63" fmla="*/ 47506 w 125487"/>
              <a:gd name="connsiteY63" fmla="*/ 67674 h 152377"/>
              <a:gd name="connsiteX64" fmla="*/ 47506 w 125487"/>
              <a:gd name="connsiteY64" fmla="*/ 68570 h 152377"/>
              <a:gd name="connsiteX65" fmla="*/ 46610 w 125487"/>
              <a:gd name="connsiteY65" fmla="*/ 84256 h 152377"/>
              <a:gd name="connsiteX66" fmla="*/ 34957 w 125487"/>
              <a:gd name="connsiteY66" fmla="*/ 90979 h 152377"/>
              <a:gd name="connsiteX67" fmla="*/ 25546 w 125487"/>
              <a:gd name="connsiteY67" fmla="*/ 93668 h 152377"/>
              <a:gd name="connsiteX68" fmla="*/ 33165 w 125487"/>
              <a:gd name="connsiteY68" fmla="*/ 37198 h 152377"/>
              <a:gd name="connsiteX69" fmla="*/ 41680 w 125487"/>
              <a:gd name="connsiteY69" fmla="*/ 14342 h 152377"/>
              <a:gd name="connsiteX70" fmla="*/ 63640 w 125487"/>
              <a:gd name="connsiteY70" fmla="*/ 4930 h 152377"/>
              <a:gd name="connsiteX71" fmla="*/ 85601 w 125487"/>
              <a:gd name="connsiteY71" fmla="*/ 14342 h 152377"/>
              <a:gd name="connsiteX72" fmla="*/ 94116 w 125487"/>
              <a:gd name="connsiteY72" fmla="*/ 37198 h 152377"/>
              <a:gd name="connsiteX73" fmla="*/ 102631 w 125487"/>
              <a:gd name="connsiteY73" fmla="*/ 94116 h 152377"/>
              <a:gd name="connsiteX74" fmla="*/ 92771 w 125487"/>
              <a:gd name="connsiteY74" fmla="*/ 91427 h 152377"/>
              <a:gd name="connsiteX75" fmla="*/ 82015 w 125487"/>
              <a:gd name="connsiteY75" fmla="*/ 8425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5487" h="152377">
                <a:moveTo>
                  <a:pt x="129073" y="127729"/>
                </a:moveTo>
                <a:cubicBezTo>
                  <a:pt x="128625" y="113835"/>
                  <a:pt x="121454" y="102631"/>
                  <a:pt x="109353" y="96357"/>
                </a:cubicBezTo>
                <a:cubicBezTo>
                  <a:pt x="109353" y="95909"/>
                  <a:pt x="109353" y="95460"/>
                  <a:pt x="108905" y="95012"/>
                </a:cubicBezTo>
                <a:cubicBezTo>
                  <a:pt x="99046" y="77534"/>
                  <a:pt x="98597" y="56918"/>
                  <a:pt x="99046" y="36750"/>
                </a:cubicBezTo>
                <a:cubicBezTo>
                  <a:pt x="99494" y="26890"/>
                  <a:pt x="95908" y="17479"/>
                  <a:pt x="89186" y="10756"/>
                </a:cubicBezTo>
                <a:cubicBezTo>
                  <a:pt x="82463" y="4034"/>
                  <a:pt x="73500" y="0"/>
                  <a:pt x="64088" y="0"/>
                </a:cubicBezTo>
                <a:cubicBezTo>
                  <a:pt x="64088" y="0"/>
                  <a:pt x="64088" y="0"/>
                  <a:pt x="64088" y="0"/>
                </a:cubicBezTo>
                <a:cubicBezTo>
                  <a:pt x="64088" y="0"/>
                  <a:pt x="64088" y="0"/>
                  <a:pt x="64088" y="0"/>
                </a:cubicBezTo>
                <a:cubicBezTo>
                  <a:pt x="64088" y="0"/>
                  <a:pt x="64088" y="0"/>
                  <a:pt x="63640" y="0"/>
                </a:cubicBezTo>
                <a:cubicBezTo>
                  <a:pt x="54229" y="0"/>
                  <a:pt x="45265" y="4034"/>
                  <a:pt x="38991" y="10756"/>
                </a:cubicBezTo>
                <a:cubicBezTo>
                  <a:pt x="32268" y="17927"/>
                  <a:pt x="28683" y="26890"/>
                  <a:pt x="29131" y="36750"/>
                </a:cubicBezTo>
                <a:cubicBezTo>
                  <a:pt x="30027" y="55125"/>
                  <a:pt x="29131" y="76189"/>
                  <a:pt x="20168" y="95909"/>
                </a:cubicBezTo>
                <a:cubicBezTo>
                  <a:pt x="7619" y="102183"/>
                  <a:pt x="448" y="113387"/>
                  <a:pt x="0" y="127729"/>
                </a:cubicBezTo>
                <a:lnTo>
                  <a:pt x="0" y="150137"/>
                </a:lnTo>
                <a:cubicBezTo>
                  <a:pt x="0" y="151482"/>
                  <a:pt x="896" y="152378"/>
                  <a:pt x="2241" y="152378"/>
                </a:cubicBezTo>
                <a:cubicBezTo>
                  <a:pt x="3585" y="152378"/>
                  <a:pt x="4482" y="151482"/>
                  <a:pt x="4482" y="150137"/>
                </a:cubicBezTo>
                <a:lnTo>
                  <a:pt x="4482" y="127729"/>
                </a:lnTo>
                <a:cubicBezTo>
                  <a:pt x="4930" y="110698"/>
                  <a:pt x="16582" y="98597"/>
                  <a:pt x="36302" y="95460"/>
                </a:cubicBezTo>
                <a:cubicBezTo>
                  <a:pt x="43024" y="94116"/>
                  <a:pt x="47954" y="91427"/>
                  <a:pt x="51091" y="86945"/>
                </a:cubicBezTo>
                <a:cubicBezTo>
                  <a:pt x="53332" y="83360"/>
                  <a:pt x="54229" y="78430"/>
                  <a:pt x="53780" y="73052"/>
                </a:cubicBezTo>
                <a:cubicBezTo>
                  <a:pt x="56918" y="75293"/>
                  <a:pt x="60951" y="76637"/>
                  <a:pt x="64985" y="76637"/>
                </a:cubicBezTo>
                <a:cubicBezTo>
                  <a:pt x="69018" y="76637"/>
                  <a:pt x="72603" y="75741"/>
                  <a:pt x="75741" y="73948"/>
                </a:cubicBezTo>
                <a:cubicBezTo>
                  <a:pt x="75293" y="79326"/>
                  <a:pt x="76189" y="83808"/>
                  <a:pt x="78430" y="87393"/>
                </a:cubicBezTo>
                <a:cubicBezTo>
                  <a:pt x="81567" y="91875"/>
                  <a:pt x="86497" y="95012"/>
                  <a:pt x="93219" y="95909"/>
                </a:cubicBezTo>
                <a:cubicBezTo>
                  <a:pt x="112491" y="99494"/>
                  <a:pt x="124591" y="111595"/>
                  <a:pt x="125039" y="128177"/>
                </a:cubicBezTo>
                <a:lnTo>
                  <a:pt x="125039" y="150585"/>
                </a:lnTo>
                <a:cubicBezTo>
                  <a:pt x="125039" y="151930"/>
                  <a:pt x="125936" y="152826"/>
                  <a:pt x="127280" y="152826"/>
                </a:cubicBezTo>
                <a:cubicBezTo>
                  <a:pt x="128625" y="152826"/>
                  <a:pt x="129521" y="151930"/>
                  <a:pt x="129521" y="150585"/>
                </a:cubicBezTo>
                <a:lnTo>
                  <a:pt x="129521" y="127729"/>
                </a:lnTo>
                <a:close/>
                <a:moveTo>
                  <a:pt x="43024" y="45713"/>
                </a:moveTo>
                <a:cubicBezTo>
                  <a:pt x="41680" y="39887"/>
                  <a:pt x="43024" y="34061"/>
                  <a:pt x="47058" y="30924"/>
                </a:cubicBezTo>
                <a:cubicBezTo>
                  <a:pt x="48851" y="29579"/>
                  <a:pt x="50643" y="28683"/>
                  <a:pt x="52884" y="27787"/>
                </a:cubicBezTo>
                <a:cubicBezTo>
                  <a:pt x="53332" y="27339"/>
                  <a:pt x="54229" y="27339"/>
                  <a:pt x="54677" y="26890"/>
                </a:cubicBezTo>
                <a:cubicBezTo>
                  <a:pt x="57814" y="25098"/>
                  <a:pt x="60503" y="22857"/>
                  <a:pt x="62296" y="19272"/>
                </a:cubicBezTo>
                <a:cubicBezTo>
                  <a:pt x="62744" y="20168"/>
                  <a:pt x="63640" y="21064"/>
                  <a:pt x="64088" y="21512"/>
                </a:cubicBezTo>
                <a:cubicBezTo>
                  <a:pt x="68122" y="26890"/>
                  <a:pt x="73500" y="28235"/>
                  <a:pt x="77533" y="29131"/>
                </a:cubicBezTo>
                <a:cubicBezTo>
                  <a:pt x="80222" y="29579"/>
                  <a:pt x="83360" y="30027"/>
                  <a:pt x="84704" y="32268"/>
                </a:cubicBezTo>
                <a:cubicBezTo>
                  <a:pt x="86049" y="33613"/>
                  <a:pt x="86049" y="35854"/>
                  <a:pt x="85601" y="37646"/>
                </a:cubicBezTo>
                <a:cubicBezTo>
                  <a:pt x="85601" y="39439"/>
                  <a:pt x="85152" y="41232"/>
                  <a:pt x="84704" y="42576"/>
                </a:cubicBezTo>
                <a:cubicBezTo>
                  <a:pt x="84704" y="43473"/>
                  <a:pt x="84256" y="44369"/>
                  <a:pt x="84256" y="45265"/>
                </a:cubicBezTo>
                <a:cubicBezTo>
                  <a:pt x="83360" y="51540"/>
                  <a:pt x="80671" y="59607"/>
                  <a:pt x="78878" y="63192"/>
                </a:cubicBezTo>
                <a:cubicBezTo>
                  <a:pt x="75293" y="69018"/>
                  <a:pt x="70811" y="71707"/>
                  <a:pt x="64536" y="71707"/>
                </a:cubicBezTo>
                <a:cubicBezTo>
                  <a:pt x="55125" y="71707"/>
                  <a:pt x="47506" y="63192"/>
                  <a:pt x="43024" y="45713"/>
                </a:cubicBezTo>
                <a:close/>
                <a:moveTo>
                  <a:pt x="82015" y="84256"/>
                </a:moveTo>
                <a:cubicBezTo>
                  <a:pt x="79326" y="80223"/>
                  <a:pt x="79326" y="75293"/>
                  <a:pt x="80671" y="68570"/>
                </a:cubicBezTo>
                <a:cubicBezTo>
                  <a:pt x="81567" y="67674"/>
                  <a:pt x="82015" y="66777"/>
                  <a:pt x="82911" y="65881"/>
                </a:cubicBezTo>
                <a:cubicBezTo>
                  <a:pt x="85601" y="61848"/>
                  <a:pt x="88289" y="52436"/>
                  <a:pt x="89186" y="46162"/>
                </a:cubicBezTo>
                <a:cubicBezTo>
                  <a:pt x="89186" y="46162"/>
                  <a:pt x="89186" y="46162"/>
                  <a:pt x="89186" y="46162"/>
                </a:cubicBezTo>
                <a:cubicBezTo>
                  <a:pt x="89186" y="45265"/>
                  <a:pt x="89634" y="44369"/>
                  <a:pt x="89634" y="43473"/>
                </a:cubicBezTo>
                <a:cubicBezTo>
                  <a:pt x="90082" y="41680"/>
                  <a:pt x="90082" y="39887"/>
                  <a:pt x="90530" y="38094"/>
                </a:cubicBezTo>
                <a:cubicBezTo>
                  <a:pt x="90978" y="34509"/>
                  <a:pt x="90082" y="31820"/>
                  <a:pt x="88738" y="29579"/>
                </a:cubicBezTo>
                <a:cubicBezTo>
                  <a:pt x="86497" y="26442"/>
                  <a:pt x="82463" y="25546"/>
                  <a:pt x="78430" y="24649"/>
                </a:cubicBezTo>
                <a:cubicBezTo>
                  <a:pt x="73052" y="23753"/>
                  <a:pt x="69915" y="21960"/>
                  <a:pt x="67674" y="18823"/>
                </a:cubicBezTo>
                <a:cubicBezTo>
                  <a:pt x="65881" y="16134"/>
                  <a:pt x="64536" y="13445"/>
                  <a:pt x="64536" y="12101"/>
                </a:cubicBezTo>
                <a:cubicBezTo>
                  <a:pt x="64536" y="12101"/>
                  <a:pt x="64536" y="12101"/>
                  <a:pt x="64536" y="12101"/>
                </a:cubicBezTo>
                <a:cubicBezTo>
                  <a:pt x="64536" y="10756"/>
                  <a:pt x="64088" y="9860"/>
                  <a:pt x="62744" y="9412"/>
                </a:cubicBezTo>
                <a:cubicBezTo>
                  <a:pt x="61399" y="9412"/>
                  <a:pt x="60503" y="9860"/>
                  <a:pt x="60055" y="11204"/>
                </a:cubicBezTo>
                <a:lnTo>
                  <a:pt x="60055" y="11204"/>
                </a:lnTo>
                <a:cubicBezTo>
                  <a:pt x="60055" y="11204"/>
                  <a:pt x="60055" y="11204"/>
                  <a:pt x="60055" y="11204"/>
                </a:cubicBezTo>
                <a:cubicBezTo>
                  <a:pt x="59158" y="16582"/>
                  <a:pt x="56469" y="20616"/>
                  <a:pt x="52436" y="22409"/>
                </a:cubicBezTo>
                <a:lnTo>
                  <a:pt x="50643" y="23305"/>
                </a:lnTo>
                <a:cubicBezTo>
                  <a:pt x="48402" y="24201"/>
                  <a:pt x="45713" y="25546"/>
                  <a:pt x="43472" y="27339"/>
                </a:cubicBezTo>
                <a:cubicBezTo>
                  <a:pt x="38094" y="31820"/>
                  <a:pt x="36302" y="39439"/>
                  <a:pt x="38094" y="47058"/>
                </a:cubicBezTo>
                <a:cubicBezTo>
                  <a:pt x="40335" y="56021"/>
                  <a:pt x="43921" y="62744"/>
                  <a:pt x="47506" y="67674"/>
                </a:cubicBezTo>
                <a:cubicBezTo>
                  <a:pt x="47506" y="68122"/>
                  <a:pt x="47506" y="68122"/>
                  <a:pt x="47506" y="68570"/>
                </a:cubicBezTo>
                <a:cubicBezTo>
                  <a:pt x="49299" y="75293"/>
                  <a:pt x="48851" y="80671"/>
                  <a:pt x="46610" y="84256"/>
                </a:cubicBezTo>
                <a:cubicBezTo>
                  <a:pt x="43921" y="88738"/>
                  <a:pt x="38543" y="90530"/>
                  <a:pt x="34957" y="90979"/>
                </a:cubicBezTo>
                <a:cubicBezTo>
                  <a:pt x="31372" y="91427"/>
                  <a:pt x="28235" y="92323"/>
                  <a:pt x="25546" y="93668"/>
                </a:cubicBezTo>
                <a:cubicBezTo>
                  <a:pt x="33165" y="74396"/>
                  <a:pt x="33613" y="54677"/>
                  <a:pt x="33165" y="37198"/>
                </a:cubicBezTo>
                <a:cubicBezTo>
                  <a:pt x="32716" y="28683"/>
                  <a:pt x="35854" y="20616"/>
                  <a:pt x="41680" y="14342"/>
                </a:cubicBezTo>
                <a:cubicBezTo>
                  <a:pt x="47506" y="8067"/>
                  <a:pt x="55573" y="4930"/>
                  <a:pt x="63640" y="4930"/>
                </a:cubicBezTo>
                <a:cubicBezTo>
                  <a:pt x="71707" y="4930"/>
                  <a:pt x="79774" y="8515"/>
                  <a:pt x="85601" y="14342"/>
                </a:cubicBezTo>
                <a:cubicBezTo>
                  <a:pt x="91427" y="20616"/>
                  <a:pt x="94564" y="28683"/>
                  <a:pt x="94116" y="37198"/>
                </a:cubicBezTo>
                <a:cubicBezTo>
                  <a:pt x="93668" y="49299"/>
                  <a:pt x="92771" y="73948"/>
                  <a:pt x="102631" y="94116"/>
                </a:cubicBezTo>
                <a:cubicBezTo>
                  <a:pt x="99494" y="92771"/>
                  <a:pt x="96357" y="91875"/>
                  <a:pt x="92771" y="91427"/>
                </a:cubicBezTo>
                <a:cubicBezTo>
                  <a:pt x="90082" y="90530"/>
                  <a:pt x="85152" y="88738"/>
                  <a:pt x="82015" y="84256"/>
                </a:cubicBezTo>
                <a:close/>
              </a:path>
            </a:pathLst>
          </a:custGeom>
          <a:solidFill>
            <a:srgbClr val="231F20"/>
          </a:solidFill>
          <a:ln w="4477" cap="flat">
            <a:noFill/>
            <a:prstDash val="solid"/>
            <a:miter/>
          </a:ln>
        </p:spPr>
        <p:txBody>
          <a:bodyPr rtlCol="0" anchor="ctr"/>
          <a:lstStyle/>
          <a:p>
            <a:endParaRPr lang="en-US"/>
          </a:p>
        </p:txBody>
      </p:sp>
      <p:sp>
        <p:nvSpPr>
          <p:cNvPr id="2545" name="Freeform: Shape 2544">
            <a:extLst>
              <a:ext uri="{FF2B5EF4-FFF2-40B4-BE49-F238E27FC236}">
                <a16:creationId xmlns:a16="http://schemas.microsoft.com/office/drawing/2014/main" id="{850C3E00-99D6-4455-9DCF-07DCD7D03CD6}"/>
              </a:ext>
              <a:ext uri="{C183D7F6-B498-43B3-948B-1728B52AA6E4}">
                <adec:decorative xmlns:adec="http://schemas.microsoft.com/office/drawing/2017/decorative" val="1"/>
              </a:ext>
            </a:extLst>
          </p:cNvPr>
          <p:cNvSpPr>
            <a:spLocks noChangeAspect="1"/>
          </p:cNvSpPr>
          <p:nvPr/>
        </p:nvSpPr>
        <p:spPr>
          <a:xfrm>
            <a:off x="7744361" y="5560815"/>
            <a:ext cx="138933" cy="152378"/>
          </a:xfrm>
          <a:custGeom>
            <a:avLst/>
            <a:gdLst>
              <a:gd name="connsiteX0" fmla="*/ 138485 w 138932"/>
              <a:gd name="connsiteY0" fmla="*/ 132658 h 152377"/>
              <a:gd name="connsiteX1" fmla="*/ 101735 w 138932"/>
              <a:gd name="connsiteY1" fmla="*/ 95460 h 152377"/>
              <a:gd name="connsiteX2" fmla="*/ 86049 w 138932"/>
              <a:gd name="connsiteY2" fmla="*/ 78878 h 152377"/>
              <a:gd name="connsiteX3" fmla="*/ 86497 w 138932"/>
              <a:gd name="connsiteY3" fmla="*/ 74844 h 152377"/>
              <a:gd name="connsiteX4" fmla="*/ 99046 w 138932"/>
              <a:gd name="connsiteY4" fmla="*/ 55573 h 152377"/>
              <a:gd name="connsiteX5" fmla="*/ 105320 w 138932"/>
              <a:gd name="connsiteY5" fmla="*/ 46610 h 152377"/>
              <a:gd name="connsiteX6" fmla="*/ 101735 w 138932"/>
              <a:gd name="connsiteY6" fmla="*/ 38543 h 152377"/>
              <a:gd name="connsiteX7" fmla="*/ 100390 w 138932"/>
              <a:gd name="connsiteY7" fmla="*/ 17030 h 152377"/>
              <a:gd name="connsiteX8" fmla="*/ 69018 w 138932"/>
              <a:gd name="connsiteY8" fmla="*/ 0 h 152377"/>
              <a:gd name="connsiteX9" fmla="*/ 37646 w 138932"/>
              <a:gd name="connsiteY9" fmla="*/ 17927 h 152377"/>
              <a:gd name="connsiteX10" fmla="*/ 38543 w 138932"/>
              <a:gd name="connsiteY10" fmla="*/ 38991 h 152377"/>
              <a:gd name="connsiteX11" fmla="*/ 34957 w 138932"/>
              <a:gd name="connsiteY11" fmla="*/ 47058 h 152377"/>
              <a:gd name="connsiteX12" fmla="*/ 42128 w 138932"/>
              <a:gd name="connsiteY12" fmla="*/ 56021 h 152377"/>
              <a:gd name="connsiteX13" fmla="*/ 51988 w 138932"/>
              <a:gd name="connsiteY13" fmla="*/ 73052 h 152377"/>
              <a:gd name="connsiteX14" fmla="*/ 52436 w 138932"/>
              <a:gd name="connsiteY14" fmla="*/ 78878 h 152377"/>
              <a:gd name="connsiteX15" fmla="*/ 36750 w 138932"/>
              <a:gd name="connsiteY15" fmla="*/ 95460 h 152377"/>
              <a:gd name="connsiteX16" fmla="*/ 0 w 138932"/>
              <a:gd name="connsiteY16" fmla="*/ 132658 h 152377"/>
              <a:gd name="connsiteX17" fmla="*/ 0 w 138932"/>
              <a:gd name="connsiteY17" fmla="*/ 135347 h 152377"/>
              <a:gd name="connsiteX18" fmla="*/ 0 w 138932"/>
              <a:gd name="connsiteY18" fmla="*/ 151482 h 152377"/>
              <a:gd name="connsiteX19" fmla="*/ 2241 w 138932"/>
              <a:gd name="connsiteY19" fmla="*/ 153722 h 152377"/>
              <a:gd name="connsiteX20" fmla="*/ 2241 w 138932"/>
              <a:gd name="connsiteY20" fmla="*/ 153722 h 152377"/>
              <a:gd name="connsiteX21" fmla="*/ 4482 w 138932"/>
              <a:gd name="connsiteY21" fmla="*/ 151482 h 152377"/>
              <a:gd name="connsiteX22" fmla="*/ 4482 w 138932"/>
              <a:gd name="connsiteY22" fmla="*/ 135347 h 152377"/>
              <a:gd name="connsiteX23" fmla="*/ 4482 w 138932"/>
              <a:gd name="connsiteY23" fmla="*/ 132658 h 152377"/>
              <a:gd name="connsiteX24" fmla="*/ 36750 w 138932"/>
              <a:gd name="connsiteY24" fmla="*/ 99494 h 152377"/>
              <a:gd name="connsiteX25" fmla="*/ 56918 w 138932"/>
              <a:gd name="connsiteY25" fmla="*/ 78430 h 152377"/>
              <a:gd name="connsiteX26" fmla="*/ 56918 w 138932"/>
              <a:gd name="connsiteY26" fmla="*/ 75741 h 152377"/>
              <a:gd name="connsiteX27" fmla="*/ 69018 w 138932"/>
              <a:gd name="connsiteY27" fmla="*/ 78430 h 152377"/>
              <a:gd name="connsiteX28" fmla="*/ 73052 w 138932"/>
              <a:gd name="connsiteY28" fmla="*/ 78430 h 152377"/>
              <a:gd name="connsiteX29" fmla="*/ 82463 w 138932"/>
              <a:gd name="connsiteY29" fmla="*/ 76637 h 152377"/>
              <a:gd name="connsiteX30" fmla="*/ 82463 w 138932"/>
              <a:gd name="connsiteY30" fmla="*/ 78430 h 152377"/>
              <a:gd name="connsiteX31" fmla="*/ 102631 w 138932"/>
              <a:gd name="connsiteY31" fmla="*/ 99494 h 152377"/>
              <a:gd name="connsiteX32" fmla="*/ 134899 w 138932"/>
              <a:gd name="connsiteY32" fmla="*/ 132658 h 152377"/>
              <a:gd name="connsiteX33" fmla="*/ 134899 w 138932"/>
              <a:gd name="connsiteY33" fmla="*/ 135347 h 152377"/>
              <a:gd name="connsiteX34" fmla="*/ 134899 w 138932"/>
              <a:gd name="connsiteY34" fmla="*/ 151482 h 152377"/>
              <a:gd name="connsiteX35" fmla="*/ 137140 w 138932"/>
              <a:gd name="connsiteY35" fmla="*/ 153722 h 152377"/>
              <a:gd name="connsiteX36" fmla="*/ 137140 w 138932"/>
              <a:gd name="connsiteY36" fmla="*/ 153722 h 152377"/>
              <a:gd name="connsiteX37" fmla="*/ 139381 w 138932"/>
              <a:gd name="connsiteY37" fmla="*/ 151482 h 152377"/>
              <a:gd name="connsiteX38" fmla="*/ 139381 w 138932"/>
              <a:gd name="connsiteY38" fmla="*/ 135347 h 152377"/>
              <a:gd name="connsiteX39" fmla="*/ 138485 w 138932"/>
              <a:gd name="connsiteY39" fmla="*/ 132658 h 152377"/>
              <a:gd name="connsiteX40" fmla="*/ 100838 w 138932"/>
              <a:gd name="connsiteY40" fmla="*/ 46161 h 152377"/>
              <a:gd name="connsiteX41" fmla="*/ 99494 w 138932"/>
              <a:gd name="connsiteY41" fmla="*/ 50195 h 152377"/>
              <a:gd name="connsiteX42" fmla="*/ 99494 w 138932"/>
              <a:gd name="connsiteY42" fmla="*/ 42576 h 152377"/>
              <a:gd name="connsiteX43" fmla="*/ 99494 w 138932"/>
              <a:gd name="connsiteY43" fmla="*/ 42576 h 152377"/>
              <a:gd name="connsiteX44" fmla="*/ 100838 w 138932"/>
              <a:gd name="connsiteY44" fmla="*/ 46161 h 152377"/>
              <a:gd name="connsiteX45" fmla="*/ 41232 w 138932"/>
              <a:gd name="connsiteY45" fmla="*/ 19271 h 152377"/>
              <a:gd name="connsiteX46" fmla="*/ 68570 w 138932"/>
              <a:gd name="connsiteY46" fmla="*/ 4033 h 152377"/>
              <a:gd name="connsiteX47" fmla="*/ 95909 w 138932"/>
              <a:gd name="connsiteY47" fmla="*/ 18823 h 152377"/>
              <a:gd name="connsiteX48" fmla="*/ 98597 w 138932"/>
              <a:gd name="connsiteY48" fmla="*/ 30476 h 152377"/>
              <a:gd name="connsiteX49" fmla="*/ 95460 w 138932"/>
              <a:gd name="connsiteY49" fmla="*/ 24201 h 152377"/>
              <a:gd name="connsiteX50" fmla="*/ 93668 w 138932"/>
              <a:gd name="connsiteY50" fmla="*/ 23305 h 152377"/>
              <a:gd name="connsiteX51" fmla="*/ 64088 w 138932"/>
              <a:gd name="connsiteY51" fmla="*/ 23305 h 152377"/>
              <a:gd name="connsiteX52" fmla="*/ 61848 w 138932"/>
              <a:gd name="connsiteY52" fmla="*/ 22409 h 152377"/>
              <a:gd name="connsiteX53" fmla="*/ 60055 w 138932"/>
              <a:gd name="connsiteY53" fmla="*/ 18375 h 152377"/>
              <a:gd name="connsiteX54" fmla="*/ 59607 w 138932"/>
              <a:gd name="connsiteY54" fmla="*/ 16582 h 152377"/>
              <a:gd name="connsiteX55" fmla="*/ 57814 w 138932"/>
              <a:gd name="connsiteY55" fmla="*/ 16134 h 152377"/>
              <a:gd name="connsiteX56" fmla="*/ 40784 w 138932"/>
              <a:gd name="connsiteY56" fmla="*/ 34061 h 152377"/>
              <a:gd name="connsiteX57" fmla="*/ 40784 w 138932"/>
              <a:gd name="connsiteY57" fmla="*/ 34061 h 152377"/>
              <a:gd name="connsiteX58" fmla="*/ 41232 w 138932"/>
              <a:gd name="connsiteY58" fmla="*/ 19271 h 152377"/>
              <a:gd name="connsiteX59" fmla="*/ 38991 w 138932"/>
              <a:gd name="connsiteY59" fmla="*/ 46161 h 152377"/>
              <a:gd name="connsiteX60" fmla="*/ 40784 w 138932"/>
              <a:gd name="connsiteY60" fmla="*/ 41680 h 152377"/>
              <a:gd name="connsiteX61" fmla="*/ 41232 w 138932"/>
              <a:gd name="connsiteY61" fmla="*/ 42128 h 152377"/>
              <a:gd name="connsiteX62" fmla="*/ 41232 w 138932"/>
              <a:gd name="connsiteY62" fmla="*/ 50195 h 152377"/>
              <a:gd name="connsiteX63" fmla="*/ 38991 w 138932"/>
              <a:gd name="connsiteY63" fmla="*/ 46161 h 152377"/>
              <a:gd name="connsiteX64" fmla="*/ 68122 w 138932"/>
              <a:gd name="connsiteY64" fmla="*/ 73948 h 152377"/>
              <a:gd name="connsiteX65" fmla="*/ 45713 w 138932"/>
              <a:gd name="connsiteY65" fmla="*/ 51540 h 152377"/>
              <a:gd name="connsiteX66" fmla="*/ 45713 w 138932"/>
              <a:gd name="connsiteY66" fmla="*/ 34061 h 152377"/>
              <a:gd name="connsiteX67" fmla="*/ 56469 w 138932"/>
              <a:gd name="connsiteY67" fmla="*/ 21064 h 152377"/>
              <a:gd name="connsiteX68" fmla="*/ 59159 w 138932"/>
              <a:gd name="connsiteY68" fmla="*/ 25546 h 152377"/>
              <a:gd name="connsiteX69" fmla="*/ 64537 w 138932"/>
              <a:gd name="connsiteY69" fmla="*/ 27787 h 152377"/>
              <a:gd name="connsiteX70" fmla="*/ 92771 w 138932"/>
              <a:gd name="connsiteY70" fmla="*/ 27787 h 152377"/>
              <a:gd name="connsiteX71" fmla="*/ 95012 w 138932"/>
              <a:gd name="connsiteY71" fmla="*/ 34061 h 152377"/>
              <a:gd name="connsiteX72" fmla="*/ 95012 w 138932"/>
              <a:gd name="connsiteY72" fmla="*/ 51540 h 152377"/>
              <a:gd name="connsiteX73" fmla="*/ 72604 w 138932"/>
              <a:gd name="connsiteY73" fmla="*/ 73948 h 152377"/>
              <a:gd name="connsiteX74" fmla="*/ 68122 w 138932"/>
              <a:gd name="connsiteY74" fmla="*/ 7394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38932" h="152377">
                <a:moveTo>
                  <a:pt x="138485" y="132658"/>
                </a:moveTo>
                <a:cubicBezTo>
                  <a:pt x="138037" y="111594"/>
                  <a:pt x="121902" y="95460"/>
                  <a:pt x="101735" y="95460"/>
                </a:cubicBezTo>
                <a:cubicBezTo>
                  <a:pt x="92771" y="95460"/>
                  <a:pt x="86049" y="87841"/>
                  <a:pt x="86049" y="78878"/>
                </a:cubicBezTo>
                <a:cubicBezTo>
                  <a:pt x="86049" y="77981"/>
                  <a:pt x="86049" y="76637"/>
                  <a:pt x="86497" y="74844"/>
                </a:cubicBezTo>
                <a:cubicBezTo>
                  <a:pt x="93219" y="70811"/>
                  <a:pt x="98149" y="63640"/>
                  <a:pt x="99046" y="55573"/>
                </a:cubicBezTo>
                <a:cubicBezTo>
                  <a:pt x="102631" y="54677"/>
                  <a:pt x="105320" y="51091"/>
                  <a:pt x="105320" y="46610"/>
                </a:cubicBezTo>
                <a:cubicBezTo>
                  <a:pt x="105320" y="43024"/>
                  <a:pt x="103976" y="40335"/>
                  <a:pt x="101735" y="38543"/>
                </a:cubicBezTo>
                <a:cubicBezTo>
                  <a:pt x="104424" y="31372"/>
                  <a:pt x="103976" y="23753"/>
                  <a:pt x="100390" y="17030"/>
                </a:cubicBezTo>
                <a:cubicBezTo>
                  <a:pt x="94564" y="6274"/>
                  <a:pt x="82463" y="0"/>
                  <a:pt x="69018" y="0"/>
                </a:cubicBezTo>
                <a:cubicBezTo>
                  <a:pt x="55125" y="0"/>
                  <a:pt x="42576" y="7171"/>
                  <a:pt x="37646" y="17927"/>
                </a:cubicBezTo>
                <a:cubicBezTo>
                  <a:pt x="34509" y="24649"/>
                  <a:pt x="34957" y="32268"/>
                  <a:pt x="38543" y="38991"/>
                </a:cubicBezTo>
                <a:cubicBezTo>
                  <a:pt x="36302" y="40335"/>
                  <a:pt x="34957" y="43473"/>
                  <a:pt x="34957" y="47058"/>
                </a:cubicBezTo>
                <a:cubicBezTo>
                  <a:pt x="34957" y="51988"/>
                  <a:pt x="38094" y="56021"/>
                  <a:pt x="42128" y="56021"/>
                </a:cubicBezTo>
                <a:cubicBezTo>
                  <a:pt x="43024" y="62744"/>
                  <a:pt x="46610" y="69018"/>
                  <a:pt x="51988" y="73052"/>
                </a:cubicBezTo>
                <a:cubicBezTo>
                  <a:pt x="52436" y="74844"/>
                  <a:pt x="52436" y="77533"/>
                  <a:pt x="52436" y="78878"/>
                </a:cubicBezTo>
                <a:cubicBezTo>
                  <a:pt x="52436" y="88290"/>
                  <a:pt x="45265" y="95460"/>
                  <a:pt x="36750" y="95460"/>
                </a:cubicBezTo>
                <a:cubicBezTo>
                  <a:pt x="16582" y="95460"/>
                  <a:pt x="448" y="112043"/>
                  <a:pt x="0" y="132658"/>
                </a:cubicBezTo>
                <a:lnTo>
                  <a:pt x="0" y="135347"/>
                </a:lnTo>
                <a:cubicBezTo>
                  <a:pt x="0" y="140725"/>
                  <a:pt x="0" y="146552"/>
                  <a:pt x="0" y="151482"/>
                </a:cubicBezTo>
                <a:cubicBezTo>
                  <a:pt x="0" y="152826"/>
                  <a:pt x="896" y="153722"/>
                  <a:pt x="2241" y="153722"/>
                </a:cubicBezTo>
                <a:cubicBezTo>
                  <a:pt x="2241" y="153722"/>
                  <a:pt x="2241" y="153722"/>
                  <a:pt x="2241" y="153722"/>
                </a:cubicBezTo>
                <a:cubicBezTo>
                  <a:pt x="3585" y="153722"/>
                  <a:pt x="4482" y="152826"/>
                  <a:pt x="4482" y="151482"/>
                </a:cubicBezTo>
                <a:cubicBezTo>
                  <a:pt x="4482" y="146552"/>
                  <a:pt x="4482" y="140725"/>
                  <a:pt x="4482" y="135347"/>
                </a:cubicBezTo>
                <a:lnTo>
                  <a:pt x="4482" y="132658"/>
                </a:lnTo>
                <a:cubicBezTo>
                  <a:pt x="4930" y="114283"/>
                  <a:pt x="19271" y="99494"/>
                  <a:pt x="36750" y="99494"/>
                </a:cubicBezTo>
                <a:cubicBezTo>
                  <a:pt x="47954" y="99494"/>
                  <a:pt x="56918" y="90082"/>
                  <a:pt x="56918" y="78430"/>
                </a:cubicBezTo>
                <a:cubicBezTo>
                  <a:pt x="56918" y="77981"/>
                  <a:pt x="56918" y="76637"/>
                  <a:pt x="56918" y="75741"/>
                </a:cubicBezTo>
                <a:cubicBezTo>
                  <a:pt x="60503" y="77533"/>
                  <a:pt x="64537" y="78430"/>
                  <a:pt x="69018" y="78430"/>
                </a:cubicBezTo>
                <a:lnTo>
                  <a:pt x="73052" y="78430"/>
                </a:lnTo>
                <a:cubicBezTo>
                  <a:pt x="76189" y="78430"/>
                  <a:pt x="79326" y="77981"/>
                  <a:pt x="82463" y="76637"/>
                </a:cubicBezTo>
                <a:cubicBezTo>
                  <a:pt x="82463" y="77085"/>
                  <a:pt x="82463" y="77981"/>
                  <a:pt x="82463" y="78430"/>
                </a:cubicBezTo>
                <a:cubicBezTo>
                  <a:pt x="82463" y="90082"/>
                  <a:pt x="91427" y="99494"/>
                  <a:pt x="102631" y="99494"/>
                </a:cubicBezTo>
                <a:cubicBezTo>
                  <a:pt x="120110" y="99494"/>
                  <a:pt x="134451" y="113835"/>
                  <a:pt x="134899" y="132658"/>
                </a:cubicBezTo>
                <a:lnTo>
                  <a:pt x="134899" y="135347"/>
                </a:lnTo>
                <a:cubicBezTo>
                  <a:pt x="134899" y="140725"/>
                  <a:pt x="134899" y="146552"/>
                  <a:pt x="134899" y="151482"/>
                </a:cubicBezTo>
                <a:cubicBezTo>
                  <a:pt x="134899" y="152826"/>
                  <a:pt x="135796" y="153722"/>
                  <a:pt x="137140" y="153722"/>
                </a:cubicBezTo>
                <a:cubicBezTo>
                  <a:pt x="137140" y="153722"/>
                  <a:pt x="137140" y="153722"/>
                  <a:pt x="137140" y="153722"/>
                </a:cubicBezTo>
                <a:cubicBezTo>
                  <a:pt x="138485" y="153722"/>
                  <a:pt x="139381" y="152826"/>
                  <a:pt x="139381" y="151482"/>
                </a:cubicBezTo>
                <a:cubicBezTo>
                  <a:pt x="139381" y="146103"/>
                  <a:pt x="139381" y="140277"/>
                  <a:pt x="139381" y="135347"/>
                </a:cubicBezTo>
                <a:lnTo>
                  <a:pt x="138485" y="132658"/>
                </a:lnTo>
                <a:close/>
                <a:moveTo>
                  <a:pt x="100838" y="46161"/>
                </a:moveTo>
                <a:cubicBezTo>
                  <a:pt x="100838" y="47954"/>
                  <a:pt x="100390" y="49299"/>
                  <a:pt x="99494" y="50195"/>
                </a:cubicBezTo>
                <a:lnTo>
                  <a:pt x="99494" y="42576"/>
                </a:lnTo>
                <a:cubicBezTo>
                  <a:pt x="99494" y="42576"/>
                  <a:pt x="99494" y="42576"/>
                  <a:pt x="99494" y="42576"/>
                </a:cubicBezTo>
                <a:cubicBezTo>
                  <a:pt x="99942" y="43473"/>
                  <a:pt x="100838" y="44817"/>
                  <a:pt x="100838" y="46161"/>
                </a:cubicBezTo>
                <a:close/>
                <a:moveTo>
                  <a:pt x="41232" y="19271"/>
                </a:moveTo>
                <a:cubicBezTo>
                  <a:pt x="45265" y="10308"/>
                  <a:pt x="56469" y="4033"/>
                  <a:pt x="68570" y="4033"/>
                </a:cubicBezTo>
                <a:cubicBezTo>
                  <a:pt x="80671" y="4033"/>
                  <a:pt x="90979" y="9860"/>
                  <a:pt x="95909" y="18823"/>
                </a:cubicBezTo>
                <a:cubicBezTo>
                  <a:pt x="98149" y="22409"/>
                  <a:pt x="98597" y="26442"/>
                  <a:pt x="98597" y="30476"/>
                </a:cubicBezTo>
                <a:cubicBezTo>
                  <a:pt x="97701" y="28235"/>
                  <a:pt x="96805" y="25994"/>
                  <a:pt x="95460" y="24201"/>
                </a:cubicBezTo>
                <a:cubicBezTo>
                  <a:pt x="95012" y="23753"/>
                  <a:pt x="94564" y="23305"/>
                  <a:pt x="93668" y="23305"/>
                </a:cubicBezTo>
                <a:lnTo>
                  <a:pt x="64088" y="23305"/>
                </a:lnTo>
                <a:cubicBezTo>
                  <a:pt x="63192" y="23305"/>
                  <a:pt x="62296" y="22857"/>
                  <a:pt x="61848" y="22409"/>
                </a:cubicBezTo>
                <a:cubicBezTo>
                  <a:pt x="60951" y="21512"/>
                  <a:pt x="60055" y="19719"/>
                  <a:pt x="60055" y="18375"/>
                </a:cubicBezTo>
                <a:cubicBezTo>
                  <a:pt x="60055" y="17927"/>
                  <a:pt x="60055" y="17030"/>
                  <a:pt x="59607" y="16582"/>
                </a:cubicBezTo>
                <a:cubicBezTo>
                  <a:pt x="59159" y="16134"/>
                  <a:pt x="58710" y="16134"/>
                  <a:pt x="57814" y="16134"/>
                </a:cubicBezTo>
                <a:cubicBezTo>
                  <a:pt x="51988" y="16134"/>
                  <a:pt x="40784" y="20168"/>
                  <a:pt x="40784" y="34061"/>
                </a:cubicBezTo>
                <a:lnTo>
                  <a:pt x="40784" y="34061"/>
                </a:lnTo>
                <a:cubicBezTo>
                  <a:pt x="38991" y="29131"/>
                  <a:pt x="38991" y="24201"/>
                  <a:pt x="41232" y="19271"/>
                </a:cubicBezTo>
                <a:close/>
                <a:moveTo>
                  <a:pt x="38991" y="46161"/>
                </a:moveTo>
                <a:cubicBezTo>
                  <a:pt x="38991" y="44369"/>
                  <a:pt x="39887" y="42576"/>
                  <a:pt x="40784" y="41680"/>
                </a:cubicBezTo>
                <a:cubicBezTo>
                  <a:pt x="40784" y="41680"/>
                  <a:pt x="41232" y="42128"/>
                  <a:pt x="41232" y="42128"/>
                </a:cubicBezTo>
                <a:lnTo>
                  <a:pt x="41232" y="50195"/>
                </a:lnTo>
                <a:cubicBezTo>
                  <a:pt x="39887" y="50195"/>
                  <a:pt x="38991" y="48850"/>
                  <a:pt x="38991" y="46161"/>
                </a:cubicBezTo>
                <a:close/>
                <a:moveTo>
                  <a:pt x="68122" y="73948"/>
                </a:moveTo>
                <a:cubicBezTo>
                  <a:pt x="55573" y="73948"/>
                  <a:pt x="45713" y="63640"/>
                  <a:pt x="45713" y="51540"/>
                </a:cubicBezTo>
                <a:lnTo>
                  <a:pt x="45713" y="34061"/>
                </a:lnTo>
                <a:cubicBezTo>
                  <a:pt x="45713" y="24201"/>
                  <a:pt x="52884" y="21512"/>
                  <a:pt x="56469" y="21064"/>
                </a:cubicBezTo>
                <a:cubicBezTo>
                  <a:pt x="56918" y="22857"/>
                  <a:pt x="57814" y="24201"/>
                  <a:pt x="59159" y="25546"/>
                </a:cubicBezTo>
                <a:cubicBezTo>
                  <a:pt x="60503" y="26890"/>
                  <a:pt x="62744" y="27787"/>
                  <a:pt x="64537" y="27787"/>
                </a:cubicBezTo>
                <a:lnTo>
                  <a:pt x="92771" y="27787"/>
                </a:lnTo>
                <a:cubicBezTo>
                  <a:pt x="94116" y="30027"/>
                  <a:pt x="95012" y="31820"/>
                  <a:pt x="95012" y="34061"/>
                </a:cubicBezTo>
                <a:lnTo>
                  <a:pt x="95012" y="51540"/>
                </a:lnTo>
                <a:cubicBezTo>
                  <a:pt x="95012" y="64088"/>
                  <a:pt x="84704" y="73948"/>
                  <a:pt x="72604" y="73948"/>
                </a:cubicBezTo>
                <a:lnTo>
                  <a:pt x="68122" y="73948"/>
                </a:lnTo>
                <a:close/>
              </a:path>
            </a:pathLst>
          </a:custGeom>
          <a:solidFill>
            <a:srgbClr val="231F20"/>
          </a:solidFill>
          <a:ln w="4477" cap="flat">
            <a:noFill/>
            <a:prstDash val="solid"/>
            <a:miter/>
          </a:ln>
        </p:spPr>
        <p:txBody>
          <a:bodyPr rtlCol="0" anchor="ctr"/>
          <a:lstStyle/>
          <a:p>
            <a:endParaRPr lang="en-US"/>
          </a:p>
        </p:txBody>
      </p:sp>
      <p:grpSp>
        <p:nvGrpSpPr>
          <p:cNvPr id="2551" name="Group 2550">
            <a:extLst>
              <a:ext uri="{FF2B5EF4-FFF2-40B4-BE49-F238E27FC236}">
                <a16:creationId xmlns:a16="http://schemas.microsoft.com/office/drawing/2014/main" id="{7E39789B-3B9D-4AAC-A9C0-8542041ED3D6}"/>
              </a:ext>
              <a:ext uri="{C183D7F6-B498-43B3-948B-1728B52AA6E4}">
                <adec:decorative xmlns:adec="http://schemas.microsoft.com/office/drawing/2017/decorative" val="1"/>
              </a:ext>
            </a:extLst>
          </p:cNvPr>
          <p:cNvGrpSpPr>
            <a:grpSpLocks noChangeAspect="1"/>
          </p:cNvGrpSpPr>
          <p:nvPr/>
        </p:nvGrpSpPr>
        <p:grpSpPr>
          <a:xfrm>
            <a:off x="11169725" y="5566641"/>
            <a:ext cx="103079" cy="146103"/>
            <a:chOff x="11226225" y="3510950"/>
            <a:chExt cx="103079" cy="146103"/>
          </a:xfrm>
        </p:grpSpPr>
        <p:sp>
          <p:nvSpPr>
            <p:cNvPr id="2883" name="Freeform: Shape 2882">
              <a:extLst>
                <a:ext uri="{FF2B5EF4-FFF2-40B4-BE49-F238E27FC236}">
                  <a16:creationId xmlns:a16="http://schemas.microsoft.com/office/drawing/2014/main" id="{0E8AB4B6-42D4-4B6C-831D-D126430A4224}"/>
                </a:ext>
              </a:extLst>
            </p:cNvPr>
            <p:cNvSpPr/>
            <p:nvPr/>
          </p:nvSpPr>
          <p:spPr>
            <a:xfrm>
              <a:off x="11255356" y="3510950"/>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1988"/>
                    <a:pt x="51988" y="67226"/>
                    <a:pt x="33613" y="67226"/>
                  </a:cubicBezTo>
                  <a:close/>
                  <a:moveTo>
                    <a:pt x="33613" y="4482"/>
                  </a:moveTo>
                  <a:cubicBezTo>
                    <a:pt x="17479" y="4482"/>
                    <a:pt x="4482" y="17479"/>
                    <a:pt x="4482" y="33613"/>
                  </a:cubicBezTo>
                  <a:cubicBezTo>
                    <a:pt x="4482" y="49747"/>
                    <a:pt x="17479" y="62744"/>
                    <a:pt x="33613" y="62744"/>
                  </a:cubicBezTo>
                  <a:cubicBezTo>
                    <a:pt x="49747" y="62744"/>
                    <a:pt x="62744" y="49747"/>
                    <a:pt x="62744" y="33613"/>
                  </a:cubicBezTo>
                  <a:cubicBezTo>
                    <a:pt x="62744" y="17479"/>
                    <a:pt x="49299" y="4482"/>
                    <a:pt x="33613" y="4482"/>
                  </a:cubicBezTo>
                  <a:close/>
                </a:path>
              </a:pathLst>
            </a:custGeom>
            <a:solidFill>
              <a:srgbClr val="231F20"/>
            </a:solidFill>
            <a:ln w="4477" cap="flat">
              <a:noFill/>
              <a:prstDash val="solid"/>
              <a:miter/>
            </a:ln>
          </p:spPr>
          <p:txBody>
            <a:bodyPr rtlCol="0" anchor="ctr"/>
            <a:lstStyle/>
            <a:p>
              <a:endParaRPr lang="en-US"/>
            </a:p>
          </p:txBody>
        </p:sp>
        <p:sp>
          <p:nvSpPr>
            <p:cNvPr id="2884" name="Freeform: Shape 2883">
              <a:extLst>
                <a:ext uri="{FF2B5EF4-FFF2-40B4-BE49-F238E27FC236}">
                  <a16:creationId xmlns:a16="http://schemas.microsoft.com/office/drawing/2014/main" id="{06803446-3019-46DA-95CE-F368DC068E65}"/>
                </a:ext>
              </a:extLst>
            </p:cNvPr>
            <p:cNvSpPr/>
            <p:nvPr/>
          </p:nvSpPr>
          <p:spPr>
            <a:xfrm>
              <a:off x="11226225"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7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7" y="5826"/>
                    <a:pt x="106665" y="7171"/>
                    <a:pt x="106217" y="8515"/>
                  </a:cubicBezTo>
                  <a:cubicBezTo>
                    <a:pt x="105768" y="9860"/>
                    <a:pt x="104424"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3808" y="73948"/>
                    <a:pt x="82911" y="73948"/>
                  </a:cubicBezTo>
                  <a:close/>
                </a:path>
              </a:pathLst>
            </a:custGeom>
            <a:solidFill>
              <a:srgbClr val="231F20"/>
            </a:solidFill>
            <a:ln w="4477" cap="flat">
              <a:noFill/>
              <a:prstDash val="solid"/>
              <a:miter/>
            </a:ln>
          </p:spPr>
          <p:txBody>
            <a:bodyPr rtlCol="0" anchor="ctr"/>
            <a:lstStyle/>
            <a:p>
              <a:endParaRPr lang="en-US"/>
            </a:p>
          </p:txBody>
        </p:sp>
      </p:grpSp>
      <p:grpSp>
        <p:nvGrpSpPr>
          <p:cNvPr id="2564" name="Group 2563">
            <a:extLst>
              <a:ext uri="{FF2B5EF4-FFF2-40B4-BE49-F238E27FC236}">
                <a16:creationId xmlns:a16="http://schemas.microsoft.com/office/drawing/2014/main" id="{B31DA3E7-F4D2-4787-943C-BE94C6B9144F}"/>
              </a:ext>
              <a:ext uri="{C183D7F6-B498-43B3-948B-1728B52AA6E4}">
                <adec:decorative xmlns:adec="http://schemas.microsoft.com/office/drawing/2017/decorative" val="1"/>
              </a:ext>
            </a:extLst>
          </p:cNvPr>
          <p:cNvGrpSpPr>
            <a:grpSpLocks noChangeAspect="1"/>
          </p:cNvGrpSpPr>
          <p:nvPr/>
        </p:nvGrpSpPr>
        <p:grpSpPr>
          <a:xfrm>
            <a:off x="11417116" y="5563056"/>
            <a:ext cx="151929" cy="148792"/>
            <a:chOff x="11473616" y="3507365"/>
            <a:chExt cx="151929" cy="148792"/>
          </a:xfrm>
        </p:grpSpPr>
        <p:sp>
          <p:nvSpPr>
            <p:cNvPr id="2852" name="Freeform: Shape 2851">
              <a:extLst>
                <a:ext uri="{FF2B5EF4-FFF2-40B4-BE49-F238E27FC236}">
                  <a16:creationId xmlns:a16="http://schemas.microsoft.com/office/drawing/2014/main" id="{8B90DC1B-7F51-4C76-A1DA-B7828EB19B51}"/>
                </a:ext>
              </a:extLst>
            </p:cNvPr>
            <p:cNvSpPr/>
            <p:nvPr/>
          </p:nvSpPr>
          <p:spPr>
            <a:xfrm>
              <a:off x="11499609" y="3527084"/>
              <a:ext cx="58262" cy="58262"/>
            </a:xfrm>
            <a:custGeom>
              <a:avLst/>
              <a:gdLst>
                <a:gd name="connsiteX0" fmla="*/ 30028 w 58262"/>
                <a:gd name="connsiteY0" fmla="*/ 60055 h 58262"/>
                <a:gd name="connsiteX1" fmla="*/ 0 w 58262"/>
                <a:gd name="connsiteY1" fmla="*/ 30027 h 58262"/>
                <a:gd name="connsiteX2" fmla="*/ 30028 w 58262"/>
                <a:gd name="connsiteY2" fmla="*/ 0 h 58262"/>
                <a:gd name="connsiteX3" fmla="*/ 60055 w 58262"/>
                <a:gd name="connsiteY3" fmla="*/ 30027 h 58262"/>
                <a:gd name="connsiteX4" fmla="*/ 30028 w 58262"/>
                <a:gd name="connsiteY4" fmla="*/ 60055 h 58262"/>
                <a:gd name="connsiteX5" fmla="*/ 30028 w 58262"/>
                <a:gd name="connsiteY5" fmla="*/ 4482 h 58262"/>
                <a:gd name="connsiteX6" fmla="*/ 4482 w 58262"/>
                <a:gd name="connsiteY6" fmla="*/ 30027 h 58262"/>
                <a:gd name="connsiteX7" fmla="*/ 30028 w 58262"/>
                <a:gd name="connsiteY7" fmla="*/ 55573 h 58262"/>
                <a:gd name="connsiteX8" fmla="*/ 55573 w 58262"/>
                <a:gd name="connsiteY8" fmla="*/ 30027 h 58262"/>
                <a:gd name="connsiteX9" fmla="*/ 30028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30028" y="60055"/>
                  </a:moveTo>
                  <a:cubicBezTo>
                    <a:pt x="13445" y="60055"/>
                    <a:pt x="0" y="46610"/>
                    <a:pt x="0" y="30027"/>
                  </a:cubicBezTo>
                  <a:cubicBezTo>
                    <a:pt x="0" y="13445"/>
                    <a:pt x="13445" y="0"/>
                    <a:pt x="30028" y="0"/>
                  </a:cubicBezTo>
                  <a:cubicBezTo>
                    <a:pt x="46610" y="0"/>
                    <a:pt x="60055" y="13445"/>
                    <a:pt x="60055" y="30027"/>
                  </a:cubicBezTo>
                  <a:cubicBezTo>
                    <a:pt x="60055" y="46610"/>
                    <a:pt x="46610" y="60055"/>
                    <a:pt x="30028" y="60055"/>
                  </a:cubicBezTo>
                  <a:close/>
                  <a:moveTo>
                    <a:pt x="30028" y="4482"/>
                  </a:moveTo>
                  <a:cubicBezTo>
                    <a:pt x="15686" y="4482"/>
                    <a:pt x="4482" y="16134"/>
                    <a:pt x="4482" y="30027"/>
                  </a:cubicBezTo>
                  <a:cubicBezTo>
                    <a:pt x="4482" y="44369"/>
                    <a:pt x="16134" y="55573"/>
                    <a:pt x="30028" y="55573"/>
                  </a:cubicBezTo>
                  <a:cubicBezTo>
                    <a:pt x="44369" y="55573"/>
                    <a:pt x="55573" y="43921"/>
                    <a:pt x="55573" y="30027"/>
                  </a:cubicBezTo>
                  <a:cubicBezTo>
                    <a:pt x="55573" y="15686"/>
                    <a:pt x="43921" y="4482"/>
                    <a:pt x="30028" y="4482"/>
                  </a:cubicBezTo>
                  <a:close/>
                </a:path>
              </a:pathLst>
            </a:custGeom>
            <a:solidFill>
              <a:srgbClr val="231F20"/>
            </a:solidFill>
            <a:ln w="4477" cap="flat">
              <a:noFill/>
              <a:prstDash val="solid"/>
              <a:miter/>
            </a:ln>
          </p:spPr>
          <p:txBody>
            <a:bodyPr rtlCol="0" anchor="ctr"/>
            <a:lstStyle/>
            <a:p>
              <a:endParaRPr lang="en-US"/>
            </a:p>
          </p:txBody>
        </p:sp>
        <p:sp>
          <p:nvSpPr>
            <p:cNvPr id="2853" name="Freeform: Shape 2852">
              <a:extLst>
                <a:ext uri="{FF2B5EF4-FFF2-40B4-BE49-F238E27FC236}">
                  <a16:creationId xmlns:a16="http://schemas.microsoft.com/office/drawing/2014/main" id="{81D89D26-597D-40AB-8107-46A0A9E0ACBF}"/>
                </a:ext>
              </a:extLst>
            </p:cNvPr>
            <p:cNvSpPr/>
            <p:nvPr/>
          </p:nvSpPr>
          <p:spPr>
            <a:xfrm>
              <a:off x="11473616" y="3593413"/>
              <a:ext cx="107561" cy="62744"/>
            </a:xfrm>
            <a:custGeom>
              <a:avLst/>
              <a:gdLst>
                <a:gd name="connsiteX0" fmla="*/ 99494 w 107560"/>
                <a:gd name="connsiteY0" fmla="*/ 65881 h 62743"/>
                <a:gd name="connsiteX1" fmla="*/ 12548 w 107560"/>
                <a:gd name="connsiteY1" fmla="*/ 65881 h 62743"/>
                <a:gd name="connsiteX2" fmla="*/ 0 w 107560"/>
                <a:gd name="connsiteY2" fmla="*/ 53332 h 62743"/>
                <a:gd name="connsiteX3" fmla="*/ 0 w 107560"/>
                <a:gd name="connsiteY3" fmla="*/ 35854 h 62743"/>
                <a:gd name="connsiteX4" fmla="*/ 35854 w 107560"/>
                <a:gd name="connsiteY4" fmla="*/ 0 h 62743"/>
                <a:gd name="connsiteX5" fmla="*/ 75740 w 107560"/>
                <a:gd name="connsiteY5" fmla="*/ 0 h 62743"/>
                <a:gd name="connsiteX6" fmla="*/ 111594 w 107560"/>
                <a:gd name="connsiteY6" fmla="*/ 35854 h 62743"/>
                <a:gd name="connsiteX7" fmla="*/ 111594 w 107560"/>
                <a:gd name="connsiteY7" fmla="*/ 53332 h 62743"/>
                <a:gd name="connsiteX8" fmla="*/ 99494 w 107560"/>
                <a:gd name="connsiteY8" fmla="*/ 65881 h 62743"/>
                <a:gd name="connsiteX9" fmla="*/ 35854 w 107560"/>
                <a:gd name="connsiteY9" fmla="*/ 4482 h 62743"/>
                <a:gd name="connsiteX10" fmla="*/ 4482 w 107560"/>
                <a:gd name="connsiteY10" fmla="*/ 35854 h 62743"/>
                <a:gd name="connsiteX11" fmla="*/ 4482 w 107560"/>
                <a:gd name="connsiteY11" fmla="*/ 53332 h 62743"/>
                <a:gd name="connsiteX12" fmla="*/ 12548 w 107560"/>
                <a:gd name="connsiteY12" fmla="*/ 61399 h 62743"/>
                <a:gd name="connsiteX13" fmla="*/ 99494 w 107560"/>
                <a:gd name="connsiteY13" fmla="*/ 61399 h 62743"/>
                <a:gd name="connsiteX14" fmla="*/ 107561 w 107560"/>
                <a:gd name="connsiteY14" fmla="*/ 53332 h 62743"/>
                <a:gd name="connsiteX15" fmla="*/ 107561 w 107560"/>
                <a:gd name="connsiteY15" fmla="*/ 35854 h 62743"/>
                <a:gd name="connsiteX16" fmla="*/ 76189 w 107560"/>
                <a:gd name="connsiteY16" fmla="*/ 4482 h 62743"/>
                <a:gd name="connsiteX17" fmla="*/ 35854 w 107560"/>
                <a:gd name="connsiteY17" fmla="*/ 448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560" h="62743">
                  <a:moveTo>
                    <a:pt x="99494" y="65881"/>
                  </a:moveTo>
                  <a:lnTo>
                    <a:pt x="12548" y="65881"/>
                  </a:lnTo>
                  <a:cubicBezTo>
                    <a:pt x="5826" y="65881"/>
                    <a:pt x="0" y="60503"/>
                    <a:pt x="0" y="53332"/>
                  </a:cubicBezTo>
                  <a:lnTo>
                    <a:pt x="0" y="35854"/>
                  </a:lnTo>
                  <a:cubicBezTo>
                    <a:pt x="0" y="16134"/>
                    <a:pt x="16134" y="0"/>
                    <a:pt x="35854" y="0"/>
                  </a:cubicBezTo>
                  <a:lnTo>
                    <a:pt x="75740" y="0"/>
                  </a:lnTo>
                  <a:cubicBezTo>
                    <a:pt x="95460" y="0"/>
                    <a:pt x="111594" y="16134"/>
                    <a:pt x="111594" y="35854"/>
                  </a:cubicBezTo>
                  <a:lnTo>
                    <a:pt x="111594" y="53332"/>
                  </a:lnTo>
                  <a:cubicBezTo>
                    <a:pt x="112043" y="60055"/>
                    <a:pt x="106216" y="65881"/>
                    <a:pt x="99494" y="65881"/>
                  </a:cubicBezTo>
                  <a:close/>
                  <a:moveTo>
                    <a:pt x="35854" y="4482"/>
                  </a:moveTo>
                  <a:cubicBezTo>
                    <a:pt x="18375" y="4482"/>
                    <a:pt x="4482" y="18823"/>
                    <a:pt x="4482" y="35854"/>
                  </a:cubicBezTo>
                  <a:lnTo>
                    <a:pt x="4482" y="53332"/>
                  </a:lnTo>
                  <a:cubicBezTo>
                    <a:pt x="4482" y="57814"/>
                    <a:pt x="8067" y="61399"/>
                    <a:pt x="12548" y="61399"/>
                  </a:cubicBezTo>
                  <a:lnTo>
                    <a:pt x="99494" y="61399"/>
                  </a:lnTo>
                  <a:cubicBezTo>
                    <a:pt x="103975" y="61399"/>
                    <a:pt x="107561" y="57814"/>
                    <a:pt x="107561" y="53332"/>
                  </a:cubicBezTo>
                  <a:lnTo>
                    <a:pt x="107561" y="35854"/>
                  </a:lnTo>
                  <a:cubicBezTo>
                    <a:pt x="107561" y="18375"/>
                    <a:pt x="93219" y="4482"/>
                    <a:pt x="76189" y="4482"/>
                  </a:cubicBezTo>
                  <a:lnTo>
                    <a:pt x="35854" y="4482"/>
                  </a:lnTo>
                  <a:close/>
                </a:path>
              </a:pathLst>
            </a:custGeom>
            <a:solidFill>
              <a:srgbClr val="231F20"/>
            </a:solidFill>
            <a:ln w="4477" cap="flat">
              <a:noFill/>
              <a:prstDash val="solid"/>
              <a:miter/>
            </a:ln>
          </p:spPr>
          <p:txBody>
            <a:bodyPr rtlCol="0" anchor="ctr"/>
            <a:lstStyle/>
            <a:p>
              <a:endParaRPr lang="en-US"/>
            </a:p>
          </p:txBody>
        </p:sp>
        <p:sp>
          <p:nvSpPr>
            <p:cNvPr id="2854" name="Freeform: Shape 2853">
              <a:extLst>
                <a:ext uri="{FF2B5EF4-FFF2-40B4-BE49-F238E27FC236}">
                  <a16:creationId xmlns:a16="http://schemas.microsoft.com/office/drawing/2014/main" id="{A87AA0C9-F814-4377-8134-233190333534}"/>
                </a:ext>
              </a:extLst>
            </p:cNvPr>
            <p:cNvSpPr/>
            <p:nvPr/>
          </p:nvSpPr>
          <p:spPr>
            <a:xfrm>
              <a:off x="11531429" y="3507365"/>
              <a:ext cx="94116" cy="80671"/>
            </a:xfrm>
            <a:custGeom>
              <a:avLst/>
              <a:gdLst>
                <a:gd name="connsiteX0" fmla="*/ 33165 w 94115"/>
                <a:gd name="connsiteY0" fmla="*/ 82463 h 80670"/>
                <a:gd name="connsiteX1" fmla="*/ 31821 w 94115"/>
                <a:gd name="connsiteY1" fmla="*/ 82015 h 80670"/>
                <a:gd name="connsiteX2" fmla="*/ 30476 w 94115"/>
                <a:gd name="connsiteY2" fmla="*/ 78878 h 80670"/>
                <a:gd name="connsiteX3" fmla="*/ 35854 w 94115"/>
                <a:gd name="connsiteY3" fmla="*/ 57814 h 80670"/>
                <a:gd name="connsiteX4" fmla="*/ 34061 w 94115"/>
                <a:gd name="connsiteY4" fmla="*/ 57814 h 80670"/>
                <a:gd name="connsiteX5" fmla="*/ 31821 w 94115"/>
                <a:gd name="connsiteY5" fmla="*/ 55573 h 80670"/>
                <a:gd name="connsiteX6" fmla="*/ 34061 w 94115"/>
                <a:gd name="connsiteY6" fmla="*/ 53332 h 80670"/>
                <a:gd name="connsiteX7" fmla="*/ 41232 w 94115"/>
                <a:gd name="connsiteY7" fmla="*/ 53332 h 80670"/>
                <a:gd name="connsiteX8" fmla="*/ 36302 w 94115"/>
                <a:gd name="connsiteY8" fmla="*/ 72155 h 80670"/>
                <a:gd name="connsiteX9" fmla="*/ 50643 w 94115"/>
                <a:gd name="connsiteY9" fmla="*/ 53332 h 80670"/>
                <a:gd name="connsiteX10" fmla="*/ 80223 w 94115"/>
                <a:gd name="connsiteY10" fmla="*/ 53332 h 80670"/>
                <a:gd name="connsiteX11" fmla="*/ 89634 w 94115"/>
                <a:gd name="connsiteY11" fmla="*/ 45265 h 80670"/>
                <a:gd name="connsiteX12" fmla="*/ 89634 w 94115"/>
                <a:gd name="connsiteY12" fmla="*/ 12549 h 80670"/>
                <a:gd name="connsiteX13" fmla="*/ 80223 w 94115"/>
                <a:gd name="connsiteY13" fmla="*/ 4482 h 80670"/>
                <a:gd name="connsiteX14" fmla="*/ 13894 w 94115"/>
                <a:gd name="connsiteY14" fmla="*/ 4482 h 80670"/>
                <a:gd name="connsiteX15" fmla="*/ 4482 w 94115"/>
                <a:gd name="connsiteY15" fmla="*/ 12549 h 80670"/>
                <a:gd name="connsiteX16" fmla="*/ 2241 w 94115"/>
                <a:gd name="connsiteY16" fmla="*/ 14790 h 80670"/>
                <a:gd name="connsiteX17" fmla="*/ 0 w 94115"/>
                <a:gd name="connsiteY17" fmla="*/ 12549 h 80670"/>
                <a:gd name="connsiteX18" fmla="*/ 13894 w 94115"/>
                <a:gd name="connsiteY18" fmla="*/ 0 h 80670"/>
                <a:gd name="connsiteX19" fmla="*/ 80223 w 94115"/>
                <a:gd name="connsiteY19" fmla="*/ 0 h 80670"/>
                <a:gd name="connsiteX20" fmla="*/ 94116 w 94115"/>
                <a:gd name="connsiteY20" fmla="*/ 12549 h 80670"/>
                <a:gd name="connsiteX21" fmla="*/ 94116 w 94115"/>
                <a:gd name="connsiteY21" fmla="*/ 45265 h 80670"/>
                <a:gd name="connsiteX22" fmla="*/ 80223 w 94115"/>
                <a:gd name="connsiteY22" fmla="*/ 57814 h 80670"/>
                <a:gd name="connsiteX23" fmla="*/ 52884 w 94115"/>
                <a:gd name="connsiteY23" fmla="*/ 57814 h 80670"/>
                <a:gd name="connsiteX24" fmla="*/ 35406 w 94115"/>
                <a:gd name="connsiteY24" fmla="*/ 81567 h 80670"/>
                <a:gd name="connsiteX25" fmla="*/ 33165 w 94115"/>
                <a:gd name="connsiteY25" fmla="*/ 82463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4115" h="80670">
                  <a:moveTo>
                    <a:pt x="33165" y="82463"/>
                  </a:moveTo>
                  <a:cubicBezTo>
                    <a:pt x="32717" y="82463"/>
                    <a:pt x="32269" y="82463"/>
                    <a:pt x="31821" y="82015"/>
                  </a:cubicBezTo>
                  <a:cubicBezTo>
                    <a:pt x="30476" y="81567"/>
                    <a:pt x="30028" y="80222"/>
                    <a:pt x="30476" y="78878"/>
                  </a:cubicBezTo>
                  <a:lnTo>
                    <a:pt x="35854" y="57814"/>
                  </a:lnTo>
                  <a:lnTo>
                    <a:pt x="34061" y="57814"/>
                  </a:lnTo>
                  <a:cubicBezTo>
                    <a:pt x="32717" y="57814"/>
                    <a:pt x="31821" y="56918"/>
                    <a:pt x="31821" y="55573"/>
                  </a:cubicBezTo>
                  <a:cubicBezTo>
                    <a:pt x="31821" y="54228"/>
                    <a:pt x="32717" y="53332"/>
                    <a:pt x="34061" y="53332"/>
                  </a:cubicBezTo>
                  <a:lnTo>
                    <a:pt x="41232" y="53332"/>
                  </a:lnTo>
                  <a:lnTo>
                    <a:pt x="36302" y="72155"/>
                  </a:lnTo>
                  <a:lnTo>
                    <a:pt x="50643" y="53332"/>
                  </a:lnTo>
                  <a:lnTo>
                    <a:pt x="80223" y="53332"/>
                  </a:lnTo>
                  <a:cubicBezTo>
                    <a:pt x="85601" y="53332"/>
                    <a:pt x="89634" y="49747"/>
                    <a:pt x="89634" y="45265"/>
                  </a:cubicBezTo>
                  <a:lnTo>
                    <a:pt x="89634" y="12549"/>
                  </a:lnTo>
                  <a:cubicBezTo>
                    <a:pt x="89634" y="8067"/>
                    <a:pt x="85601" y="4482"/>
                    <a:pt x="80223" y="4482"/>
                  </a:cubicBezTo>
                  <a:lnTo>
                    <a:pt x="13894" y="4482"/>
                  </a:lnTo>
                  <a:cubicBezTo>
                    <a:pt x="8515" y="4482"/>
                    <a:pt x="4482" y="8067"/>
                    <a:pt x="4482" y="12549"/>
                  </a:cubicBezTo>
                  <a:cubicBezTo>
                    <a:pt x="4482" y="13893"/>
                    <a:pt x="3586" y="14790"/>
                    <a:pt x="2241" y="14790"/>
                  </a:cubicBezTo>
                  <a:cubicBezTo>
                    <a:pt x="897" y="14790"/>
                    <a:pt x="0" y="13893"/>
                    <a:pt x="0" y="12549"/>
                  </a:cubicBezTo>
                  <a:cubicBezTo>
                    <a:pt x="0" y="5378"/>
                    <a:pt x="6274" y="0"/>
                    <a:pt x="13894" y="0"/>
                  </a:cubicBezTo>
                  <a:lnTo>
                    <a:pt x="80223" y="0"/>
                  </a:lnTo>
                  <a:cubicBezTo>
                    <a:pt x="87842" y="0"/>
                    <a:pt x="94116" y="5826"/>
                    <a:pt x="94116" y="12549"/>
                  </a:cubicBezTo>
                  <a:lnTo>
                    <a:pt x="94116" y="45265"/>
                  </a:lnTo>
                  <a:cubicBezTo>
                    <a:pt x="94116" y="52436"/>
                    <a:pt x="87842" y="57814"/>
                    <a:pt x="80223" y="57814"/>
                  </a:cubicBezTo>
                  <a:lnTo>
                    <a:pt x="52884" y="57814"/>
                  </a:lnTo>
                  <a:lnTo>
                    <a:pt x="35406" y="81567"/>
                  </a:lnTo>
                  <a:cubicBezTo>
                    <a:pt x="34957" y="82015"/>
                    <a:pt x="34061" y="82463"/>
                    <a:pt x="33165" y="82463"/>
                  </a:cubicBezTo>
                  <a:close/>
                </a:path>
              </a:pathLst>
            </a:custGeom>
            <a:solidFill>
              <a:srgbClr val="231F20"/>
            </a:solidFill>
            <a:ln w="4477" cap="flat">
              <a:noFill/>
              <a:prstDash val="solid"/>
              <a:miter/>
            </a:ln>
          </p:spPr>
          <p:txBody>
            <a:bodyPr rtlCol="0" anchor="ctr"/>
            <a:lstStyle/>
            <a:p>
              <a:endParaRPr lang="en-US"/>
            </a:p>
          </p:txBody>
        </p:sp>
        <p:sp>
          <p:nvSpPr>
            <p:cNvPr id="2855" name="Freeform: Shape 2854">
              <a:extLst>
                <a:ext uri="{FF2B5EF4-FFF2-40B4-BE49-F238E27FC236}">
                  <a16:creationId xmlns:a16="http://schemas.microsoft.com/office/drawing/2014/main" id="{1A57151C-5697-4531-9591-8984E799A402}"/>
                </a:ext>
              </a:extLst>
            </p:cNvPr>
            <p:cNvSpPr/>
            <p:nvPr/>
          </p:nvSpPr>
          <p:spPr>
            <a:xfrm>
              <a:off x="11562353" y="3527532"/>
              <a:ext cx="44817" cy="4482"/>
            </a:xfrm>
            <a:custGeom>
              <a:avLst/>
              <a:gdLst>
                <a:gd name="connsiteX0" fmla="*/ 42576 w 44817"/>
                <a:gd name="connsiteY0" fmla="*/ 4482 h 4481"/>
                <a:gd name="connsiteX1" fmla="*/ 2241 w 44817"/>
                <a:gd name="connsiteY1" fmla="*/ 4482 h 4481"/>
                <a:gd name="connsiteX2" fmla="*/ 0 w 44817"/>
                <a:gd name="connsiteY2" fmla="*/ 2241 h 4481"/>
                <a:gd name="connsiteX3" fmla="*/ 2241 w 44817"/>
                <a:gd name="connsiteY3" fmla="*/ 0 h 4481"/>
                <a:gd name="connsiteX4" fmla="*/ 42576 w 44817"/>
                <a:gd name="connsiteY4" fmla="*/ 0 h 4481"/>
                <a:gd name="connsiteX5" fmla="*/ 44817 w 44817"/>
                <a:gd name="connsiteY5" fmla="*/ 2241 h 4481"/>
                <a:gd name="connsiteX6" fmla="*/ 42576 w 44817"/>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7" h="4481">
                  <a:moveTo>
                    <a:pt x="42576" y="4482"/>
                  </a:moveTo>
                  <a:lnTo>
                    <a:pt x="2241" y="4482"/>
                  </a:lnTo>
                  <a:cubicBezTo>
                    <a:pt x="897" y="4482"/>
                    <a:pt x="0" y="3585"/>
                    <a:pt x="0" y="2241"/>
                  </a:cubicBezTo>
                  <a:cubicBezTo>
                    <a:pt x="0" y="896"/>
                    <a:pt x="897" y="0"/>
                    <a:pt x="2241" y="0"/>
                  </a:cubicBezTo>
                  <a:lnTo>
                    <a:pt x="42576" y="0"/>
                  </a:lnTo>
                  <a:cubicBezTo>
                    <a:pt x="43921" y="0"/>
                    <a:pt x="44817" y="896"/>
                    <a:pt x="44817" y="2241"/>
                  </a:cubicBezTo>
                  <a:cubicBezTo>
                    <a:pt x="44817" y="3585"/>
                    <a:pt x="43921" y="4482"/>
                    <a:pt x="42576" y="4482"/>
                  </a:cubicBezTo>
                  <a:close/>
                </a:path>
              </a:pathLst>
            </a:custGeom>
            <a:solidFill>
              <a:srgbClr val="231F20"/>
            </a:solidFill>
            <a:ln w="4477" cap="flat">
              <a:noFill/>
              <a:prstDash val="solid"/>
              <a:miter/>
            </a:ln>
          </p:spPr>
          <p:txBody>
            <a:bodyPr rtlCol="0" anchor="ctr"/>
            <a:lstStyle/>
            <a:p>
              <a:endParaRPr lang="en-US"/>
            </a:p>
          </p:txBody>
        </p:sp>
        <p:sp>
          <p:nvSpPr>
            <p:cNvPr id="2856" name="Freeform: Shape 2855">
              <a:extLst>
                <a:ext uri="{FF2B5EF4-FFF2-40B4-BE49-F238E27FC236}">
                  <a16:creationId xmlns:a16="http://schemas.microsoft.com/office/drawing/2014/main" id="{F747F398-EB3A-4490-B5C8-43DEA853F301}"/>
                </a:ext>
              </a:extLst>
            </p:cNvPr>
            <p:cNvSpPr/>
            <p:nvPr/>
          </p:nvSpPr>
          <p:spPr>
            <a:xfrm>
              <a:off x="11571316" y="3540978"/>
              <a:ext cx="22409" cy="4482"/>
            </a:xfrm>
            <a:custGeom>
              <a:avLst/>
              <a:gdLst>
                <a:gd name="connsiteX0" fmla="*/ 20168 w 22408"/>
                <a:gd name="connsiteY0" fmla="*/ 4482 h 4481"/>
                <a:gd name="connsiteX1" fmla="*/ 2241 w 22408"/>
                <a:gd name="connsiteY1" fmla="*/ 4482 h 4481"/>
                <a:gd name="connsiteX2" fmla="*/ 0 w 22408"/>
                <a:gd name="connsiteY2" fmla="*/ 2241 h 4481"/>
                <a:gd name="connsiteX3" fmla="*/ 2241 w 22408"/>
                <a:gd name="connsiteY3" fmla="*/ 0 h 4481"/>
                <a:gd name="connsiteX4" fmla="*/ 20168 w 22408"/>
                <a:gd name="connsiteY4" fmla="*/ 0 h 4481"/>
                <a:gd name="connsiteX5" fmla="*/ 22409 w 22408"/>
                <a:gd name="connsiteY5" fmla="*/ 2241 h 4481"/>
                <a:gd name="connsiteX6" fmla="*/ 20168 w 22408"/>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8" h="4481">
                  <a:moveTo>
                    <a:pt x="20168" y="4482"/>
                  </a:moveTo>
                  <a:lnTo>
                    <a:pt x="2241" y="4482"/>
                  </a:lnTo>
                  <a:cubicBezTo>
                    <a:pt x="897" y="4482"/>
                    <a:pt x="0" y="3585"/>
                    <a:pt x="0" y="2241"/>
                  </a:cubicBezTo>
                  <a:cubicBezTo>
                    <a:pt x="0" y="896"/>
                    <a:pt x="897" y="0"/>
                    <a:pt x="2241" y="0"/>
                  </a:cubicBezTo>
                  <a:lnTo>
                    <a:pt x="20168" y="0"/>
                  </a:lnTo>
                  <a:cubicBezTo>
                    <a:pt x="21512" y="0"/>
                    <a:pt x="22409" y="896"/>
                    <a:pt x="22409" y="2241"/>
                  </a:cubicBezTo>
                  <a:cubicBezTo>
                    <a:pt x="22409" y="3585"/>
                    <a:pt x="21512" y="4482"/>
                    <a:pt x="20168" y="4482"/>
                  </a:cubicBezTo>
                  <a:close/>
                </a:path>
              </a:pathLst>
            </a:custGeom>
            <a:solidFill>
              <a:srgbClr val="231F20"/>
            </a:solidFill>
            <a:ln w="4477" cap="flat">
              <a:noFill/>
              <a:prstDash val="solid"/>
              <a:miter/>
            </a:ln>
          </p:spPr>
          <p:txBody>
            <a:bodyPr rtlCol="0" anchor="ctr"/>
            <a:lstStyle/>
            <a:p>
              <a:endParaRPr lang="en-US"/>
            </a:p>
          </p:txBody>
        </p:sp>
      </p:grpSp>
      <p:grpSp>
        <p:nvGrpSpPr>
          <p:cNvPr id="2567" name="Group 2566">
            <a:extLst>
              <a:ext uri="{FF2B5EF4-FFF2-40B4-BE49-F238E27FC236}">
                <a16:creationId xmlns:a16="http://schemas.microsoft.com/office/drawing/2014/main" id="{D09D1FB6-7CCE-4F8E-8FBC-45B81DEE3033}"/>
              </a:ext>
              <a:ext uri="{C183D7F6-B498-43B3-948B-1728B52AA6E4}">
                <adec:decorative xmlns:adec="http://schemas.microsoft.com/office/drawing/2017/decorative" val="1"/>
              </a:ext>
            </a:extLst>
          </p:cNvPr>
          <p:cNvGrpSpPr>
            <a:grpSpLocks noChangeAspect="1"/>
          </p:cNvGrpSpPr>
          <p:nvPr/>
        </p:nvGrpSpPr>
        <p:grpSpPr>
          <a:xfrm>
            <a:off x="10381394" y="5567089"/>
            <a:ext cx="138933" cy="145655"/>
            <a:chOff x="10437894" y="3511398"/>
            <a:chExt cx="138933" cy="145655"/>
          </a:xfrm>
        </p:grpSpPr>
        <p:sp>
          <p:nvSpPr>
            <p:cNvPr id="2844" name="Freeform: Shape 2843">
              <a:extLst>
                <a:ext uri="{FF2B5EF4-FFF2-40B4-BE49-F238E27FC236}">
                  <a16:creationId xmlns:a16="http://schemas.microsoft.com/office/drawing/2014/main" id="{B38BB685-CA01-47DE-AA8B-A5CD82352FFF}"/>
                </a:ext>
              </a:extLst>
            </p:cNvPr>
            <p:cNvSpPr/>
            <p:nvPr/>
          </p:nvSpPr>
          <p:spPr>
            <a:xfrm>
              <a:off x="10467025" y="3511398"/>
              <a:ext cx="67226" cy="67226"/>
            </a:xfrm>
            <a:custGeom>
              <a:avLst/>
              <a:gdLst>
                <a:gd name="connsiteX0" fmla="*/ 33613 w 67225"/>
                <a:gd name="connsiteY0" fmla="*/ 67226 h 67225"/>
                <a:gd name="connsiteX1" fmla="*/ 67226 w 67225"/>
                <a:gd name="connsiteY1" fmla="*/ 33613 h 67225"/>
                <a:gd name="connsiteX2" fmla="*/ 33613 w 67225"/>
                <a:gd name="connsiteY2" fmla="*/ 0 h 67225"/>
                <a:gd name="connsiteX3" fmla="*/ 0 w 67225"/>
                <a:gd name="connsiteY3" fmla="*/ 33613 h 67225"/>
                <a:gd name="connsiteX4" fmla="*/ 33613 w 67225"/>
                <a:gd name="connsiteY4" fmla="*/ 67226 h 67225"/>
                <a:gd name="connsiteX5" fmla="*/ 33613 w 67225"/>
                <a:gd name="connsiteY5" fmla="*/ 4034 h 67225"/>
                <a:gd name="connsiteX6" fmla="*/ 62744 w 67225"/>
                <a:gd name="connsiteY6" fmla="*/ 33165 h 67225"/>
                <a:gd name="connsiteX7" fmla="*/ 33613 w 67225"/>
                <a:gd name="connsiteY7" fmla="*/ 62296 h 67225"/>
                <a:gd name="connsiteX8" fmla="*/ 4482 w 67225"/>
                <a:gd name="connsiteY8" fmla="*/ 33165 h 67225"/>
                <a:gd name="connsiteX9" fmla="*/ 33613 w 67225"/>
                <a:gd name="connsiteY9" fmla="*/ 4034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52436" y="67226"/>
                    <a:pt x="67226" y="51988"/>
                    <a:pt x="67226" y="33613"/>
                  </a:cubicBezTo>
                  <a:cubicBezTo>
                    <a:pt x="67226" y="14790"/>
                    <a:pt x="51988" y="0"/>
                    <a:pt x="33613" y="0"/>
                  </a:cubicBezTo>
                  <a:cubicBezTo>
                    <a:pt x="14790" y="0"/>
                    <a:pt x="0" y="15238"/>
                    <a:pt x="0" y="33613"/>
                  </a:cubicBezTo>
                  <a:cubicBezTo>
                    <a:pt x="0" y="51988"/>
                    <a:pt x="14790" y="67226"/>
                    <a:pt x="33613" y="67226"/>
                  </a:cubicBezTo>
                  <a:close/>
                  <a:moveTo>
                    <a:pt x="33613" y="4034"/>
                  </a:moveTo>
                  <a:cubicBezTo>
                    <a:pt x="49747" y="4034"/>
                    <a:pt x="62744" y="17031"/>
                    <a:pt x="62744" y="33165"/>
                  </a:cubicBezTo>
                  <a:cubicBezTo>
                    <a:pt x="62744" y="49299"/>
                    <a:pt x="49747" y="62296"/>
                    <a:pt x="33613" y="62296"/>
                  </a:cubicBezTo>
                  <a:cubicBezTo>
                    <a:pt x="17478" y="62296"/>
                    <a:pt x="4482" y="49299"/>
                    <a:pt x="4482" y="33165"/>
                  </a:cubicBezTo>
                  <a:cubicBezTo>
                    <a:pt x="4482" y="17031"/>
                    <a:pt x="17478" y="4034"/>
                    <a:pt x="33613" y="4034"/>
                  </a:cubicBezTo>
                  <a:close/>
                </a:path>
              </a:pathLst>
            </a:custGeom>
            <a:solidFill>
              <a:srgbClr val="231F20"/>
            </a:solidFill>
            <a:ln w="4477" cap="flat">
              <a:noFill/>
              <a:prstDash val="solid"/>
              <a:miter/>
            </a:ln>
          </p:spPr>
          <p:txBody>
            <a:bodyPr rtlCol="0" anchor="ctr"/>
            <a:lstStyle/>
            <a:p>
              <a:endParaRPr lang="en-US"/>
            </a:p>
          </p:txBody>
        </p:sp>
        <p:sp>
          <p:nvSpPr>
            <p:cNvPr id="2845" name="Freeform: Shape 2844">
              <a:extLst>
                <a:ext uri="{FF2B5EF4-FFF2-40B4-BE49-F238E27FC236}">
                  <a16:creationId xmlns:a16="http://schemas.microsoft.com/office/drawing/2014/main" id="{D9052688-B8FE-488F-B024-B5756DB59AE9}"/>
                </a:ext>
              </a:extLst>
            </p:cNvPr>
            <p:cNvSpPr/>
            <p:nvPr/>
          </p:nvSpPr>
          <p:spPr>
            <a:xfrm>
              <a:off x="10437894" y="3585346"/>
              <a:ext cx="112043" cy="71707"/>
            </a:xfrm>
            <a:custGeom>
              <a:avLst/>
              <a:gdLst>
                <a:gd name="connsiteX0" fmla="*/ 69466 w 112042"/>
                <a:gd name="connsiteY0" fmla="*/ 69466 h 71707"/>
                <a:gd name="connsiteX1" fmla="*/ 13893 w 112042"/>
                <a:gd name="connsiteY1" fmla="*/ 69466 h 71707"/>
                <a:gd name="connsiteX2" fmla="*/ 4482 w 112042"/>
                <a:gd name="connsiteY2" fmla="*/ 60055 h 71707"/>
                <a:gd name="connsiteX3" fmla="*/ 4482 w 112042"/>
                <a:gd name="connsiteY3" fmla="*/ 40335 h 71707"/>
                <a:gd name="connsiteX4" fmla="*/ 40335 w 112042"/>
                <a:gd name="connsiteY4" fmla="*/ 4482 h 71707"/>
                <a:gd name="connsiteX5" fmla="*/ 85152 w 112042"/>
                <a:gd name="connsiteY5" fmla="*/ 4482 h 71707"/>
                <a:gd name="connsiteX6" fmla="*/ 108009 w 112042"/>
                <a:gd name="connsiteY6" fmla="*/ 12997 h 71707"/>
                <a:gd name="connsiteX7" fmla="*/ 110698 w 112042"/>
                <a:gd name="connsiteY7" fmla="*/ 15686 h 71707"/>
                <a:gd name="connsiteX8" fmla="*/ 113835 w 112042"/>
                <a:gd name="connsiteY8" fmla="*/ 16134 h 71707"/>
                <a:gd name="connsiteX9" fmla="*/ 114283 w 112042"/>
                <a:gd name="connsiteY9" fmla="*/ 12997 h 71707"/>
                <a:gd name="connsiteX10" fmla="*/ 111146 w 112042"/>
                <a:gd name="connsiteY10" fmla="*/ 9412 h 71707"/>
                <a:gd name="connsiteX11" fmla="*/ 85152 w 112042"/>
                <a:gd name="connsiteY11" fmla="*/ 0 h 71707"/>
                <a:gd name="connsiteX12" fmla="*/ 40335 w 112042"/>
                <a:gd name="connsiteY12" fmla="*/ 0 h 71707"/>
                <a:gd name="connsiteX13" fmla="*/ 0 w 112042"/>
                <a:gd name="connsiteY13" fmla="*/ 40335 h 71707"/>
                <a:gd name="connsiteX14" fmla="*/ 0 w 112042"/>
                <a:gd name="connsiteY14" fmla="*/ 60055 h 71707"/>
                <a:gd name="connsiteX15" fmla="*/ 13893 w 112042"/>
                <a:gd name="connsiteY15" fmla="*/ 73948 h 71707"/>
                <a:gd name="connsiteX16" fmla="*/ 69466 w 112042"/>
                <a:gd name="connsiteY16" fmla="*/ 73948 h 71707"/>
                <a:gd name="connsiteX17" fmla="*/ 71707 w 112042"/>
                <a:gd name="connsiteY17" fmla="*/ 71707 h 71707"/>
                <a:gd name="connsiteX18" fmla="*/ 69466 w 112042"/>
                <a:gd name="connsiteY18" fmla="*/ 6946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042" h="71707">
                  <a:moveTo>
                    <a:pt x="69466" y="69466"/>
                  </a:moveTo>
                  <a:lnTo>
                    <a:pt x="13893" y="69466"/>
                  </a:lnTo>
                  <a:cubicBezTo>
                    <a:pt x="8963" y="69466"/>
                    <a:pt x="4482" y="65433"/>
                    <a:pt x="4482" y="60055"/>
                  </a:cubicBezTo>
                  <a:lnTo>
                    <a:pt x="4482" y="40335"/>
                  </a:lnTo>
                  <a:cubicBezTo>
                    <a:pt x="4482" y="20616"/>
                    <a:pt x="20616" y="4482"/>
                    <a:pt x="40335" y="4482"/>
                  </a:cubicBezTo>
                  <a:lnTo>
                    <a:pt x="85152" y="4482"/>
                  </a:lnTo>
                  <a:cubicBezTo>
                    <a:pt x="93219" y="4482"/>
                    <a:pt x="101735" y="7619"/>
                    <a:pt x="108009" y="12997"/>
                  </a:cubicBezTo>
                  <a:cubicBezTo>
                    <a:pt x="108905" y="13893"/>
                    <a:pt x="110250" y="15238"/>
                    <a:pt x="110698" y="15686"/>
                  </a:cubicBezTo>
                  <a:cubicBezTo>
                    <a:pt x="111594" y="16582"/>
                    <a:pt x="112939" y="17031"/>
                    <a:pt x="113835" y="16134"/>
                  </a:cubicBezTo>
                  <a:cubicBezTo>
                    <a:pt x="114731" y="15238"/>
                    <a:pt x="115180" y="13893"/>
                    <a:pt x="114283" y="12997"/>
                  </a:cubicBezTo>
                  <a:cubicBezTo>
                    <a:pt x="113387" y="12101"/>
                    <a:pt x="111594" y="9860"/>
                    <a:pt x="111146" y="9412"/>
                  </a:cubicBezTo>
                  <a:cubicBezTo>
                    <a:pt x="103976" y="3137"/>
                    <a:pt x="94116" y="0"/>
                    <a:pt x="85152" y="0"/>
                  </a:cubicBezTo>
                  <a:lnTo>
                    <a:pt x="40335" y="0"/>
                  </a:lnTo>
                  <a:cubicBezTo>
                    <a:pt x="18375" y="0"/>
                    <a:pt x="0" y="17927"/>
                    <a:pt x="0" y="40335"/>
                  </a:cubicBezTo>
                  <a:lnTo>
                    <a:pt x="0" y="60055"/>
                  </a:lnTo>
                  <a:cubicBezTo>
                    <a:pt x="0" y="67674"/>
                    <a:pt x="6274" y="73948"/>
                    <a:pt x="13893" y="73948"/>
                  </a:cubicBezTo>
                  <a:lnTo>
                    <a:pt x="69466" y="73948"/>
                  </a:lnTo>
                  <a:cubicBezTo>
                    <a:pt x="70811" y="73948"/>
                    <a:pt x="71707" y="73052"/>
                    <a:pt x="71707" y="71707"/>
                  </a:cubicBezTo>
                  <a:cubicBezTo>
                    <a:pt x="71707" y="70363"/>
                    <a:pt x="70811" y="69466"/>
                    <a:pt x="69466" y="69466"/>
                  </a:cubicBezTo>
                  <a:close/>
                </a:path>
              </a:pathLst>
            </a:custGeom>
            <a:solidFill>
              <a:srgbClr val="231F20"/>
            </a:solidFill>
            <a:ln w="4477" cap="flat">
              <a:noFill/>
              <a:prstDash val="solid"/>
              <a:miter/>
            </a:ln>
          </p:spPr>
          <p:txBody>
            <a:bodyPr rtlCol="0" anchor="ctr"/>
            <a:lstStyle/>
            <a:p>
              <a:endParaRPr lang="en-US"/>
            </a:p>
          </p:txBody>
        </p:sp>
        <p:sp>
          <p:nvSpPr>
            <p:cNvPr id="2846" name="Freeform: Shape 2845">
              <a:extLst>
                <a:ext uri="{FF2B5EF4-FFF2-40B4-BE49-F238E27FC236}">
                  <a16:creationId xmlns:a16="http://schemas.microsoft.com/office/drawing/2014/main" id="{983740C3-6FE0-4610-84EA-A3B7AF9DB04F}"/>
                </a:ext>
              </a:extLst>
            </p:cNvPr>
            <p:cNvSpPr/>
            <p:nvPr/>
          </p:nvSpPr>
          <p:spPr>
            <a:xfrm>
              <a:off x="10518565" y="3601256"/>
              <a:ext cx="58262" cy="53780"/>
            </a:xfrm>
            <a:custGeom>
              <a:avLst/>
              <a:gdLst>
                <a:gd name="connsiteX0" fmla="*/ 58262 w 58262"/>
                <a:gd name="connsiteY0" fmla="*/ 10532 h 53780"/>
                <a:gd name="connsiteX1" fmla="*/ 56469 w 58262"/>
                <a:gd name="connsiteY1" fmla="*/ 6050 h 53780"/>
                <a:gd name="connsiteX2" fmla="*/ 52436 w 58262"/>
                <a:gd name="connsiteY2" fmla="*/ 2017 h 53780"/>
                <a:gd name="connsiteX3" fmla="*/ 42576 w 58262"/>
                <a:gd name="connsiteY3" fmla="*/ 2017 h 53780"/>
                <a:gd name="connsiteX4" fmla="*/ 3585 w 58262"/>
                <a:gd name="connsiteY4" fmla="*/ 41008 h 53780"/>
                <a:gd name="connsiteX5" fmla="*/ 3585 w 58262"/>
                <a:gd name="connsiteY5" fmla="*/ 41008 h 53780"/>
                <a:gd name="connsiteX6" fmla="*/ 3137 w 58262"/>
                <a:gd name="connsiteY6" fmla="*/ 41456 h 53780"/>
                <a:gd name="connsiteX7" fmla="*/ 3137 w 58262"/>
                <a:gd name="connsiteY7" fmla="*/ 41904 h 53780"/>
                <a:gd name="connsiteX8" fmla="*/ 3137 w 58262"/>
                <a:gd name="connsiteY8" fmla="*/ 41904 h 53780"/>
                <a:gd name="connsiteX9" fmla="*/ 0 w 58262"/>
                <a:gd name="connsiteY9" fmla="*/ 55349 h 53780"/>
                <a:gd name="connsiteX10" fmla="*/ 448 w 58262"/>
                <a:gd name="connsiteY10" fmla="*/ 57590 h 53780"/>
                <a:gd name="connsiteX11" fmla="*/ 2241 w 58262"/>
                <a:gd name="connsiteY11" fmla="*/ 58038 h 53780"/>
                <a:gd name="connsiteX12" fmla="*/ 2689 w 58262"/>
                <a:gd name="connsiteY12" fmla="*/ 58038 h 53780"/>
                <a:gd name="connsiteX13" fmla="*/ 16134 w 58262"/>
                <a:gd name="connsiteY13" fmla="*/ 54901 h 53780"/>
                <a:gd name="connsiteX14" fmla="*/ 16134 w 58262"/>
                <a:gd name="connsiteY14" fmla="*/ 54901 h 53780"/>
                <a:gd name="connsiteX15" fmla="*/ 16582 w 58262"/>
                <a:gd name="connsiteY15" fmla="*/ 54901 h 53780"/>
                <a:gd name="connsiteX16" fmla="*/ 17030 w 58262"/>
                <a:gd name="connsiteY16" fmla="*/ 54453 h 53780"/>
                <a:gd name="connsiteX17" fmla="*/ 17030 w 58262"/>
                <a:gd name="connsiteY17" fmla="*/ 54453 h 53780"/>
                <a:gd name="connsiteX18" fmla="*/ 50643 w 58262"/>
                <a:gd name="connsiteY18" fmla="*/ 20840 h 53780"/>
                <a:gd name="connsiteX19" fmla="*/ 50643 w 58262"/>
                <a:gd name="connsiteY19" fmla="*/ 20840 h 53780"/>
                <a:gd name="connsiteX20" fmla="*/ 50643 w 58262"/>
                <a:gd name="connsiteY20" fmla="*/ 20840 h 53780"/>
                <a:gd name="connsiteX21" fmla="*/ 56021 w 58262"/>
                <a:gd name="connsiteY21" fmla="*/ 15462 h 53780"/>
                <a:gd name="connsiteX22" fmla="*/ 58262 w 58262"/>
                <a:gd name="connsiteY22" fmla="*/ 10532 h 53780"/>
                <a:gd name="connsiteX23" fmla="*/ 38991 w 58262"/>
                <a:gd name="connsiteY23" fmla="*/ 11876 h 53780"/>
                <a:gd name="connsiteX24" fmla="*/ 46161 w 58262"/>
                <a:gd name="connsiteY24" fmla="*/ 19047 h 53780"/>
                <a:gd name="connsiteX25" fmla="*/ 15686 w 58262"/>
                <a:gd name="connsiteY25" fmla="*/ 49523 h 53780"/>
                <a:gd name="connsiteX26" fmla="*/ 8515 w 58262"/>
                <a:gd name="connsiteY26" fmla="*/ 42352 h 53780"/>
                <a:gd name="connsiteX27" fmla="*/ 38991 w 58262"/>
                <a:gd name="connsiteY27" fmla="*/ 11876 h 53780"/>
                <a:gd name="connsiteX28" fmla="*/ 6723 w 58262"/>
                <a:gd name="connsiteY28" fmla="*/ 46834 h 53780"/>
                <a:gd name="connsiteX29" fmla="*/ 11204 w 58262"/>
                <a:gd name="connsiteY29" fmla="*/ 51764 h 53780"/>
                <a:gd name="connsiteX30" fmla="*/ 5378 w 58262"/>
                <a:gd name="connsiteY30" fmla="*/ 53108 h 53780"/>
                <a:gd name="connsiteX31" fmla="*/ 6723 w 58262"/>
                <a:gd name="connsiteY31" fmla="*/ 46834 h 53780"/>
                <a:gd name="connsiteX32" fmla="*/ 52884 w 58262"/>
                <a:gd name="connsiteY32" fmla="*/ 12325 h 53780"/>
                <a:gd name="connsiteX33" fmla="*/ 49299 w 58262"/>
                <a:gd name="connsiteY33" fmla="*/ 15910 h 53780"/>
                <a:gd name="connsiteX34" fmla="*/ 42128 w 58262"/>
                <a:gd name="connsiteY34" fmla="*/ 8739 h 53780"/>
                <a:gd name="connsiteX35" fmla="*/ 45713 w 58262"/>
                <a:gd name="connsiteY35" fmla="*/ 5154 h 53780"/>
                <a:gd name="connsiteX36" fmla="*/ 48850 w 58262"/>
                <a:gd name="connsiteY36" fmla="*/ 5154 h 53780"/>
                <a:gd name="connsiteX37" fmla="*/ 52884 w 58262"/>
                <a:gd name="connsiteY37" fmla="*/ 9188 h 53780"/>
                <a:gd name="connsiteX38" fmla="*/ 53332 w 58262"/>
                <a:gd name="connsiteY38" fmla="*/ 10532 h 53780"/>
                <a:gd name="connsiteX39" fmla="*/ 52884 w 58262"/>
                <a:gd name="connsiteY39" fmla="*/ 12325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8262" h="53780">
                  <a:moveTo>
                    <a:pt x="58262" y="10532"/>
                  </a:moveTo>
                  <a:cubicBezTo>
                    <a:pt x="58262" y="8739"/>
                    <a:pt x="57366" y="6947"/>
                    <a:pt x="56469" y="6050"/>
                  </a:cubicBezTo>
                  <a:lnTo>
                    <a:pt x="52436" y="2017"/>
                  </a:lnTo>
                  <a:cubicBezTo>
                    <a:pt x="49747" y="-672"/>
                    <a:pt x="45265" y="-672"/>
                    <a:pt x="42576" y="2017"/>
                  </a:cubicBezTo>
                  <a:lnTo>
                    <a:pt x="3585" y="41008"/>
                  </a:lnTo>
                  <a:cubicBezTo>
                    <a:pt x="3585" y="41008"/>
                    <a:pt x="3585" y="41008"/>
                    <a:pt x="3585" y="41008"/>
                  </a:cubicBezTo>
                  <a:cubicBezTo>
                    <a:pt x="3585" y="41008"/>
                    <a:pt x="3585" y="41456"/>
                    <a:pt x="3137" y="41456"/>
                  </a:cubicBezTo>
                  <a:cubicBezTo>
                    <a:pt x="2689" y="41456"/>
                    <a:pt x="3137" y="41904"/>
                    <a:pt x="3137" y="41904"/>
                  </a:cubicBezTo>
                  <a:cubicBezTo>
                    <a:pt x="3137" y="41904"/>
                    <a:pt x="3137" y="41904"/>
                    <a:pt x="3137" y="41904"/>
                  </a:cubicBezTo>
                  <a:lnTo>
                    <a:pt x="0" y="55349"/>
                  </a:lnTo>
                  <a:cubicBezTo>
                    <a:pt x="0" y="56245"/>
                    <a:pt x="0" y="56694"/>
                    <a:pt x="448" y="57590"/>
                  </a:cubicBezTo>
                  <a:cubicBezTo>
                    <a:pt x="896" y="58038"/>
                    <a:pt x="1344" y="58038"/>
                    <a:pt x="2241" y="58038"/>
                  </a:cubicBezTo>
                  <a:cubicBezTo>
                    <a:pt x="2241" y="58038"/>
                    <a:pt x="2689" y="58038"/>
                    <a:pt x="2689" y="58038"/>
                  </a:cubicBezTo>
                  <a:lnTo>
                    <a:pt x="16134" y="54901"/>
                  </a:lnTo>
                  <a:cubicBezTo>
                    <a:pt x="16134" y="54901"/>
                    <a:pt x="16134" y="54901"/>
                    <a:pt x="16134" y="54901"/>
                  </a:cubicBezTo>
                  <a:cubicBezTo>
                    <a:pt x="16134" y="54901"/>
                    <a:pt x="16582" y="54901"/>
                    <a:pt x="16582" y="54901"/>
                  </a:cubicBezTo>
                  <a:cubicBezTo>
                    <a:pt x="16582" y="54901"/>
                    <a:pt x="17030" y="54901"/>
                    <a:pt x="17030" y="54453"/>
                  </a:cubicBezTo>
                  <a:cubicBezTo>
                    <a:pt x="17030" y="54453"/>
                    <a:pt x="17030" y="54453"/>
                    <a:pt x="17030" y="54453"/>
                  </a:cubicBezTo>
                  <a:lnTo>
                    <a:pt x="50643" y="20840"/>
                  </a:lnTo>
                  <a:cubicBezTo>
                    <a:pt x="50643" y="20840"/>
                    <a:pt x="50643" y="20840"/>
                    <a:pt x="50643" y="20840"/>
                  </a:cubicBezTo>
                  <a:cubicBezTo>
                    <a:pt x="50643" y="20840"/>
                    <a:pt x="50643" y="20840"/>
                    <a:pt x="50643" y="20840"/>
                  </a:cubicBezTo>
                  <a:lnTo>
                    <a:pt x="56021" y="15462"/>
                  </a:lnTo>
                  <a:cubicBezTo>
                    <a:pt x="57366" y="14117"/>
                    <a:pt x="58262" y="12325"/>
                    <a:pt x="58262" y="10532"/>
                  </a:cubicBezTo>
                  <a:close/>
                  <a:moveTo>
                    <a:pt x="38991" y="11876"/>
                  </a:moveTo>
                  <a:lnTo>
                    <a:pt x="46161" y="19047"/>
                  </a:lnTo>
                  <a:lnTo>
                    <a:pt x="15686" y="49523"/>
                  </a:lnTo>
                  <a:lnTo>
                    <a:pt x="8515" y="42352"/>
                  </a:lnTo>
                  <a:lnTo>
                    <a:pt x="38991" y="11876"/>
                  </a:lnTo>
                  <a:close/>
                  <a:moveTo>
                    <a:pt x="6723" y="46834"/>
                  </a:moveTo>
                  <a:lnTo>
                    <a:pt x="11204" y="51764"/>
                  </a:lnTo>
                  <a:lnTo>
                    <a:pt x="5378" y="53108"/>
                  </a:lnTo>
                  <a:lnTo>
                    <a:pt x="6723" y="46834"/>
                  </a:lnTo>
                  <a:close/>
                  <a:moveTo>
                    <a:pt x="52884" y="12325"/>
                  </a:moveTo>
                  <a:lnTo>
                    <a:pt x="49299" y="15910"/>
                  </a:lnTo>
                  <a:lnTo>
                    <a:pt x="42128" y="8739"/>
                  </a:lnTo>
                  <a:lnTo>
                    <a:pt x="45713" y="5154"/>
                  </a:lnTo>
                  <a:cubicBezTo>
                    <a:pt x="46610" y="4258"/>
                    <a:pt x="47954" y="4258"/>
                    <a:pt x="48850" y="5154"/>
                  </a:cubicBezTo>
                  <a:lnTo>
                    <a:pt x="52884" y="9188"/>
                  </a:lnTo>
                  <a:cubicBezTo>
                    <a:pt x="53332" y="9636"/>
                    <a:pt x="53332" y="10084"/>
                    <a:pt x="53332" y="10532"/>
                  </a:cubicBezTo>
                  <a:cubicBezTo>
                    <a:pt x="53780" y="10980"/>
                    <a:pt x="53332" y="11876"/>
                    <a:pt x="52884" y="12325"/>
                  </a:cubicBezTo>
                  <a:close/>
                </a:path>
              </a:pathLst>
            </a:custGeom>
            <a:solidFill>
              <a:srgbClr val="231F20"/>
            </a:solidFill>
            <a:ln w="4477" cap="flat">
              <a:noFill/>
              <a:prstDash val="solid"/>
              <a:miter/>
            </a:ln>
          </p:spPr>
          <p:txBody>
            <a:bodyPr rtlCol="0" anchor="ctr"/>
            <a:lstStyle/>
            <a:p>
              <a:endParaRPr lang="en-US"/>
            </a:p>
          </p:txBody>
        </p:sp>
      </p:grpSp>
      <p:grpSp>
        <p:nvGrpSpPr>
          <p:cNvPr id="2568" name="Group 2567">
            <a:extLst>
              <a:ext uri="{FF2B5EF4-FFF2-40B4-BE49-F238E27FC236}">
                <a16:creationId xmlns:a16="http://schemas.microsoft.com/office/drawing/2014/main" id="{75D54F78-E301-44E9-9417-42C4929D53A1}"/>
              </a:ext>
              <a:ext uri="{C183D7F6-B498-43B3-948B-1728B52AA6E4}">
                <adec:decorative xmlns:adec="http://schemas.microsoft.com/office/drawing/2017/decorative" val="1"/>
              </a:ext>
            </a:extLst>
          </p:cNvPr>
          <p:cNvGrpSpPr>
            <a:grpSpLocks noChangeAspect="1"/>
          </p:cNvGrpSpPr>
          <p:nvPr/>
        </p:nvGrpSpPr>
        <p:grpSpPr>
          <a:xfrm>
            <a:off x="10902168" y="5567089"/>
            <a:ext cx="138933" cy="147896"/>
            <a:chOff x="10958668" y="3511398"/>
            <a:chExt cx="138933" cy="147896"/>
          </a:xfrm>
        </p:grpSpPr>
        <p:sp>
          <p:nvSpPr>
            <p:cNvPr id="2840" name="Freeform: Shape 2839">
              <a:extLst>
                <a:ext uri="{FF2B5EF4-FFF2-40B4-BE49-F238E27FC236}">
                  <a16:creationId xmlns:a16="http://schemas.microsoft.com/office/drawing/2014/main" id="{C4292007-F3D7-4336-9ACC-B3240D1F79FE}"/>
                </a:ext>
              </a:extLst>
            </p:cNvPr>
            <p:cNvSpPr/>
            <p:nvPr/>
          </p:nvSpPr>
          <p:spPr>
            <a:xfrm>
              <a:off x="10987799" y="3511398"/>
              <a:ext cx="67226" cy="67226"/>
            </a:xfrm>
            <a:custGeom>
              <a:avLst/>
              <a:gdLst>
                <a:gd name="connsiteX0" fmla="*/ 33613 w 67225"/>
                <a:gd name="connsiteY0" fmla="*/ 67226 h 67225"/>
                <a:gd name="connsiteX1" fmla="*/ 0 w 67225"/>
                <a:gd name="connsiteY1" fmla="*/ 33613 h 67225"/>
                <a:gd name="connsiteX2" fmla="*/ 33613 w 67225"/>
                <a:gd name="connsiteY2" fmla="*/ 0 h 67225"/>
                <a:gd name="connsiteX3" fmla="*/ 67226 w 67225"/>
                <a:gd name="connsiteY3" fmla="*/ 33613 h 67225"/>
                <a:gd name="connsiteX4" fmla="*/ 33613 w 67225"/>
                <a:gd name="connsiteY4" fmla="*/ 67226 h 67225"/>
                <a:gd name="connsiteX5" fmla="*/ 33613 w 67225"/>
                <a:gd name="connsiteY5" fmla="*/ 4482 h 67225"/>
                <a:gd name="connsiteX6" fmla="*/ 4482 w 67225"/>
                <a:gd name="connsiteY6" fmla="*/ 33613 h 67225"/>
                <a:gd name="connsiteX7" fmla="*/ 33613 w 67225"/>
                <a:gd name="connsiteY7" fmla="*/ 62744 h 67225"/>
                <a:gd name="connsiteX8" fmla="*/ 62744 w 67225"/>
                <a:gd name="connsiteY8" fmla="*/ 33613 h 67225"/>
                <a:gd name="connsiteX9" fmla="*/ 33613 w 67225"/>
                <a:gd name="connsiteY9" fmla="*/ 4482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13" y="67226"/>
                  </a:moveTo>
                  <a:cubicBezTo>
                    <a:pt x="15238" y="67226"/>
                    <a:pt x="0" y="51988"/>
                    <a:pt x="0" y="33613"/>
                  </a:cubicBezTo>
                  <a:cubicBezTo>
                    <a:pt x="0" y="15238"/>
                    <a:pt x="15238" y="0"/>
                    <a:pt x="33613" y="0"/>
                  </a:cubicBezTo>
                  <a:cubicBezTo>
                    <a:pt x="51988" y="0"/>
                    <a:pt x="67226" y="15238"/>
                    <a:pt x="67226" y="33613"/>
                  </a:cubicBezTo>
                  <a:cubicBezTo>
                    <a:pt x="67226" y="51988"/>
                    <a:pt x="51988" y="67226"/>
                    <a:pt x="33613" y="67226"/>
                  </a:cubicBezTo>
                  <a:close/>
                  <a:moveTo>
                    <a:pt x="33613" y="4482"/>
                  </a:moveTo>
                  <a:cubicBezTo>
                    <a:pt x="17478" y="4482"/>
                    <a:pt x="4482" y="17479"/>
                    <a:pt x="4482" y="33613"/>
                  </a:cubicBezTo>
                  <a:cubicBezTo>
                    <a:pt x="4482" y="49747"/>
                    <a:pt x="17478" y="62744"/>
                    <a:pt x="33613" y="62744"/>
                  </a:cubicBezTo>
                  <a:cubicBezTo>
                    <a:pt x="49747" y="62744"/>
                    <a:pt x="62744" y="49747"/>
                    <a:pt x="62744" y="33613"/>
                  </a:cubicBezTo>
                  <a:cubicBezTo>
                    <a:pt x="62744" y="17479"/>
                    <a:pt x="49747" y="4482"/>
                    <a:pt x="33613" y="4482"/>
                  </a:cubicBezTo>
                  <a:close/>
                </a:path>
              </a:pathLst>
            </a:custGeom>
            <a:solidFill>
              <a:srgbClr val="231F20"/>
            </a:solidFill>
            <a:ln w="4477" cap="flat">
              <a:noFill/>
              <a:prstDash val="solid"/>
              <a:miter/>
            </a:ln>
          </p:spPr>
          <p:txBody>
            <a:bodyPr rtlCol="0" anchor="ctr"/>
            <a:lstStyle/>
            <a:p>
              <a:endParaRPr lang="en-US"/>
            </a:p>
          </p:txBody>
        </p:sp>
        <p:sp>
          <p:nvSpPr>
            <p:cNvPr id="2841" name="Freeform: Shape 2840">
              <a:extLst>
                <a:ext uri="{FF2B5EF4-FFF2-40B4-BE49-F238E27FC236}">
                  <a16:creationId xmlns:a16="http://schemas.microsoft.com/office/drawing/2014/main" id="{D97E3A3D-5B96-4DB9-BB2B-7FFF01268335}"/>
                </a:ext>
              </a:extLst>
            </p:cNvPr>
            <p:cNvSpPr/>
            <p:nvPr/>
          </p:nvSpPr>
          <p:spPr>
            <a:xfrm>
              <a:off x="10958668" y="3585346"/>
              <a:ext cx="103079" cy="71707"/>
            </a:xfrm>
            <a:custGeom>
              <a:avLst/>
              <a:gdLst>
                <a:gd name="connsiteX0" fmla="*/ 82911 w 103079"/>
                <a:gd name="connsiteY0" fmla="*/ 73948 h 71707"/>
                <a:gd name="connsiteX1" fmla="*/ 13893 w 103079"/>
                <a:gd name="connsiteY1" fmla="*/ 73948 h 71707"/>
                <a:gd name="connsiteX2" fmla="*/ 0 w 103079"/>
                <a:gd name="connsiteY2" fmla="*/ 60055 h 71707"/>
                <a:gd name="connsiteX3" fmla="*/ 0 w 103079"/>
                <a:gd name="connsiteY3" fmla="*/ 40335 h 71707"/>
                <a:gd name="connsiteX4" fmla="*/ 40335 w 103079"/>
                <a:gd name="connsiteY4" fmla="*/ 0 h 71707"/>
                <a:gd name="connsiteX5" fmla="*/ 85152 w 103079"/>
                <a:gd name="connsiteY5" fmla="*/ 0 h 71707"/>
                <a:gd name="connsiteX6" fmla="*/ 105320 w 103079"/>
                <a:gd name="connsiteY6" fmla="*/ 5378 h 71707"/>
                <a:gd name="connsiteX7" fmla="*/ 106216 w 103079"/>
                <a:gd name="connsiteY7" fmla="*/ 8515 h 71707"/>
                <a:gd name="connsiteX8" fmla="*/ 103079 w 103079"/>
                <a:gd name="connsiteY8" fmla="*/ 9412 h 71707"/>
                <a:gd name="connsiteX9" fmla="*/ 85152 w 103079"/>
                <a:gd name="connsiteY9" fmla="*/ 4482 h 71707"/>
                <a:gd name="connsiteX10" fmla="*/ 40335 w 103079"/>
                <a:gd name="connsiteY10" fmla="*/ 4482 h 71707"/>
                <a:gd name="connsiteX11" fmla="*/ 4482 w 103079"/>
                <a:gd name="connsiteY11" fmla="*/ 40335 h 71707"/>
                <a:gd name="connsiteX12" fmla="*/ 4482 w 103079"/>
                <a:gd name="connsiteY12" fmla="*/ 60055 h 71707"/>
                <a:gd name="connsiteX13" fmla="*/ 13893 w 103079"/>
                <a:gd name="connsiteY13" fmla="*/ 69466 h 71707"/>
                <a:gd name="connsiteX14" fmla="*/ 82911 w 103079"/>
                <a:gd name="connsiteY14" fmla="*/ 69466 h 71707"/>
                <a:gd name="connsiteX15" fmla="*/ 85152 w 103079"/>
                <a:gd name="connsiteY15" fmla="*/ 71707 h 71707"/>
                <a:gd name="connsiteX16" fmla="*/ 82911 w 103079"/>
                <a:gd name="connsiteY16" fmla="*/ 73948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82911" y="73948"/>
                  </a:moveTo>
                  <a:lnTo>
                    <a:pt x="13893" y="73948"/>
                  </a:lnTo>
                  <a:cubicBezTo>
                    <a:pt x="6274" y="73948"/>
                    <a:pt x="0" y="67674"/>
                    <a:pt x="0" y="60055"/>
                  </a:cubicBezTo>
                  <a:lnTo>
                    <a:pt x="0" y="40335"/>
                  </a:lnTo>
                  <a:cubicBezTo>
                    <a:pt x="0" y="18375"/>
                    <a:pt x="17927" y="0"/>
                    <a:pt x="40335" y="0"/>
                  </a:cubicBezTo>
                  <a:lnTo>
                    <a:pt x="85152" y="0"/>
                  </a:lnTo>
                  <a:cubicBezTo>
                    <a:pt x="91875" y="0"/>
                    <a:pt x="99046" y="1793"/>
                    <a:pt x="105320" y="5378"/>
                  </a:cubicBezTo>
                  <a:cubicBezTo>
                    <a:pt x="106216" y="5826"/>
                    <a:pt x="106664" y="7171"/>
                    <a:pt x="106216" y="8515"/>
                  </a:cubicBezTo>
                  <a:cubicBezTo>
                    <a:pt x="105768" y="9412"/>
                    <a:pt x="104423" y="9860"/>
                    <a:pt x="103079" y="9412"/>
                  </a:cubicBezTo>
                  <a:cubicBezTo>
                    <a:pt x="97253" y="6274"/>
                    <a:pt x="91427" y="4482"/>
                    <a:pt x="85152" y="4482"/>
                  </a:cubicBezTo>
                  <a:lnTo>
                    <a:pt x="40335" y="4482"/>
                  </a:lnTo>
                  <a:cubicBezTo>
                    <a:pt x="20616" y="4482"/>
                    <a:pt x="4482" y="20616"/>
                    <a:pt x="4482" y="40335"/>
                  </a:cubicBezTo>
                  <a:lnTo>
                    <a:pt x="4482" y="60055"/>
                  </a:lnTo>
                  <a:cubicBezTo>
                    <a:pt x="4482" y="64985"/>
                    <a:pt x="8515" y="69466"/>
                    <a:pt x="13893" y="69466"/>
                  </a:cubicBezTo>
                  <a:lnTo>
                    <a:pt x="82911" y="69466"/>
                  </a:lnTo>
                  <a:cubicBezTo>
                    <a:pt x="84256" y="69466"/>
                    <a:pt x="85152" y="70363"/>
                    <a:pt x="85152" y="71707"/>
                  </a:cubicBezTo>
                  <a:cubicBezTo>
                    <a:pt x="85152" y="73052"/>
                    <a:pt x="84256" y="73948"/>
                    <a:pt x="82911" y="73948"/>
                  </a:cubicBezTo>
                  <a:close/>
                </a:path>
              </a:pathLst>
            </a:custGeom>
            <a:solidFill>
              <a:srgbClr val="231F20"/>
            </a:solidFill>
            <a:ln w="4477" cap="flat">
              <a:noFill/>
              <a:prstDash val="solid"/>
              <a:miter/>
            </a:ln>
          </p:spPr>
          <p:txBody>
            <a:bodyPr rtlCol="0" anchor="ctr"/>
            <a:lstStyle/>
            <a:p>
              <a:endParaRPr lang="en-US"/>
            </a:p>
          </p:txBody>
        </p:sp>
        <p:sp>
          <p:nvSpPr>
            <p:cNvPr id="2842" name="Freeform: Shape 2841">
              <a:extLst>
                <a:ext uri="{FF2B5EF4-FFF2-40B4-BE49-F238E27FC236}">
                  <a16:creationId xmlns:a16="http://schemas.microsoft.com/office/drawing/2014/main" id="{38ADC137-EEB0-4289-8DD3-760D31B62BCC}"/>
                </a:ext>
              </a:extLst>
            </p:cNvPr>
            <p:cNvSpPr/>
            <p:nvPr/>
          </p:nvSpPr>
          <p:spPr>
            <a:xfrm>
              <a:off x="11039339" y="3601032"/>
              <a:ext cx="58262" cy="58262"/>
            </a:xfrm>
            <a:custGeom>
              <a:avLst/>
              <a:gdLst>
                <a:gd name="connsiteX0" fmla="*/ 29131 w 58262"/>
                <a:gd name="connsiteY0" fmla="*/ 58262 h 58262"/>
                <a:gd name="connsiteX1" fmla="*/ 0 w 58262"/>
                <a:gd name="connsiteY1" fmla="*/ 29131 h 58262"/>
                <a:gd name="connsiteX2" fmla="*/ 29131 w 58262"/>
                <a:gd name="connsiteY2" fmla="*/ 0 h 58262"/>
                <a:gd name="connsiteX3" fmla="*/ 58262 w 58262"/>
                <a:gd name="connsiteY3" fmla="*/ 29131 h 58262"/>
                <a:gd name="connsiteX4" fmla="*/ 29131 w 58262"/>
                <a:gd name="connsiteY4" fmla="*/ 58262 h 58262"/>
                <a:gd name="connsiteX5" fmla="*/ 29131 w 58262"/>
                <a:gd name="connsiteY5" fmla="*/ 4482 h 58262"/>
                <a:gd name="connsiteX6" fmla="*/ 4482 w 58262"/>
                <a:gd name="connsiteY6" fmla="*/ 29131 h 58262"/>
                <a:gd name="connsiteX7" fmla="*/ 29131 w 58262"/>
                <a:gd name="connsiteY7" fmla="*/ 53780 h 58262"/>
                <a:gd name="connsiteX8" fmla="*/ 53780 w 58262"/>
                <a:gd name="connsiteY8" fmla="*/ 29131 h 58262"/>
                <a:gd name="connsiteX9" fmla="*/ 29131 w 58262"/>
                <a:gd name="connsiteY9"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58262"/>
                  </a:moveTo>
                  <a:cubicBezTo>
                    <a:pt x="12997" y="58262"/>
                    <a:pt x="0" y="45265"/>
                    <a:pt x="0" y="29131"/>
                  </a:cubicBezTo>
                  <a:cubicBezTo>
                    <a:pt x="0" y="12997"/>
                    <a:pt x="12997" y="0"/>
                    <a:pt x="29131" y="0"/>
                  </a:cubicBezTo>
                  <a:cubicBezTo>
                    <a:pt x="45265" y="0"/>
                    <a:pt x="58262" y="12997"/>
                    <a:pt x="58262" y="29131"/>
                  </a:cubicBezTo>
                  <a:cubicBezTo>
                    <a:pt x="58262" y="45265"/>
                    <a:pt x="45265" y="58262"/>
                    <a:pt x="29131" y="58262"/>
                  </a:cubicBezTo>
                  <a:close/>
                  <a:moveTo>
                    <a:pt x="29131" y="4482"/>
                  </a:moveTo>
                  <a:cubicBezTo>
                    <a:pt x="15686" y="4482"/>
                    <a:pt x="4482" y="15686"/>
                    <a:pt x="4482" y="29131"/>
                  </a:cubicBezTo>
                  <a:cubicBezTo>
                    <a:pt x="4482" y="42576"/>
                    <a:pt x="15686" y="53780"/>
                    <a:pt x="29131" y="53780"/>
                  </a:cubicBezTo>
                  <a:cubicBezTo>
                    <a:pt x="42576" y="53780"/>
                    <a:pt x="53780" y="42576"/>
                    <a:pt x="53780" y="29131"/>
                  </a:cubicBezTo>
                  <a:cubicBezTo>
                    <a:pt x="53780" y="15686"/>
                    <a:pt x="42576" y="4482"/>
                    <a:pt x="29131" y="4482"/>
                  </a:cubicBezTo>
                  <a:close/>
                </a:path>
              </a:pathLst>
            </a:custGeom>
            <a:solidFill>
              <a:srgbClr val="231F20"/>
            </a:solidFill>
            <a:ln w="4477" cap="flat">
              <a:noFill/>
              <a:prstDash val="solid"/>
              <a:miter/>
            </a:ln>
          </p:spPr>
          <p:txBody>
            <a:bodyPr rtlCol="0" anchor="ctr"/>
            <a:lstStyle/>
            <a:p>
              <a:endParaRPr lang="en-US"/>
            </a:p>
          </p:txBody>
        </p:sp>
        <p:sp>
          <p:nvSpPr>
            <p:cNvPr id="2843" name="Freeform: Shape 2842">
              <a:extLst>
                <a:ext uri="{FF2B5EF4-FFF2-40B4-BE49-F238E27FC236}">
                  <a16:creationId xmlns:a16="http://schemas.microsoft.com/office/drawing/2014/main" id="{2BA7DB60-D17E-432A-A5F0-DA219DD16926}"/>
                </a:ext>
              </a:extLst>
            </p:cNvPr>
            <p:cNvSpPr/>
            <p:nvPr/>
          </p:nvSpPr>
          <p:spPr>
            <a:xfrm>
              <a:off x="11051215" y="3619231"/>
              <a:ext cx="31372" cy="22409"/>
            </a:xfrm>
            <a:custGeom>
              <a:avLst/>
              <a:gdLst>
                <a:gd name="connsiteX0" fmla="*/ 10532 w 31371"/>
                <a:gd name="connsiteY0" fmla="*/ 23033 h 22408"/>
                <a:gd name="connsiteX1" fmla="*/ 8739 w 31371"/>
                <a:gd name="connsiteY1" fmla="*/ 22585 h 22408"/>
                <a:gd name="connsiteX2" fmla="*/ 672 w 31371"/>
                <a:gd name="connsiteY2" fmla="*/ 14518 h 22408"/>
                <a:gd name="connsiteX3" fmla="*/ 672 w 31371"/>
                <a:gd name="connsiteY3" fmla="*/ 11381 h 22408"/>
                <a:gd name="connsiteX4" fmla="*/ 3810 w 31371"/>
                <a:gd name="connsiteY4" fmla="*/ 11381 h 22408"/>
                <a:gd name="connsiteX5" fmla="*/ 10084 w 31371"/>
                <a:gd name="connsiteY5" fmla="*/ 17655 h 22408"/>
                <a:gd name="connsiteX6" fmla="*/ 30252 w 31371"/>
                <a:gd name="connsiteY6" fmla="*/ 625 h 22408"/>
                <a:gd name="connsiteX7" fmla="*/ 33389 w 31371"/>
                <a:gd name="connsiteY7" fmla="*/ 1073 h 22408"/>
                <a:gd name="connsiteX8" fmla="*/ 32941 w 31371"/>
                <a:gd name="connsiteY8" fmla="*/ 4210 h 22408"/>
                <a:gd name="connsiteX9" fmla="*/ 11428 w 31371"/>
                <a:gd name="connsiteY9" fmla="*/ 22585 h 22408"/>
                <a:gd name="connsiteX10" fmla="*/ 10532 w 31371"/>
                <a:gd name="connsiteY10" fmla="*/ 230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71" h="22408">
                  <a:moveTo>
                    <a:pt x="10532" y="23033"/>
                  </a:moveTo>
                  <a:cubicBezTo>
                    <a:pt x="10084" y="23033"/>
                    <a:pt x="9187" y="23033"/>
                    <a:pt x="8739" y="22585"/>
                  </a:cubicBezTo>
                  <a:lnTo>
                    <a:pt x="672" y="14518"/>
                  </a:lnTo>
                  <a:cubicBezTo>
                    <a:pt x="-224" y="13622"/>
                    <a:pt x="-224" y="12277"/>
                    <a:pt x="672" y="11381"/>
                  </a:cubicBezTo>
                  <a:cubicBezTo>
                    <a:pt x="1569" y="10485"/>
                    <a:pt x="2913" y="10485"/>
                    <a:pt x="3810" y="11381"/>
                  </a:cubicBezTo>
                  <a:lnTo>
                    <a:pt x="10084" y="17655"/>
                  </a:lnTo>
                  <a:lnTo>
                    <a:pt x="30252" y="625"/>
                  </a:lnTo>
                  <a:cubicBezTo>
                    <a:pt x="31148" y="-272"/>
                    <a:pt x="32493" y="-272"/>
                    <a:pt x="33389" y="1073"/>
                  </a:cubicBezTo>
                  <a:cubicBezTo>
                    <a:pt x="34285" y="1969"/>
                    <a:pt x="34285" y="3314"/>
                    <a:pt x="32941" y="4210"/>
                  </a:cubicBezTo>
                  <a:lnTo>
                    <a:pt x="11428" y="22585"/>
                  </a:lnTo>
                  <a:cubicBezTo>
                    <a:pt x="11428" y="22585"/>
                    <a:pt x="10980" y="23033"/>
                    <a:pt x="10532" y="23033"/>
                  </a:cubicBezTo>
                  <a:close/>
                </a:path>
              </a:pathLst>
            </a:custGeom>
            <a:solidFill>
              <a:srgbClr val="231F20"/>
            </a:solidFill>
            <a:ln w="4477" cap="flat">
              <a:noFill/>
              <a:prstDash val="solid"/>
              <a:miter/>
            </a:ln>
          </p:spPr>
          <p:txBody>
            <a:bodyPr rtlCol="0" anchor="ctr"/>
            <a:lstStyle/>
            <a:p>
              <a:endParaRPr lang="en-US"/>
            </a:p>
          </p:txBody>
        </p:sp>
      </p:grpSp>
      <p:grpSp>
        <p:nvGrpSpPr>
          <p:cNvPr id="2569" name="Group 2568">
            <a:extLst>
              <a:ext uri="{FF2B5EF4-FFF2-40B4-BE49-F238E27FC236}">
                <a16:creationId xmlns:a16="http://schemas.microsoft.com/office/drawing/2014/main" id="{1928D8C4-841F-4306-BF34-54CC7BD99F9B}"/>
              </a:ext>
              <a:ext uri="{C183D7F6-B498-43B3-948B-1728B52AA6E4}">
                <adec:decorative xmlns:adec="http://schemas.microsoft.com/office/drawing/2017/decorative" val="1"/>
              </a:ext>
            </a:extLst>
          </p:cNvPr>
          <p:cNvGrpSpPr>
            <a:grpSpLocks noChangeAspect="1"/>
          </p:cNvGrpSpPr>
          <p:nvPr/>
        </p:nvGrpSpPr>
        <p:grpSpPr>
          <a:xfrm>
            <a:off x="10641333" y="5567537"/>
            <a:ext cx="134451" cy="145656"/>
            <a:chOff x="10697833" y="3511846"/>
            <a:chExt cx="134451" cy="145656"/>
          </a:xfrm>
        </p:grpSpPr>
        <p:sp>
          <p:nvSpPr>
            <p:cNvPr id="2836" name="Freeform: Shape 2835">
              <a:extLst>
                <a:ext uri="{FF2B5EF4-FFF2-40B4-BE49-F238E27FC236}">
                  <a16:creationId xmlns:a16="http://schemas.microsoft.com/office/drawing/2014/main" id="{BA7242D9-BD77-4E26-B220-C8DDBD4F9C61}"/>
                </a:ext>
              </a:extLst>
            </p:cNvPr>
            <p:cNvSpPr/>
            <p:nvPr/>
          </p:nvSpPr>
          <p:spPr>
            <a:xfrm>
              <a:off x="10726954" y="3511846"/>
              <a:ext cx="67226" cy="67226"/>
            </a:xfrm>
            <a:custGeom>
              <a:avLst/>
              <a:gdLst>
                <a:gd name="connsiteX0" fmla="*/ 33622 w 67225"/>
                <a:gd name="connsiteY0" fmla="*/ 67226 h 67225"/>
                <a:gd name="connsiteX1" fmla="*/ 67235 w 67225"/>
                <a:gd name="connsiteY1" fmla="*/ 33613 h 67225"/>
                <a:gd name="connsiteX2" fmla="*/ 33622 w 67225"/>
                <a:gd name="connsiteY2" fmla="*/ 0 h 67225"/>
                <a:gd name="connsiteX3" fmla="*/ 10 w 67225"/>
                <a:gd name="connsiteY3" fmla="*/ 33613 h 67225"/>
                <a:gd name="connsiteX4" fmla="*/ 33622 w 67225"/>
                <a:gd name="connsiteY4" fmla="*/ 67226 h 67225"/>
                <a:gd name="connsiteX5" fmla="*/ 33622 w 67225"/>
                <a:gd name="connsiteY5" fmla="*/ 4033 h 67225"/>
                <a:gd name="connsiteX6" fmla="*/ 62753 w 67225"/>
                <a:gd name="connsiteY6" fmla="*/ 33164 h 67225"/>
                <a:gd name="connsiteX7" fmla="*/ 33622 w 67225"/>
                <a:gd name="connsiteY7" fmla="*/ 62296 h 67225"/>
                <a:gd name="connsiteX8" fmla="*/ 4491 w 67225"/>
                <a:gd name="connsiteY8" fmla="*/ 33164 h 67225"/>
                <a:gd name="connsiteX9" fmla="*/ 33622 w 67225"/>
                <a:gd name="connsiteY9" fmla="*/ 4033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5" h="67225">
                  <a:moveTo>
                    <a:pt x="33622" y="67226"/>
                  </a:moveTo>
                  <a:cubicBezTo>
                    <a:pt x="52446" y="67226"/>
                    <a:pt x="67235" y="51988"/>
                    <a:pt x="67235" y="33613"/>
                  </a:cubicBezTo>
                  <a:cubicBezTo>
                    <a:pt x="67235" y="14790"/>
                    <a:pt x="51997" y="0"/>
                    <a:pt x="33622" y="0"/>
                  </a:cubicBezTo>
                  <a:cubicBezTo>
                    <a:pt x="14799" y="0"/>
                    <a:pt x="10" y="15238"/>
                    <a:pt x="10" y="33613"/>
                  </a:cubicBezTo>
                  <a:cubicBezTo>
                    <a:pt x="-439" y="51988"/>
                    <a:pt x="14799" y="67226"/>
                    <a:pt x="33622" y="67226"/>
                  </a:cubicBezTo>
                  <a:close/>
                  <a:moveTo>
                    <a:pt x="33622" y="4033"/>
                  </a:moveTo>
                  <a:cubicBezTo>
                    <a:pt x="49756" y="4033"/>
                    <a:pt x="62753" y="17030"/>
                    <a:pt x="62753" y="33164"/>
                  </a:cubicBezTo>
                  <a:cubicBezTo>
                    <a:pt x="62753" y="49299"/>
                    <a:pt x="49756" y="62296"/>
                    <a:pt x="33622" y="62296"/>
                  </a:cubicBezTo>
                  <a:cubicBezTo>
                    <a:pt x="17488" y="62296"/>
                    <a:pt x="4491" y="49299"/>
                    <a:pt x="4491" y="33164"/>
                  </a:cubicBezTo>
                  <a:cubicBezTo>
                    <a:pt x="4043" y="17030"/>
                    <a:pt x="17488" y="4033"/>
                    <a:pt x="33622" y="4033"/>
                  </a:cubicBezTo>
                  <a:close/>
                </a:path>
              </a:pathLst>
            </a:custGeom>
            <a:solidFill>
              <a:srgbClr val="231F20"/>
            </a:solidFill>
            <a:ln w="4477" cap="flat">
              <a:noFill/>
              <a:prstDash val="solid"/>
              <a:miter/>
            </a:ln>
          </p:spPr>
          <p:txBody>
            <a:bodyPr rtlCol="0" anchor="ctr"/>
            <a:lstStyle/>
            <a:p>
              <a:endParaRPr lang="en-US"/>
            </a:p>
          </p:txBody>
        </p:sp>
        <p:sp>
          <p:nvSpPr>
            <p:cNvPr id="2837" name="Freeform: Shape 2836">
              <a:extLst>
                <a:ext uri="{FF2B5EF4-FFF2-40B4-BE49-F238E27FC236}">
                  <a16:creationId xmlns:a16="http://schemas.microsoft.com/office/drawing/2014/main" id="{08F5E449-369C-46A8-80D8-2974787A9BB6}"/>
                </a:ext>
              </a:extLst>
            </p:cNvPr>
            <p:cNvSpPr/>
            <p:nvPr/>
          </p:nvSpPr>
          <p:spPr>
            <a:xfrm>
              <a:off x="10697833" y="3585795"/>
              <a:ext cx="103079" cy="71707"/>
            </a:xfrm>
            <a:custGeom>
              <a:avLst/>
              <a:gdLst>
                <a:gd name="connsiteX0" fmla="*/ 40335 w 103079"/>
                <a:gd name="connsiteY0" fmla="*/ 4482 h 71707"/>
                <a:gd name="connsiteX1" fmla="*/ 85152 w 103079"/>
                <a:gd name="connsiteY1" fmla="*/ 4482 h 71707"/>
                <a:gd name="connsiteX2" fmla="*/ 103079 w 103079"/>
                <a:gd name="connsiteY2" fmla="*/ 9411 h 71707"/>
                <a:gd name="connsiteX3" fmla="*/ 106216 w 103079"/>
                <a:gd name="connsiteY3" fmla="*/ 8515 h 71707"/>
                <a:gd name="connsiteX4" fmla="*/ 105320 w 103079"/>
                <a:gd name="connsiteY4" fmla="*/ 5378 h 71707"/>
                <a:gd name="connsiteX5" fmla="*/ 85152 w 103079"/>
                <a:gd name="connsiteY5" fmla="*/ 0 h 71707"/>
                <a:gd name="connsiteX6" fmla="*/ 40335 w 103079"/>
                <a:gd name="connsiteY6" fmla="*/ 0 h 71707"/>
                <a:gd name="connsiteX7" fmla="*/ 0 w 103079"/>
                <a:gd name="connsiteY7" fmla="*/ 40335 h 71707"/>
                <a:gd name="connsiteX8" fmla="*/ 0 w 103079"/>
                <a:gd name="connsiteY8" fmla="*/ 60055 h 71707"/>
                <a:gd name="connsiteX9" fmla="*/ 13893 w 103079"/>
                <a:gd name="connsiteY9" fmla="*/ 73948 h 71707"/>
                <a:gd name="connsiteX10" fmla="*/ 82911 w 103079"/>
                <a:gd name="connsiteY10" fmla="*/ 73948 h 71707"/>
                <a:gd name="connsiteX11" fmla="*/ 85152 w 103079"/>
                <a:gd name="connsiteY11" fmla="*/ 71707 h 71707"/>
                <a:gd name="connsiteX12" fmla="*/ 82911 w 103079"/>
                <a:gd name="connsiteY12" fmla="*/ 69466 h 71707"/>
                <a:gd name="connsiteX13" fmla="*/ 13893 w 103079"/>
                <a:gd name="connsiteY13" fmla="*/ 69466 h 71707"/>
                <a:gd name="connsiteX14" fmla="*/ 4482 w 103079"/>
                <a:gd name="connsiteY14" fmla="*/ 60055 h 71707"/>
                <a:gd name="connsiteX15" fmla="*/ 4482 w 103079"/>
                <a:gd name="connsiteY15" fmla="*/ 40335 h 71707"/>
                <a:gd name="connsiteX16" fmla="*/ 40335 w 103079"/>
                <a:gd name="connsiteY16" fmla="*/ 4482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079" h="71707">
                  <a:moveTo>
                    <a:pt x="40335" y="4482"/>
                  </a:moveTo>
                  <a:lnTo>
                    <a:pt x="85152" y="4482"/>
                  </a:lnTo>
                  <a:cubicBezTo>
                    <a:pt x="91427" y="4482"/>
                    <a:pt x="97701" y="6274"/>
                    <a:pt x="103079" y="9411"/>
                  </a:cubicBezTo>
                  <a:cubicBezTo>
                    <a:pt x="103976" y="9860"/>
                    <a:pt x="105320" y="9860"/>
                    <a:pt x="106216" y="8515"/>
                  </a:cubicBezTo>
                  <a:cubicBezTo>
                    <a:pt x="106664" y="7619"/>
                    <a:pt x="106664" y="6274"/>
                    <a:pt x="105320" y="5378"/>
                  </a:cubicBezTo>
                  <a:cubicBezTo>
                    <a:pt x="99046" y="1793"/>
                    <a:pt x="91875" y="0"/>
                    <a:pt x="85152" y="0"/>
                  </a:cubicBezTo>
                  <a:lnTo>
                    <a:pt x="40335" y="0"/>
                  </a:lnTo>
                  <a:cubicBezTo>
                    <a:pt x="18375" y="0"/>
                    <a:pt x="0" y="17927"/>
                    <a:pt x="0" y="40335"/>
                  </a:cubicBezTo>
                  <a:lnTo>
                    <a:pt x="0" y="60055"/>
                  </a:lnTo>
                  <a:cubicBezTo>
                    <a:pt x="0" y="67674"/>
                    <a:pt x="6274" y="73948"/>
                    <a:pt x="13893" y="73948"/>
                  </a:cubicBezTo>
                  <a:lnTo>
                    <a:pt x="82911" y="73948"/>
                  </a:lnTo>
                  <a:cubicBezTo>
                    <a:pt x="84256" y="73948"/>
                    <a:pt x="85152" y="73052"/>
                    <a:pt x="85152" y="71707"/>
                  </a:cubicBezTo>
                  <a:cubicBezTo>
                    <a:pt x="85152" y="70363"/>
                    <a:pt x="84256" y="69466"/>
                    <a:pt x="82911" y="69466"/>
                  </a:cubicBezTo>
                  <a:lnTo>
                    <a:pt x="13893" y="69466"/>
                  </a:lnTo>
                  <a:cubicBezTo>
                    <a:pt x="8963" y="69466"/>
                    <a:pt x="4482" y="65433"/>
                    <a:pt x="4482" y="60055"/>
                  </a:cubicBezTo>
                  <a:lnTo>
                    <a:pt x="4482" y="40335"/>
                  </a:lnTo>
                  <a:cubicBezTo>
                    <a:pt x="4482" y="20616"/>
                    <a:pt x="20616" y="4482"/>
                    <a:pt x="40335" y="4482"/>
                  </a:cubicBezTo>
                  <a:close/>
                </a:path>
              </a:pathLst>
            </a:custGeom>
            <a:solidFill>
              <a:srgbClr val="231F20"/>
            </a:solidFill>
            <a:ln w="4477" cap="flat">
              <a:noFill/>
              <a:prstDash val="solid"/>
              <a:miter/>
            </a:ln>
          </p:spPr>
          <p:txBody>
            <a:bodyPr rtlCol="0" anchor="ctr"/>
            <a:lstStyle/>
            <a:p>
              <a:endParaRPr lang="en-US"/>
            </a:p>
          </p:txBody>
        </p:sp>
        <p:sp>
          <p:nvSpPr>
            <p:cNvPr id="2838" name="Freeform: Shape 2837">
              <a:extLst>
                <a:ext uri="{FF2B5EF4-FFF2-40B4-BE49-F238E27FC236}">
                  <a16:creationId xmlns:a16="http://schemas.microsoft.com/office/drawing/2014/main" id="{1A9D8B72-4222-4FAC-AF1F-9E50301A4055}"/>
                </a:ext>
              </a:extLst>
            </p:cNvPr>
            <p:cNvSpPr/>
            <p:nvPr/>
          </p:nvSpPr>
          <p:spPr>
            <a:xfrm>
              <a:off x="10791949" y="3599240"/>
              <a:ext cx="40335" cy="58262"/>
            </a:xfrm>
            <a:custGeom>
              <a:avLst/>
              <a:gdLst>
                <a:gd name="connsiteX0" fmla="*/ 38094 w 40335"/>
                <a:gd name="connsiteY0" fmla="*/ 24201 h 58262"/>
                <a:gd name="connsiteX1" fmla="*/ 11204 w 40335"/>
                <a:gd name="connsiteY1" fmla="*/ 24201 h 58262"/>
                <a:gd name="connsiteX2" fmla="*/ 11204 w 40335"/>
                <a:gd name="connsiteY2" fmla="*/ 15686 h 58262"/>
                <a:gd name="connsiteX3" fmla="*/ 22409 w 40335"/>
                <a:gd name="connsiteY3" fmla="*/ 4482 h 58262"/>
                <a:gd name="connsiteX4" fmla="*/ 33613 w 40335"/>
                <a:gd name="connsiteY4" fmla="*/ 15686 h 58262"/>
                <a:gd name="connsiteX5" fmla="*/ 35854 w 40335"/>
                <a:gd name="connsiteY5" fmla="*/ 17927 h 58262"/>
                <a:gd name="connsiteX6" fmla="*/ 38094 w 40335"/>
                <a:gd name="connsiteY6" fmla="*/ 15686 h 58262"/>
                <a:gd name="connsiteX7" fmla="*/ 22409 w 40335"/>
                <a:gd name="connsiteY7" fmla="*/ 0 h 58262"/>
                <a:gd name="connsiteX8" fmla="*/ 6723 w 40335"/>
                <a:gd name="connsiteY8" fmla="*/ 15686 h 58262"/>
                <a:gd name="connsiteX9" fmla="*/ 6723 w 40335"/>
                <a:gd name="connsiteY9" fmla="*/ 24201 h 58262"/>
                <a:gd name="connsiteX10" fmla="*/ 0 w 40335"/>
                <a:gd name="connsiteY10" fmla="*/ 30924 h 58262"/>
                <a:gd name="connsiteX11" fmla="*/ 0 w 40335"/>
                <a:gd name="connsiteY11" fmla="*/ 53332 h 58262"/>
                <a:gd name="connsiteX12" fmla="*/ 6723 w 40335"/>
                <a:gd name="connsiteY12" fmla="*/ 60055 h 58262"/>
                <a:gd name="connsiteX13" fmla="*/ 37646 w 40335"/>
                <a:gd name="connsiteY13" fmla="*/ 60055 h 58262"/>
                <a:gd name="connsiteX14" fmla="*/ 44369 w 40335"/>
                <a:gd name="connsiteY14" fmla="*/ 53332 h 58262"/>
                <a:gd name="connsiteX15" fmla="*/ 44369 w 40335"/>
                <a:gd name="connsiteY15" fmla="*/ 30924 h 58262"/>
                <a:gd name="connsiteX16" fmla="*/ 38094 w 40335"/>
                <a:gd name="connsiteY16" fmla="*/ 24201 h 58262"/>
                <a:gd name="connsiteX17" fmla="*/ 40335 w 40335"/>
                <a:gd name="connsiteY17" fmla="*/ 53780 h 58262"/>
                <a:gd name="connsiteX18" fmla="*/ 38094 w 40335"/>
                <a:gd name="connsiteY18" fmla="*/ 56021 h 58262"/>
                <a:gd name="connsiteX19" fmla="*/ 7171 w 40335"/>
                <a:gd name="connsiteY19" fmla="*/ 56021 h 58262"/>
                <a:gd name="connsiteX20" fmla="*/ 4930 w 40335"/>
                <a:gd name="connsiteY20" fmla="*/ 53780 h 58262"/>
                <a:gd name="connsiteX21" fmla="*/ 4930 w 40335"/>
                <a:gd name="connsiteY21" fmla="*/ 31372 h 58262"/>
                <a:gd name="connsiteX22" fmla="*/ 7171 w 40335"/>
                <a:gd name="connsiteY22" fmla="*/ 29131 h 58262"/>
                <a:gd name="connsiteX23" fmla="*/ 38094 w 40335"/>
                <a:gd name="connsiteY23" fmla="*/ 29131 h 58262"/>
                <a:gd name="connsiteX24" fmla="*/ 40335 w 40335"/>
                <a:gd name="connsiteY24" fmla="*/ 31372 h 58262"/>
                <a:gd name="connsiteX25" fmla="*/ 40335 w 40335"/>
                <a:gd name="connsiteY25"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0335" h="58262">
                  <a:moveTo>
                    <a:pt x="38094" y="24201"/>
                  </a:moveTo>
                  <a:lnTo>
                    <a:pt x="11204" y="24201"/>
                  </a:lnTo>
                  <a:lnTo>
                    <a:pt x="11204" y="15686"/>
                  </a:lnTo>
                  <a:cubicBezTo>
                    <a:pt x="11204" y="9411"/>
                    <a:pt x="16134" y="4482"/>
                    <a:pt x="22409" y="4482"/>
                  </a:cubicBezTo>
                  <a:cubicBezTo>
                    <a:pt x="28683" y="4482"/>
                    <a:pt x="33613" y="9411"/>
                    <a:pt x="33613" y="15686"/>
                  </a:cubicBezTo>
                  <a:cubicBezTo>
                    <a:pt x="33613" y="17030"/>
                    <a:pt x="34509" y="17927"/>
                    <a:pt x="35854" y="17927"/>
                  </a:cubicBezTo>
                  <a:cubicBezTo>
                    <a:pt x="37198" y="17927"/>
                    <a:pt x="38094" y="17030"/>
                    <a:pt x="38094" y="15686"/>
                  </a:cubicBezTo>
                  <a:cubicBezTo>
                    <a:pt x="38094" y="7171"/>
                    <a:pt x="30924" y="0"/>
                    <a:pt x="22409" y="0"/>
                  </a:cubicBezTo>
                  <a:cubicBezTo>
                    <a:pt x="13893" y="0"/>
                    <a:pt x="6723" y="7171"/>
                    <a:pt x="6723" y="15686"/>
                  </a:cubicBezTo>
                  <a:lnTo>
                    <a:pt x="6723" y="24201"/>
                  </a:lnTo>
                  <a:cubicBezTo>
                    <a:pt x="3137" y="24201"/>
                    <a:pt x="0" y="27338"/>
                    <a:pt x="0" y="30924"/>
                  </a:cubicBezTo>
                  <a:lnTo>
                    <a:pt x="0" y="53332"/>
                  </a:lnTo>
                  <a:cubicBezTo>
                    <a:pt x="0" y="56918"/>
                    <a:pt x="3137" y="60055"/>
                    <a:pt x="6723" y="60055"/>
                  </a:cubicBezTo>
                  <a:lnTo>
                    <a:pt x="37646" y="60055"/>
                  </a:lnTo>
                  <a:cubicBezTo>
                    <a:pt x="41232" y="60055"/>
                    <a:pt x="44369" y="56918"/>
                    <a:pt x="44369" y="53332"/>
                  </a:cubicBezTo>
                  <a:lnTo>
                    <a:pt x="44369" y="30924"/>
                  </a:lnTo>
                  <a:cubicBezTo>
                    <a:pt x="44817" y="27338"/>
                    <a:pt x="41680" y="24201"/>
                    <a:pt x="38094" y="24201"/>
                  </a:cubicBezTo>
                  <a:close/>
                  <a:moveTo>
                    <a:pt x="40335" y="53780"/>
                  </a:moveTo>
                  <a:cubicBezTo>
                    <a:pt x="40335" y="55125"/>
                    <a:pt x="39439" y="56021"/>
                    <a:pt x="38094" y="56021"/>
                  </a:cubicBezTo>
                  <a:lnTo>
                    <a:pt x="7171" y="56021"/>
                  </a:lnTo>
                  <a:cubicBezTo>
                    <a:pt x="5826" y="56021"/>
                    <a:pt x="4930" y="55125"/>
                    <a:pt x="4930" y="53780"/>
                  </a:cubicBezTo>
                  <a:lnTo>
                    <a:pt x="4930" y="31372"/>
                  </a:lnTo>
                  <a:cubicBezTo>
                    <a:pt x="4930" y="30027"/>
                    <a:pt x="5826" y="29131"/>
                    <a:pt x="7171" y="29131"/>
                  </a:cubicBezTo>
                  <a:lnTo>
                    <a:pt x="38094" y="29131"/>
                  </a:lnTo>
                  <a:cubicBezTo>
                    <a:pt x="39439" y="29131"/>
                    <a:pt x="40335" y="30027"/>
                    <a:pt x="40335" y="31372"/>
                  </a:cubicBezTo>
                  <a:lnTo>
                    <a:pt x="40335" y="53780"/>
                  </a:lnTo>
                  <a:close/>
                </a:path>
              </a:pathLst>
            </a:custGeom>
            <a:solidFill>
              <a:srgbClr val="231F20"/>
            </a:solidFill>
            <a:ln w="4477" cap="flat">
              <a:noFill/>
              <a:prstDash val="solid"/>
              <a:miter/>
            </a:ln>
          </p:spPr>
          <p:txBody>
            <a:bodyPr rtlCol="0" anchor="ctr"/>
            <a:lstStyle/>
            <a:p>
              <a:endParaRPr lang="en-US"/>
            </a:p>
          </p:txBody>
        </p:sp>
        <p:sp>
          <p:nvSpPr>
            <p:cNvPr id="2839" name="Freeform: Shape 2838">
              <a:extLst>
                <a:ext uri="{FF2B5EF4-FFF2-40B4-BE49-F238E27FC236}">
                  <a16:creationId xmlns:a16="http://schemas.microsoft.com/office/drawing/2014/main" id="{B5C606D7-F77F-4C93-A180-7AF64F7705CF}"/>
                </a:ext>
              </a:extLst>
            </p:cNvPr>
            <p:cNvSpPr/>
            <p:nvPr/>
          </p:nvSpPr>
          <p:spPr>
            <a:xfrm>
              <a:off x="10812116" y="3635093"/>
              <a:ext cx="4482" cy="8963"/>
            </a:xfrm>
            <a:custGeom>
              <a:avLst/>
              <a:gdLst>
                <a:gd name="connsiteX0" fmla="*/ 2241 w 4481"/>
                <a:gd name="connsiteY0" fmla="*/ 0 h 8963"/>
                <a:gd name="connsiteX1" fmla="*/ 0 w 4481"/>
                <a:gd name="connsiteY1" fmla="*/ 2241 h 8963"/>
                <a:gd name="connsiteX2" fmla="*/ 0 w 4481"/>
                <a:gd name="connsiteY2" fmla="*/ 8963 h 8963"/>
                <a:gd name="connsiteX3" fmla="*/ 2241 w 4481"/>
                <a:gd name="connsiteY3" fmla="*/ 11204 h 8963"/>
                <a:gd name="connsiteX4" fmla="*/ 4482 w 4481"/>
                <a:gd name="connsiteY4" fmla="*/ 8963 h 8963"/>
                <a:gd name="connsiteX5" fmla="*/ 4482 w 4481"/>
                <a:gd name="connsiteY5" fmla="*/ 2241 h 8963"/>
                <a:gd name="connsiteX6" fmla="*/ 2241 w 4481"/>
                <a:gd name="connsiteY6"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0"/>
                  </a:moveTo>
                  <a:cubicBezTo>
                    <a:pt x="896" y="0"/>
                    <a:pt x="0" y="896"/>
                    <a:pt x="0" y="2241"/>
                  </a:cubicBezTo>
                  <a:lnTo>
                    <a:pt x="0" y="8963"/>
                  </a:lnTo>
                  <a:cubicBezTo>
                    <a:pt x="0" y="10308"/>
                    <a:pt x="896" y="11204"/>
                    <a:pt x="2241" y="11204"/>
                  </a:cubicBezTo>
                  <a:cubicBezTo>
                    <a:pt x="3585" y="11204"/>
                    <a:pt x="4482" y="10308"/>
                    <a:pt x="4482" y="8963"/>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grpSp>
        <p:nvGrpSpPr>
          <p:cNvPr id="2592" name="Group 2591">
            <a:extLst>
              <a:ext uri="{FF2B5EF4-FFF2-40B4-BE49-F238E27FC236}">
                <a16:creationId xmlns:a16="http://schemas.microsoft.com/office/drawing/2014/main" id="{EC391B94-5B10-4302-A7E6-8237B6A5FC52}"/>
              </a:ext>
              <a:ext uri="{C183D7F6-B498-43B3-948B-1728B52AA6E4}">
                <adec:decorative xmlns:adec="http://schemas.microsoft.com/office/drawing/2017/decorative" val="1"/>
              </a:ext>
            </a:extLst>
          </p:cNvPr>
          <p:cNvGrpSpPr>
            <a:grpSpLocks noChangeAspect="1"/>
          </p:cNvGrpSpPr>
          <p:nvPr/>
        </p:nvGrpSpPr>
        <p:grpSpPr>
          <a:xfrm>
            <a:off x="7227173" y="4166557"/>
            <a:ext cx="120517" cy="152378"/>
            <a:chOff x="7283673" y="2110866"/>
            <a:chExt cx="120517" cy="152378"/>
          </a:xfrm>
        </p:grpSpPr>
        <p:sp>
          <p:nvSpPr>
            <p:cNvPr id="2754" name="Freeform: Shape 2753">
              <a:extLst>
                <a:ext uri="{FF2B5EF4-FFF2-40B4-BE49-F238E27FC236}">
                  <a16:creationId xmlns:a16="http://schemas.microsoft.com/office/drawing/2014/main" id="{4104E143-5DF8-4695-B678-698C85B4714B}"/>
                </a:ext>
              </a:extLst>
            </p:cNvPr>
            <p:cNvSpPr/>
            <p:nvPr/>
          </p:nvSpPr>
          <p:spPr>
            <a:xfrm>
              <a:off x="7283673" y="2110866"/>
              <a:ext cx="98597" cy="152378"/>
            </a:xfrm>
            <a:custGeom>
              <a:avLst/>
              <a:gdLst>
                <a:gd name="connsiteX0" fmla="*/ 96357 w 98597"/>
                <a:gd name="connsiteY0" fmla="*/ 86945 h 152377"/>
                <a:gd name="connsiteX1" fmla="*/ 94116 w 98597"/>
                <a:gd name="connsiteY1" fmla="*/ 89186 h 152377"/>
                <a:gd name="connsiteX2" fmla="*/ 94116 w 98597"/>
                <a:gd name="connsiteY2" fmla="*/ 93668 h 152377"/>
                <a:gd name="connsiteX3" fmla="*/ 4482 w 98597"/>
                <a:gd name="connsiteY3" fmla="*/ 93668 h 152377"/>
                <a:gd name="connsiteX4" fmla="*/ 4482 w 98597"/>
                <a:gd name="connsiteY4" fmla="*/ 31372 h 152377"/>
                <a:gd name="connsiteX5" fmla="*/ 94116 w 98597"/>
                <a:gd name="connsiteY5" fmla="*/ 31372 h 152377"/>
                <a:gd name="connsiteX6" fmla="*/ 94116 w 98597"/>
                <a:gd name="connsiteY6" fmla="*/ 33613 h 152377"/>
                <a:gd name="connsiteX7" fmla="*/ 96357 w 98597"/>
                <a:gd name="connsiteY7" fmla="*/ 35854 h 152377"/>
                <a:gd name="connsiteX8" fmla="*/ 98597 w 98597"/>
                <a:gd name="connsiteY8" fmla="*/ 33613 h 152377"/>
                <a:gd name="connsiteX9" fmla="*/ 98597 w 98597"/>
                <a:gd name="connsiteY9" fmla="*/ 8515 h 152377"/>
                <a:gd name="connsiteX10" fmla="*/ 90082 w 98597"/>
                <a:gd name="connsiteY10" fmla="*/ 0 h 152377"/>
                <a:gd name="connsiteX11" fmla="*/ 8515 w 98597"/>
                <a:gd name="connsiteY11" fmla="*/ 0 h 152377"/>
                <a:gd name="connsiteX12" fmla="*/ 0 w 98597"/>
                <a:gd name="connsiteY12" fmla="*/ 8515 h 152377"/>
                <a:gd name="connsiteX13" fmla="*/ 0 w 98597"/>
                <a:gd name="connsiteY13" fmla="*/ 143863 h 152377"/>
                <a:gd name="connsiteX14" fmla="*/ 8515 w 98597"/>
                <a:gd name="connsiteY14" fmla="*/ 152378 h 152377"/>
                <a:gd name="connsiteX15" fmla="*/ 90082 w 98597"/>
                <a:gd name="connsiteY15" fmla="*/ 152378 h 152377"/>
                <a:gd name="connsiteX16" fmla="*/ 98597 w 98597"/>
                <a:gd name="connsiteY16" fmla="*/ 143863 h 152377"/>
                <a:gd name="connsiteX17" fmla="*/ 98597 w 98597"/>
                <a:gd name="connsiteY17" fmla="*/ 89186 h 152377"/>
                <a:gd name="connsiteX18" fmla="*/ 96357 w 98597"/>
                <a:gd name="connsiteY18" fmla="*/ 86945 h 152377"/>
                <a:gd name="connsiteX19" fmla="*/ 8515 w 98597"/>
                <a:gd name="connsiteY19" fmla="*/ 4034 h 152377"/>
                <a:gd name="connsiteX20" fmla="*/ 90082 w 98597"/>
                <a:gd name="connsiteY20" fmla="*/ 4034 h 152377"/>
                <a:gd name="connsiteX21" fmla="*/ 94116 w 98597"/>
                <a:gd name="connsiteY21" fmla="*/ 8067 h 152377"/>
                <a:gd name="connsiteX22" fmla="*/ 94116 w 98597"/>
                <a:gd name="connsiteY22" fmla="*/ 26442 h 152377"/>
                <a:gd name="connsiteX23" fmla="*/ 4482 w 98597"/>
                <a:gd name="connsiteY23" fmla="*/ 26442 h 152377"/>
                <a:gd name="connsiteX24" fmla="*/ 4482 w 98597"/>
                <a:gd name="connsiteY24" fmla="*/ 8515 h 152377"/>
                <a:gd name="connsiteX25" fmla="*/ 8515 w 98597"/>
                <a:gd name="connsiteY25" fmla="*/ 4034 h 152377"/>
                <a:gd name="connsiteX26" fmla="*/ 90082 w 98597"/>
                <a:gd name="connsiteY26" fmla="*/ 147448 h 152377"/>
                <a:gd name="connsiteX27" fmla="*/ 8515 w 98597"/>
                <a:gd name="connsiteY27" fmla="*/ 147448 h 152377"/>
                <a:gd name="connsiteX28" fmla="*/ 4482 w 98597"/>
                <a:gd name="connsiteY28" fmla="*/ 143415 h 152377"/>
                <a:gd name="connsiteX29" fmla="*/ 4482 w 98597"/>
                <a:gd name="connsiteY29" fmla="*/ 98149 h 152377"/>
                <a:gd name="connsiteX30" fmla="*/ 94116 w 98597"/>
                <a:gd name="connsiteY30" fmla="*/ 98149 h 152377"/>
                <a:gd name="connsiteX31" fmla="*/ 94116 w 98597"/>
                <a:gd name="connsiteY31" fmla="*/ 143415 h 152377"/>
                <a:gd name="connsiteX32" fmla="*/ 90082 w 98597"/>
                <a:gd name="connsiteY32" fmla="*/ 14744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8597" h="152377">
                  <a:moveTo>
                    <a:pt x="96357" y="86945"/>
                  </a:moveTo>
                  <a:cubicBezTo>
                    <a:pt x="95012" y="86945"/>
                    <a:pt x="94116" y="87841"/>
                    <a:pt x="94116" y="89186"/>
                  </a:cubicBezTo>
                  <a:lnTo>
                    <a:pt x="94116" y="93668"/>
                  </a:lnTo>
                  <a:lnTo>
                    <a:pt x="4482" y="93668"/>
                  </a:lnTo>
                  <a:lnTo>
                    <a:pt x="4482" y="31372"/>
                  </a:lnTo>
                  <a:lnTo>
                    <a:pt x="94116" y="31372"/>
                  </a:lnTo>
                  <a:lnTo>
                    <a:pt x="94116" y="33613"/>
                  </a:lnTo>
                  <a:cubicBezTo>
                    <a:pt x="94116" y="34957"/>
                    <a:pt x="95012" y="35854"/>
                    <a:pt x="96357" y="35854"/>
                  </a:cubicBezTo>
                  <a:cubicBezTo>
                    <a:pt x="97701" y="35854"/>
                    <a:pt x="98597" y="34957"/>
                    <a:pt x="98597" y="33613"/>
                  </a:cubicBezTo>
                  <a:lnTo>
                    <a:pt x="98597" y="8515"/>
                  </a:lnTo>
                  <a:cubicBezTo>
                    <a:pt x="98597" y="3585"/>
                    <a:pt x="94564" y="0"/>
                    <a:pt x="90082" y="0"/>
                  </a:cubicBezTo>
                  <a:lnTo>
                    <a:pt x="8515" y="0"/>
                  </a:lnTo>
                  <a:cubicBezTo>
                    <a:pt x="3585" y="0"/>
                    <a:pt x="0" y="4034"/>
                    <a:pt x="0" y="8515"/>
                  </a:cubicBezTo>
                  <a:lnTo>
                    <a:pt x="0" y="143863"/>
                  </a:lnTo>
                  <a:cubicBezTo>
                    <a:pt x="0" y="148792"/>
                    <a:pt x="4034" y="152378"/>
                    <a:pt x="8515" y="152378"/>
                  </a:cubicBezTo>
                  <a:lnTo>
                    <a:pt x="90082" y="152378"/>
                  </a:lnTo>
                  <a:cubicBezTo>
                    <a:pt x="95012" y="152378"/>
                    <a:pt x="98597" y="148344"/>
                    <a:pt x="98597" y="143863"/>
                  </a:cubicBezTo>
                  <a:lnTo>
                    <a:pt x="98597" y="89186"/>
                  </a:lnTo>
                  <a:cubicBezTo>
                    <a:pt x="98597" y="88290"/>
                    <a:pt x="97701" y="86945"/>
                    <a:pt x="96357" y="86945"/>
                  </a:cubicBezTo>
                  <a:close/>
                  <a:moveTo>
                    <a:pt x="8515" y="4034"/>
                  </a:moveTo>
                  <a:lnTo>
                    <a:pt x="90082" y="4034"/>
                  </a:lnTo>
                  <a:cubicBezTo>
                    <a:pt x="92323" y="4034"/>
                    <a:pt x="94116" y="5826"/>
                    <a:pt x="94116" y="8067"/>
                  </a:cubicBezTo>
                  <a:lnTo>
                    <a:pt x="94116" y="26442"/>
                  </a:lnTo>
                  <a:lnTo>
                    <a:pt x="4482" y="26442"/>
                  </a:lnTo>
                  <a:lnTo>
                    <a:pt x="4482" y="8515"/>
                  </a:lnTo>
                  <a:cubicBezTo>
                    <a:pt x="4482" y="5826"/>
                    <a:pt x="6274" y="4034"/>
                    <a:pt x="8515" y="4034"/>
                  </a:cubicBezTo>
                  <a:close/>
                  <a:moveTo>
                    <a:pt x="90082" y="147448"/>
                  </a:moveTo>
                  <a:lnTo>
                    <a:pt x="8515" y="147448"/>
                  </a:lnTo>
                  <a:cubicBezTo>
                    <a:pt x="6274" y="147448"/>
                    <a:pt x="4482" y="145655"/>
                    <a:pt x="4482" y="143415"/>
                  </a:cubicBezTo>
                  <a:lnTo>
                    <a:pt x="4482" y="98149"/>
                  </a:lnTo>
                  <a:lnTo>
                    <a:pt x="94116" y="98149"/>
                  </a:lnTo>
                  <a:lnTo>
                    <a:pt x="94116" y="143415"/>
                  </a:lnTo>
                  <a:cubicBezTo>
                    <a:pt x="94116" y="145655"/>
                    <a:pt x="92323" y="147448"/>
                    <a:pt x="90082" y="147448"/>
                  </a:cubicBezTo>
                  <a:close/>
                </a:path>
              </a:pathLst>
            </a:custGeom>
            <a:solidFill>
              <a:srgbClr val="231F20"/>
            </a:solidFill>
            <a:ln w="4477" cap="flat">
              <a:noFill/>
              <a:prstDash val="solid"/>
              <a:miter/>
            </a:ln>
          </p:spPr>
          <p:txBody>
            <a:bodyPr rtlCol="0" anchor="ctr"/>
            <a:lstStyle/>
            <a:p>
              <a:endParaRPr lang="en-US"/>
            </a:p>
          </p:txBody>
        </p:sp>
        <p:sp>
          <p:nvSpPr>
            <p:cNvPr id="2755" name="Freeform: Shape 2754">
              <a:extLst>
                <a:ext uri="{FF2B5EF4-FFF2-40B4-BE49-F238E27FC236}">
                  <a16:creationId xmlns:a16="http://schemas.microsoft.com/office/drawing/2014/main" id="{83F06E02-2289-429F-9C48-17143E168FCD}"/>
                </a:ext>
              </a:extLst>
            </p:cNvPr>
            <p:cNvSpPr/>
            <p:nvPr/>
          </p:nvSpPr>
          <p:spPr>
            <a:xfrm>
              <a:off x="7331179" y="2124087"/>
              <a:ext cx="4482" cy="4482"/>
            </a:xfrm>
            <a:custGeom>
              <a:avLst/>
              <a:gdLst>
                <a:gd name="connsiteX0" fmla="*/ 1793 w 0"/>
                <a:gd name="connsiteY0" fmla="*/ 4706 h 4481"/>
                <a:gd name="connsiteX1" fmla="*/ 3585 w 0"/>
                <a:gd name="connsiteY1" fmla="*/ 4258 h 4481"/>
                <a:gd name="connsiteX2" fmla="*/ 4034 w 0"/>
                <a:gd name="connsiteY2" fmla="*/ 2465 h 4481"/>
                <a:gd name="connsiteX3" fmla="*/ 3585 w 0"/>
                <a:gd name="connsiteY3" fmla="*/ 672 h 4481"/>
                <a:gd name="connsiteX4" fmla="*/ 448 w 0"/>
                <a:gd name="connsiteY4" fmla="*/ 672 h 4481"/>
                <a:gd name="connsiteX5" fmla="*/ 0 w 0"/>
                <a:gd name="connsiteY5" fmla="*/ 2465 h 4481"/>
                <a:gd name="connsiteX6" fmla="*/ 448 w 0"/>
                <a:gd name="connsiteY6" fmla="*/ 4258 h 4481"/>
                <a:gd name="connsiteX7" fmla="*/ 1793 w 0"/>
                <a:gd name="connsiteY7" fmla="*/ 4706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4481">
                  <a:moveTo>
                    <a:pt x="1793" y="4706"/>
                  </a:moveTo>
                  <a:cubicBezTo>
                    <a:pt x="2241" y="4706"/>
                    <a:pt x="3137" y="4258"/>
                    <a:pt x="3585" y="4258"/>
                  </a:cubicBezTo>
                  <a:cubicBezTo>
                    <a:pt x="4034" y="4258"/>
                    <a:pt x="4034" y="3361"/>
                    <a:pt x="4034" y="2465"/>
                  </a:cubicBezTo>
                  <a:cubicBezTo>
                    <a:pt x="4034" y="2017"/>
                    <a:pt x="3585" y="1120"/>
                    <a:pt x="3585" y="672"/>
                  </a:cubicBezTo>
                  <a:cubicBezTo>
                    <a:pt x="2689" y="-224"/>
                    <a:pt x="1345" y="-224"/>
                    <a:pt x="448" y="672"/>
                  </a:cubicBezTo>
                  <a:cubicBezTo>
                    <a:pt x="0" y="1120"/>
                    <a:pt x="0" y="1569"/>
                    <a:pt x="0" y="2465"/>
                  </a:cubicBezTo>
                  <a:cubicBezTo>
                    <a:pt x="0" y="2913"/>
                    <a:pt x="448" y="3809"/>
                    <a:pt x="448" y="4258"/>
                  </a:cubicBezTo>
                  <a:cubicBezTo>
                    <a:pt x="448" y="4258"/>
                    <a:pt x="896" y="4706"/>
                    <a:pt x="1793" y="4706"/>
                  </a:cubicBezTo>
                  <a:close/>
                </a:path>
              </a:pathLst>
            </a:custGeom>
            <a:solidFill>
              <a:srgbClr val="231F20"/>
            </a:solidFill>
            <a:ln w="4477" cap="flat">
              <a:noFill/>
              <a:prstDash val="solid"/>
              <a:miter/>
            </a:ln>
          </p:spPr>
          <p:txBody>
            <a:bodyPr rtlCol="0" anchor="ctr"/>
            <a:lstStyle/>
            <a:p>
              <a:endParaRPr lang="en-US"/>
            </a:p>
          </p:txBody>
        </p:sp>
        <p:sp>
          <p:nvSpPr>
            <p:cNvPr id="2756" name="Freeform: Shape 2755">
              <a:extLst>
                <a:ext uri="{FF2B5EF4-FFF2-40B4-BE49-F238E27FC236}">
                  <a16:creationId xmlns:a16="http://schemas.microsoft.com/office/drawing/2014/main" id="{2117C8B8-EB28-4230-A10D-BEE8B3406F18}"/>
                </a:ext>
              </a:extLst>
            </p:cNvPr>
            <p:cNvSpPr/>
            <p:nvPr/>
          </p:nvSpPr>
          <p:spPr>
            <a:xfrm>
              <a:off x="7297118" y="2168680"/>
              <a:ext cx="4482" cy="26890"/>
            </a:xfrm>
            <a:custGeom>
              <a:avLst/>
              <a:gdLst>
                <a:gd name="connsiteX0" fmla="*/ 0 w 4481"/>
                <a:gd name="connsiteY0" fmla="*/ 2241 h 26890"/>
                <a:gd name="connsiteX1" fmla="*/ 0 w 4481"/>
                <a:gd name="connsiteY1" fmla="*/ 27787 h 26890"/>
                <a:gd name="connsiteX2" fmla="*/ 2241 w 4481"/>
                <a:gd name="connsiteY2" fmla="*/ 30027 h 26890"/>
                <a:gd name="connsiteX3" fmla="*/ 4482 w 4481"/>
                <a:gd name="connsiteY3" fmla="*/ 27787 h 26890"/>
                <a:gd name="connsiteX4" fmla="*/ 4482 w 4481"/>
                <a:gd name="connsiteY4" fmla="*/ 2241 h 26890"/>
                <a:gd name="connsiteX5" fmla="*/ 2241 w 4481"/>
                <a:gd name="connsiteY5" fmla="*/ 0 h 26890"/>
                <a:gd name="connsiteX6" fmla="*/ 0 w 4481"/>
                <a:gd name="connsiteY6" fmla="*/ 224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0" y="2241"/>
                  </a:moveTo>
                  <a:lnTo>
                    <a:pt x="0" y="27787"/>
                  </a:lnTo>
                  <a:cubicBezTo>
                    <a:pt x="0" y="29131"/>
                    <a:pt x="896" y="30027"/>
                    <a:pt x="2241" y="30027"/>
                  </a:cubicBezTo>
                  <a:cubicBezTo>
                    <a:pt x="3585" y="30027"/>
                    <a:pt x="4482" y="29131"/>
                    <a:pt x="4482" y="27787"/>
                  </a:cubicBezTo>
                  <a:lnTo>
                    <a:pt x="4482" y="2241"/>
                  </a:lnTo>
                  <a:cubicBezTo>
                    <a:pt x="4482" y="896"/>
                    <a:pt x="3585" y="0"/>
                    <a:pt x="2241" y="0"/>
                  </a:cubicBez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2757" name="Freeform: Shape 2756">
              <a:extLst>
                <a:ext uri="{FF2B5EF4-FFF2-40B4-BE49-F238E27FC236}">
                  <a16:creationId xmlns:a16="http://schemas.microsoft.com/office/drawing/2014/main" id="{041C0377-AC46-49B3-A95E-B966E4AC1FAB}"/>
                </a:ext>
              </a:extLst>
            </p:cNvPr>
            <p:cNvSpPr/>
            <p:nvPr/>
          </p:nvSpPr>
          <p:spPr>
            <a:xfrm>
              <a:off x="7297118" y="2213497"/>
              <a:ext cx="4482" cy="26890"/>
            </a:xfrm>
            <a:custGeom>
              <a:avLst/>
              <a:gdLst>
                <a:gd name="connsiteX0" fmla="*/ 2241 w 4481"/>
                <a:gd name="connsiteY0" fmla="*/ 0 h 26890"/>
                <a:gd name="connsiteX1" fmla="*/ 0 w 4481"/>
                <a:gd name="connsiteY1" fmla="*/ 2241 h 26890"/>
                <a:gd name="connsiteX2" fmla="*/ 0 w 4481"/>
                <a:gd name="connsiteY2" fmla="*/ 27787 h 26890"/>
                <a:gd name="connsiteX3" fmla="*/ 2241 w 4481"/>
                <a:gd name="connsiteY3" fmla="*/ 30027 h 26890"/>
                <a:gd name="connsiteX4" fmla="*/ 4482 w 4481"/>
                <a:gd name="connsiteY4" fmla="*/ 27787 h 26890"/>
                <a:gd name="connsiteX5" fmla="*/ 4482 w 4481"/>
                <a:gd name="connsiteY5" fmla="*/ 2241 h 26890"/>
                <a:gd name="connsiteX6" fmla="*/ 2241 w 4481"/>
                <a:gd name="connsiteY6" fmla="*/ 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26890">
                  <a:moveTo>
                    <a:pt x="2241" y="0"/>
                  </a:moveTo>
                  <a:cubicBezTo>
                    <a:pt x="896" y="0"/>
                    <a:pt x="0" y="896"/>
                    <a:pt x="0" y="2241"/>
                  </a:cubicBezTo>
                  <a:lnTo>
                    <a:pt x="0" y="27787"/>
                  </a:lnTo>
                  <a:cubicBezTo>
                    <a:pt x="0" y="29131"/>
                    <a:pt x="896" y="30027"/>
                    <a:pt x="2241" y="30027"/>
                  </a:cubicBezTo>
                  <a:cubicBezTo>
                    <a:pt x="3585" y="30027"/>
                    <a:pt x="4482" y="29131"/>
                    <a:pt x="4482" y="2778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2758" name="Freeform: Shape 2757">
              <a:extLst>
                <a:ext uri="{FF2B5EF4-FFF2-40B4-BE49-F238E27FC236}">
                  <a16:creationId xmlns:a16="http://schemas.microsoft.com/office/drawing/2014/main" id="{A6DEEA17-9352-4995-A504-981769A5AA38}"/>
                </a:ext>
              </a:extLst>
            </p:cNvPr>
            <p:cNvSpPr/>
            <p:nvPr/>
          </p:nvSpPr>
          <p:spPr>
            <a:xfrm>
              <a:off x="7372410" y="2174954"/>
              <a:ext cx="13445" cy="13445"/>
            </a:xfrm>
            <a:custGeom>
              <a:avLst/>
              <a:gdLst>
                <a:gd name="connsiteX0" fmla="*/ 7619 w 13445"/>
                <a:gd name="connsiteY0" fmla="*/ 0 h 13445"/>
                <a:gd name="connsiteX1" fmla="*/ 0 w 13445"/>
                <a:gd name="connsiteY1" fmla="*/ 7619 h 13445"/>
                <a:gd name="connsiteX2" fmla="*/ 7619 w 13445"/>
                <a:gd name="connsiteY2" fmla="*/ 15238 h 13445"/>
                <a:gd name="connsiteX3" fmla="*/ 15238 w 13445"/>
                <a:gd name="connsiteY3" fmla="*/ 7619 h 13445"/>
                <a:gd name="connsiteX4" fmla="*/ 7619 w 13445"/>
                <a:gd name="connsiteY4" fmla="*/ 0 h 13445"/>
                <a:gd name="connsiteX5" fmla="*/ 7619 w 13445"/>
                <a:gd name="connsiteY5" fmla="*/ 10756 h 13445"/>
                <a:gd name="connsiteX6" fmla="*/ 4482 w 13445"/>
                <a:gd name="connsiteY6" fmla="*/ 7619 h 13445"/>
                <a:gd name="connsiteX7" fmla="*/ 7619 w 13445"/>
                <a:gd name="connsiteY7" fmla="*/ 4482 h 13445"/>
                <a:gd name="connsiteX8" fmla="*/ 10756 w 13445"/>
                <a:gd name="connsiteY8" fmla="*/ 7619 h 13445"/>
                <a:gd name="connsiteX9" fmla="*/ 7619 w 13445"/>
                <a:gd name="connsiteY9" fmla="*/ 10756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619" y="0"/>
                  </a:moveTo>
                  <a:cubicBezTo>
                    <a:pt x="3585" y="0"/>
                    <a:pt x="0" y="3137"/>
                    <a:pt x="0" y="7619"/>
                  </a:cubicBezTo>
                  <a:cubicBezTo>
                    <a:pt x="0" y="12101"/>
                    <a:pt x="3137" y="15238"/>
                    <a:pt x="7619" y="15238"/>
                  </a:cubicBezTo>
                  <a:cubicBezTo>
                    <a:pt x="11652" y="15238"/>
                    <a:pt x="15238" y="12101"/>
                    <a:pt x="15238" y="7619"/>
                  </a:cubicBezTo>
                  <a:cubicBezTo>
                    <a:pt x="15238" y="3137"/>
                    <a:pt x="11652" y="0"/>
                    <a:pt x="7619" y="0"/>
                  </a:cubicBezTo>
                  <a:close/>
                  <a:moveTo>
                    <a:pt x="7619" y="10756"/>
                  </a:moveTo>
                  <a:cubicBezTo>
                    <a:pt x="5826" y="10756"/>
                    <a:pt x="4482" y="9412"/>
                    <a:pt x="4482" y="7619"/>
                  </a:cubicBezTo>
                  <a:cubicBezTo>
                    <a:pt x="4482" y="5826"/>
                    <a:pt x="5826" y="4482"/>
                    <a:pt x="7619" y="4482"/>
                  </a:cubicBezTo>
                  <a:cubicBezTo>
                    <a:pt x="9412" y="4482"/>
                    <a:pt x="10756" y="5826"/>
                    <a:pt x="10756" y="7619"/>
                  </a:cubicBezTo>
                  <a:cubicBezTo>
                    <a:pt x="10756" y="9412"/>
                    <a:pt x="9412" y="10756"/>
                    <a:pt x="7619" y="10756"/>
                  </a:cubicBezTo>
                  <a:close/>
                </a:path>
              </a:pathLst>
            </a:custGeom>
            <a:solidFill>
              <a:srgbClr val="231F20"/>
            </a:solidFill>
            <a:ln w="4477" cap="flat">
              <a:noFill/>
              <a:prstDash val="solid"/>
              <a:miter/>
            </a:ln>
          </p:spPr>
          <p:txBody>
            <a:bodyPr rtlCol="0" anchor="ctr"/>
            <a:lstStyle/>
            <a:p>
              <a:endParaRPr lang="en-US"/>
            </a:p>
          </p:txBody>
        </p:sp>
        <p:sp>
          <p:nvSpPr>
            <p:cNvPr id="2759" name="Freeform: Shape 2758">
              <a:extLst>
                <a:ext uri="{FF2B5EF4-FFF2-40B4-BE49-F238E27FC236}">
                  <a16:creationId xmlns:a16="http://schemas.microsoft.com/office/drawing/2014/main" id="{03CADF7F-FBB4-4F24-9B2C-2E5008F82C4C}"/>
                </a:ext>
              </a:extLst>
            </p:cNvPr>
            <p:cNvSpPr/>
            <p:nvPr/>
          </p:nvSpPr>
          <p:spPr>
            <a:xfrm>
              <a:off x="7361926" y="2163750"/>
              <a:ext cx="31372" cy="8963"/>
            </a:xfrm>
            <a:custGeom>
              <a:avLst/>
              <a:gdLst>
                <a:gd name="connsiteX0" fmla="*/ 18103 w 31371"/>
                <a:gd name="connsiteY0" fmla="*/ 0 h 8963"/>
                <a:gd name="connsiteX1" fmla="*/ 625 w 31371"/>
                <a:gd name="connsiteY1" fmla="*/ 8067 h 8963"/>
                <a:gd name="connsiteX2" fmla="*/ 1073 w 31371"/>
                <a:gd name="connsiteY2" fmla="*/ 11204 h 8963"/>
                <a:gd name="connsiteX3" fmla="*/ 2417 w 31371"/>
                <a:gd name="connsiteY3" fmla="*/ 11652 h 8963"/>
                <a:gd name="connsiteX4" fmla="*/ 4210 w 31371"/>
                <a:gd name="connsiteY4" fmla="*/ 10756 h 8963"/>
                <a:gd name="connsiteX5" fmla="*/ 18103 w 31371"/>
                <a:gd name="connsiteY5" fmla="*/ 4482 h 8963"/>
                <a:gd name="connsiteX6" fmla="*/ 31997 w 31371"/>
                <a:gd name="connsiteY6" fmla="*/ 10756 h 8963"/>
                <a:gd name="connsiteX7" fmla="*/ 35134 w 31371"/>
                <a:gd name="connsiteY7" fmla="*/ 10756 h 8963"/>
                <a:gd name="connsiteX8" fmla="*/ 35134 w 31371"/>
                <a:gd name="connsiteY8" fmla="*/ 7619 h 8963"/>
                <a:gd name="connsiteX9" fmla="*/ 18103 w 31371"/>
                <a:gd name="connsiteY9"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8963">
                  <a:moveTo>
                    <a:pt x="18103" y="0"/>
                  </a:moveTo>
                  <a:cubicBezTo>
                    <a:pt x="11381" y="0"/>
                    <a:pt x="5106" y="3137"/>
                    <a:pt x="625" y="8067"/>
                  </a:cubicBezTo>
                  <a:cubicBezTo>
                    <a:pt x="-272" y="8963"/>
                    <a:pt x="-272" y="10308"/>
                    <a:pt x="1073" y="11204"/>
                  </a:cubicBezTo>
                  <a:cubicBezTo>
                    <a:pt x="1521" y="11652"/>
                    <a:pt x="1969" y="11652"/>
                    <a:pt x="2417" y="11652"/>
                  </a:cubicBezTo>
                  <a:cubicBezTo>
                    <a:pt x="2866" y="11652"/>
                    <a:pt x="3762" y="11204"/>
                    <a:pt x="4210" y="10756"/>
                  </a:cubicBezTo>
                  <a:cubicBezTo>
                    <a:pt x="7795" y="6723"/>
                    <a:pt x="12725" y="4482"/>
                    <a:pt x="18103" y="4482"/>
                  </a:cubicBezTo>
                  <a:cubicBezTo>
                    <a:pt x="23481" y="4482"/>
                    <a:pt x="28411" y="6723"/>
                    <a:pt x="31997" y="10756"/>
                  </a:cubicBezTo>
                  <a:cubicBezTo>
                    <a:pt x="32893" y="11652"/>
                    <a:pt x="34237" y="11652"/>
                    <a:pt x="35134" y="10756"/>
                  </a:cubicBezTo>
                  <a:cubicBezTo>
                    <a:pt x="36030" y="9860"/>
                    <a:pt x="36030" y="8515"/>
                    <a:pt x="35134" y="7619"/>
                  </a:cubicBezTo>
                  <a:cubicBezTo>
                    <a:pt x="31100" y="2689"/>
                    <a:pt x="24826" y="0"/>
                    <a:pt x="18103" y="0"/>
                  </a:cubicBezTo>
                  <a:close/>
                </a:path>
              </a:pathLst>
            </a:custGeom>
            <a:solidFill>
              <a:srgbClr val="231F20"/>
            </a:solidFill>
            <a:ln w="4477" cap="flat">
              <a:noFill/>
              <a:prstDash val="solid"/>
              <a:miter/>
            </a:ln>
          </p:spPr>
          <p:txBody>
            <a:bodyPr rtlCol="0" anchor="ctr"/>
            <a:lstStyle/>
            <a:p>
              <a:endParaRPr lang="en-US"/>
            </a:p>
          </p:txBody>
        </p:sp>
        <p:sp>
          <p:nvSpPr>
            <p:cNvPr id="2760" name="Freeform: Shape 2759">
              <a:extLst>
                <a:ext uri="{FF2B5EF4-FFF2-40B4-BE49-F238E27FC236}">
                  <a16:creationId xmlns:a16="http://schemas.microsoft.com/office/drawing/2014/main" id="{B08F62E0-B802-484F-BDAD-C82D76957A80}"/>
                </a:ext>
              </a:extLst>
            </p:cNvPr>
            <p:cNvSpPr/>
            <p:nvPr/>
          </p:nvSpPr>
          <p:spPr>
            <a:xfrm>
              <a:off x="7354891" y="2151650"/>
              <a:ext cx="49299" cy="13445"/>
            </a:xfrm>
            <a:custGeom>
              <a:avLst/>
              <a:gdLst>
                <a:gd name="connsiteX0" fmla="*/ 49787 w 49298"/>
                <a:gd name="connsiteY0" fmla="*/ 12101 h 13445"/>
                <a:gd name="connsiteX1" fmla="*/ 25138 w 49298"/>
                <a:gd name="connsiteY1" fmla="*/ 0 h 13445"/>
                <a:gd name="connsiteX2" fmla="*/ 489 w 49298"/>
                <a:gd name="connsiteY2" fmla="*/ 12549 h 13445"/>
                <a:gd name="connsiteX3" fmla="*/ 937 w 49298"/>
                <a:gd name="connsiteY3" fmla="*/ 15686 h 13445"/>
                <a:gd name="connsiteX4" fmla="*/ 2281 w 49298"/>
                <a:gd name="connsiteY4" fmla="*/ 16134 h 13445"/>
                <a:gd name="connsiteX5" fmla="*/ 4074 w 49298"/>
                <a:gd name="connsiteY5" fmla="*/ 15238 h 13445"/>
                <a:gd name="connsiteX6" fmla="*/ 25138 w 49298"/>
                <a:gd name="connsiteY6" fmla="*/ 4482 h 13445"/>
                <a:gd name="connsiteX7" fmla="*/ 46202 w 49298"/>
                <a:gd name="connsiteY7" fmla="*/ 14790 h 13445"/>
                <a:gd name="connsiteX8" fmla="*/ 49339 w 49298"/>
                <a:gd name="connsiteY8" fmla="*/ 15238 h 13445"/>
                <a:gd name="connsiteX9" fmla="*/ 49787 w 49298"/>
                <a:gd name="connsiteY9" fmla="*/ 12101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49787" y="12101"/>
                  </a:moveTo>
                  <a:cubicBezTo>
                    <a:pt x="43961" y="4482"/>
                    <a:pt x="34998" y="0"/>
                    <a:pt x="25138" y="0"/>
                  </a:cubicBezTo>
                  <a:cubicBezTo>
                    <a:pt x="15278" y="0"/>
                    <a:pt x="6315" y="4482"/>
                    <a:pt x="489" y="12549"/>
                  </a:cubicBezTo>
                  <a:cubicBezTo>
                    <a:pt x="-408" y="13445"/>
                    <a:pt x="40" y="14790"/>
                    <a:pt x="937" y="15686"/>
                  </a:cubicBezTo>
                  <a:cubicBezTo>
                    <a:pt x="1385" y="16134"/>
                    <a:pt x="1833" y="16134"/>
                    <a:pt x="2281" y="16134"/>
                  </a:cubicBezTo>
                  <a:cubicBezTo>
                    <a:pt x="3178" y="16134"/>
                    <a:pt x="3626" y="15686"/>
                    <a:pt x="4074" y="15238"/>
                  </a:cubicBezTo>
                  <a:cubicBezTo>
                    <a:pt x="9004" y="8515"/>
                    <a:pt x="16623" y="4482"/>
                    <a:pt x="25138" y="4482"/>
                  </a:cubicBezTo>
                  <a:cubicBezTo>
                    <a:pt x="33205" y="4482"/>
                    <a:pt x="40824" y="8067"/>
                    <a:pt x="46202" y="14790"/>
                  </a:cubicBezTo>
                  <a:cubicBezTo>
                    <a:pt x="47098" y="15686"/>
                    <a:pt x="48443" y="16134"/>
                    <a:pt x="49339" y="15238"/>
                  </a:cubicBezTo>
                  <a:cubicBezTo>
                    <a:pt x="50235" y="14790"/>
                    <a:pt x="50684" y="13445"/>
                    <a:pt x="49787" y="12101"/>
                  </a:cubicBezTo>
                  <a:close/>
                </a:path>
              </a:pathLst>
            </a:custGeom>
            <a:solidFill>
              <a:srgbClr val="231F20"/>
            </a:solidFill>
            <a:ln w="4477" cap="flat">
              <a:noFill/>
              <a:prstDash val="solid"/>
              <a:miter/>
            </a:ln>
          </p:spPr>
          <p:txBody>
            <a:bodyPr rtlCol="0" anchor="ctr"/>
            <a:lstStyle/>
            <a:p>
              <a:endParaRPr lang="en-US"/>
            </a:p>
          </p:txBody>
        </p:sp>
      </p:grpSp>
      <p:grpSp>
        <p:nvGrpSpPr>
          <p:cNvPr id="2593" name="Group 2592">
            <a:extLst>
              <a:ext uri="{FF2B5EF4-FFF2-40B4-BE49-F238E27FC236}">
                <a16:creationId xmlns:a16="http://schemas.microsoft.com/office/drawing/2014/main" id="{B9FD5E8C-687A-4217-9F71-BC307EBC75F6}"/>
              </a:ext>
              <a:ext uri="{C183D7F6-B498-43B3-948B-1728B52AA6E4}">
                <adec:decorative xmlns:adec="http://schemas.microsoft.com/office/drawing/2017/decorative" val="1"/>
              </a:ext>
            </a:extLst>
          </p:cNvPr>
          <p:cNvGrpSpPr>
            <a:grpSpLocks noChangeAspect="1"/>
          </p:cNvGrpSpPr>
          <p:nvPr/>
        </p:nvGrpSpPr>
        <p:grpSpPr>
          <a:xfrm>
            <a:off x="7483974" y="4171935"/>
            <a:ext cx="147896" cy="146551"/>
            <a:chOff x="7540474" y="2116244"/>
            <a:chExt cx="147896" cy="146551"/>
          </a:xfrm>
        </p:grpSpPr>
        <p:sp>
          <p:nvSpPr>
            <p:cNvPr id="2745" name="Freeform: Shape 2744">
              <a:extLst>
                <a:ext uri="{FF2B5EF4-FFF2-40B4-BE49-F238E27FC236}">
                  <a16:creationId xmlns:a16="http://schemas.microsoft.com/office/drawing/2014/main" id="{1823E89F-01D7-426D-AE24-8B81BB2B4297}"/>
                </a:ext>
              </a:extLst>
            </p:cNvPr>
            <p:cNvSpPr/>
            <p:nvPr/>
          </p:nvSpPr>
          <p:spPr>
            <a:xfrm>
              <a:off x="7540474" y="2164198"/>
              <a:ext cx="147896" cy="98597"/>
            </a:xfrm>
            <a:custGeom>
              <a:avLst/>
              <a:gdLst>
                <a:gd name="connsiteX0" fmla="*/ 143863 w 147896"/>
                <a:gd name="connsiteY0" fmla="*/ 0 h 98597"/>
                <a:gd name="connsiteX1" fmla="*/ 8515 w 147896"/>
                <a:gd name="connsiteY1" fmla="*/ 0 h 98597"/>
                <a:gd name="connsiteX2" fmla="*/ 0 w 147896"/>
                <a:gd name="connsiteY2" fmla="*/ 8515 h 98597"/>
                <a:gd name="connsiteX3" fmla="*/ 0 w 147896"/>
                <a:gd name="connsiteY3" fmla="*/ 90082 h 98597"/>
                <a:gd name="connsiteX4" fmla="*/ 8515 w 147896"/>
                <a:gd name="connsiteY4" fmla="*/ 98597 h 98597"/>
                <a:gd name="connsiteX5" fmla="*/ 95908 w 147896"/>
                <a:gd name="connsiteY5" fmla="*/ 98597 h 98597"/>
                <a:gd name="connsiteX6" fmla="*/ 95908 w 147896"/>
                <a:gd name="connsiteY6" fmla="*/ 98597 h 98597"/>
                <a:gd name="connsiteX7" fmla="*/ 95908 w 147896"/>
                <a:gd name="connsiteY7" fmla="*/ 98597 h 98597"/>
                <a:gd name="connsiteX8" fmla="*/ 142966 w 147896"/>
                <a:gd name="connsiteY8" fmla="*/ 98597 h 98597"/>
                <a:gd name="connsiteX9" fmla="*/ 151482 w 147896"/>
                <a:gd name="connsiteY9" fmla="*/ 90082 h 98597"/>
                <a:gd name="connsiteX10" fmla="*/ 151482 w 147896"/>
                <a:gd name="connsiteY10" fmla="*/ 8963 h 98597"/>
                <a:gd name="connsiteX11" fmla="*/ 143863 w 147896"/>
                <a:gd name="connsiteY11" fmla="*/ 0 h 98597"/>
                <a:gd name="connsiteX12" fmla="*/ 4482 w 147896"/>
                <a:gd name="connsiteY12" fmla="*/ 90082 h 98597"/>
                <a:gd name="connsiteX13" fmla="*/ 4482 w 147896"/>
                <a:gd name="connsiteY13" fmla="*/ 8963 h 98597"/>
                <a:gd name="connsiteX14" fmla="*/ 8515 w 147896"/>
                <a:gd name="connsiteY14" fmla="*/ 4930 h 98597"/>
                <a:gd name="connsiteX15" fmla="*/ 94116 w 147896"/>
                <a:gd name="connsiteY15" fmla="*/ 4930 h 98597"/>
                <a:gd name="connsiteX16" fmla="*/ 94116 w 147896"/>
                <a:gd name="connsiteY16" fmla="*/ 94564 h 98597"/>
                <a:gd name="connsiteX17" fmla="*/ 8515 w 147896"/>
                <a:gd name="connsiteY17" fmla="*/ 94564 h 98597"/>
                <a:gd name="connsiteX18" fmla="*/ 4482 w 147896"/>
                <a:gd name="connsiteY18" fmla="*/ 90082 h 98597"/>
                <a:gd name="connsiteX19" fmla="*/ 147896 w 147896"/>
                <a:gd name="connsiteY19" fmla="*/ 90082 h 98597"/>
                <a:gd name="connsiteX20" fmla="*/ 143863 w 147896"/>
                <a:gd name="connsiteY20" fmla="*/ 94116 h 98597"/>
                <a:gd name="connsiteX21" fmla="*/ 98598 w 147896"/>
                <a:gd name="connsiteY21" fmla="*/ 94116 h 98597"/>
                <a:gd name="connsiteX22" fmla="*/ 98598 w 147896"/>
                <a:gd name="connsiteY22" fmla="*/ 4482 h 98597"/>
                <a:gd name="connsiteX23" fmla="*/ 143863 w 147896"/>
                <a:gd name="connsiteY23" fmla="*/ 4482 h 98597"/>
                <a:gd name="connsiteX24" fmla="*/ 147896 w 147896"/>
                <a:gd name="connsiteY24" fmla="*/ 8515 h 98597"/>
                <a:gd name="connsiteX25" fmla="*/ 147896 w 147896"/>
                <a:gd name="connsiteY25" fmla="*/ 90082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7896" h="98597">
                  <a:moveTo>
                    <a:pt x="143863" y="0"/>
                  </a:moveTo>
                  <a:lnTo>
                    <a:pt x="8515" y="0"/>
                  </a:lnTo>
                  <a:cubicBezTo>
                    <a:pt x="3585" y="0"/>
                    <a:pt x="0" y="4034"/>
                    <a:pt x="0" y="8515"/>
                  </a:cubicBezTo>
                  <a:lnTo>
                    <a:pt x="0" y="90082"/>
                  </a:lnTo>
                  <a:cubicBezTo>
                    <a:pt x="0" y="95012"/>
                    <a:pt x="4034" y="98597"/>
                    <a:pt x="8515" y="98597"/>
                  </a:cubicBezTo>
                  <a:lnTo>
                    <a:pt x="95908" y="98597"/>
                  </a:lnTo>
                  <a:cubicBezTo>
                    <a:pt x="95908" y="98597"/>
                    <a:pt x="95908" y="98597"/>
                    <a:pt x="95908" y="98597"/>
                  </a:cubicBezTo>
                  <a:cubicBezTo>
                    <a:pt x="95908" y="98597"/>
                    <a:pt x="95908" y="98597"/>
                    <a:pt x="95908" y="98597"/>
                  </a:cubicBezTo>
                  <a:lnTo>
                    <a:pt x="142966" y="98597"/>
                  </a:lnTo>
                  <a:cubicBezTo>
                    <a:pt x="147896" y="98597"/>
                    <a:pt x="151482" y="94564"/>
                    <a:pt x="151482" y="90082"/>
                  </a:cubicBezTo>
                  <a:lnTo>
                    <a:pt x="151482" y="8963"/>
                  </a:lnTo>
                  <a:cubicBezTo>
                    <a:pt x="152378" y="4034"/>
                    <a:pt x="148792" y="0"/>
                    <a:pt x="143863" y="0"/>
                  </a:cubicBezTo>
                  <a:close/>
                  <a:moveTo>
                    <a:pt x="4482" y="90082"/>
                  </a:moveTo>
                  <a:lnTo>
                    <a:pt x="4482" y="8963"/>
                  </a:lnTo>
                  <a:cubicBezTo>
                    <a:pt x="4482" y="6723"/>
                    <a:pt x="6274" y="4930"/>
                    <a:pt x="8515" y="4930"/>
                  </a:cubicBezTo>
                  <a:lnTo>
                    <a:pt x="94116" y="4930"/>
                  </a:lnTo>
                  <a:lnTo>
                    <a:pt x="94116" y="94564"/>
                  </a:lnTo>
                  <a:lnTo>
                    <a:pt x="8515" y="94564"/>
                  </a:lnTo>
                  <a:cubicBezTo>
                    <a:pt x="6274" y="94116"/>
                    <a:pt x="4482" y="92323"/>
                    <a:pt x="4482" y="90082"/>
                  </a:cubicBezTo>
                  <a:close/>
                  <a:moveTo>
                    <a:pt x="147896" y="90082"/>
                  </a:moveTo>
                  <a:cubicBezTo>
                    <a:pt x="147896" y="92323"/>
                    <a:pt x="146103" y="94116"/>
                    <a:pt x="143863" y="94116"/>
                  </a:cubicBezTo>
                  <a:lnTo>
                    <a:pt x="98598" y="94116"/>
                  </a:lnTo>
                  <a:lnTo>
                    <a:pt x="98598" y="4482"/>
                  </a:lnTo>
                  <a:lnTo>
                    <a:pt x="143863" y="4482"/>
                  </a:lnTo>
                  <a:cubicBezTo>
                    <a:pt x="146103" y="4482"/>
                    <a:pt x="147896" y="6274"/>
                    <a:pt x="147896" y="8515"/>
                  </a:cubicBezTo>
                  <a:lnTo>
                    <a:pt x="147896" y="90082"/>
                  </a:lnTo>
                  <a:close/>
                </a:path>
              </a:pathLst>
            </a:custGeom>
            <a:solidFill>
              <a:srgbClr val="231F20"/>
            </a:solidFill>
            <a:ln w="4477" cap="flat">
              <a:noFill/>
              <a:prstDash val="solid"/>
              <a:miter/>
            </a:ln>
          </p:spPr>
          <p:txBody>
            <a:bodyPr rtlCol="0" anchor="ctr"/>
            <a:lstStyle/>
            <a:p>
              <a:endParaRPr lang="en-US"/>
            </a:p>
          </p:txBody>
        </p:sp>
        <p:sp>
          <p:nvSpPr>
            <p:cNvPr id="2746" name="Freeform: Shape 2745">
              <a:extLst>
                <a:ext uri="{FF2B5EF4-FFF2-40B4-BE49-F238E27FC236}">
                  <a16:creationId xmlns:a16="http://schemas.microsoft.com/office/drawing/2014/main" id="{E966FB41-5625-47D5-8E58-EF24CDEAFDAD}"/>
                </a:ext>
              </a:extLst>
            </p:cNvPr>
            <p:cNvSpPr/>
            <p:nvPr/>
          </p:nvSpPr>
          <p:spPr>
            <a:xfrm>
              <a:off x="7648035" y="2177643"/>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649"/>
                    <a:pt x="7171" y="31372"/>
                    <a:pt x="15686" y="31372"/>
                  </a:cubicBezTo>
                  <a:close/>
                  <a:moveTo>
                    <a:pt x="15686" y="4482"/>
                  </a:moveTo>
                  <a:cubicBezTo>
                    <a:pt x="21960" y="4482"/>
                    <a:pt x="26890" y="9412"/>
                    <a:pt x="26890" y="15686"/>
                  </a:cubicBezTo>
                  <a:cubicBezTo>
                    <a:pt x="26890" y="21960"/>
                    <a:pt x="21960" y="26890"/>
                    <a:pt x="15686" y="26890"/>
                  </a:cubicBezTo>
                  <a:cubicBezTo>
                    <a:pt x="9411" y="26890"/>
                    <a:pt x="4482" y="21960"/>
                    <a:pt x="4482" y="15686"/>
                  </a:cubicBezTo>
                  <a:cubicBezTo>
                    <a:pt x="4482" y="9412"/>
                    <a:pt x="9411" y="4482"/>
                    <a:pt x="15686" y="4482"/>
                  </a:cubicBezTo>
                  <a:close/>
                </a:path>
              </a:pathLst>
            </a:custGeom>
            <a:solidFill>
              <a:srgbClr val="231F20"/>
            </a:solidFill>
            <a:ln w="4477" cap="flat">
              <a:noFill/>
              <a:prstDash val="solid"/>
              <a:miter/>
            </a:ln>
          </p:spPr>
          <p:txBody>
            <a:bodyPr rtlCol="0" anchor="ctr"/>
            <a:lstStyle/>
            <a:p>
              <a:endParaRPr lang="en-US"/>
            </a:p>
          </p:txBody>
        </p:sp>
        <p:sp>
          <p:nvSpPr>
            <p:cNvPr id="2747" name="Freeform: Shape 2746">
              <a:extLst>
                <a:ext uri="{FF2B5EF4-FFF2-40B4-BE49-F238E27FC236}">
                  <a16:creationId xmlns:a16="http://schemas.microsoft.com/office/drawing/2014/main" id="{1B4D5043-4F5C-4750-B97A-F534D9DB7FBF}"/>
                </a:ext>
              </a:extLst>
            </p:cNvPr>
            <p:cNvSpPr/>
            <p:nvPr/>
          </p:nvSpPr>
          <p:spPr>
            <a:xfrm>
              <a:off x="7553919" y="2177643"/>
              <a:ext cx="71707" cy="71707"/>
            </a:xfrm>
            <a:custGeom>
              <a:avLst/>
              <a:gdLst>
                <a:gd name="connsiteX0" fmla="*/ 69466 w 71707"/>
                <a:gd name="connsiteY0" fmla="*/ 0 h 71707"/>
                <a:gd name="connsiteX1" fmla="*/ 2241 w 71707"/>
                <a:gd name="connsiteY1" fmla="*/ 0 h 71707"/>
                <a:gd name="connsiteX2" fmla="*/ 0 w 71707"/>
                <a:gd name="connsiteY2" fmla="*/ 2241 h 71707"/>
                <a:gd name="connsiteX3" fmla="*/ 0 w 71707"/>
                <a:gd name="connsiteY3" fmla="*/ 69466 h 71707"/>
                <a:gd name="connsiteX4" fmla="*/ 2241 w 71707"/>
                <a:gd name="connsiteY4" fmla="*/ 71707 h 71707"/>
                <a:gd name="connsiteX5" fmla="*/ 69466 w 71707"/>
                <a:gd name="connsiteY5" fmla="*/ 71707 h 71707"/>
                <a:gd name="connsiteX6" fmla="*/ 71707 w 71707"/>
                <a:gd name="connsiteY6" fmla="*/ 69466 h 71707"/>
                <a:gd name="connsiteX7" fmla="*/ 71707 w 71707"/>
                <a:gd name="connsiteY7" fmla="*/ 2241 h 71707"/>
                <a:gd name="connsiteX8" fmla="*/ 69466 w 71707"/>
                <a:gd name="connsiteY8" fmla="*/ 0 h 71707"/>
                <a:gd name="connsiteX9" fmla="*/ 67226 w 71707"/>
                <a:gd name="connsiteY9" fmla="*/ 67226 h 71707"/>
                <a:gd name="connsiteX10" fmla="*/ 4482 w 71707"/>
                <a:gd name="connsiteY10" fmla="*/ 67226 h 71707"/>
                <a:gd name="connsiteX11" fmla="*/ 4482 w 71707"/>
                <a:gd name="connsiteY11" fmla="*/ 4482 h 71707"/>
                <a:gd name="connsiteX12" fmla="*/ 67226 w 71707"/>
                <a:gd name="connsiteY12" fmla="*/ 4482 h 71707"/>
                <a:gd name="connsiteX13" fmla="*/ 67226 w 71707"/>
                <a:gd name="connsiteY13"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707" h="71707">
                  <a:moveTo>
                    <a:pt x="69466" y="0"/>
                  </a:moveTo>
                  <a:lnTo>
                    <a:pt x="2241" y="0"/>
                  </a:lnTo>
                  <a:cubicBezTo>
                    <a:pt x="896" y="0"/>
                    <a:pt x="0" y="896"/>
                    <a:pt x="0" y="2241"/>
                  </a:cubicBezTo>
                  <a:lnTo>
                    <a:pt x="0" y="69466"/>
                  </a:lnTo>
                  <a:cubicBezTo>
                    <a:pt x="0" y="70811"/>
                    <a:pt x="896" y="71707"/>
                    <a:pt x="2241" y="71707"/>
                  </a:cubicBezTo>
                  <a:lnTo>
                    <a:pt x="69466" y="71707"/>
                  </a:lnTo>
                  <a:cubicBezTo>
                    <a:pt x="70811" y="71707"/>
                    <a:pt x="71707" y="70811"/>
                    <a:pt x="71707" y="69466"/>
                  </a:cubicBezTo>
                  <a:lnTo>
                    <a:pt x="71707" y="2241"/>
                  </a:lnTo>
                  <a:cubicBezTo>
                    <a:pt x="71707" y="1345"/>
                    <a:pt x="70811" y="0"/>
                    <a:pt x="69466" y="0"/>
                  </a:cubicBezTo>
                  <a:close/>
                  <a:moveTo>
                    <a:pt x="67226" y="67226"/>
                  </a:moveTo>
                  <a:lnTo>
                    <a:pt x="4482" y="67226"/>
                  </a:lnTo>
                  <a:lnTo>
                    <a:pt x="4482" y="4482"/>
                  </a:lnTo>
                  <a:lnTo>
                    <a:pt x="67226" y="4482"/>
                  </a:lnTo>
                  <a:lnTo>
                    <a:pt x="67226" y="67226"/>
                  </a:lnTo>
                  <a:close/>
                </a:path>
              </a:pathLst>
            </a:custGeom>
            <a:solidFill>
              <a:srgbClr val="231F20"/>
            </a:solidFill>
            <a:ln w="4477" cap="flat">
              <a:noFill/>
              <a:prstDash val="solid"/>
              <a:miter/>
            </a:ln>
          </p:spPr>
          <p:txBody>
            <a:bodyPr rtlCol="0" anchor="ctr"/>
            <a:lstStyle/>
            <a:p>
              <a:endParaRPr lang="en-US"/>
            </a:p>
          </p:txBody>
        </p:sp>
        <p:sp>
          <p:nvSpPr>
            <p:cNvPr id="2748" name="Freeform: Shape 2747">
              <a:extLst>
                <a:ext uri="{FF2B5EF4-FFF2-40B4-BE49-F238E27FC236}">
                  <a16:creationId xmlns:a16="http://schemas.microsoft.com/office/drawing/2014/main" id="{D3FDDC2B-29E9-47F0-9A25-1105D92405E9}"/>
                </a:ext>
              </a:extLst>
            </p:cNvPr>
            <p:cNvSpPr/>
            <p:nvPr/>
          </p:nvSpPr>
          <p:spPr>
            <a:xfrm>
              <a:off x="7648035" y="2217979"/>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1344"/>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749" name="Freeform: Shape 2748">
              <a:extLst>
                <a:ext uri="{FF2B5EF4-FFF2-40B4-BE49-F238E27FC236}">
                  <a16:creationId xmlns:a16="http://schemas.microsoft.com/office/drawing/2014/main" id="{CF373957-356D-4931-991D-7D4B262F97D0}"/>
                </a:ext>
              </a:extLst>
            </p:cNvPr>
            <p:cNvSpPr/>
            <p:nvPr/>
          </p:nvSpPr>
          <p:spPr>
            <a:xfrm>
              <a:off x="7648035" y="2231424"/>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1344"/>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750" name="Freeform: Shape 2749">
              <a:extLst>
                <a:ext uri="{FF2B5EF4-FFF2-40B4-BE49-F238E27FC236}">
                  <a16:creationId xmlns:a16="http://schemas.microsoft.com/office/drawing/2014/main" id="{DF92E6B8-EA31-4584-8E20-A513C5B7253E}"/>
                </a:ext>
              </a:extLst>
            </p:cNvPr>
            <p:cNvSpPr/>
            <p:nvPr/>
          </p:nvSpPr>
          <p:spPr>
            <a:xfrm>
              <a:off x="7560194" y="2231424"/>
              <a:ext cx="58262" cy="4482"/>
            </a:xfrm>
            <a:custGeom>
              <a:avLst/>
              <a:gdLst>
                <a:gd name="connsiteX0" fmla="*/ 2241 w 58262"/>
                <a:gd name="connsiteY0" fmla="*/ 4482 h 4481"/>
                <a:gd name="connsiteX1" fmla="*/ 56918 w 58262"/>
                <a:gd name="connsiteY1" fmla="*/ 4482 h 4481"/>
                <a:gd name="connsiteX2" fmla="*/ 59158 w 58262"/>
                <a:gd name="connsiteY2" fmla="*/ 2241 h 4481"/>
                <a:gd name="connsiteX3" fmla="*/ 56918 w 58262"/>
                <a:gd name="connsiteY3" fmla="*/ 0 h 4481"/>
                <a:gd name="connsiteX4" fmla="*/ 2241 w 58262"/>
                <a:gd name="connsiteY4" fmla="*/ 0 h 4481"/>
                <a:gd name="connsiteX5" fmla="*/ 0 w 58262"/>
                <a:gd name="connsiteY5" fmla="*/ 2241 h 4481"/>
                <a:gd name="connsiteX6" fmla="*/ 2241 w 58262"/>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62" h="4481">
                  <a:moveTo>
                    <a:pt x="2241" y="4482"/>
                  </a:moveTo>
                  <a:lnTo>
                    <a:pt x="56918" y="4482"/>
                  </a:lnTo>
                  <a:cubicBezTo>
                    <a:pt x="58262" y="4482"/>
                    <a:pt x="59158" y="3585"/>
                    <a:pt x="59158" y="2241"/>
                  </a:cubicBezTo>
                  <a:cubicBezTo>
                    <a:pt x="59158" y="896"/>
                    <a:pt x="58262" y="0"/>
                    <a:pt x="56918"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751" name="Freeform: Shape 2750">
              <a:extLst>
                <a:ext uri="{FF2B5EF4-FFF2-40B4-BE49-F238E27FC236}">
                  <a16:creationId xmlns:a16="http://schemas.microsoft.com/office/drawing/2014/main" id="{3399E422-79DE-4BAA-9955-8FDA213EA7BF}"/>
                </a:ext>
              </a:extLst>
            </p:cNvPr>
            <p:cNvSpPr/>
            <p:nvPr/>
          </p:nvSpPr>
          <p:spPr>
            <a:xfrm>
              <a:off x="7582602" y="2139549"/>
              <a:ext cx="13445" cy="13445"/>
            </a:xfrm>
            <a:custGeom>
              <a:avLst/>
              <a:gdLst>
                <a:gd name="connsiteX0" fmla="*/ 0 w 13445"/>
                <a:gd name="connsiteY0" fmla="*/ 7619 h 13445"/>
                <a:gd name="connsiteX1" fmla="*/ 7619 w 13445"/>
                <a:gd name="connsiteY1" fmla="*/ 15238 h 13445"/>
                <a:gd name="connsiteX2" fmla="*/ 15238 w 13445"/>
                <a:gd name="connsiteY2" fmla="*/ 7619 h 13445"/>
                <a:gd name="connsiteX3" fmla="*/ 7619 w 13445"/>
                <a:gd name="connsiteY3" fmla="*/ 0 h 13445"/>
                <a:gd name="connsiteX4" fmla="*/ 0 w 13445"/>
                <a:gd name="connsiteY4" fmla="*/ 7619 h 13445"/>
                <a:gd name="connsiteX5" fmla="*/ 10308 w 13445"/>
                <a:gd name="connsiteY5" fmla="*/ 7619 h 13445"/>
                <a:gd name="connsiteX6" fmla="*/ 7171 w 13445"/>
                <a:gd name="connsiteY6" fmla="*/ 10756 h 13445"/>
                <a:gd name="connsiteX7" fmla="*/ 4034 w 13445"/>
                <a:gd name="connsiteY7" fmla="*/ 7619 h 13445"/>
                <a:gd name="connsiteX8" fmla="*/ 7171 w 13445"/>
                <a:gd name="connsiteY8" fmla="*/ 4482 h 13445"/>
                <a:gd name="connsiteX9" fmla="*/ 10308 w 13445"/>
                <a:gd name="connsiteY9" fmla="*/ 7619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0" y="7619"/>
                  </a:moveTo>
                  <a:cubicBezTo>
                    <a:pt x="0" y="11652"/>
                    <a:pt x="3137" y="15238"/>
                    <a:pt x="7619" y="15238"/>
                  </a:cubicBezTo>
                  <a:cubicBezTo>
                    <a:pt x="12101" y="15238"/>
                    <a:pt x="15238" y="12101"/>
                    <a:pt x="15238" y="7619"/>
                  </a:cubicBezTo>
                  <a:cubicBezTo>
                    <a:pt x="15238" y="3585"/>
                    <a:pt x="12101" y="0"/>
                    <a:pt x="7619" y="0"/>
                  </a:cubicBezTo>
                  <a:cubicBezTo>
                    <a:pt x="3137" y="0"/>
                    <a:pt x="0" y="3585"/>
                    <a:pt x="0" y="7619"/>
                  </a:cubicBezTo>
                  <a:close/>
                  <a:moveTo>
                    <a:pt x="10308" y="7619"/>
                  </a:moveTo>
                  <a:cubicBezTo>
                    <a:pt x="10308" y="9412"/>
                    <a:pt x="8963" y="10756"/>
                    <a:pt x="7171" y="10756"/>
                  </a:cubicBezTo>
                  <a:cubicBezTo>
                    <a:pt x="5378" y="10756"/>
                    <a:pt x="4034" y="9412"/>
                    <a:pt x="4034" y="7619"/>
                  </a:cubicBezTo>
                  <a:cubicBezTo>
                    <a:pt x="4034" y="5826"/>
                    <a:pt x="5378" y="4482"/>
                    <a:pt x="7171" y="4482"/>
                  </a:cubicBezTo>
                  <a:cubicBezTo>
                    <a:pt x="8963" y="4482"/>
                    <a:pt x="10308" y="5826"/>
                    <a:pt x="10308" y="7619"/>
                  </a:cubicBezTo>
                  <a:close/>
                </a:path>
              </a:pathLst>
            </a:custGeom>
            <a:solidFill>
              <a:srgbClr val="231F20"/>
            </a:solidFill>
            <a:ln w="4477" cap="flat">
              <a:noFill/>
              <a:prstDash val="solid"/>
              <a:miter/>
            </a:ln>
          </p:spPr>
          <p:txBody>
            <a:bodyPr rtlCol="0" anchor="ctr"/>
            <a:lstStyle/>
            <a:p>
              <a:endParaRPr lang="en-US"/>
            </a:p>
          </p:txBody>
        </p:sp>
        <p:sp>
          <p:nvSpPr>
            <p:cNvPr id="2752" name="Freeform: Shape 2751">
              <a:extLst>
                <a:ext uri="{FF2B5EF4-FFF2-40B4-BE49-F238E27FC236}">
                  <a16:creationId xmlns:a16="http://schemas.microsoft.com/office/drawing/2014/main" id="{C8B849B5-BDC0-4CD5-8F96-5730423C7B65}"/>
                </a:ext>
              </a:extLst>
            </p:cNvPr>
            <p:cNvSpPr/>
            <p:nvPr/>
          </p:nvSpPr>
          <p:spPr>
            <a:xfrm>
              <a:off x="7571669" y="2127896"/>
              <a:ext cx="35854" cy="8963"/>
            </a:xfrm>
            <a:custGeom>
              <a:avLst/>
              <a:gdLst>
                <a:gd name="connsiteX0" fmla="*/ 35582 w 35853"/>
                <a:gd name="connsiteY0" fmla="*/ 11204 h 8963"/>
                <a:gd name="connsiteX1" fmla="*/ 35582 w 35853"/>
                <a:gd name="connsiteY1" fmla="*/ 8067 h 8963"/>
                <a:gd name="connsiteX2" fmla="*/ 18103 w 35853"/>
                <a:gd name="connsiteY2" fmla="*/ 0 h 8963"/>
                <a:gd name="connsiteX3" fmla="*/ 625 w 35853"/>
                <a:gd name="connsiteY3" fmla="*/ 8067 h 8963"/>
                <a:gd name="connsiteX4" fmla="*/ 1073 w 35853"/>
                <a:gd name="connsiteY4" fmla="*/ 11204 h 8963"/>
                <a:gd name="connsiteX5" fmla="*/ 2417 w 35853"/>
                <a:gd name="connsiteY5" fmla="*/ 11652 h 8963"/>
                <a:gd name="connsiteX6" fmla="*/ 4210 w 35853"/>
                <a:gd name="connsiteY6" fmla="*/ 10756 h 8963"/>
                <a:gd name="connsiteX7" fmla="*/ 18103 w 35853"/>
                <a:gd name="connsiteY7" fmla="*/ 4482 h 8963"/>
                <a:gd name="connsiteX8" fmla="*/ 31997 w 35853"/>
                <a:gd name="connsiteY8" fmla="*/ 10756 h 8963"/>
                <a:gd name="connsiteX9" fmla="*/ 35582 w 35853"/>
                <a:gd name="connsiteY9" fmla="*/ 11204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8963">
                  <a:moveTo>
                    <a:pt x="35582" y="11204"/>
                  </a:moveTo>
                  <a:cubicBezTo>
                    <a:pt x="36478" y="10308"/>
                    <a:pt x="36478" y="8963"/>
                    <a:pt x="35582" y="8067"/>
                  </a:cubicBezTo>
                  <a:cubicBezTo>
                    <a:pt x="31100" y="3137"/>
                    <a:pt x="24826" y="0"/>
                    <a:pt x="18103" y="0"/>
                  </a:cubicBezTo>
                  <a:cubicBezTo>
                    <a:pt x="11381" y="0"/>
                    <a:pt x="5106" y="3137"/>
                    <a:pt x="625" y="8067"/>
                  </a:cubicBezTo>
                  <a:cubicBezTo>
                    <a:pt x="-272" y="8963"/>
                    <a:pt x="-272" y="10308"/>
                    <a:pt x="1073" y="11204"/>
                  </a:cubicBezTo>
                  <a:cubicBezTo>
                    <a:pt x="1521" y="11652"/>
                    <a:pt x="1969" y="11652"/>
                    <a:pt x="2417" y="11652"/>
                  </a:cubicBezTo>
                  <a:cubicBezTo>
                    <a:pt x="2866" y="11652"/>
                    <a:pt x="3762" y="11204"/>
                    <a:pt x="4210" y="10756"/>
                  </a:cubicBezTo>
                  <a:cubicBezTo>
                    <a:pt x="7795" y="6723"/>
                    <a:pt x="12725" y="4482"/>
                    <a:pt x="18103" y="4482"/>
                  </a:cubicBezTo>
                  <a:cubicBezTo>
                    <a:pt x="23481" y="4482"/>
                    <a:pt x="28411" y="6723"/>
                    <a:pt x="31997" y="10756"/>
                  </a:cubicBezTo>
                  <a:cubicBezTo>
                    <a:pt x="32893" y="12101"/>
                    <a:pt x="34686" y="12101"/>
                    <a:pt x="35582" y="11204"/>
                  </a:cubicBezTo>
                  <a:close/>
                </a:path>
              </a:pathLst>
            </a:custGeom>
            <a:solidFill>
              <a:srgbClr val="231F20"/>
            </a:solidFill>
            <a:ln w="4477" cap="flat">
              <a:noFill/>
              <a:prstDash val="solid"/>
              <a:miter/>
            </a:ln>
          </p:spPr>
          <p:txBody>
            <a:bodyPr rtlCol="0" anchor="ctr"/>
            <a:lstStyle/>
            <a:p>
              <a:endParaRPr lang="en-US"/>
            </a:p>
          </p:txBody>
        </p:sp>
        <p:sp>
          <p:nvSpPr>
            <p:cNvPr id="2753" name="Freeform: Shape 2752">
              <a:extLst>
                <a:ext uri="{FF2B5EF4-FFF2-40B4-BE49-F238E27FC236}">
                  <a16:creationId xmlns:a16="http://schemas.microsoft.com/office/drawing/2014/main" id="{A81829EF-58A8-4A5C-AF30-35525AF359F4}"/>
                </a:ext>
              </a:extLst>
            </p:cNvPr>
            <p:cNvSpPr/>
            <p:nvPr/>
          </p:nvSpPr>
          <p:spPr>
            <a:xfrm>
              <a:off x="7564635" y="2116244"/>
              <a:ext cx="49299" cy="13445"/>
            </a:xfrm>
            <a:custGeom>
              <a:avLst/>
              <a:gdLst>
                <a:gd name="connsiteX0" fmla="*/ 2281 w 49298"/>
                <a:gd name="connsiteY0" fmla="*/ 16134 h 13445"/>
                <a:gd name="connsiteX1" fmla="*/ 4074 w 49298"/>
                <a:gd name="connsiteY1" fmla="*/ 15238 h 13445"/>
                <a:gd name="connsiteX2" fmla="*/ 25138 w 49298"/>
                <a:gd name="connsiteY2" fmla="*/ 4482 h 13445"/>
                <a:gd name="connsiteX3" fmla="*/ 46202 w 49298"/>
                <a:gd name="connsiteY3" fmla="*/ 14790 h 13445"/>
                <a:gd name="connsiteX4" fmla="*/ 49339 w 49298"/>
                <a:gd name="connsiteY4" fmla="*/ 15238 h 13445"/>
                <a:gd name="connsiteX5" fmla="*/ 49787 w 49298"/>
                <a:gd name="connsiteY5" fmla="*/ 12101 h 13445"/>
                <a:gd name="connsiteX6" fmla="*/ 25138 w 49298"/>
                <a:gd name="connsiteY6" fmla="*/ 0 h 13445"/>
                <a:gd name="connsiteX7" fmla="*/ 489 w 49298"/>
                <a:gd name="connsiteY7" fmla="*/ 12549 h 13445"/>
                <a:gd name="connsiteX8" fmla="*/ 937 w 49298"/>
                <a:gd name="connsiteY8" fmla="*/ 15686 h 13445"/>
                <a:gd name="connsiteX9" fmla="*/ 2281 w 49298"/>
                <a:gd name="connsiteY9" fmla="*/ 16134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2281" y="16134"/>
                  </a:moveTo>
                  <a:cubicBezTo>
                    <a:pt x="3178" y="16134"/>
                    <a:pt x="3626" y="15686"/>
                    <a:pt x="4074" y="15238"/>
                  </a:cubicBezTo>
                  <a:cubicBezTo>
                    <a:pt x="9004" y="8515"/>
                    <a:pt x="16623" y="4482"/>
                    <a:pt x="25138" y="4482"/>
                  </a:cubicBezTo>
                  <a:cubicBezTo>
                    <a:pt x="33205" y="4482"/>
                    <a:pt x="40824" y="8067"/>
                    <a:pt x="46202" y="14790"/>
                  </a:cubicBezTo>
                  <a:cubicBezTo>
                    <a:pt x="47098" y="15686"/>
                    <a:pt x="48443" y="16134"/>
                    <a:pt x="49339" y="15238"/>
                  </a:cubicBezTo>
                  <a:cubicBezTo>
                    <a:pt x="50235" y="14341"/>
                    <a:pt x="50684" y="12997"/>
                    <a:pt x="49787" y="12101"/>
                  </a:cubicBezTo>
                  <a:cubicBezTo>
                    <a:pt x="43961" y="4482"/>
                    <a:pt x="34998" y="0"/>
                    <a:pt x="25138" y="0"/>
                  </a:cubicBezTo>
                  <a:cubicBezTo>
                    <a:pt x="15278" y="0"/>
                    <a:pt x="6315" y="4482"/>
                    <a:pt x="489" y="12549"/>
                  </a:cubicBezTo>
                  <a:cubicBezTo>
                    <a:pt x="-408" y="13445"/>
                    <a:pt x="40" y="14790"/>
                    <a:pt x="937" y="15686"/>
                  </a:cubicBezTo>
                  <a:cubicBezTo>
                    <a:pt x="1385" y="16134"/>
                    <a:pt x="1833" y="16134"/>
                    <a:pt x="2281" y="16134"/>
                  </a:cubicBezTo>
                  <a:close/>
                </a:path>
              </a:pathLst>
            </a:custGeom>
            <a:solidFill>
              <a:srgbClr val="231F20"/>
            </a:solidFill>
            <a:ln w="4477" cap="flat">
              <a:noFill/>
              <a:prstDash val="solid"/>
              <a:miter/>
            </a:ln>
          </p:spPr>
          <p:txBody>
            <a:bodyPr rtlCol="0" anchor="ctr"/>
            <a:lstStyle/>
            <a:p>
              <a:endParaRPr lang="en-US"/>
            </a:p>
          </p:txBody>
        </p:sp>
      </p:grpSp>
      <p:grpSp>
        <p:nvGrpSpPr>
          <p:cNvPr id="2594" name="Group 2593">
            <a:extLst>
              <a:ext uri="{FF2B5EF4-FFF2-40B4-BE49-F238E27FC236}">
                <a16:creationId xmlns:a16="http://schemas.microsoft.com/office/drawing/2014/main" id="{33145409-01D4-4571-A8A4-F4AFF9A9B48B}"/>
              </a:ext>
              <a:ext uri="{C183D7F6-B498-43B3-948B-1728B52AA6E4}">
                <adec:decorative xmlns:adec="http://schemas.microsoft.com/office/drawing/2017/decorative" val="1"/>
              </a:ext>
            </a:extLst>
          </p:cNvPr>
          <p:cNvGrpSpPr>
            <a:grpSpLocks noChangeAspect="1"/>
          </p:cNvGrpSpPr>
          <p:nvPr/>
        </p:nvGrpSpPr>
        <p:grpSpPr>
          <a:xfrm>
            <a:off x="7743913" y="4161179"/>
            <a:ext cx="127240" cy="153274"/>
            <a:chOff x="7800413" y="2105488"/>
            <a:chExt cx="127240" cy="153274"/>
          </a:xfrm>
        </p:grpSpPr>
        <p:sp>
          <p:nvSpPr>
            <p:cNvPr id="2733" name="Freeform: Shape 2732">
              <a:extLst>
                <a:ext uri="{FF2B5EF4-FFF2-40B4-BE49-F238E27FC236}">
                  <a16:creationId xmlns:a16="http://schemas.microsoft.com/office/drawing/2014/main" id="{2B9A113F-5D06-4D31-A265-650AE27385A4}"/>
                </a:ext>
              </a:extLst>
            </p:cNvPr>
            <p:cNvSpPr/>
            <p:nvPr/>
          </p:nvSpPr>
          <p:spPr>
            <a:xfrm>
              <a:off x="7800413" y="2124311"/>
              <a:ext cx="112043" cy="134451"/>
            </a:xfrm>
            <a:custGeom>
              <a:avLst/>
              <a:gdLst>
                <a:gd name="connsiteX0" fmla="*/ 103527 w 112042"/>
                <a:gd name="connsiteY0" fmla="*/ 138485 h 134451"/>
                <a:gd name="connsiteX1" fmla="*/ 8515 w 112042"/>
                <a:gd name="connsiteY1" fmla="*/ 138485 h 134451"/>
                <a:gd name="connsiteX2" fmla="*/ 0 w 112042"/>
                <a:gd name="connsiteY2" fmla="*/ 129969 h 134451"/>
                <a:gd name="connsiteX3" fmla="*/ 0 w 112042"/>
                <a:gd name="connsiteY3" fmla="*/ 8515 h 134451"/>
                <a:gd name="connsiteX4" fmla="*/ 8515 w 112042"/>
                <a:gd name="connsiteY4" fmla="*/ 0 h 134451"/>
                <a:gd name="connsiteX5" fmla="*/ 70811 w 112042"/>
                <a:gd name="connsiteY5" fmla="*/ 0 h 134451"/>
                <a:gd name="connsiteX6" fmla="*/ 73052 w 112042"/>
                <a:gd name="connsiteY6" fmla="*/ 2241 h 134451"/>
                <a:gd name="connsiteX7" fmla="*/ 70811 w 112042"/>
                <a:gd name="connsiteY7" fmla="*/ 4482 h 134451"/>
                <a:gd name="connsiteX8" fmla="*/ 8515 w 112042"/>
                <a:gd name="connsiteY8" fmla="*/ 4482 h 134451"/>
                <a:gd name="connsiteX9" fmla="*/ 4482 w 112042"/>
                <a:gd name="connsiteY9" fmla="*/ 8515 h 134451"/>
                <a:gd name="connsiteX10" fmla="*/ 4482 w 112042"/>
                <a:gd name="connsiteY10" fmla="*/ 130418 h 134451"/>
                <a:gd name="connsiteX11" fmla="*/ 8515 w 112042"/>
                <a:gd name="connsiteY11" fmla="*/ 134451 h 134451"/>
                <a:gd name="connsiteX12" fmla="*/ 103527 w 112042"/>
                <a:gd name="connsiteY12" fmla="*/ 134451 h 134451"/>
                <a:gd name="connsiteX13" fmla="*/ 107561 w 112042"/>
                <a:gd name="connsiteY13" fmla="*/ 130418 h 134451"/>
                <a:gd name="connsiteX14" fmla="*/ 107561 w 112042"/>
                <a:gd name="connsiteY14" fmla="*/ 29131 h 134451"/>
                <a:gd name="connsiteX15" fmla="*/ 109802 w 112042"/>
                <a:gd name="connsiteY15" fmla="*/ 26890 h 134451"/>
                <a:gd name="connsiteX16" fmla="*/ 112043 w 112042"/>
                <a:gd name="connsiteY16" fmla="*/ 29131 h 134451"/>
                <a:gd name="connsiteX17" fmla="*/ 112043 w 112042"/>
                <a:gd name="connsiteY17" fmla="*/ 130418 h 134451"/>
                <a:gd name="connsiteX18" fmla="*/ 103527 w 112042"/>
                <a:gd name="connsiteY18" fmla="*/ 138485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042" h="134451">
                  <a:moveTo>
                    <a:pt x="103527" y="138485"/>
                  </a:moveTo>
                  <a:lnTo>
                    <a:pt x="8515" y="138485"/>
                  </a:lnTo>
                  <a:cubicBezTo>
                    <a:pt x="3585" y="138485"/>
                    <a:pt x="0" y="134451"/>
                    <a:pt x="0" y="129969"/>
                  </a:cubicBezTo>
                  <a:lnTo>
                    <a:pt x="0" y="8515"/>
                  </a:lnTo>
                  <a:cubicBezTo>
                    <a:pt x="0" y="3585"/>
                    <a:pt x="4034" y="0"/>
                    <a:pt x="8515" y="0"/>
                  </a:cubicBezTo>
                  <a:lnTo>
                    <a:pt x="70811" y="0"/>
                  </a:lnTo>
                  <a:cubicBezTo>
                    <a:pt x="72155" y="0"/>
                    <a:pt x="73052" y="896"/>
                    <a:pt x="73052" y="2241"/>
                  </a:cubicBezTo>
                  <a:cubicBezTo>
                    <a:pt x="73052" y="3585"/>
                    <a:pt x="72155" y="4482"/>
                    <a:pt x="70811" y="4482"/>
                  </a:cubicBezTo>
                  <a:lnTo>
                    <a:pt x="8515" y="4482"/>
                  </a:lnTo>
                  <a:cubicBezTo>
                    <a:pt x="6274" y="4482"/>
                    <a:pt x="4482" y="6274"/>
                    <a:pt x="4482" y="8515"/>
                  </a:cubicBezTo>
                  <a:lnTo>
                    <a:pt x="4482" y="130418"/>
                  </a:lnTo>
                  <a:cubicBezTo>
                    <a:pt x="4482" y="132658"/>
                    <a:pt x="6274" y="134451"/>
                    <a:pt x="8515" y="134451"/>
                  </a:cubicBezTo>
                  <a:lnTo>
                    <a:pt x="103527" y="134451"/>
                  </a:lnTo>
                  <a:cubicBezTo>
                    <a:pt x="105768" y="134451"/>
                    <a:pt x="107561" y="132658"/>
                    <a:pt x="107561" y="130418"/>
                  </a:cubicBezTo>
                  <a:lnTo>
                    <a:pt x="107561" y="29131"/>
                  </a:lnTo>
                  <a:cubicBezTo>
                    <a:pt x="107561" y="27787"/>
                    <a:pt x="108457" y="26890"/>
                    <a:pt x="109802" y="26890"/>
                  </a:cubicBezTo>
                  <a:cubicBezTo>
                    <a:pt x="111146" y="26890"/>
                    <a:pt x="112043" y="27787"/>
                    <a:pt x="112043" y="29131"/>
                  </a:cubicBezTo>
                  <a:lnTo>
                    <a:pt x="112043" y="130418"/>
                  </a:lnTo>
                  <a:cubicBezTo>
                    <a:pt x="112043" y="134899"/>
                    <a:pt x="108009" y="138485"/>
                    <a:pt x="103527" y="138485"/>
                  </a:cubicBezTo>
                  <a:close/>
                </a:path>
              </a:pathLst>
            </a:custGeom>
            <a:solidFill>
              <a:srgbClr val="231F20"/>
            </a:solidFill>
            <a:ln w="4477" cap="flat">
              <a:noFill/>
              <a:prstDash val="solid"/>
              <a:miter/>
            </a:ln>
          </p:spPr>
          <p:txBody>
            <a:bodyPr rtlCol="0" anchor="ctr"/>
            <a:lstStyle/>
            <a:p>
              <a:endParaRPr lang="en-US"/>
            </a:p>
          </p:txBody>
        </p:sp>
        <p:sp>
          <p:nvSpPr>
            <p:cNvPr id="2734" name="Freeform: Shape 2733">
              <a:extLst>
                <a:ext uri="{FF2B5EF4-FFF2-40B4-BE49-F238E27FC236}">
                  <a16:creationId xmlns:a16="http://schemas.microsoft.com/office/drawing/2014/main" id="{87E87F8A-E06B-48CA-AE45-87F8CC2EE85B}"/>
                </a:ext>
              </a:extLst>
            </p:cNvPr>
            <p:cNvSpPr/>
            <p:nvPr/>
          </p:nvSpPr>
          <p:spPr>
            <a:xfrm>
              <a:off x="7819684" y="2169128"/>
              <a:ext cx="76189" cy="76189"/>
            </a:xfrm>
            <a:custGeom>
              <a:avLst/>
              <a:gdLst>
                <a:gd name="connsiteX0" fmla="*/ 38543 w 76188"/>
                <a:gd name="connsiteY0" fmla="*/ 77085 h 76188"/>
                <a:gd name="connsiteX1" fmla="*/ 0 w 76188"/>
                <a:gd name="connsiteY1" fmla="*/ 38543 h 76188"/>
                <a:gd name="connsiteX2" fmla="*/ 38543 w 76188"/>
                <a:gd name="connsiteY2" fmla="*/ 0 h 76188"/>
                <a:gd name="connsiteX3" fmla="*/ 77085 w 76188"/>
                <a:gd name="connsiteY3" fmla="*/ 38543 h 76188"/>
                <a:gd name="connsiteX4" fmla="*/ 38543 w 76188"/>
                <a:gd name="connsiteY4" fmla="*/ 77085 h 76188"/>
                <a:gd name="connsiteX5" fmla="*/ 38543 w 76188"/>
                <a:gd name="connsiteY5" fmla="*/ 4482 h 76188"/>
                <a:gd name="connsiteX6" fmla="*/ 4482 w 76188"/>
                <a:gd name="connsiteY6" fmla="*/ 38543 h 76188"/>
                <a:gd name="connsiteX7" fmla="*/ 38543 w 76188"/>
                <a:gd name="connsiteY7" fmla="*/ 72604 h 76188"/>
                <a:gd name="connsiteX8" fmla="*/ 72604 w 76188"/>
                <a:gd name="connsiteY8" fmla="*/ 38543 h 76188"/>
                <a:gd name="connsiteX9" fmla="*/ 38543 w 76188"/>
                <a:gd name="connsiteY9" fmla="*/ 4482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88" h="76188">
                  <a:moveTo>
                    <a:pt x="38543" y="77085"/>
                  </a:moveTo>
                  <a:cubicBezTo>
                    <a:pt x="17479" y="77085"/>
                    <a:pt x="0" y="59607"/>
                    <a:pt x="0" y="38543"/>
                  </a:cubicBezTo>
                  <a:cubicBezTo>
                    <a:pt x="0" y="17479"/>
                    <a:pt x="17479" y="0"/>
                    <a:pt x="38543" y="0"/>
                  </a:cubicBezTo>
                  <a:cubicBezTo>
                    <a:pt x="59607" y="0"/>
                    <a:pt x="77085" y="17479"/>
                    <a:pt x="77085" y="38543"/>
                  </a:cubicBezTo>
                  <a:cubicBezTo>
                    <a:pt x="77085" y="59607"/>
                    <a:pt x="59607" y="77085"/>
                    <a:pt x="38543" y="77085"/>
                  </a:cubicBezTo>
                  <a:close/>
                  <a:moveTo>
                    <a:pt x="38543" y="4482"/>
                  </a:moveTo>
                  <a:cubicBezTo>
                    <a:pt x="19719" y="4482"/>
                    <a:pt x="4482" y="19719"/>
                    <a:pt x="4482" y="38543"/>
                  </a:cubicBezTo>
                  <a:cubicBezTo>
                    <a:pt x="4482" y="57366"/>
                    <a:pt x="19719" y="72604"/>
                    <a:pt x="38543" y="72604"/>
                  </a:cubicBezTo>
                  <a:cubicBezTo>
                    <a:pt x="57366" y="72604"/>
                    <a:pt x="72604" y="57366"/>
                    <a:pt x="72604" y="38543"/>
                  </a:cubicBezTo>
                  <a:cubicBezTo>
                    <a:pt x="72604" y="19719"/>
                    <a:pt x="57366" y="4482"/>
                    <a:pt x="38543" y="4482"/>
                  </a:cubicBezTo>
                  <a:close/>
                </a:path>
              </a:pathLst>
            </a:custGeom>
            <a:solidFill>
              <a:srgbClr val="231F20"/>
            </a:solidFill>
            <a:ln w="4477" cap="flat">
              <a:noFill/>
              <a:prstDash val="solid"/>
              <a:miter/>
            </a:ln>
          </p:spPr>
          <p:txBody>
            <a:bodyPr rtlCol="0" anchor="ctr"/>
            <a:lstStyle/>
            <a:p>
              <a:endParaRPr lang="en-US"/>
            </a:p>
          </p:txBody>
        </p:sp>
        <p:sp>
          <p:nvSpPr>
            <p:cNvPr id="2735" name="Freeform: Shape 2734">
              <a:extLst>
                <a:ext uri="{FF2B5EF4-FFF2-40B4-BE49-F238E27FC236}">
                  <a16:creationId xmlns:a16="http://schemas.microsoft.com/office/drawing/2014/main" id="{5A8358D6-E491-4F2B-B45A-1A554A3B1C2B}"/>
                </a:ext>
              </a:extLst>
            </p:cNvPr>
            <p:cNvSpPr/>
            <p:nvPr/>
          </p:nvSpPr>
          <p:spPr>
            <a:xfrm>
              <a:off x="7846126" y="2143134"/>
              <a:ext cx="17927" cy="17927"/>
            </a:xfrm>
            <a:custGeom>
              <a:avLst/>
              <a:gdLst>
                <a:gd name="connsiteX0" fmla="*/ 10308 w 17926"/>
                <a:gd name="connsiteY0" fmla="*/ 20616 h 17926"/>
                <a:gd name="connsiteX1" fmla="*/ 0 w 17926"/>
                <a:gd name="connsiteY1" fmla="*/ 10308 h 17926"/>
                <a:gd name="connsiteX2" fmla="*/ 10308 w 17926"/>
                <a:gd name="connsiteY2" fmla="*/ 0 h 17926"/>
                <a:gd name="connsiteX3" fmla="*/ 20616 w 17926"/>
                <a:gd name="connsiteY3" fmla="*/ 10308 h 17926"/>
                <a:gd name="connsiteX4" fmla="*/ 10308 w 17926"/>
                <a:gd name="connsiteY4" fmla="*/ 20616 h 17926"/>
                <a:gd name="connsiteX5" fmla="*/ 10308 w 17926"/>
                <a:gd name="connsiteY5" fmla="*/ 4034 h 17926"/>
                <a:gd name="connsiteX6" fmla="*/ 4482 w 17926"/>
                <a:gd name="connsiteY6" fmla="*/ 9860 h 17926"/>
                <a:gd name="connsiteX7" fmla="*/ 10308 w 17926"/>
                <a:gd name="connsiteY7" fmla="*/ 15686 h 17926"/>
                <a:gd name="connsiteX8" fmla="*/ 16134 w 17926"/>
                <a:gd name="connsiteY8" fmla="*/ 9860 h 17926"/>
                <a:gd name="connsiteX9" fmla="*/ 10308 w 17926"/>
                <a:gd name="connsiteY9" fmla="*/ 403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10308" y="20616"/>
                  </a:moveTo>
                  <a:cubicBezTo>
                    <a:pt x="4482" y="20616"/>
                    <a:pt x="0" y="16134"/>
                    <a:pt x="0" y="10308"/>
                  </a:cubicBezTo>
                  <a:cubicBezTo>
                    <a:pt x="0" y="4482"/>
                    <a:pt x="4482" y="0"/>
                    <a:pt x="10308" y="0"/>
                  </a:cubicBezTo>
                  <a:cubicBezTo>
                    <a:pt x="16134" y="0"/>
                    <a:pt x="20616" y="4482"/>
                    <a:pt x="20616" y="10308"/>
                  </a:cubicBezTo>
                  <a:cubicBezTo>
                    <a:pt x="20616" y="16134"/>
                    <a:pt x="16134" y="20616"/>
                    <a:pt x="10308" y="20616"/>
                  </a:cubicBezTo>
                  <a:close/>
                  <a:moveTo>
                    <a:pt x="10308" y="4034"/>
                  </a:moveTo>
                  <a:cubicBezTo>
                    <a:pt x="7171" y="4034"/>
                    <a:pt x="4482" y="6723"/>
                    <a:pt x="4482" y="9860"/>
                  </a:cubicBezTo>
                  <a:cubicBezTo>
                    <a:pt x="4482" y="12997"/>
                    <a:pt x="7171" y="15686"/>
                    <a:pt x="10308" y="15686"/>
                  </a:cubicBezTo>
                  <a:cubicBezTo>
                    <a:pt x="13445" y="15686"/>
                    <a:pt x="16134" y="12997"/>
                    <a:pt x="16134" y="9860"/>
                  </a:cubicBezTo>
                  <a:cubicBezTo>
                    <a:pt x="16134" y="6723"/>
                    <a:pt x="13445" y="4034"/>
                    <a:pt x="10308" y="4034"/>
                  </a:cubicBezTo>
                  <a:close/>
                </a:path>
              </a:pathLst>
            </a:custGeom>
            <a:solidFill>
              <a:srgbClr val="231F20"/>
            </a:solidFill>
            <a:ln w="4477" cap="flat">
              <a:noFill/>
              <a:prstDash val="solid"/>
              <a:miter/>
            </a:ln>
          </p:spPr>
          <p:txBody>
            <a:bodyPr rtlCol="0" anchor="ctr"/>
            <a:lstStyle/>
            <a:p>
              <a:endParaRPr lang="en-US"/>
            </a:p>
          </p:txBody>
        </p:sp>
        <p:sp>
          <p:nvSpPr>
            <p:cNvPr id="2736" name="Freeform: Shape 2735">
              <a:extLst>
                <a:ext uri="{FF2B5EF4-FFF2-40B4-BE49-F238E27FC236}">
                  <a16:creationId xmlns:a16="http://schemas.microsoft.com/office/drawing/2014/main" id="{94436495-58A1-45A8-9660-D4D4F84D1080}"/>
                </a:ext>
              </a:extLst>
            </p:cNvPr>
            <p:cNvSpPr/>
            <p:nvPr/>
          </p:nvSpPr>
          <p:spPr>
            <a:xfrm>
              <a:off x="7828647" y="2178092"/>
              <a:ext cx="53780" cy="58262"/>
            </a:xfrm>
            <a:custGeom>
              <a:avLst/>
              <a:gdLst>
                <a:gd name="connsiteX0" fmla="*/ 29579 w 53780"/>
                <a:gd name="connsiteY0" fmla="*/ 59158 h 58262"/>
                <a:gd name="connsiteX1" fmla="*/ 0 w 53780"/>
                <a:gd name="connsiteY1" fmla="*/ 29579 h 58262"/>
                <a:gd name="connsiteX2" fmla="*/ 29579 w 53780"/>
                <a:gd name="connsiteY2" fmla="*/ 0 h 58262"/>
                <a:gd name="connsiteX3" fmla="*/ 54677 w 53780"/>
                <a:gd name="connsiteY3" fmla="*/ 13445 h 58262"/>
                <a:gd name="connsiteX4" fmla="*/ 55125 w 53780"/>
                <a:gd name="connsiteY4" fmla="*/ 15238 h 58262"/>
                <a:gd name="connsiteX5" fmla="*/ 53780 w 53780"/>
                <a:gd name="connsiteY5" fmla="*/ 16582 h 58262"/>
                <a:gd name="connsiteX6" fmla="*/ 45713 w 53780"/>
                <a:gd name="connsiteY6" fmla="*/ 29579 h 58262"/>
                <a:gd name="connsiteX7" fmla="*/ 53780 w 53780"/>
                <a:gd name="connsiteY7" fmla="*/ 42576 h 58262"/>
                <a:gd name="connsiteX8" fmla="*/ 55125 w 53780"/>
                <a:gd name="connsiteY8" fmla="*/ 43921 h 58262"/>
                <a:gd name="connsiteX9" fmla="*/ 54677 w 53780"/>
                <a:gd name="connsiteY9" fmla="*/ 45713 h 58262"/>
                <a:gd name="connsiteX10" fmla="*/ 29579 w 53780"/>
                <a:gd name="connsiteY10" fmla="*/ 59158 h 58262"/>
                <a:gd name="connsiteX11" fmla="*/ 29579 w 53780"/>
                <a:gd name="connsiteY11" fmla="*/ 4034 h 58262"/>
                <a:gd name="connsiteX12" fmla="*/ 4482 w 53780"/>
                <a:gd name="connsiteY12" fmla="*/ 29131 h 58262"/>
                <a:gd name="connsiteX13" fmla="*/ 29579 w 53780"/>
                <a:gd name="connsiteY13" fmla="*/ 54229 h 58262"/>
                <a:gd name="connsiteX14" fmla="*/ 49299 w 53780"/>
                <a:gd name="connsiteY14" fmla="*/ 44369 h 58262"/>
                <a:gd name="connsiteX15" fmla="*/ 40784 w 53780"/>
                <a:gd name="connsiteY15" fmla="*/ 28683 h 58262"/>
                <a:gd name="connsiteX16" fmla="*/ 49299 w 53780"/>
                <a:gd name="connsiteY16" fmla="*/ 12997 h 58262"/>
                <a:gd name="connsiteX17" fmla="*/ 29579 w 53780"/>
                <a:gd name="connsiteY17" fmla="*/ 403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780" h="58262">
                  <a:moveTo>
                    <a:pt x="29579" y="59158"/>
                  </a:moveTo>
                  <a:cubicBezTo>
                    <a:pt x="12997" y="59158"/>
                    <a:pt x="0" y="45713"/>
                    <a:pt x="0" y="29579"/>
                  </a:cubicBezTo>
                  <a:cubicBezTo>
                    <a:pt x="0" y="12997"/>
                    <a:pt x="13445" y="0"/>
                    <a:pt x="29579" y="0"/>
                  </a:cubicBezTo>
                  <a:cubicBezTo>
                    <a:pt x="39887" y="0"/>
                    <a:pt x="48851" y="4930"/>
                    <a:pt x="54677" y="13445"/>
                  </a:cubicBezTo>
                  <a:cubicBezTo>
                    <a:pt x="55125" y="13893"/>
                    <a:pt x="55125" y="14790"/>
                    <a:pt x="55125" y="15238"/>
                  </a:cubicBezTo>
                  <a:cubicBezTo>
                    <a:pt x="55125" y="15686"/>
                    <a:pt x="54677" y="16582"/>
                    <a:pt x="53780" y="16582"/>
                  </a:cubicBezTo>
                  <a:cubicBezTo>
                    <a:pt x="48851" y="18823"/>
                    <a:pt x="45713" y="23753"/>
                    <a:pt x="45713" y="29579"/>
                  </a:cubicBezTo>
                  <a:cubicBezTo>
                    <a:pt x="45713" y="34957"/>
                    <a:pt x="48851" y="39887"/>
                    <a:pt x="53780" y="42576"/>
                  </a:cubicBezTo>
                  <a:cubicBezTo>
                    <a:pt x="54229" y="43024"/>
                    <a:pt x="54677" y="43472"/>
                    <a:pt x="55125" y="43921"/>
                  </a:cubicBezTo>
                  <a:cubicBezTo>
                    <a:pt x="55573" y="44369"/>
                    <a:pt x="55125" y="45265"/>
                    <a:pt x="54677" y="45713"/>
                  </a:cubicBezTo>
                  <a:cubicBezTo>
                    <a:pt x="48851" y="53780"/>
                    <a:pt x="39439" y="59158"/>
                    <a:pt x="29579" y="59158"/>
                  </a:cubicBezTo>
                  <a:close/>
                  <a:moveTo>
                    <a:pt x="29579" y="4034"/>
                  </a:moveTo>
                  <a:cubicBezTo>
                    <a:pt x="15686" y="4034"/>
                    <a:pt x="4482" y="15238"/>
                    <a:pt x="4482" y="29131"/>
                  </a:cubicBezTo>
                  <a:cubicBezTo>
                    <a:pt x="4482" y="43024"/>
                    <a:pt x="15686" y="54229"/>
                    <a:pt x="29579" y="54229"/>
                  </a:cubicBezTo>
                  <a:cubicBezTo>
                    <a:pt x="37198" y="54229"/>
                    <a:pt x="44817" y="50643"/>
                    <a:pt x="49299" y="44369"/>
                  </a:cubicBezTo>
                  <a:cubicBezTo>
                    <a:pt x="44369" y="40784"/>
                    <a:pt x="40784" y="34957"/>
                    <a:pt x="40784" y="28683"/>
                  </a:cubicBezTo>
                  <a:cubicBezTo>
                    <a:pt x="40784" y="22409"/>
                    <a:pt x="43921" y="16582"/>
                    <a:pt x="49299" y="12997"/>
                  </a:cubicBezTo>
                  <a:cubicBezTo>
                    <a:pt x="44369" y="7619"/>
                    <a:pt x="37198" y="4034"/>
                    <a:pt x="29579" y="4034"/>
                  </a:cubicBezTo>
                  <a:close/>
                </a:path>
              </a:pathLst>
            </a:custGeom>
            <a:solidFill>
              <a:srgbClr val="231F20"/>
            </a:solidFill>
            <a:ln w="4477" cap="flat">
              <a:noFill/>
              <a:prstDash val="solid"/>
              <a:miter/>
            </a:ln>
          </p:spPr>
          <p:txBody>
            <a:bodyPr rtlCol="0" anchor="ctr"/>
            <a:lstStyle/>
            <a:p>
              <a:endParaRPr lang="en-US"/>
            </a:p>
          </p:txBody>
        </p:sp>
        <p:sp>
          <p:nvSpPr>
            <p:cNvPr id="2737" name="Freeform: Shape 2736">
              <a:extLst>
                <a:ext uri="{FF2B5EF4-FFF2-40B4-BE49-F238E27FC236}">
                  <a16:creationId xmlns:a16="http://schemas.microsoft.com/office/drawing/2014/main" id="{F92B7545-AA9E-442C-AA02-6AD3E4C77254}"/>
                </a:ext>
              </a:extLst>
            </p:cNvPr>
            <p:cNvSpPr/>
            <p:nvPr/>
          </p:nvSpPr>
          <p:spPr>
            <a:xfrm>
              <a:off x="7839404" y="2188848"/>
              <a:ext cx="17927" cy="17927"/>
            </a:xfrm>
            <a:custGeom>
              <a:avLst/>
              <a:gdLst>
                <a:gd name="connsiteX0" fmla="*/ 2241 w 17926"/>
                <a:gd name="connsiteY0" fmla="*/ 21064 h 17926"/>
                <a:gd name="connsiteX1" fmla="*/ 0 w 17926"/>
                <a:gd name="connsiteY1" fmla="*/ 18823 h 17926"/>
                <a:gd name="connsiteX2" fmla="*/ 18823 w 17926"/>
                <a:gd name="connsiteY2" fmla="*/ 0 h 17926"/>
                <a:gd name="connsiteX3" fmla="*/ 21064 w 17926"/>
                <a:gd name="connsiteY3" fmla="*/ 2241 h 17926"/>
                <a:gd name="connsiteX4" fmla="*/ 18823 w 17926"/>
                <a:gd name="connsiteY4" fmla="*/ 4482 h 17926"/>
                <a:gd name="connsiteX5" fmla="*/ 4482 w 17926"/>
                <a:gd name="connsiteY5" fmla="*/ 18823 h 17926"/>
                <a:gd name="connsiteX6" fmla="*/ 2241 w 17926"/>
                <a:gd name="connsiteY6" fmla="*/ 2106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26" h="17926">
                  <a:moveTo>
                    <a:pt x="2241" y="21064"/>
                  </a:moveTo>
                  <a:cubicBezTo>
                    <a:pt x="896" y="21064"/>
                    <a:pt x="0" y="20168"/>
                    <a:pt x="0" y="18823"/>
                  </a:cubicBezTo>
                  <a:cubicBezTo>
                    <a:pt x="0" y="8515"/>
                    <a:pt x="8515" y="0"/>
                    <a:pt x="18823" y="0"/>
                  </a:cubicBezTo>
                  <a:cubicBezTo>
                    <a:pt x="20168" y="0"/>
                    <a:pt x="21064" y="896"/>
                    <a:pt x="21064" y="2241"/>
                  </a:cubicBezTo>
                  <a:cubicBezTo>
                    <a:pt x="21064" y="3585"/>
                    <a:pt x="20168" y="4482"/>
                    <a:pt x="18823" y="4482"/>
                  </a:cubicBezTo>
                  <a:cubicBezTo>
                    <a:pt x="10756" y="4482"/>
                    <a:pt x="4482" y="10756"/>
                    <a:pt x="4482" y="18823"/>
                  </a:cubicBezTo>
                  <a:cubicBezTo>
                    <a:pt x="4482" y="19719"/>
                    <a:pt x="3585" y="21064"/>
                    <a:pt x="2241" y="21064"/>
                  </a:cubicBezTo>
                  <a:close/>
                </a:path>
              </a:pathLst>
            </a:custGeom>
            <a:solidFill>
              <a:srgbClr val="231F20"/>
            </a:solidFill>
            <a:ln w="4477" cap="flat">
              <a:noFill/>
              <a:prstDash val="solid"/>
              <a:miter/>
            </a:ln>
          </p:spPr>
          <p:txBody>
            <a:bodyPr rtlCol="0" anchor="ctr"/>
            <a:lstStyle/>
            <a:p>
              <a:endParaRPr lang="en-US"/>
            </a:p>
          </p:txBody>
        </p:sp>
        <p:sp>
          <p:nvSpPr>
            <p:cNvPr id="2738" name="Freeform: Shape 2737">
              <a:extLst>
                <a:ext uri="{FF2B5EF4-FFF2-40B4-BE49-F238E27FC236}">
                  <a16:creationId xmlns:a16="http://schemas.microsoft.com/office/drawing/2014/main" id="{FC727EB3-5F45-4BBC-99BA-BAF3F0D62095}"/>
                </a:ext>
              </a:extLst>
            </p:cNvPr>
            <p:cNvSpPr/>
            <p:nvPr/>
          </p:nvSpPr>
          <p:spPr>
            <a:xfrm>
              <a:off x="7821477"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5826" y="4482"/>
                    <a:pt x="4930" y="4482"/>
                  </a:cubicBezTo>
                  <a:close/>
                </a:path>
              </a:pathLst>
            </a:custGeom>
            <a:solidFill>
              <a:srgbClr val="231F20"/>
            </a:solidFill>
            <a:ln w="4477" cap="flat">
              <a:noFill/>
              <a:prstDash val="solid"/>
              <a:miter/>
            </a:ln>
          </p:spPr>
          <p:txBody>
            <a:bodyPr rtlCol="0" anchor="ctr"/>
            <a:lstStyle/>
            <a:p>
              <a:endParaRPr lang="en-US"/>
            </a:p>
          </p:txBody>
        </p:sp>
        <p:sp>
          <p:nvSpPr>
            <p:cNvPr id="2739" name="Freeform: Shape 2738">
              <a:extLst>
                <a:ext uri="{FF2B5EF4-FFF2-40B4-BE49-F238E27FC236}">
                  <a16:creationId xmlns:a16="http://schemas.microsoft.com/office/drawing/2014/main" id="{3E6E0AD8-4949-43E2-8D96-3F72346D39C0}"/>
                </a:ext>
              </a:extLst>
            </p:cNvPr>
            <p:cNvSpPr/>
            <p:nvPr/>
          </p:nvSpPr>
          <p:spPr>
            <a:xfrm>
              <a:off x="7833129"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6274" y="4482"/>
                    <a:pt x="4930" y="4482"/>
                  </a:cubicBezTo>
                  <a:close/>
                </a:path>
              </a:pathLst>
            </a:custGeom>
            <a:solidFill>
              <a:srgbClr val="231F20"/>
            </a:solidFill>
            <a:ln w="4477" cap="flat">
              <a:noFill/>
              <a:prstDash val="solid"/>
              <a:miter/>
            </a:ln>
          </p:spPr>
          <p:txBody>
            <a:bodyPr rtlCol="0" anchor="ctr"/>
            <a:lstStyle/>
            <a:p>
              <a:endParaRPr lang="en-US"/>
            </a:p>
          </p:txBody>
        </p:sp>
        <p:sp>
          <p:nvSpPr>
            <p:cNvPr id="2740" name="Freeform: Shape 2739">
              <a:extLst>
                <a:ext uri="{FF2B5EF4-FFF2-40B4-BE49-F238E27FC236}">
                  <a16:creationId xmlns:a16="http://schemas.microsoft.com/office/drawing/2014/main" id="{4B811BDD-E5A6-438D-888F-64414AA77DBA}"/>
                </a:ext>
              </a:extLst>
            </p:cNvPr>
            <p:cNvSpPr/>
            <p:nvPr/>
          </p:nvSpPr>
          <p:spPr>
            <a:xfrm>
              <a:off x="7872568"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6274" y="4482"/>
                    <a:pt x="4930" y="4482"/>
                  </a:cubicBezTo>
                  <a:close/>
                </a:path>
              </a:pathLst>
            </a:custGeom>
            <a:solidFill>
              <a:srgbClr val="231F20"/>
            </a:solidFill>
            <a:ln w="4477" cap="flat">
              <a:noFill/>
              <a:prstDash val="solid"/>
              <a:miter/>
            </a:ln>
          </p:spPr>
          <p:txBody>
            <a:bodyPr rtlCol="0" anchor="ctr"/>
            <a:lstStyle/>
            <a:p>
              <a:endParaRPr lang="en-US"/>
            </a:p>
          </p:txBody>
        </p:sp>
        <p:sp>
          <p:nvSpPr>
            <p:cNvPr id="2741" name="Freeform: Shape 2740">
              <a:extLst>
                <a:ext uri="{FF2B5EF4-FFF2-40B4-BE49-F238E27FC236}">
                  <a16:creationId xmlns:a16="http://schemas.microsoft.com/office/drawing/2014/main" id="{22884EB2-7A4B-4B98-B1DF-7D3523D5A101}"/>
                </a:ext>
              </a:extLst>
            </p:cNvPr>
            <p:cNvSpPr/>
            <p:nvPr/>
          </p:nvSpPr>
          <p:spPr>
            <a:xfrm>
              <a:off x="7884669" y="2150753"/>
              <a:ext cx="4482" cy="4482"/>
            </a:xfrm>
            <a:custGeom>
              <a:avLst/>
              <a:gdLst>
                <a:gd name="connsiteX0" fmla="*/ 4930 w 4481"/>
                <a:gd name="connsiteY0" fmla="*/ 4482 h 4481"/>
                <a:gd name="connsiteX1" fmla="*/ 2241 w 4481"/>
                <a:gd name="connsiteY1" fmla="*/ 4482 h 4481"/>
                <a:gd name="connsiteX2" fmla="*/ 0 w 4481"/>
                <a:gd name="connsiteY2" fmla="*/ 2241 h 4481"/>
                <a:gd name="connsiteX3" fmla="*/ 2241 w 4481"/>
                <a:gd name="connsiteY3" fmla="*/ 0 h 4481"/>
                <a:gd name="connsiteX4" fmla="*/ 4930 w 4481"/>
                <a:gd name="connsiteY4" fmla="*/ 0 h 4481"/>
                <a:gd name="connsiteX5" fmla="*/ 7171 w 4481"/>
                <a:gd name="connsiteY5" fmla="*/ 2241 h 4481"/>
                <a:gd name="connsiteX6" fmla="*/ 4930 w 448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
                  <a:moveTo>
                    <a:pt x="4930" y="4482"/>
                  </a:moveTo>
                  <a:lnTo>
                    <a:pt x="2241" y="4482"/>
                  </a:lnTo>
                  <a:cubicBezTo>
                    <a:pt x="896" y="4482"/>
                    <a:pt x="0" y="3585"/>
                    <a:pt x="0" y="2241"/>
                  </a:cubicBezTo>
                  <a:cubicBezTo>
                    <a:pt x="0" y="896"/>
                    <a:pt x="896" y="0"/>
                    <a:pt x="2241" y="0"/>
                  </a:cubicBezTo>
                  <a:lnTo>
                    <a:pt x="4930" y="0"/>
                  </a:lnTo>
                  <a:cubicBezTo>
                    <a:pt x="6274" y="0"/>
                    <a:pt x="7171" y="896"/>
                    <a:pt x="7171" y="2241"/>
                  </a:cubicBezTo>
                  <a:cubicBezTo>
                    <a:pt x="7171" y="3585"/>
                    <a:pt x="5826" y="4482"/>
                    <a:pt x="4930" y="4482"/>
                  </a:cubicBezTo>
                  <a:close/>
                </a:path>
              </a:pathLst>
            </a:custGeom>
            <a:solidFill>
              <a:srgbClr val="231F20"/>
            </a:solidFill>
            <a:ln w="4477" cap="flat">
              <a:noFill/>
              <a:prstDash val="solid"/>
              <a:miter/>
            </a:ln>
          </p:spPr>
          <p:txBody>
            <a:bodyPr rtlCol="0" anchor="ctr"/>
            <a:lstStyle/>
            <a:p>
              <a:endParaRPr lang="en-US"/>
            </a:p>
          </p:txBody>
        </p:sp>
        <p:sp>
          <p:nvSpPr>
            <p:cNvPr id="2742" name="Freeform: Shape 2741">
              <a:extLst>
                <a:ext uri="{FF2B5EF4-FFF2-40B4-BE49-F238E27FC236}">
                  <a16:creationId xmlns:a16="http://schemas.microsoft.com/office/drawing/2014/main" id="{CD8CE54D-0C9B-4F29-82D9-7F3F6C1E9755}"/>
                </a:ext>
              </a:extLst>
            </p:cNvPr>
            <p:cNvSpPr/>
            <p:nvPr/>
          </p:nvSpPr>
          <p:spPr>
            <a:xfrm>
              <a:off x="7895873" y="2128793"/>
              <a:ext cx="13445" cy="13445"/>
            </a:xfrm>
            <a:custGeom>
              <a:avLst/>
              <a:gdLst>
                <a:gd name="connsiteX0" fmla="*/ 7619 w 13445"/>
                <a:gd name="connsiteY0" fmla="*/ 15238 h 13445"/>
                <a:gd name="connsiteX1" fmla="*/ 0 w 13445"/>
                <a:gd name="connsiteY1" fmla="*/ 7619 h 13445"/>
                <a:gd name="connsiteX2" fmla="*/ 7619 w 13445"/>
                <a:gd name="connsiteY2" fmla="*/ 0 h 13445"/>
                <a:gd name="connsiteX3" fmla="*/ 15238 w 13445"/>
                <a:gd name="connsiteY3" fmla="*/ 7619 h 13445"/>
                <a:gd name="connsiteX4" fmla="*/ 7619 w 13445"/>
                <a:gd name="connsiteY4" fmla="*/ 15238 h 13445"/>
                <a:gd name="connsiteX5" fmla="*/ 7619 w 13445"/>
                <a:gd name="connsiteY5" fmla="*/ 4930 h 13445"/>
                <a:gd name="connsiteX6" fmla="*/ 4482 w 13445"/>
                <a:gd name="connsiteY6" fmla="*/ 8067 h 13445"/>
                <a:gd name="connsiteX7" fmla="*/ 7619 w 13445"/>
                <a:gd name="connsiteY7" fmla="*/ 11204 h 13445"/>
                <a:gd name="connsiteX8" fmla="*/ 10756 w 13445"/>
                <a:gd name="connsiteY8" fmla="*/ 8067 h 13445"/>
                <a:gd name="connsiteX9" fmla="*/ 7619 w 13445"/>
                <a:gd name="connsiteY9" fmla="*/ 493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619" y="15238"/>
                  </a:moveTo>
                  <a:cubicBezTo>
                    <a:pt x="3585" y="15238"/>
                    <a:pt x="0" y="12101"/>
                    <a:pt x="0" y="7619"/>
                  </a:cubicBezTo>
                  <a:cubicBezTo>
                    <a:pt x="0" y="3585"/>
                    <a:pt x="3137" y="0"/>
                    <a:pt x="7619" y="0"/>
                  </a:cubicBezTo>
                  <a:cubicBezTo>
                    <a:pt x="12101" y="0"/>
                    <a:pt x="15238" y="3137"/>
                    <a:pt x="15238" y="7619"/>
                  </a:cubicBezTo>
                  <a:cubicBezTo>
                    <a:pt x="15238" y="12101"/>
                    <a:pt x="11652" y="15238"/>
                    <a:pt x="7619" y="15238"/>
                  </a:cubicBezTo>
                  <a:close/>
                  <a:moveTo>
                    <a:pt x="7619" y="4930"/>
                  </a:moveTo>
                  <a:cubicBezTo>
                    <a:pt x="5826" y="4930"/>
                    <a:pt x="4482" y="6274"/>
                    <a:pt x="4482" y="8067"/>
                  </a:cubicBezTo>
                  <a:cubicBezTo>
                    <a:pt x="4482" y="9860"/>
                    <a:pt x="5826" y="11204"/>
                    <a:pt x="7619" y="11204"/>
                  </a:cubicBezTo>
                  <a:cubicBezTo>
                    <a:pt x="9412" y="11204"/>
                    <a:pt x="10756" y="9860"/>
                    <a:pt x="10756" y="8067"/>
                  </a:cubicBezTo>
                  <a:cubicBezTo>
                    <a:pt x="10756" y="6274"/>
                    <a:pt x="9412" y="4930"/>
                    <a:pt x="7619" y="4930"/>
                  </a:cubicBezTo>
                  <a:close/>
                </a:path>
              </a:pathLst>
            </a:custGeom>
            <a:solidFill>
              <a:srgbClr val="231F20"/>
            </a:solidFill>
            <a:ln w="4477" cap="flat">
              <a:noFill/>
              <a:prstDash val="solid"/>
              <a:miter/>
            </a:ln>
          </p:spPr>
          <p:txBody>
            <a:bodyPr rtlCol="0" anchor="ctr"/>
            <a:lstStyle/>
            <a:p>
              <a:endParaRPr lang="en-US"/>
            </a:p>
          </p:txBody>
        </p:sp>
        <p:sp>
          <p:nvSpPr>
            <p:cNvPr id="2743" name="Freeform: Shape 2742">
              <a:extLst>
                <a:ext uri="{FF2B5EF4-FFF2-40B4-BE49-F238E27FC236}">
                  <a16:creationId xmlns:a16="http://schemas.microsoft.com/office/drawing/2014/main" id="{687FD44B-CD70-458E-8BCA-FBA14475BF58}"/>
                </a:ext>
              </a:extLst>
            </p:cNvPr>
            <p:cNvSpPr/>
            <p:nvPr/>
          </p:nvSpPr>
          <p:spPr>
            <a:xfrm>
              <a:off x="7885719" y="2117589"/>
              <a:ext cx="35854" cy="8963"/>
            </a:xfrm>
            <a:custGeom>
              <a:avLst/>
              <a:gdLst>
                <a:gd name="connsiteX0" fmla="*/ 2087 w 35853"/>
                <a:gd name="connsiteY0" fmla="*/ 11652 h 8963"/>
                <a:gd name="connsiteX1" fmla="*/ 742 w 35853"/>
                <a:gd name="connsiteY1" fmla="*/ 11204 h 8963"/>
                <a:gd name="connsiteX2" fmla="*/ 294 w 35853"/>
                <a:gd name="connsiteY2" fmla="*/ 8067 h 8963"/>
                <a:gd name="connsiteX3" fmla="*/ 17773 w 35853"/>
                <a:gd name="connsiteY3" fmla="*/ 0 h 8963"/>
                <a:gd name="connsiteX4" fmla="*/ 35252 w 35853"/>
                <a:gd name="connsiteY4" fmla="*/ 8067 h 8963"/>
                <a:gd name="connsiteX5" fmla="*/ 35252 w 35853"/>
                <a:gd name="connsiteY5" fmla="*/ 11204 h 8963"/>
                <a:gd name="connsiteX6" fmla="*/ 32114 w 35853"/>
                <a:gd name="connsiteY6" fmla="*/ 11204 h 8963"/>
                <a:gd name="connsiteX7" fmla="*/ 18221 w 35853"/>
                <a:gd name="connsiteY7" fmla="*/ 4930 h 8963"/>
                <a:gd name="connsiteX8" fmla="*/ 4328 w 35853"/>
                <a:gd name="connsiteY8" fmla="*/ 11204 h 8963"/>
                <a:gd name="connsiteX9" fmla="*/ 2087 w 35853"/>
                <a:gd name="connsiteY9" fmla="*/ 11652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8963">
                  <a:moveTo>
                    <a:pt x="2087" y="11652"/>
                  </a:moveTo>
                  <a:cubicBezTo>
                    <a:pt x="1639" y="11652"/>
                    <a:pt x="1191" y="11652"/>
                    <a:pt x="742" y="11204"/>
                  </a:cubicBezTo>
                  <a:cubicBezTo>
                    <a:pt x="-154" y="10308"/>
                    <a:pt x="-154" y="8963"/>
                    <a:pt x="294" y="8067"/>
                  </a:cubicBezTo>
                  <a:cubicBezTo>
                    <a:pt x="4776" y="3137"/>
                    <a:pt x="11050" y="0"/>
                    <a:pt x="17773" y="0"/>
                  </a:cubicBezTo>
                  <a:cubicBezTo>
                    <a:pt x="24496" y="0"/>
                    <a:pt x="30770" y="2689"/>
                    <a:pt x="35252" y="8067"/>
                  </a:cubicBezTo>
                  <a:cubicBezTo>
                    <a:pt x="36148" y="8963"/>
                    <a:pt x="36148" y="10308"/>
                    <a:pt x="35252" y="11204"/>
                  </a:cubicBezTo>
                  <a:cubicBezTo>
                    <a:pt x="34355" y="12101"/>
                    <a:pt x="33011" y="12101"/>
                    <a:pt x="32114" y="11204"/>
                  </a:cubicBezTo>
                  <a:cubicBezTo>
                    <a:pt x="28529" y="7171"/>
                    <a:pt x="23599" y="4930"/>
                    <a:pt x="18221" y="4930"/>
                  </a:cubicBezTo>
                  <a:cubicBezTo>
                    <a:pt x="12843" y="4930"/>
                    <a:pt x="7913" y="7171"/>
                    <a:pt x="4328" y="11204"/>
                  </a:cubicBezTo>
                  <a:cubicBezTo>
                    <a:pt x="3432" y="11652"/>
                    <a:pt x="2983" y="11652"/>
                    <a:pt x="2087" y="11652"/>
                  </a:cubicBezTo>
                  <a:close/>
                </a:path>
              </a:pathLst>
            </a:custGeom>
            <a:solidFill>
              <a:srgbClr val="231F20"/>
            </a:solidFill>
            <a:ln w="4477" cap="flat">
              <a:noFill/>
              <a:prstDash val="solid"/>
              <a:miter/>
            </a:ln>
          </p:spPr>
          <p:txBody>
            <a:bodyPr rtlCol="0" anchor="ctr"/>
            <a:lstStyle/>
            <a:p>
              <a:endParaRPr lang="en-US"/>
            </a:p>
          </p:txBody>
        </p:sp>
        <p:sp>
          <p:nvSpPr>
            <p:cNvPr id="2744" name="Freeform: Shape 2743">
              <a:extLst>
                <a:ext uri="{FF2B5EF4-FFF2-40B4-BE49-F238E27FC236}">
                  <a16:creationId xmlns:a16="http://schemas.microsoft.com/office/drawing/2014/main" id="{F527DAFD-E670-4D85-BB95-775D2F4C928C}"/>
                </a:ext>
              </a:extLst>
            </p:cNvPr>
            <p:cNvSpPr/>
            <p:nvPr/>
          </p:nvSpPr>
          <p:spPr>
            <a:xfrm>
              <a:off x="7878354" y="2105488"/>
              <a:ext cx="49299" cy="13445"/>
            </a:xfrm>
            <a:custGeom>
              <a:avLst/>
              <a:gdLst>
                <a:gd name="connsiteX0" fmla="*/ 2281 w 49298"/>
                <a:gd name="connsiteY0" fmla="*/ 16134 h 13445"/>
                <a:gd name="connsiteX1" fmla="*/ 937 w 49298"/>
                <a:gd name="connsiteY1" fmla="*/ 15686 h 13445"/>
                <a:gd name="connsiteX2" fmla="*/ 489 w 49298"/>
                <a:gd name="connsiteY2" fmla="*/ 12549 h 13445"/>
                <a:gd name="connsiteX3" fmla="*/ 25138 w 49298"/>
                <a:gd name="connsiteY3" fmla="*/ 0 h 13445"/>
                <a:gd name="connsiteX4" fmla="*/ 49787 w 49298"/>
                <a:gd name="connsiteY4" fmla="*/ 12101 h 13445"/>
                <a:gd name="connsiteX5" fmla="*/ 49339 w 49298"/>
                <a:gd name="connsiteY5" fmla="*/ 15238 h 13445"/>
                <a:gd name="connsiteX6" fmla="*/ 46202 w 49298"/>
                <a:gd name="connsiteY6" fmla="*/ 14790 h 13445"/>
                <a:gd name="connsiteX7" fmla="*/ 25138 w 49298"/>
                <a:gd name="connsiteY7" fmla="*/ 4482 h 13445"/>
                <a:gd name="connsiteX8" fmla="*/ 4074 w 49298"/>
                <a:gd name="connsiteY8" fmla="*/ 15238 h 13445"/>
                <a:gd name="connsiteX9" fmla="*/ 2281 w 49298"/>
                <a:gd name="connsiteY9" fmla="*/ 16134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13445">
                  <a:moveTo>
                    <a:pt x="2281" y="16134"/>
                  </a:moveTo>
                  <a:cubicBezTo>
                    <a:pt x="1833" y="16134"/>
                    <a:pt x="1385" y="16134"/>
                    <a:pt x="937" y="15686"/>
                  </a:cubicBezTo>
                  <a:cubicBezTo>
                    <a:pt x="40" y="14790"/>
                    <a:pt x="-408" y="13445"/>
                    <a:pt x="489" y="12549"/>
                  </a:cubicBezTo>
                  <a:cubicBezTo>
                    <a:pt x="6315" y="4482"/>
                    <a:pt x="15278" y="0"/>
                    <a:pt x="25138" y="0"/>
                  </a:cubicBezTo>
                  <a:cubicBezTo>
                    <a:pt x="34998" y="0"/>
                    <a:pt x="43961" y="4482"/>
                    <a:pt x="49787" y="12101"/>
                  </a:cubicBezTo>
                  <a:cubicBezTo>
                    <a:pt x="50684" y="12997"/>
                    <a:pt x="50235" y="14342"/>
                    <a:pt x="49339" y="15238"/>
                  </a:cubicBezTo>
                  <a:cubicBezTo>
                    <a:pt x="48443" y="16134"/>
                    <a:pt x="47098" y="15686"/>
                    <a:pt x="46202" y="14790"/>
                  </a:cubicBezTo>
                  <a:cubicBezTo>
                    <a:pt x="41272" y="8067"/>
                    <a:pt x="33653" y="4482"/>
                    <a:pt x="25138" y="4482"/>
                  </a:cubicBezTo>
                  <a:cubicBezTo>
                    <a:pt x="16623" y="4482"/>
                    <a:pt x="9004" y="8515"/>
                    <a:pt x="4074" y="15238"/>
                  </a:cubicBezTo>
                  <a:cubicBezTo>
                    <a:pt x="3626" y="16134"/>
                    <a:pt x="3178" y="16134"/>
                    <a:pt x="2281" y="16134"/>
                  </a:cubicBezTo>
                  <a:close/>
                </a:path>
              </a:pathLst>
            </a:custGeom>
            <a:solidFill>
              <a:srgbClr val="231F20"/>
            </a:solidFill>
            <a:ln w="4477" cap="flat">
              <a:noFill/>
              <a:prstDash val="solid"/>
              <a:miter/>
            </a:ln>
          </p:spPr>
          <p:txBody>
            <a:bodyPr rtlCol="0" anchor="ctr"/>
            <a:lstStyle/>
            <a:p>
              <a:endParaRPr lang="en-US"/>
            </a:p>
          </p:txBody>
        </p:sp>
      </p:grpSp>
      <p:grpSp>
        <p:nvGrpSpPr>
          <p:cNvPr id="2595" name="Group 2594">
            <a:extLst>
              <a:ext uri="{FF2B5EF4-FFF2-40B4-BE49-F238E27FC236}">
                <a16:creationId xmlns:a16="http://schemas.microsoft.com/office/drawing/2014/main" id="{31995B41-B727-4F3D-85A5-1CC3757A1A6F}"/>
              </a:ext>
              <a:ext uri="{C183D7F6-B498-43B3-948B-1728B52AA6E4}">
                <adec:decorative xmlns:adec="http://schemas.microsoft.com/office/drawing/2017/decorative" val="1"/>
              </a:ext>
            </a:extLst>
          </p:cNvPr>
          <p:cNvGrpSpPr>
            <a:grpSpLocks noChangeAspect="1"/>
          </p:cNvGrpSpPr>
          <p:nvPr/>
        </p:nvGrpSpPr>
        <p:grpSpPr>
          <a:xfrm>
            <a:off x="11168829" y="4165661"/>
            <a:ext cx="133107" cy="153274"/>
            <a:chOff x="11225329" y="2109970"/>
            <a:chExt cx="133107" cy="153274"/>
          </a:xfrm>
        </p:grpSpPr>
        <p:sp>
          <p:nvSpPr>
            <p:cNvPr id="2730" name="Freeform: Shape 2729">
              <a:extLst>
                <a:ext uri="{FF2B5EF4-FFF2-40B4-BE49-F238E27FC236}">
                  <a16:creationId xmlns:a16="http://schemas.microsoft.com/office/drawing/2014/main" id="{55F1BE27-A842-4344-8F71-9016A16A27D3}"/>
                </a:ext>
              </a:extLst>
            </p:cNvPr>
            <p:cNvSpPr/>
            <p:nvPr/>
          </p:nvSpPr>
          <p:spPr>
            <a:xfrm>
              <a:off x="11255356" y="2109970"/>
              <a:ext cx="80671" cy="67226"/>
            </a:xfrm>
            <a:custGeom>
              <a:avLst/>
              <a:gdLst>
                <a:gd name="connsiteX0" fmla="*/ 33613 w 80670"/>
                <a:gd name="connsiteY0" fmla="*/ 69466 h 67225"/>
                <a:gd name="connsiteX1" fmla="*/ 67226 w 80670"/>
                <a:gd name="connsiteY1" fmla="*/ 34957 h 67225"/>
                <a:gd name="connsiteX2" fmla="*/ 67226 w 80670"/>
                <a:gd name="connsiteY2" fmla="*/ 32268 h 67225"/>
                <a:gd name="connsiteX3" fmla="*/ 80671 w 80670"/>
                <a:gd name="connsiteY3" fmla="*/ 32268 h 67225"/>
                <a:gd name="connsiteX4" fmla="*/ 82911 w 80670"/>
                <a:gd name="connsiteY4" fmla="*/ 30027 h 67225"/>
                <a:gd name="connsiteX5" fmla="*/ 80671 w 80670"/>
                <a:gd name="connsiteY5" fmla="*/ 27787 h 67225"/>
                <a:gd name="connsiteX6" fmla="*/ 66329 w 80670"/>
                <a:gd name="connsiteY6" fmla="*/ 27787 h 67225"/>
                <a:gd name="connsiteX7" fmla="*/ 33613 w 80670"/>
                <a:gd name="connsiteY7" fmla="*/ 0 h 67225"/>
                <a:gd name="connsiteX8" fmla="*/ 0 w 80670"/>
                <a:gd name="connsiteY8" fmla="*/ 34509 h 67225"/>
                <a:gd name="connsiteX9" fmla="*/ 33613 w 80670"/>
                <a:gd name="connsiteY9" fmla="*/ 69466 h 67225"/>
                <a:gd name="connsiteX10" fmla="*/ 33613 w 80670"/>
                <a:gd name="connsiteY10" fmla="*/ 4482 h 67225"/>
                <a:gd name="connsiteX11" fmla="*/ 61848 w 80670"/>
                <a:gd name="connsiteY11" fmla="*/ 27787 h 67225"/>
                <a:gd name="connsiteX12" fmla="*/ 5378 w 80670"/>
                <a:gd name="connsiteY12" fmla="*/ 27787 h 67225"/>
                <a:gd name="connsiteX13" fmla="*/ 33613 w 80670"/>
                <a:gd name="connsiteY13" fmla="*/ 4482 h 67225"/>
                <a:gd name="connsiteX14" fmla="*/ 4482 w 80670"/>
                <a:gd name="connsiteY14" fmla="*/ 31820 h 67225"/>
                <a:gd name="connsiteX15" fmla="*/ 62296 w 80670"/>
                <a:gd name="connsiteY15" fmla="*/ 31820 h 67225"/>
                <a:gd name="connsiteX16" fmla="*/ 62296 w 80670"/>
                <a:gd name="connsiteY16" fmla="*/ 34509 h 67225"/>
                <a:gd name="connsiteX17" fmla="*/ 33165 w 80670"/>
                <a:gd name="connsiteY17" fmla="*/ 64537 h 67225"/>
                <a:gd name="connsiteX18" fmla="*/ 4034 w 80670"/>
                <a:gd name="connsiteY18" fmla="*/ 34509 h 67225"/>
                <a:gd name="connsiteX19" fmla="*/ 4482 w 80670"/>
                <a:gd name="connsiteY19" fmla="*/ 31820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670" h="67225">
                  <a:moveTo>
                    <a:pt x="33613" y="69466"/>
                  </a:moveTo>
                  <a:cubicBezTo>
                    <a:pt x="51988" y="69466"/>
                    <a:pt x="67226" y="53780"/>
                    <a:pt x="67226" y="34957"/>
                  </a:cubicBezTo>
                  <a:cubicBezTo>
                    <a:pt x="67226" y="34061"/>
                    <a:pt x="67226" y="33165"/>
                    <a:pt x="67226" y="32268"/>
                  </a:cubicBezTo>
                  <a:lnTo>
                    <a:pt x="80671" y="32268"/>
                  </a:lnTo>
                  <a:cubicBezTo>
                    <a:pt x="82015" y="32268"/>
                    <a:pt x="82911" y="31372"/>
                    <a:pt x="82911" y="30027"/>
                  </a:cubicBezTo>
                  <a:cubicBezTo>
                    <a:pt x="82911" y="28683"/>
                    <a:pt x="82015" y="27787"/>
                    <a:pt x="80671" y="27787"/>
                  </a:cubicBezTo>
                  <a:lnTo>
                    <a:pt x="66329" y="27787"/>
                  </a:lnTo>
                  <a:cubicBezTo>
                    <a:pt x="63192" y="12101"/>
                    <a:pt x="49747" y="0"/>
                    <a:pt x="33613" y="0"/>
                  </a:cubicBezTo>
                  <a:cubicBezTo>
                    <a:pt x="15238" y="0"/>
                    <a:pt x="0" y="15686"/>
                    <a:pt x="0" y="34509"/>
                  </a:cubicBezTo>
                  <a:cubicBezTo>
                    <a:pt x="0" y="53780"/>
                    <a:pt x="14790" y="69466"/>
                    <a:pt x="33613" y="69466"/>
                  </a:cubicBezTo>
                  <a:close/>
                  <a:moveTo>
                    <a:pt x="33613" y="4482"/>
                  </a:moveTo>
                  <a:cubicBezTo>
                    <a:pt x="47506" y="4482"/>
                    <a:pt x="58710" y="14342"/>
                    <a:pt x="61848" y="27787"/>
                  </a:cubicBezTo>
                  <a:lnTo>
                    <a:pt x="5378" y="27787"/>
                  </a:lnTo>
                  <a:cubicBezTo>
                    <a:pt x="8067" y="14342"/>
                    <a:pt x="19720" y="4482"/>
                    <a:pt x="33613" y="4482"/>
                  </a:cubicBezTo>
                  <a:close/>
                  <a:moveTo>
                    <a:pt x="4482" y="31820"/>
                  </a:moveTo>
                  <a:lnTo>
                    <a:pt x="62296" y="31820"/>
                  </a:lnTo>
                  <a:cubicBezTo>
                    <a:pt x="62296" y="32716"/>
                    <a:pt x="62296" y="33613"/>
                    <a:pt x="62296" y="34509"/>
                  </a:cubicBezTo>
                  <a:cubicBezTo>
                    <a:pt x="62296" y="51091"/>
                    <a:pt x="49299" y="64537"/>
                    <a:pt x="33165" y="64537"/>
                  </a:cubicBezTo>
                  <a:cubicBezTo>
                    <a:pt x="17031" y="64537"/>
                    <a:pt x="4034" y="51091"/>
                    <a:pt x="4034" y="34509"/>
                  </a:cubicBezTo>
                  <a:cubicBezTo>
                    <a:pt x="4482" y="33613"/>
                    <a:pt x="4482" y="32716"/>
                    <a:pt x="4482" y="31820"/>
                  </a:cubicBezTo>
                  <a:close/>
                </a:path>
              </a:pathLst>
            </a:custGeom>
            <a:solidFill>
              <a:srgbClr val="231F20"/>
            </a:solidFill>
            <a:ln w="4477" cap="flat">
              <a:noFill/>
              <a:prstDash val="solid"/>
              <a:miter/>
            </a:ln>
          </p:spPr>
          <p:txBody>
            <a:bodyPr rtlCol="0" anchor="ctr"/>
            <a:lstStyle/>
            <a:p>
              <a:endParaRPr lang="en-US"/>
            </a:p>
          </p:txBody>
        </p:sp>
        <p:sp>
          <p:nvSpPr>
            <p:cNvPr id="2731" name="Freeform: Shape 2730">
              <a:extLst>
                <a:ext uri="{FF2B5EF4-FFF2-40B4-BE49-F238E27FC236}">
                  <a16:creationId xmlns:a16="http://schemas.microsoft.com/office/drawing/2014/main" id="{B140B663-681A-4B5A-B41A-97E13D73C749}"/>
                </a:ext>
              </a:extLst>
            </p:cNvPr>
            <p:cNvSpPr/>
            <p:nvPr/>
          </p:nvSpPr>
          <p:spPr>
            <a:xfrm>
              <a:off x="11225329" y="2187055"/>
              <a:ext cx="125488" cy="76189"/>
            </a:xfrm>
            <a:custGeom>
              <a:avLst/>
              <a:gdLst>
                <a:gd name="connsiteX0" fmla="*/ 123695 w 125487"/>
                <a:gd name="connsiteY0" fmla="*/ 60055 h 76188"/>
                <a:gd name="connsiteX1" fmla="*/ 121454 w 125487"/>
                <a:gd name="connsiteY1" fmla="*/ 62296 h 76188"/>
                <a:gd name="connsiteX2" fmla="*/ 112043 w 125487"/>
                <a:gd name="connsiteY2" fmla="*/ 71707 h 76188"/>
                <a:gd name="connsiteX3" fmla="*/ 14341 w 125487"/>
                <a:gd name="connsiteY3" fmla="*/ 71707 h 76188"/>
                <a:gd name="connsiteX4" fmla="*/ 4930 w 125487"/>
                <a:gd name="connsiteY4" fmla="*/ 62296 h 76188"/>
                <a:gd name="connsiteX5" fmla="*/ 4930 w 125487"/>
                <a:gd name="connsiteY5" fmla="*/ 40335 h 76188"/>
                <a:gd name="connsiteX6" fmla="*/ 40783 w 125487"/>
                <a:gd name="connsiteY6" fmla="*/ 4482 h 76188"/>
                <a:gd name="connsiteX7" fmla="*/ 85600 w 125487"/>
                <a:gd name="connsiteY7" fmla="*/ 4482 h 76188"/>
                <a:gd name="connsiteX8" fmla="*/ 88737 w 125487"/>
                <a:gd name="connsiteY8" fmla="*/ 4482 h 76188"/>
                <a:gd name="connsiteX9" fmla="*/ 97701 w 125487"/>
                <a:gd name="connsiteY9" fmla="*/ 5378 h 76188"/>
                <a:gd name="connsiteX10" fmla="*/ 100390 w 125487"/>
                <a:gd name="connsiteY10" fmla="*/ 3585 h 76188"/>
                <a:gd name="connsiteX11" fmla="*/ 98597 w 125487"/>
                <a:gd name="connsiteY11" fmla="*/ 896 h 76188"/>
                <a:gd name="connsiteX12" fmla="*/ 88737 w 125487"/>
                <a:gd name="connsiteY12" fmla="*/ 0 h 76188"/>
                <a:gd name="connsiteX13" fmla="*/ 85152 w 125487"/>
                <a:gd name="connsiteY13" fmla="*/ 0 h 76188"/>
                <a:gd name="connsiteX14" fmla="*/ 40335 w 125487"/>
                <a:gd name="connsiteY14" fmla="*/ 0 h 76188"/>
                <a:gd name="connsiteX15" fmla="*/ 0 w 125487"/>
                <a:gd name="connsiteY15" fmla="*/ 40335 h 76188"/>
                <a:gd name="connsiteX16" fmla="*/ 0 w 125487"/>
                <a:gd name="connsiteY16" fmla="*/ 62296 h 76188"/>
                <a:gd name="connsiteX17" fmla="*/ 13893 w 125487"/>
                <a:gd name="connsiteY17" fmla="*/ 76189 h 76188"/>
                <a:gd name="connsiteX18" fmla="*/ 111594 w 125487"/>
                <a:gd name="connsiteY18" fmla="*/ 76189 h 76188"/>
                <a:gd name="connsiteX19" fmla="*/ 125488 w 125487"/>
                <a:gd name="connsiteY19" fmla="*/ 62296 h 76188"/>
                <a:gd name="connsiteX20" fmla="*/ 123695 w 125487"/>
                <a:gd name="connsiteY20" fmla="*/ 60055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487" h="76188">
                  <a:moveTo>
                    <a:pt x="123695" y="60055"/>
                  </a:moveTo>
                  <a:cubicBezTo>
                    <a:pt x="122350" y="60055"/>
                    <a:pt x="121454" y="60951"/>
                    <a:pt x="121454" y="62296"/>
                  </a:cubicBezTo>
                  <a:cubicBezTo>
                    <a:pt x="121454" y="67226"/>
                    <a:pt x="117420" y="71707"/>
                    <a:pt x="112043" y="71707"/>
                  </a:cubicBezTo>
                  <a:lnTo>
                    <a:pt x="14341" y="71707"/>
                  </a:lnTo>
                  <a:cubicBezTo>
                    <a:pt x="9411" y="71707"/>
                    <a:pt x="4930" y="67674"/>
                    <a:pt x="4930" y="62296"/>
                  </a:cubicBezTo>
                  <a:lnTo>
                    <a:pt x="4930" y="40335"/>
                  </a:lnTo>
                  <a:cubicBezTo>
                    <a:pt x="4930" y="20616"/>
                    <a:pt x="21064" y="4482"/>
                    <a:pt x="40783" y="4482"/>
                  </a:cubicBezTo>
                  <a:lnTo>
                    <a:pt x="85600" y="4482"/>
                  </a:lnTo>
                  <a:cubicBezTo>
                    <a:pt x="86497" y="4482"/>
                    <a:pt x="87841" y="4482"/>
                    <a:pt x="88737" y="4482"/>
                  </a:cubicBezTo>
                  <a:cubicBezTo>
                    <a:pt x="88737" y="4482"/>
                    <a:pt x="94564" y="4482"/>
                    <a:pt x="97701" y="5378"/>
                  </a:cubicBezTo>
                  <a:cubicBezTo>
                    <a:pt x="99046" y="5826"/>
                    <a:pt x="99942" y="4930"/>
                    <a:pt x="100390" y="3585"/>
                  </a:cubicBezTo>
                  <a:cubicBezTo>
                    <a:pt x="100838" y="2241"/>
                    <a:pt x="99942" y="1344"/>
                    <a:pt x="98597" y="896"/>
                  </a:cubicBezTo>
                  <a:cubicBezTo>
                    <a:pt x="94564" y="0"/>
                    <a:pt x="88737" y="0"/>
                    <a:pt x="88737" y="0"/>
                  </a:cubicBezTo>
                  <a:cubicBezTo>
                    <a:pt x="87393" y="0"/>
                    <a:pt x="86497" y="0"/>
                    <a:pt x="85152" y="0"/>
                  </a:cubicBezTo>
                  <a:lnTo>
                    <a:pt x="40335" y="0"/>
                  </a:lnTo>
                  <a:cubicBezTo>
                    <a:pt x="18375" y="0"/>
                    <a:pt x="0" y="17927"/>
                    <a:pt x="0" y="40335"/>
                  </a:cubicBezTo>
                  <a:lnTo>
                    <a:pt x="0" y="62296"/>
                  </a:lnTo>
                  <a:cubicBezTo>
                    <a:pt x="0" y="69915"/>
                    <a:pt x="6274" y="76189"/>
                    <a:pt x="13893" y="76189"/>
                  </a:cubicBezTo>
                  <a:lnTo>
                    <a:pt x="111594" y="76189"/>
                  </a:lnTo>
                  <a:cubicBezTo>
                    <a:pt x="119213" y="76189"/>
                    <a:pt x="125488" y="69915"/>
                    <a:pt x="125488" y="62296"/>
                  </a:cubicBezTo>
                  <a:cubicBezTo>
                    <a:pt x="125936" y="60951"/>
                    <a:pt x="125040" y="60055"/>
                    <a:pt x="123695" y="60055"/>
                  </a:cubicBezTo>
                  <a:close/>
                </a:path>
              </a:pathLst>
            </a:custGeom>
            <a:solidFill>
              <a:srgbClr val="231F20"/>
            </a:solidFill>
            <a:ln w="4477" cap="flat">
              <a:noFill/>
              <a:prstDash val="solid"/>
              <a:miter/>
            </a:ln>
          </p:spPr>
          <p:txBody>
            <a:bodyPr rtlCol="0" anchor="ctr"/>
            <a:lstStyle/>
            <a:p>
              <a:endParaRPr lang="en-US"/>
            </a:p>
          </p:txBody>
        </p:sp>
        <p:sp>
          <p:nvSpPr>
            <p:cNvPr id="2732" name="Freeform: Shape 2731">
              <a:extLst>
                <a:ext uri="{FF2B5EF4-FFF2-40B4-BE49-F238E27FC236}">
                  <a16:creationId xmlns:a16="http://schemas.microsoft.com/office/drawing/2014/main" id="{379BBDE7-E9BC-4E10-A957-5334D9F04AF7}"/>
                </a:ext>
              </a:extLst>
            </p:cNvPr>
            <p:cNvSpPr/>
            <p:nvPr/>
          </p:nvSpPr>
          <p:spPr>
            <a:xfrm>
              <a:off x="11313619" y="2197811"/>
              <a:ext cx="44817" cy="44817"/>
            </a:xfrm>
            <a:custGeom>
              <a:avLst/>
              <a:gdLst>
                <a:gd name="connsiteX0" fmla="*/ 42576 w 44817"/>
                <a:gd name="connsiteY0" fmla="*/ 0 h 44817"/>
                <a:gd name="connsiteX1" fmla="*/ 27338 w 44817"/>
                <a:gd name="connsiteY1" fmla="*/ 0 h 44817"/>
                <a:gd name="connsiteX2" fmla="*/ 17479 w 44817"/>
                <a:gd name="connsiteY2" fmla="*/ 0 h 44817"/>
                <a:gd name="connsiteX3" fmla="*/ 2241 w 44817"/>
                <a:gd name="connsiteY3" fmla="*/ 0 h 44817"/>
                <a:gd name="connsiteX4" fmla="*/ 0 w 44817"/>
                <a:gd name="connsiteY4" fmla="*/ 2241 h 44817"/>
                <a:gd name="connsiteX5" fmla="*/ 0 w 44817"/>
                <a:gd name="connsiteY5" fmla="*/ 42576 h 44817"/>
                <a:gd name="connsiteX6" fmla="*/ 2241 w 44817"/>
                <a:gd name="connsiteY6" fmla="*/ 44817 h 44817"/>
                <a:gd name="connsiteX7" fmla="*/ 42576 w 44817"/>
                <a:gd name="connsiteY7" fmla="*/ 44817 h 44817"/>
                <a:gd name="connsiteX8" fmla="*/ 44817 w 44817"/>
                <a:gd name="connsiteY8" fmla="*/ 42576 h 44817"/>
                <a:gd name="connsiteX9" fmla="*/ 44817 w 44817"/>
                <a:gd name="connsiteY9" fmla="*/ 2241 h 44817"/>
                <a:gd name="connsiteX10" fmla="*/ 42576 w 44817"/>
                <a:gd name="connsiteY10" fmla="*/ 0 h 44817"/>
                <a:gd name="connsiteX11" fmla="*/ 25097 w 44817"/>
                <a:gd name="connsiteY11" fmla="*/ 4482 h 44817"/>
                <a:gd name="connsiteX12" fmla="*/ 25097 w 44817"/>
                <a:gd name="connsiteY12" fmla="*/ 9860 h 44817"/>
                <a:gd name="connsiteX13" fmla="*/ 19720 w 44817"/>
                <a:gd name="connsiteY13" fmla="*/ 9860 h 44817"/>
                <a:gd name="connsiteX14" fmla="*/ 19720 w 44817"/>
                <a:gd name="connsiteY14" fmla="*/ 4482 h 44817"/>
                <a:gd name="connsiteX15" fmla="*/ 25097 w 44817"/>
                <a:gd name="connsiteY15" fmla="*/ 4482 h 44817"/>
                <a:gd name="connsiteX16" fmla="*/ 4482 w 44817"/>
                <a:gd name="connsiteY16" fmla="*/ 40335 h 44817"/>
                <a:gd name="connsiteX17" fmla="*/ 4482 w 44817"/>
                <a:gd name="connsiteY17" fmla="*/ 4482 h 44817"/>
                <a:gd name="connsiteX18" fmla="*/ 15238 w 44817"/>
                <a:gd name="connsiteY18" fmla="*/ 4482 h 44817"/>
                <a:gd name="connsiteX19" fmla="*/ 15238 w 44817"/>
                <a:gd name="connsiteY19" fmla="*/ 12101 h 44817"/>
                <a:gd name="connsiteX20" fmla="*/ 17479 w 44817"/>
                <a:gd name="connsiteY20" fmla="*/ 14342 h 44817"/>
                <a:gd name="connsiteX21" fmla="*/ 27338 w 44817"/>
                <a:gd name="connsiteY21" fmla="*/ 14342 h 44817"/>
                <a:gd name="connsiteX22" fmla="*/ 29579 w 44817"/>
                <a:gd name="connsiteY22" fmla="*/ 12101 h 44817"/>
                <a:gd name="connsiteX23" fmla="*/ 29579 w 44817"/>
                <a:gd name="connsiteY23" fmla="*/ 4482 h 44817"/>
                <a:gd name="connsiteX24" fmla="*/ 40335 w 44817"/>
                <a:gd name="connsiteY24" fmla="*/ 4482 h 44817"/>
                <a:gd name="connsiteX25" fmla="*/ 40335 w 44817"/>
                <a:gd name="connsiteY25" fmla="*/ 30027 h 44817"/>
                <a:gd name="connsiteX26" fmla="*/ 31372 w 44817"/>
                <a:gd name="connsiteY26" fmla="*/ 30027 h 44817"/>
                <a:gd name="connsiteX27" fmla="*/ 29131 w 44817"/>
                <a:gd name="connsiteY27" fmla="*/ 32268 h 44817"/>
                <a:gd name="connsiteX28" fmla="*/ 31372 w 44817"/>
                <a:gd name="connsiteY28" fmla="*/ 34509 h 44817"/>
                <a:gd name="connsiteX29" fmla="*/ 40335 w 44817"/>
                <a:gd name="connsiteY29" fmla="*/ 34509 h 44817"/>
                <a:gd name="connsiteX30" fmla="*/ 40335 w 44817"/>
                <a:gd name="connsiteY30" fmla="*/ 39887 h 44817"/>
                <a:gd name="connsiteX31" fmla="*/ 4482 w 44817"/>
                <a:gd name="connsiteY31" fmla="*/ 39887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817" h="44817">
                  <a:moveTo>
                    <a:pt x="42576" y="0"/>
                  </a:moveTo>
                  <a:lnTo>
                    <a:pt x="27338" y="0"/>
                  </a:lnTo>
                  <a:lnTo>
                    <a:pt x="17479" y="0"/>
                  </a:lnTo>
                  <a:lnTo>
                    <a:pt x="2241" y="0"/>
                  </a:lnTo>
                  <a:cubicBezTo>
                    <a:pt x="897" y="0"/>
                    <a:pt x="0" y="896"/>
                    <a:pt x="0" y="2241"/>
                  </a:cubicBezTo>
                  <a:lnTo>
                    <a:pt x="0" y="42576"/>
                  </a:lnTo>
                  <a:cubicBezTo>
                    <a:pt x="0" y="43921"/>
                    <a:pt x="897" y="44817"/>
                    <a:pt x="2241" y="44817"/>
                  </a:cubicBezTo>
                  <a:lnTo>
                    <a:pt x="42576" y="44817"/>
                  </a:lnTo>
                  <a:cubicBezTo>
                    <a:pt x="43921" y="44817"/>
                    <a:pt x="44817" y="43921"/>
                    <a:pt x="44817" y="42576"/>
                  </a:cubicBezTo>
                  <a:lnTo>
                    <a:pt x="44817" y="2241"/>
                  </a:lnTo>
                  <a:cubicBezTo>
                    <a:pt x="44817" y="1345"/>
                    <a:pt x="43473" y="0"/>
                    <a:pt x="42576" y="0"/>
                  </a:cubicBezTo>
                  <a:close/>
                  <a:moveTo>
                    <a:pt x="25097" y="4482"/>
                  </a:moveTo>
                  <a:lnTo>
                    <a:pt x="25097" y="9860"/>
                  </a:lnTo>
                  <a:lnTo>
                    <a:pt x="19720" y="9860"/>
                  </a:lnTo>
                  <a:lnTo>
                    <a:pt x="19720" y="4482"/>
                  </a:lnTo>
                  <a:lnTo>
                    <a:pt x="25097" y="4482"/>
                  </a:lnTo>
                  <a:close/>
                  <a:moveTo>
                    <a:pt x="4482" y="40335"/>
                  </a:moveTo>
                  <a:lnTo>
                    <a:pt x="4482" y="4482"/>
                  </a:lnTo>
                  <a:lnTo>
                    <a:pt x="15238" y="4482"/>
                  </a:lnTo>
                  <a:lnTo>
                    <a:pt x="15238" y="12101"/>
                  </a:lnTo>
                  <a:cubicBezTo>
                    <a:pt x="15238" y="13445"/>
                    <a:pt x="16134" y="14342"/>
                    <a:pt x="17479" y="14342"/>
                  </a:cubicBezTo>
                  <a:lnTo>
                    <a:pt x="27338" y="14342"/>
                  </a:lnTo>
                  <a:cubicBezTo>
                    <a:pt x="28683" y="14342"/>
                    <a:pt x="29579" y="13445"/>
                    <a:pt x="29579" y="12101"/>
                  </a:cubicBezTo>
                  <a:lnTo>
                    <a:pt x="29579" y="4482"/>
                  </a:lnTo>
                  <a:lnTo>
                    <a:pt x="40335" y="4482"/>
                  </a:lnTo>
                  <a:lnTo>
                    <a:pt x="40335" y="30027"/>
                  </a:lnTo>
                  <a:lnTo>
                    <a:pt x="31372" y="30027"/>
                  </a:lnTo>
                  <a:cubicBezTo>
                    <a:pt x="30028" y="30027"/>
                    <a:pt x="29131" y="30924"/>
                    <a:pt x="29131" y="32268"/>
                  </a:cubicBezTo>
                  <a:cubicBezTo>
                    <a:pt x="29131" y="33613"/>
                    <a:pt x="30028" y="34509"/>
                    <a:pt x="31372" y="34509"/>
                  </a:cubicBezTo>
                  <a:lnTo>
                    <a:pt x="40335" y="34509"/>
                  </a:lnTo>
                  <a:lnTo>
                    <a:pt x="40335" y="39887"/>
                  </a:lnTo>
                  <a:lnTo>
                    <a:pt x="4482" y="39887"/>
                  </a:lnTo>
                  <a:close/>
                </a:path>
              </a:pathLst>
            </a:custGeom>
            <a:solidFill>
              <a:srgbClr val="231F20"/>
            </a:solidFill>
            <a:ln w="4477" cap="flat">
              <a:noFill/>
              <a:prstDash val="solid"/>
              <a:miter/>
            </a:ln>
          </p:spPr>
          <p:txBody>
            <a:bodyPr rtlCol="0" anchor="ctr"/>
            <a:lstStyle/>
            <a:p>
              <a:endParaRPr lang="en-US"/>
            </a:p>
          </p:txBody>
        </p:sp>
      </p:grpSp>
      <p:grpSp>
        <p:nvGrpSpPr>
          <p:cNvPr id="2596" name="Group 2595">
            <a:extLst>
              <a:ext uri="{FF2B5EF4-FFF2-40B4-BE49-F238E27FC236}">
                <a16:creationId xmlns:a16="http://schemas.microsoft.com/office/drawing/2014/main" id="{64C24193-FC24-4C02-887C-40DE53B86E9D}"/>
              </a:ext>
              <a:ext uri="{C183D7F6-B498-43B3-948B-1728B52AA6E4}">
                <adec:decorative xmlns:adec="http://schemas.microsoft.com/office/drawing/2017/decorative" val="1"/>
              </a:ext>
            </a:extLst>
          </p:cNvPr>
          <p:cNvGrpSpPr>
            <a:grpSpLocks noChangeAspect="1"/>
          </p:cNvGrpSpPr>
          <p:nvPr/>
        </p:nvGrpSpPr>
        <p:grpSpPr>
          <a:xfrm>
            <a:off x="6437049" y="4528679"/>
            <a:ext cx="112490" cy="138933"/>
            <a:chOff x="6493549" y="2472988"/>
            <a:chExt cx="112490" cy="138933"/>
          </a:xfrm>
        </p:grpSpPr>
        <p:sp>
          <p:nvSpPr>
            <p:cNvPr id="2725" name="Freeform: Shape 2724">
              <a:extLst>
                <a:ext uri="{FF2B5EF4-FFF2-40B4-BE49-F238E27FC236}">
                  <a16:creationId xmlns:a16="http://schemas.microsoft.com/office/drawing/2014/main" id="{6DEE17D0-1A22-4EC6-B5AE-22F1BDF2AACF}"/>
                </a:ext>
              </a:extLst>
            </p:cNvPr>
            <p:cNvSpPr/>
            <p:nvPr/>
          </p:nvSpPr>
          <p:spPr>
            <a:xfrm>
              <a:off x="6493549" y="2472988"/>
              <a:ext cx="85152" cy="138933"/>
            </a:xfrm>
            <a:custGeom>
              <a:avLst/>
              <a:gdLst>
                <a:gd name="connsiteX0" fmla="*/ 85152 w 85152"/>
                <a:gd name="connsiteY0" fmla="*/ 109802 h 138932"/>
                <a:gd name="connsiteX1" fmla="*/ 85152 w 85152"/>
                <a:gd name="connsiteY1" fmla="*/ 96357 h 138932"/>
                <a:gd name="connsiteX2" fmla="*/ 82911 w 85152"/>
                <a:gd name="connsiteY2" fmla="*/ 94116 h 138932"/>
                <a:gd name="connsiteX3" fmla="*/ 80671 w 85152"/>
                <a:gd name="connsiteY3" fmla="*/ 96357 h 138932"/>
                <a:gd name="connsiteX4" fmla="*/ 80671 w 85152"/>
                <a:gd name="connsiteY4" fmla="*/ 107561 h 138932"/>
                <a:gd name="connsiteX5" fmla="*/ 4482 w 85152"/>
                <a:gd name="connsiteY5" fmla="*/ 107561 h 138932"/>
                <a:gd name="connsiteX6" fmla="*/ 4482 w 85152"/>
                <a:gd name="connsiteY6" fmla="*/ 11204 h 138932"/>
                <a:gd name="connsiteX7" fmla="*/ 10756 w 85152"/>
                <a:gd name="connsiteY7" fmla="*/ 4482 h 138932"/>
                <a:gd name="connsiteX8" fmla="*/ 74844 w 85152"/>
                <a:gd name="connsiteY8" fmla="*/ 4482 h 138932"/>
                <a:gd name="connsiteX9" fmla="*/ 81119 w 85152"/>
                <a:gd name="connsiteY9" fmla="*/ 11204 h 138932"/>
                <a:gd name="connsiteX10" fmla="*/ 81119 w 85152"/>
                <a:gd name="connsiteY10" fmla="*/ 29131 h 138932"/>
                <a:gd name="connsiteX11" fmla="*/ 83360 w 85152"/>
                <a:gd name="connsiteY11" fmla="*/ 31372 h 138932"/>
                <a:gd name="connsiteX12" fmla="*/ 83360 w 85152"/>
                <a:gd name="connsiteY12" fmla="*/ 31372 h 138932"/>
                <a:gd name="connsiteX13" fmla="*/ 85601 w 85152"/>
                <a:gd name="connsiteY13" fmla="*/ 29131 h 138932"/>
                <a:gd name="connsiteX14" fmla="*/ 85601 w 85152"/>
                <a:gd name="connsiteY14" fmla="*/ 11204 h 138932"/>
                <a:gd name="connsiteX15" fmla="*/ 74844 w 85152"/>
                <a:gd name="connsiteY15" fmla="*/ 0 h 138932"/>
                <a:gd name="connsiteX16" fmla="*/ 10756 w 85152"/>
                <a:gd name="connsiteY16" fmla="*/ 0 h 138932"/>
                <a:gd name="connsiteX17" fmla="*/ 0 w 85152"/>
                <a:gd name="connsiteY17" fmla="*/ 11204 h 138932"/>
                <a:gd name="connsiteX18" fmla="*/ 0 w 85152"/>
                <a:gd name="connsiteY18" fmla="*/ 128177 h 138932"/>
                <a:gd name="connsiteX19" fmla="*/ 10756 w 85152"/>
                <a:gd name="connsiteY19" fmla="*/ 139381 h 138932"/>
                <a:gd name="connsiteX20" fmla="*/ 74844 w 85152"/>
                <a:gd name="connsiteY20" fmla="*/ 139381 h 138932"/>
                <a:gd name="connsiteX21" fmla="*/ 85601 w 85152"/>
                <a:gd name="connsiteY21" fmla="*/ 128177 h 138932"/>
                <a:gd name="connsiteX22" fmla="*/ 85601 w 85152"/>
                <a:gd name="connsiteY22" fmla="*/ 109802 h 138932"/>
                <a:gd name="connsiteX23" fmla="*/ 85152 w 85152"/>
                <a:gd name="connsiteY23" fmla="*/ 109802 h 138932"/>
                <a:gd name="connsiteX24" fmla="*/ 85152 w 85152"/>
                <a:gd name="connsiteY24" fmla="*/ 109802 h 138932"/>
                <a:gd name="connsiteX25" fmla="*/ 74396 w 85152"/>
                <a:gd name="connsiteY25" fmla="*/ 134451 h 138932"/>
                <a:gd name="connsiteX26" fmla="*/ 10756 w 85152"/>
                <a:gd name="connsiteY26" fmla="*/ 134451 h 138932"/>
                <a:gd name="connsiteX27" fmla="*/ 4482 w 85152"/>
                <a:gd name="connsiteY27" fmla="*/ 127729 h 138932"/>
                <a:gd name="connsiteX28" fmla="*/ 4482 w 85152"/>
                <a:gd name="connsiteY28" fmla="*/ 112043 h 138932"/>
                <a:gd name="connsiteX29" fmla="*/ 80671 w 85152"/>
                <a:gd name="connsiteY29" fmla="*/ 112043 h 138932"/>
                <a:gd name="connsiteX30" fmla="*/ 80671 w 85152"/>
                <a:gd name="connsiteY30" fmla="*/ 127729 h 138932"/>
                <a:gd name="connsiteX31" fmla="*/ 74396 w 85152"/>
                <a:gd name="connsiteY31"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152" h="138932">
                  <a:moveTo>
                    <a:pt x="85152" y="109802"/>
                  </a:moveTo>
                  <a:lnTo>
                    <a:pt x="85152" y="96357"/>
                  </a:lnTo>
                  <a:cubicBezTo>
                    <a:pt x="85152" y="95012"/>
                    <a:pt x="84256" y="94116"/>
                    <a:pt x="82911" y="94116"/>
                  </a:cubicBezTo>
                  <a:cubicBezTo>
                    <a:pt x="81567" y="94116"/>
                    <a:pt x="80671" y="95012"/>
                    <a:pt x="80671" y="96357"/>
                  </a:cubicBezTo>
                  <a:lnTo>
                    <a:pt x="80671" y="107561"/>
                  </a:lnTo>
                  <a:lnTo>
                    <a:pt x="4482" y="107561"/>
                  </a:lnTo>
                  <a:lnTo>
                    <a:pt x="4482" y="11204"/>
                  </a:lnTo>
                  <a:cubicBezTo>
                    <a:pt x="4482" y="7619"/>
                    <a:pt x="7171" y="4482"/>
                    <a:pt x="10756" y="4482"/>
                  </a:cubicBezTo>
                  <a:lnTo>
                    <a:pt x="74844" y="4482"/>
                  </a:lnTo>
                  <a:cubicBezTo>
                    <a:pt x="78430" y="4482"/>
                    <a:pt x="81119" y="7619"/>
                    <a:pt x="81119" y="11204"/>
                  </a:cubicBezTo>
                  <a:lnTo>
                    <a:pt x="81119" y="29131"/>
                  </a:lnTo>
                  <a:cubicBezTo>
                    <a:pt x="81119" y="30476"/>
                    <a:pt x="82015" y="31372"/>
                    <a:pt x="83360" y="31372"/>
                  </a:cubicBezTo>
                  <a:lnTo>
                    <a:pt x="83360" y="31372"/>
                  </a:lnTo>
                  <a:cubicBezTo>
                    <a:pt x="84704" y="31372"/>
                    <a:pt x="85601" y="30476"/>
                    <a:pt x="85601" y="29131"/>
                  </a:cubicBezTo>
                  <a:lnTo>
                    <a:pt x="85601" y="11204"/>
                  </a:lnTo>
                  <a:cubicBezTo>
                    <a:pt x="85601" y="4930"/>
                    <a:pt x="80671" y="0"/>
                    <a:pt x="74844" y="0"/>
                  </a:cubicBezTo>
                  <a:lnTo>
                    <a:pt x="10756" y="0"/>
                  </a:lnTo>
                  <a:cubicBezTo>
                    <a:pt x="4930" y="0"/>
                    <a:pt x="0" y="4930"/>
                    <a:pt x="0" y="11204"/>
                  </a:cubicBezTo>
                  <a:lnTo>
                    <a:pt x="0" y="128177"/>
                  </a:lnTo>
                  <a:cubicBezTo>
                    <a:pt x="0" y="134451"/>
                    <a:pt x="4930" y="139381"/>
                    <a:pt x="10756" y="139381"/>
                  </a:cubicBezTo>
                  <a:lnTo>
                    <a:pt x="74844" y="139381"/>
                  </a:lnTo>
                  <a:cubicBezTo>
                    <a:pt x="80671" y="139381"/>
                    <a:pt x="85601" y="134451"/>
                    <a:pt x="85601" y="128177"/>
                  </a:cubicBezTo>
                  <a:lnTo>
                    <a:pt x="85601" y="109802"/>
                  </a:lnTo>
                  <a:cubicBezTo>
                    <a:pt x="85152" y="109802"/>
                    <a:pt x="85152" y="109802"/>
                    <a:pt x="85152" y="109802"/>
                  </a:cubicBezTo>
                  <a:cubicBezTo>
                    <a:pt x="85152" y="109802"/>
                    <a:pt x="85152" y="109802"/>
                    <a:pt x="85152" y="109802"/>
                  </a:cubicBezTo>
                  <a:close/>
                  <a:moveTo>
                    <a:pt x="74396" y="134451"/>
                  </a:moveTo>
                  <a:lnTo>
                    <a:pt x="10756" y="134451"/>
                  </a:lnTo>
                  <a:cubicBezTo>
                    <a:pt x="7171" y="134451"/>
                    <a:pt x="4482" y="131314"/>
                    <a:pt x="4482" y="127729"/>
                  </a:cubicBezTo>
                  <a:lnTo>
                    <a:pt x="4482" y="112043"/>
                  </a:lnTo>
                  <a:lnTo>
                    <a:pt x="80671" y="112043"/>
                  </a:lnTo>
                  <a:lnTo>
                    <a:pt x="80671" y="127729"/>
                  </a:lnTo>
                  <a:cubicBezTo>
                    <a:pt x="80671" y="131762"/>
                    <a:pt x="77982" y="134451"/>
                    <a:pt x="74396" y="134451"/>
                  </a:cubicBezTo>
                  <a:close/>
                </a:path>
              </a:pathLst>
            </a:custGeom>
            <a:solidFill>
              <a:srgbClr val="231F20"/>
            </a:solidFill>
            <a:ln w="4477" cap="flat">
              <a:noFill/>
              <a:prstDash val="solid"/>
              <a:miter/>
            </a:ln>
          </p:spPr>
          <p:txBody>
            <a:bodyPr rtlCol="0" anchor="ctr"/>
            <a:lstStyle/>
            <a:p>
              <a:endParaRPr lang="en-US"/>
            </a:p>
          </p:txBody>
        </p:sp>
        <p:sp>
          <p:nvSpPr>
            <p:cNvPr id="2726" name="Freeform: Shape 2725">
              <a:extLst>
                <a:ext uri="{FF2B5EF4-FFF2-40B4-BE49-F238E27FC236}">
                  <a16:creationId xmlns:a16="http://schemas.microsoft.com/office/drawing/2014/main" id="{33DFF83A-2403-4234-92ED-F9E752E4ACF0}"/>
                </a:ext>
              </a:extLst>
            </p:cNvPr>
            <p:cNvSpPr/>
            <p:nvPr/>
          </p:nvSpPr>
          <p:spPr>
            <a:xfrm>
              <a:off x="6520439" y="2593994"/>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sp>
          <p:nvSpPr>
            <p:cNvPr id="2727" name="Freeform: Shape 2726">
              <a:extLst>
                <a:ext uri="{FF2B5EF4-FFF2-40B4-BE49-F238E27FC236}">
                  <a16:creationId xmlns:a16="http://schemas.microsoft.com/office/drawing/2014/main" id="{92D3A30A-633B-416B-9D5D-9C16BF4669D6}"/>
                </a:ext>
              </a:extLst>
            </p:cNvPr>
            <p:cNvSpPr/>
            <p:nvPr/>
          </p:nvSpPr>
          <p:spPr>
            <a:xfrm>
              <a:off x="6537917" y="2513323"/>
              <a:ext cx="4482" cy="44817"/>
            </a:xfrm>
            <a:custGeom>
              <a:avLst/>
              <a:gdLst>
                <a:gd name="connsiteX0" fmla="*/ 0 w 4481"/>
                <a:gd name="connsiteY0" fmla="*/ 2241 h 44817"/>
                <a:gd name="connsiteX1" fmla="*/ 0 w 4481"/>
                <a:gd name="connsiteY1" fmla="*/ 42576 h 44817"/>
                <a:gd name="connsiteX2" fmla="*/ 2241 w 4481"/>
                <a:gd name="connsiteY2" fmla="*/ 44817 h 44817"/>
                <a:gd name="connsiteX3" fmla="*/ 4482 w 4481"/>
                <a:gd name="connsiteY3" fmla="*/ 42576 h 44817"/>
                <a:gd name="connsiteX4" fmla="*/ 4482 w 4481"/>
                <a:gd name="connsiteY4" fmla="*/ 2241 h 44817"/>
                <a:gd name="connsiteX5" fmla="*/ 2241 w 4481"/>
                <a:gd name="connsiteY5" fmla="*/ 0 h 44817"/>
                <a:gd name="connsiteX6" fmla="*/ 0 w 4481"/>
                <a:gd name="connsiteY6" fmla="*/ 2241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7">
                  <a:moveTo>
                    <a:pt x="0" y="2241"/>
                  </a:moveTo>
                  <a:lnTo>
                    <a:pt x="0" y="42576"/>
                  </a:lnTo>
                  <a:cubicBezTo>
                    <a:pt x="0" y="43921"/>
                    <a:pt x="896" y="44817"/>
                    <a:pt x="2241" y="44817"/>
                  </a:cubicBezTo>
                  <a:cubicBezTo>
                    <a:pt x="3585" y="44817"/>
                    <a:pt x="4482" y="43921"/>
                    <a:pt x="4482" y="42576"/>
                  </a:cubicBezTo>
                  <a:lnTo>
                    <a:pt x="4482" y="2241"/>
                  </a:lnTo>
                  <a:cubicBezTo>
                    <a:pt x="4482" y="896"/>
                    <a:pt x="3585" y="0"/>
                    <a:pt x="2241" y="0"/>
                  </a:cubicBez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2728" name="Freeform: Shape 2727">
              <a:extLst>
                <a:ext uri="{FF2B5EF4-FFF2-40B4-BE49-F238E27FC236}">
                  <a16:creationId xmlns:a16="http://schemas.microsoft.com/office/drawing/2014/main" id="{0264CD80-EC2B-4D92-8E52-BA1FCAF5D729}"/>
                </a:ext>
              </a:extLst>
            </p:cNvPr>
            <p:cNvSpPr/>
            <p:nvPr/>
          </p:nvSpPr>
          <p:spPr>
            <a:xfrm>
              <a:off x="6526265" y="2526768"/>
              <a:ext cx="4482" cy="17927"/>
            </a:xfrm>
            <a:custGeom>
              <a:avLst/>
              <a:gdLst>
                <a:gd name="connsiteX0" fmla="*/ 0 w 4481"/>
                <a:gd name="connsiteY0" fmla="*/ 2241 h 17926"/>
                <a:gd name="connsiteX1" fmla="*/ 0 w 4481"/>
                <a:gd name="connsiteY1" fmla="*/ 15686 h 17926"/>
                <a:gd name="connsiteX2" fmla="*/ 2241 w 4481"/>
                <a:gd name="connsiteY2" fmla="*/ 17927 h 17926"/>
                <a:gd name="connsiteX3" fmla="*/ 4482 w 4481"/>
                <a:gd name="connsiteY3" fmla="*/ 15686 h 17926"/>
                <a:gd name="connsiteX4" fmla="*/ 4482 w 4481"/>
                <a:gd name="connsiteY4" fmla="*/ 2241 h 17926"/>
                <a:gd name="connsiteX5" fmla="*/ 2241 w 4481"/>
                <a:gd name="connsiteY5" fmla="*/ 0 h 17926"/>
                <a:gd name="connsiteX6" fmla="*/ 0 w 4481"/>
                <a:gd name="connsiteY6" fmla="*/ 2241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0" y="2241"/>
                  </a:moveTo>
                  <a:lnTo>
                    <a:pt x="0" y="15686"/>
                  </a:lnTo>
                  <a:cubicBezTo>
                    <a:pt x="0" y="17031"/>
                    <a:pt x="896" y="17927"/>
                    <a:pt x="2241" y="17927"/>
                  </a:cubicBezTo>
                  <a:cubicBezTo>
                    <a:pt x="3585" y="17927"/>
                    <a:pt x="4482" y="17031"/>
                    <a:pt x="4482" y="15686"/>
                  </a:cubicBezTo>
                  <a:lnTo>
                    <a:pt x="4482" y="2241"/>
                  </a:lnTo>
                  <a:cubicBezTo>
                    <a:pt x="4482" y="896"/>
                    <a:pt x="3585" y="0"/>
                    <a:pt x="2241" y="0"/>
                  </a:cubicBezTo>
                  <a:cubicBezTo>
                    <a:pt x="896" y="0"/>
                    <a:pt x="0" y="896"/>
                    <a:pt x="0" y="2241"/>
                  </a:cubicBezTo>
                  <a:close/>
                </a:path>
              </a:pathLst>
            </a:custGeom>
            <a:solidFill>
              <a:srgbClr val="231F20"/>
            </a:solidFill>
            <a:ln w="4477" cap="flat">
              <a:noFill/>
              <a:prstDash val="solid"/>
              <a:miter/>
            </a:ln>
          </p:spPr>
          <p:txBody>
            <a:bodyPr rtlCol="0" anchor="ctr"/>
            <a:lstStyle/>
            <a:p>
              <a:endParaRPr lang="en-US"/>
            </a:p>
          </p:txBody>
        </p:sp>
        <p:sp>
          <p:nvSpPr>
            <p:cNvPr id="2729" name="Freeform: Shape 2728">
              <a:extLst>
                <a:ext uri="{FF2B5EF4-FFF2-40B4-BE49-F238E27FC236}">
                  <a16:creationId xmlns:a16="http://schemas.microsoft.com/office/drawing/2014/main" id="{4C0DD707-192A-4739-A27A-831930F4FEE4}"/>
                </a:ext>
              </a:extLst>
            </p:cNvPr>
            <p:cNvSpPr/>
            <p:nvPr/>
          </p:nvSpPr>
          <p:spPr>
            <a:xfrm>
              <a:off x="6561222" y="2512427"/>
              <a:ext cx="44817" cy="44817"/>
            </a:xfrm>
            <a:custGeom>
              <a:avLst/>
              <a:gdLst>
                <a:gd name="connsiteX0" fmla="*/ 43921 w 44817"/>
                <a:gd name="connsiteY0" fmla="*/ 0 h 44817"/>
                <a:gd name="connsiteX1" fmla="*/ 28235 w 44817"/>
                <a:gd name="connsiteY1" fmla="*/ 0 h 44817"/>
                <a:gd name="connsiteX2" fmla="*/ 17927 w 44817"/>
                <a:gd name="connsiteY2" fmla="*/ 0 h 44817"/>
                <a:gd name="connsiteX3" fmla="*/ 2241 w 44817"/>
                <a:gd name="connsiteY3" fmla="*/ 0 h 44817"/>
                <a:gd name="connsiteX4" fmla="*/ 0 w 44817"/>
                <a:gd name="connsiteY4" fmla="*/ 2241 h 44817"/>
                <a:gd name="connsiteX5" fmla="*/ 0 w 44817"/>
                <a:gd name="connsiteY5" fmla="*/ 44369 h 44817"/>
                <a:gd name="connsiteX6" fmla="*/ 2241 w 44817"/>
                <a:gd name="connsiteY6" fmla="*/ 46610 h 44817"/>
                <a:gd name="connsiteX7" fmla="*/ 44369 w 44817"/>
                <a:gd name="connsiteY7" fmla="*/ 46610 h 44817"/>
                <a:gd name="connsiteX8" fmla="*/ 46610 w 44817"/>
                <a:gd name="connsiteY8" fmla="*/ 44369 h 44817"/>
                <a:gd name="connsiteX9" fmla="*/ 46610 w 44817"/>
                <a:gd name="connsiteY9" fmla="*/ 2241 h 44817"/>
                <a:gd name="connsiteX10" fmla="*/ 43921 w 44817"/>
                <a:gd name="connsiteY10" fmla="*/ 0 h 44817"/>
                <a:gd name="connsiteX11" fmla="*/ 25994 w 44817"/>
                <a:gd name="connsiteY11" fmla="*/ 4482 h 44817"/>
                <a:gd name="connsiteX12" fmla="*/ 25994 w 44817"/>
                <a:gd name="connsiteY12" fmla="*/ 10308 h 44817"/>
                <a:gd name="connsiteX13" fmla="*/ 20168 w 44817"/>
                <a:gd name="connsiteY13" fmla="*/ 10308 h 44817"/>
                <a:gd name="connsiteX14" fmla="*/ 20168 w 44817"/>
                <a:gd name="connsiteY14" fmla="*/ 4482 h 44817"/>
                <a:gd name="connsiteX15" fmla="*/ 25994 w 44817"/>
                <a:gd name="connsiteY15" fmla="*/ 4482 h 44817"/>
                <a:gd name="connsiteX16" fmla="*/ 4034 w 44817"/>
                <a:gd name="connsiteY16" fmla="*/ 42128 h 44817"/>
                <a:gd name="connsiteX17" fmla="*/ 4034 w 44817"/>
                <a:gd name="connsiteY17" fmla="*/ 4482 h 44817"/>
                <a:gd name="connsiteX18" fmla="*/ 15238 w 44817"/>
                <a:gd name="connsiteY18" fmla="*/ 4482 h 44817"/>
                <a:gd name="connsiteX19" fmla="*/ 15238 w 44817"/>
                <a:gd name="connsiteY19" fmla="*/ 12549 h 44817"/>
                <a:gd name="connsiteX20" fmla="*/ 17479 w 44817"/>
                <a:gd name="connsiteY20" fmla="*/ 14790 h 44817"/>
                <a:gd name="connsiteX21" fmla="*/ 28235 w 44817"/>
                <a:gd name="connsiteY21" fmla="*/ 14790 h 44817"/>
                <a:gd name="connsiteX22" fmla="*/ 30476 w 44817"/>
                <a:gd name="connsiteY22" fmla="*/ 12549 h 44817"/>
                <a:gd name="connsiteX23" fmla="*/ 30476 w 44817"/>
                <a:gd name="connsiteY23" fmla="*/ 4482 h 44817"/>
                <a:gd name="connsiteX24" fmla="*/ 41680 w 44817"/>
                <a:gd name="connsiteY24" fmla="*/ 4482 h 44817"/>
                <a:gd name="connsiteX25" fmla="*/ 41680 w 44817"/>
                <a:gd name="connsiteY25" fmla="*/ 31372 h 44817"/>
                <a:gd name="connsiteX26" fmla="*/ 32268 w 44817"/>
                <a:gd name="connsiteY26" fmla="*/ 31372 h 44817"/>
                <a:gd name="connsiteX27" fmla="*/ 30027 w 44817"/>
                <a:gd name="connsiteY27" fmla="*/ 33613 h 44817"/>
                <a:gd name="connsiteX28" fmla="*/ 32268 w 44817"/>
                <a:gd name="connsiteY28" fmla="*/ 35854 h 44817"/>
                <a:gd name="connsiteX29" fmla="*/ 41680 w 44817"/>
                <a:gd name="connsiteY29" fmla="*/ 35854 h 44817"/>
                <a:gd name="connsiteX30" fmla="*/ 41680 w 44817"/>
                <a:gd name="connsiteY30" fmla="*/ 41680 h 44817"/>
                <a:gd name="connsiteX31" fmla="*/ 4034 w 44817"/>
                <a:gd name="connsiteY31" fmla="*/ 4168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817" h="44817">
                  <a:moveTo>
                    <a:pt x="43921" y="0"/>
                  </a:moveTo>
                  <a:lnTo>
                    <a:pt x="28235" y="0"/>
                  </a:lnTo>
                  <a:lnTo>
                    <a:pt x="17927" y="0"/>
                  </a:lnTo>
                  <a:lnTo>
                    <a:pt x="2241" y="0"/>
                  </a:lnTo>
                  <a:cubicBezTo>
                    <a:pt x="896" y="0"/>
                    <a:pt x="0" y="896"/>
                    <a:pt x="0" y="2241"/>
                  </a:cubicBezTo>
                  <a:lnTo>
                    <a:pt x="0" y="44369"/>
                  </a:lnTo>
                  <a:cubicBezTo>
                    <a:pt x="0" y="45713"/>
                    <a:pt x="896" y="46610"/>
                    <a:pt x="2241" y="46610"/>
                  </a:cubicBezTo>
                  <a:lnTo>
                    <a:pt x="44369" y="46610"/>
                  </a:lnTo>
                  <a:cubicBezTo>
                    <a:pt x="45713" y="46610"/>
                    <a:pt x="46610" y="45713"/>
                    <a:pt x="46610" y="44369"/>
                  </a:cubicBezTo>
                  <a:lnTo>
                    <a:pt x="46610" y="2241"/>
                  </a:lnTo>
                  <a:cubicBezTo>
                    <a:pt x="46162" y="1344"/>
                    <a:pt x="44817" y="0"/>
                    <a:pt x="43921" y="0"/>
                  </a:cubicBezTo>
                  <a:close/>
                  <a:moveTo>
                    <a:pt x="25994" y="4482"/>
                  </a:moveTo>
                  <a:lnTo>
                    <a:pt x="25994" y="10308"/>
                  </a:lnTo>
                  <a:lnTo>
                    <a:pt x="20168" y="10308"/>
                  </a:lnTo>
                  <a:lnTo>
                    <a:pt x="20168" y="4482"/>
                  </a:lnTo>
                  <a:lnTo>
                    <a:pt x="25994" y="4482"/>
                  </a:lnTo>
                  <a:close/>
                  <a:moveTo>
                    <a:pt x="4034" y="42128"/>
                  </a:moveTo>
                  <a:lnTo>
                    <a:pt x="4034" y="4482"/>
                  </a:lnTo>
                  <a:lnTo>
                    <a:pt x="15238" y="4482"/>
                  </a:lnTo>
                  <a:lnTo>
                    <a:pt x="15238" y="12549"/>
                  </a:lnTo>
                  <a:cubicBezTo>
                    <a:pt x="15238" y="13893"/>
                    <a:pt x="16134" y="14790"/>
                    <a:pt x="17479" y="14790"/>
                  </a:cubicBezTo>
                  <a:lnTo>
                    <a:pt x="28235" y="14790"/>
                  </a:lnTo>
                  <a:cubicBezTo>
                    <a:pt x="29579" y="14790"/>
                    <a:pt x="30476" y="13893"/>
                    <a:pt x="30476" y="12549"/>
                  </a:cubicBezTo>
                  <a:lnTo>
                    <a:pt x="30476" y="4482"/>
                  </a:lnTo>
                  <a:lnTo>
                    <a:pt x="41680" y="4482"/>
                  </a:lnTo>
                  <a:lnTo>
                    <a:pt x="41680" y="31372"/>
                  </a:lnTo>
                  <a:lnTo>
                    <a:pt x="32268" y="31372"/>
                  </a:lnTo>
                  <a:cubicBezTo>
                    <a:pt x="30924" y="31372"/>
                    <a:pt x="30027" y="32268"/>
                    <a:pt x="30027" y="33613"/>
                  </a:cubicBezTo>
                  <a:cubicBezTo>
                    <a:pt x="30027" y="34957"/>
                    <a:pt x="30924" y="35854"/>
                    <a:pt x="32268" y="35854"/>
                  </a:cubicBezTo>
                  <a:lnTo>
                    <a:pt x="41680" y="35854"/>
                  </a:lnTo>
                  <a:lnTo>
                    <a:pt x="41680" y="41680"/>
                  </a:lnTo>
                  <a:lnTo>
                    <a:pt x="4034" y="41680"/>
                  </a:lnTo>
                  <a:close/>
                </a:path>
              </a:pathLst>
            </a:custGeom>
            <a:solidFill>
              <a:srgbClr val="231F20"/>
            </a:solidFill>
            <a:ln w="4477" cap="flat">
              <a:noFill/>
              <a:prstDash val="solid"/>
              <a:miter/>
            </a:ln>
          </p:spPr>
          <p:txBody>
            <a:bodyPr rtlCol="0" anchor="ctr"/>
            <a:lstStyle/>
            <a:p>
              <a:endParaRPr lang="en-US"/>
            </a:p>
          </p:txBody>
        </p:sp>
      </p:grpSp>
      <p:grpSp>
        <p:nvGrpSpPr>
          <p:cNvPr id="2604" name="Group 2603">
            <a:extLst>
              <a:ext uri="{FF2B5EF4-FFF2-40B4-BE49-F238E27FC236}">
                <a16:creationId xmlns:a16="http://schemas.microsoft.com/office/drawing/2014/main" id="{0ACC9E6B-ED69-453C-80FE-9DE44C96B75D}"/>
              </a:ext>
              <a:ext uri="{C183D7F6-B498-43B3-948B-1728B52AA6E4}">
                <adec:decorative xmlns:adec="http://schemas.microsoft.com/office/drawing/2017/decorative" val="1"/>
              </a:ext>
            </a:extLst>
          </p:cNvPr>
          <p:cNvGrpSpPr>
            <a:grpSpLocks noChangeAspect="1"/>
          </p:cNvGrpSpPr>
          <p:nvPr/>
        </p:nvGrpSpPr>
        <p:grpSpPr>
          <a:xfrm>
            <a:off x="6953789" y="4542124"/>
            <a:ext cx="152378" cy="122554"/>
            <a:chOff x="7010289" y="2486433"/>
            <a:chExt cx="152378" cy="122554"/>
          </a:xfrm>
        </p:grpSpPr>
        <p:sp>
          <p:nvSpPr>
            <p:cNvPr id="2703" name="Freeform: Shape 2702">
              <a:extLst>
                <a:ext uri="{FF2B5EF4-FFF2-40B4-BE49-F238E27FC236}">
                  <a16:creationId xmlns:a16="http://schemas.microsoft.com/office/drawing/2014/main" id="{993D7774-F058-4CF3-AC4E-2A5ED286956E}"/>
                </a:ext>
              </a:extLst>
            </p:cNvPr>
            <p:cNvSpPr/>
            <p:nvPr/>
          </p:nvSpPr>
          <p:spPr>
            <a:xfrm>
              <a:off x="7010289" y="2559688"/>
              <a:ext cx="152378" cy="49299"/>
            </a:xfrm>
            <a:custGeom>
              <a:avLst/>
              <a:gdLst>
                <a:gd name="connsiteX0" fmla="*/ 152378 w 152377"/>
                <a:gd name="connsiteY0" fmla="*/ 8760 h 49298"/>
                <a:gd name="connsiteX1" fmla="*/ 128625 w 152377"/>
                <a:gd name="connsiteY1" fmla="*/ 2038 h 49298"/>
                <a:gd name="connsiteX2" fmla="*/ 105320 w 152377"/>
                <a:gd name="connsiteY2" fmla="*/ 11897 h 49298"/>
                <a:gd name="connsiteX3" fmla="*/ 97253 w 152377"/>
                <a:gd name="connsiteY3" fmla="*/ 7864 h 49298"/>
                <a:gd name="connsiteX4" fmla="*/ 74396 w 152377"/>
                <a:gd name="connsiteY4" fmla="*/ 7864 h 49298"/>
                <a:gd name="connsiteX5" fmla="*/ 52884 w 152377"/>
                <a:gd name="connsiteY5" fmla="*/ 1589 h 49298"/>
                <a:gd name="connsiteX6" fmla="*/ 32716 w 152377"/>
                <a:gd name="connsiteY6" fmla="*/ 1141 h 49298"/>
                <a:gd name="connsiteX7" fmla="*/ 1793 w 152377"/>
                <a:gd name="connsiteY7" fmla="*/ 8312 h 49298"/>
                <a:gd name="connsiteX8" fmla="*/ 0 w 152377"/>
                <a:gd name="connsiteY8" fmla="*/ 11001 h 49298"/>
                <a:gd name="connsiteX9" fmla="*/ 2689 w 152377"/>
                <a:gd name="connsiteY9" fmla="*/ 12794 h 49298"/>
                <a:gd name="connsiteX10" fmla="*/ 33613 w 152377"/>
                <a:gd name="connsiteY10" fmla="*/ 5623 h 49298"/>
                <a:gd name="connsiteX11" fmla="*/ 51540 w 152377"/>
                <a:gd name="connsiteY11" fmla="*/ 6071 h 49298"/>
                <a:gd name="connsiteX12" fmla="*/ 73052 w 152377"/>
                <a:gd name="connsiteY12" fmla="*/ 12345 h 49298"/>
                <a:gd name="connsiteX13" fmla="*/ 73500 w 152377"/>
                <a:gd name="connsiteY13" fmla="*/ 12345 h 49298"/>
                <a:gd name="connsiteX14" fmla="*/ 96805 w 152377"/>
                <a:gd name="connsiteY14" fmla="*/ 12345 h 49298"/>
                <a:gd name="connsiteX15" fmla="*/ 102183 w 152377"/>
                <a:gd name="connsiteY15" fmla="*/ 17724 h 49298"/>
                <a:gd name="connsiteX16" fmla="*/ 96805 w 152377"/>
                <a:gd name="connsiteY16" fmla="*/ 23102 h 49298"/>
                <a:gd name="connsiteX17" fmla="*/ 57814 w 152377"/>
                <a:gd name="connsiteY17" fmla="*/ 23102 h 49298"/>
                <a:gd name="connsiteX18" fmla="*/ 55573 w 152377"/>
                <a:gd name="connsiteY18" fmla="*/ 25342 h 49298"/>
                <a:gd name="connsiteX19" fmla="*/ 57814 w 152377"/>
                <a:gd name="connsiteY19" fmla="*/ 27583 h 49298"/>
                <a:gd name="connsiteX20" fmla="*/ 96805 w 152377"/>
                <a:gd name="connsiteY20" fmla="*/ 27583 h 49298"/>
                <a:gd name="connsiteX21" fmla="*/ 106664 w 152377"/>
                <a:gd name="connsiteY21" fmla="*/ 17724 h 49298"/>
                <a:gd name="connsiteX22" fmla="*/ 106664 w 152377"/>
                <a:gd name="connsiteY22" fmla="*/ 15931 h 49298"/>
                <a:gd name="connsiteX23" fmla="*/ 129969 w 152377"/>
                <a:gd name="connsiteY23" fmla="*/ 6519 h 49298"/>
                <a:gd name="connsiteX24" fmla="*/ 147000 w 152377"/>
                <a:gd name="connsiteY24" fmla="*/ 9656 h 49298"/>
                <a:gd name="connsiteX25" fmla="*/ 85600 w 152377"/>
                <a:gd name="connsiteY25" fmla="*/ 46406 h 49298"/>
                <a:gd name="connsiteX26" fmla="*/ 73052 w 152377"/>
                <a:gd name="connsiteY26" fmla="*/ 48199 h 49298"/>
                <a:gd name="connsiteX27" fmla="*/ 34957 w 152377"/>
                <a:gd name="connsiteY27" fmla="*/ 38787 h 49298"/>
                <a:gd name="connsiteX28" fmla="*/ 25546 w 152377"/>
                <a:gd name="connsiteY28" fmla="*/ 38787 h 49298"/>
                <a:gd name="connsiteX29" fmla="*/ 1793 w 152377"/>
                <a:gd name="connsiteY29" fmla="*/ 44166 h 49298"/>
                <a:gd name="connsiteX30" fmla="*/ 0 w 152377"/>
                <a:gd name="connsiteY30" fmla="*/ 46855 h 49298"/>
                <a:gd name="connsiteX31" fmla="*/ 2689 w 152377"/>
                <a:gd name="connsiteY31" fmla="*/ 48647 h 49298"/>
                <a:gd name="connsiteX32" fmla="*/ 26442 w 152377"/>
                <a:gd name="connsiteY32" fmla="*/ 43269 h 49298"/>
                <a:gd name="connsiteX33" fmla="*/ 34061 w 152377"/>
                <a:gd name="connsiteY33" fmla="*/ 43269 h 49298"/>
                <a:gd name="connsiteX34" fmla="*/ 72155 w 152377"/>
                <a:gd name="connsiteY34" fmla="*/ 52681 h 49298"/>
                <a:gd name="connsiteX35" fmla="*/ 77085 w 152377"/>
                <a:gd name="connsiteY35" fmla="*/ 53129 h 49298"/>
                <a:gd name="connsiteX36" fmla="*/ 87841 w 152377"/>
                <a:gd name="connsiteY36" fmla="*/ 50440 h 49298"/>
                <a:gd name="connsiteX37" fmla="*/ 151482 w 152377"/>
                <a:gd name="connsiteY37" fmla="*/ 12794 h 49298"/>
                <a:gd name="connsiteX38" fmla="*/ 152378 w 152377"/>
                <a:gd name="connsiteY38" fmla="*/ 876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377" h="49298">
                  <a:moveTo>
                    <a:pt x="152378" y="8760"/>
                  </a:moveTo>
                  <a:cubicBezTo>
                    <a:pt x="148344" y="245"/>
                    <a:pt x="136692" y="-1548"/>
                    <a:pt x="128625" y="2038"/>
                  </a:cubicBezTo>
                  <a:lnTo>
                    <a:pt x="105320" y="11897"/>
                  </a:lnTo>
                  <a:cubicBezTo>
                    <a:pt x="103527" y="9656"/>
                    <a:pt x="100390" y="7864"/>
                    <a:pt x="97253" y="7864"/>
                  </a:cubicBezTo>
                  <a:lnTo>
                    <a:pt x="74396" y="7864"/>
                  </a:lnTo>
                  <a:lnTo>
                    <a:pt x="52884" y="1589"/>
                  </a:lnTo>
                  <a:cubicBezTo>
                    <a:pt x="46162" y="-203"/>
                    <a:pt x="39439" y="-651"/>
                    <a:pt x="32716" y="1141"/>
                  </a:cubicBezTo>
                  <a:lnTo>
                    <a:pt x="1793" y="8312"/>
                  </a:lnTo>
                  <a:cubicBezTo>
                    <a:pt x="448" y="8760"/>
                    <a:pt x="0" y="9656"/>
                    <a:pt x="0" y="11001"/>
                  </a:cubicBezTo>
                  <a:cubicBezTo>
                    <a:pt x="448" y="12345"/>
                    <a:pt x="1344" y="12794"/>
                    <a:pt x="2689" y="12794"/>
                  </a:cubicBezTo>
                  <a:lnTo>
                    <a:pt x="33613" y="5623"/>
                  </a:lnTo>
                  <a:cubicBezTo>
                    <a:pt x="39439" y="4278"/>
                    <a:pt x="45713" y="4278"/>
                    <a:pt x="51540" y="6071"/>
                  </a:cubicBezTo>
                  <a:lnTo>
                    <a:pt x="73052" y="12345"/>
                  </a:lnTo>
                  <a:cubicBezTo>
                    <a:pt x="73052" y="12345"/>
                    <a:pt x="73500" y="12345"/>
                    <a:pt x="73500" y="12345"/>
                  </a:cubicBezTo>
                  <a:lnTo>
                    <a:pt x="96805" y="12345"/>
                  </a:lnTo>
                  <a:cubicBezTo>
                    <a:pt x="99942" y="12345"/>
                    <a:pt x="102183" y="15034"/>
                    <a:pt x="102183" y="17724"/>
                  </a:cubicBezTo>
                  <a:cubicBezTo>
                    <a:pt x="102183" y="20412"/>
                    <a:pt x="99494" y="23102"/>
                    <a:pt x="96805" y="23102"/>
                  </a:cubicBezTo>
                  <a:lnTo>
                    <a:pt x="57814" y="23102"/>
                  </a:lnTo>
                  <a:cubicBezTo>
                    <a:pt x="56469" y="23102"/>
                    <a:pt x="55573" y="23998"/>
                    <a:pt x="55573" y="25342"/>
                  </a:cubicBezTo>
                  <a:cubicBezTo>
                    <a:pt x="55573" y="26687"/>
                    <a:pt x="56469" y="27583"/>
                    <a:pt x="57814" y="27583"/>
                  </a:cubicBezTo>
                  <a:lnTo>
                    <a:pt x="96805" y="27583"/>
                  </a:lnTo>
                  <a:cubicBezTo>
                    <a:pt x="102183" y="27583"/>
                    <a:pt x="106664" y="23102"/>
                    <a:pt x="106664" y="17724"/>
                  </a:cubicBezTo>
                  <a:cubicBezTo>
                    <a:pt x="106664" y="17275"/>
                    <a:pt x="106664" y="16379"/>
                    <a:pt x="106664" y="15931"/>
                  </a:cubicBezTo>
                  <a:lnTo>
                    <a:pt x="129969" y="6519"/>
                  </a:lnTo>
                  <a:cubicBezTo>
                    <a:pt x="135347" y="4278"/>
                    <a:pt x="142966" y="5175"/>
                    <a:pt x="147000" y="9656"/>
                  </a:cubicBezTo>
                  <a:lnTo>
                    <a:pt x="85600" y="46406"/>
                  </a:lnTo>
                  <a:cubicBezTo>
                    <a:pt x="82015" y="48647"/>
                    <a:pt x="77533" y="49095"/>
                    <a:pt x="73052" y="48199"/>
                  </a:cubicBezTo>
                  <a:lnTo>
                    <a:pt x="34957" y="38787"/>
                  </a:lnTo>
                  <a:cubicBezTo>
                    <a:pt x="31820" y="37891"/>
                    <a:pt x="28683" y="37891"/>
                    <a:pt x="25546" y="38787"/>
                  </a:cubicBezTo>
                  <a:lnTo>
                    <a:pt x="1793" y="44166"/>
                  </a:lnTo>
                  <a:cubicBezTo>
                    <a:pt x="448" y="44614"/>
                    <a:pt x="0" y="45510"/>
                    <a:pt x="0" y="46855"/>
                  </a:cubicBezTo>
                  <a:cubicBezTo>
                    <a:pt x="448" y="48199"/>
                    <a:pt x="1344" y="48647"/>
                    <a:pt x="2689" y="48647"/>
                  </a:cubicBezTo>
                  <a:lnTo>
                    <a:pt x="26442" y="43269"/>
                  </a:lnTo>
                  <a:cubicBezTo>
                    <a:pt x="29131" y="42821"/>
                    <a:pt x="31372" y="42821"/>
                    <a:pt x="34061" y="43269"/>
                  </a:cubicBezTo>
                  <a:lnTo>
                    <a:pt x="72155" y="52681"/>
                  </a:lnTo>
                  <a:cubicBezTo>
                    <a:pt x="73948" y="53129"/>
                    <a:pt x="75741" y="53129"/>
                    <a:pt x="77085" y="53129"/>
                  </a:cubicBezTo>
                  <a:cubicBezTo>
                    <a:pt x="80671" y="53129"/>
                    <a:pt x="84256" y="52233"/>
                    <a:pt x="87841" y="50440"/>
                  </a:cubicBezTo>
                  <a:lnTo>
                    <a:pt x="151482" y="12794"/>
                  </a:lnTo>
                  <a:cubicBezTo>
                    <a:pt x="152378" y="11001"/>
                    <a:pt x="152826" y="9656"/>
                    <a:pt x="152378" y="8760"/>
                  </a:cubicBezTo>
                  <a:close/>
                </a:path>
              </a:pathLst>
            </a:custGeom>
            <a:solidFill>
              <a:srgbClr val="231F20"/>
            </a:solidFill>
            <a:ln w="4477" cap="flat">
              <a:noFill/>
              <a:prstDash val="solid"/>
              <a:miter/>
            </a:ln>
          </p:spPr>
          <p:txBody>
            <a:bodyPr rtlCol="0" anchor="ctr"/>
            <a:lstStyle/>
            <a:p>
              <a:endParaRPr lang="en-US"/>
            </a:p>
          </p:txBody>
        </p:sp>
        <p:sp>
          <p:nvSpPr>
            <p:cNvPr id="2704" name="Freeform: Shape 2703">
              <a:extLst>
                <a:ext uri="{FF2B5EF4-FFF2-40B4-BE49-F238E27FC236}">
                  <a16:creationId xmlns:a16="http://schemas.microsoft.com/office/drawing/2014/main" id="{73301671-F27E-4053-AEE8-3683003E7E09}"/>
                </a:ext>
              </a:extLst>
            </p:cNvPr>
            <p:cNvSpPr/>
            <p:nvPr/>
          </p:nvSpPr>
          <p:spPr>
            <a:xfrm>
              <a:off x="7064069" y="2486433"/>
              <a:ext cx="71707" cy="71707"/>
            </a:xfrm>
            <a:custGeom>
              <a:avLst/>
              <a:gdLst>
                <a:gd name="connsiteX0" fmla="*/ 2241 w 71707"/>
                <a:gd name="connsiteY0" fmla="*/ 71707 h 71707"/>
                <a:gd name="connsiteX1" fmla="*/ 69466 w 71707"/>
                <a:gd name="connsiteY1" fmla="*/ 71707 h 71707"/>
                <a:gd name="connsiteX2" fmla="*/ 71707 w 71707"/>
                <a:gd name="connsiteY2" fmla="*/ 69466 h 71707"/>
                <a:gd name="connsiteX3" fmla="*/ 71707 w 71707"/>
                <a:gd name="connsiteY3" fmla="*/ 2241 h 71707"/>
                <a:gd name="connsiteX4" fmla="*/ 69466 w 71707"/>
                <a:gd name="connsiteY4" fmla="*/ 0 h 71707"/>
                <a:gd name="connsiteX5" fmla="*/ 44369 w 71707"/>
                <a:gd name="connsiteY5" fmla="*/ 0 h 71707"/>
                <a:gd name="connsiteX6" fmla="*/ 27338 w 71707"/>
                <a:gd name="connsiteY6" fmla="*/ 0 h 71707"/>
                <a:gd name="connsiteX7" fmla="*/ 2241 w 71707"/>
                <a:gd name="connsiteY7" fmla="*/ 0 h 71707"/>
                <a:gd name="connsiteX8" fmla="*/ 0 w 71707"/>
                <a:gd name="connsiteY8" fmla="*/ 2241 h 71707"/>
                <a:gd name="connsiteX9" fmla="*/ 0 w 71707"/>
                <a:gd name="connsiteY9" fmla="*/ 69466 h 71707"/>
                <a:gd name="connsiteX10" fmla="*/ 2241 w 71707"/>
                <a:gd name="connsiteY10" fmla="*/ 71707 h 71707"/>
                <a:gd name="connsiteX11" fmla="*/ 42128 w 71707"/>
                <a:gd name="connsiteY11" fmla="*/ 4482 h 71707"/>
                <a:gd name="connsiteX12" fmla="*/ 42128 w 71707"/>
                <a:gd name="connsiteY12" fmla="*/ 16582 h 71707"/>
                <a:gd name="connsiteX13" fmla="*/ 30027 w 71707"/>
                <a:gd name="connsiteY13" fmla="*/ 16582 h 71707"/>
                <a:gd name="connsiteX14" fmla="*/ 30027 w 71707"/>
                <a:gd name="connsiteY14" fmla="*/ 4482 h 71707"/>
                <a:gd name="connsiteX15" fmla="*/ 42128 w 71707"/>
                <a:gd name="connsiteY15" fmla="*/ 4482 h 71707"/>
                <a:gd name="connsiteX16" fmla="*/ 4482 w 71707"/>
                <a:gd name="connsiteY16" fmla="*/ 4482 h 71707"/>
                <a:gd name="connsiteX17" fmla="*/ 25098 w 71707"/>
                <a:gd name="connsiteY17" fmla="*/ 4482 h 71707"/>
                <a:gd name="connsiteX18" fmla="*/ 25098 w 71707"/>
                <a:gd name="connsiteY18" fmla="*/ 18823 h 71707"/>
                <a:gd name="connsiteX19" fmla="*/ 27338 w 71707"/>
                <a:gd name="connsiteY19" fmla="*/ 21064 h 71707"/>
                <a:gd name="connsiteX20" fmla="*/ 43921 w 71707"/>
                <a:gd name="connsiteY20" fmla="*/ 21064 h 71707"/>
                <a:gd name="connsiteX21" fmla="*/ 46162 w 71707"/>
                <a:gd name="connsiteY21" fmla="*/ 18823 h 71707"/>
                <a:gd name="connsiteX22" fmla="*/ 46162 w 71707"/>
                <a:gd name="connsiteY22" fmla="*/ 4482 h 71707"/>
                <a:gd name="connsiteX23" fmla="*/ 66777 w 71707"/>
                <a:gd name="connsiteY23" fmla="*/ 4482 h 71707"/>
                <a:gd name="connsiteX24" fmla="*/ 66777 w 71707"/>
                <a:gd name="connsiteY24" fmla="*/ 50195 h 71707"/>
                <a:gd name="connsiteX25" fmla="*/ 50195 w 71707"/>
                <a:gd name="connsiteY25" fmla="*/ 50195 h 71707"/>
                <a:gd name="connsiteX26" fmla="*/ 47954 w 71707"/>
                <a:gd name="connsiteY26" fmla="*/ 52436 h 71707"/>
                <a:gd name="connsiteX27" fmla="*/ 50195 w 71707"/>
                <a:gd name="connsiteY27" fmla="*/ 54677 h 71707"/>
                <a:gd name="connsiteX28" fmla="*/ 66777 w 71707"/>
                <a:gd name="connsiteY28" fmla="*/ 54677 h 71707"/>
                <a:gd name="connsiteX29" fmla="*/ 66777 w 71707"/>
                <a:gd name="connsiteY29" fmla="*/ 66777 h 71707"/>
                <a:gd name="connsiteX30" fmla="*/ 4034 w 71707"/>
                <a:gd name="connsiteY30" fmla="*/ 66777 h 71707"/>
                <a:gd name="connsiteX31" fmla="*/ 4034 w 71707"/>
                <a:gd name="connsiteY31" fmla="*/ 4482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707" h="71707">
                  <a:moveTo>
                    <a:pt x="2241" y="71707"/>
                  </a:moveTo>
                  <a:lnTo>
                    <a:pt x="69466" y="71707"/>
                  </a:lnTo>
                  <a:cubicBezTo>
                    <a:pt x="70811" y="71707"/>
                    <a:pt x="71707" y="70811"/>
                    <a:pt x="71707" y="69466"/>
                  </a:cubicBezTo>
                  <a:lnTo>
                    <a:pt x="71707" y="2241"/>
                  </a:lnTo>
                  <a:cubicBezTo>
                    <a:pt x="71707" y="896"/>
                    <a:pt x="70811" y="0"/>
                    <a:pt x="69466" y="0"/>
                  </a:cubicBezTo>
                  <a:lnTo>
                    <a:pt x="44369" y="0"/>
                  </a:lnTo>
                  <a:lnTo>
                    <a:pt x="27338" y="0"/>
                  </a:lnTo>
                  <a:lnTo>
                    <a:pt x="2241" y="0"/>
                  </a:lnTo>
                  <a:cubicBezTo>
                    <a:pt x="896" y="0"/>
                    <a:pt x="0" y="896"/>
                    <a:pt x="0" y="2241"/>
                  </a:cubicBezTo>
                  <a:lnTo>
                    <a:pt x="0" y="69466"/>
                  </a:lnTo>
                  <a:cubicBezTo>
                    <a:pt x="0" y="70811"/>
                    <a:pt x="896" y="71707"/>
                    <a:pt x="2241" y="71707"/>
                  </a:cubicBezTo>
                  <a:close/>
                  <a:moveTo>
                    <a:pt x="42128" y="4482"/>
                  </a:moveTo>
                  <a:lnTo>
                    <a:pt x="42128" y="16582"/>
                  </a:lnTo>
                  <a:lnTo>
                    <a:pt x="30027" y="16582"/>
                  </a:lnTo>
                  <a:lnTo>
                    <a:pt x="30027" y="4482"/>
                  </a:lnTo>
                  <a:lnTo>
                    <a:pt x="42128" y="4482"/>
                  </a:lnTo>
                  <a:close/>
                  <a:moveTo>
                    <a:pt x="4482" y="4482"/>
                  </a:moveTo>
                  <a:lnTo>
                    <a:pt x="25098" y="4482"/>
                  </a:lnTo>
                  <a:lnTo>
                    <a:pt x="25098" y="18823"/>
                  </a:lnTo>
                  <a:cubicBezTo>
                    <a:pt x="25098" y="20168"/>
                    <a:pt x="25994" y="21064"/>
                    <a:pt x="27338" y="21064"/>
                  </a:cubicBezTo>
                  <a:lnTo>
                    <a:pt x="43921" y="21064"/>
                  </a:lnTo>
                  <a:cubicBezTo>
                    <a:pt x="45265" y="21064"/>
                    <a:pt x="46162" y="20168"/>
                    <a:pt x="46162" y="18823"/>
                  </a:cubicBezTo>
                  <a:lnTo>
                    <a:pt x="46162" y="4482"/>
                  </a:lnTo>
                  <a:lnTo>
                    <a:pt x="66777" y="4482"/>
                  </a:lnTo>
                  <a:lnTo>
                    <a:pt x="66777" y="50195"/>
                  </a:lnTo>
                  <a:lnTo>
                    <a:pt x="50195" y="50195"/>
                  </a:lnTo>
                  <a:cubicBezTo>
                    <a:pt x="48851" y="50195"/>
                    <a:pt x="47954" y="51091"/>
                    <a:pt x="47954" y="52436"/>
                  </a:cubicBezTo>
                  <a:cubicBezTo>
                    <a:pt x="47954" y="53780"/>
                    <a:pt x="48851" y="54677"/>
                    <a:pt x="50195" y="54677"/>
                  </a:cubicBezTo>
                  <a:lnTo>
                    <a:pt x="66777" y="54677"/>
                  </a:lnTo>
                  <a:lnTo>
                    <a:pt x="66777" y="66777"/>
                  </a:lnTo>
                  <a:lnTo>
                    <a:pt x="4034" y="66777"/>
                  </a:lnTo>
                  <a:lnTo>
                    <a:pt x="4034" y="4482"/>
                  </a:lnTo>
                  <a:close/>
                </a:path>
              </a:pathLst>
            </a:custGeom>
            <a:solidFill>
              <a:srgbClr val="231F20"/>
            </a:solidFill>
            <a:ln w="4477" cap="flat">
              <a:noFill/>
              <a:prstDash val="solid"/>
              <a:miter/>
            </a:ln>
          </p:spPr>
          <p:txBody>
            <a:bodyPr rtlCol="0" anchor="ctr"/>
            <a:lstStyle/>
            <a:p>
              <a:endParaRPr lang="en-US"/>
            </a:p>
          </p:txBody>
        </p:sp>
      </p:grpSp>
      <p:sp>
        <p:nvSpPr>
          <p:cNvPr id="2605" name="Freeform: Shape 2604">
            <a:extLst>
              <a:ext uri="{FF2B5EF4-FFF2-40B4-BE49-F238E27FC236}">
                <a16:creationId xmlns:a16="http://schemas.microsoft.com/office/drawing/2014/main" id="{D8526FC2-93AE-4942-9A68-C2336F73FECF}"/>
              </a:ext>
              <a:ext uri="{C183D7F6-B498-43B3-948B-1728B52AA6E4}">
                <adec:decorative xmlns:adec="http://schemas.microsoft.com/office/drawing/2017/decorative" val="1"/>
              </a:ext>
            </a:extLst>
          </p:cNvPr>
          <p:cNvSpPr>
            <a:spLocks noChangeAspect="1"/>
          </p:cNvSpPr>
          <p:nvPr/>
        </p:nvSpPr>
        <p:spPr>
          <a:xfrm>
            <a:off x="6683822" y="4522915"/>
            <a:ext cx="147896" cy="143414"/>
          </a:xfrm>
          <a:custGeom>
            <a:avLst/>
            <a:gdLst>
              <a:gd name="connsiteX0" fmla="*/ 148961 w 147896"/>
              <a:gd name="connsiteY0" fmla="*/ 97639 h 143414"/>
              <a:gd name="connsiteX1" fmla="*/ 103247 w 147896"/>
              <a:gd name="connsiteY1" fmla="*/ 114221 h 143414"/>
              <a:gd name="connsiteX2" fmla="*/ 98765 w 147896"/>
              <a:gd name="connsiteY2" fmla="*/ 107498 h 143414"/>
              <a:gd name="connsiteX3" fmla="*/ 150305 w 147896"/>
              <a:gd name="connsiteY3" fmla="*/ 88227 h 143414"/>
              <a:gd name="connsiteX4" fmla="*/ 151650 w 147896"/>
              <a:gd name="connsiteY4" fmla="*/ 85538 h 143414"/>
              <a:gd name="connsiteX5" fmla="*/ 129689 w 147896"/>
              <a:gd name="connsiteY5" fmla="*/ 26828 h 143414"/>
              <a:gd name="connsiteX6" fmla="*/ 127000 w 147896"/>
              <a:gd name="connsiteY6" fmla="*/ 25483 h 143414"/>
              <a:gd name="connsiteX7" fmla="*/ 97869 w 147896"/>
              <a:gd name="connsiteY7" fmla="*/ 36687 h 143414"/>
              <a:gd name="connsiteX8" fmla="*/ 90698 w 147896"/>
              <a:gd name="connsiteY8" fmla="*/ 39376 h 143414"/>
              <a:gd name="connsiteX9" fmla="*/ 90698 w 147896"/>
              <a:gd name="connsiteY9" fmla="*/ 39376 h 143414"/>
              <a:gd name="connsiteX10" fmla="*/ 68738 w 147896"/>
              <a:gd name="connsiteY10" fmla="*/ 47444 h 143414"/>
              <a:gd name="connsiteX11" fmla="*/ 67394 w 147896"/>
              <a:gd name="connsiteY11" fmla="*/ 48788 h 143414"/>
              <a:gd name="connsiteX12" fmla="*/ 67394 w 147896"/>
              <a:gd name="connsiteY12" fmla="*/ 50581 h 143414"/>
              <a:gd name="connsiteX13" fmla="*/ 86217 w 147896"/>
              <a:gd name="connsiteY13" fmla="*/ 101224 h 143414"/>
              <a:gd name="connsiteX14" fmla="*/ 82631 w 147896"/>
              <a:gd name="connsiteY14" fmla="*/ 100776 h 143414"/>
              <a:gd name="connsiteX15" fmla="*/ 77253 w 147896"/>
              <a:gd name="connsiteY15" fmla="*/ 101672 h 143414"/>
              <a:gd name="connsiteX16" fmla="*/ 44089 w 147896"/>
              <a:gd name="connsiteY16" fmla="*/ 9797 h 143414"/>
              <a:gd name="connsiteX17" fmla="*/ 25266 w 147896"/>
              <a:gd name="connsiteY17" fmla="*/ 834 h 143414"/>
              <a:gd name="connsiteX18" fmla="*/ 1513 w 147896"/>
              <a:gd name="connsiteY18" fmla="*/ 9349 h 143414"/>
              <a:gd name="connsiteX19" fmla="*/ 168 w 147896"/>
              <a:gd name="connsiteY19" fmla="*/ 12038 h 143414"/>
              <a:gd name="connsiteX20" fmla="*/ 2857 w 147896"/>
              <a:gd name="connsiteY20" fmla="*/ 13383 h 143414"/>
              <a:gd name="connsiteX21" fmla="*/ 26610 w 147896"/>
              <a:gd name="connsiteY21" fmla="*/ 4867 h 143414"/>
              <a:gd name="connsiteX22" fmla="*/ 39607 w 147896"/>
              <a:gd name="connsiteY22" fmla="*/ 11142 h 143414"/>
              <a:gd name="connsiteX23" fmla="*/ 72772 w 147896"/>
              <a:gd name="connsiteY23" fmla="*/ 103017 h 143414"/>
              <a:gd name="connsiteX24" fmla="*/ 59775 w 147896"/>
              <a:gd name="connsiteY24" fmla="*/ 123184 h 143414"/>
              <a:gd name="connsiteX25" fmla="*/ 82183 w 147896"/>
              <a:gd name="connsiteY25" fmla="*/ 145593 h 143414"/>
              <a:gd name="connsiteX26" fmla="*/ 104592 w 147896"/>
              <a:gd name="connsiteY26" fmla="*/ 123184 h 143414"/>
              <a:gd name="connsiteX27" fmla="*/ 104144 w 147896"/>
              <a:gd name="connsiteY27" fmla="*/ 119151 h 143414"/>
              <a:gd name="connsiteX28" fmla="*/ 150305 w 147896"/>
              <a:gd name="connsiteY28" fmla="*/ 102568 h 143414"/>
              <a:gd name="connsiteX29" fmla="*/ 151650 w 147896"/>
              <a:gd name="connsiteY29" fmla="*/ 99879 h 143414"/>
              <a:gd name="connsiteX30" fmla="*/ 148961 w 147896"/>
              <a:gd name="connsiteY30" fmla="*/ 97639 h 143414"/>
              <a:gd name="connsiteX31" fmla="*/ 108625 w 147896"/>
              <a:gd name="connsiteY31" fmla="*/ 48788 h 143414"/>
              <a:gd name="connsiteX32" fmla="*/ 98317 w 147896"/>
              <a:gd name="connsiteY32" fmla="*/ 52821 h 143414"/>
              <a:gd name="connsiteX33" fmla="*/ 94284 w 147896"/>
              <a:gd name="connsiteY33" fmla="*/ 42514 h 143414"/>
              <a:gd name="connsiteX34" fmla="*/ 99662 w 147896"/>
              <a:gd name="connsiteY34" fmla="*/ 40721 h 143414"/>
              <a:gd name="connsiteX35" fmla="*/ 105040 w 147896"/>
              <a:gd name="connsiteY35" fmla="*/ 38928 h 143414"/>
              <a:gd name="connsiteX36" fmla="*/ 108625 w 147896"/>
              <a:gd name="connsiteY36" fmla="*/ 48788 h 143414"/>
              <a:gd name="connsiteX37" fmla="*/ 72323 w 147896"/>
              <a:gd name="connsiteY37" fmla="*/ 50132 h 143414"/>
              <a:gd name="connsiteX38" fmla="*/ 90250 w 147896"/>
              <a:gd name="connsiteY38" fmla="*/ 43410 h 143414"/>
              <a:gd name="connsiteX39" fmla="*/ 94732 w 147896"/>
              <a:gd name="connsiteY39" fmla="*/ 55959 h 143414"/>
              <a:gd name="connsiteX40" fmla="*/ 96973 w 147896"/>
              <a:gd name="connsiteY40" fmla="*/ 57303 h 143414"/>
              <a:gd name="connsiteX41" fmla="*/ 97869 w 147896"/>
              <a:gd name="connsiteY41" fmla="*/ 57303 h 143414"/>
              <a:gd name="connsiteX42" fmla="*/ 112659 w 147896"/>
              <a:gd name="connsiteY42" fmla="*/ 51925 h 143414"/>
              <a:gd name="connsiteX43" fmla="*/ 114003 w 147896"/>
              <a:gd name="connsiteY43" fmla="*/ 49236 h 143414"/>
              <a:gd name="connsiteX44" fmla="*/ 109522 w 147896"/>
              <a:gd name="connsiteY44" fmla="*/ 36687 h 143414"/>
              <a:gd name="connsiteX45" fmla="*/ 127448 w 147896"/>
              <a:gd name="connsiteY45" fmla="*/ 29965 h 143414"/>
              <a:gd name="connsiteX46" fmla="*/ 142238 w 147896"/>
              <a:gd name="connsiteY46" fmla="*/ 69852 h 143414"/>
              <a:gd name="connsiteX47" fmla="*/ 127897 w 147896"/>
              <a:gd name="connsiteY47" fmla="*/ 75230 h 143414"/>
              <a:gd name="connsiteX48" fmla="*/ 126552 w 147896"/>
              <a:gd name="connsiteY48" fmla="*/ 77919 h 143414"/>
              <a:gd name="connsiteX49" fmla="*/ 128793 w 147896"/>
              <a:gd name="connsiteY49" fmla="*/ 79263 h 143414"/>
              <a:gd name="connsiteX50" fmla="*/ 129689 w 147896"/>
              <a:gd name="connsiteY50" fmla="*/ 79263 h 143414"/>
              <a:gd name="connsiteX51" fmla="*/ 144031 w 147896"/>
              <a:gd name="connsiteY51" fmla="*/ 73886 h 143414"/>
              <a:gd name="connsiteX52" fmla="*/ 148064 w 147896"/>
              <a:gd name="connsiteY52" fmla="*/ 84193 h 143414"/>
              <a:gd name="connsiteX53" fmla="*/ 96076 w 147896"/>
              <a:gd name="connsiteY53" fmla="*/ 103465 h 143414"/>
              <a:gd name="connsiteX54" fmla="*/ 92491 w 147896"/>
              <a:gd name="connsiteY54" fmla="*/ 101672 h 143414"/>
              <a:gd name="connsiteX55" fmla="*/ 72323 w 147896"/>
              <a:gd name="connsiteY55" fmla="*/ 50132 h 143414"/>
              <a:gd name="connsiteX56" fmla="*/ 82631 w 147896"/>
              <a:gd name="connsiteY56" fmla="*/ 140215 h 143414"/>
              <a:gd name="connsiteX57" fmla="*/ 64705 w 147896"/>
              <a:gd name="connsiteY57" fmla="*/ 122288 h 143414"/>
              <a:gd name="connsiteX58" fmla="*/ 82631 w 147896"/>
              <a:gd name="connsiteY58" fmla="*/ 104361 h 143414"/>
              <a:gd name="connsiteX59" fmla="*/ 100558 w 147896"/>
              <a:gd name="connsiteY59" fmla="*/ 122288 h 143414"/>
              <a:gd name="connsiteX60" fmla="*/ 82631 w 147896"/>
              <a:gd name="connsiteY60" fmla="*/ 140215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7896" h="143414">
                <a:moveTo>
                  <a:pt x="148961" y="97639"/>
                </a:moveTo>
                <a:lnTo>
                  <a:pt x="103247" y="114221"/>
                </a:lnTo>
                <a:cubicBezTo>
                  <a:pt x="102351" y="111532"/>
                  <a:pt x="100558" y="109291"/>
                  <a:pt x="98765" y="107498"/>
                </a:cubicBezTo>
                <a:lnTo>
                  <a:pt x="150305" y="88227"/>
                </a:lnTo>
                <a:cubicBezTo>
                  <a:pt x="151650" y="87779"/>
                  <a:pt x="152098" y="86434"/>
                  <a:pt x="151650" y="85538"/>
                </a:cubicBezTo>
                <a:lnTo>
                  <a:pt x="129689" y="26828"/>
                </a:lnTo>
                <a:cubicBezTo>
                  <a:pt x="129241" y="25483"/>
                  <a:pt x="127897" y="25035"/>
                  <a:pt x="127000" y="25483"/>
                </a:cubicBezTo>
                <a:lnTo>
                  <a:pt x="97869" y="36687"/>
                </a:lnTo>
                <a:lnTo>
                  <a:pt x="90698" y="39376"/>
                </a:lnTo>
                <a:lnTo>
                  <a:pt x="90698" y="39376"/>
                </a:lnTo>
                <a:lnTo>
                  <a:pt x="68738" y="47444"/>
                </a:lnTo>
                <a:cubicBezTo>
                  <a:pt x="68290" y="47444"/>
                  <a:pt x="67842" y="47892"/>
                  <a:pt x="67394" y="48788"/>
                </a:cubicBezTo>
                <a:cubicBezTo>
                  <a:pt x="66945" y="49236"/>
                  <a:pt x="66945" y="50132"/>
                  <a:pt x="67394" y="50581"/>
                </a:cubicBezTo>
                <a:lnTo>
                  <a:pt x="86217" y="101224"/>
                </a:lnTo>
                <a:cubicBezTo>
                  <a:pt x="84872" y="101224"/>
                  <a:pt x="83976" y="100776"/>
                  <a:pt x="82631" y="100776"/>
                </a:cubicBezTo>
                <a:cubicBezTo>
                  <a:pt x="80839" y="100776"/>
                  <a:pt x="79046" y="101224"/>
                  <a:pt x="77253" y="101672"/>
                </a:cubicBezTo>
                <a:lnTo>
                  <a:pt x="44089" y="9797"/>
                </a:lnTo>
                <a:cubicBezTo>
                  <a:pt x="41400" y="2178"/>
                  <a:pt x="32884" y="-1855"/>
                  <a:pt x="25266" y="834"/>
                </a:cubicBezTo>
                <a:lnTo>
                  <a:pt x="1513" y="9349"/>
                </a:lnTo>
                <a:cubicBezTo>
                  <a:pt x="168" y="9797"/>
                  <a:pt x="-280" y="11142"/>
                  <a:pt x="168" y="12038"/>
                </a:cubicBezTo>
                <a:cubicBezTo>
                  <a:pt x="616" y="13383"/>
                  <a:pt x="1961" y="13831"/>
                  <a:pt x="2857" y="13383"/>
                </a:cubicBezTo>
                <a:lnTo>
                  <a:pt x="26610" y="4867"/>
                </a:lnTo>
                <a:cubicBezTo>
                  <a:pt x="31988" y="3075"/>
                  <a:pt x="37814" y="5764"/>
                  <a:pt x="39607" y="11142"/>
                </a:cubicBezTo>
                <a:lnTo>
                  <a:pt x="72772" y="103017"/>
                </a:lnTo>
                <a:cubicBezTo>
                  <a:pt x="65153" y="106602"/>
                  <a:pt x="59775" y="114221"/>
                  <a:pt x="59775" y="123184"/>
                </a:cubicBezTo>
                <a:cubicBezTo>
                  <a:pt x="59775" y="135733"/>
                  <a:pt x="69634" y="145593"/>
                  <a:pt x="82183" y="145593"/>
                </a:cubicBezTo>
                <a:cubicBezTo>
                  <a:pt x="94732" y="145593"/>
                  <a:pt x="104592" y="135733"/>
                  <a:pt x="104592" y="123184"/>
                </a:cubicBezTo>
                <a:cubicBezTo>
                  <a:pt x="104592" y="121840"/>
                  <a:pt x="104592" y="120495"/>
                  <a:pt x="104144" y="119151"/>
                </a:cubicBezTo>
                <a:lnTo>
                  <a:pt x="150305" y="102568"/>
                </a:lnTo>
                <a:cubicBezTo>
                  <a:pt x="151650" y="102120"/>
                  <a:pt x="152098" y="100776"/>
                  <a:pt x="151650" y="99879"/>
                </a:cubicBezTo>
                <a:cubicBezTo>
                  <a:pt x="151650" y="97639"/>
                  <a:pt x="150305" y="97190"/>
                  <a:pt x="148961" y="97639"/>
                </a:cubicBezTo>
                <a:close/>
                <a:moveTo>
                  <a:pt x="108625" y="48788"/>
                </a:moveTo>
                <a:lnTo>
                  <a:pt x="98317" y="52821"/>
                </a:lnTo>
                <a:lnTo>
                  <a:pt x="94284" y="42514"/>
                </a:lnTo>
                <a:lnTo>
                  <a:pt x="99662" y="40721"/>
                </a:lnTo>
                <a:lnTo>
                  <a:pt x="105040" y="38928"/>
                </a:lnTo>
                <a:lnTo>
                  <a:pt x="108625" y="48788"/>
                </a:lnTo>
                <a:close/>
                <a:moveTo>
                  <a:pt x="72323" y="50132"/>
                </a:moveTo>
                <a:lnTo>
                  <a:pt x="90250" y="43410"/>
                </a:lnTo>
                <a:lnTo>
                  <a:pt x="94732" y="55959"/>
                </a:lnTo>
                <a:cubicBezTo>
                  <a:pt x="95180" y="56855"/>
                  <a:pt x="96076" y="57303"/>
                  <a:pt x="96973" y="57303"/>
                </a:cubicBezTo>
                <a:cubicBezTo>
                  <a:pt x="97421" y="57303"/>
                  <a:pt x="97421" y="57303"/>
                  <a:pt x="97869" y="57303"/>
                </a:cubicBezTo>
                <a:lnTo>
                  <a:pt x="112659" y="51925"/>
                </a:lnTo>
                <a:cubicBezTo>
                  <a:pt x="114003" y="51477"/>
                  <a:pt x="114451" y="50132"/>
                  <a:pt x="114003" y="49236"/>
                </a:cubicBezTo>
                <a:lnTo>
                  <a:pt x="109522" y="36687"/>
                </a:lnTo>
                <a:lnTo>
                  <a:pt x="127448" y="29965"/>
                </a:lnTo>
                <a:lnTo>
                  <a:pt x="142238" y="69852"/>
                </a:lnTo>
                <a:lnTo>
                  <a:pt x="127897" y="75230"/>
                </a:lnTo>
                <a:cubicBezTo>
                  <a:pt x="126552" y="75678"/>
                  <a:pt x="126104" y="77023"/>
                  <a:pt x="126552" y="77919"/>
                </a:cubicBezTo>
                <a:cubicBezTo>
                  <a:pt x="127000" y="78815"/>
                  <a:pt x="127897" y="79263"/>
                  <a:pt x="128793" y="79263"/>
                </a:cubicBezTo>
                <a:cubicBezTo>
                  <a:pt x="129241" y="79263"/>
                  <a:pt x="129241" y="79263"/>
                  <a:pt x="129689" y="79263"/>
                </a:cubicBezTo>
                <a:lnTo>
                  <a:pt x="144031" y="73886"/>
                </a:lnTo>
                <a:lnTo>
                  <a:pt x="148064" y="84193"/>
                </a:lnTo>
                <a:lnTo>
                  <a:pt x="96076" y="103465"/>
                </a:lnTo>
                <a:cubicBezTo>
                  <a:pt x="94732" y="102568"/>
                  <a:pt x="93836" y="102120"/>
                  <a:pt x="92491" y="101672"/>
                </a:cubicBezTo>
                <a:lnTo>
                  <a:pt x="72323" y="50132"/>
                </a:lnTo>
                <a:close/>
                <a:moveTo>
                  <a:pt x="82631" y="140215"/>
                </a:moveTo>
                <a:cubicBezTo>
                  <a:pt x="72772" y="140215"/>
                  <a:pt x="64705" y="132148"/>
                  <a:pt x="64705" y="122288"/>
                </a:cubicBezTo>
                <a:cubicBezTo>
                  <a:pt x="64705" y="112428"/>
                  <a:pt x="72772" y="104361"/>
                  <a:pt x="82631" y="104361"/>
                </a:cubicBezTo>
                <a:cubicBezTo>
                  <a:pt x="92491" y="104361"/>
                  <a:pt x="100558" y="112428"/>
                  <a:pt x="100558" y="122288"/>
                </a:cubicBezTo>
                <a:cubicBezTo>
                  <a:pt x="100558" y="132148"/>
                  <a:pt x="92491" y="140215"/>
                  <a:pt x="82631" y="140215"/>
                </a:cubicBezTo>
                <a:close/>
              </a:path>
            </a:pathLst>
          </a:custGeom>
          <a:solidFill>
            <a:srgbClr val="231F20"/>
          </a:solidFill>
          <a:ln w="4477" cap="flat">
            <a:noFill/>
            <a:prstDash val="solid"/>
            <a:miter/>
          </a:ln>
        </p:spPr>
        <p:txBody>
          <a:bodyPr rtlCol="0" anchor="ctr"/>
          <a:lstStyle/>
          <a:p>
            <a:endParaRPr lang="en-US"/>
          </a:p>
        </p:txBody>
      </p:sp>
      <p:sp>
        <p:nvSpPr>
          <p:cNvPr id="2606" name="Freeform: Shape 2605">
            <a:extLst>
              <a:ext uri="{FF2B5EF4-FFF2-40B4-BE49-F238E27FC236}">
                <a16:creationId xmlns:a16="http://schemas.microsoft.com/office/drawing/2014/main" id="{75E17476-21CC-4DEC-ADF5-4B14DA83D362}"/>
              </a:ext>
              <a:ext uri="{C183D7F6-B498-43B3-948B-1728B52AA6E4}">
                <adec:decorative xmlns:adec="http://schemas.microsoft.com/office/drawing/2017/decorative" val="1"/>
              </a:ext>
            </a:extLst>
          </p:cNvPr>
          <p:cNvSpPr>
            <a:spLocks noChangeAspect="1"/>
          </p:cNvSpPr>
          <p:nvPr/>
        </p:nvSpPr>
        <p:spPr>
          <a:xfrm>
            <a:off x="8019089" y="5213030"/>
            <a:ext cx="138933" cy="152378"/>
          </a:xfrm>
          <a:custGeom>
            <a:avLst/>
            <a:gdLst>
              <a:gd name="connsiteX0" fmla="*/ 142518 w 138932"/>
              <a:gd name="connsiteY0" fmla="*/ 132215 h 152377"/>
              <a:gd name="connsiteX1" fmla="*/ 142518 w 138932"/>
              <a:gd name="connsiteY1" fmla="*/ 131318 h 152377"/>
              <a:gd name="connsiteX2" fmla="*/ 105768 w 138932"/>
              <a:gd name="connsiteY2" fmla="*/ 93672 h 152377"/>
              <a:gd name="connsiteX3" fmla="*/ 89634 w 138932"/>
              <a:gd name="connsiteY3" fmla="*/ 76642 h 152377"/>
              <a:gd name="connsiteX4" fmla="*/ 90082 w 138932"/>
              <a:gd name="connsiteY4" fmla="*/ 73504 h 152377"/>
              <a:gd name="connsiteX5" fmla="*/ 93668 w 138932"/>
              <a:gd name="connsiteY5" fmla="*/ 70367 h 152377"/>
              <a:gd name="connsiteX6" fmla="*/ 103527 w 138932"/>
              <a:gd name="connsiteY6" fmla="*/ 43029 h 152377"/>
              <a:gd name="connsiteX7" fmla="*/ 103975 w 138932"/>
              <a:gd name="connsiteY7" fmla="*/ 40340 h 152377"/>
              <a:gd name="connsiteX8" fmla="*/ 103975 w 138932"/>
              <a:gd name="connsiteY8" fmla="*/ 22861 h 152377"/>
              <a:gd name="connsiteX9" fmla="*/ 71259 w 138932"/>
              <a:gd name="connsiteY9" fmla="*/ 4 h 152377"/>
              <a:gd name="connsiteX10" fmla="*/ 38991 w 138932"/>
              <a:gd name="connsiteY10" fmla="*/ 22861 h 152377"/>
              <a:gd name="connsiteX11" fmla="*/ 38991 w 138932"/>
              <a:gd name="connsiteY11" fmla="*/ 40340 h 152377"/>
              <a:gd name="connsiteX12" fmla="*/ 38991 w 138932"/>
              <a:gd name="connsiteY12" fmla="*/ 41684 h 152377"/>
              <a:gd name="connsiteX13" fmla="*/ 49747 w 138932"/>
              <a:gd name="connsiteY13" fmla="*/ 69919 h 152377"/>
              <a:gd name="connsiteX14" fmla="*/ 52436 w 138932"/>
              <a:gd name="connsiteY14" fmla="*/ 72608 h 152377"/>
              <a:gd name="connsiteX15" fmla="*/ 52884 w 138932"/>
              <a:gd name="connsiteY15" fmla="*/ 76642 h 152377"/>
              <a:gd name="connsiteX16" fmla="*/ 36750 w 138932"/>
              <a:gd name="connsiteY16" fmla="*/ 93672 h 152377"/>
              <a:gd name="connsiteX17" fmla="*/ 0 w 138932"/>
              <a:gd name="connsiteY17" fmla="*/ 131318 h 152377"/>
              <a:gd name="connsiteX18" fmla="*/ 0 w 138932"/>
              <a:gd name="connsiteY18" fmla="*/ 134007 h 152377"/>
              <a:gd name="connsiteX19" fmla="*/ 0 w 138932"/>
              <a:gd name="connsiteY19" fmla="*/ 150141 h 152377"/>
              <a:gd name="connsiteX20" fmla="*/ 2241 w 138932"/>
              <a:gd name="connsiteY20" fmla="*/ 152382 h 152377"/>
              <a:gd name="connsiteX21" fmla="*/ 2241 w 138932"/>
              <a:gd name="connsiteY21" fmla="*/ 152382 h 152377"/>
              <a:gd name="connsiteX22" fmla="*/ 4482 w 138932"/>
              <a:gd name="connsiteY22" fmla="*/ 150141 h 152377"/>
              <a:gd name="connsiteX23" fmla="*/ 4482 w 138932"/>
              <a:gd name="connsiteY23" fmla="*/ 134007 h 152377"/>
              <a:gd name="connsiteX24" fmla="*/ 4482 w 138932"/>
              <a:gd name="connsiteY24" fmla="*/ 131318 h 152377"/>
              <a:gd name="connsiteX25" fmla="*/ 36750 w 138932"/>
              <a:gd name="connsiteY25" fmla="*/ 98154 h 152377"/>
              <a:gd name="connsiteX26" fmla="*/ 57366 w 138932"/>
              <a:gd name="connsiteY26" fmla="*/ 76642 h 152377"/>
              <a:gd name="connsiteX27" fmla="*/ 57366 w 138932"/>
              <a:gd name="connsiteY27" fmla="*/ 75745 h 152377"/>
              <a:gd name="connsiteX28" fmla="*/ 71707 w 138932"/>
              <a:gd name="connsiteY28" fmla="*/ 79330 h 152377"/>
              <a:gd name="connsiteX29" fmla="*/ 72155 w 138932"/>
              <a:gd name="connsiteY29" fmla="*/ 79330 h 152377"/>
              <a:gd name="connsiteX30" fmla="*/ 85601 w 138932"/>
              <a:gd name="connsiteY30" fmla="*/ 76642 h 152377"/>
              <a:gd name="connsiteX31" fmla="*/ 85601 w 138932"/>
              <a:gd name="connsiteY31" fmla="*/ 77090 h 152377"/>
              <a:gd name="connsiteX32" fmla="*/ 106216 w 138932"/>
              <a:gd name="connsiteY32" fmla="*/ 98602 h 152377"/>
              <a:gd name="connsiteX33" fmla="*/ 138485 w 138932"/>
              <a:gd name="connsiteY33" fmla="*/ 131766 h 152377"/>
              <a:gd name="connsiteX34" fmla="*/ 138485 w 138932"/>
              <a:gd name="connsiteY34" fmla="*/ 132663 h 152377"/>
              <a:gd name="connsiteX35" fmla="*/ 138485 w 138932"/>
              <a:gd name="connsiteY35" fmla="*/ 150590 h 152377"/>
              <a:gd name="connsiteX36" fmla="*/ 140725 w 138932"/>
              <a:gd name="connsiteY36" fmla="*/ 152831 h 152377"/>
              <a:gd name="connsiteX37" fmla="*/ 140725 w 138932"/>
              <a:gd name="connsiteY37" fmla="*/ 152831 h 152377"/>
              <a:gd name="connsiteX38" fmla="*/ 142966 w 138932"/>
              <a:gd name="connsiteY38" fmla="*/ 150590 h 152377"/>
              <a:gd name="connsiteX39" fmla="*/ 142518 w 138932"/>
              <a:gd name="connsiteY39" fmla="*/ 132215 h 152377"/>
              <a:gd name="connsiteX40" fmla="*/ 72155 w 138932"/>
              <a:gd name="connsiteY40" fmla="*/ 75297 h 152377"/>
              <a:gd name="connsiteX41" fmla="*/ 72155 w 138932"/>
              <a:gd name="connsiteY41" fmla="*/ 75297 h 152377"/>
              <a:gd name="connsiteX42" fmla="*/ 72155 w 138932"/>
              <a:gd name="connsiteY42" fmla="*/ 75297 h 152377"/>
              <a:gd name="connsiteX43" fmla="*/ 53332 w 138932"/>
              <a:gd name="connsiteY43" fmla="*/ 67678 h 152377"/>
              <a:gd name="connsiteX44" fmla="*/ 43921 w 138932"/>
              <a:gd name="connsiteY44" fmla="*/ 41684 h 152377"/>
              <a:gd name="connsiteX45" fmla="*/ 43921 w 138932"/>
              <a:gd name="connsiteY45" fmla="*/ 40340 h 152377"/>
              <a:gd name="connsiteX46" fmla="*/ 43921 w 138932"/>
              <a:gd name="connsiteY46" fmla="*/ 24206 h 152377"/>
              <a:gd name="connsiteX47" fmla="*/ 72155 w 138932"/>
              <a:gd name="connsiteY47" fmla="*/ 4934 h 152377"/>
              <a:gd name="connsiteX48" fmla="*/ 100390 w 138932"/>
              <a:gd name="connsiteY48" fmla="*/ 24206 h 152377"/>
              <a:gd name="connsiteX49" fmla="*/ 100390 w 138932"/>
              <a:gd name="connsiteY49" fmla="*/ 40340 h 152377"/>
              <a:gd name="connsiteX50" fmla="*/ 99942 w 138932"/>
              <a:gd name="connsiteY50" fmla="*/ 43029 h 152377"/>
              <a:gd name="connsiteX51" fmla="*/ 90978 w 138932"/>
              <a:gd name="connsiteY51" fmla="*/ 68126 h 152377"/>
              <a:gd name="connsiteX52" fmla="*/ 72155 w 138932"/>
              <a:gd name="connsiteY52"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8932" h="152377">
                <a:moveTo>
                  <a:pt x="142518" y="132215"/>
                </a:moveTo>
                <a:lnTo>
                  <a:pt x="142518" y="131318"/>
                </a:lnTo>
                <a:cubicBezTo>
                  <a:pt x="142070" y="110254"/>
                  <a:pt x="125936" y="93672"/>
                  <a:pt x="105768" y="93672"/>
                </a:cubicBezTo>
                <a:cubicBezTo>
                  <a:pt x="96805" y="93672"/>
                  <a:pt x="89634" y="86053"/>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2"/>
                </a:cubicBezTo>
                <a:cubicBezTo>
                  <a:pt x="52884" y="86053"/>
                  <a:pt x="45713" y="93672"/>
                  <a:pt x="36750" y="93672"/>
                </a:cubicBezTo>
                <a:cubicBezTo>
                  <a:pt x="16582" y="93672"/>
                  <a:pt x="448" y="110254"/>
                  <a:pt x="0" y="131318"/>
                </a:cubicBezTo>
                <a:lnTo>
                  <a:pt x="0" y="134007"/>
                </a:lnTo>
                <a:cubicBezTo>
                  <a:pt x="0" y="139385"/>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3"/>
                  <a:pt x="4482" y="138937"/>
                  <a:pt x="4482" y="134007"/>
                </a:cubicBezTo>
                <a:lnTo>
                  <a:pt x="4482" y="131318"/>
                </a:lnTo>
                <a:cubicBezTo>
                  <a:pt x="4930" y="112943"/>
                  <a:pt x="19271" y="98154"/>
                  <a:pt x="36750" y="98154"/>
                </a:cubicBezTo>
                <a:cubicBezTo>
                  <a:pt x="47954" y="98154"/>
                  <a:pt x="57366" y="88742"/>
                  <a:pt x="57366" y="76642"/>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1" y="76642"/>
                </a:cubicBezTo>
                <a:cubicBezTo>
                  <a:pt x="85601" y="76642"/>
                  <a:pt x="85601" y="76642"/>
                  <a:pt x="85601" y="77090"/>
                </a:cubicBezTo>
                <a:cubicBezTo>
                  <a:pt x="85601" y="88742"/>
                  <a:pt x="94564" y="98602"/>
                  <a:pt x="106216" y="98602"/>
                </a:cubicBezTo>
                <a:cubicBezTo>
                  <a:pt x="123695" y="98602"/>
                  <a:pt x="138036" y="112943"/>
                  <a:pt x="138485" y="131766"/>
                </a:cubicBezTo>
                <a:lnTo>
                  <a:pt x="138485" y="132663"/>
                </a:lnTo>
                <a:cubicBezTo>
                  <a:pt x="138485" y="138937"/>
                  <a:pt x="138485" y="145212"/>
                  <a:pt x="138485" y="150590"/>
                </a:cubicBezTo>
                <a:cubicBezTo>
                  <a:pt x="138485" y="151934"/>
                  <a:pt x="139381" y="152831"/>
                  <a:pt x="140725" y="152831"/>
                </a:cubicBezTo>
                <a:cubicBezTo>
                  <a:pt x="140725" y="152831"/>
                  <a:pt x="140725" y="152831"/>
                  <a:pt x="140725" y="152831"/>
                </a:cubicBezTo>
                <a:cubicBezTo>
                  <a:pt x="142070" y="152831"/>
                  <a:pt x="142966" y="151934"/>
                  <a:pt x="142966" y="150590"/>
                </a:cubicBezTo>
                <a:cubicBezTo>
                  <a:pt x="142518" y="145212"/>
                  <a:pt x="142518" y="138937"/>
                  <a:pt x="142518" y="132215"/>
                </a:cubicBezTo>
                <a:close/>
                <a:moveTo>
                  <a:pt x="72155" y="75297"/>
                </a:moveTo>
                <a:cubicBezTo>
                  <a:pt x="71707" y="75297"/>
                  <a:pt x="71707" y="75297"/>
                  <a:pt x="72155" y="75297"/>
                </a:cubicBezTo>
                <a:cubicBezTo>
                  <a:pt x="71707" y="75297"/>
                  <a:pt x="71707" y="75297"/>
                  <a:pt x="72155" y="75297"/>
                </a:cubicBezTo>
                <a:cubicBezTo>
                  <a:pt x="71707" y="75297"/>
                  <a:pt x="59607" y="75297"/>
                  <a:pt x="53332" y="67678"/>
                </a:cubicBezTo>
                <a:cubicBezTo>
                  <a:pt x="46610" y="60059"/>
                  <a:pt x="44817" y="49303"/>
                  <a:pt x="43921" y="41684"/>
                </a:cubicBezTo>
                <a:lnTo>
                  <a:pt x="43921" y="40340"/>
                </a:lnTo>
                <a:cubicBezTo>
                  <a:pt x="42576" y="31825"/>
                  <a:pt x="43921" y="24206"/>
                  <a:pt x="43921" y="24206"/>
                </a:cubicBezTo>
                <a:cubicBezTo>
                  <a:pt x="47954" y="4486"/>
                  <a:pt x="70811" y="4934"/>
                  <a:pt x="72155" y="4934"/>
                </a:cubicBezTo>
                <a:cubicBezTo>
                  <a:pt x="73052" y="4934"/>
                  <a:pt x="96357" y="4486"/>
                  <a:pt x="100390" y="24206"/>
                </a:cubicBezTo>
                <a:cubicBezTo>
                  <a:pt x="100390" y="24206"/>
                  <a:pt x="101735" y="31376"/>
                  <a:pt x="100390" y="40340"/>
                </a:cubicBezTo>
                <a:lnTo>
                  <a:pt x="99942" y="43029"/>
                </a:lnTo>
                <a:cubicBezTo>
                  <a:pt x="98597" y="51096"/>
                  <a:pt x="97253" y="60956"/>
                  <a:pt x="90978" y="68126"/>
                </a:cubicBezTo>
                <a:cubicBezTo>
                  <a:pt x="84256" y="74849"/>
                  <a:pt x="73500" y="75297"/>
                  <a:pt x="72155" y="75297"/>
                </a:cubicBezTo>
                <a:close/>
              </a:path>
            </a:pathLst>
          </a:custGeom>
          <a:solidFill>
            <a:srgbClr val="231F20"/>
          </a:solidFill>
          <a:ln w="4477" cap="flat">
            <a:noFill/>
            <a:prstDash val="solid"/>
            <a:miter/>
          </a:ln>
        </p:spPr>
        <p:txBody>
          <a:bodyPr rtlCol="0" anchor="ctr"/>
          <a:lstStyle/>
          <a:p>
            <a:endParaRPr lang="en-US"/>
          </a:p>
        </p:txBody>
      </p:sp>
      <p:grpSp>
        <p:nvGrpSpPr>
          <p:cNvPr id="2607" name="Group 2606">
            <a:extLst>
              <a:ext uri="{FF2B5EF4-FFF2-40B4-BE49-F238E27FC236}">
                <a16:creationId xmlns:a16="http://schemas.microsoft.com/office/drawing/2014/main" id="{0844F5E7-3F92-48F4-9E9A-BC039A6170CC}"/>
              </a:ext>
              <a:ext uri="{C183D7F6-B498-43B3-948B-1728B52AA6E4}">
                <adec:decorative xmlns:adec="http://schemas.microsoft.com/office/drawing/2017/decorative" val="1"/>
              </a:ext>
            </a:extLst>
          </p:cNvPr>
          <p:cNvGrpSpPr>
            <a:grpSpLocks noChangeAspect="1"/>
          </p:cNvGrpSpPr>
          <p:nvPr/>
        </p:nvGrpSpPr>
        <p:grpSpPr>
          <a:xfrm>
            <a:off x="8279028" y="5199585"/>
            <a:ext cx="138933" cy="177032"/>
            <a:chOff x="8335528" y="3143894"/>
            <a:chExt cx="138933" cy="177032"/>
          </a:xfrm>
        </p:grpSpPr>
        <p:sp>
          <p:nvSpPr>
            <p:cNvPr id="2701" name="Freeform: Shape 2700">
              <a:extLst>
                <a:ext uri="{FF2B5EF4-FFF2-40B4-BE49-F238E27FC236}">
                  <a16:creationId xmlns:a16="http://schemas.microsoft.com/office/drawing/2014/main" id="{D511164C-805E-4FD0-8760-85848890B8EB}"/>
                </a:ext>
              </a:extLst>
            </p:cNvPr>
            <p:cNvSpPr/>
            <p:nvPr/>
          </p:nvSpPr>
          <p:spPr>
            <a:xfrm>
              <a:off x="8394392" y="3240255"/>
              <a:ext cx="22409" cy="80671"/>
            </a:xfrm>
            <a:custGeom>
              <a:avLst/>
              <a:gdLst>
                <a:gd name="connsiteX0" fmla="*/ 22703 w 22408"/>
                <a:gd name="connsiteY0" fmla="*/ 0 h 80670"/>
                <a:gd name="connsiteX1" fmla="*/ 2535 w 22408"/>
                <a:gd name="connsiteY1" fmla="*/ 0 h 80670"/>
                <a:gd name="connsiteX2" fmla="*/ 294 w 22408"/>
                <a:gd name="connsiteY2" fmla="*/ 1344 h 80670"/>
                <a:gd name="connsiteX3" fmla="*/ 742 w 22408"/>
                <a:gd name="connsiteY3" fmla="*/ 3585 h 80670"/>
                <a:gd name="connsiteX4" fmla="*/ 10154 w 22408"/>
                <a:gd name="connsiteY4" fmla="*/ 14790 h 80670"/>
                <a:gd name="connsiteX5" fmla="*/ 742 w 22408"/>
                <a:gd name="connsiteY5" fmla="*/ 69466 h 80670"/>
                <a:gd name="connsiteX6" fmla="*/ 1191 w 22408"/>
                <a:gd name="connsiteY6" fmla="*/ 71259 h 80670"/>
                <a:gd name="connsiteX7" fmla="*/ 10602 w 22408"/>
                <a:gd name="connsiteY7" fmla="*/ 82463 h 80670"/>
                <a:gd name="connsiteX8" fmla="*/ 12395 w 22408"/>
                <a:gd name="connsiteY8" fmla="*/ 83360 h 80670"/>
                <a:gd name="connsiteX9" fmla="*/ 12395 w 22408"/>
                <a:gd name="connsiteY9" fmla="*/ 83360 h 80670"/>
                <a:gd name="connsiteX10" fmla="*/ 14188 w 22408"/>
                <a:gd name="connsiteY10" fmla="*/ 82463 h 80670"/>
                <a:gd name="connsiteX11" fmla="*/ 23599 w 22408"/>
                <a:gd name="connsiteY11" fmla="*/ 70811 h 80670"/>
                <a:gd name="connsiteX12" fmla="*/ 24047 w 22408"/>
                <a:gd name="connsiteY12" fmla="*/ 69018 h 80670"/>
                <a:gd name="connsiteX13" fmla="*/ 15084 w 22408"/>
                <a:gd name="connsiteY13" fmla="*/ 14341 h 80670"/>
                <a:gd name="connsiteX14" fmla="*/ 24496 w 22408"/>
                <a:gd name="connsiteY14" fmla="*/ 3585 h 80670"/>
                <a:gd name="connsiteX15" fmla="*/ 24944 w 22408"/>
                <a:gd name="connsiteY15" fmla="*/ 1344 h 80670"/>
                <a:gd name="connsiteX16" fmla="*/ 22703 w 22408"/>
                <a:gd name="connsiteY16" fmla="*/ 0 h 80670"/>
                <a:gd name="connsiteX17" fmla="*/ 12395 w 22408"/>
                <a:gd name="connsiteY17" fmla="*/ 77533 h 80670"/>
                <a:gd name="connsiteX18" fmla="*/ 5224 w 22408"/>
                <a:gd name="connsiteY18" fmla="*/ 69018 h 80670"/>
                <a:gd name="connsiteX19" fmla="*/ 12395 w 22408"/>
                <a:gd name="connsiteY19" fmla="*/ 27338 h 80670"/>
                <a:gd name="connsiteX20" fmla="*/ 19118 w 22408"/>
                <a:gd name="connsiteY20" fmla="*/ 68570 h 80670"/>
                <a:gd name="connsiteX21" fmla="*/ 12395 w 22408"/>
                <a:gd name="connsiteY21" fmla="*/ 77533 h 80670"/>
                <a:gd name="connsiteX22" fmla="*/ 12395 w 22408"/>
                <a:gd name="connsiteY22" fmla="*/ 10756 h 80670"/>
                <a:gd name="connsiteX23" fmla="*/ 7017 w 22408"/>
                <a:gd name="connsiteY23" fmla="*/ 4482 h 80670"/>
                <a:gd name="connsiteX24" fmla="*/ 17773 w 22408"/>
                <a:gd name="connsiteY24" fmla="*/ 4482 h 80670"/>
                <a:gd name="connsiteX25" fmla="*/ 12395 w 22408"/>
                <a:gd name="connsiteY25" fmla="*/ 10756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408" h="80670">
                  <a:moveTo>
                    <a:pt x="22703" y="0"/>
                  </a:moveTo>
                  <a:lnTo>
                    <a:pt x="2535" y="0"/>
                  </a:lnTo>
                  <a:cubicBezTo>
                    <a:pt x="1639" y="0"/>
                    <a:pt x="742" y="448"/>
                    <a:pt x="294" y="1344"/>
                  </a:cubicBezTo>
                  <a:cubicBezTo>
                    <a:pt x="-154" y="2241"/>
                    <a:pt x="-154" y="3137"/>
                    <a:pt x="742" y="3585"/>
                  </a:cubicBezTo>
                  <a:lnTo>
                    <a:pt x="10154" y="14790"/>
                  </a:lnTo>
                  <a:lnTo>
                    <a:pt x="742" y="69466"/>
                  </a:lnTo>
                  <a:cubicBezTo>
                    <a:pt x="742" y="69915"/>
                    <a:pt x="742" y="70811"/>
                    <a:pt x="1191" y="71259"/>
                  </a:cubicBezTo>
                  <a:lnTo>
                    <a:pt x="10602" y="82463"/>
                  </a:lnTo>
                  <a:cubicBezTo>
                    <a:pt x="11050" y="82912"/>
                    <a:pt x="11499" y="83360"/>
                    <a:pt x="12395" y="83360"/>
                  </a:cubicBezTo>
                  <a:cubicBezTo>
                    <a:pt x="12395" y="83360"/>
                    <a:pt x="12395" y="83360"/>
                    <a:pt x="12395" y="83360"/>
                  </a:cubicBezTo>
                  <a:cubicBezTo>
                    <a:pt x="12843" y="83360"/>
                    <a:pt x="13739" y="82912"/>
                    <a:pt x="14188" y="82463"/>
                  </a:cubicBezTo>
                  <a:lnTo>
                    <a:pt x="23599" y="70811"/>
                  </a:lnTo>
                  <a:cubicBezTo>
                    <a:pt x="24047" y="70363"/>
                    <a:pt x="24047" y="69466"/>
                    <a:pt x="24047" y="69018"/>
                  </a:cubicBezTo>
                  <a:lnTo>
                    <a:pt x="15084" y="14341"/>
                  </a:lnTo>
                  <a:lnTo>
                    <a:pt x="24496" y="3585"/>
                  </a:lnTo>
                  <a:cubicBezTo>
                    <a:pt x="24944" y="3137"/>
                    <a:pt x="25392" y="1793"/>
                    <a:pt x="24944" y="1344"/>
                  </a:cubicBezTo>
                  <a:cubicBezTo>
                    <a:pt x="24047" y="448"/>
                    <a:pt x="23599" y="0"/>
                    <a:pt x="22703" y="0"/>
                  </a:cubicBezTo>
                  <a:close/>
                  <a:moveTo>
                    <a:pt x="12395" y="77533"/>
                  </a:moveTo>
                  <a:lnTo>
                    <a:pt x="5224" y="69018"/>
                  </a:lnTo>
                  <a:lnTo>
                    <a:pt x="12395" y="27338"/>
                  </a:lnTo>
                  <a:lnTo>
                    <a:pt x="19118" y="68570"/>
                  </a:lnTo>
                  <a:lnTo>
                    <a:pt x="12395" y="77533"/>
                  </a:lnTo>
                  <a:close/>
                  <a:moveTo>
                    <a:pt x="12395" y="10756"/>
                  </a:moveTo>
                  <a:lnTo>
                    <a:pt x="7017" y="4482"/>
                  </a:lnTo>
                  <a:lnTo>
                    <a:pt x="17773" y="4482"/>
                  </a:lnTo>
                  <a:lnTo>
                    <a:pt x="12395" y="10756"/>
                  </a:lnTo>
                  <a:close/>
                </a:path>
              </a:pathLst>
            </a:custGeom>
            <a:solidFill>
              <a:srgbClr val="231F20"/>
            </a:solidFill>
            <a:ln w="4477" cap="flat">
              <a:noFill/>
              <a:prstDash val="solid"/>
              <a:miter/>
            </a:ln>
          </p:spPr>
          <p:txBody>
            <a:bodyPr rtlCol="0" anchor="ctr"/>
            <a:lstStyle/>
            <a:p>
              <a:endParaRPr lang="en-US"/>
            </a:p>
          </p:txBody>
        </p:sp>
        <p:sp>
          <p:nvSpPr>
            <p:cNvPr id="2702" name="Freeform: Shape 2701">
              <a:extLst>
                <a:ext uri="{FF2B5EF4-FFF2-40B4-BE49-F238E27FC236}">
                  <a16:creationId xmlns:a16="http://schemas.microsoft.com/office/drawing/2014/main" id="{A5740464-FCC9-4422-A953-0E3AE116D6D7}"/>
                </a:ext>
              </a:extLst>
            </p:cNvPr>
            <p:cNvSpPr/>
            <p:nvPr/>
          </p:nvSpPr>
          <p:spPr>
            <a:xfrm>
              <a:off x="8335528" y="3143894"/>
              <a:ext cx="138933" cy="152378"/>
            </a:xfrm>
            <a:custGeom>
              <a:avLst/>
              <a:gdLst>
                <a:gd name="connsiteX0" fmla="*/ 142518 w 138932"/>
                <a:gd name="connsiteY0" fmla="*/ 132215 h 152377"/>
                <a:gd name="connsiteX1" fmla="*/ 142518 w 138932"/>
                <a:gd name="connsiteY1" fmla="*/ 131318 h 152377"/>
                <a:gd name="connsiteX2" fmla="*/ 105768 w 138932"/>
                <a:gd name="connsiteY2" fmla="*/ 93672 h 152377"/>
                <a:gd name="connsiteX3" fmla="*/ 89634 w 138932"/>
                <a:gd name="connsiteY3" fmla="*/ 76642 h 152377"/>
                <a:gd name="connsiteX4" fmla="*/ 90082 w 138932"/>
                <a:gd name="connsiteY4" fmla="*/ 73504 h 152377"/>
                <a:gd name="connsiteX5" fmla="*/ 93668 w 138932"/>
                <a:gd name="connsiteY5" fmla="*/ 70367 h 152377"/>
                <a:gd name="connsiteX6" fmla="*/ 103527 w 138932"/>
                <a:gd name="connsiteY6" fmla="*/ 43029 h 152377"/>
                <a:gd name="connsiteX7" fmla="*/ 103975 w 138932"/>
                <a:gd name="connsiteY7" fmla="*/ 40340 h 152377"/>
                <a:gd name="connsiteX8" fmla="*/ 103975 w 138932"/>
                <a:gd name="connsiteY8" fmla="*/ 22861 h 152377"/>
                <a:gd name="connsiteX9" fmla="*/ 71259 w 138932"/>
                <a:gd name="connsiteY9" fmla="*/ 4 h 152377"/>
                <a:gd name="connsiteX10" fmla="*/ 38991 w 138932"/>
                <a:gd name="connsiteY10" fmla="*/ 22861 h 152377"/>
                <a:gd name="connsiteX11" fmla="*/ 38991 w 138932"/>
                <a:gd name="connsiteY11" fmla="*/ 40340 h 152377"/>
                <a:gd name="connsiteX12" fmla="*/ 38991 w 138932"/>
                <a:gd name="connsiteY12" fmla="*/ 41684 h 152377"/>
                <a:gd name="connsiteX13" fmla="*/ 49747 w 138932"/>
                <a:gd name="connsiteY13" fmla="*/ 69919 h 152377"/>
                <a:gd name="connsiteX14" fmla="*/ 52436 w 138932"/>
                <a:gd name="connsiteY14" fmla="*/ 72608 h 152377"/>
                <a:gd name="connsiteX15" fmla="*/ 52884 w 138932"/>
                <a:gd name="connsiteY15" fmla="*/ 76642 h 152377"/>
                <a:gd name="connsiteX16" fmla="*/ 36750 w 138932"/>
                <a:gd name="connsiteY16" fmla="*/ 93672 h 152377"/>
                <a:gd name="connsiteX17" fmla="*/ 0 w 138932"/>
                <a:gd name="connsiteY17" fmla="*/ 131318 h 152377"/>
                <a:gd name="connsiteX18" fmla="*/ 0 w 138932"/>
                <a:gd name="connsiteY18" fmla="*/ 134007 h 152377"/>
                <a:gd name="connsiteX19" fmla="*/ 0 w 138932"/>
                <a:gd name="connsiteY19" fmla="*/ 150141 h 152377"/>
                <a:gd name="connsiteX20" fmla="*/ 2241 w 138932"/>
                <a:gd name="connsiteY20" fmla="*/ 152382 h 152377"/>
                <a:gd name="connsiteX21" fmla="*/ 2241 w 138932"/>
                <a:gd name="connsiteY21" fmla="*/ 152382 h 152377"/>
                <a:gd name="connsiteX22" fmla="*/ 4482 w 138932"/>
                <a:gd name="connsiteY22" fmla="*/ 150141 h 152377"/>
                <a:gd name="connsiteX23" fmla="*/ 4482 w 138932"/>
                <a:gd name="connsiteY23" fmla="*/ 134007 h 152377"/>
                <a:gd name="connsiteX24" fmla="*/ 4482 w 138932"/>
                <a:gd name="connsiteY24" fmla="*/ 131318 h 152377"/>
                <a:gd name="connsiteX25" fmla="*/ 36750 w 138932"/>
                <a:gd name="connsiteY25" fmla="*/ 98154 h 152377"/>
                <a:gd name="connsiteX26" fmla="*/ 57366 w 138932"/>
                <a:gd name="connsiteY26" fmla="*/ 76642 h 152377"/>
                <a:gd name="connsiteX27" fmla="*/ 57366 w 138932"/>
                <a:gd name="connsiteY27" fmla="*/ 75745 h 152377"/>
                <a:gd name="connsiteX28" fmla="*/ 71707 w 138932"/>
                <a:gd name="connsiteY28" fmla="*/ 79330 h 152377"/>
                <a:gd name="connsiteX29" fmla="*/ 72155 w 138932"/>
                <a:gd name="connsiteY29" fmla="*/ 79330 h 152377"/>
                <a:gd name="connsiteX30" fmla="*/ 85601 w 138932"/>
                <a:gd name="connsiteY30" fmla="*/ 76642 h 152377"/>
                <a:gd name="connsiteX31" fmla="*/ 85601 w 138932"/>
                <a:gd name="connsiteY31" fmla="*/ 77090 h 152377"/>
                <a:gd name="connsiteX32" fmla="*/ 106216 w 138932"/>
                <a:gd name="connsiteY32" fmla="*/ 98602 h 152377"/>
                <a:gd name="connsiteX33" fmla="*/ 138485 w 138932"/>
                <a:gd name="connsiteY33" fmla="*/ 131766 h 152377"/>
                <a:gd name="connsiteX34" fmla="*/ 138485 w 138932"/>
                <a:gd name="connsiteY34" fmla="*/ 132663 h 152377"/>
                <a:gd name="connsiteX35" fmla="*/ 138485 w 138932"/>
                <a:gd name="connsiteY35" fmla="*/ 150590 h 152377"/>
                <a:gd name="connsiteX36" fmla="*/ 140725 w 138932"/>
                <a:gd name="connsiteY36" fmla="*/ 152831 h 152377"/>
                <a:gd name="connsiteX37" fmla="*/ 140725 w 138932"/>
                <a:gd name="connsiteY37" fmla="*/ 152831 h 152377"/>
                <a:gd name="connsiteX38" fmla="*/ 142966 w 138932"/>
                <a:gd name="connsiteY38" fmla="*/ 150590 h 152377"/>
                <a:gd name="connsiteX39" fmla="*/ 142518 w 138932"/>
                <a:gd name="connsiteY39" fmla="*/ 132215 h 152377"/>
                <a:gd name="connsiteX40" fmla="*/ 71707 w 138932"/>
                <a:gd name="connsiteY40" fmla="*/ 75297 h 152377"/>
                <a:gd name="connsiteX41" fmla="*/ 71707 w 138932"/>
                <a:gd name="connsiteY41" fmla="*/ 75297 h 152377"/>
                <a:gd name="connsiteX42" fmla="*/ 71707 w 138932"/>
                <a:gd name="connsiteY42" fmla="*/ 75297 h 152377"/>
                <a:gd name="connsiteX43" fmla="*/ 52884 w 138932"/>
                <a:gd name="connsiteY43" fmla="*/ 67678 h 152377"/>
                <a:gd name="connsiteX44" fmla="*/ 43472 w 138932"/>
                <a:gd name="connsiteY44" fmla="*/ 41684 h 152377"/>
                <a:gd name="connsiteX45" fmla="*/ 43472 w 138932"/>
                <a:gd name="connsiteY45" fmla="*/ 40340 h 152377"/>
                <a:gd name="connsiteX46" fmla="*/ 43472 w 138932"/>
                <a:gd name="connsiteY46" fmla="*/ 24206 h 152377"/>
                <a:gd name="connsiteX47" fmla="*/ 71707 w 138932"/>
                <a:gd name="connsiteY47" fmla="*/ 4934 h 152377"/>
                <a:gd name="connsiteX48" fmla="*/ 99942 w 138932"/>
                <a:gd name="connsiteY48" fmla="*/ 24206 h 152377"/>
                <a:gd name="connsiteX49" fmla="*/ 99942 w 138932"/>
                <a:gd name="connsiteY49" fmla="*/ 40340 h 152377"/>
                <a:gd name="connsiteX50" fmla="*/ 99494 w 138932"/>
                <a:gd name="connsiteY50" fmla="*/ 43029 h 152377"/>
                <a:gd name="connsiteX51" fmla="*/ 90530 w 138932"/>
                <a:gd name="connsiteY51" fmla="*/ 68126 h 152377"/>
                <a:gd name="connsiteX52" fmla="*/ 71707 w 138932"/>
                <a:gd name="connsiteY52"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8932" h="152377">
                  <a:moveTo>
                    <a:pt x="142518" y="132215"/>
                  </a:moveTo>
                  <a:lnTo>
                    <a:pt x="142518" y="131318"/>
                  </a:lnTo>
                  <a:cubicBezTo>
                    <a:pt x="142070" y="110254"/>
                    <a:pt x="125936" y="93672"/>
                    <a:pt x="105768" y="93672"/>
                  </a:cubicBezTo>
                  <a:cubicBezTo>
                    <a:pt x="96805" y="93672"/>
                    <a:pt x="89634" y="86053"/>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2"/>
                  </a:cubicBezTo>
                  <a:cubicBezTo>
                    <a:pt x="52884" y="86053"/>
                    <a:pt x="45713" y="93672"/>
                    <a:pt x="36750" y="93672"/>
                  </a:cubicBezTo>
                  <a:cubicBezTo>
                    <a:pt x="16582" y="93672"/>
                    <a:pt x="448" y="110254"/>
                    <a:pt x="0" y="131318"/>
                  </a:cubicBezTo>
                  <a:lnTo>
                    <a:pt x="0" y="134007"/>
                  </a:lnTo>
                  <a:cubicBezTo>
                    <a:pt x="0" y="139385"/>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3"/>
                    <a:pt x="4482" y="138937"/>
                    <a:pt x="4482" y="134007"/>
                  </a:cubicBezTo>
                  <a:lnTo>
                    <a:pt x="4482" y="131318"/>
                  </a:lnTo>
                  <a:cubicBezTo>
                    <a:pt x="4930" y="112943"/>
                    <a:pt x="19271" y="98154"/>
                    <a:pt x="36750" y="98154"/>
                  </a:cubicBezTo>
                  <a:cubicBezTo>
                    <a:pt x="47954" y="98154"/>
                    <a:pt x="57366" y="88742"/>
                    <a:pt x="57366" y="76642"/>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1" y="76642"/>
                  </a:cubicBezTo>
                  <a:cubicBezTo>
                    <a:pt x="85601" y="76642"/>
                    <a:pt x="85601" y="76642"/>
                    <a:pt x="85601" y="77090"/>
                  </a:cubicBezTo>
                  <a:cubicBezTo>
                    <a:pt x="85601" y="88742"/>
                    <a:pt x="94564" y="98602"/>
                    <a:pt x="106216" y="98602"/>
                  </a:cubicBezTo>
                  <a:cubicBezTo>
                    <a:pt x="123695" y="98602"/>
                    <a:pt x="138036" y="112943"/>
                    <a:pt x="138485" y="131766"/>
                  </a:cubicBezTo>
                  <a:lnTo>
                    <a:pt x="138485" y="132663"/>
                  </a:lnTo>
                  <a:cubicBezTo>
                    <a:pt x="138485" y="138937"/>
                    <a:pt x="138485" y="145212"/>
                    <a:pt x="138485" y="150590"/>
                  </a:cubicBezTo>
                  <a:cubicBezTo>
                    <a:pt x="138485" y="151934"/>
                    <a:pt x="139381" y="152831"/>
                    <a:pt x="140725" y="152831"/>
                  </a:cubicBezTo>
                  <a:cubicBezTo>
                    <a:pt x="140725" y="152831"/>
                    <a:pt x="140725" y="152831"/>
                    <a:pt x="140725" y="152831"/>
                  </a:cubicBezTo>
                  <a:cubicBezTo>
                    <a:pt x="142070" y="152831"/>
                    <a:pt x="142966" y="151934"/>
                    <a:pt x="142966" y="150590"/>
                  </a:cubicBezTo>
                  <a:cubicBezTo>
                    <a:pt x="142518" y="145212"/>
                    <a:pt x="142518" y="138937"/>
                    <a:pt x="142518" y="132215"/>
                  </a:cubicBezTo>
                  <a:close/>
                  <a:moveTo>
                    <a:pt x="71707" y="75297"/>
                  </a:moveTo>
                  <a:cubicBezTo>
                    <a:pt x="71259" y="75297"/>
                    <a:pt x="71707" y="75297"/>
                    <a:pt x="71707" y="75297"/>
                  </a:cubicBezTo>
                  <a:cubicBezTo>
                    <a:pt x="71707" y="75297"/>
                    <a:pt x="71707" y="75297"/>
                    <a:pt x="71707" y="75297"/>
                  </a:cubicBezTo>
                  <a:cubicBezTo>
                    <a:pt x="71259" y="75297"/>
                    <a:pt x="59158" y="75297"/>
                    <a:pt x="52884" y="67678"/>
                  </a:cubicBezTo>
                  <a:cubicBezTo>
                    <a:pt x="46161" y="60059"/>
                    <a:pt x="44369" y="49303"/>
                    <a:pt x="43472" y="41684"/>
                  </a:cubicBezTo>
                  <a:lnTo>
                    <a:pt x="43472" y="40340"/>
                  </a:lnTo>
                  <a:cubicBezTo>
                    <a:pt x="42128" y="31825"/>
                    <a:pt x="43472" y="24206"/>
                    <a:pt x="43472" y="24206"/>
                  </a:cubicBezTo>
                  <a:cubicBezTo>
                    <a:pt x="47506" y="4486"/>
                    <a:pt x="70363" y="4934"/>
                    <a:pt x="71707" y="4934"/>
                  </a:cubicBezTo>
                  <a:cubicBezTo>
                    <a:pt x="72603" y="4934"/>
                    <a:pt x="95908" y="4486"/>
                    <a:pt x="99942" y="24206"/>
                  </a:cubicBezTo>
                  <a:cubicBezTo>
                    <a:pt x="99942" y="24206"/>
                    <a:pt x="101286" y="31376"/>
                    <a:pt x="99942" y="40340"/>
                  </a:cubicBezTo>
                  <a:lnTo>
                    <a:pt x="99494" y="43029"/>
                  </a:lnTo>
                  <a:cubicBezTo>
                    <a:pt x="98149" y="51096"/>
                    <a:pt x="96805" y="60956"/>
                    <a:pt x="90530" y="68126"/>
                  </a:cubicBezTo>
                  <a:cubicBezTo>
                    <a:pt x="84256" y="74849"/>
                    <a:pt x="73500" y="75297"/>
                    <a:pt x="71707" y="75297"/>
                  </a:cubicBezTo>
                  <a:close/>
                </a:path>
              </a:pathLst>
            </a:custGeom>
            <a:solidFill>
              <a:srgbClr val="231F20"/>
            </a:solidFill>
            <a:ln w="4477" cap="flat">
              <a:noFill/>
              <a:prstDash val="solid"/>
              <a:miter/>
            </a:ln>
          </p:spPr>
          <p:txBody>
            <a:bodyPr rtlCol="0" anchor="ctr"/>
            <a:lstStyle/>
            <a:p>
              <a:endParaRPr lang="en-US"/>
            </a:p>
          </p:txBody>
        </p:sp>
      </p:grpSp>
      <p:grpSp>
        <p:nvGrpSpPr>
          <p:cNvPr id="2608" name="Group 2607">
            <a:extLst>
              <a:ext uri="{FF2B5EF4-FFF2-40B4-BE49-F238E27FC236}">
                <a16:creationId xmlns:a16="http://schemas.microsoft.com/office/drawing/2014/main" id="{165EB9E6-D37E-4966-9AB0-84D19C020174}"/>
              </a:ext>
              <a:ext uri="{C183D7F6-B498-43B3-948B-1728B52AA6E4}">
                <adec:decorative xmlns:adec="http://schemas.microsoft.com/office/drawing/2017/decorative" val="1"/>
              </a:ext>
            </a:extLst>
          </p:cNvPr>
          <p:cNvGrpSpPr>
            <a:grpSpLocks noChangeAspect="1"/>
          </p:cNvGrpSpPr>
          <p:nvPr/>
        </p:nvGrpSpPr>
        <p:grpSpPr>
          <a:xfrm>
            <a:off x="8539863" y="5213030"/>
            <a:ext cx="138933" cy="152378"/>
            <a:chOff x="8596363" y="3157339"/>
            <a:chExt cx="138933" cy="152378"/>
          </a:xfrm>
        </p:grpSpPr>
        <p:sp>
          <p:nvSpPr>
            <p:cNvPr id="2699" name="Freeform: Shape 2698">
              <a:extLst>
                <a:ext uri="{FF2B5EF4-FFF2-40B4-BE49-F238E27FC236}">
                  <a16:creationId xmlns:a16="http://schemas.microsoft.com/office/drawing/2014/main" id="{16D0C2F2-DE0F-4537-814E-9B222B2105A1}"/>
                </a:ext>
              </a:extLst>
            </p:cNvPr>
            <p:cNvSpPr/>
            <p:nvPr/>
          </p:nvSpPr>
          <p:spPr>
            <a:xfrm>
              <a:off x="8642973" y="3190060"/>
              <a:ext cx="44817" cy="13445"/>
            </a:xfrm>
            <a:custGeom>
              <a:avLst/>
              <a:gdLst>
                <a:gd name="connsiteX0" fmla="*/ 48851 w 44817"/>
                <a:gd name="connsiteY0" fmla="*/ 7171 h 13445"/>
                <a:gd name="connsiteX1" fmla="*/ 48851 w 44817"/>
                <a:gd name="connsiteY1" fmla="*/ 7171 h 13445"/>
                <a:gd name="connsiteX2" fmla="*/ 48851 w 44817"/>
                <a:gd name="connsiteY2" fmla="*/ 2241 h 13445"/>
                <a:gd name="connsiteX3" fmla="*/ 46610 w 44817"/>
                <a:gd name="connsiteY3" fmla="*/ 0 h 13445"/>
                <a:gd name="connsiteX4" fmla="*/ 45713 w 44817"/>
                <a:gd name="connsiteY4" fmla="*/ 0 h 13445"/>
                <a:gd name="connsiteX5" fmla="*/ 27338 w 44817"/>
                <a:gd name="connsiteY5" fmla="*/ 0 h 13445"/>
                <a:gd name="connsiteX6" fmla="*/ 27338 w 44817"/>
                <a:gd name="connsiteY6" fmla="*/ 0 h 13445"/>
                <a:gd name="connsiteX7" fmla="*/ 27338 w 44817"/>
                <a:gd name="connsiteY7" fmla="*/ 0 h 13445"/>
                <a:gd name="connsiteX8" fmla="*/ 21512 w 44817"/>
                <a:gd name="connsiteY8" fmla="*/ 0 h 13445"/>
                <a:gd name="connsiteX9" fmla="*/ 21512 w 44817"/>
                <a:gd name="connsiteY9" fmla="*/ 0 h 13445"/>
                <a:gd name="connsiteX10" fmla="*/ 21512 w 44817"/>
                <a:gd name="connsiteY10" fmla="*/ 0 h 13445"/>
                <a:gd name="connsiteX11" fmla="*/ 3137 w 44817"/>
                <a:gd name="connsiteY11" fmla="*/ 0 h 13445"/>
                <a:gd name="connsiteX12" fmla="*/ 2241 w 44817"/>
                <a:gd name="connsiteY12" fmla="*/ 0 h 13445"/>
                <a:gd name="connsiteX13" fmla="*/ 0 w 44817"/>
                <a:gd name="connsiteY13" fmla="*/ 2241 h 13445"/>
                <a:gd name="connsiteX14" fmla="*/ 0 w 44817"/>
                <a:gd name="connsiteY14" fmla="*/ 7171 h 13445"/>
                <a:gd name="connsiteX15" fmla="*/ 0 w 44817"/>
                <a:gd name="connsiteY15" fmla="*/ 7171 h 13445"/>
                <a:gd name="connsiteX16" fmla="*/ 11652 w 44817"/>
                <a:gd name="connsiteY16" fmla="*/ 17479 h 13445"/>
                <a:gd name="connsiteX17" fmla="*/ 23305 w 44817"/>
                <a:gd name="connsiteY17" fmla="*/ 7171 h 13445"/>
                <a:gd name="connsiteX18" fmla="*/ 23305 w 44817"/>
                <a:gd name="connsiteY18" fmla="*/ 4482 h 13445"/>
                <a:gd name="connsiteX19" fmla="*/ 25097 w 44817"/>
                <a:gd name="connsiteY19" fmla="*/ 4482 h 13445"/>
                <a:gd name="connsiteX20" fmla="*/ 25097 w 44817"/>
                <a:gd name="connsiteY20" fmla="*/ 7171 h 13445"/>
                <a:gd name="connsiteX21" fmla="*/ 36750 w 44817"/>
                <a:gd name="connsiteY21" fmla="*/ 17479 h 13445"/>
                <a:gd name="connsiteX22" fmla="*/ 48851 w 44817"/>
                <a:gd name="connsiteY22" fmla="*/ 7171 h 13445"/>
                <a:gd name="connsiteX23" fmla="*/ 19271 w 44817"/>
                <a:gd name="connsiteY23" fmla="*/ 7171 h 13445"/>
                <a:gd name="connsiteX24" fmla="*/ 12101 w 44817"/>
                <a:gd name="connsiteY24" fmla="*/ 12997 h 13445"/>
                <a:gd name="connsiteX25" fmla="*/ 4930 w 44817"/>
                <a:gd name="connsiteY25" fmla="*/ 7171 h 13445"/>
                <a:gd name="connsiteX26" fmla="*/ 4930 w 44817"/>
                <a:gd name="connsiteY26" fmla="*/ 4482 h 13445"/>
                <a:gd name="connsiteX27" fmla="*/ 19719 w 44817"/>
                <a:gd name="connsiteY27" fmla="*/ 4482 h 13445"/>
                <a:gd name="connsiteX28" fmla="*/ 19719 w 44817"/>
                <a:gd name="connsiteY28" fmla="*/ 7171 h 13445"/>
                <a:gd name="connsiteX29" fmla="*/ 37198 w 44817"/>
                <a:gd name="connsiteY29" fmla="*/ 12997 h 13445"/>
                <a:gd name="connsiteX30" fmla="*/ 30027 w 44817"/>
                <a:gd name="connsiteY30" fmla="*/ 7171 h 13445"/>
                <a:gd name="connsiteX31" fmla="*/ 30027 w 44817"/>
                <a:gd name="connsiteY31" fmla="*/ 4482 h 13445"/>
                <a:gd name="connsiteX32" fmla="*/ 44817 w 44817"/>
                <a:gd name="connsiteY32" fmla="*/ 4482 h 13445"/>
                <a:gd name="connsiteX33" fmla="*/ 44817 w 44817"/>
                <a:gd name="connsiteY33" fmla="*/ 7171 h 13445"/>
                <a:gd name="connsiteX34" fmla="*/ 44817 w 44817"/>
                <a:gd name="connsiteY34" fmla="*/ 7171 h 13445"/>
                <a:gd name="connsiteX35" fmla="*/ 37198 w 44817"/>
                <a:gd name="connsiteY35" fmla="*/ 12997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4817" h="13445">
                  <a:moveTo>
                    <a:pt x="48851" y="7171"/>
                  </a:moveTo>
                  <a:cubicBezTo>
                    <a:pt x="48851" y="7171"/>
                    <a:pt x="48851" y="7171"/>
                    <a:pt x="48851" y="7171"/>
                  </a:cubicBezTo>
                  <a:lnTo>
                    <a:pt x="48851" y="2241"/>
                  </a:lnTo>
                  <a:cubicBezTo>
                    <a:pt x="48851" y="896"/>
                    <a:pt x="47954" y="0"/>
                    <a:pt x="46610" y="0"/>
                  </a:cubicBezTo>
                  <a:lnTo>
                    <a:pt x="45713" y="0"/>
                  </a:lnTo>
                  <a:lnTo>
                    <a:pt x="27338" y="0"/>
                  </a:lnTo>
                  <a:cubicBezTo>
                    <a:pt x="27338" y="0"/>
                    <a:pt x="27338" y="0"/>
                    <a:pt x="27338" y="0"/>
                  </a:cubicBezTo>
                  <a:cubicBezTo>
                    <a:pt x="27338" y="0"/>
                    <a:pt x="27338" y="0"/>
                    <a:pt x="27338" y="0"/>
                  </a:cubicBezTo>
                  <a:lnTo>
                    <a:pt x="21512" y="0"/>
                  </a:lnTo>
                  <a:cubicBezTo>
                    <a:pt x="21512" y="0"/>
                    <a:pt x="21512" y="0"/>
                    <a:pt x="21512" y="0"/>
                  </a:cubicBezTo>
                  <a:cubicBezTo>
                    <a:pt x="21512" y="0"/>
                    <a:pt x="21512" y="0"/>
                    <a:pt x="21512" y="0"/>
                  </a:cubicBezTo>
                  <a:lnTo>
                    <a:pt x="3137" y="0"/>
                  </a:lnTo>
                  <a:lnTo>
                    <a:pt x="2241" y="0"/>
                  </a:lnTo>
                  <a:cubicBezTo>
                    <a:pt x="896" y="0"/>
                    <a:pt x="0" y="896"/>
                    <a:pt x="0" y="2241"/>
                  </a:cubicBezTo>
                  <a:lnTo>
                    <a:pt x="0" y="7171"/>
                  </a:lnTo>
                  <a:cubicBezTo>
                    <a:pt x="0" y="7171"/>
                    <a:pt x="0" y="7171"/>
                    <a:pt x="0" y="7171"/>
                  </a:cubicBezTo>
                  <a:cubicBezTo>
                    <a:pt x="0" y="12997"/>
                    <a:pt x="5378" y="17479"/>
                    <a:pt x="11652" y="17479"/>
                  </a:cubicBezTo>
                  <a:cubicBezTo>
                    <a:pt x="18375" y="17479"/>
                    <a:pt x="23305" y="12997"/>
                    <a:pt x="23305" y="7171"/>
                  </a:cubicBezTo>
                  <a:lnTo>
                    <a:pt x="23305" y="4482"/>
                  </a:lnTo>
                  <a:lnTo>
                    <a:pt x="25097" y="4482"/>
                  </a:lnTo>
                  <a:lnTo>
                    <a:pt x="25097" y="7171"/>
                  </a:lnTo>
                  <a:cubicBezTo>
                    <a:pt x="25097" y="12997"/>
                    <a:pt x="30476" y="17479"/>
                    <a:pt x="36750" y="17479"/>
                  </a:cubicBezTo>
                  <a:cubicBezTo>
                    <a:pt x="43024" y="17479"/>
                    <a:pt x="48851" y="12997"/>
                    <a:pt x="48851" y="7171"/>
                  </a:cubicBezTo>
                  <a:close/>
                  <a:moveTo>
                    <a:pt x="19271" y="7171"/>
                  </a:moveTo>
                  <a:cubicBezTo>
                    <a:pt x="19271" y="10308"/>
                    <a:pt x="16134" y="12997"/>
                    <a:pt x="12101" y="12997"/>
                  </a:cubicBezTo>
                  <a:cubicBezTo>
                    <a:pt x="8067" y="12997"/>
                    <a:pt x="4930" y="10308"/>
                    <a:pt x="4930" y="7171"/>
                  </a:cubicBezTo>
                  <a:lnTo>
                    <a:pt x="4930" y="4482"/>
                  </a:lnTo>
                  <a:lnTo>
                    <a:pt x="19719" y="4482"/>
                  </a:lnTo>
                  <a:lnTo>
                    <a:pt x="19719" y="7171"/>
                  </a:lnTo>
                  <a:close/>
                  <a:moveTo>
                    <a:pt x="37198" y="12997"/>
                  </a:moveTo>
                  <a:cubicBezTo>
                    <a:pt x="33165" y="12997"/>
                    <a:pt x="30027" y="10308"/>
                    <a:pt x="30027" y="7171"/>
                  </a:cubicBezTo>
                  <a:lnTo>
                    <a:pt x="30027" y="4482"/>
                  </a:lnTo>
                  <a:lnTo>
                    <a:pt x="44817" y="4482"/>
                  </a:lnTo>
                  <a:lnTo>
                    <a:pt x="44817" y="7171"/>
                  </a:lnTo>
                  <a:cubicBezTo>
                    <a:pt x="44817" y="7171"/>
                    <a:pt x="44817" y="7171"/>
                    <a:pt x="44817" y="7171"/>
                  </a:cubicBezTo>
                  <a:cubicBezTo>
                    <a:pt x="44369" y="10308"/>
                    <a:pt x="41232" y="12997"/>
                    <a:pt x="37198" y="12997"/>
                  </a:cubicBezTo>
                  <a:close/>
                </a:path>
              </a:pathLst>
            </a:custGeom>
            <a:solidFill>
              <a:srgbClr val="231F20"/>
            </a:solidFill>
            <a:ln w="4477" cap="flat">
              <a:noFill/>
              <a:prstDash val="solid"/>
              <a:miter/>
            </a:ln>
          </p:spPr>
          <p:txBody>
            <a:bodyPr rtlCol="0" anchor="ctr"/>
            <a:lstStyle/>
            <a:p>
              <a:endParaRPr lang="en-US"/>
            </a:p>
          </p:txBody>
        </p:sp>
        <p:sp>
          <p:nvSpPr>
            <p:cNvPr id="2700" name="Freeform: Shape 2699">
              <a:extLst>
                <a:ext uri="{FF2B5EF4-FFF2-40B4-BE49-F238E27FC236}">
                  <a16:creationId xmlns:a16="http://schemas.microsoft.com/office/drawing/2014/main" id="{CD5EE0BC-28AD-413E-8068-117F6EECFA66}"/>
                </a:ext>
              </a:extLst>
            </p:cNvPr>
            <p:cNvSpPr/>
            <p:nvPr/>
          </p:nvSpPr>
          <p:spPr>
            <a:xfrm>
              <a:off x="8596363" y="3157339"/>
              <a:ext cx="138933" cy="152378"/>
            </a:xfrm>
            <a:custGeom>
              <a:avLst/>
              <a:gdLst>
                <a:gd name="connsiteX0" fmla="*/ 142518 w 138932"/>
                <a:gd name="connsiteY0" fmla="*/ 132215 h 152377"/>
                <a:gd name="connsiteX1" fmla="*/ 142518 w 138932"/>
                <a:gd name="connsiteY1" fmla="*/ 131318 h 152377"/>
                <a:gd name="connsiteX2" fmla="*/ 105768 w 138932"/>
                <a:gd name="connsiteY2" fmla="*/ 93672 h 152377"/>
                <a:gd name="connsiteX3" fmla="*/ 89634 w 138932"/>
                <a:gd name="connsiteY3" fmla="*/ 76642 h 152377"/>
                <a:gd name="connsiteX4" fmla="*/ 90082 w 138932"/>
                <a:gd name="connsiteY4" fmla="*/ 73504 h 152377"/>
                <a:gd name="connsiteX5" fmla="*/ 93668 w 138932"/>
                <a:gd name="connsiteY5" fmla="*/ 70367 h 152377"/>
                <a:gd name="connsiteX6" fmla="*/ 103527 w 138932"/>
                <a:gd name="connsiteY6" fmla="*/ 43029 h 152377"/>
                <a:gd name="connsiteX7" fmla="*/ 103976 w 138932"/>
                <a:gd name="connsiteY7" fmla="*/ 40340 h 152377"/>
                <a:gd name="connsiteX8" fmla="*/ 103976 w 138932"/>
                <a:gd name="connsiteY8" fmla="*/ 22861 h 152377"/>
                <a:gd name="connsiteX9" fmla="*/ 71259 w 138932"/>
                <a:gd name="connsiteY9" fmla="*/ 4 h 152377"/>
                <a:gd name="connsiteX10" fmla="*/ 38991 w 138932"/>
                <a:gd name="connsiteY10" fmla="*/ 22861 h 152377"/>
                <a:gd name="connsiteX11" fmla="*/ 38991 w 138932"/>
                <a:gd name="connsiteY11" fmla="*/ 40340 h 152377"/>
                <a:gd name="connsiteX12" fmla="*/ 38991 w 138932"/>
                <a:gd name="connsiteY12" fmla="*/ 41684 h 152377"/>
                <a:gd name="connsiteX13" fmla="*/ 49747 w 138932"/>
                <a:gd name="connsiteY13" fmla="*/ 69919 h 152377"/>
                <a:gd name="connsiteX14" fmla="*/ 52436 w 138932"/>
                <a:gd name="connsiteY14" fmla="*/ 72608 h 152377"/>
                <a:gd name="connsiteX15" fmla="*/ 52884 w 138932"/>
                <a:gd name="connsiteY15" fmla="*/ 76642 h 152377"/>
                <a:gd name="connsiteX16" fmla="*/ 36750 w 138932"/>
                <a:gd name="connsiteY16" fmla="*/ 93672 h 152377"/>
                <a:gd name="connsiteX17" fmla="*/ 0 w 138932"/>
                <a:gd name="connsiteY17" fmla="*/ 131318 h 152377"/>
                <a:gd name="connsiteX18" fmla="*/ 0 w 138932"/>
                <a:gd name="connsiteY18" fmla="*/ 134007 h 152377"/>
                <a:gd name="connsiteX19" fmla="*/ 0 w 138932"/>
                <a:gd name="connsiteY19" fmla="*/ 150590 h 152377"/>
                <a:gd name="connsiteX20" fmla="*/ 2241 w 138932"/>
                <a:gd name="connsiteY20" fmla="*/ 152831 h 152377"/>
                <a:gd name="connsiteX21" fmla="*/ 2241 w 138932"/>
                <a:gd name="connsiteY21" fmla="*/ 152831 h 152377"/>
                <a:gd name="connsiteX22" fmla="*/ 4482 w 138932"/>
                <a:gd name="connsiteY22" fmla="*/ 150590 h 152377"/>
                <a:gd name="connsiteX23" fmla="*/ 4482 w 138932"/>
                <a:gd name="connsiteY23" fmla="*/ 134456 h 152377"/>
                <a:gd name="connsiteX24" fmla="*/ 4482 w 138932"/>
                <a:gd name="connsiteY24" fmla="*/ 131766 h 152377"/>
                <a:gd name="connsiteX25" fmla="*/ 36750 w 138932"/>
                <a:gd name="connsiteY25" fmla="*/ 98602 h 152377"/>
                <a:gd name="connsiteX26" fmla="*/ 57366 w 138932"/>
                <a:gd name="connsiteY26" fmla="*/ 77090 h 152377"/>
                <a:gd name="connsiteX27" fmla="*/ 57366 w 138932"/>
                <a:gd name="connsiteY27" fmla="*/ 76193 h 152377"/>
                <a:gd name="connsiteX28" fmla="*/ 71707 w 138932"/>
                <a:gd name="connsiteY28" fmla="*/ 79779 h 152377"/>
                <a:gd name="connsiteX29" fmla="*/ 72155 w 138932"/>
                <a:gd name="connsiteY29" fmla="*/ 79779 h 152377"/>
                <a:gd name="connsiteX30" fmla="*/ 85601 w 138932"/>
                <a:gd name="connsiteY30" fmla="*/ 77090 h 152377"/>
                <a:gd name="connsiteX31" fmla="*/ 85601 w 138932"/>
                <a:gd name="connsiteY31" fmla="*/ 77538 h 152377"/>
                <a:gd name="connsiteX32" fmla="*/ 106216 w 138932"/>
                <a:gd name="connsiteY32" fmla="*/ 99050 h 152377"/>
                <a:gd name="connsiteX33" fmla="*/ 138485 w 138932"/>
                <a:gd name="connsiteY33" fmla="*/ 132215 h 152377"/>
                <a:gd name="connsiteX34" fmla="*/ 138485 w 138932"/>
                <a:gd name="connsiteY34" fmla="*/ 133111 h 152377"/>
                <a:gd name="connsiteX35" fmla="*/ 138485 w 138932"/>
                <a:gd name="connsiteY35" fmla="*/ 151038 h 152377"/>
                <a:gd name="connsiteX36" fmla="*/ 140726 w 138932"/>
                <a:gd name="connsiteY36" fmla="*/ 153279 h 152377"/>
                <a:gd name="connsiteX37" fmla="*/ 140726 w 138932"/>
                <a:gd name="connsiteY37" fmla="*/ 153279 h 152377"/>
                <a:gd name="connsiteX38" fmla="*/ 142966 w 138932"/>
                <a:gd name="connsiteY38" fmla="*/ 151038 h 152377"/>
                <a:gd name="connsiteX39" fmla="*/ 142518 w 138932"/>
                <a:gd name="connsiteY39" fmla="*/ 132215 h 152377"/>
                <a:gd name="connsiteX40" fmla="*/ 72155 w 138932"/>
                <a:gd name="connsiteY40" fmla="*/ 75297 h 152377"/>
                <a:gd name="connsiteX41" fmla="*/ 72155 w 138932"/>
                <a:gd name="connsiteY41" fmla="*/ 75297 h 152377"/>
                <a:gd name="connsiteX42" fmla="*/ 72155 w 138932"/>
                <a:gd name="connsiteY42" fmla="*/ 75297 h 152377"/>
                <a:gd name="connsiteX43" fmla="*/ 53332 w 138932"/>
                <a:gd name="connsiteY43" fmla="*/ 67678 h 152377"/>
                <a:gd name="connsiteX44" fmla="*/ 43921 w 138932"/>
                <a:gd name="connsiteY44" fmla="*/ 41684 h 152377"/>
                <a:gd name="connsiteX45" fmla="*/ 43921 w 138932"/>
                <a:gd name="connsiteY45" fmla="*/ 40340 h 152377"/>
                <a:gd name="connsiteX46" fmla="*/ 43921 w 138932"/>
                <a:gd name="connsiteY46" fmla="*/ 24206 h 152377"/>
                <a:gd name="connsiteX47" fmla="*/ 72155 w 138932"/>
                <a:gd name="connsiteY47" fmla="*/ 4934 h 152377"/>
                <a:gd name="connsiteX48" fmla="*/ 100390 w 138932"/>
                <a:gd name="connsiteY48" fmla="*/ 24206 h 152377"/>
                <a:gd name="connsiteX49" fmla="*/ 100390 w 138932"/>
                <a:gd name="connsiteY49" fmla="*/ 40340 h 152377"/>
                <a:gd name="connsiteX50" fmla="*/ 99942 w 138932"/>
                <a:gd name="connsiteY50" fmla="*/ 43029 h 152377"/>
                <a:gd name="connsiteX51" fmla="*/ 90979 w 138932"/>
                <a:gd name="connsiteY51" fmla="*/ 68126 h 152377"/>
                <a:gd name="connsiteX52" fmla="*/ 72155 w 138932"/>
                <a:gd name="connsiteY52"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8932" h="152377">
                  <a:moveTo>
                    <a:pt x="142518" y="132215"/>
                  </a:moveTo>
                  <a:lnTo>
                    <a:pt x="142518" y="131318"/>
                  </a:lnTo>
                  <a:cubicBezTo>
                    <a:pt x="142070" y="110254"/>
                    <a:pt x="125936" y="93672"/>
                    <a:pt x="105768" y="93672"/>
                  </a:cubicBezTo>
                  <a:cubicBezTo>
                    <a:pt x="96805" y="93672"/>
                    <a:pt x="89634" y="86053"/>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2"/>
                  </a:cubicBezTo>
                  <a:cubicBezTo>
                    <a:pt x="52884" y="86053"/>
                    <a:pt x="45713" y="93672"/>
                    <a:pt x="36750" y="93672"/>
                  </a:cubicBezTo>
                  <a:cubicBezTo>
                    <a:pt x="16582" y="93672"/>
                    <a:pt x="448" y="110254"/>
                    <a:pt x="0" y="131318"/>
                  </a:cubicBezTo>
                  <a:lnTo>
                    <a:pt x="0" y="134007"/>
                  </a:lnTo>
                  <a:cubicBezTo>
                    <a:pt x="0" y="139385"/>
                    <a:pt x="0" y="145212"/>
                    <a:pt x="0" y="150590"/>
                  </a:cubicBezTo>
                  <a:cubicBezTo>
                    <a:pt x="0" y="151934"/>
                    <a:pt x="896" y="152831"/>
                    <a:pt x="2241" y="152831"/>
                  </a:cubicBezTo>
                  <a:cubicBezTo>
                    <a:pt x="2241" y="152831"/>
                    <a:pt x="2241" y="152831"/>
                    <a:pt x="2241" y="152831"/>
                  </a:cubicBezTo>
                  <a:cubicBezTo>
                    <a:pt x="3585" y="152831"/>
                    <a:pt x="4482" y="151934"/>
                    <a:pt x="4482" y="150590"/>
                  </a:cubicBezTo>
                  <a:cubicBezTo>
                    <a:pt x="4482" y="145212"/>
                    <a:pt x="4482" y="139385"/>
                    <a:pt x="4482" y="134456"/>
                  </a:cubicBezTo>
                  <a:lnTo>
                    <a:pt x="4482" y="131766"/>
                  </a:lnTo>
                  <a:cubicBezTo>
                    <a:pt x="4930" y="113391"/>
                    <a:pt x="19271" y="98602"/>
                    <a:pt x="36750" y="98602"/>
                  </a:cubicBezTo>
                  <a:cubicBezTo>
                    <a:pt x="47954" y="98602"/>
                    <a:pt x="57366" y="89190"/>
                    <a:pt x="57366" y="77090"/>
                  </a:cubicBezTo>
                  <a:cubicBezTo>
                    <a:pt x="57366" y="76642"/>
                    <a:pt x="57366" y="76642"/>
                    <a:pt x="57366" y="76193"/>
                  </a:cubicBezTo>
                  <a:cubicBezTo>
                    <a:pt x="64088" y="79330"/>
                    <a:pt x="70811" y="79779"/>
                    <a:pt x="71707" y="79779"/>
                  </a:cubicBezTo>
                  <a:cubicBezTo>
                    <a:pt x="71707" y="79779"/>
                    <a:pt x="71707" y="79779"/>
                    <a:pt x="72155" y="79779"/>
                  </a:cubicBezTo>
                  <a:cubicBezTo>
                    <a:pt x="73948" y="79779"/>
                    <a:pt x="79774" y="79330"/>
                    <a:pt x="85601" y="77090"/>
                  </a:cubicBezTo>
                  <a:cubicBezTo>
                    <a:pt x="85601" y="77090"/>
                    <a:pt x="85601" y="77090"/>
                    <a:pt x="85601" y="77538"/>
                  </a:cubicBezTo>
                  <a:cubicBezTo>
                    <a:pt x="85601" y="89190"/>
                    <a:pt x="94564" y="99050"/>
                    <a:pt x="106216" y="99050"/>
                  </a:cubicBezTo>
                  <a:cubicBezTo>
                    <a:pt x="123695" y="99050"/>
                    <a:pt x="138037" y="113391"/>
                    <a:pt x="138485" y="132215"/>
                  </a:cubicBezTo>
                  <a:lnTo>
                    <a:pt x="138485" y="133111"/>
                  </a:lnTo>
                  <a:cubicBezTo>
                    <a:pt x="138485" y="139385"/>
                    <a:pt x="138485" y="145660"/>
                    <a:pt x="138485" y="151038"/>
                  </a:cubicBezTo>
                  <a:cubicBezTo>
                    <a:pt x="138485" y="152382"/>
                    <a:pt x="139381" y="153279"/>
                    <a:pt x="140726" y="153279"/>
                  </a:cubicBezTo>
                  <a:cubicBezTo>
                    <a:pt x="140726" y="153279"/>
                    <a:pt x="140726" y="153279"/>
                    <a:pt x="140726" y="153279"/>
                  </a:cubicBezTo>
                  <a:cubicBezTo>
                    <a:pt x="142070" y="153279"/>
                    <a:pt x="142966" y="152382"/>
                    <a:pt x="142966" y="151038"/>
                  </a:cubicBezTo>
                  <a:cubicBezTo>
                    <a:pt x="142518" y="145212"/>
                    <a:pt x="142518" y="138937"/>
                    <a:pt x="142518" y="132215"/>
                  </a:cubicBezTo>
                  <a:close/>
                  <a:moveTo>
                    <a:pt x="72155" y="75297"/>
                  </a:moveTo>
                  <a:cubicBezTo>
                    <a:pt x="71707" y="75297"/>
                    <a:pt x="71707" y="75297"/>
                    <a:pt x="72155" y="75297"/>
                  </a:cubicBezTo>
                  <a:lnTo>
                    <a:pt x="72155" y="75297"/>
                  </a:lnTo>
                  <a:cubicBezTo>
                    <a:pt x="71707" y="75297"/>
                    <a:pt x="59607" y="75297"/>
                    <a:pt x="53332" y="67678"/>
                  </a:cubicBezTo>
                  <a:cubicBezTo>
                    <a:pt x="46610" y="60059"/>
                    <a:pt x="44817" y="49303"/>
                    <a:pt x="43921" y="41684"/>
                  </a:cubicBezTo>
                  <a:lnTo>
                    <a:pt x="43921" y="40340"/>
                  </a:lnTo>
                  <a:cubicBezTo>
                    <a:pt x="42576" y="31825"/>
                    <a:pt x="43921" y="24206"/>
                    <a:pt x="43921" y="24206"/>
                  </a:cubicBezTo>
                  <a:cubicBezTo>
                    <a:pt x="47954" y="4486"/>
                    <a:pt x="70811" y="4934"/>
                    <a:pt x="72155" y="4934"/>
                  </a:cubicBezTo>
                  <a:cubicBezTo>
                    <a:pt x="73052" y="4934"/>
                    <a:pt x="96357" y="4486"/>
                    <a:pt x="100390" y="24206"/>
                  </a:cubicBezTo>
                  <a:cubicBezTo>
                    <a:pt x="100390" y="24206"/>
                    <a:pt x="101735" y="31376"/>
                    <a:pt x="100390" y="40340"/>
                  </a:cubicBezTo>
                  <a:lnTo>
                    <a:pt x="99942" y="43029"/>
                  </a:lnTo>
                  <a:cubicBezTo>
                    <a:pt x="98597" y="51096"/>
                    <a:pt x="97253" y="60956"/>
                    <a:pt x="90979" y="68126"/>
                  </a:cubicBezTo>
                  <a:cubicBezTo>
                    <a:pt x="84256" y="74849"/>
                    <a:pt x="73500" y="75297"/>
                    <a:pt x="72155" y="75297"/>
                  </a:cubicBezTo>
                  <a:close/>
                </a:path>
              </a:pathLst>
            </a:custGeom>
            <a:solidFill>
              <a:srgbClr val="231F20"/>
            </a:solidFill>
            <a:ln w="4477" cap="flat">
              <a:noFill/>
              <a:prstDash val="solid"/>
              <a:miter/>
            </a:ln>
          </p:spPr>
          <p:txBody>
            <a:bodyPr rtlCol="0" anchor="ctr"/>
            <a:lstStyle/>
            <a:p>
              <a:endParaRPr lang="en-US"/>
            </a:p>
          </p:txBody>
        </p:sp>
      </p:grpSp>
      <p:grpSp>
        <p:nvGrpSpPr>
          <p:cNvPr id="2609" name="Group 2608">
            <a:extLst>
              <a:ext uri="{FF2B5EF4-FFF2-40B4-BE49-F238E27FC236}">
                <a16:creationId xmlns:a16="http://schemas.microsoft.com/office/drawing/2014/main" id="{73794DD1-17E6-4315-997A-E04680925C15}"/>
              </a:ext>
              <a:ext uri="{C183D7F6-B498-43B3-948B-1728B52AA6E4}">
                <adec:decorative xmlns:adec="http://schemas.microsoft.com/office/drawing/2017/decorative" val="1"/>
              </a:ext>
            </a:extLst>
          </p:cNvPr>
          <p:cNvGrpSpPr>
            <a:grpSpLocks noChangeAspect="1"/>
          </p:cNvGrpSpPr>
          <p:nvPr/>
        </p:nvGrpSpPr>
        <p:grpSpPr>
          <a:xfrm>
            <a:off x="9580514" y="5200038"/>
            <a:ext cx="166271" cy="164473"/>
            <a:chOff x="9637014" y="3144347"/>
            <a:chExt cx="166271" cy="164473"/>
          </a:xfrm>
        </p:grpSpPr>
        <p:sp>
          <p:nvSpPr>
            <p:cNvPr id="2694" name="Freeform: Shape 2693">
              <a:extLst>
                <a:ext uri="{FF2B5EF4-FFF2-40B4-BE49-F238E27FC236}">
                  <a16:creationId xmlns:a16="http://schemas.microsoft.com/office/drawing/2014/main" id="{56591ED6-E4EA-4A8E-B2E5-7FF15FD38BAF}"/>
                </a:ext>
              </a:extLst>
            </p:cNvPr>
            <p:cNvSpPr/>
            <p:nvPr/>
          </p:nvSpPr>
          <p:spPr>
            <a:xfrm>
              <a:off x="9745023" y="3144347"/>
              <a:ext cx="58262" cy="58262"/>
            </a:xfrm>
            <a:custGeom>
              <a:avLst/>
              <a:gdLst>
                <a:gd name="connsiteX0" fmla="*/ 29131 w 58262"/>
                <a:gd name="connsiteY0" fmla="*/ 0 h 58262"/>
                <a:gd name="connsiteX1" fmla="*/ 0 w 58262"/>
                <a:gd name="connsiteY1" fmla="*/ 29131 h 58262"/>
                <a:gd name="connsiteX2" fmla="*/ 3137 w 58262"/>
                <a:gd name="connsiteY2" fmla="*/ 41680 h 58262"/>
                <a:gd name="connsiteX3" fmla="*/ 448 w 58262"/>
                <a:gd name="connsiteY3" fmla="*/ 55573 h 58262"/>
                <a:gd name="connsiteX4" fmla="*/ 896 w 58262"/>
                <a:gd name="connsiteY4" fmla="*/ 57814 h 58262"/>
                <a:gd name="connsiteX5" fmla="*/ 2241 w 58262"/>
                <a:gd name="connsiteY5" fmla="*/ 58262 h 58262"/>
                <a:gd name="connsiteX6" fmla="*/ 2689 w 58262"/>
                <a:gd name="connsiteY6" fmla="*/ 58262 h 58262"/>
                <a:gd name="connsiteX7" fmla="*/ 15238 w 58262"/>
                <a:gd name="connsiteY7" fmla="*/ 54677 h 58262"/>
                <a:gd name="connsiteX8" fmla="*/ 29131 w 58262"/>
                <a:gd name="connsiteY8" fmla="*/ 58262 h 58262"/>
                <a:gd name="connsiteX9" fmla="*/ 58262 w 58262"/>
                <a:gd name="connsiteY9" fmla="*/ 29131 h 58262"/>
                <a:gd name="connsiteX10" fmla="*/ 29131 w 58262"/>
                <a:gd name="connsiteY10" fmla="*/ 0 h 58262"/>
                <a:gd name="connsiteX11" fmla="*/ 29131 w 58262"/>
                <a:gd name="connsiteY11" fmla="*/ 53780 h 58262"/>
                <a:gd name="connsiteX12" fmla="*/ 16582 w 58262"/>
                <a:gd name="connsiteY12" fmla="*/ 50195 h 58262"/>
                <a:gd name="connsiteX13" fmla="*/ 15686 w 58262"/>
                <a:gd name="connsiteY13" fmla="*/ 49747 h 58262"/>
                <a:gd name="connsiteX14" fmla="*/ 14790 w 58262"/>
                <a:gd name="connsiteY14" fmla="*/ 50195 h 58262"/>
                <a:gd name="connsiteX15" fmla="*/ 5378 w 58262"/>
                <a:gd name="connsiteY15" fmla="*/ 52884 h 58262"/>
                <a:gd name="connsiteX16" fmla="*/ 7619 w 58262"/>
                <a:gd name="connsiteY16" fmla="*/ 42576 h 58262"/>
                <a:gd name="connsiteX17" fmla="*/ 7619 w 58262"/>
                <a:gd name="connsiteY17" fmla="*/ 40783 h 58262"/>
                <a:gd name="connsiteX18" fmla="*/ 4930 w 58262"/>
                <a:gd name="connsiteY18" fmla="*/ 29579 h 58262"/>
                <a:gd name="connsiteX19" fmla="*/ 29579 w 58262"/>
                <a:gd name="connsiteY19" fmla="*/ 4930 h 58262"/>
                <a:gd name="connsiteX20" fmla="*/ 54229 w 58262"/>
                <a:gd name="connsiteY20" fmla="*/ 29579 h 58262"/>
                <a:gd name="connsiteX21" fmla="*/ 29131 w 58262"/>
                <a:gd name="connsiteY21"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62" h="58262">
                  <a:moveTo>
                    <a:pt x="29131" y="0"/>
                  </a:moveTo>
                  <a:cubicBezTo>
                    <a:pt x="12997" y="0"/>
                    <a:pt x="0" y="12997"/>
                    <a:pt x="0" y="29131"/>
                  </a:cubicBezTo>
                  <a:cubicBezTo>
                    <a:pt x="0" y="33613"/>
                    <a:pt x="896" y="38094"/>
                    <a:pt x="3137" y="41680"/>
                  </a:cubicBezTo>
                  <a:lnTo>
                    <a:pt x="448" y="55573"/>
                  </a:lnTo>
                  <a:cubicBezTo>
                    <a:pt x="448" y="56469"/>
                    <a:pt x="448" y="56918"/>
                    <a:pt x="896" y="57814"/>
                  </a:cubicBezTo>
                  <a:cubicBezTo>
                    <a:pt x="1345" y="58262"/>
                    <a:pt x="1793" y="58262"/>
                    <a:pt x="2241" y="58262"/>
                  </a:cubicBezTo>
                  <a:cubicBezTo>
                    <a:pt x="2241" y="58262"/>
                    <a:pt x="2689" y="58262"/>
                    <a:pt x="2689" y="58262"/>
                  </a:cubicBezTo>
                  <a:lnTo>
                    <a:pt x="15238" y="54677"/>
                  </a:lnTo>
                  <a:cubicBezTo>
                    <a:pt x="19720" y="56918"/>
                    <a:pt x="24201" y="58262"/>
                    <a:pt x="29131" y="58262"/>
                  </a:cubicBezTo>
                  <a:cubicBezTo>
                    <a:pt x="45265" y="58262"/>
                    <a:pt x="58262" y="45265"/>
                    <a:pt x="58262" y="29131"/>
                  </a:cubicBezTo>
                  <a:cubicBezTo>
                    <a:pt x="58262" y="12997"/>
                    <a:pt x="45265" y="0"/>
                    <a:pt x="29131" y="0"/>
                  </a:cubicBezTo>
                  <a:close/>
                  <a:moveTo>
                    <a:pt x="29131" y="53780"/>
                  </a:moveTo>
                  <a:cubicBezTo>
                    <a:pt x="24649" y="53780"/>
                    <a:pt x="20616" y="52436"/>
                    <a:pt x="16582" y="50195"/>
                  </a:cubicBezTo>
                  <a:cubicBezTo>
                    <a:pt x="16134" y="50195"/>
                    <a:pt x="15686" y="49747"/>
                    <a:pt x="15686" y="49747"/>
                  </a:cubicBezTo>
                  <a:cubicBezTo>
                    <a:pt x="15238" y="49747"/>
                    <a:pt x="14790" y="49747"/>
                    <a:pt x="14790" y="50195"/>
                  </a:cubicBezTo>
                  <a:lnTo>
                    <a:pt x="5378" y="52884"/>
                  </a:lnTo>
                  <a:lnTo>
                    <a:pt x="7619" y="42576"/>
                  </a:lnTo>
                  <a:cubicBezTo>
                    <a:pt x="8067" y="42128"/>
                    <a:pt x="8067" y="41232"/>
                    <a:pt x="7619" y="40783"/>
                  </a:cubicBezTo>
                  <a:cubicBezTo>
                    <a:pt x="5826" y="37198"/>
                    <a:pt x="4930" y="33165"/>
                    <a:pt x="4930" y="29579"/>
                  </a:cubicBezTo>
                  <a:cubicBezTo>
                    <a:pt x="4930" y="16134"/>
                    <a:pt x="16134" y="4930"/>
                    <a:pt x="29579" y="4930"/>
                  </a:cubicBezTo>
                  <a:cubicBezTo>
                    <a:pt x="43025" y="4930"/>
                    <a:pt x="54229" y="16134"/>
                    <a:pt x="54229" y="29579"/>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695" name="Freeform: Shape 2694">
              <a:extLst>
                <a:ext uri="{FF2B5EF4-FFF2-40B4-BE49-F238E27FC236}">
                  <a16:creationId xmlns:a16="http://schemas.microsoft.com/office/drawing/2014/main" id="{C3D255E0-F67C-468B-964F-95457FF39334}"/>
                </a:ext>
              </a:extLst>
            </p:cNvPr>
            <p:cNvSpPr/>
            <p:nvPr/>
          </p:nvSpPr>
          <p:spPr>
            <a:xfrm>
              <a:off x="9785358" y="3170789"/>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6274 w 4481"/>
                <a:gd name="connsiteY3" fmla="*/ 3137 h 4481"/>
                <a:gd name="connsiteX4" fmla="*/ 3137 w 4481"/>
                <a:gd name="connsiteY4" fmla="*/ 0 h 4481"/>
                <a:gd name="connsiteX5" fmla="*/ 3137 w 4481"/>
                <a:gd name="connsiteY5" fmla="*/ 4482 h 4481"/>
                <a:gd name="connsiteX6" fmla="*/ 1793 w 4481"/>
                <a:gd name="connsiteY6" fmla="*/ 3137 h 4481"/>
                <a:gd name="connsiteX7" fmla="*/ 3137 w 4481"/>
                <a:gd name="connsiteY7" fmla="*/ 1793 h 4481"/>
                <a:gd name="connsiteX8" fmla="*/ 4482 w 4481"/>
                <a:gd name="connsiteY8" fmla="*/ 3137 h 4481"/>
                <a:gd name="connsiteX9" fmla="*/ 3137 w 4481"/>
                <a:gd name="connsiteY9"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 h="4481">
                  <a:moveTo>
                    <a:pt x="3137" y="0"/>
                  </a:moveTo>
                  <a:cubicBezTo>
                    <a:pt x="1345" y="0"/>
                    <a:pt x="0" y="1344"/>
                    <a:pt x="0" y="3137"/>
                  </a:cubicBezTo>
                  <a:cubicBezTo>
                    <a:pt x="0" y="4930"/>
                    <a:pt x="1345" y="6274"/>
                    <a:pt x="3137" y="6274"/>
                  </a:cubicBezTo>
                  <a:cubicBezTo>
                    <a:pt x="4930" y="6274"/>
                    <a:pt x="6274" y="4930"/>
                    <a:pt x="6274" y="3137"/>
                  </a:cubicBezTo>
                  <a:cubicBezTo>
                    <a:pt x="6274" y="1344"/>
                    <a:pt x="4930" y="0"/>
                    <a:pt x="3137" y="0"/>
                  </a:cubicBezTo>
                  <a:close/>
                  <a:moveTo>
                    <a:pt x="3137" y="4482"/>
                  </a:moveTo>
                  <a:cubicBezTo>
                    <a:pt x="2241" y="4482"/>
                    <a:pt x="1793" y="4034"/>
                    <a:pt x="1793" y="3137"/>
                  </a:cubicBezTo>
                  <a:cubicBezTo>
                    <a:pt x="1793" y="2241"/>
                    <a:pt x="2241" y="1793"/>
                    <a:pt x="3137" y="1793"/>
                  </a:cubicBezTo>
                  <a:cubicBezTo>
                    <a:pt x="4034" y="1793"/>
                    <a:pt x="4482" y="2241"/>
                    <a:pt x="4482" y="3137"/>
                  </a:cubicBezTo>
                  <a:cubicBezTo>
                    <a:pt x="4482" y="4034"/>
                    <a:pt x="4034" y="4482"/>
                    <a:pt x="3137" y="4482"/>
                  </a:cubicBezTo>
                  <a:close/>
                </a:path>
              </a:pathLst>
            </a:custGeom>
            <a:solidFill>
              <a:srgbClr val="231F20"/>
            </a:solidFill>
            <a:ln w="4477" cap="flat">
              <a:noFill/>
              <a:prstDash val="solid"/>
              <a:miter/>
            </a:ln>
          </p:spPr>
          <p:txBody>
            <a:bodyPr rtlCol="0" anchor="ctr"/>
            <a:lstStyle/>
            <a:p>
              <a:endParaRPr lang="en-US"/>
            </a:p>
          </p:txBody>
        </p:sp>
        <p:sp>
          <p:nvSpPr>
            <p:cNvPr id="2696" name="Freeform: Shape 2695">
              <a:extLst>
                <a:ext uri="{FF2B5EF4-FFF2-40B4-BE49-F238E27FC236}">
                  <a16:creationId xmlns:a16="http://schemas.microsoft.com/office/drawing/2014/main" id="{161E1226-FE9A-4338-A322-C4DA52126D4C}"/>
                </a:ext>
              </a:extLst>
            </p:cNvPr>
            <p:cNvSpPr/>
            <p:nvPr/>
          </p:nvSpPr>
          <p:spPr>
            <a:xfrm>
              <a:off x="9771017" y="3170789"/>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6274 w 4481"/>
                <a:gd name="connsiteY3" fmla="*/ 3137 h 4481"/>
                <a:gd name="connsiteX4" fmla="*/ 3137 w 4481"/>
                <a:gd name="connsiteY4" fmla="*/ 0 h 4481"/>
                <a:gd name="connsiteX5" fmla="*/ 3137 w 4481"/>
                <a:gd name="connsiteY5" fmla="*/ 4482 h 4481"/>
                <a:gd name="connsiteX6" fmla="*/ 1793 w 4481"/>
                <a:gd name="connsiteY6" fmla="*/ 3137 h 4481"/>
                <a:gd name="connsiteX7" fmla="*/ 3137 w 4481"/>
                <a:gd name="connsiteY7" fmla="*/ 1793 h 4481"/>
                <a:gd name="connsiteX8" fmla="*/ 4482 w 4481"/>
                <a:gd name="connsiteY8" fmla="*/ 3137 h 4481"/>
                <a:gd name="connsiteX9" fmla="*/ 3137 w 4481"/>
                <a:gd name="connsiteY9"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 h="4481">
                  <a:moveTo>
                    <a:pt x="3137" y="0"/>
                  </a:moveTo>
                  <a:cubicBezTo>
                    <a:pt x="1344" y="0"/>
                    <a:pt x="0" y="1344"/>
                    <a:pt x="0" y="3137"/>
                  </a:cubicBezTo>
                  <a:cubicBezTo>
                    <a:pt x="0" y="4930"/>
                    <a:pt x="1344" y="6274"/>
                    <a:pt x="3137" y="6274"/>
                  </a:cubicBezTo>
                  <a:cubicBezTo>
                    <a:pt x="4930" y="6274"/>
                    <a:pt x="6274" y="4930"/>
                    <a:pt x="6274" y="3137"/>
                  </a:cubicBezTo>
                  <a:cubicBezTo>
                    <a:pt x="6274" y="1344"/>
                    <a:pt x="4930" y="0"/>
                    <a:pt x="3137" y="0"/>
                  </a:cubicBezTo>
                  <a:close/>
                  <a:moveTo>
                    <a:pt x="3137" y="4482"/>
                  </a:moveTo>
                  <a:cubicBezTo>
                    <a:pt x="2241" y="4482"/>
                    <a:pt x="1793" y="4034"/>
                    <a:pt x="1793" y="3137"/>
                  </a:cubicBezTo>
                  <a:cubicBezTo>
                    <a:pt x="1793" y="2241"/>
                    <a:pt x="2241" y="1793"/>
                    <a:pt x="3137" y="1793"/>
                  </a:cubicBezTo>
                  <a:cubicBezTo>
                    <a:pt x="4033" y="1793"/>
                    <a:pt x="4482" y="2241"/>
                    <a:pt x="4482" y="3137"/>
                  </a:cubicBezTo>
                  <a:cubicBezTo>
                    <a:pt x="4482" y="4034"/>
                    <a:pt x="4033" y="4482"/>
                    <a:pt x="3137" y="4482"/>
                  </a:cubicBezTo>
                  <a:close/>
                </a:path>
              </a:pathLst>
            </a:custGeom>
            <a:solidFill>
              <a:srgbClr val="231F20"/>
            </a:solidFill>
            <a:ln w="4477" cap="flat">
              <a:noFill/>
              <a:prstDash val="solid"/>
              <a:miter/>
            </a:ln>
          </p:spPr>
          <p:txBody>
            <a:bodyPr rtlCol="0" anchor="ctr"/>
            <a:lstStyle/>
            <a:p>
              <a:endParaRPr lang="en-US"/>
            </a:p>
          </p:txBody>
        </p:sp>
        <p:sp>
          <p:nvSpPr>
            <p:cNvPr id="2697" name="Freeform: Shape 2696">
              <a:extLst>
                <a:ext uri="{FF2B5EF4-FFF2-40B4-BE49-F238E27FC236}">
                  <a16:creationId xmlns:a16="http://schemas.microsoft.com/office/drawing/2014/main" id="{CE137728-8475-42F7-A2DF-6F9ED663F5E5}"/>
                </a:ext>
              </a:extLst>
            </p:cNvPr>
            <p:cNvSpPr/>
            <p:nvPr/>
          </p:nvSpPr>
          <p:spPr>
            <a:xfrm>
              <a:off x="9756227" y="3170789"/>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6274 w 4481"/>
                <a:gd name="connsiteY3" fmla="*/ 3137 h 4481"/>
                <a:gd name="connsiteX4" fmla="*/ 3137 w 4481"/>
                <a:gd name="connsiteY4" fmla="*/ 0 h 4481"/>
                <a:gd name="connsiteX5" fmla="*/ 3137 w 4481"/>
                <a:gd name="connsiteY5" fmla="*/ 4482 h 4481"/>
                <a:gd name="connsiteX6" fmla="*/ 1793 w 4481"/>
                <a:gd name="connsiteY6" fmla="*/ 3137 h 4481"/>
                <a:gd name="connsiteX7" fmla="*/ 3137 w 4481"/>
                <a:gd name="connsiteY7" fmla="*/ 1793 h 4481"/>
                <a:gd name="connsiteX8" fmla="*/ 4482 w 4481"/>
                <a:gd name="connsiteY8" fmla="*/ 3137 h 4481"/>
                <a:gd name="connsiteX9" fmla="*/ 3137 w 4481"/>
                <a:gd name="connsiteY9"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 h="4481">
                  <a:moveTo>
                    <a:pt x="3137" y="0"/>
                  </a:moveTo>
                  <a:cubicBezTo>
                    <a:pt x="1345" y="0"/>
                    <a:pt x="0" y="1344"/>
                    <a:pt x="0" y="3137"/>
                  </a:cubicBezTo>
                  <a:cubicBezTo>
                    <a:pt x="0" y="4930"/>
                    <a:pt x="1345" y="6274"/>
                    <a:pt x="3137" y="6274"/>
                  </a:cubicBezTo>
                  <a:cubicBezTo>
                    <a:pt x="4930" y="6274"/>
                    <a:pt x="6274" y="4930"/>
                    <a:pt x="6274" y="3137"/>
                  </a:cubicBezTo>
                  <a:cubicBezTo>
                    <a:pt x="6274" y="1344"/>
                    <a:pt x="4930" y="0"/>
                    <a:pt x="3137" y="0"/>
                  </a:cubicBezTo>
                  <a:close/>
                  <a:moveTo>
                    <a:pt x="3137" y="4482"/>
                  </a:moveTo>
                  <a:cubicBezTo>
                    <a:pt x="2241" y="4482"/>
                    <a:pt x="1793" y="4034"/>
                    <a:pt x="1793" y="3137"/>
                  </a:cubicBezTo>
                  <a:cubicBezTo>
                    <a:pt x="1793" y="2241"/>
                    <a:pt x="2241" y="1793"/>
                    <a:pt x="3137" y="1793"/>
                  </a:cubicBezTo>
                  <a:cubicBezTo>
                    <a:pt x="4034" y="1793"/>
                    <a:pt x="4482" y="2241"/>
                    <a:pt x="4482" y="3137"/>
                  </a:cubicBezTo>
                  <a:cubicBezTo>
                    <a:pt x="4482" y="4034"/>
                    <a:pt x="4034" y="4482"/>
                    <a:pt x="3137" y="4482"/>
                  </a:cubicBezTo>
                  <a:close/>
                </a:path>
              </a:pathLst>
            </a:custGeom>
            <a:solidFill>
              <a:srgbClr val="231F20"/>
            </a:solidFill>
            <a:ln w="4477" cap="flat">
              <a:noFill/>
              <a:prstDash val="solid"/>
              <a:miter/>
            </a:ln>
          </p:spPr>
          <p:txBody>
            <a:bodyPr rtlCol="0" anchor="ctr"/>
            <a:lstStyle/>
            <a:p>
              <a:endParaRPr lang="en-US"/>
            </a:p>
          </p:txBody>
        </p:sp>
        <p:sp>
          <p:nvSpPr>
            <p:cNvPr id="2698" name="Freeform: Shape 2697">
              <a:extLst>
                <a:ext uri="{FF2B5EF4-FFF2-40B4-BE49-F238E27FC236}">
                  <a16:creationId xmlns:a16="http://schemas.microsoft.com/office/drawing/2014/main" id="{E6E392E2-4302-42C9-9934-55F13AB0436D}"/>
                </a:ext>
              </a:extLst>
            </p:cNvPr>
            <p:cNvSpPr/>
            <p:nvPr/>
          </p:nvSpPr>
          <p:spPr>
            <a:xfrm>
              <a:off x="9637014" y="3169887"/>
              <a:ext cx="129969" cy="138933"/>
            </a:xfrm>
            <a:custGeom>
              <a:avLst/>
              <a:gdLst>
                <a:gd name="connsiteX0" fmla="*/ 131314 w 129969"/>
                <a:gd name="connsiteY0" fmla="*/ 120563 h 138932"/>
                <a:gd name="connsiteX1" fmla="*/ 97253 w 129969"/>
                <a:gd name="connsiteY1" fmla="*/ 86054 h 138932"/>
                <a:gd name="connsiteX2" fmla="*/ 82911 w 129969"/>
                <a:gd name="connsiteY2" fmla="*/ 70816 h 138932"/>
                <a:gd name="connsiteX3" fmla="*/ 83360 w 129969"/>
                <a:gd name="connsiteY3" fmla="*/ 68127 h 138932"/>
                <a:gd name="connsiteX4" fmla="*/ 86497 w 129969"/>
                <a:gd name="connsiteY4" fmla="*/ 64990 h 138932"/>
                <a:gd name="connsiteX5" fmla="*/ 95460 w 129969"/>
                <a:gd name="connsiteY5" fmla="*/ 39892 h 138932"/>
                <a:gd name="connsiteX6" fmla="*/ 95909 w 129969"/>
                <a:gd name="connsiteY6" fmla="*/ 37203 h 138932"/>
                <a:gd name="connsiteX7" fmla="*/ 95909 w 129969"/>
                <a:gd name="connsiteY7" fmla="*/ 21069 h 138932"/>
                <a:gd name="connsiteX8" fmla="*/ 65433 w 129969"/>
                <a:gd name="connsiteY8" fmla="*/ 5 h 138932"/>
                <a:gd name="connsiteX9" fmla="*/ 35406 w 129969"/>
                <a:gd name="connsiteY9" fmla="*/ 21069 h 138932"/>
                <a:gd name="connsiteX10" fmla="*/ 35406 w 129969"/>
                <a:gd name="connsiteY10" fmla="*/ 37203 h 138932"/>
                <a:gd name="connsiteX11" fmla="*/ 35406 w 129969"/>
                <a:gd name="connsiteY11" fmla="*/ 38548 h 138932"/>
                <a:gd name="connsiteX12" fmla="*/ 45265 w 129969"/>
                <a:gd name="connsiteY12" fmla="*/ 64542 h 138932"/>
                <a:gd name="connsiteX13" fmla="*/ 47954 w 129969"/>
                <a:gd name="connsiteY13" fmla="*/ 66782 h 138932"/>
                <a:gd name="connsiteX14" fmla="*/ 48402 w 129969"/>
                <a:gd name="connsiteY14" fmla="*/ 70368 h 138932"/>
                <a:gd name="connsiteX15" fmla="*/ 34061 w 129969"/>
                <a:gd name="connsiteY15" fmla="*/ 85606 h 138932"/>
                <a:gd name="connsiteX16" fmla="*/ 0 w 129969"/>
                <a:gd name="connsiteY16" fmla="*/ 120115 h 138932"/>
                <a:gd name="connsiteX17" fmla="*/ 0 w 129969"/>
                <a:gd name="connsiteY17" fmla="*/ 126837 h 138932"/>
                <a:gd name="connsiteX18" fmla="*/ 0 w 129969"/>
                <a:gd name="connsiteY18" fmla="*/ 138042 h 138932"/>
                <a:gd name="connsiteX19" fmla="*/ 2241 w 129969"/>
                <a:gd name="connsiteY19" fmla="*/ 140282 h 138932"/>
                <a:gd name="connsiteX20" fmla="*/ 2241 w 129969"/>
                <a:gd name="connsiteY20" fmla="*/ 140282 h 138932"/>
                <a:gd name="connsiteX21" fmla="*/ 4482 w 129969"/>
                <a:gd name="connsiteY21" fmla="*/ 138042 h 138932"/>
                <a:gd name="connsiteX22" fmla="*/ 4482 w 129969"/>
                <a:gd name="connsiteY22" fmla="*/ 127285 h 138932"/>
                <a:gd name="connsiteX23" fmla="*/ 4482 w 129969"/>
                <a:gd name="connsiteY23" fmla="*/ 121011 h 138932"/>
                <a:gd name="connsiteX24" fmla="*/ 34061 w 129969"/>
                <a:gd name="connsiteY24" fmla="*/ 90536 h 138932"/>
                <a:gd name="connsiteX25" fmla="*/ 52884 w 129969"/>
                <a:gd name="connsiteY25" fmla="*/ 70816 h 138932"/>
                <a:gd name="connsiteX26" fmla="*/ 52884 w 129969"/>
                <a:gd name="connsiteY26" fmla="*/ 70368 h 138932"/>
                <a:gd name="connsiteX27" fmla="*/ 65881 w 129969"/>
                <a:gd name="connsiteY27" fmla="*/ 73505 h 138932"/>
                <a:gd name="connsiteX28" fmla="*/ 66329 w 129969"/>
                <a:gd name="connsiteY28" fmla="*/ 73505 h 138932"/>
                <a:gd name="connsiteX29" fmla="*/ 78430 w 129969"/>
                <a:gd name="connsiteY29" fmla="*/ 70816 h 138932"/>
                <a:gd name="connsiteX30" fmla="*/ 97253 w 129969"/>
                <a:gd name="connsiteY30" fmla="*/ 90536 h 138932"/>
                <a:gd name="connsiteX31" fmla="*/ 126832 w 129969"/>
                <a:gd name="connsiteY31" fmla="*/ 121011 h 138932"/>
                <a:gd name="connsiteX32" fmla="*/ 126832 w 129969"/>
                <a:gd name="connsiteY32" fmla="*/ 121907 h 138932"/>
                <a:gd name="connsiteX33" fmla="*/ 126832 w 129969"/>
                <a:gd name="connsiteY33" fmla="*/ 138490 h 138932"/>
                <a:gd name="connsiteX34" fmla="*/ 129073 w 129969"/>
                <a:gd name="connsiteY34" fmla="*/ 140731 h 138932"/>
                <a:gd name="connsiteX35" fmla="*/ 129073 w 129969"/>
                <a:gd name="connsiteY35" fmla="*/ 140731 h 138932"/>
                <a:gd name="connsiteX36" fmla="*/ 131314 w 129969"/>
                <a:gd name="connsiteY36" fmla="*/ 138490 h 138932"/>
                <a:gd name="connsiteX37" fmla="*/ 131314 w 129969"/>
                <a:gd name="connsiteY37" fmla="*/ 121459 h 138932"/>
                <a:gd name="connsiteX38" fmla="*/ 131314 w 129969"/>
                <a:gd name="connsiteY38" fmla="*/ 120563 h 138932"/>
                <a:gd name="connsiteX39" fmla="*/ 66329 w 129969"/>
                <a:gd name="connsiteY39" fmla="*/ 68575 h 138932"/>
                <a:gd name="connsiteX40" fmla="*/ 66329 w 129969"/>
                <a:gd name="connsiteY40" fmla="*/ 68575 h 138932"/>
                <a:gd name="connsiteX41" fmla="*/ 66329 w 129969"/>
                <a:gd name="connsiteY41" fmla="*/ 68575 h 138932"/>
                <a:gd name="connsiteX42" fmla="*/ 48851 w 129969"/>
                <a:gd name="connsiteY42" fmla="*/ 61404 h 138932"/>
                <a:gd name="connsiteX43" fmla="*/ 39887 w 129969"/>
                <a:gd name="connsiteY43" fmla="*/ 37651 h 138932"/>
                <a:gd name="connsiteX44" fmla="*/ 39887 w 129969"/>
                <a:gd name="connsiteY44" fmla="*/ 36307 h 138932"/>
                <a:gd name="connsiteX45" fmla="*/ 39887 w 129969"/>
                <a:gd name="connsiteY45" fmla="*/ 21517 h 138932"/>
                <a:gd name="connsiteX46" fmla="*/ 65433 w 129969"/>
                <a:gd name="connsiteY46" fmla="*/ 4039 h 138932"/>
                <a:gd name="connsiteX47" fmla="*/ 91427 w 129969"/>
                <a:gd name="connsiteY47" fmla="*/ 21517 h 138932"/>
                <a:gd name="connsiteX48" fmla="*/ 91427 w 129969"/>
                <a:gd name="connsiteY48" fmla="*/ 36307 h 138932"/>
                <a:gd name="connsiteX49" fmla="*/ 90978 w 129969"/>
                <a:gd name="connsiteY49" fmla="*/ 38996 h 138932"/>
                <a:gd name="connsiteX50" fmla="*/ 82911 w 129969"/>
                <a:gd name="connsiteY50" fmla="*/ 61853 h 138932"/>
                <a:gd name="connsiteX51" fmla="*/ 66329 w 129969"/>
                <a:gd name="connsiteY51" fmla="*/ 68575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9969" h="138932">
                  <a:moveTo>
                    <a:pt x="131314" y="120563"/>
                  </a:moveTo>
                  <a:cubicBezTo>
                    <a:pt x="130866" y="101292"/>
                    <a:pt x="116076" y="86054"/>
                    <a:pt x="97253" y="86054"/>
                  </a:cubicBezTo>
                  <a:cubicBezTo>
                    <a:pt x="89186" y="86054"/>
                    <a:pt x="82911" y="79331"/>
                    <a:pt x="82911" y="70816"/>
                  </a:cubicBezTo>
                  <a:cubicBezTo>
                    <a:pt x="82911" y="69920"/>
                    <a:pt x="82911" y="69023"/>
                    <a:pt x="83360" y="68127"/>
                  </a:cubicBezTo>
                  <a:cubicBezTo>
                    <a:pt x="84704" y="67231"/>
                    <a:pt x="85600" y="66334"/>
                    <a:pt x="86497" y="64990"/>
                  </a:cubicBezTo>
                  <a:cubicBezTo>
                    <a:pt x="92771" y="57371"/>
                    <a:pt x="94564" y="47511"/>
                    <a:pt x="95460" y="39892"/>
                  </a:cubicBezTo>
                  <a:lnTo>
                    <a:pt x="95909" y="37203"/>
                  </a:lnTo>
                  <a:cubicBezTo>
                    <a:pt x="97253" y="28240"/>
                    <a:pt x="95909" y="21069"/>
                    <a:pt x="95909" y="21069"/>
                  </a:cubicBezTo>
                  <a:cubicBezTo>
                    <a:pt x="91427" y="-891"/>
                    <a:pt x="65881" y="5"/>
                    <a:pt x="65433" y="5"/>
                  </a:cubicBezTo>
                  <a:cubicBezTo>
                    <a:pt x="64985" y="5"/>
                    <a:pt x="39887" y="-443"/>
                    <a:pt x="35406" y="21069"/>
                  </a:cubicBezTo>
                  <a:cubicBezTo>
                    <a:pt x="35406" y="21517"/>
                    <a:pt x="34061" y="28688"/>
                    <a:pt x="35406" y="37203"/>
                  </a:cubicBezTo>
                  <a:lnTo>
                    <a:pt x="35406" y="38548"/>
                  </a:lnTo>
                  <a:cubicBezTo>
                    <a:pt x="36750" y="46167"/>
                    <a:pt x="38543" y="56923"/>
                    <a:pt x="45265" y="64542"/>
                  </a:cubicBezTo>
                  <a:cubicBezTo>
                    <a:pt x="46161" y="65438"/>
                    <a:pt x="47058" y="66334"/>
                    <a:pt x="47954" y="66782"/>
                  </a:cubicBezTo>
                  <a:cubicBezTo>
                    <a:pt x="48402" y="68127"/>
                    <a:pt x="48402" y="69023"/>
                    <a:pt x="48402" y="70368"/>
                  </a:cubicBezTo>
                  <a:cubicBezTo>
                    <a:pt x="48402" y="78883"/>
                    <a:pt x="42128" y="85606"/>
                    <a:pt x="34061" y="85606"/>
                  </a:cubicBezTo>
                  <a:cubicBezTo>
                    <a:pt x="15686" y="85606"/>
                    <a:pt x="448" y="100843"/>
                    <a:pt x="0" y="120115"/>
                  </a:cubicBezTo>
                  <a:lnTo>
                    <a:pt x="0" y="126837"/>
                  </a:lnTo>
                  <a:cubicBezTo>
                    <a:pt x="0" y="130423"/>
                    <a:pt x="0" y="134008"/>
                    <a:pt x="0" y="138042"/>
                  </a:cubicBezTo>
                  <a:cubicBezTo>
                    <a:pt x="0" y="139386"/>
                    <a:pt x="896" y="140282"/>
                    <a:pt x="2241" y="140282"/>
                  </a:cubicBezTo>
                  <a:cubicBezTo>
                    <a:pt x="2241" y="140282"/>
                    <a:pt x="2241" y="140282"/>
                    <a:pt x="2241" y="140282"/>
                  </a:cubicBezTo>
                  <a:cubicBezTo>
                    <a:pt x="3585" y="140282"/>
                    <a:pt x="4482" y="139386"/>
                    <a:pt x="4482" y="138042"/>
                  </a:cubicBezTo>
                  <a:cubicBezTo>
                    <a:pt x="4482" y="134456"/>
                    <a:pt x="4482" y="130871"/>
                    <a:pt x="4482" y="127285"/>
                  </a:cubicBezTo>
                  <a:lnTo>
                    <a:pt x="4482" y="121011"/>
                  </a:lnTo>
                  <a:cubicBezTo>
                    <a:pt x="4930" y="103981"/>
                    <a:pt x="17927" y="90536"/>
                    <a:pt x="34061" y="90536"/>
                  </a:cubicBezTo>
                  <a:cubicBezTo>
                    <a:pt x="44369" y="90536"/>
                    <a:pt x="52884" y="81572"/>
                    <a:pt x="52884" y="70816"/>
                  </a:cubicBezTo>
                  <a:cubicBezTo>
                    <a:pt x="52884" y="70816"/>
                    <a:pt x="52884" y="70368"/>
                    <a:pt x="52884" y="70368"/>
                  </a:cubicBezTo>
                  <a:cubicBezTo>
                    <a:pt x="59159" y="73057"/>
                    <a:pt x="64985" y="73505"/>
                    <a:pt x="65881" y="73505"/>
                  </a:cubicBezTo>
                  <a:cubicBezTo>
                    <a:pt x="65881" y="73505"/>
                    <a:pt x="65881" y="73505"/>
                    <a:pt x="66329" y="73505"/>
                  </a:cubicBezTo>
                  <a:cubicBezTo>
                    <a:pt x="67674" y="73505"/>
                    <a:pt x="73052" y="73505"/>
                    <a:pt x="78430" y="70816"/>
                  </a:cubicBezTo>
                  <a:cubicBezTo>
                    <a:pt x="78430" y="81572"/>
                    <a:pt x="86945" y="90536"/>
                    <a:pt x="97253" y="90536"/>
                  </a:cubicBezTo>
                  <a:cubicBezTo>
                    <a:pt x="113387" y="90536"/>
                    <a:pt x="126384" y="103981"/>
                    <a:pt x="126832" y="121011"/>
                  </a:cubicBezTo>
                  <a:lnTo>
                    <a:pt x="126832" y="121907"/>
                  </a:lnTo>
                  <a:cubicBezTo>
                    <a:pt x="126832" y="127734"/>
                    <a:pt x="126832" y="133560"/>
                    <a:pt x="126832" y="138490"/>
                  </a:cubicBezTo>
                  <a:cubicBezTo>
                    <a:pt x="126832" y="139834"/>
                    <a:pt x="127729" y="140731"/>
                    <a:pt x="129073" y="140731"/>
                  </a:cubicBezTo>
                  <a:cubicBezTo>
                    <a:pt x="129073" y="140731"/>
                    <a:pt x="129073" y="140731"/>
                    <a:pt x="129073" y="140731"/>
                  </a:cubicBezTo>
                  <a:cubicBezTo>
                    <a:pt x="130417" y="140731"/>
                    <a:pt x="131314" y="139834"/>
                    <a:pt x="131314" y="138490"/>
                  </a:cubicBezTo>
                  <a:cubicBezTo>
                    <a:pt x="131314" y="133560"/>
                    <a:pt x="131314" y="127734"/>
                    <a:pt x="131314" y="121459"/>
                  </a:cubicBezTo>
                  <a:lnTo>
                    <a:pt x="131314" y="120563"/>
                  </a:lnTo>
                  <a:close/>
                  <a:moveTo>
                    <a:pt x="66329" y="68575"/>
                  </a:moveTo>
                  <a:cubicBezTo>
                    <a:pt x="65881" y="68575"/>
                    <a:pt x="66329" y="68575"/>
                    <a:pt x="66329" y="68575"/>
                  </a:cubicBezTo>
                  <a:cubicBezTo>
                    <a:pt x="66329" y="68575"/>
                    <a:pt x="66329" y="68575"/>
                    <a:pt x="66329" y="68575"/>
                  </a:cubicBezTo>
                  <a:cubicBezTo>
                    <a:pt x="65881" y="68575"/>
                    <a:pt x="55125" y="68575"/>
                    <a:pt x="48851" y="61404"/>
                  </a:cubicBezTo>
                  <a:cubicBezTo>
                    <a:pt x="43024" y="54234"/>
                    <a:pt x="41232" y="44822"/>
                    <a:pt x="39887" y="37651"/>
                  </a:cubicBezTo>
                  <a:lnTo>
                    <a:pt x="39887" y="36307"/>
                  </a:lnTo>
                  <a:cubicBezTo>
                    <a:pt x="38543" y="28240"/>
                    <a:pt x="39887" y="21517"/>
                    <a:pt x="39887" y="21517"/>
                  </a:cubicBezTo>
                  <a:cubicBezTo>
                    <a:pt x="43473" y="3591"/>
                    <a:pt x="64537" y="4039"/>
                    <a:pt x="65433" y="4039"/>
                  </a:cubicBezTo>
                  <a:cubicBezTo>
                    <a:pt x="65433" y="4039"/>
                    <a:pt x="87393" y="3591"/>
                    <a:pt x="91427" y="21517"/>
                  </a:cubicBezTo>
                  <a:cubicBezTo>
                    <a:pt x="91427" y="21517"/>
                    <a:pt x="92771" y="28240"/>
                    <a:pt x="91427" y="36307"/>
                  </a:cubicBezTo>
                  <a:lnTo>
                    <a:pt x="90978" y="38996"/>
                  </a:lnTo>
                  <a:cubicBezTo>
                    <a:pt x="89634" y="46167"/>
                    <a:pt x="88290" y="55130"/>
                    <a:pt x="82911" y="61853"/>
                  </a:cubicBezTo>
                  <a:cubicBezTo>
                    <a:pt x="77533" y="68575"/>
                    <a:pt x="67674" y="68575"/>
                    <a:pt x="66329" y="68575"/>
                  </a:cubicBezTo>
                  <a:close/>
                </a:path>
              </a:pathLst>
            </a:custGeom>
            <a:solidFill>
              <a:srgbClr val="231F20"/>
            </a:solidFill>
            <a:ln w="4477" cap="flat">
              <a:noFill/>
              <a:prstDash val="solid"/>
              <a:miter/>
            </a:ln>
          </p:spPr>
          <p:txBody>
            <a:bodyPr rtlCol="0" anchor="ctr"/>
            <a:lstStyle/>
            <a:p>
              <a:endParaRPr lang="en-US"/>
            </a:p>
          </p:txBody>
        </p:sp>
      </p:grpSp>
      <p:grpSp>
        <p:nvGrpSpPr>
          <p:cNvPr id="2610" name="Group 2609">
            <a:extLst>
              <a:ext uri="{FF2B5EF4-FFF2-40B4-BE49-F238E27FC236}">
                <a16:creationId xmlns:a16="http://schemas.microsoft.com/office/drawing/2014/main" id="{C2D8B0A1-CF10-42CB-B3DB-52F2A35FCFD7}"/>
              </a:ext>
              <a:ext uri="{C183D7F6-B498-43B3-948B-1728B52AA6E4}">
                <adec:decorative xmlns:adec="http://schemas.microsoft.com/office/drawing/2017/decorative" val="1"/>
              </a:ext>
            </a:extLst>
          </p:cNvPr>
          <p:cNvGrpSpPr>
            <a:grpSpLocks noChangeAspect="1"/>
          </p:cNvGrpSpPr>
          <p:nvPr/>
        </p:nvGrpSpPr>
        <p:grpSpPr>
          <a:xfrm>
            <a:off x="10111596" y="5213927"/>
            <a:ext cx="148344" cy="152378"/>
            <a:chOff x="10168096" y="3158236"/>
            <a:chExt cx="148344" cy="152378"/>
          </a:xfrm>
        </p:grpSpPr>
        <p:sp>
          <p:nvSpPr>
            <p:cNvPr id="2692" name="Freeform: Shape 2691">
              <a:extLst>
                <a:ext uri="{FF2B5EF4-FFF2-40B4-BE49-F238E27FC236}">
                  <a16:creationId xmlns:a16="http://schemas.microsoft.com/office/drawing/2014/main" id="{9282B047-EADA-4E2B-98A2-4F1C38FC0F4F}"/>
                </a:ext>
              </a:extLst>
            </p:cNvPr>
            <p:cNvSpPr/>
            <p:nvPr/>
          </p:nvSpPr>
          <p:spPr>
            <a:xfrm>
              <a:off x="10262660" y="3253476"/>
              <a:ext cx="53780" cy="53780"/>
            </a:xfrm>
            <a:custGeom>
              <a:avLst/>
              <a:gdLst>
                <a:gd name="connsiteX0" fmla="*/ 56021 w 53780"/>
                <a:gd name="connsiteY0" fmla="*/ 10980 h 53780"/>
                <a:gd name="connsiteX1" fmla="*/ 54229 w 53780"/>
                <a:gd name="connsiteY1" fmla="*/ 6050 h 53780"/>
                <a:gd name="connsiteX2" fmla="*/ 50195 w 53780"/>
                <a:gd name="connsiteY2" fmla="*/ 2017 h 53780"/>
                <a:gd name="connsiteX3" fmla="*/ 40784 w 53780"/>
                <a:gd name="connsiteY3" fmla="*/ 2017 h 53780"/>
                <a:gd name="connsiteX4" fmla="*/ 3586 w 53780"/>
                <a:gd name="connsiteY4" fmla="*/ 39215 h 53780"/>
                <a:gd name="connsiteX5" fmla="*/ 3586 w 53780"/>
                <a:gd name="connsiteY5" fmla="*/ 39215 h 53780"/>
                <a:gd name="connsiteX6" fmla="*/ 3137 w 53780"/>
                <a:gd name="connsiteY6" fmla="*/ 39663 h 53780"/>
                <a:gd name="connsiteX7" fmla="*/ 3137 w 53780"/>
                <a:gd name="connsiteY7" fmla="*/ 40111 h 53780"/>
                <a:gd name="connsiteX8" fmla="*/ 3137 w 53780"/>
                <a:gd name="connsiteY8" fmla="*/ 40111 h 53780"/>
                <a:gd name="connsiteX9" fmla="*/ 0 w 53780"/>
                <a:gd name="connsiteY9" fmla="*/ 53556 h 53780"/>
                <a:gd name="connsiteX10" fmla="*/ 448 w 53780"/>
                <a:gd name="connsiteY10" fmla="*/ 55797 h 53780"/>
                <a:gd name="connsiteX11" fmla="*/ 2241 w 53780"/>
                <a:gd name="connsiteY11" fmla="*/ 56245 h 53780"/>
                <a:gd name="connsiteX12" fmla="*/ 2689 w 53780"/>
                <a:gd name="connsiteY12" fmla="*/ 56245 h 53780"/>
                <a:gd name="connsiteX13" fmla="*/ 16134 w 53780"/>
                <a:gd name="connsiteY13" fmla="*/ 53108 h 53780"/>
                <a:gd name="connsiteX14" fmla="*/ 16134 w 53780"/>
                <a:gd name="connsiteY14" fmla="*/ 53108 h 53780"/>
                <a:gd name="connsiteX15" fmla="*/ 16582 w 53780"/>
                <a:gd name="connsiteY15" fmla="*/ 53108 h 53780"/>
                <a:gd name="connsiteX16" fmla="*/ 17031 w 53780"/>
                <a:gd name="connsiteY16" fmla="*/ 52660 h 53780"/>
                <a:gd name="connsiteX17" fmla="*/ 17031 w 53780"/>
                <a:gd name="connsiteY17" fmla="*/ 52660 h 53780"/>
                <a:gd name="connsiteX18" fmla="*/ 48851 w 53780"/>
                <a:gd name="connsiteY18" fmla="*/ 20840 h 53780"/>
                <a:gd name="connsiteX19" fmla="*/ 48851 w 53780"/>
                <a:gd name="connsiteY19" fmla="*/ 20840 h 53780"/>
                <a:gd name="connsiteX20" fmla="*/ 48851 w 53780"/>
                <a:gd name="connsiteY20" fmla="*/ 20840 h 53780"/>
                <a:gd name="connsiteX21" fmla="*/ 53780 w 53780"/>
                <a:gd name="connsiteY21" fmla="*/ 15910 h 53780"/>
                <a:gd name="connsiteX22" fmla="*/ 56021 w 53780"/>
                <a:gd name="connsiteY22" fmla="*/ 10980 h 53780"/>
                <a:gd name="connsiteX23" fmla="*/ 36750 w 53780"/>
                <a:gd name="connsiteY23" fmla="*/ 11877 h 53780"/>
                <a:gd name="connsiteX24" fmla="*/ 43921 w 53780"/>
                <a:gd name="connsiteY24" fmla="*/ 19047 h 53780"/>
                <a:gd name="connsiteX25" fmla="*/ 15238 w 53780"/>
                <a:gd name="connsiteY25" fmla="*/ 48178 h 53780"/>
                <a:gd name="connsiteX26" fmla="*/ 8067 w 53780"/>
                <a:gd name="connsiteY26" fmla="*/ 41008 h 53780"/>
                <a:gd name="connsiteX27" fmla="*/ 36750 w 53780"/>
                <a:gd name="connsiteY27" fmla="*/ 11877 h 53780"/>
                <a:gd name="connsiteX28" fmla="*/ 5826 w 53780"/>
                <a:gd name="connsiteY28" fmla="*/ 45489 h 53780"/>
                <a:gd name="connsiteX29" fmla="*/ 10308 w 53780"/>
                <a:gd name="connsiteY29" fmla="*/ 49971 h 53780"/>
                <a:gd name="connsiteX30" fmla="*/ 4034 w 53780"/>
                <a:gd name="connsiteY30" fmla="*/ 51316 h 53780"/>
                <a:gd name="connsiteX31" fmla="*/ 5826 w 53780"/>
                <a:gd name="connsiteY31" fmla="*/ 45489 h 53780"/>
                <a:gd name="connsiteX32" fmla="*/ 50643 w 53780"/>
                <a:gd name="connsiteY32" fmla="*/ 12773 h 53780"/>
                <a:gd name="connsiteX33" fmla="*/ 47058 w 53780"/>
                <a:gd name="connsiteY33" fmla="*/ 16358 h 53780"/>
                <a:gd name="connsiteX34" fmla="*/ 39887 w 53780"/>
                <a:gd name="connsiteY34" fmla="*/ 9188 h 53780"/>
                <a:gd name="connsiteX35" fmla="*/ 43473 w 53780"/>
                <a:gd name="connsiteY35" fmla="*/ 5602 h 53780"/>
                <a:gd name="connsiteX36" fmla="*/ 46610 w 53780"/>
                <a:gd name="connsiteY36" fmla="*/ 5602 h 53780"/>
                <a:gd name="connsiteX37" fmla="*/ 50643 w 53780"/>
                <a:gd name="connsiteY37" fmla="*/ 9636 h 53780"/>
                <a:gd name="connsiteX38" fmla="*/ 51092 w 53780"/>
                <a:gd name="connsiteY38" fmla="*/ 11428 h 53780"/>
                <a:gd name="connsiteX39" fmla="*/ 50643 w 53780"/>
                <a:gd name="connsiteY39" fmla="*/ 12773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780" h="53780">
                  <a:moveTo>
                    <a:pt x="56021" y="10980"/>
                  </a:moveTo>
                  <a:cubicBezTo>
                    <a:pt x="56021" y="9188"/>
                    <a:pt x="55125" y="7395"/>
                    <a:pt x="54229" y="6050"/>
                  </a:cubicBezTo>
                  <a:lnTo>
                    <a:pt x="50195" y="2017"/>
                  </a:lnTo>
                  <a:cubicBezTo>
                    <a:pt x="47506" y="-672"/>
                    <a:pt x="43473" y="-672"/>
                    <a:pt x="40784" y="2017"/>
                  </a:cubicBezTo>
                  <a:lnTo>
                    <a:pt x="3586" y="39215"/>
                  </a:lnTo>
                  <a:cubicBezTo>
                    <a:pt x="3586" y="39215"/>
                    <a:pt x="3586" y="39215"/>
                    <a:pt x="3586" y="39215"/>
                  </a:cubicBezTo>
                  <a:cubicBezTo>
                    <a:pt x="3586" y="39215"/>
                    <a:pt x="3586" y="39215"/>
                    <a:pt x="3137" y="39663"/>
                  </a:cubicBezTo>
                  <a:cubicBezTo>
                    <a:pt x="3137" y="39663"/>
                    <a:pt x="3137" y="40111"/>
                    <a:pt x="3137" y="40111"/>
                  </a:cubicBezTo>
                  <a:cubicBezTo>
                    <a:pt x="3137" y="40111"/>
                    <a:pt x="3137" y="40111"/>
                    <a:pt x="3137" y="40111"/>
                  </a:cubicBezTo>
                  <a:lnTo>
                    <a:pt x="0" y="53556"/>
                  </a:lnTo>
                  <a:cubicBezTo>
                    <a:pt x="0" y="54453"/>
                    <a:pt x="0" y="54901"/>
                    <a:pt x="448" y="55797"/>
                  </a:cubicBezTo>
                  <a:cubicBezTo>
                    <a:pt x="896" y="56245"/>
                    <a:pt x="1345" y="56245"/>
                    <a:pt x="2241" y="56245"/>
                  </a:cubicBezTo>
                  <a:cubicBezTo>
                    <a:pt x="2241" y="56245"/>
                    <a:pt x="2689" y="56245"/>
                    <a:pt x="2689" y="56245"/>
                  </a:cubicBezTo>
                  <a:lnTo>
                    <a:pt x="16134" y="53108"/>
                  </a:lnTo>
                  <a:cubicBezTo>
                    <a:pt x="16134" y="53108"/>
                    <a:pt x="16134" y="53108"/>
                    <a:pt x="16134" y="53108"/>
                  </a:cubicBezTo>
                  <a:cubicBezTo>
                    <a:pt x="16134" y="53108"/>
                    <a:pt x="16582" y="53108"/>
                    <a:pt x="16582" y="53108"/>
                  </a:cubicBezTo>
                  <a:cubicBezTo>
                    <a:pt x="16582" y="53108"/>
                    <a:pt x="17031" y="53108"/>
                    <a:pt x="17031" y="52660"/>
                  </a:cubicBezTo>
                  <a:cubicBezTo>
                    <a:pt x="17031" y="52660"/>
                    <a:pt x="17031" y="52660"/>
                    <a:pt x="17031" y="52660"/>
                  </a:cubicBezTo>
                  <a:lnTo>
                    <a:pt x="48851" y="20840"/>
                  </a:lnTo>
                  <a:cubicBezTo>
                    <a:pt x="48851" y="20840"/>
                    <a:pt x="48851" y="20840"/>
                    <a:pt x="48851" y="20840"/>
                  </a:cubicBezTo>
                  <a:cubicBezTo>
                    <a:pt x="48851" y="20840"/>
                    <a:pt x="48851" y="20840"/>
                    <a:pt x="48851" y="20840"/>
                  </a:cubicBezTo>
                  <a:lnTo>
                    <a:pt x="53780" y="15910"/>
                  </a:lnTo>
                  <a:cubicBezTo>
                    <a:pt x="55125" y="14566"/>
                    <a:pt x="56021" y="12773"/>
                    <a:pt x="56021" y="10980"/>
                  </a:cubicBezTo>
                  <a:close/>
                  <a:moveTo>
                    <a:pt x="36750" y="11877"/>
                  </a:moveTo>
                  <a:lnTo>
                    <a:pt x="43921" y="19047"/>
                  </a:lnTo>
                  <a:lnTo>
                    <a:pt x="15238" y="48178"/>
                  </a:lnTo>
                  <a:lnTo>
                    <a:pt x="8067" y="41008"/>
                  </a:lnTo>
                  <a:lnTo>
                    <a:pt x="36750" y="11877"/>
                  </a:lnTo>
                  <a:close/>
                  <a:moveTo>
                    <a:pt x="5826" y="45489"/>
                  </a:moveTo>
                  <a:lnTo>
                    <a:pt x="10308" y="49971"/>
                  </a:lnTo>
                  <a:lnTo>
                    <a:pt x="4034" y="51316"/>
                  </a:lnTo>
                  <a:lnTo>
                    <a:pt x="5826" y="45489"/>
                  </a:lnTo>
                  <a:close/>
                  <a:moveTo>
                    <a:pt x="50643" y="12773"/>
                  </a:moveTo>
                  <a:lnTo>
                    <a:pt x="47058" y="16358"/>
                  </a:lnTo>
                  <a:lnTo>
                    <a:pt x="39887" y="9188"/>
                  </a:lnTo>
                  <a:lnTo>
                    <a:pt x="43473" y="5602"/>
                  </a:lnTo>
                  <a:cubicBezTo>
                    <a:pt x="44369" y="4706"/>
                    <a:pt x="45713" y="4706"/>
                    <a:pt x="46610" y="5602"/>
                  </a:cubicBezTo>
                  <a:lnTo>
                    <a:pt x="50643" y="9636"/>
                  </a:lnTo>
                  <a:cubicBezTo>
                    <a:pt x="51092" y="10084"/>
                    <a:pt x="51092" y="10532"/>
                    <a:pt x="51092" y="11428"/>
                  </a:cubicBezTo>
                  <a:cubicBezTo>
                    <a:pt x="51540" y="11877"/>
                    <a:pt x="51092" y="12325"/>
                    <a:pt x="50643" y="12773"/>
                  </a:cubicBezTo>
                  <a:close/>
                </a:path>
              </a:pathLst>
            </a:custGeom>
            <a:solidFill>
              <a:srgbClr val="231F20"/>
            </a:solidFill>
            <a:ln w="4477" cap="flat">
              <a:noFill/>
              <a:prstDash val="solid"/>
              <a:miter/>
            </a:ln>
          </p:spPr>
          <p:txBody>
            <a:bodyPr rtlCol="0" anchor="ctr"/>
            <a:lstStyle/>
            <a:p>
              <a:endParaRPr lang="en-US"/>
            </a:p>
          </p:txBody>
        </p:sp>
        <p:sp>
          <p:nvSpPr>
            <p:cNvPr id="2693" name="Freeform: Shape 2692">
              <a:extLst>
                <a:ext uri="{FF2B5EF4-FFF2-40B4-BE49-F238E27FC236}">
                  <a16:creationId xmlns:a16="http://schemas.microsoft.com/office/drawing/2014/main" id="{73B559D0-5F54-4BC4-8E15-04C63352CFB2}"/>
                </a:ext>
              </a:extLst>
            </p:cNvPr>
            <p:cNvSpPr/>
            <p:nvPr/>
          </p:nvSpPr>
          <p:spPr>
            <a:xfrm>
              <a:off x="10168096" y="3158236"/>
              <a:ext cx="116524" cy="152378"/>
            </a:xfrm>
            <a:custGeom>
              <a:avLst/>
              <a:gdLst>
                <a:gd name="connsiteX0" fmla="*/ 115180 w 116524"/>
                <a:gd name="connsiteY0" fmla="*/ 99498 h 152377"/>
                <a:gd name="connsiteX1" fmla="*/ 116076 w 116524"/>
                <a:gd name="connsiteY1" fmla="*/ 99498 h 152377"/>
                <a:gd name="connsiteX2" fmla="*/ 118317 w 116524"/>
                <a:gd name="connsiteY2" fmla="*/ 98154 h 152377"/>
                <a:gd name="connsiteX3" fmla="*/ 116972 w 116524"/>
                <a:gd name="connsiteY3" fmla="*/ 95465 h 152377"/>
                <a:gd name="connsiteX4" fmla="*/ 104872 w 116524"/>
                <a:gd name="connsiteY4" fmla="*/ 93224 h 152377"/>
                <a:gd name="connsiteX5" fmla="*/ 89186 w 116524"/>
                <a:gd name="connsiteY5" fmla="*/ 76642 h 152377"/>
                <a:gd name="connsiteX6" fmla="*/ 89634 w 116524"/>
                <a:gd name="connsiteY6" fmla="*/ 73504 h 152377"/>
                <a:gd name="connsiteX7" fmla="*/ 93219 w 116524"/>
                <a:gd name="connsiteY7" fmla="*/ 70367 h 152377"/>
                <a:gd name="connsiteX8" fmla="*/ 103079 w 116524"/>
                <a:gd name="connsiteY8" fmla="*/ 43029 h 152377"/>
                <a:gd name="connsiteX9" fmla="*/ 103527 w 116524"/>
                <a:gd name="connsiteY9" fmla="*/ 40340 h 152377"/>
                <a:gd name="connsiteX10" fmla="*/ 103527 w 116524"/>
                <a:gd name="connsiteY10" fmla="*/ 22861 h 152377"/>
                <a:gd name="connsiteX11" fmla="*/ 70811 w 116524"/>
                <a:gd name="connsiteY11" fmla="*/ 4 h 152377"/>
                <a:gd name="connsiteX12" fmla="*/ 38543 w 116524"/>
                <a:gd name="connsiteY12" fmla="*/ 22861 h 152377"/>
                <a:gd name="connsiteX13" fmla="*/ 38543 w 116524"/>
                <a:gd name="connsiteY13" fmla="*/ 40340 h 152377"/>
                <a:gd name="connsiteX14" fmla="*/ 38543 w 116524"/>
                <a:gd name="connsiteY14" fmla="*/ 41684 h 152377"/>
                <a:gd name="connsiteX15" fmla="*/ 49299 w 116524"/>
                <a:gd name="connsiteY15" fmla="*/ 69919 h 152377"/>
                <a:gd name="connsiteX16" fmla="*/ 51988 w 116524"/>
                <a:gd name="connsiteY16" fmla="*/ 72608 h 152377"/>
                <a:gd name="connsiteX17" fmla="*/ 52436 w 116524"/>
                <a:gd name="connsiteY17" fmla="*/ 76642 h 152377"/>
                <a:gd name="connsiteX18" fmla="*/ 36750 w 116524"/>
                <a:gd name="connsiteY18" fmla="*/ 93224 h 152377"/>
                <a:gd name="connsiteX19" fmla="*/ 0 w 116524"/>
                <a:gd name="connsiteY19" fmla="*/ 130870 h 152377"/>
                <a:gd name="connsiteX20" fmla="*/ 0 w 116524"/>
                <a:gd name="connsiteY20" fmla="*/ 138041 h 152377"/>
                <a:gd name="connsiteX21" fmla="*/ 0 w 116524"/>
                <a:gd name="connsiteY21" fmla="*/ 150141 h 152377"/>
                <a:gd name="connsiteX22" fmla="*/ 2241 w 116524"/>
                <a:gd name="connsiteY22" fmla="*/ 152382 h 152377"/>
                <a:gd name="connsiteX23" fmla="*/ 4482 w 116524"/>
                <a:gd name="connsiteY23" fmla="*/ 150141 h 152377"/>
                <a:gd name="connsiteX24" fmla="*/ 4482 w 116524"/>
                <a:gd name="connsiteY24" fmla="*/ 138041 h 152377"/>
                <a:gd name="connsiteX25" fmla="*/ 4482 w 116524"/>
                <a:gd name="connsiteY25" fmla="*/ 130870 h 152377"/>
                <a:gd name="connsiteX26" fmla="*/ 36750 w 116524"/>
                <a:gd name="connsiteY26" fmla="*/ 97706 h 152377"/>
                <a:gd name="connsiteX27" fmla="*/ 56918 w 116524"/>
                <a:gd name="connsiteY27" fmla="*/ 76642 h 152377"/>
                <a:gd name="connsiteX28" fmla="*/ 56918 w 116524"/>
                <a:gd name="connsiteY28" fmla="*/ 75745 h 152377"/>
                <a:gd name="connsiteX29" fmla="*/ 71259 w 116524"/>
                <a:gd name="connsiteY29" fmla="*/ 79331 h 152377"/>
                <a:gd name="connsiteX30" fmla="*/ 71707 w 116524"/>
                <a:gd name="connsiteY30" fmla="*/ 79331 h 152377"/>
                <a:gd name="connsiteX31" fmla="*/ 84704 w 116524"/>
                <a:gd name="connsiteY31" fmla="*/ 76642 h 152377"/>
                <a:gd name="connsiteX32" fmla="*/ 84704 w 116524"/>
                <a:gd name="connsiteY32" fmla="*/ 77090 h 152377"/>
                <a:gd name="connsiteX33" fmla="*/ 104872 w 116524"/>
                <a:gd name="connsiteY33" fmla="*/ 98154 h 152377"/>
                <a:gd name="connsiteX34" fmla="*/ 115180 w 116524"/>
                <a:gd name="connsiteY34" fmla="*/ 99498 h 152377"/>
                <a:gd name="connsiteX35" fmla="*/ 71259 w 116524"/>
                <a:gd name="connsiteY35" fmla="*/ 74401 h 152377"/>
                <a:gd name="connsiteX36" fmla="*/ 71259 w 116524"/>
                <a:gd name="connsiteY36" fmla="*/ 74401 h 152377"/>
                <a:gd name="connsiteX37" fmla="*/ 52436 w 116524"/>
                <a:gd name="connsiteY37" fmla="*/ 66782 h 152377"/>
                <a:gd name="connsiteX38" fmla="*/ 43024 w 116524"/>
                <a:gd name="connsiteY38" fmla="*/ 40788 h 152377"/>
                <a:gd name="connsiteX39" fmla="*/ 43024 w 116524"/>
                <a:gd name="connsiteY39" fmla="*/ 39443 h 152377"/>
                <a:gd name="connsiteX40" fmla="*/ 43024 w 116524"/>
                <a:gd name="connsiteY40" fmla="*/ 23309 h 152377"/>
                <a:gd name="connsiteX41" fmla="*/ 70811 w 116524"/>
                <a:gd name="connsiteY41" fmla="*/ 4038 h 152377"/>
                <a:gd name="connsiteX42" fmla="*/ 99046 w 116524"/>
                <a:gd name="connsiteY42" fmla="*/ 23309 h 152377"/>
                <a:gd name="connsiteX43" fmla="*/ 99046 w 116524"/>
                <a:gd name="connsiteY43" fmla="*/ 39443 h 152377"/>
                <a:gd name="connsiteX44" fmla="*/ 98597 w 116524"/>
                <a:gd name="connsiteY44" fmla="*/ 42133 h 152377"/>
                <a:gd name="connsiteX45" fmla="*/ 89634 w 116524"/>
                <a:gd name="connsiteY45" fmla="*/ 67230 h 152377"/>
                <a:gd name="connsiteX46" fmla="*/ 71259 w 116524"/>
                <a:gd name="connsiteY46" fmla="*/ 74401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524" h="152377">
                  <a:moveTo>
                    <a:pt x="115180" y="99498"/>
                  </a:moveTo>
                  <a:cubicBezTo>
                    <a:pt x="115628" y="99498"/>
                    <a:pt x="115628" y="99498"/>
                    <a:pt x="116076" y="99498"/>
                  </a:cubicBezTo>
                  <a:cubicBezTo>
                    <a:pt x="116972" y="99498"/>
                    <a:pt x="117869" y="99050"/>
                    <a:pt x="118317" y="98154"/>
                  </a:cubicBezTo>
                  <a:cubicBezTo>
                    <a:pt x="118765" y="96809"/>
                    <a:pt x="118317" y="95913"/>
                    <a:pt x="116972" y="95465"/>
                  </a:cubicBezTo>
                  <a:cubicBezTo>
                    <a:pt x="112939" y="94120"/>
                    <a:pt x="108905" y="93224"/>
                    <a:pt x="104872" y="93224"/>
                  </a:cubicBezTo>
                  <a:cubicBezTo>
                    <a:pt x="95909" y="93224"/>
                    <a:pt x="89186" y="85605"/>
                    <a:pt x="89186" y="76642"/>
                  </a:cubicBezTo>
                  <a:cubicBezTo>
                    <a:pt x="89186" y="75745"/>
                    <a:pt x="89186" y="74849"/>
                    <a:pt x="89634" y="73504"/>
                  </a:cubicBezTo>
                  <a:cubicBezTo>
                    <a:pt x="90978" y="72608"/>
                    <a:pt x="91875" y="71712"/>
                    <a:pt x="93219" y="70367"/>
                  </a:cubicBezTo>
                  <a:cubicBezTo>
                    <a:pt x="100390" y="62300"/>
                    <a:pt x="101735" y="51096"/>
                    <a:pt x="103079" y="43029"/>
                  </a:cubicBezTo>
                  <a:lnTo>
                    <a:pt x="103527" y="40340"/>
                  </a:lnTo>
                  <a:cubicBezTo>
                    <a:pt x="105320" y="30928"/>
                    <a:pt x="103527" y="22861"/>
                    <a:pt x="103527" y="22861"/>
                  </a:cubicBezTo>
                  <a:cubicBezTo>
                    <a:pt x="98597" y="-892"/>
                    <a:pt x="70811" y="4"/>
                    <a:pt x="70811" y="4"/>
                  </a:cubicBezTo>
                  <a:cubicBezTo>
                    <a:pt x="70363" y="4"/>
                    <a:pt x="43473" y="-444"/>
                    <a:pt x="38543" y="22861"/>
                  </a:cubicBezTo>
                  <a:cubicBezTo>
                    <a:pt x="38543" y="23309"/>
                    <a:pt x="36750" y="30928"/>
                    <a:pt x="38543" y="40340"/>
                  </a:cubicBezTo>
                  <a:lnTo>
                    <a:pt x="38543" y="41684"/>
                  </a:lnTo>
                  <a:cubicBezTo>
                    <a:pt x="39887" y="50200"/>
                    <a:pt x="41680" y="61404"/>
                    <a:pt x="49299" y="69919"/>
                  </a:cubicBezTo>
                  <a:cubicBezTo>
                    <a:pt x="50195" y="70815"/>
                    <a:pt x="51092" y="71712"/>
                    <a:pt x="51988" y="72608"/>
                  </a:cubicBezTo>
                  <a:cubicBezTo>
                    <a:pt x="52436" y="73953"/>
                    <a:pt x="52436" y="75297"/>
                    <a:pt x="52436" y="76642"/>
                  </a:cubicBezTo>
                  <a:cubicBezTo>
                    <a:pt x="52436" y="86053"/>
                    <a:pt x="45265" y="93224"/>
                    <a:pt x="36750" y="93224"/>
                  </a:cubicBezTo>
                  <a:cubicBezTo>
                    <a:pt x="16582" y="93224"/>
                    <a:pt x="448" y="109806"/>
                    <a:pt x="0" y="130870"/>
                  </a:cubicBezTo>
                  <a:lnTo>
                    <a:pt x="0" y="138041"/>
                  </a:lnTo>
                  <a:cubicBezTo>
                    <a:pt x="0" y="142074"/>
                    <a:pt x="0" y="146108"/>
                    <a:pt x="0" y="150141"/>
                  </a:cubicBezTo>
                  <a:cubicBezTo>
                    <a:pt x="0" y="151486"/>
                    <a:pt x="896" y="152382"/>
                    <a:pt x="2241" y="152382"/>
                  </a:cubicBezTo>
                  <a:cubicBezTo>
                    <a:pt x="3585" y="152382"/>
                    <a:pt x="4482" y="151486"/>
                    <a:pt x="4482" y="150141"/>
                  </a:cubicBezTo>
                  <a:cubicBezTo>
                    <a:pt x="4482" y="146108"/>
                    <a:pt x="4482" y="142074"/>
                    <a:pt x="4482" y="138041"/>
                  </a:cubicBezTo>
                  <a:lnTo>
                    <a:pt x="4482" y="130870"/>
                  </a:lnTo>
                  <a:cubicBezTo>
                    <a:pt x="4930" y="112495"/>
                    <a:pt x="19271" y="97706"/>
                    <a:pt x="36750" y="97706"/>
                  </a:cubicBezTo>
                  <a:cubicBezTo>
                    <a:pt x="47954" y="97706"/>
                    <a:pt x="56918" y="88294"/>
                    <a:pt x="56918" y="76642"/>
                  </a:cubicBezTo>
                  <a:cubicBezTo>
                    <a:pt x="56918" y="76193"/>
                    <a:pt x="56918" y="76193"/>
                    <a:pt x="56918" y="75745"/>
                  </a:cubicBezTo>
                  <a:cubicBezTo>
                    <a:pt x="63640" y="78882"/>
                    <a:pt x="70363" y="79331"/>
                    <a:pt x="71259" y="79331"/>
                  </a:cubicBezTo>
                  <a:cubicBezTo>
                    <a:pt x="71259" y="79331"/>
                    <a:pt x="71259" y="79331"/>
                    <a:pt x="71707" y="79331"/>
                  </a:cubicBezTo>
                  <a:cubicBezTo>
                    <a:pt x="73500" y="79331"/>
                    <a:pt x="78878" y="78882"/>
                    <a:pt x="84704" y="76642"/>
                  </a:cubicBezTo>
                  <a:cubicBezTo>
                    <a:pt x="84704" y="76642"/>
                    <a:pt x="84704" y="76642"/>
                    <a:pt x="84704" y="77090"/>
                  </a:cubicBezTo>
                  <a:cubicBezTo>
                    <a:pt x="84704" y="88742"/>
                    <a:pt x="93668" y="98154"/>
                    <a:pt x="104872" y="98154"/>
                  </a:cubicBezTo>
                  <a:cubicBezTo>
                    <a:pt x="108457" y="97706"/>
                    <a:pt x="112043" y="98154"/>
                    <a:pt x="115180" y="99498"/>
                  </a:cubicBezTo>
                  <a:close/>
                  <a:moveTo>
                    <a:pt x="71259" y="74401"/>
                  </a:moveTo>
                  <a:cubicBezTo>
                    <a:pt x="70811" y="74401"/>
                    <a:pt x="70811" y="74401"/>
                    <a:pt x="71259" y="74401"/>
                  </a:cubicBezTo>
                  <a:cubicBezTo>
                    <a:pt x="70811" y="74401"/>
                    <a:pt x="58710" y="74401"/>
                    <a:pt x="52436" y="66782"/>
                  </a:cubicBezTo>
                  <a:cubicBezTo>
                    <a:pt x="45713" y="59163"/>
                    <a:pt x="43921" y="48407"/>
                    <a:pt x="43024" y="40788"/>
                  </a:cubicBezTo>
                  <a:lnTo>
                    <a:pt x="43024" y="39443"/>
                  </a:lnTo>
                  <a:cubicBezTo>
                    <a:pt x="41680" y="30928"/>
                    <a:pt x="43024" y="23758"/>
                    <a:pt x="43024" y="23309"/>
                  </a:cubicBezTo>
                  <a:cubicBezTo>
                    <a:pt x="47058" y="3590"/>
                    <a:pt x="69914" y="4038"/>
                    <a:pt x="70811" y="4038"/>
                  </a:cubicBezTo>
                  <a:cubicBezTo>
                    <a:pt x="71259" y="4038"/>
                    <a:pt x="95012" y="3142"/>
                    <a:pt x="99046" y="23309"/>
                  </a:cubicBezTo>
                  <a:cubicBezTo>
                    <a:pt x="99046" y="23309"/>
                    <a:pt x="100390" y="30480"/>
                    <a:pt x="99046" y="39443"/>
                  </a:cubicBezTo>
                  <a:lnTo>
                    <a:pt x="98597" y="42133"/>
                  </a:lnTo>
                  <a:cubicBezTo>
                    <a:pt x="97253" y="50200"/>
                    <a:pt x="95909" y="60059"/>
                    <a:pt x="89634" y="67230"/>
                  </a:cubicBezTo>
                  <a:cubicBezTo>
                    <a:pt x="83360" y="74401"/>
                    <a:pt x="72604" y="74401"/>
                    <a:pt x="71259" y="74401"/>
                  </a:cubicBezTo>
                  <a:close/>
                </a:path>
              </a:pathLst>
            </a:custGeom>
            <a:solidFill>
              <a:srgbClr val="231F20"/>
            </a:solidFill>
            <a:ln w="4477" cap="flat">
              <a:noFill/>
              <a:prstDash val="solid"/>
              <a:miter/>
            </a:ln>
          </p:spPr>
          <p:txBody>
            <a:bodyPr rtlCol="0" anchor="ctr"/>
            <a:lstStyle/>
            <a:p>
              <a:endParaRPr lang="en-US"/>
            </a:p>
          </p:txBody>
        </p:sp>
      </p:grpSp>
      <p:grpSp>
        <p:nvGrpSpPr>
          <p:cNvPr id="2611" name="Group 2610">
            <a:extLst>
              <a:ext uri="{FF2B5EF4-FFF2-40B4-BE49-F238E27FC236}">
                <a16:creationId xmlns:a16="http://schemas.microsoft.com/office/drawing/2014/main" id="{B477BBD3-BDBA-4DD5-900C-97C5AD1F82D4}"/>
              </a:ext>
              <a:ext uri="{C183D7F6-B498-43B3-948B-1728B52AA6E4}">
                <adec:decorative xmlns:adec="http://schemas.microsoft.com/office/drawing/2017/decorative" val="1"/>
              </a:ext>
            </a:extLst>
          </p:cNvPr>
          <p:cNvGrpSpPr>
            <a:grpSpLocks noChangeAspect="1"/>
          </p:cNvGrpSpPr>
          <p:nvPr/>
        </p:nvGrpSpPr>
        <p:grpSpPr>
          <a:xfrm>
            <a:off x="7214176" y="5563051"/>
            <a:ext cx="149689" cy="152378"/>
            <a:chOff x="7270676" y="3507360"/>
            <a:chExt cx="149689" cy="152378"/>
          </a:xfrm>
        </p:grpSpPr>
        <p:sp>
          <p:nvSpPr>
            <p:cNvPr id="2689" name="Freeform: Shape 2688">
              <a:extLst>
                <a:ext uri="{FF2B5EF4-FFF2-40B4-BE49-F238E27FC236}">
                  <a16:creationId xmlns:a16="http://schemas.microsoft.com/office/drawing/2014/main" id="{E4CA184E-D6AF-40BE-BD1F-A6F08CB0BF97}"/>
                </a:ext>
              </a:extLst>
            </p:cNvPr>
            <p:cNvSpPr/>
            <p:nvPr/>
          </p:nvSpPr>
          <p:spPr>
            <a:xfrm>
              <a:off x="7384511" y="3608203"/>
              <a:ext cx="35854" cy="49299"/>
            </a:xfrm>
            <a:custGeom>
              <a:avLst/>
              <a:gdLst>
                <a:gd name="connsiteX0" fmla="*/ 31820 w 35853"/>
                <a:gd name="connsiteY0" fmla="*/ 19719 h 49298"/>
                <a:gd name="connsiteX1" fmla="*/ 10308 w 35853"/>
                <a:gd name="connsiteY1" fmla="*/ 19719 h 49298"/>
                <a:gd name="connsiteX2" fmla="*/ 10308 w 35853"/>
                <a:gd name="connsiteY2" fmla="*/ 13445 h 49298"/>
                <a:gd name="connsiteX3" fmla="*/ 19271 w 35853"/>
                <a:gd name="connsiteY3" fmla="*/ 4482 h 49298"/>
                <a:gd name="connsiteX4" fmla="*/ 28235 w 35853"/>
                <a:gd name="connsiteY4" fmla="*/ 13445 h 49298"/>
                <a:gd name="connsiteX5" fmla="*/ 30476 w 35853"/>
                <a:gd name="connsiteY5" fmla="*/ 15686 h 49298"/>
                <a:gd name="connsiteX6" fmla="*/ 32716 w 35853"/>
                <a:gd name="connsiteY6" fmla="*/ 13445 h 49298"/>
                <a:gd name="connsiteX7" fmla="*/ 19271 w 35853"/>
                <a:gd name="connsiteY7" fmla="*/ 0 h 49298"/>
                <a:gd name="connsiteX8" fmla="*/ 5826 w 35853"/>
                <a:gd name="connsiteY8" fmla="*/ 13445 h 49298"/>
                <a:gd name="connsiteX9" fmla="*/ 5826 w 35853"/>
                <a:gd name="connsiteY9" fmla="*/ 20168 h 49298"/>
                <a:gd name="connsiteX10" fmla="*/ 0 w 35853"/>
                <a:gd name="connsiteY10" fmla="*/ 25994 h 49298"/>
                <a:gd name="connsiteX11" fmla="*/ 0 w 35853"/>
                <a:gd name="connsiteY11" fmla="*/ 45265 h 49298"/>
                <a:gd name="connsiteX12" fmla="*/ 6274 w 35853"/>
                <a:gd name="connsiteY12" fmla="*/ 51540 h 49298"/>
                <a:gd name="connsiteX13" fmla="*/ 32268 w 35853"/>
                <a:gd name="connsiteY13" fmla="*/ 51540 h 49298"/>
                <a:gd name="connsiteX14" fmla="*/ 38543 w 35853"/>
                <a:gd name="connsiteY14" fmla="*/ 45265 h 49298"/>
                <a:gd name="connsiteX15" fmla="*/ 38543 w 35853"/>
                <a:gd name="connsiteY15" fmla="*/ 25994 h 49298"/>
                <a:gd name="connsiteX16" fmla="*/ 31820 w 35853"/>
                <a:gd name="connsiteY16" fmla="*/ 19719 h 49298"/>
                <a:gd name="connsiteX17" fmla="*/ 33613 w 35853"/>
                <a:gd name="connsiteY17" fmla="*/ 44817 h 49298"/>
                <a:gd name="connsiteX18" fmla="*/ 31820 w 35853"/>
                <a:gd name="connsiteY18" fmla="*/ 46610 h 49298"/>
                <a:gd name="connsiteX19" fmla="*/ 5826 w 35853"/>
                <a:gd name="connsiteY19" fmla="*/ 46610 h 49298"/>
                <a:gd name="connsiteX20" fmla="*/ 4034 w 35853"/>
                <a:gd name="connsiteY20" fmla="*/ 44817 h 49298"/>
                <a:gd name="connsiteX21" fmla="*/ 4034 w 35853"/>
                <a:gd name="connsiteY21" fmla="*/ 25546 h 49298"/>
                <a:gd name="connsiteX22" fmla="*/ 5826 w 35853"/>
                <a:gd name="connsiteY22" fmla="*/ 23753 h 49298"/>
                <a:gd name="connsiteX23" fmla="*/ 31820 w 35853"/>
                <a:gd name="connsiteY23" fmla="*/ 23753 h 49298"/>
                <a:gd name="connsiteX24" fmla="*/ 33613 w 35853"/>
                <a:gd name="connsiteY24" fmla="*/ 25546 h 49298"/>
                <a:gd name="connsiteX25" fmla="*/ 33613 w 35853"/>
                <a:gd name="connsiteY25" fmla="*/ 44817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853" h="49298">
                  <a:moveTo>
                    <a:pt x="31820" y="19719"/>
                  </a:moveTo>
                  <a:lnTo>
                    <a:pt x="10308" y="19719"/>
                  </a:lnTo>
                  <a:lnTo>
                    <a:pt x="10308" y="13445"/>
                  </a:lnTo>
                  <a:cubicBezTo>
                    <a:pt x="10308" y="8515"/>
                    <a:pt x="14342" y="4482"/>
                    <a:pt x="19271" y="4482"/>
                  </a:cubicBezTo>
                  <a:cubicBezTo>
                    <a:pt x="24201" y="4482"/>
                    <a:pt x="28235" y="8515"/>
                    <a:pt x="28235" y="13445"/>
                  </a:cubicBezTo>
                  <a:cubicBezTo>
                    <a:pt x="28235" y="14790"/>
                    <a:pt x="29131" y="15686"/>
                    <a:pt x="30476" y="15686"/>
                  </a:cubicBezTo>
                  <a:cubicBezTo>
                    <a:pt x="31820" y="15686"/>
                    <a:pt x="32716" y="14790"/>
                    <a:pt x="32716" y="13445"/>
                  </a:cubicBezTo>
                  <a:cubicBezTo>
                    <a:pt x="32716" y="6274"/>
                    <a:pt x="26890" y="0"/>
                    <a:pt x="19271" y="0"/>
                  </a:cubicBezTo>
                  <a:cubicBezTo>
                    <a:pt x="11652" y="0"/>
                    <a:pt x="5826" y="5826"/>
                    <a:pt x="5826" y="13445"/>
                  </a:cubicBezTo>
                  <a:lnTo>
                    <a:pt x="5826" y="20168"/>
                  </a:lnTo>
                  <a:cubicBezTo>
                    <a:pt x="2689" y="20168"/>
                    <a:pt x="0" y="22857"/>
                    <a:pt x="0" y="25994"/>
                  </a:cubicBezTo>
                  <a:lnTo>
                    <a:pt x="0" y="45265"/>
                  </a:lnTo>
                  <a:cubicBezTo>
                    <a:pt x="0" y="48402"/>
                    <a:pt x="2689" y="51540"/>
                    <a:pt x="6274" y="51540"/>
                  </a:cubicBezTo>
                  <a:lnTo>
                    <a:pt x="32268" y="51540"/>
                  </a:lnTo>
                  <a:cubicBezTo>
                    <a:pt x="35854" y="51540"/>
                    <a:pt x="38543" y="48850"/>
                    <a:pt x="38543" y="45265"/>
                  </a:cubicBezTo>
                  <a:lnTo>
                    <a:pt x="38543" y="25994"/>
                  </a:lnTo>
                  <a:cubicBezTo>
                    <a:pt x="38094" y="22409"/>
                    <a:pt x="35405" y="19719"/>
                    <a:pt x="31820" y="19719"/>
                  </a:cubicBezTo>
                  <a:close/>
                  <a:moveTo>
                    <a:pt x="33613" y="44817"/>
                  </a:moveTo>
                  <a:cubicBezTo>
                    <a:pt x="33613" y="45713"/>
                    <a:pt x="32716" y="46610"/>
                    <a:pt x="31820" y="46610"/>
                  </a:cubicBezTo>
                  <a:lnTo>
                    <a:pt x="5826" y="46610"/>
                  </a:lnTo>
                  <a:cubicBezTo>
                    <a:pt x="4930" y="46610"/>
                    <a:pt x="4034" y="45713"/>
                    <a:pt x="4034" y="44817"/>
                  </a:cubicBezTo>
                  <a:lnTo>
                    <a:pt x="4034" y="25546"/>
                  </a:lnTo>
                  <a:cubicBezTo>
                    <a:pt x="4034" y="24649"/>
                    <a:pt x="4930" y="23753"/>
                    <a:pt x="5826" y="23753"/>
                  </a:cubicBezTo>
                  <a:lnTo>
                    <a:pt x="31820" y="23753"/>
                  </a:lnTo>
                  <a:cubicBezTo>
                    <a:pt x="32716" y="23753"/>
                    <a:pt x="33613" y="24649"/>
                    <a:pt x="33613" y="25546"/>
                  </a:cubicBezTo>
                  <a:lnTo>
                    <a:pt x="33613" y="44817"/>
                  </a:lnTo>
                  <a:close/>
                </a:path>
              </a:pathLst>
            </a:custGeom>
            <a:solidFill>
              <a:srgbClr val="231F20"/>
            </a:solidFill>
            <a:ln w="4477" cap="flat">
              <a:noFill/>
              <a:prstDash val="solid"/>
              <a:miter/>
            </a:ln>
          </p:spPr>
          <p:txBody>
            <a:bodyPr rtlCol="0" anchor="ctr"/>
            <a:lstStyle/>
            <a:p>
              <a:endParaRPr lang="en-US"/>
            </a:p>
          </p:txBody>
        </p:sp>
        <p:sp>
          <p:nvSpPr>
            <p:cNvPr id="2690" name="Freeform: Shape 2689">
              <a:extLst>
                <a:ext uri="{FF2B5EF4-FFF2-40B4-BE49-F238E27FC236}">
                  <a16:creationId xmlns:a16="http://schemas.microsoft.com/office/drawing/2014/main" id="{41A5F856-8BE6-4ABF-8FC5-3AEF846AF332}"/>
                </a:ext>
              </a:extLst>
            </p:cNvPr>
            <p:cNvSpPr/>
            <p:nvPr/>
          </p:nvSpPr>
          <p:spPr>
            <a:xfrm>
              <a:off x="7401093" y="3638231"/>
              <a:ext cx="4482" cy="8963"/>
            </a:xfrm>
            <a:custGeom>
              <a:avLst/>
              <a:gdLst>
                <a:gd name="connsiteX0" fmla="*/ 2241 w 4481"/>
                <a:gd name="connsiteY0" fmla="*/ 0 h 8963"/>
                <a:gd name="connsiteX1" fmla="*/ 0 w 4481"/>
                <a:gd name="connsiteY1" fmla="*/ 2241 h 8963"/>
                <a:gd name="connsiteX2" fmla="*/ 0 w 4481"/>
                <a:gd name="connsiteY2" fmla="*/ 7619 h 8963"/>
                <a:gd name="connsiteX3" fmla="*/ 2241 w 4481"/>
                <a:gd name="connsiteY3" fmla="*/ 9860 h 8963"/>
                <a:gd name="connsiteX4" fmla="*/ 4482 w 4481"/>
                <a:gd name="connsiteY4" fmla="*/ 7619 h 8963"/>
                <a:gd name="connsiteX5" fmla="*/ 4482 w 4481"/>
                <a:gd name="connsiteY5" fmla="*/ 2241 h 8963"/>
                <a:gd name="connsiteX6" fmla="*/ 2241 w 4481"/>
                <a:gd name="connsiteY6"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0"/>
                  </a:moveTo>
                  <a:cubicBezTo>
                    <a:pt x="896" y="0"/>
                    <a:pt x="0" y="896"/>
                    <a:pt x="0" y="2241"/>
                  </a:cubicBezTo>
                  <a:lnTo>
                    <a:pt x="0" y="7619"/>
                  </a:lnTo>
                  <a:cubicBezTo>
                    <a:pt x="0" y="8963"/>
                    <a:pt x="896" y="9860"/>
                    <a:pt x="2241" y="9860"/>
                  </a:cubicBezTo>
                  <a:cubicBezTo>
                    <a:pt x="3585" y="9860"/>
                    <a:pt x="4482" y="8963"/>
                    <a:pt x="4482" y="7619"/>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2691" name="Freeform: Shape 2690">
              <a:extLst>
                <a:ext uri="{FF2B5EF4-FFF2-40B4-BE49-F238E27FC236}">
                  <a16:creationId xmlns:a16="http://schemas.microsoft.com/office/drawing/2014/main" id="{23125A3B-98D4-49A9-8FC4-EE8D6F77F8CC}"/>
                </a:ext>
              </a:extLst>
            </p:cNvPr>
            <p:cNvSpPr/>
            <p:nvPr/>
          </p:nvSpPr>
          <p:spPr>
            <a:xfrm>
              <a:off x="7270676" y="3507360"/>
              <a:ext cx="116524" cy="152378"/>
            </a:xfrm>
            <a:custGeom>
              <a:avLst/>
              <a:gdLst>
                <a:gd name="connsiteX0" fmla="*/ 116076 w 116524"/>
                <a:gd name="connsiteY0" fmla="*/ 99498 h 152377"/>
                <a:gd name="connsiteX1" fmla="*/ 118317 w 116524"/>
                <a:gd name="connsiteY1" fmla="*/ 98154 h 152377"/>
                <a:gd name="connsiteX2" fmla="*/ 116972 w 116524"/>
                <a:gd name="connsiteY2" fmla="*/ 95465 h 152377"/>
                <a:gd name="connsiteX3" fmla="*/ 104872 w 116524"/>
                <a:gd name="connsiteY3" fmla="*/ 93224 h 152377"/>
                <a:gd name="connsiteX4" fmla="*/ 89186 w 116524"/>
                <a:gd name="connsiteY4" fmla="*/ 76641 h 152377"/>
                <a:gd name="connsiteX5" fmla="*/ 89634 w 116524"/>
                <a:gd name="connsiteY5" fmla="*/ 73504 h 152377"/>
                <a:gd name="connsiteX6" fmla="*/ 93219 w 116524"/>
                <a:gd name="connsiteY6" fmla="*/ 70367 h 152377"/>
                <a:gd name="connsiteX7" fmla="*/ 103079 w 116524"/>
                <a:gd name="connsiteY7" fmla="*/ 43029 h 152377"/>
                <a:gd name="connsiteX8" fmla="*/ 103527 w 116524"/>
                <a:gd name="connsiteY8" fmla="*/ 40340 h 152377"/>
                <a:gd name="connsiteX9" fmla="*/ 103527 w 116524"/>
                <a:gd name="connsiteY9" fmla="*/ 22861 h 152377"/>
                <a:gd name="connsiteX10" fmla="*/ 70811 w 116524"/>
                <a:gd name="connsiteY10" fmla="*/ 4 h 152377"/>
                <a:gd name="connsiteX11" fmla="*/ 38543 w 116524"/>
                <a:gd name="connsiteY11" fmla="*/ 22861 h 152377"/>
                <a:gd name="connsiteX12" fmla="*/ 38543 w 116524"/>
                <a:gd name="connsiteY12" fmla="*/ 40340 h 152377"/>
                <a:gd name="connsiteX13" fmla="*/ 38543 w 116524"/>
                <a:gd name="connsiteY13" fmla="*/ 41684 h 152377"/>
                <a:gd name="connsiteX14" fmla="*/ 49299 w 116524"/>
                <a:gd name="connsiteY14" fmla="*/ 69919 h 152377"/>
                <a:gd name="connsiteX15" fmla="*/ 51988 w 116524"/>
                <a:gd name="connsiteY15" fmla="*/ 72608 h 152377"/>
                <a:gd name="connsiteX16" fmla="*/ 52436 w 116524"/>
                <a:gd name="connsiteY16" fmla="*/ 76641 h 152377"/>
                <a:gd name="connsiteX17" fmla="*/ 36750 w 116524"/>
                <a:gd name="connsiteY17" fmla="*/ 93224 h 152377"/>
                <a:gd name="connsiteX18" fmla="*/ 0 w 116524"/>
                <a:gd name="connsiteY18" fmla="*/ 130870 h 152377"/>
                <a:gd name="connsiteX19" fmla="*/ 0 w 116524"/>
                <a:gd name="connsiteY19" fmla="*/ 138041 h 152377"/>
                <a:gd name="connsiteX20" fmla="*/ 0 w 116524"/>
                <a:gd name="connsiteY20" fmla="*/ 150141 h 152377"/>
                <a:gd name="connsiteX21" fmla="*/ 2241 w 116524"/>
                <a:gd name="connsiteY21" fmla="*/ 152382 h 152377"/>
                <a:gd name="connsiteX22" fmla="*/ 2241 w 116524"/>
                <a:gd name="connsiteY22" fmla="*/ 152382 h 152377"/>
                <a:gd name="connsiteX23" fmla="*/ 4482 w 116524"/>
                <a:gd name="connsiteY23" fmla="*/ 150141 h 152377"/>
                <a:gd name="connsiteX24" fmla="*/ 4482 w 116524"/>
                <a:gd name="connsiteY24" fmla="*/ 138041 h 152377"/>
                <a:gd name="connsiteX25" fmla="*/ 4482 w 116524"/>
                <a:gd name="connsiteY25" fmla="*/ 130870 h 152377"/>
                <a:gd name="connsiteX26" fmla="*/ 36750 w 116524"/>
                <a:gd name="connsiteY26" fmla="*/ 97705 h 152377"/>
                <a:gd name="connsiteX27" fmla="*/ 56918 w 116524"/>
                <a:gd name="connsiteY27" fmla="*/ 76641 h 152377"/>
                <a:gd name="connsiteX28" fmla="*/ 56918 w 116524"/>
                <a:gd name="connsiteY28" fmla="*/ 75745 h 152377"/>
                <a:gd name="connsiteX29" fmla="*/ 71259 w 116524"/>
                <a:gd name="connsiteY29" fmla="*/ 79331 h 152377"/>
                <a:gd name="connsiteX30" fmla="*/ 71707 w 116524"/>
                <a:gd name="connsiteY30" fmla="*/ 79331 h 152377"/>
                <a:gd name="connsiteX31" fmla="*/ 84704 w 116524"/>
                <a:gd name="connsiteY31" fmla="*/ 76641 h 152377"/>
                <a:gd name="connsiteX32" fmla="*/ 84704 w 116524"/>
                <a:gd name="connsiteY32" fmla="*/ 77090 h 152377"/>
                <a:gd name="connsiteX33" fmla="*/ 104872 w 116524"/>
                <a:gd name="connsiteY33" fmla="*/ 98154 h 152377"/>
                <a:gd name="connsiteX34" fmla="*/ 115180 w 116524"/>
                <a:gd name="connsiteY34" fmla="*/ 99946 h 152377"/>
                <a:gd name="connsiteX35" fmla="*/ 116076 w 116524"/>
                <a:gd name="connsiteY35" fmla="*/ 99498 h 152377"/>
                <a:gd name="connsiteX36" fmla="*/ 71259 w 116524"/>
                <a:gd name="connsiteY36" fmla="*/ 74401 h 152377"/>
                <a:gd name="connsiteX37" fmla="*/ 71259 w 116524"/>
                <a:gd name="connsiteY37" fmla="*/ 74401 h 152377"/>
                <a:gd name="connsiteX38" fmla="*/ 71259 w 116524"/>
                <a:gd name="connsiteY38" fmla="*/ 74401 h 152377"/>
                <a:gd name="connsiteX39" fmla="*/ 52436 w 116524"/>
                <a:gd name="connsiteY39" fmla="*/ 66782 h 152377"/>
                <a:gd name="connsiteX40" fmla="*/ 43024 w 116524"/>
                <a:gd name="connsiteY40" fmla="*/ 40788 h 152377"/>
                <a:gd name="connsiteX41" fmla="*/ 43024 w 116524"/>
                <a:gd name="connsiteY41" fmla="*/ 39443 h 152377"/>
                <a:gd name="connsiteX42" fmla="*/ 43024 w 116524"/>
                <a:gd name="connsiteY42" fmla="*/ 23309 h 152377"/>
                <a:gd name="connsiteX43" fmla="*/ 70811 w 116524"/>
                <a:gd name="connsiteY43" fmla="*/ 4038 h 152377"/>
                <a:gd name="connsiteX44" fmla="*/ 99046 w 116524"/>
                <a:gd name="connsiteY44" fmla="*/ 23309 h 152377"/>
                <a:gd name="connsiteX45" fmla="*/ 99046 w 116524"/>
                <a:gd name="connsiteY45" fmla="*/ 39443 h 152377"/>
                <a:gd name="connsiteX46" fmla="*/ 98597 w 116524"/>
                <a:gd name="connsiteY46" fmla="*/ 42132 h 152377"/>
                <a:gd name="connsiteX47" fmla="*/ 89634 w 116524"/>
                <a:gd name="connsiteY47" fmla="*/ 67230 h 152377"/>
                <a:gd name="connsiteX48" fmla="*/ 71259 w 116524"/>
                <a:gd name="connsiteY48" fmla="*/ 74401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6524" h="152377">
                  <a:moveTo>
                    <a:pt x="116076" y="99498"/>
                  </a:moveTo>
                  <a:cubicBezTo>
                    <a:pt x="116972" y="99498"/>
                    <a:pt x="117869" y="99050"/>
                    <a:pt x="118317" y="98154"/>
                  </a:cubicBezTo>
                  <a:cubicBezTo>
                    <a:pt x="118765" y="96809"/>
                    <a:pt x="118317" y="95913"/>
                    <a:pt x="116972" y="95465"/>
                  </a:cubicBezTo>
                  <a:cubicBezTo>
                    <a:pt x="112939" y="94120"/>
                    <a:pt x="108905" y="93224"/>
                    <a:pt x="104872" y="93224"/>
                  </a:cubicBezTo>
                  <a:cubicBezTo>
                    <a:pt x="95908" y="93224"/>
                    <a:pt x="89186" y="85605"/>
                    <a:pt x="89186" y="76641"/>
                  </a:cubicBezTo>
                  <a:cubicBezTo>
                    <a:pt x="89186" y="75745"/>
                    <a:pt x="89186" y="74849"/>
                    <a:pt x="89634" y="73504"/>
                  </a:cubicBezTo>
                  <a:cubicBezTo>
                    <a:pt x="90979" y="72608"/>
                    <a:pt x="91875" y="71712"/>
                    <a:pt x="93219" y="70367"/>
                  </a:cubicBezTo>
                  <a:cubicBezTo>
                    <a:pt x="100390" y="62300"/>
                    <a:pt x="101735" y="51096"/>
                    <a:pt x="103079" y="43029"/>
                  </a:cubicBezTo>
                  <a:lnTo>
                    <a:pt x="103527" y="40340"/>
                  </a:lnTo>
                  <a:cubicBezTo>
                    <a:pt x="105320" y="30928"/>
                    <a:pt x="103527" y="22861"/>
                    <a:pt x="103527" y="22861"/>
                  </a:cubicBezTo>
                  <a:cubicBezTo>
                    <a:pt x="98597" y="-892"/>
                    <a:pt x="70811" y="4"/>
                    <a:pt x="70811" y="4"/>
                  </a:cubicBezTo>
                  <a:cubicBezTo>
                    <a:pt x="70363" y="4"/>
                    <a:pt x="43472" y="-444"/>
                    <a:pt x="38543" y="22861"/>
                  </a:cubicBezTo>
                  <a:cubicBezTo>
                    <a:pt x="38543" y="23309"/>
                    <a:pt x="36750" y="30928"/>
                    <a:pt x="38543" y="40340"/>
                  </a:cubicBezTo>
                  <a:lnTo>
                    <a:pt x="38543" y="41684"/>
                  </a:lnTo>
                  <a:cubicBezTo>
                    <a:pt x="39887" y="50200"/>
                    <a:pt x="41680" y="61404"/>
                    <a:pt x="49299" y="69919"/>
                  </a:cubicBezTo>
                  <a:cubicBezTo>
                    <a:pt x="50195" y="70815"/>
                    <a:pt x="51091" y="71712"/>
                    <a:pt x="51988" y="72608"/>
                  </a:cubicBezTo>
                  <a:cubicBezTo>
                    <a:pt x="52436" y="73953"/>
                    <a:pt x="52436" y="75297"/>
                    <a:pt x="52436" y="76641"/>
                  </a:cubicBezTo>
                  <a:cubicBezTo>
                    <a:pt x="52436" y="86053"/>
                    <a:pt x="45265" y="93224"/>
                    <a:pt x="36750" y="93224"/>
                  </a:cubicBezTo>
                  <a:cubicBezTo>
                    <a:pt x="16582" y="93224"/>
                    <a:pt x="448" y="109806"/>
                    <a:pt x="0" y="130870"/>
                  </a:cubicBezTo>
                  <a:lnTo>
                    <a:pt x="0" y="138041"/>
                  </a:lnTo>
                  <a:cubicBezTo>
                    <a:pt x="0" y="142074"/>
                    <a:pt x="0" y="146108"/>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6108"/>
                    <a:pt x="4482" y="142074"/>
                    <a:pt x="4482" y="138041"/>
                  </a:cubicBezTo>
                  <a:lnTo>
                    <a:pt x="4482" y="130870"/>
                  </a:lnTo>
                  <a:cubicBezTo>
                    <a:pt x="4930" y="112495"/>
                    <a:pt x="19271" y="97705"/>
                    <a:pt x="36750" y="97705"/>
                  </a:cubicBezTo>
                  <a:cubicBezTo>
                    <a:pt x="47954" y="97705"/>
                    <a:pt x="56918" y="88294"/>
                    <a:pt x="56918" y="76641"/>
                  </a:cubicBezTo>
                  <a:cubicBezTo>
                    <a:pt x="56918" y="76193"/>
                    <a:pt x="56918" y="76193"/>
                    <a:pt x="56918" y="75745"/>
                  </a:cubicBezTo>
                  <a:cubicBezTo>
                    <a:pt x="63640" y="78882"/>
                    <a:pt x="70363" y="79331"/>
                    <a:pt x="71259" y="79331"/>
                  </a:cubicBezTo>
                  <a:cubicBezTo>
                    <a:pt x="71259" y="79331"/>
                    <a:pt x="71259" y="79331"/>
                    <a:pt x="71707" y="79331"/>
                  </a:cubicBezTo>
                  <a:cubicBezTo>
                    <a:pt x="73500" y="79331"/>
                    <a:pt x="78878" y="78882"/>
                    <a:pt x="84704" y="76641"/>
                  </a:cubicBezTo>
                  <a:cubicBezTo>
                    <a:pt x="84704" y="76641"/>
                    <a:pt x="84704" y="76641"/>
                    <a:pt x="84704" y="77090"/>
                  </a:cubicBezTo>
                  <a:cubicBezTo>
                    <a:pt x="84704" y="88742"/>
                    <a:pt x="93668" y="98154"/>
                    <a:pt x="104872" y="98154"/>
                  </a:cubicBezTo>
                  <a:cubicBezTo>
                    <a:pt x="108457" y="98154"/>
                    <a:pt x="112043" y="98602"/>
                    <a:pt x="115180" y="99946"/>
                  </a:cubicBezTo>
                  <a:cubicBezTo>
                    <a:pt x="115628" y="99498"/>
                    <a:pt x="115628" y="99498"/>
                    <a:pt x="116076" y="99498"/>
                  </a:cubicBezTo>
                  <a:close/>
                  <a:moveTo>
                    <a:pt x="71259" y="74401"/>
                  </a:moveTo>
                  <a:cubicBezTo>
                    <a:pt x="70811" y="74401"/>
                    <a:pt x="70811" y="74401"/>
                    <a:pt x="71259" y="74401"/>
                  </a:cubicBezTo>
                  <a:cubicBezTo>
                    <a:pt x="70811" y="74401"/>
                    <a:pt x="70811" y="74401"/>
                    <a:pt x="71259" y="74401"/>
                  </a:cubicBezTo>
                  <a:cubicBezTo>
                    <a:pt x="70811" y="74401"/>
                    <a:pt x="58710" y="74401"/>
                    <a:pt x="52436" y="66782"/>
                  </a:cubicBezTo>
                  <a:cubicBezTo>
                    <a:pt x="45713" y="59163"/>
                    <a:pt x="43921" y="48407"/>
                    <a:pt x="43024" y="40788"/>
                  </a:cubicBezTo>
                  <a:lnTo>
                    <a:pt x="43024" y="39443"/>
                  </a:lnTo>
                  <a:cubicBezTo>
                    <a:pt x="41680" y="30928"/>
                    <a:pt x="43024" y="23757"/>
                    <a:pt x="43024" y="23309"/>
                  </a:cubicBezTo>
                  <a:cubicBezTo>
                    <a:pt x="47058" y="3590"/>
                    <a:pt x="69915" y="4038"/>
                    <a:pt x="70811" y="4038"/>
                  </a:cubicBezTo>
                  <a:cubicBezTo>
                    <a:pt x="71707" y="4038"/>
                    <a:pt x="95012" y="3590"/>
                    <a:pt x="99046" y="23309"/>
                  </a:cubicBezTo>
                  <a:cubicBezTo>
                    <a:pt x="99046" y="23309"/>
                    <a:pt x="100390" y="30480"/>
                    <a:pt x="99046" y="39443"/>
                  </a:cubicBezTo>
                  <a:lnTo>
                    <a:pt x="98597" y="42132"/>
                  </a:lnTo>
                  <a:cubicBezTo>
                    <a:pt x="97253" y="50200"/>
                    <a:pt x="95908" y="60059"/>
                    <a:pt x="89634" y="67230"/>
                  </a:cubicBezTo>
                  <a:cubicBezTo>
                    <a:pt x="83360" y="73953"/>
                    <a:pt x="72604" y="74401"/>
                    <a:pt x="71259" y="74401"/>
                  </a:cubicBezTo>
                  <a:close/>
                </a:path>
              </a:pathLst>
            </a:custGeom>
            <a:solidFill>
              <a:srgbClr val="231F20"/>
            </a:solidFill>
            <a:ln w="4477" cap="flat">
              <a:noFill/>
              <a:prstDash val="solid"/>
              <a:miter/>
            </a:ln>
          </p:spPr>
          <p:txBody>
            <a:bodyPr rtlCol="0" anchor="ctr"/>
            <a:lstStyle/>
            <a:p>
              <a:endParaRPr lang="en-US"/>
            </a:p>
          </p:txBody>
        </p:sp>
      </p:grpSp>
      <p:grpSp>
        <p:nvGrpSpPr>
          <p:cNvPr id="2612" name="Group 2611">
            <a:extLst>
              <a:ext uri="{FF2B5EF4-FFF2-40B4-BE49-F238E27FC236}">
                <a16:creationId xmlns:a16="http://schemas.microsoft.com/office/drawing/2014/main" id="{80D2A246-B308-4858-82F7-38B2CCF9C7B6}"/>
              </a:ext>
              <a:ext uri="{C183D7F6-B498-43B3-948B-1728B52AA6E4}">
                <adec:decorative xmlns:adec="http://schemas.microsoft.com/office/drawing/2017/decorative" val="1"/>
              </a:ext>
            </a:extLst>
          </p:cNvPr>
          <p:cNvGrpSpPr>
            <a:grpSpLocks noChangeAspect="1"/>
          </p:cNvGrpSpPr>
          <p:nvPr/>
        </p:nvGrpSpPr>
        <p:grpSpPr>
          <a:xfrm>
            <a:off x="8791287" y="5213478"/>
            <a:ext cx="151929" cy="152383"/>
            <a:chOff x="8847787" y="3157787"/>
            <a:chExt cx="151929" cy="152383"/>
          </a:xfrm>
        </p:grpSpPr>
        <p:sp>
          <p:nvSpPr>
            <p:cNvPr id="2686" name="Freeform: Shape 2685">
              <a:extLst>
                <a:ext uri="{FF2B5EF4-FFF2-40B4-BE49-F238E27FC236}">
                  <a16:creationId xmlns:a16="http://schemas.microsoft.com/office/drawing/2014/main" id="{835F8097-2BC5-4D30-86F6-1F244537A124}"/>
                </a:ext>
              </a:extLst>
            </p:cNvPr>
            <p:cNvSpPr/>
            <p:nvPr/>
          </p:nvSpPr>
          <p:spPr>
            <a:xfrm>
              <a:off x="8941454" y="3251908"/>
              <a:ext cx="58262" cy="58262"/>
            </a:xfrm>
            <a:custGeom>
              <a:avLst/>
              <a:gdLst>
                <a:gd name="connsiteX0" fmla="*/ 29131 w 58262"/>
                <a:gd name="connsiteY0" fmla="*/ 0 h 58262"/>
                <a:gd name="connsiteX1" fmla="*/ 0 w 58262"/>
                <a:gd name="connsiteY1" fmla="*/ 29131 h 58262"/>
                <a:gd name="connsiteX2" fmla="*/ 29131 w 58262"/>
                <a:gd name="connsiteY2" fmla="*/ 58262 h 58262"/>
                <a:gd name="connsiteX3" fmla="*/ 58262 w 58262"/>
                <a:gd name="connsiteY3" fmla="*/ 29131 h 58262"/>
                <a:gd name="connsiteX4" fmla="*/ 29131 w 58262"/>
                <a:gd name="connsiteY4" fmla="*/ 0 h 58262"/>
                <a:gd name="connsiteX5" fmla="*/ 29131 w 58262"/>
                <a:gd name="connsiteY5" fmla="*/ 53780 h 58262"/>
                <a:gd name="connsiteX6" fmla="*/ 4482 w 58262"/>
                <a:gd name="connsiteY6" fmla="*/ 29131 h 58262"/>
                <a:gd name="connsiteX7" fmla="*/ 29131 w 58262"/>
                <a:gd name="connsiteY7" fmla="*/ 4482 h 58262"/>
                <a:gd name="connsiteX8" fmla="*/ 53780 w 58262"/>
                <a:gd name="connsiteY8" fmla="*/ 29131 h 58262"/>
                <a:gd name="connsiteX9" fmla="*/ 29131 w 58262"/>
                <a:gd name="connsiteY9"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0"/>
                  </a:moveTo>
                  <a:cubicBezTo>
                    <a:pt x="12997" y="0"/>
                    <a:pt x="0" y="12997"/>
                    <a:pt x="0" y="29131"/>
                  </a:cubicBezTo>
                  <a:cubicBezTo>
                    <a:pt x="0" y="45265"/>
                    <a:pt x="12997" y="58262"/>
                    <a:pt x="29131" y="58262"/>
                  </a:cubicBezTo>
                  <a:cubicBezTo>
                    <a:pt x="45265" y="58262"/>
                    <a:pt x="58262" y="45265"/>
                    <a:pt x="58262" y="29131"/>
                  </a:cubicBezTo>
                  <a:cubicBezTo>
                    <a:pt x="58262" y="12997"/>
                    <a:pt x="45265" y="0"/>
                    <a:pt x="29131" y="0"/>
                  </a:cubicBezTo>
                  <a:close/>
                  <a:moveTo>
                    <a:pt x="29131" y="53780"/>
                  </a:moveTo>
                  <a:cubicBezTo>
                    <a:pt x="15686" y="53780"/>
                    <a:pt x="4482" y="42576"/>
                    <a:pt x="4482" y="29131"/>
                  </a:cubicBezTo>
                  <a:cubicBezTo>
                    <a:pt x="4482" y="15686"/>
                    <a:pt x="15686" y="4482"/>
                    <a:pt x="29131" y="4482"/>
                  </a:cubicBezTo>
                  <a:cubicBezTo>
                    <a:pt x="42576" y="4482"/>
                    <a:pt x="53780" y="15686"/>
                    <a:pt x="53780" y="29131"/>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687" name="Freeform: Shape 2686">
              <a:extLst>
                <a:ext uri="{FF2B5EF4-FFF2-40B4-BE49-F238E27FC236}">
                  <a16:creationId xmlns:a16="http://schemas.microsoft.com/office/drawing/2014/main" id="{899337BF-891D-4395-9F72-3EC515CB646F}"/>
                </a:ext>
              </a:extLst>
            </p:cNvPr>
            <p:cNvSpPr/>
            <p:nvPr/>
          </p:nvSpPr>
          <p:spPr>
            <a:xfrm>
              <a:off x="8953555" y="3264008"/>
              <a:ext cx="31372" cy="31372"/>
            </a:xfrm>
            <a:custGeom>
              <a:avLst/>
              <a:gdLst>
                <a:gd name="connsiteX0" fmla="*/ 31820 w 31371"/>
                <a:gd name="connsiteY0" fmla="*/ 14790 h 31371"/>
                <a:gd name="connsiteX1" fmla="*/ 19271 w 31371"/>
                <a:gd name="connsiteY1" fmla="*/ 14790 h 31371"/>
                <a:gd name="connsiteX2" fmla="*/ 19271 w 31371"/>
                <a:gd name="connsiteY2" fmla="*/ 2241 h 31371"/>
                <a:gd name="connsiteX3" fmla="*/ 17030 w 31371"/>
                <a:gd name="connsiteY3" fmla="*/ 0 h 31371"/>
                <a:gd name="connsiteX4" fmla="*/ 14790 w 31371"/>
                <a:gd name="connsiteY4" fmla="*/ 2241 h 31371"/>
                <a:gd name="connsiteX5" fmla="*/ 14790 w 31371"/>
                <a:gd name="connsiteY5" fmla="*/ 14790 h 31371"/>
                <a:gd name="connsiteX6" fmla="*/ 2241 w 31371"/>
                <a:gd name="connsiteY6" fmla="*/ 14790 h 31371"/>
                <a:gd name="connsiteX7" fmla="*/ 0 w 31371"/>
                <a:gd name="connsiteY7" fmla="*/ 17031 h 31371"/>
                <a:gd name="connsiteX8" fmla="*/ 2241 w 31371"/>
                <a:gd name="connsiteY8" fmla="*/ 19271 h 31371"/>
                <a:gd name="connsiteX9" fmla="*/ 14790 w 31371"/>
                <a:gd name="connsiteY9" fmla="*/ 19271 h 31371"/>
                <a:gd name="connsiteX10" fmla="*/ 14790 w 31371"/>
                <a:gd name="connsiteY10" fmla="*/ 31820 h 31371"/>
                <a:gd name="connsiteX11" fmla="*/ 17030 w 31371"/>
                <a:gd name="connsiteY11" fmla="*/ 34061 h 31371"/>
                <a:gd name="connsiteX12" fmla="*/ 19271 w 31371"/>
                <a:gd name="connsiteY12" fmla="*/ 31820 h 31371"/>
                <a:gd name="connsiteX13" fmla="*/ 19271 w 31371"/>
                <a:gd name="connsiteY13" fmla="*/ 19271 h 31371"/>
                <a:gd name="connsiteX14" fmla="*/ 31820 w 31371"/>
                <a:gd name="connsiteY14" fmla="*/ 19271 h 31371"/>
                <a:gd name="connsiteX15" fmla="*/ 34061 w 31371"/>
                <a:gd name="connsiteY15" fmla="*/ 17031 h 31371"/>
                <a:gd name="connsiteX16" fmla="*/ 31820 w 31371"/>
                <a:gd name="connsiteY16" fmla="*/ 147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820" y="14790"/>
                  </a:moveTo>
                  <a:lnTo>
                    <a:pt x="19271" y="14790"/>
                  </a:lnTo>
                  <a:lnTo>
                    <a:pt x="19271" y="2241"/>
                  </a:lnTo>
                  <a:cubicBezTo>
                    <a:pt x="19271" y="896"/>
                    <a:pt x="18375" y="0"/>
                    <a:pt x="17030" y="0"/>
                  </a:cubicBezTo>
                  <a:cubicBezTo>
                    <a:pt x="15686" y="0"/>
                    <a:pt x="14790" y="896"/>
                    <a:pt x="14790" y="2241"/>
                  </a:cubicBezTo>
                  <a:lnTo>
                    <a:pt x="14790" y="14790"/>
                  </a:lnTo>
                  <a:lnTo>
                    <a:pt x="2241" y="14790"/>
                  </a:lnTo>
                  <a:cubicBezTo>
                    <a:pt x="896" y="14790"/>
                    <a:pt x="0" y="15686"/>
                    <a:pt x="0" y="17031"/>
                  </a:cubicBezTo>
                  <a:cubicBezTo>
                    <a:pt x="0" y="18375"/>
                    <a:pt x="896" y="19271"/>
                    <a:pt x="2241" y="19271"/>
                  </a:cubicBezTo>
                  <a:lnTo>
                    <a:pt x="14790" y="19271"/>
                  </a:lnTo>
                  <a:lnTo>
                    <a:pt x="14790" y="31820"/>
                  </a:lnTo>
                  <a:cubicBezTo>
                    <a:pt x="14790" y="33165"/>
                    <a:pt x="15686" y="34061"/>
                    <a:pt x="17030" y="34061"/>
                  </a:cubicBezTo>
                  <a:cubicBezTo>
                    <a:pt x="18375" y="34061"/>
                    <a:pt x="19271" y="33165"/>
                    <a:pt x="19271" y="31820"/>
                  </a:cubicBezTo>
                  <a:lnTo>
                    <a:pt x="19271" y="19271"/>
                  </a:lnTo>
                  <a:lnTo>
                    <a:pt x="31820" y="19271"/>
                  </a:lnTo>
                  <a:cubicBezTo>
                    <a:pt x="33165" y="19271"/>
                    <a:pt x="34061" y="18375"/>
                    <a:pt x="34061" y="17031"/>
                  </a:cubicBezTo>
                  <a:cubicBezTo>
                    <a:pt x="34061" y="15686"/>
                    <a:pt x="33165" y="14790"/>
                    <a:pt x="31820" y="14790"/>
                  </a:cubicBezTo>
                  <a:close/>
                </a:path>
              </a:pathLst>
            </a:custGeom>
            <a:solidFill>
              <a:srgbClr val="231F20"/>
            </a:solidFill>
            <a:ln w="4477" cap="flat">
              <a:noFill/>
              <a:prstDash val="solid"/>
              <a:miter/>
            </a:ln>
          </p:spPr>
          <p:txBody>
            <a:bodyPr rtlCol="0" anchor="ctr"/>
            <a:lstStyle/>
            <a:p>
              <a:endParaRPr lang="en-US"/>
            </a:p>
          </p:txBody>
        </p:sp>
        <p:sp>
          <p:nvSpPr>
            <p:cNvPr id="2688" name="Freeform: Shape 2687">
              <a:extLst>
                <a:ext uri="{FF2B5EF4-FFF2-40B4-BE49-F238E27FC236}">
                  <a16:creationId xmlns:a16="http://schemas.microsoft.com/office/drawing/2014/main" id="{F283D797-EE7E-4AEF-907E-FD312E7BAF74}"/>
                </a:ext>
              </a:extLst>
            </p:cNvPr>
            <p:cNvSpPr/>
            <p:nvPr/>
          </p:nvSpPr>
          <p:spPr>
            <a:xfrm>
              <a:off x="8847787"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7 w 103079"/>
                <a:gd name="connsiteY5" fmla="*/ 70367 h 152377"/>
                <a:gd name="connsiteX6" fmla="*/ 103527 w 103079"/>
                <a:gd name="connsiteY6" fmla="*/ 43029 h 152377"/>
                <a:gd name="connsiteX7" fmla="*/ 103975 w 103079"/>
                <a:gd name="connsiteY7" fmla="*/ 40340 h 152377"/>
                <a:gd name="connsiteX8" fmla="*/ 103975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4007 h 152377"/>
                <a:gd name="connsiteX19" fmla="*/ 0 w 103079"/>
                <a:gd name="connsiteY19" fmla="*/ 150141 h 152377"/>
                <a:gd name="connsiteX20" fmla="*/ 2241 w 103079"/>
                <a:gd name="connsiteY20" fmla="*/ 152382 h 152377"/>
                <a:gd name="connsiteX21" fmla="*/ 2241 w 103079"/>
                <a:gd name="connsiteY21" fmla="*/ 152382 h 152377"/>
                <a:gd name="connsiteX22" fmla="*/ 4482 w 103079"/>
                <a:gd name="connsiteY22" fmla="*/ 150141 h 152377"/>
                <a:gd name="connsiteX23" fmla="*/ 4482 w 103079"/>
                <a:gd name="connsiteY23" fmla="*/ 134007 h 152377"/>
                <a:gd name="connsiteX24" fmla="*/ 4482 w 103079"/>
                <a:gd name="connsiteY24" fmla="*/ 131318 h 152377"/>
                <a:gd name="connsiteX25" fmla="*/ 36750 w 103079"/>
                <a:gd name="connsiteY25" fmla="*/ 98154 h 152377"/>
                <a:gd name="connsiteX26" fmla="*/ 57366 w 103079"/>
                <a:gd name="connsiteY26" fmla="*/ 76641 h 152377"/>
                <a:gd name="connsiteX27" fmla="*/ 57366 w 103079"/>
                <a:gd name="connsiteY27" fmla="*/ 75745 h 152377"/>
                <a:gd name="connsiteX28" fmla="*/ 71707 w 103079"/>
                <a:gd name="connsiteY28" fmla="*/ 79330 h 152377"/>
                <a:gd name="connsiteX29" fmla="*/ 72155 w 103079"/>
                <a:gd name="connsiteY29" fmla="*/ 79330 h 152377"/>
                <a:gd name="connsiteX30" fmla="*/ 85600 w 103079"/>
                <a:gd name="connsiteY30" fmla="*/ 76641 h 152377"/>
                <a:gd name="connsiteX31" fmla="*/ 85600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7"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4007"/>
                  </a:lnTo>
                  <a:cubicBezTo>
                    <a:pt x="0" y="139385"/>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3"/>
                    <a:pt x="4482" y="138937"/>
                    <a:pt x="4482" y="134007"/>
                  </a:cubicBezTo>
                  <a:lnTo>
                    <a:pt x="4482" y="131318"/>
                  </a:lnTo>
                  <a:cubicBezTo>
                    <a:pt x="4930" y="112943"/>
                    <a:pt x="19271" y="98154"/>
                    <a:pt x="36750" y="98154"/>
                  </a:cubicBezTo>
                  <a:cubicBezTo>
                    <a:pt x="47954" y="98154"/>
                    <a:pt x="57366" y="88742"/>
                    <a:pt x="57366" y="76641"/>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0" y="76641"/>
                  </a:cubicBezTo>
                  <a:cubicBezTo>
                    <a:pt x="85600" y="76641"/>
                    <a:pt x="85600" y="76641"/>
                    <a:pt x="85600" y="77090"/>
                  </a:cubicBezTo>
                  <a:cubicBezTo>
                    <a:pt x="85600" y="85605"/>
                    <a:pt x="90530" y="93224"/>
                    <a:pt x="97701" y="96361"/>
                  </a:cubicBezTo>
                  <a:cubicBezTo>
                    <a:pt x="96805" y="96361"/>
                    <a:pt x="97253" y="96361"/>
                    <a:pt x="97701" y="96361"/>
                  </a:cubicBezTo>
                  <a:close/>
                  <a:moveTo>
                    <a:pt x="71259" y="74849"/>
                  </a:moveTo>
                  <a:cubicBezTo>
                    <a:pt x="70811" y="74849"/>
                    <a:pt x="70811" y="74849"/>
                    <a:pt x="71259" y="74849"/>
                  </a:cubicBezTo>
                  <a:cubicBezTo>
                    <a:pt x="70811" y="74849"/>
                    <a:pt x="70811" y="74849"/>
                    <a:pt x="71259" y="74849"/>
                  </a:cubicBezTo>
                  <a:cubicBezTo>
                    <a:pt x="70811" y="74849"/>
                    <a:pt x="58710" y="74849"/>
                    <a:pt x="52436" y="67230"/>
                  </a:cubicBezTo>
                  <a:cubicBezTo>
                    <a:pt x="45713" y="59611"/>
                    <a:pt x="43921" y="48855"/>
                    <a:pt x="43024" y="41236"/>
                  </a:cubicBezTo>
                  <a:lnTo>
                    <a:pt x="43024" y="39892"/>
                  </a:lnTo>
                  <a:cubicBezTo>
                    <a:pt x="41680" y="31376"/>
                    <a:pt x="43024" y="23757"/>
                    <a:pt x="43024" y="23757"/>
                  </a:cubicBezTo>
                  <a:cubicBezTo>
                    <a:pt x="47058" y="4038"/>
                    <a:pt x="69914" y="4486"/>
                    <a:pt x="71259" y="4486"/>
                  </a:cubicBezTo>
                  <a:cubicBezTo>
                    <a:pt x="72155" y="4486"/>
                    <a:pt x="95460" y="4038"/>
                    <a:pt x="99494" y="23757"/>
                  </a:cubicBezTo>
                  <a:cubicBezTo>
                    <a:pt x="99494" y="23757"/>
                    <a:pt x="100838" y="30928"/>
                    <a:pt x="99494" y="39892"/>
                  </a:cubicBezTo>
                  <a:lnTo>
                    <a:pt x="99046" y="42581"/>
                  </a:lnTo>
                  <a:cubicBezTo>
                    <a:pt x="97701" y="50648"/>
                    <a:pt x="96357" y="60507"/>
                    <a:pt x="90082" y="67678"/>
                  </a:cubicBezTo>
                  <a:cubicBezTo>
                    <a:pt x="83360" y="74401"/>
                    <a:pt x="72603"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3" name="Group 2612">
            <a:extLst>
              <a:ext uri="{FF2B5EF4-FFF2-40B4-BE49-F238E27FC236}">
                <a16:creationId xmlns:a16="http://schemas.microsoft.com/office/drawing/2014/main" id="{45131B6B-6526-4559-A0CD-93E0676973A9}"/>
              </a:ext>
              <a:ext uri="{C183D7F6-B498-43B3-948B-1728B52AA6E4}">
                <adec:decorative xmlns:adec="http://schemas.microsoft.com/office/drawing/2017/decorative" val="1"/>
              </a:ext>
            </a:extLst>
          </p:cNvPr>
          <p:cNvGrpSpPr>
            <a:grpSpLocks noChangeAspect="1"/>
          </p:cNvGrpSpPr>
          <p:nvPr/>
        </p:nvGrpSpPr>
        <p:grpSpPr>
          <a:xfrm>
            <a:off x="6954237" y="5562603"/>
            <a:ext cx="150409" cy="152378"/>
            <a:chOff x="7010737" y="3506912"/>
            <a:chExt cx="150409" cy="152378"/>
          </a:xfrm>
        </p:grpSpPr>
        <p:sp>
          <p:nvSpPr>
            <p:cNvPr id="2684" name="Freeform: Shape 2683">
              <a:extLst>
                <a:ext uri="{FF2B5EF4-FFF2-40B4-BE49-F238E27FC236}">
                  <a16:creationId xmlns:a16="http://schemas.microsoft.com/office/drawing/2014/main" id="{2DE5AD20-7C96-493A-B982-8E060BF49C10}"/>
                </a:ext>
              </a:extLst>
            </p:cNvPr>
            <p:cNvSpPr/>
            <p:nvPr/>
          </p:nvSpPr>
          <p:spPr>
            <a:xfrm>
              <a:off x="7107366" y="3605962"/>
              <a:ext cx="53780" cy="49299"/>
            </a:xfrm>
            <a:custGeom>
              <a:avLst/>
              <a:gdLst>
                <a:gd name="connsiteX0" fmla="*/ 54853 w 53780"/>
                <a:gd name="connsiteY0" fmla="*/ 19271 h 49298"/>
                <a:gd name="connsiteX1" fmla="*/ 52612 w 53780"/>
                <a:gd name="connsiteY1" fmla="*/ 17927 h 49298"/>
                <a:gd name="connsiteX2" fmla="*/ 35133 w 53780"/>
                <a:gd name="connsiteY2" fmla="*/ 17927 h 49298"/>
                <a:gd name="connsiteX3" fmla="*/ 29755 w 53780"/>
                <a:gd name="connsiteY3" fmla="*/ 1345 h 49298"/>
                <a:gd name="connsiteX4" fmla="*/ 25273 w 53780"/>
                <a:gd name="connsiteY4" fmla="*/ 1345 h 49298"/>
                <a:gd name="connsiteX5" fmla="*/ 19895 w 53780"/>
                <a:gd name="connsiteY5" fmla="*/ 17927 h 49298"/>
                <a:gd name="connsiteX6" fmla="*/ 2417 w 53780"/>
                <a:gd name="connsiteY6" fmla="*/ 17927 h 49298"/>
                <a:gd name="connsiteX7" fmla="*/ 176 w 53780"/>
                <a:gd name="connsiteY7" fmla="*/ 19271 h 49298"/>
                <a:gd name="connsiteX8" fmla="*/ 1072 w 53780"/>
                <a:gd name="connsiteY8" fmla="*/ 21960 h 49298"/>
                <a:gd name="connsiteX9" fmla="*/ 15414 w 53780"/>
                <a:gd name="connsiteY9" fmla="*/ 32268 h 49298"/>
                <a:gd name="connsiteX10" fmla="*/ 10036 w 53780"/>
                <a:gd name="connsiteY10" fmla="*/ 48851 h 49298"/>
                <a:gd name="connsiteX11" fmla="*/ 10932 w 53780"/>
                <a:gd name="connsiteY11" fmla="*/ 51540 h 49298"/>
                <a:gd name="connsiteX12" fmla="*/ 13621 w 53780"/>
                <a:gd name="connsiteY12" fmla="*/ 51540 h 49298"/>
                <a:gd name="connsiteX13" fmla="*/ 27514 w 53780"/>
                <a:gd name="connsiteY13" fmla="*/ 41232 h 49298"/>
                <a:gd name="connsiteX14" fmla="*/ 41856 w 53780"/>
                <a:gd name="connsiteY14" fmla="*/ 51540 h 49298"/>
                <a:gd name="connsiteX15" fmla="*/ 43200 w 53780"/>
                <a:gd name="connsiteY15" fmla="*/ 51988 h 49298"/>
                <a:gd name="connsiteX16" fmla="*/ 44545 w 53780"/>
                <a:gd name="connsiteY16" fmla="*/ 51540 h 49298"/>
                <a:gd name="connsiteX17" fmla="*/ 45441 w 53780"/>
                <a:gd name="connsiteY17" fmla="*/ 48851 h 49298"/>
                <a:gd name="connsiteX18" fmla="*/ 40063 w 53780"/>
                <a:gd name="connsiteY18" fmla="*/ 32268 h 49298"/>
                <a:gd name="connsiteX19" fmla="*/ 54404 w 53780"/>
                <a:gd name="connsiteY19" fmla="*/ 21960 h 49298"/>
                <a:gd name="connsiteX20" fmla="*/ 54853 w 53780"/>
                <a:gd name="connsiteY20" fmla="*/ 19271 h 49298"/>
                <a:gd name="connsiteX21" fmla="*/ 37374 w 53780"/>
                <a:gd name="connsiteY21" fmla="*/ 28683 h 49298"/>
                <a:gd name="connsiteX22" fmla="*/ 36029 w 53780"/>
                <a:gd name="connsiteY22" fmla="*/ 33613 h 49298"/>
                <a:gd name="connsiteX23" fmla="*/ 39167 w 53780"/>
                <a:gd name="connsiteY23" fmla="*/ 43921 h 49298"/>
                <a:gd name="connsiteX24" fmla="*/ 30651 w 53780"/>
                <a:gd name="connsiteY24" fmla="*/ 37646 h 49298"/>
                <a:gd name="connsiteX25" fmla="*/ 27962 w 53780"/>
                <a:gd name="connsiteY25" fmla="*/ 36750 h 49298"/>
                <a:gd name="connsiteX26" fmla="*/ 25273 w 53780"/>
                <a:gd name="connsiteY26" fmla="*/ 37646 h 49298"/>
                <a:gd name="connsiteX27" fmla="*/ 16758 w 53780"/>
                <a:gd name="connsiteY27" fmla="*/ 43921 h 49298"/>
                <a:gd name="connsiteX28" fmla="*/ 19895 w 53780"/>
                <a:gd name="connsiteY28" fmla="*/ 33613 h 49298"/>
                <a:gd name="connsiteX29" fmla="*/ 18551 w 53780"/>
                <a:gd name="connsiteY29" fmla="*/ 28683 h 49298"/>
                <a:gd name="connsiteX30" fmla="*/ 10036 w 53780"/>
                <a:gd name="connsiteY30" fmla="*/ 22409 h 49298"/>
                <a:gd name="connsiteX31" fmla="*/ 20792 w 53780"/>
                <a:gd name="connsiteY31" fmla="*/ 22409 h 49298"/>
                <a:gd name="connsiteX32" fmla="*/ 24825 w 53780"/>
                <a:gd name="connsiteY32" fmla="*/ 19271 h 49298"/>
                <a:gd name="connsiteX33" fmla="*/ 27962 w 53780"/>
                <a:gd name="connsiteY33" fmla="*/ 8964 h 49298"/>
                <a:gd name="connsiteX34" fmla="*/ 31100 w 53780"/>
                <a:gd name="connsiteY34" fmla="*/ 19271 h 49298"/>
                <a:gd name="connsiteX35" fmla="*/ 35133 w 53780"/>
                <a:gd name="connsiteY35" fmla="*/ 22409 h 49298"/>
                <a:gd name="connsiteX36" fmla="*/ 45889 w 53780"/>
                <a:gd name="connsiteY36" fmla="*/ 22409 h 49298"/>
                <a:gd name="connsiteX37" fmla="*/ 37374 w 53780"/>
                <a:gd name="connsiteY37" fmla="*/ 28683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3780" h="49298">
                  <a:moveTo>
                    <a:pt x="54853" y="19271"/>
                  </a:moveTo>
                  <a:cubicBezTo>
                    <a:pt x="54404" y="18375"/>
                    <a:pt x="53508" y="17927"/>
                    <a:pt x="52612" y="17927"/>
                  </a:cubicBezTo>
                  <a:lnTo>
                    <a:pt x="35133" y="17927"/>
                  </a:lnTo>
                  <a:lnTo>
                    <a:pt x="29755" y="1345"/>
                  </a:lnTo>
                  <a:cubicBezTo>
                    <a:pt x="29307" y="-448"/>
                    <a:pt x="26170" y="-448"/>
                    <a:pt x="25273" y="1345"/>
                  </a:cubicBezTo>
                  <a:lnTo>
                    <a:pt x="19895" y="17927"/>
                  </a:lnTo>
                  <a:lnTo>
                    <a:pt x="2417" y="17927"/>
                  </a:lnTo>
                  <a:cubicBezTo>
                    <a:pt x="1520" y="17927"/>
                    <a:pt x="624" y="18375"/>
                    <a:pt x="176" y="19271"/>
                  </a:cubicBezTo>
                  <a:cubicBezTo>
                    <a:pt x="-272" y="20168"/>
                    <a:pt x="176" y="21064"/>
                    <a:pt x="1072" y="21960"/>
                  </a:cubicBezTo>
                  <a:lnTo>
                    <a:pt x="15414" y="32268"/>
                  </a:lnTo>
                  <a:lnTo>
                    <a:pt x="10036" y="48851"/>
                  </a:lnTo>
                  <a:cubicBezTo>
                    <a:pt x="9587" y="49747"/>
                    <a:pt x="10036" y="50643"/>
                    <a:pt x="10932" y="51540"/>
                  </a:cubicBezTo>
                  <a:cubicBezTo>
                    <a:pt x="11828" y="51988"/>
                    <a:pt x="12725" y="51988"/>
                    <a:pt x="13621" y="51540"/>
                  </a:cubicBezTo>
                  <a:lnTo>
                    <a:pt x="27514" y="41232"/>
                  </a:lnTo>
                  <a:lnTo>
                    <a:pt x="41856" y="51540"/>
                  </a:lnTo>
                  <a:cubicBezTo>
                    <a:pt x="42304" y="51988"/>
                    <a:pt x="42752" y="51988"/>
                    <a:pt x="43200" y="51988"/>
                  </a:cubicBezTo>
                  <a:cubicBezTo>
                    <a:pt x="43648" y="51988"/>
                    <a:pt x="44096" y="51988"/>
                    <a:pt x="44545" y="51540"/>
                  </a:cubicBezTo>
                  <a:cubicBezTo>
                    <a:pt x="45441" y="51091"/>
                    <a:pt x="45441" y="49747"/>
                    <a:pt x="45441" y="48851"/>
                  </a:cubicBezTo>
                  <a:lnTo>
                    <a:pt x="40063" y="32268"/>
                  </a:lnTo>
                  <a:lnTo>
                    <a:pt x="54404" y="21960"/>
                  </a:lnTo>
                  <a:cubicBezTo>
                    <a:pt x="54853" y="21064"/>
                    <a:pt x="55301" y="20168"/>
                    <a:pt x="54853" y="19271"/>
                  </a:cubicBezTo>
                  <a:close/>
                  <a:moveTo>
                    <a:pt x="37374" y="28683"/>
                  </a:moveTo>
                  <a:cubicBezTo>
                    <a:pt x="36029" y="29579"/>
                    <a:pt x="35133" y="31820"/>
                    <a:pt x="36029" y="33613"/>
                  </a:cubicBezTo>
                  <a:lnTo>
                    <a:pt x="39167" y="43921"/>
                  </a:lnTo>
                  <a:lnTo>
                    <a:pt x="30651" y="37646"/>
                  </a:lnTo>
                  <a:cubicBezTo>
                    <a:pt x="29755" y="37198"/>
                    <a:pt x="28859" y="36750"/>
                    <a:pt x="27962" y="36750"/>
                  </a:cubicBezTo>
                  <a:cubicBezTo>
                    <a:pt x="27066" y="36750"/>
                    <a:pt x="26170" y="37198"/>
                    <a:pt x="25273" y="37646"/>
                  </a:cubicBezTo>
                  <a:lnTo>
                    <a:pt x="16758" y="43921"/>
                  </a:lnTo>
                  <a:lnTo>
                    <a:pt x="19895" y="33613"/>
                  </a:lnTo>
                  <a:cubicBezTo>
                    <a:pt x="20343" y="31820"/>
                    <a:pt x="19895" y="30028"/>
                    <a:pt x="18551" y="28683"/>
                  </a:cubicBezTo>
                  <a:lnTo>
                    <a:pt x="10036" y="22409"/>
                  </a:lnTo>
                  <a:lnTo>
                    <a:pt x="20792" y="22409"/>
                  </a:lnTo>
                  <a:cubicBezTo>
                    <a:pt x="22584" y="22409"/>
                    <a:pt x="24377" y="21064"/>
                    <a:pt x="24825" y="19271"/>
                  </a:cubicBezTo>
                  <a:lnTo>
                    <a:pt x="27962" y="8964"/>
                  </a:lnTo>
                  <a:lnTo>
                    <a:pt x="31100" y="19271"/>
                  </a:lnTo>
                  <a:cubicBezTo>
                    <a:pt x="31548" y="21064"/>
                    <a:pt x="33340" y="22409"/>
                    <a:pt x="35133" y="22409"/>
                  </a:cubicBezTo>
                  <a:lnTo>
                    <a:pt x="45889" y="22409"/>
                  </a:lnTo>
                  <a:lnTo>
                    <a:pt x="37374" y="28683"/>
                  </a:lnTo>
                  <a:close/>
                </a:path>
              </a:pathLst>
            </a:custGeom>
            <a:solidFill>
              <a:srgbClr val="231F20"/>
            </a:solidFill>
            <a:ln w="4477" cap="flat">
              <a:noFill/>
              <a:prstDash val="solid"/>
              <a:miter/>
            </a:ln>
          </p:spPr>
          <p:txBody>
            <a:bodyPr rtlCol="0" anchor="ctr"/>
            <a:lstStyle/>
            <a:p>
              <a:endParaRPr lang="en-US"/>
            </a:p>
          </p:txBody>
        </p:sp>
        <p:sp>
          <p:nvSpPr>
            <p:cNvPr id="2685" name="Freeform: Shape 2684">
              <a:extLst>
                <a:ext uri="{FF2B5EF4-FFF2-40B4-BE49-F238E27FC236}">
                  <a16:creationId xmlns:a16="http://schemas.microsoft.com/office/drawing/2014/main" id="{30D3D3D1-F8EC-4361-BEA4-9FFF4C8271A1}"/>
                </a:ext>
              </a:extLst>
            </p:cNvPr>
            <p:cNvSpPr/>
            <p:nvPr/>
          </p:nvSpPr>
          <p:spPr>
            <a:xfrm>
              <a:off x="7010737" y="3506912"/>
              <a:ext cx="103079" cy="152378"/>
            </a:xfrm>
            <a:custGeom>
              <a:avLst/>
              <a:gdLst>
                <a:gd name="connsiteX0" fmla="*/ 99942 w 103079"/>
                <a:gd name="connsiteY0" fmla="*/ 95017 h 152377"/>
                <a:gd name="connsiteX1" fmla="*/ 99046 w 103079"/>
                <a:gd name="connsiteY1" fmla="*/ 91879 h 152377"/>
                <a:gd name="connsiteX2" fmla="*/ 89634 w 103079"/>
                <a:gd name="connsiteY2" fmla="*/ 76642 h 152377"/>
                <a:gd name="connsiteX3" fmla="*/ 90082 w 103079"/>
                <a:gd name="connsiteY3" fmla="*/ 73504 h 152377"/>
                <a:gd name="connsiteX4" fmla="*/ 93668 w 103079"/>
                <a:gd name="connsiteY4" fmla="*/ 70367 h 152377"/>
                <a:gd name="connsiteX5" fmla="*/ 103527 w 103079"/>
                <a:gd name="connsiteY5" fmla="*/ 43029 h 152377"/>
                <a:gd name="connsiteX6" fmla="*/ 103975 w 103079"/>
                <a:gd name="connsiteY6" fmla="*/ 40340 h 152377"/>
                <a:gd name="connsiteX7" fmla="*/ 103975 w 103079"/>
                <a:gd name="connsiteY7" fmla="*/ 22861 h 152377"/>
                <a:gd name="connsiteX8" fmla="*/ 71259 w 103079"/>
                <a:gd name="connsiteY8" fmla="*/ 4 h 152377"/>
                <a:gd name="connsiteX9" fmla="*/ 38991 w 103079"/>
                <a:gd name="connsiteY9" fmla="*/ 22861 h 152377"/>
                <a:gd name="connsiteX10" fmla="*/ 38991 w 103079"/>
                <a:gd name="connsiteY10" fmla="*/ 40340 h 152377"/>
                <a:gd name="connsiteX11" fmla="*/ 38991 w 103079"/>
                <a:gd name="connsiteY11" fmla="*/ 41684 h 152377"/>
                <a:gd name="connsiteX12" fmla="*/ 49747 w 103079"/>
                <a:gd name="connsiteY12" fmla="*/ 69919 h 152377"/>
                <a:gd name="connsiteX13" fmla="*/ 52436 w 103079"/>
                <a:gd name="connsiteY13" fmla="*/ 72608 h 152377"/>
                <a:gd name="connsiteX14" fmla="*/ 52884 w 103079"/>
                <a:gd name="connsiteY14" fmla="*/ 76642 h 152377"/>
                <a:gd name="connsiteX15" fmla="*/ 36750 w 103079"/>
                <a:gd name="connsiteY15" fmla="*/ 93672 h 152377"/>
                <a:gd name="connsiteX16" fmla="*/ 0 w 103079"/>
                <a:gd name="connsiteY16" fmla="*/ 131319 h 152377"/>
                <a:gd name="connsiteX17" fmla="*/ 0 w 103079"/>
                <a:gd name="connsiteY17" fmla="*/ 134007 h 152377"/>
                <a:gd name="connsiteX18" fmla="*/ 0 w 103079"/>
                <a:gd name="connsiteY18" fmla="*/ 150141 h 152377"/>
                <a:gd name="connsiteX19" fmla="*/ 2241 w 103079"/>
                <a:gd name="connsiteY19" fmla="*/ 152382 h 152377"/>
                <a:gd name="connsiteX20" fmla="*/ 2241 w 103079"/>
                <a:gd name="connsiteY20" fmla="*/ 152382 h 152377"/>
                <a:gd name="connsiteX21" fmla="*/ 4482 w 103079"/>
                <a:gd name="connsiteY21" fmla="*/ 150141 h 152377"/>
                <a:gd name="connsiteX22" fmla="*/ 4482 w 103079"/>
                <a:gd name="connsiteY22" fmla="*/ 134007 h 152377"/>
                <a:gd name="connsiteX23" fmla="*/ 4482 w 103079"/>
                <a:gd name="connsiteY23" fmla="*/ 131319 h 152377"/>
                <a:gd name="connsiteX24" fmla="*/ 36750 w 103079"/>
                <a:gd name="connsiteY24" fmla="*/ 98154 h 152377"/>
                <a:gd name="connsiteX25" fmla="*/ 57366 w 103079"/>
                <a:gd name="connsiteY25" fmla="*/ 76642 h 152377"/>
                <a:gd name="connsiteX26" fmla="*/ 57366 w 103079"/>
                <a:gd name="connsiteY26" fmla="*/ 75745 h 152377"/>
                <a:gd name="connsiteX27" fmla="*/ 71707 w 103079"/>
                <a:gd name="connsiteY27" fmla="*/ 79331 h 152377"/>
                <a:gd name="connsiteX28" fmla="*/ 72155 w 103079"/>
                <a:gd name="connsiteY28" fmla="*/ 79331 h 152377"/>
                <a:gd name="connsiteX29" fmla="*/ 85601 w 103079"/>
                <a:gd name="connsiteY29" fmla="*/ 76642 h 152377"/>
                <a:gd name="connsiteX30" fmla="*/ 85601 w 103079"/>
                <a:gd name="connsiteY30" fmla="*/ 77090 h 152377"/>
                <a:gd name="connsiteX31" fmla="*/ 97701 w 103079"/>
                <a:gd name="connsiteY31" fmla="*/ 96361 h 152377"/>
                <a:gd name="connsiteX32" fmla="*/ 98597 w 103079"/>
                <a:gd name="connsiteY32" fmla="*/ 96361 h 152377"/>
                <a:gd name="connsiteX33" fmla="*/ 99942 w 103079"/>
                <a:gd name="connsiteY33" fmla="*/ 95017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8 h 152377"/>
                <a:gd name="connsiteX41" fmla="*/ 71259 w 103079"/>
                <a:gd name="connsiteY41" fmla="*/ 4486 h 152377"/>
                <a:gd name="connsiteX42" fmla="*/ 99494 w 103079"/>
                <a:gd name="connsiteY42" fmla="*/ 23758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9942" y="95017"/>
                  </a:moveTo>
                  <a:cubicBezTo>
                    <a:pt x="100390" y="93672"/>
                    <a:pt x="99942" y="92776"/>
                    <a:pt x="99046" y="91879"/>
                  </a:cubicBezTo>
                  <a:cubicBezTo>
                    <a:pt x="93219" y="89190"/>
                    <a:pt x="89634" y="83364"/>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200"/>
                    <a:pt x="42128" y="61404"/>
                    <a:pt x="49747" y="69919"/>
                  </a:cubicBezTo>
                  <a:cubicBezTo>
                    <a:pt x="50643" y="70816"/>
                    <a:pt x="51540" y="71712"/>
                    <a:pt x="52436" y="72608"/>
                  </a:cubicBezTo>
                  <a:cubicBezTo>
                    <a:pt x="52884" y="73953"/>
                    <a:pt x="52884" y="75297"/>
                    <a:pt x="52884" y="76642"/>
                  </a:cubicBezTo>
                  <a:cubicBezTo>
                    <a:pt x="52884" y="86053"/>
                    <a:pt x="45713" y="93672"/>
                    <a:pt x="36750" y="93672"/>
                  </a:cubicBezTo>
                  <a:cubicBezTo>
                    <a:pt x="16582" y="93672"/>
                    <a:pt x="448" y="110254"/>
                    <a:pt x="0" y="131319"/>
                  </a:cubicBezTo>
                  <a:lnTo>
                    <a:pt x="0" y="134007"/>
                  </a:lnTo>
                  <a:cubicBezTo>
                    <a:pt x="0" y="139386"/>
                    <a:pt x="0" y="145212"/>
                    <a:pt x="0" y="150141"/>
                  </a:cubicBezTo>
                  <a:cubicBezTo>
                    <a:pt x="0" y="151486"/>
                    <a:pt x="896" y="152382"/>
                    <a:pt x="2241" y="152382"/>
                  </a:cubicBezTo>
                  <a:cubicBezTo>
                    <a:pt x="2241" y="152382"/>
                    <a:pt x="2241" y="152382"/>
                    <a:pt x="2241" y="152382"/>
                  </a:cubicBezTo>
                  <a:cubicBezTo>
                    <a:pt x="3585" y="152382"/>
                    <a:pt x="4482" y="151486"/>
                    <a:pt x="4482" y="150141"/>
                  </a:cubicBezTo>
                  <a:cubicBezTo>
                    <a:pt x="4482" y="144764"/>
                    <a:pt x="4482" y="138937"/>
                    <a:pt x="4482" y="134007"/>
                  </a:cubicBezTo>
                  <a:lnTo>
                    <a:pt x="4482" y="131319"/>
                  </a:lnTo>
                  <a:cubicBezTo>
                    <a:pt x="4930" y="112943"/>
                    <a:pt x="19271" y="98154"/>
                    <a:pt x="36750" y="98154"/>
                  </a:cubicBezTo>
                  <a:cubicBezTo>
                    <a:pt x="47954" y="98154"/>
                    <a:pt x="57366" y="88742"/>
                    <a:pt x="57366" y="76642"/>
                  </a:cubicBezTo>
                  <a:cubicBezTo>
                    <a:pt x="57366" y="76193"/>
                    <a:pt x="57366" y="76193"/>
                    <a:pt x="57366" y="75745"/>
                  </a:cubicBezTo>
                  <a:cubicBezTo>
                    <a:pt x="64088" y="78883"/>
                    <a:pt x="70811" y="79331"/>
                    <a:pt x="71707" y="79331"/>
                  </a:cubicBezTo>
                  <a:cubicBezTo>
                    <a:pt x="71707" y="79331"/>
                    <a:pt x="71707" y="79331"/>
                    <a:pt x="72155" y="79331"/>
                  </a:cubicBezTo>
                  <a:cubicBezTo>
                    <a:pt x="73948" y="79331"/>
                    <a:pt x="79774" y="78883"/>
                    <a:pt x="85601" y="76642"/>
                  </a:cubicBezTo>
                  <a:cubicBezTo>
                    <a:pt x="85601" y="76642"/>
                    <a:pt x="85601" y="76642"/>
                    <a:pt x="85601" y="77090"/>
                  </a:cubicBezTo>
                  <a:cubicBezTo>
                    <a:pt x="85601" y="85605"/>
                    <a:pt x="90530" y="93224"/>
                    <a:pt x="97701" y="96361"/>
                  </a:cubicBezTo>
                  <a:cubicBezTo>
                    <a:pt x="98149" y="96361"/>
                    <a:pt x="98149" y="96361"/>
                    <a:pt x="98597" y="96361"/>
                  </a:cubicBezTo>
                  <a:cubicBezTo>
                    <a:pt x="98597" y="96361"/>
                    <a:pt x="99494" y="95913"/>
                    <a:pt x="99942" y="95017"/>
                  </a:cubicBezTo>
                  <a:close/>
                  <a:moveTo>
                    <a:pt x="71259" y="74849"/>
                  </a:moveTo>
                  <a:cubicBezTo>
                    <a:pt x="70811" y="74849"/>
                    <a:pt x="71259" y="74849"/>
                    <a:pt x="71259" y="74849"/>
                  </a:cubicBezTo>
                  <a:cubicBezTo>
                    <a:pt x="71259" y="74849"/>
                    <a:pt x="71259" y="74849"/>
                    <a:pt x="71259" y="74849"/>
                  </a:cubicBezTo>
                  <a:cubicBezTo>
                    <a:pt x="70811" y="74849"/>
                    <a:pt x="58710" y="74849"/>
                    <a:pt x="52436" y="67230"/>
                  </a:cubicBezTo>
                  <a:cubicBezTo>
                    <a:pt x="45713" y="59611"/>
                    <a:pt x="43921" y="48855"/>
                    <a:pt x="43024" y="41236"/>
                  </a:cubicBezTo>
                  <a:lnTo>
                    <a:pt x="43024" y="39892"/>
                  </a:lnTo>
                  <a:cubicBezTo>
                    <a:pt x="41680" y="31376"/>
                    <a:pt x="43024" y="23758"/>
                    <a:pt x="43024" y="23758"/>
                  </a:cubicBezTo>
                  <a:cubicBezTo>
                    <a:pt x="47058" y="4038"/>
                    <a:pt x="69915" y="4486"/>
                    <a:pt x="71259" y="4486"/>
                  </a:cubicBezTo>
                  <a:cubicBezTo>
                    <a:pt x="71707" y="4486"/>
                    <a:pt x="95460" y="3590"/>
                    <a:pt x="99494" y="23758"/>
                  </a:cubicBezTo>
                  <a:cubicBezTo>
                    <a:pt x="99494" y="23758"/>
                    <a:pt x="100838" y="30928"/>
                    <a:pt x="99494" y="39892"/>
                  </a:cubicBezTo>
                  <a:lnTo>
                    <a:pt x="99046" y="42581"/>
                  </a:lnTo>
                  <a:cubicBezTo>
                    <a:pt x="97701" y="50648"/>
                    <a:pt x="96357" y="60507"/>
                    <a:pt x="90082" y="67678"/>
                  </a:cubicBezTo>
                  <a:cubicBezTo>
                    <a:pt x="83360"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4" name="Group 2613">
            <a:extLst>
              <a:ext uri="{FF2B5EF4-FFF2-40B4-BE49-F238E27FC236}">
                <a16:creationId xmlns:a16="http://schemas.microsoft.com/office/drawing/2014/main" id="{F52F4729-358B-4462-849F-C51DB71B9C0F}"/>
              </a:ext>
              <a:ext uri="{C183D7F6-B498-43B3-948B-1728B52AA6E4}">
                <adec:decorative xmlns:adec="http://schemas.microsoft.com/office/drawing/2017/decorative" val="1"/>
              </a:ext>
            </a:extLst>
          </p:cNvPr>
          <p:cNvGrpSpPr>
            <a:grpSpLocks noChangeAspect="1"/>
          </p:cNvGrpSpPr>
          <p:nvPr/>
        </p:nvGrpSpPr>
        <p:grpSpPr>
          <a:xfrm>
            <a:off x="9050777" y="5213478"/>
            <a:ext cx="150585" cy="152378"/>
            <a:chOff x="9107277" y="3157787"/>
            <a:chExt cx="150585" cy="152378"/>
          </a:xfrm>
        </p:grpSpPr>
        <p:sp>
          <p:nvSpPr>
            <p:cNvPr id="2682" name="Freeform: Shape 2681">
              <a:extLst>
                <a:ext uri="{FF2B5EF4-FFF2-40B4-BE49-F238E27FC236}">
                  <a16:creationId xmlns:a16="http://schemas.microsoft.com/office/drawing/2014/main" id="{9E9DCC24-E949-4EC1-9F47-51C93FFCC20B}"/>
                </a:ext>
              </a:extLst>
            </p:cNvPr>
            <p:cNvSpPr/>
            <p:nvPr/>
          </p:nvSpPr>
          <p:spPr>
            <a:xfrm>
              <a:off x="9195118" y="3245633"/>
              <a:ext cx="62744" cy="62744"/>
            </a:xfrm>
            <a:custGeom>
              <a:avLst/>
              <a:gdLst>
                <a:gd name="connsiteX0" fmla="*/ 63640 w 62743"/>
                <a:gd name="connsiteY0" fmla="*/ 60503 h 62743"/>
                <a:gd name="connsiteX1" fmla="*/ 50195 w 62743"/>
                <a:gd name="connsiteY1" fmla="*/ 47058 h 62743"/>
                <a:gd name="connsiteX2" fmla="*/ 49747 w 62743"/>
                <a:gd name="connsiteY2" fmla="*/ 46610 h 62743"/>
                <a:gd name="connsiteX3" fmla="*/ 56469 w 62743"/>
                <a:gd name="connsiteY3" fmla="*/ 28235 h 62743"/>
                <a:gd name="connsiteX4" fmla="*/ 28235 w 62743"/>
                <a:gd name="connsiteY4" fmla="*/ 0 h 62743"/>
                <a:gd name="connsiteX5" fmla="*/ 0 w 62743"/>
                <a:gd name="connsiteY5" fmla="*/ 28235 h 62743"/>
                <a:gd name="connsiteX6" fmla="*/ 28235 w 62743"/>
                <a:gd name="connsiteY6" fmla="*/ 56469 h 62743"/>
                <a:gd name="connsiteX7" fmla="*/ 46610 w 62743"/>
                <a:gd name="connsiteY7" fmla="*/ 49747 h 62743"/>
                <a:gd name="connsiteX8" fmla="*/ 47058 w 62743"/>
                <a:gd name="connsiteY8" fmla="*/ 50195 h 62743"/>
                <a:gd name="connsiteX9" fmla="*/ 60503 w 62743"/>
                <a:gd name="connsiteY9" fmla="*/ 63640 h 62743"/>
                <a:gd name="connsiteX10" fmla="*/ 62295 w 62743"/>
                <a:gd name="connsiteY10" fmla="*/ 64088 h 62743"/>
                <a:gd name="connsiteX11" fmla="*/ 64088 w 62743"/>
                <a:gd name="connsiteY11" fmla="*/ 63640 h 62743"/>
                <a:gd name="connsiteX12" fmla="*/ 63640 w 62743"/>
                <a:gd name="connsiteY12" fmla="*/ 60503 h 62743"/>
                <a:gd name="connsiteX13" fmla="*/ 28683 w 62743"/>
                <a:gd name="connsiteY13" fmla="*/ 52436 h 62743"/>
                <a:gd name="connsiteX14" fmla="*/ 4930 w 62743"/>
                <a:gd name="connsiteY14" fmla="*/ 28683 h 62743"/>
                <a:gd name="connsiteX15" fmla="*/ 28683 w 62743"/>
                <a:gd name="connsiteY15" fmla="*/ 4930 h 62743"/>
                <a:gd name="connsiteX16" fmla="*/ 52436 w 62743"/>
                <a:gd name="connsiteY16" fmla="*/ 28683 h 62743"/>
                <a:gd name="connsiteX17" fmla="*/ 28683 w 62743"/>
                <a:gd name="connsiteY17" fmla="*/ 52436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743" h="62743">
                  <a:moveTo>
                    <a:pt x="63640" y="60503"/>
                  </a:moveTo>
                  <a:lnTo>
                    <a:pt x="50195" y="47058"/>
                  </a:lnTo>
                  <a:cubicBezTo>
                    <a:pt x="50195" y="47058"/>
                    <a:pt x="49747" y="47058"/>
                    <a:pt x="49747" y="46610"/>
                  </a:cubicBezTo>
                  <a:cubicBezTo>
                    <a:pt x="53780" y="41680"/>
                    <a:pt x="56469" y="35406"/>
                    <a:pt x="56469" y="28235"/>
                  </a:cubicBezTo>
                  <a:cubicBezTo>
                    <a:pt x="56469" y="12549"/>
                    <a:pt x="43921" y="0"/>
                    <a:pt x="28235" y="0"/>
                  </a:cubicBezTo>
                  <a:cubicBezTo>
                    <a:pt x="12549" y="0"/>
                    <a:pt x="0" y="12549"/>
                    <a:pt x="0" y="28235"/>
                  </a:cubicBezTo>
                  <a:cubicBezTo>
                    <a:pt x="0" y="43921"/>
                    <a:pt x="12549" y="56469"/>
                    <a:pt x="28235" y="56469"/>
                  </a:cubicBezTo>
                  <a:cubicBezTo>
                    <a:pt x="35405" y="56469"/>
                    <a:pt x="41680" y="53780"/>
                    <a:pt x="46610" y="49747"/>
                  </a:cubicBezTo>
                  <a:cubicBezTo>
                    <a:pt x="46610" y="49747"/>
                    <a:pt x="46610" y="50195"/>
                    <a:pt x="47058" y="50195"/>
                  </a:cubicBezTo>
                  <a:lnTo>
                    <a:pt x="60503" y="63640"/>
                  </a:lnTo>
                  <a:cubicBezTo>
                    <a:pt x="60951" y="64088"/>
                    <a:pt x="61399" y="64088"/>
                    <a:pt x="62295" y="64088"/>
                  </a:cubicBezTo>
                  <a:cubicBezTo>
                    <a:pt x="63192" y="64088"/>
                    <a:pt x="63640" y="64088"/>
                    <a:pt x="64088" y="63640"/>
                  </a:cubicBezTo>
                  <a:cubicBezTo>
                    <a:pt x="64536" y="62744"/>
                    <a:pt x="64536" y="61399"/>
                    <a:pt x="63640" y="60503"/>
                  </a:cubicBezTo>
                  <a:close/>
                  <a:moveTo>
                    <a:pt x="28683" y="52436"/>
                  </a:moveTo>
                  <a:cubicBezTo>
                    <a:pt x="15686" y="52436"/>
                    <a:pt x="4930" y="41680"/>
                    <a:pt x="4930" y="28683"/>
                  </a:cubicBezTo>
                  <a:cubicBezTo>
                    <a:pt x="4930" y="15686"/>
                    <a:pt x="15686" y="4930"/>
                    <a:pt x="28683" y="4930"/>
                  </a:cubicBezTo>
                  <a:cubicBezTo>
                    <a:pt x="41680" y="4930"/>
                    <a:pt x="52436" y="15686"/>
                    <a:pt x="52436" y="28683"/>
                  </a:cubicBezTo>
                  <a:cubicBezTo>
                    <a:pt x="52436" y="41680"/>
                    <a:pt x="41680" y="52436"/>
                    <a:pt x="28683" y="52436"/>
                  </a:cubicBezTo>
                  <a:close/>
                </a:path>
              </a:pathLst>
            </a:custGeom>
            <a:solidFill>
              <a:srgbClr val="231F20"/>
            </a:solidFill>
            <a:ln w="4477" cap="flat">
              <a:noFill/>
              <a:prstDash val="solid"/>
              <a:miter/>
            </a:ln>
          </p:spPr>
          <p:txBody>
            <a:bodyPr rtlCol="0" anchor="ctr"/>
            <a:lstStyle/>
            <a:p>
              <a:endParaRPr lang="en-US"/>
            </a:p>
          </p:txBody>
        </p:sp>
        <p:sp>
          <p:nvSpPr>
            <p:cNvPr id="2683" name="Freeform: Shape 2682">
              <a:extLst>
                <a:ext uri="{FF2B5EF4-FFF2-40B4-BE49-F238E27FC236}">
                  <a16:creationId xmlns:a16="http://schemas.microsoft.com/office/drawing/2014/main" id="{AF61B643-7505-4221-A259-F805E3E7B51A}"/>
                </a:ext>
              </a:extLst>
            </p:cNvPr>
            <p:cNvSpPr/>
            <p:nvPr/>
          </p:nvSpPr>
          <p:spPr>
            <a:xfrm>
              <a:off x="9107277" y="3157787"/>
              <a:ext cx="103079" cy="152378"/>
            </a:xfrm>
            <a:custGeom>
              <a:avLst/>
              <a:gdLst>
                <a:gd name="connsiteX0" fmla="*/ 89186 w 103079"/>
                <a:gd name="connsiteY0" fmla="*/ 89190 h 152377"/>
                <a:gd name="connsiteX1" fmla="*/ 90978 w 103079"/>
                <a:gd name="connsiteY1" fmla="*/ 90087 h 152377"/>
                <a:gd name="connsiteX2" fmla="*/ 92323 w 103079"/>
                <a:gd name="connsiteY2" fmla="*/ 89638 h 152377"/>
                <a:gd name="connsiteX3" fmla="*/ 92771 w 103079"/>
                <a:gd name="connsiteY3" fmla="*/ 86501 h 152377"/>
                <a:gd name="connsiteX4" fmla="*/ 89634 w 103079"/>
                <a:gd name="connsiteY4" fmla="*/ 76641 h 152377"/>
                <a:gd name="connsiteX5" fmla="*/ 90082 w 103079"/>
                <a:gd name="connsiteY5" fmla="*/ 73504 h 152377"/>
                <a:gd name="connsiteX6" fmla="*/ 93668 w 103079"/>
                <a:gd name="connsiteY6" fmla="*/ 70367 h 152377"/>
                <a:gd name="connsiteX7" fmla="*/ 103527 w 103079"/>
                <a:gd name="connsiteY7" fmla="*/ 43029 h 152377"/>
                <a:gd name="connsiteX8" fmla="*/ 103976 w 103079"/>
                <a:gd name="connsiteY8" fmla="*/ 40340 h 152377"/>
                <a:gd name="connsiteX9" fmla="*/ 103976 w 103079"/>
                <a:gd name="connsiteY9" fmla="*/ 22861 h 152377"/>
                <a:gd name="connsiteX10" fmla="*/ 71259 w 103079"/>
                <a:gd name="connsiteY10" fmla="*/ 4 h 152377"/>
                <a:gd name="connsiteX11" fmla="*/ 38991 w 103079"/>
                <a:gd name="connsiteY11" fmla="*/ 22861 h 152377"/>
                <a:gd name="connsiteX12" fmla="*/ 38991 w 103079"/>
                <a:gd name="connsiteY12" fmla="*/ 40340 h 152377"/>
                <a:gd name="connsiteX13" fmla="*/ 38991 w 103079"/>
                <a:gd name="connsiteY13" fmla="*/ 41684 h 152377"/>
                <a:gd name="connsiteX14" fmla="*/ 49747 w 103079"/>
                <a:gd name="connsiteY14" fmla="*/ 69919 h 152377"/>
                <a:gd name="connsiteX15" fmla="*/ 52436 w 103079"/>
                <a:gd name="connsiteY15" fmla="*/ 72608 h 152377"/>
                <a:gd name="connsiteX16" fmla="*/ 52884 w 103079"/>
                <a:gd name="connsiteY16" fmla="*/ 76641 h 152377"/>
                <a:gd name="connsiteX17" fmla="*/ 36750 w 103079"/>
                <a:gd name="connsiteY17" fmla="*/ 93672 h 152377"/>
                <a:gd name="connsiteX18" fmla="*/ 0 w 103079"/>
                <a:gd name="connsiteY18" fmla="*/ 131318 h 152377"/>
                <a:gd name="connsiteX19" fmla="*/ 0 w 103079"/>
                <a:gd name="connsiteY19" fmla="*/ 138489 h 152377"/>
                <a:gd name="connsiteX20" fmla="*/ 0 w 103079"/>
                <a:gd name="connsiteY20" fmla="*/ 150590 h 152377"/>
                <a:gd name="connsiteX21" fmla="*/ 2241 w 103079"/>
                <a:gd name="connsiteY21" fmla="*/ 152830 h 152377"/>
                <a:gd name="connsiteX22" fmla="*/ 2241 w 103079"/>
                <a:gd name="connsiteY22" fmla="*/ 152830 h 152377"/>
                <a:gd name="connsiteX23" fmla="*/ 4482 w 103079"/>
                <a:gd name="connsiteY23" fmla="*/ 150590 h 152377"/>
                <a:gd name="connsiteX24" fmla="*/ 4482 w 103079"/>
                <a:gd name="connsiteY24" fmla="*/ 138489 h 152377"/>
                <a:gd name="connsiteX25" fmla="*/ 4482 w 103079"/>
                <a:gd name="connsiteY25" fmla="*/ 131766 h 152377"/>
                <a:gd name="connsiteX26" fmla="*/ 36750 w 103079"/>
                <a:gd name="connsiteY26" fmla="*/ 98602 h 152377"/>
                <a:gd name="connsiteX27" fmla="*/ 57366 w 103079"/>
                <a:gd name="connsiteY27" fmla="*/ 77090 h 152377"/>
                <a:gd name="connsiteX28" fmla="*/ 57366 w 103079"/>
                <a:gd name="connsiteY28" fmla="*/ 76193 h 152377"/>
                <a:gd name="connsiteX29" fmla="*/ 71707 w 103079"/>
                <a:gd name="connsiteY29" fmla="*/ 79779 h 152377"/>
                <a:gd name="connsiteX30" fmla="*/ 72156 w 103079"/>
                <a:gd name="connsiteY30" fmla="*/ 79779 h 152377"/>
                <a:gd name="connsiteX31" fmla="*/ 85601 w 103079"/>
                <a:gd name="connsiteY31" fmla="*/ 77090 h 152377"/>
                <a:gd name="connsiteX32" fmla="*/ 85601 w 103079"/>
                <a:gd name="connsiteY32" fmla="*/ 77538 h 152377"/>
                <a:gd name="connsiteX33" fmla="*/ 89186 w 103079"/>
                <a:gd name="connsiteY33" fmla="*/ 89190 h 152377"/>
                <a:gd name="connsiteX34" fmla="*/ 71707 w 103079"/>
                <a:gd name="connsiteY34" fmla="*/ 74849 h 152377"/>
                <a:gd name="connsiteX35" fmla="*/ 71707 w 103079"/>
                <a:gd name="connsiteY35" fmla="*/ 74849 h 152377"/>
                <a:gd name="connsiteX36" fmla="*/ 71707 w 103079"/>
                <a:gd name="connsiteY36" fmla="*/ 74849 h 152377"/>
                <a:gd name="connsiteX37" fmla="*/ 52884 w 103079"/>
                <a:gd name="connsiteY37" fmla="*/ 67230 h 152377"/>
                <a:gd name="connsiteX38" fmla="*/ 43473 w 103079"/>
                <a:gd name="connsiteY38" fmla="*/ 41236 h 152377"/>
                <a:gd name="connsiteX39" fmla="*/ 43473 w 103079"/>
                <a:gd name="connsiteY39" fmla="*/ 39892 h 152377"/>
                <a:gd name="connsiteX40" fmla="*/ 43473 w 103079"/>
                <a:gd name="connsiteY40" fmla="*/ 23757 h 152377"/>
                <a:gd name="connsiteX41" fmla="*/ 71707 w 103079"/>
                <a:gd name="connsiteY41" fmla="*/ 4486 h 152377"/>
                <a:gd name="connsiteX42" fmla="*/ 99942 w 103079"/>
                <a:gd name="connsiteY42" fmla="*/ 23757 h 152377"/>
                <a:gd name="connsiteX43" fmla="*/ 99942 w 103079"/>
                <a:gd name="connsiteY43" fmla="*/ 39892 h 152377"/>
                <a:gd name="connsiteX44" fmla="*/ 99494 w 103079"/>
                <a:gd name="connsiteY44" fmla="*/ 42581 h 152377"/>
                <a:gd name="connsiteX45" fmla="*/ 90530 w 103079"/>
                <a:gd name="connsiteY45" fmla="*/ 67678 h 152377"/>
                <a:gd name="connsiteX46" fmla="*/ 71707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89186" y="89190"/>
                  </a:moveTo>
                  <a:cubicBezTo>
                    <a:pt x="89634" y="89638"/>
                    <a:pt x="90530" y="90087"/>
                    <a:pt x="90978" y="90087"/>
                  </a:cubicBezTo>
                  <a:cubicBezTo>
                    <a:pt x="91427" y="90087"/>
                    <a:pt x="91875" y="90087"/>
                    <a:pt x="92323" y="89638"/>
                  </a:cubicBezTo>
                  <a:cubicBezTo>
                    <a:pt x="93219" y="88742"/>
                    <a:pt x="93668" y="87398"/>
                    <a:pt x="92771" y="86501"/>
                  </a:cubicBezTo>
                  <a:cubicBezTo>
                    <a:pt x="90530" y="83812"/>
                    <a:pt x="89634" y="80227"/>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766"/>
                  </a:lnTo>
                  <a:cubicBezTo>
                    <a:pt x="4930" y="113391"/>
                    <a:pt x="19271" y="98602"/>
                    <a:pt x="36750" y="98602"/>
                  </a:cubicBezTo>
                  <a:cubicBezTo>
                    <a:pt x="47954" y="98602"/>
                    <a:pt x="57366" y="89190"/>
                    <a:pt x="57366" y="77090"/>
                  </a:cubicBezTo>
                  <a:cubicBezTo>
                    <a:pt x="57366" y="76641"/>
                    <a:pt x="57366" y="76641"/>
                    <a:pt x="57366" y="76193"/>
                  </a:cubicBezTo>
                  <a:cubicBezTo>
                    <a:pt x="64088" y="79330"/>
                    <a:pt x="70811" y="79779"/>
                    <a:pt x="71707" y="79779"/>
                  </a:cubicBezTo>
                  <a:cubicBezTo>
                    <a:pt x="71707" y="79779"/>
                    <a:pt x="71707" y="79779"/>
                    <a:pt x="72156" y="79779"/>
                  </a:cubicBezTo>
                  <a:cubicBezTo>
                    <a:pt x="73948" y="79779"/>
                    <a:pt x="79774" y="79330"/>
                    <a:pt x="85601" y="77090"/>
                  </a:cubicBezTo>
                  <a:cubicBezTo>
                    <a:pt x="85601" y="77090"/>
                    <a:pt x="85601" y="77090"/>
                    <a:pt x="85601" y="77538"/>
                  </a:cubicBezTo>
                  <a:cubicBezTo>
                    <a:pt x="85152" y="81123"/>
                    <a:pt x="86497" y="85605"/>
                    <a:pt x="89186" y="89190"/>
                  </a:cubicBezTo>
                  <a:close/>
                  <a:moveTo>
                    <a:pt x="71707" y="74849"/>
                  </a:moveTo>
                  <a:cubicBezTo>
                    <a:pt x="71259" y="74849"/>
                    <a:pt x="71259" y="74849"/>
                    <a:pt x="71707" y="74849"/>
                  </a:cubicBezTo>
                  <a:lnTo>
                    <a:pt x="71707" y="74849"/>
                  </a:lnTo>
                  <a:cubicBezTo>
                    <a:pt x="71259" y="74849"/>
                    <a:pt x="59159" y="74849"/>
                    <a:pt x="52884" y="67230"/>
                  </a:cubicBezTo>
                  <a:cubicBezTo>
                    <a:pt x="46161" y="59611"/>
                    <a:pt x="44369" y="48855"/>
                    <a:pt x="43473" y="41236"/>
                  </a:cubicBezTo>
                  <a:lnTo>
                    <a:pt x="43473" y="39892"/>
                  </a:lnTo>
                  <a:cubicBezTo>
                    <a:pt x="42128" y="31376"/>
                    <a:pt x="43473" y="23757"/>
                    <a:pt x="43473" y="23757"/>
                  </a:cubicBezTo>
                  <a:cubicBezTo>
                    <a:pt x="47506" y="4038"/>
                    <a:pt x="70363" y="4486"/>
                    <a:pt x="71707" y="4486"/>
                  </a:cubicBezTo>
                  <a:cubicBezTo>
                    <a:pt x="72604" y="4486"/>
                    <a:pt x="95909" y="4038"/>
                    <a:pt x="99942" y="23757"/>
                  </a:cubicBezTo>
                  <a:cubicBezTo>
                    <a:pt x="99942" y="23757"/>
                    <a:pt x="101287" y="30928"/>
                    <a:pt x="99942" y="39892"/>
                  </a:cubicBezTo>
                  <a:lnTo>
                    <a:pt x="99494" y="42581"/>
                  </a:lnTo>
                  <a:cubicBezTo>
                    <a:pt x="98149" y="50648"/>
                    <a:pt x="96805" y="60507"/>
                    <a:pt x="90530" y="67678"/>
                  </a:cubicBezTo>
                  <a:cubicBezTo>
                    <a:pt x="83808" y="74401"/>
                    <a:pt x="73500" y="74849"/>
                    <a:pt x="71707" y="74849"/>
                  </a:cubicBezTo>
                  <a:close/>
                </a:path>
              </a:pathLst>
            </a:custGeom>
            <a:solidFill>
              <a:srgbClr val="231F20"/>
            </a:solidFill>
            <a:ln w="4477" cap="flat">
              <a:noFill/>
              <a:prstDash val="solid"/>
              <a:miter/>
            </a:ln>
          </p:spPr>
          <p:txBody>
            <a:bodyPr rtlCol="0" anchor="ctr"/>
            <a:lstStyle/>
            <a:p>
              <a:endParaRPr lang="en-US"/>
            </a:p>
          </p:txBody>
        </p:sp>
      </p:grpSp>
      <p:grpSp>
        <p:nvGrpSpPr>
          <p:cNvPr id="2615" name="Group 2614">
            <a:extLst>
              <a:ext uri="{FF2B5EF4-FFF2-40B4-BE49-F238E27FC236}">
                <a16:creationId xmlns:a16="http://schemas.microsoft.com/office/drawing/2014/main" id="{6150E3AD-89CF-4BE5-86AE-5F41094C0968}"/>
              </a:ext>
              <a:ext uri="{C183D7F6-B498-43B3-948B-1728B52AA6E4}">
                <adec:decorative xmlns:adec="http://schemas.microsoft.com/office/drawing/2017/decorative" val="1"/>
              </a:ext>
            </a:extLst>
          </p:cNvPr>
          <p:cNvGrpSpPr>
            <a:grpSpLocks noChangeAspect="1"/>
          </p:cNvGrpSpPr>
          <p:nvPr/>
        </p:nvGrpSpPr>
        <p:grpSpPr>
          <a:xfrm>
            <a:off x="9321472" y="5213478"/>
            <a:ext cx="152097" cy="152550"/>
            <a:chOff x="9377972" y="3157787"/>
            <a:chExt cx="152097" cy="152550"/>
          </a:xfrm>
        </p:grpSpPr>
        <p:sp>
          <p:nvSpPr>
            <p:cNvPr id="2679" name="Freeform: Shape 2678">
              <a:extLst>
                <a:ext uri="{FF2B5EF4-FFF2-40B4-BE49-F238E27FC236}">
                  <a16:creationId xmlns:a16="http://schemas.microsoft.com/office/drawing/2014/main" id="{7C79943C-B805-4F63-A865-B1E579068D69}"/>
                </a:ext>
              </a:extLst>
            </p:cNvPr>
            <p:cNvSpPr/>
            <p:nvPr/>
          </p:nvSpPr>
          <p:spPr>
            <a:xfrm>
              <a:off x="9471807" y="3252075"/>
              <a:ext cx="58262" cy="58262"/>
            </a:xfrm>
            <a:custGeom>
              <a:avLst/>
              <a:gdLst>
                <a:gd name="connsiteX0" fmla="*/ 49580 w 58262"/>
                <a:gd name="connsiteY0" fmla="*/ 8348 h 58262"/>
                <a:gd name="connsiteX1" fmla="*/ 8348 w 58262"/>
                <a:gd name="connsiteY1" fmla="*/ 8796 h 58262"/>
                <a:gd name="connsiteX2" fmla="*/ 8796 w 58262"/>
                <a:gd name="connsiteY2" fmla="*/ 50028 h 58262"/>
                <a:gd name="connsiteX3" fmla="*/ 29412 w 58262"/>
                <a:gd name="connsiteY3" fmla="*/ 58543 h 58262"/>
                <a:gd name="connsiteX4" fmla="*/ 29860 w 58262"/>
                <a:gd name="connsiteY4" fmla="*/ 58543 h 58262"/>
                <a:gd name="connsiteX5" fmla="*/ 50476 w 58262"/>
                <a:gd name="connsiteY5" fmla="*/ 50028 h 58262"/>
                <a:gd name="connsiteX6" fmla="*/ 58991 w 58262"/>
                <a:gd name="connsiteY6" fmla="*/ 29412 h 58262"/>
                <a:gd name="connsiteX7" fmla="*/ 49580 w 58262"/>
                <a:gd name="connsiteY7" fmla="*/ 8348 h 58262"/>
                <a:gd name="connsiteX8" fmla="*/ 46891 w 58262"/>
                <a:gd name="connsiteY8" fmla="*/ 46442 h 58262"/>
                <a:gd name="connsiteX9" fmla="*/ 11933 w 58262"/>
                <a:gd name="connsiteY9" fmla="*/ 46891 h 58262"/>
                <a:gd name="connsiteX10" fmla="*/ 11485 w 58262"/>
                <a:gd name="connsiteY10" fmla="*/ 11933 h 58262"/>
                <a:gd name="connsiteX11" fmla="*/ 46442 w 58262"/>
                <a:gd name="connsiteY11" fmla="*/ 11485 h 58262"/>
                <a:gd name="connsiteX12" fmla="*/ 53613 w 58262"/>
                <a:gd name="connsiteY12" fmla="*/ 28964 h 58262"/>
                <a:gd name="connsiteX13" fmla="*/ 46891 w 58262"/>
                <a:gd name="connsiteY13"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49580" y="8348"/>
                  </a:moveTo>
                  <a:cubicBezTo>
                    <a:pt x="37927" y="-2856"/>
                    <a:pt x="19552" y="-2856"/>
                    <a:pt x="8348" y="8796"/>
                  </a:cubicBezTo>
                  <a:cubicBezTo>
                    <a:pt x="-2856" y="20449"/>
                    <a:pt x="-2856" y="38824"/>
                    <a:pt x="8796" y="50028"/>
                  </a:cubicBezTo>
                  <a:cubicBezTo>
                    <a:pt x="14174" y="55406"/>
                    <a:pt x="21345" y="58543"/>
                    <a:pt x="29412" y="58543"/>
                  </a:cubicBezTo>
                  <a:cubicBezTo>
                    <a:pt x="29412" y="58543"/>
                    <a:pt x="29412" y="58543"/>
                    <a:pt x="29860" y="58543"/>
                  </a:cubicBezTo>
                  <a:cubicBezTo>
                    <a:pt x="37479" y="58543"/>
                    <a:pt x="45098" y="55406"/>
                    <a:pt x="50476" y="50028"/>
                  </a:cubicBezTo>
                  <a:cubicBezTo>
                    <a:pt x="55854" y="44650"/>
                    <a:pt x="58991" y="37031"/>
                    <a:pt x="58991" y="29412"/>
                  </a:cubicBezTo>
                  <a:cubicBezTo>
                    <a:pt x="58991" y="21793"/>
                    <a:pt x="54958" y="13726"/>
                    <a:pt x="49580" y="8348"/>
                  </a:cubicBezTo>
                  <a:close/>
                  <a:moveTo>
                    <a:pt x="46891" y="46442"/>
                  </a:moveTo>
                  <a:cubicBezTo>
                    <a:pt x="37479" y="56302"/>
                    <a:pt x="21793" y="56302"/>
                    <a:pt x="11933" y="46891"/>
                  </a:cubicBezTo>
                  <a:cubicBezTo>
                    <a:pt x="2074" y="37479"/>
                    <a:pt x="2074" y="21793"/>
                    <a:pt x="11485" y="11933"/>
                  </a:cubicBezTo>
                  <a:cubicBezTo>
                    <a:pt x="20897" y="2074"/>
                    <a:pt x="36583" y="2074"/>
                    <a:pt x="46442" y="11485"/>
                  </a:cubicBezTo>
                  <a:cubicBezTo>
                    <a:pt x="50924" y="15967"/>
                    <a:pt x="53613" y="22241"/>
                    <a:pt x="53613" y="28964"/>
                  </a:cubicBezTo>
                  <a:cubicBezTo>
                    <a:pt x="53613" y="35238"/>
                    <a:pt x="51372" y="41513"/>
                    <a:pt x="46891" y="46442"/>
                  </a:cubicBezTo>
                  <a:close/>
                </a:path>
              </a:pathLst>
            </a:custGeom>
            <a:solidFill>
              <a:srgbClr val="231F20"/>
            </a:solidFill>
            <a:ln w="4477" cap="flat">
              <a:noFill/>
              <a:prstDash val="solid"/>
              <a:miter/>
            </a:ln>
          </p:spPr>
          <p:txBody>
            <a:bodyPr rtlCol="0" anchor="ctr"/>
            <a:lstStyle/>
            <a:p>
              <a:endParaRPr lang="en-US"/>
            </a:p>
          </p:txBody>
        </p:sp>
        <p:sp>
          <p:nvSpPr>
            <p:cNvPr id="2680" name="Freeform: Shape 2679">
              <a:extLst>
                <a:ext uri="{FF2B5EF4-FFF2-40B4-BE49-F238E27FC236}">
                  <a16:creationId xmlns:a16="http://schemas.microsoft.com/office/drawing/2014/main" id="{325983A6-BAA9-4A30-A00F-8AAE66E2B613}"/>
                </a:ext>
              </a:extLst>
            </p:cNvPr>
            <p:cNvSpPr/>
            <p:nvPr/>
          </p:nvSpPr>
          <p:spPr>
            <a:xfrm>
              <a:off x="9487998" y="3268266"/>
              <a:ext cx="22409" cy="22409"/>
            </a:xfrm>
            <a:custGeom>
              <a:avLst/>
              <a:gdLst>
                <a:gd name="connsiteX0" fmla="*/ 15910 w 22408"/>
                <a:gd name="connsiteY0" fmla="*/ 12773 h 22408"/>
                <a:gd name="connsiteX1" fmla="*/ 24873 w 22408"/>
                <a:gd name="connsiteY1" fmla="*/ 3810 h 22408"/>
                <a:gd name="connsiteX2" fmla="*/ 24873 w 22408"/>
                <a:gd name="connsiteY2" fmla="*/ 672 h 22408"/>
                <a:gd name="connsiteX3" fmla="*/ 21736 w 22408"/>
                <a:gd name="connsiteY3" fmla="*/ 672 h 22408"/>
                <a:gd name="connsiteX4" fmla="*/ 12773 w 22408"/>
                <a:gd name="connsiteY4" fmla="*/ 9636 h 22408"/>
                <a:gd name="connsiteX5" fmla="*/ 3809 w 22408"/>
                <a:gd name="connsiteY5" fmla="*/ 672 h 22408"/>
                <a:gd name="connsiteX6" fmla="*/ 672 w 22408"/>
                <a:gd name="connsiteY6" fmla="*/ 672 h 22408"/>
                <a:gd name="connsiteX7" fmla="*/ 672 w 22408"/>
                <a:gd name="connsiteY7" fmla="*/ 3810 h 22408"/>
                <a:gd name="connsiteX8" fmla="*/ 9636 w 22408"/>
                <a:gd name="connsiteY8" fmla="*/ 12773 h 22408"/>
                <a:gd name="connsiteX9" fmla="*/ 672 w 22408"/>
                <a:gd name="connsiteY9" fmla="*/ 21736 h 22408"/>
                <a:gd name="connsiteX10" fmla="*/ 672 w 22408"/>
                <a:gd name="connsiteY10" fmla="*/ 24873 h 22408"/>
                <a:gd name="connsiteX11" fmla="*/ 2465 w 22408"/>
                <a:gd name="connsiteY11" fmla="*/ 25322 h 22408"/>
                <a:gd name="connsiteX12" fmla="*/ 4258 w 22408"/>
                <a:gd name="connsiteY12" fmla="*/ 24873 h 22408"/>
                <a:gd name="connsiteX13" fmla="*/ 13221 w 22408"/>
                <a:gd name="connsiteY13" fmla="*/ 15910 h 22408"/>
                <a:gd name="connsiteX14" fmla="*/ 22184 w 22408"/>
                <a:gd name="connsiteY14" fmla="*/ 24873 h 22408"/>
                <a:gd name="connsiteX15" fmla="*/ 23977 w 22408"/>
                <a:gd name="connsiteY15" fmla="*/ 25322 h 22408"/>
                <a:gd name="connsiteX16" fmla="*/ 25770 w 22408"/>
                <a:gd name="connsiteY16" fmla="*/ 24873 h 22408"/>
                <a:gd name="connsiteX17" fmla="*/ 25770 w 22408"/>
                <a:gd name="connsiteY17" fmla="*/ 21736 h 22408"/>
                <a:gd name="connsiteX18" fmla="*/ 15910 w 22408"/>
                <a:gd name="connsiteY18" fmla="*/ 1277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15910" y="12773"/>
                  </a:moveTo>
                  <a:lnTo>
                    <a:pt x="24873" y="3810"/>
                  </a:lnTo>
                  <a:cubicBezTo>
                    <a:pt x="25770" y="2913"/>
                    <a:pt x="25770" y="1569"/>
                    <a:pt x="24873" y="672"/>
                  </a:cubicBezTo>
                  <a:cubicBezTo>
                    <a:pt x="23977" y="-224"/>
                    <a:pt x="22632" y="-224"/>
                    <a:pt x="21736" y="672"/>
                  </a:cubicBezTo>
                  <a:lnTo>
                    <a:pt x="12773" y="9636"/>
                  </a:lnTo>
                  <a:lnTo>
                    <a:pt x="3809" y="672"/>
                  </a:lnTo>
                  <a:cubicBezTo>
                    <a:pt x="2913" y="-224"/>
                    <a:pt x="1568" y="-224"/>
                    <a:pt x="672" y="672"/>
                  </a:cubicBezTo>
                  <a:cubicBezTo>
                    <a:pt x="-224" y="1569"/>
                    <a:pt x="-224" y="2913"/>
                    <a:pt x="672" y="3810"/>
                  </a:cubicBezTo>
                  <a:lnTo>
                    <a:pt x="9636" y="12773"/>
                  </a:lnTo>
                  <a:lnTo>
                    <a:pt x="672" y="21736"/>
                  </a:lnTo>
                  <a:cubicBezTo>
                    <a:pt x="-224" y="22633"/>
                    <a:pt x="-224" y="23977"/>
                    <a:pt x="672" y="24873"/>
                  </a:cubicBezTo>
                  <a:cubicBezTo>
                    <a:pt x="1120" y="25322"/>
                    <a:pt x="1568" y="25322"/>
                    <a:pt x="2465" y="25322"/>
                  </a:cubicBezTo>
                  <a:cubicBezTo>
                    <a:pt x="2913" y="25322"/>
                    <a:pt x="3809" y="25322"/>
                    <a:pt x="4258" y="24873"/>
                  </a:cubicBezTo>
                  <a:lnTo>
                    <a:pt x="13221" y="15910"/>
                  </a:lnTo>
                  <a:lnTo>
                    <a:pt x="22184" y="24873"/>
                  </a:lnTo>
                  <a:cubicBezTo>
                    <a:pt x="22632" y="25322"/>
                    <a:pt x="23081" y="25322"/>
                    <a:pt x="23977" y="25322"/>
                  </a:cubicBezTo>
                  <a:cubicBezTo>
                    <a:pt x="24425" y="25322"/>
                    <a:pt x="25322" y="25322"/>
                    <a:pt x="25770" y="24873"/>
                  </a:cubicBezTo>
                  <a:cubicBezTo>
                    <a:pt x="26666" y="23977"/>
                    <a:pt x="26666" y="22633"/>
                    <a:pt x="25770" y="21736"/>
                  </a:cubicBezTo>
                  <a:lnTo>
                    <a:pt x="15910" y="12773"/>
                  </a:lnTo>
                  <a:close/>
                </a:path>
              </a:pathLst>
            </a:custGeom>
            <a:solidFill>
              <a:srgbClr val="231F20"/>
            </a:solidFill>
            <a:ln w="4477" cap="flat">
              <a:noFill/>
              <a:prstDash val="solid"/>
              <a:miter/>
            </a:ln>
          </p:spPr>
          <p:txBody>
            <a:bodyPr rtlCol="0" anchor="ctr"/>
            <a:lstStyle/>
            <a:p>
              <a:endParaRPr lang="en-US"/>
            </a:p>
          </p:txBody>
        </p:sp>
        <p:sp>
          <p:nvSpPr>
            <p:cNvPr id="2681" name="Freeform: Shape 2680">
              <a:extLst>
                <a:ext uri="{FF2B5EF4-FFF2-40B4-BE49-F238E27FC236}">
                  <a16:creationId xmlns:a16="http://schemas.microsoft.com/office/drawing/2014/main" id="{181D1D41-7062-4814-924B-F6D4273FE85A}"/>
                </a:ext>
              </a:extLst>
            </p:cNvPr>
            <p:cNvSpPr/>
            <p:nvPr/>
          </p:nvSpPr>
          <p:spPr>
            <a:xfrm>
              <a:off x="9377972"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7 w 103079"/>
                <a:gd name="connsiteY5" fmla="*/ 70367 h 152377"/>
                <a:gd name="connsiteX6" fmla="*/ 103527 w 103079"/>
                <a:gd name="connsiteY6" fmla="*/ 43029 h 152377"/>
                <a:gd name="connsiteX7" fmla="*/ 103976 w 103079"/>
                <a:gd name="connsiteY7" fmla="*/ 40340 h 152377"/>
                <a:gd name="connsiteX8" fmla="*/ 103976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318 h 152377"/>
                <a:gd name="connsiteX25" fmla="*/ 36750 w 103079"/>
                <a:gd name="connsiteY25" fmla="*/ 98154 h 152377"/>
                <a:gd name="connsiteX26" fmla="*/ 57366 w 103079"/>
                <a:gd name="connsiteY26" fmla="*/ 76641 h 152377"/>
                <a:gd name="connsiteX27" fmla="*/ 57366 w 103079"/>
                <a:gd name="connsiteY27" fmla="*/ 75745 h 152377"/>
                <a:gd name="connsiteX28" fmla="*/ 71707 w 103079"/>
                <a:gd name="connsiteY28" fmla="*/ 79330 h 152377"/>
                <a:gd name="connsiteX29" fmla="*/ 72155 w 103079"/>
                <a:gd name="connsiteY29" fmla="*/ 79330 h 152377"/>
                <a:gd name="connsiteX30" fmla="*/ 85600 w 103079"/>
                <a:gd name="connsiteY30" fmla="*/ 76641 h 152377"/>
                <a:gd name="connsiteX31" fmla="*/ 85600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7"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318"/>
                  </a:lnTo>
                  <a:cubicBezTo>
                    <a:pt x="4930" y="112943"/>
                    <a:pt x="19271" y="98154"/>
                    <a:pt x="36750" y="98154"/>
                  </a:cubicBezTo>
                  <a:cubicBezTo>
                    <a:pt x="47954" y="98154"/>
                    <a:pt x="57366" y="88742"/>
                    <a:pt x="57366" y="76641"/>
                  </a:cubicBezTo>
                  <a:cubicBezTo>
                    <a:pt x="57366" y="76193"/>
                    <a:pt x="57366" y="76193"/>
                    <a:pt x="57366" y="75745"/>
                  </a:cubicBezTo>
                  <a:cubicBezTo>
                    <a:pt x="64088" y="78882"/>
                    <a:pt x="70811" y="79330"/>
                    <a:pt x="71707" y="79330"/>
                  </a:cubicBezTo>
                  <a:cubicBezTo>
                    <a:pt x="71707" y="79330"/>
                    <a:pt x="71707" y="79330"/>
                    <a:pt x="72155" y="79330"/>
                  </a:cubicBezTo>
                  <a:cubicBezTo>
                    <a:pt x="73948" y="79330"/>
                    <a:pt x="79774" y="78882"/>
                    <a:pt x="85600" y="76641"/>
                  </a:cubicBezTo>
                  <a:cubicBezTo>
                    <a:pt x="85600" y="76641"/>
                    <a:pt x="85600" y="76641"/>
                    <a:pt x="85600" y="77090"/>
                  </a:cubicBezTo>
                  <a:cubicBezTo>
                    <a:pt x="85600" y="85605"/>
                    <a:pt x="90530" y="93224"/>
                    <a:pt x="97701" y="96361"/>
                  </a:cubicBezTo>
                  <a:cubicBezTo>
                    <a:pt x="96805" y="96361"/>
                    <a:pt x="97253" y="96361"/>
                    <a:pt x="97701" y="96361"/>
                  </a:cubicBezTo>
                  <a:close/>
                  <a:moveTo>
                    <a:pt x="71259" y="74849"/>
                  </a:moveTo>
                  <a:cubicBezTo>
                    <a:pt x="70811" y="74849"/>
                    <a:pt x="70811" y="74849"/>
                    <a:pt x="71259" y="74849"/>
                  </a:cubicBezTo>
                  <a:cubicBezTo>
                    <a:pt x="70811" y="74849"/>
                    <a:pt x="70811" y="74849"/>
                    <a:pt x="71259" y="74849"/>
                  </a:cubicBezTo>
                  <a:cubicBezTo>
                    <a:pt x="70811" y="74849"/>
                    <a:pt x="58710" y="74849"/>
                    <a:pt x="52436" y="67230"/>
                  </a:cubicBezTo>
                  <a:cubicBezTo>
                    <a:pt x="45713" y="59611"/>
                    <a:pt x="43921" y="48855"/>
                    <a:pt x="43024" y="41236"/>
                  </a:cubicBezTo>
                  <a:lnTo>
                    <a:pt x="43024" y="39892"/>
                  </a:lnTo>
                  <a:cubicBezTo>
                    <a:pt x="41680" y="31376"/>
                    <a:pt x="43024" y="23757"/>
                    <a:pt x="43024" y="23757"/>
                  </a:cubicBezTo>
                  <a:cubicBezTo>
                    <a:pt x="47058" y="4038"/>
                    <a:pt x="69914" y="4486"/>
                    <a:pt x="71259" y="4486"/>
                  </a:cubicBezTo>
                  <a:cubicBezTo>
                    <a:pt x="72155" y="4486"/>
                    <a:pt x="95460" y="4038"/>
                    <a:pt x="99494" y="23757"/>
                  </a:cubicBezTo>
                  <a:cubicBezTo>
                    <a:pt x="99494" y="23757"/>
                    <a:pt x="100838" y="30928"/>
                    <a:pt x="99494" y="39892"/>
                  </a:cubicBezTo>
                  <a:lnTo>
                    <a:pt x="99046" y="42581"/>
                  </a:lnTo>
                  <a:cubicBezTo>
                    <a:pt x="97701" y="50648"/>
                    <a:pt x="96357" y="60507"/>
                    <a:pt x="90082" y="67678"/>
                  </a:cubicBezTo>
                  <a:cubicBezTo>
                    <a:pt x="83360"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6" name="Group 2615">
            <a:extLst>
              <a:ext uri="{FF2B5EF4-FFF2-40B4-BE49-F238E27FC236}">
                <a16:creationId xmlns:a16="http://schemas.microsoft.com/office/drawing/2014/main" id="{80F88021-A9F6-4EE2-AC9B-4B7A6C33F013}"/>
              </a:ext>
              <a:ext uri="{C183D7F6-B498-43B3-948B-1728B52AA6E4}">
                <adec:decorative xmlns:adec="http://schemas.microsoft.com/office/drawing/2017/decorative" val="1"/>
              </a:ext>
            </a:extLst>
          </p:cNvPr>
          <p:cNvGrpSpPr>
            <a:grpSpLocks noChangeAspect="1"/>
          </p:cNvGrpSpPr>
          <p:nvPr/>
        </p:nvGrpSpPr>
        <p:grpSpPr>
          <a:xfrm>
            <a:off x="10381842" y="5213478"/>
            <a:ext cx="152097" cy="152550"/>
            <a:chOff x="10438342" y="3157787"/>
            <a:chExt cx="152097" cy="152550"/>
          </a:xfrm>
        </p:grpSpPr>
        <p:sp>
          <p:nvSpPr>
            <p:cNvPr id="2676" name="Freeform: Shape 2675">
              <a:extLst>
                <a:ext uri="{FF2B5EF4-FFF2-40B4-BE49-F238E27FC236}">
                  <a16:creationId xmlns:a16="http://schemas.microsoft.com/office/drawing/2014/main" id="{C7978CFB-E974-4FE9-898D-73E1A80E3EFD}"/>
                </a:ext>
              </a:extLst>
            </p:cNvPr>
            <p:cNvSpPr/>
            <p:nvPr/>
          </p:nvSpPr>
          <p:spPr>
            <a:xfrm>
              <a:off x="10544335" y="3268266"/>
              <a:ext cx="35854" cy="22409"/>
            </a:xfrm>
            <a:custGeom>
              <a:avLst/>
              <a:gdLst>
                <a:gd name="connsiteX0" fmla="*/ 35181 w 35853"/>
                <a:gd name="connsiteY0" fmla="*/ 672 h 22408"/>
                <a:gd name="connsiteX1" fmla="*/ 32044 w 35853"/>
                <a:gd name="connsiteY1" fmla="*/ 672 h 22408"/>
                <a:gd name="connsiteX2" fmla="*/ 12773 w 35853"/>
                <a:gd name="connsiteY2" fmla="*/ 19944 h 22408"/>
                <a:gd name="connsiteX3" fmla="*/ 3809 w 35853"/>
                <a:gd name="connsiteY3" fmla="*/ 10980 h 22408"/>
                <a:gd name="connsiteX4" fmla="*/ 672 w 35853"/>
                <a:gd name="connsiteY4" fmla="*/ 10980 h 22408"/>
                <a:gd name="connsiteX5" fmla="*/ 672 w 35853"/>
                <a:gd name="connsiteY5" fmla="*/ 14117 h 22408"/>
                <a:gd name="connsiteX6" fmla="*/ 11428 w 35853"/>
                <a:gd name="connsiteY6" fmla="*/ 24873 h 22408"/>
                <a:gd name="connsiteX7" fmla="*/ 13221 w 35853"/>
                <a:gd name="connsiteY7" fmla="*/ 25322 h 22408"/>
                <a:gd name="connsiteX8" fmla="*/ 15014 w 35853"/>
                <a:gd name="connsiteY8" fmla="*/ 24873 h 22408"/>
                <a:gd name="connsiteX9" fmla="*/ 36078 w 35853"/>
                <a:gd name="connsiteY9" fmla="*/ 3810 h 22408"/>
                <a:gd name="connsiteX10" fmla="*/ 35181 w 35853"/>
                <a:gd name="connsiteY10" fmla="*/ 67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53" h="22408">
                  <a:moveTo>
                    <a:pt x="35181" y="672"/>
                  </a:moveTo>
                  <a:cubicBezTo>
                    <a:pt x="34285" y="-224"/>
                    <a:pt x="32940" y="-224"/>
                    <a:pt x="32044" y="672"/>
                  </a:cubicBezTo>
                  <a:lnTo>
                    <a:pt x="12773" y="19944"/>
                  </a:lnTo>
                  <a:lnTo>
                    <a:pt x="3809" y="10980"/>
                  </a:lnTo>
                  <a:cubicBezTo>
                    <a:pt x="2913" y="10084"/>
                    <a:pt x="1568" y="10084"/>
                    <a:pt x="672" y="10980"/>
                  </a:cubicBezTo>
                  <a:cubicBezTo>
                    <a:pt x="-224" y="11877"/>
                    <a:pt x="-224" y="13221"/>
                    <a:pt x="672" y="14117"/>
                  </a:cubicBezTo>
                  <a:lnTo>
                    <a:pt x="11428" y="24873"/>
                  </a:lnTo>
                  <a:cubicBezTo>
                    <a:pt x="11876" y="25322"/>
                    <a:pt x="12325" y="25322"/>
                    <a:pt x="13221" y="25322"/>
                  </a:cubicBezTo>
                  <a:cubicBezTo>
                    <a:pt x="13669" y="25322"/>
                    <a:pt x="14566" y="24873"/>
                    <a:pt x="15014" y="24873"/>
                  </a:cubicBezTo>
                  <a:lnTo>
                    <a:pt x="36078" y="3810"/>
                  </a:lnTo>
                  <a:cubicBezTo>
                    <a:pt x="36078" y="2913"/>
                    <a:pt x="36078" y="1569"/>
                    <a:pt x="35181" y="672"/>
                  </a:cubicBezTo>
                  <a:close/>
                </a:path>
              </a:pathLst>
            </a:custGeom>
            <a:solidFill>
              <a:srgbClr val="231F20"/>
            </a:solidFill>
            <a:ln w="4477" cap="flat">
              <a:noFill/>
              <a:prstDash val="solid"/>
              <a:miter/>
            </a:ln>
          </p:spPr>
          <p:txBody>
            <a:bodyPr rtlCol="0" anchor="ctr"/>
            <a:lstStyle/>
            <a:p>
              <a:endParaRPr lang="en-US"/>
            </a:p>
          </p:txBody>
        </p:sp>
        <p:sp>
          <p:nvSpPr>
            <p:cNvPr id="2677" name="Freeform: Shape 2676">
              <a:extLst>
                <a:ext uri="{FF2B5EF4-FFF2-40B4-BE49-F238E27FC236}">
                  <a16:creationId xmlns:a16="http://schemas.microsoft.com/office/drawing/2014/main" id="{D5BBFB68-D731-4915-8870-FAB7C062BB54}"/>
                </a:ext>
              </a:extLst>
            </p:cNvPr>
            <p:cNvSpPr/>
            <p:nvPr/>
          </p:nvSpPr>
          <p:spPr>
            <a:xfrm>
              <a:off x="10532177" y="3252075"/>
              <a:ext cx="58262" cy="58262"/>
            </a:xfrm>
            <a:custGeom>
              <a:avLst/>
              <a:gdLst>
                <a:gd name="connsiteX0" fmla="*/ 49580 w 58262"/>
                <a:gd name="connsiteY0" fmla="*/ 8348 h 58262"/>
                <a:gd name="connsiteX1" fmla="*/ 8348 w 58262"/>
                <a:gd name="connsiteY1" fmla="*/ 8796 h 58262"/>
                <a:gd name="connsiteX2" fmla="*/ 8796 w 58262"/>
                <a:gd name="connsiteY2" fmla="*/ 50028 h 58262"/>
                <a:gd name="connsiteX3" fmla="*/ 29412 w 58262"/>
                <a:gd name="connsiteY3" fmla="*/ 58543 h 58262"/>
                <a:gd name="connsiteX4" fmla="*/ 29860 w 58262"/>
                <a:gd name="connsiteY4" fmla="*/ 58543 h 58262"/>
                <a:gd name="connsiteX5" fmla="*/ 50476 w 58262"/>
                <a:gd name="connsiteY5" fmla="*/ 50028 h 58262"/>
                <a:gd name="connsiteX6" fmla="*/ 58991 w 58262"/>
                <a:gd name="connsiteY6" fmla="*/ 29412 h 58262"/>
                <a:gd name="connsiteX7" fmla="*/ 49580 w 58262"/>
                <a:gd name="connsiteY7" fmla="*/ 8348 h 58262"/>
                <a:gd name="connsiteX8" fmla="*/ 46442 w 58262"/>
                <a:gd name="connsiteY8" fmla="*/ 46442 h 58262"/>
                <a:gd name="connsiteX9" fmla="*/ 11485 w 58262"/>
                <a:gd name="connsiteY9" fmla="*/ 46891 h 58262"/>
                <a:gd name="connsiteX10" fmla="*/ 11037 w 58262"/>
                <a:gd name="connsiteY10" fmla="*/ 11933 h 58262"/>
                <a:gd name="connsiteX11" fmla="*/ 45994 w 58262"/>
                <a:gd name="connsiteY11" fmla="*/ 11485 h 58262"/>
                <a:gd name="connsiteX12" fmla="*/ 53165 w 58262"/>
                <a:gd name="connsiteY12" fmla="*/ 28964 h 58262"/>
                <a:gd name="connsiteX13" fmla="*/ 46442 w 58262"/>
                <a:gd name="connsiteY13"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49580" y="8348"/>
                  </a:moveTo>
                  <a:cubicBezTo>
                    <a:pt x="37927" y="-2856"/>
                    <a:pt x="19552" y="-2856"/>
                    <a:pt x="8348" y="8796"/>
                  </a:cubicBezTo>
                  <a:cubicBezTo>
                    <a:pt x="-2856" y="20449"/>
                    <a:pt x="-2856" y="38824"/>
                    <a:pt x="8796" y="50028"/>
                  </a:cubicBezTo>
                  <a:cubicBezTo>
                    <a:pt x="14174" y="55406"/>
                    <a:pt x="21345" y="58543"/>
                    <a:pt x="29412" y="58543"/>
                  </a:cubicBezTo>
                  <a:cubicBezTo>
                    <a:pt x="29412" y="58543"/>
                    <a:pt x="29412" y="58543"/>
                    <a:pt x="29860" y="58543"/>
                  </a:cubicBezTo>
                  <a:cubicBezTo>
                    <a:pt x="37479" y="58543"/>
                    <a:pt x="45098" y="55406"/>
                    <a:pt x="50476" y="50028"/>
                  </a:cubicBezTo>
                  <a:cubicBezTo>
                    <a:pt x="55854" y="44650"/>
                    <a:pt x="58991" y="37031"/>
                    <a:pt x="58991" y="29412"/>
                  </a:cubicBezTo>
                  <a:cubicBezTo>
                    <a:pt x="58095" y="20897"/>
                    <a:pt x="54958" y="13726"/>
                    <a:pt x="49580" y="8348"/>
                  </a:cubicBezTo>
                  <a:close/>
                  <a:moveTo>
                    <a:pt x="46442" y="46442"/>
                  </a:moveTo>
                  <a:cubicBezTo>
                    <a:pt x="37031" y="56302"/>
                    <a:pt x="21345" y="56302"/>
                    <a:pt x="11485" y="46891"/>
                  </a:cubicBezTo>
                  <a:cubicBezTo>
                    <a:pt x="1625" y="37479"/>
                    <a:pt x="1625" y="21793"/>
                    <a:pt x="11037" y="11933"/>
                  </a:cubicBezTo>
                  <a:cubicBezTo>
                    <a:pt x="20449" y="2074"/>
                    <a:pt x="36135" y="2074"/>
                    <a:pt x="45994" y="11485"/>
                  </a:cubicBezTo>
                  <a:cubicBezTo>
                    <a:pt x="50476" y="15967"/>
                    <a:pt x="53165" y="22241"/>
                    <a:pt x="53165" y="28964"/>
                  </a:cubicBezTo>
                  <a:cubicBezTo>
                    <a:pt x="53613" y="35238"/>
                    <a:pt x="51372" y="41513"/>
                    <a:pt x="46442" y="46442"/>
                  </a:cubicBezTo>
                  <a:close/>
                </a:path>
              </a:pathLst>
            </a:custGeom>
            <a:solidFill>
              <a:srgbClr val="231F20"/>
            </a:solidFill>
            <a:ln w="4477" cap="flat">
              <a:noFill/>
              <a:prstDash val="solid"/>
              <a:miter/>
            </a:ln>
          </p:spPr>
          <p:txBody>
            <a:bodyPr rtlCol="0" anchor="ctr"/>
            <a:lstStyle/>
            <a:p>
              <a:endParaRPr lang="en-US"/>
            </a:p>
          </p:txBody>
        </p:sp>
        <p:sp>
          <p:nvSpPr>
            <p:cNvPr id="2678" name="Freeform: Shape 2677">
              <a:extLst>
                <a:ext uri="{FF2B5EF4-FFF2-40B4-BE49-F238E27FC236}">
                  <a16:creationId xmlns:a16="http://schemas.microsoft.com/office/drawing/2014/main" id="{01BCF204-F809-4099-8977-EA0E6B9BD5C8}"/>
                </a:ext>
              </a:extLst>
            </p:cNvPr>
            <p:cNvSpPr/>
            <p:nvPr/>
          </p:nvSpPr>
          <p:spPr>
            <a:xfrm>
              <a:off x="10438342"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8 w 103079"/>
                <a:gd name="connsiteY5" fmla="*/ 70367 h 152377"/>
                <a:gd name="connsiteX6" fmla="*/ 103527 w 103079"/>
                <a:gd name="connsiteY6" fmla="*/ 43029 h 152377"/>
                <a:gd name="connsiteX7" fmla="*/ 103976 w 103079"/>
                <a:gd name="connsiteY7" fmla="*/ 40340 h 152377"/>
                <a:gd name="connsiteX8" fmla="*/ 103976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766 h 152377"/>
                <a:gd name="connsiteX25" fmla="*/ 36750 w 103079"/>
                <a:gd name="connsiteY25" fmla="*/ 98602 h 152377"/>
                <a:gd name="connsiteX26" fmla="*/ 57366 w 103079"/>
                <a:gd name="connsiteY26" fmla="*/ 77090 h 152377"/>
                <a:gd name="connsiteX27" fmla="*/ 57366 w 103079"/>
                <a:gd name="connsiteY27" fmla="*/ 76193 h 152377"/>
                <a:gd name="connsiteX28" fmla="*/ 71707 w 103079"/>
                <a:gd name="connsiteY28" fmla="*/ 79779 h 152377"/>
                <a:gd name="connsiteX29" fmla="*/ 72156 w 103079"/>
                <a:gd name="connsiteY29" fmla="*/ 79779 h 152377"/>
                <a:gd name="connsiteX30" fmla="*/ 85601 w 103079"/>
                <a:gd name="connsiteY30" fmla="*/ 77090 h 152377"/>
                <a:gd name="connsiteX31" fmla="*/ 85601 w 103079"/>
                <a:gd name="connsiteY31" fmla="*/ 77538 h 152377"/>
                <a:gd name="connsiteX32" fmla="*/ 97701 w 103079"/>
                <a:gd name="connsiteY32" fmla="*/ 96809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5 w 103079"/>
                <a:gd name="connsiteY38" fmla="*/ 41236 h 152377"/>
                <a:gd name="connsiteX39" fmla="*/ 43025 w 103079"/>
                <a:gd name="connsiteY39" fmla="*/ 39892 h 152377"/>
                <a:gd name="connsiteX40" fmla="*/ 43025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766"/>
                  </a:lnTo>
                  <a:cubicBezTo>
                    <a:pt x="4930" y="113391"/>
                    <a:pt x="19271" y="98602"/>
                    <a:pt x="36750" y="98602"/>
                  </a:cubicBezTo>
                  <a:cubicBezTo>
                    <a:pt x="47954" y="98602"/>
                    <a:pt x="57366" y="89190"/>
                    <a:pt x="57366" y="77090"/>
                  </a:cubicBezTo>
                  <a:cubicBezTo>
                    <a:pt x="57366" y="76641"/>
                    <a:pt x="57366" y="76641"/>
                    <a:pt x="57366" y="76193"/>
                  </a:cubicBezTo>
                  <a:cubicBezTo>
                    <a:pt x="64088" y="79330"/>
                    <a:pt x="70811" y="79779"/>
                    <a:pt x="71707" y="79779"/>
                  </a:cubicBezTo>
                  <a:cubicBezTo>
                    <a:pt x="71707" y="79779"/>
                    <a:pt x="71707" y="79779"/>
                    <a:pt x="72156" y="79779"/>
                  </a:cubicBezTo>
                  <a:cubicBezTo>
                    <a:pt x="73948" y="79779"/>
                    <a:pt x="79774" y="79330"/>
                    <a:pt x="85601" y="77090"/>
                  </a:cubicBezTo>
                  <a:cubicBezTo>
                    <a:pt x="85601" y="77090"/>
                    <a:pt x="85601" y="77090"/>
                    <a:pt x="85601" y="77538"/>
                  </a:cubicBezTo>
                  <a:cubicBezTo>
                    <a:pt x="85601" y="86053"/>
                    <a:pt x="90530" y="93672"/>
                    <a:pt x="97701" y="96809"/>
                  </a:cubicBezTo>
                  <a:cubicBezTo>
                    <a:pt x="97253" y="96361"/>
                    <a:pt x="97701" y="96361"/>
                    <a:pt x="97701" y="96361"/>
                  </a:cubicBezTo>
                  <a:close/>
                  <a:moveTo>
                    <a:pt x="71259" y="74849"/>
                  </a:moveTo>
                  <a:cubicBezTo>
                    <a:pt x="71259" y="74849"/>
                    <a:pt x="71259" y="74849"/>
                    <a:pt x="71259" y="74849"/>
                  </a:cubicBezTo>
                  <a:cubicBezTo>
                    <a:pt x="71259" y="74849"/>
                    <a:pt x="71259" y="74849"/>
                    <a:pt x="71259" y="74849"/>
                  </a:cubicBezTo>
                  <a:cubicBezTo>
                    <a:pt x="70811" y="74849"/>
                    <a:pt x="58710" y="74849"/>
                    <a:pt x="52436" y="67230"/>
                  </a:cubicBezTo>
                  <a:cubicBezTo>
                    <a:pt x="45713" y="59611"/>
                    <a:pt x="43921" y="48855"/>
                    <a:pt x="43025" y="41236"/>
                  </a:cubicBezTo>
                  <a:lnTo>
                    <a:pt x="43025" y="39892"/>
                  </a:lnTo>
                  <a:cubicBezTo>
                    <a:pt x="41680" y="31376"/>
                    <a:pt x="43025" y="23757"/>
                    <a:pt x="43025" y="23757"/>
                  </a:cubicBezTo>
                  <a:cubicBezTo>
                    <a:pt x="47058" y="4038"/>
                    <a:pt x="69915" y="4486"/>
                    <a:pt x="71259" y="4486"/>
                  </a:cubicBezTo>
                  <a:cubicBezTo>
                    <a:pt x="72156" y="4486"/>
                    <a:pt x="95460" y="4038"/>
                    <a:pt x="99494" y="23757"/>
                  </a:cubicBezTo>
                  <a:cubicBezTo>
                    <a:pt x="99494" y="23757"/>
                    <a:pt x="100838" y="30928"/>
                    <a:pt x="99494" y="39892"/>
                  </a:cubicBezTo>
                  <a:lnTo>
                    <a:pt x="99046" y="42581"/>
                  </a:lnTo>
                  <a:cubicBezTo>
                    <a:pt x="97701" y="50648"/>
                    <a:pt x="96357" y="60507"/>
                    <a:pt x="90082" y="67678"/>
                  </a:cubicBezTo>
                  <a:cubicBezTo>
                    <a:pt x="83808"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7" name="Group 2616">
            <a:extLst>
              <a:ext uri="{FF2B5EF4-FFF2-40B4-BE49-F238E27FC236}">
                <a16:creationId xmlns:a16="http://schemas.microsoft.com/office/drawing/2014/main" id="{CC4833EE-28DD-468E-9CF7-283D2ED4CFCD}"/>
              </a:ext>
              <a:ext uri="{C183D7F6-B498-43B3-948B-1728B52AA6E4}">
                <adec:decorative xmlns:adec="http://schemas.microsoft.com/office/drawing/2017/decorative" val="1"/>
              </a:ext>
            </a:extLst>
          </p:cNvPr>
          <p:cNvGrpSpPr>
            <a:grpSpLocks noChangeAspect="1"/>
          </p:cNvGrpSpPr>
          <p:nvPr/>
        </p:nvGrpSpPr>
        <p:grpSpPr>
          <a:xfrm>
            <a:off x="10641781" y="5213478"/>
            <a:ext cx="151930" cy="152550"/>
            <a:chOff x="10698281" y="3157787"/>
            <a:chExt cx="151930" cy="152550"/>
          </a:xfrm>
        </p:grpSpPr>
        <p:sp>
          <p:nvSpPr>
            <p:cNvPr id="2672" name="Freeform: Shape 2671">
              <a:extLst>
                <a:ext uri="{FF2B5EF4-FFF2-40B4-BE49-F238E27FC236}">
                  <a16:creationId xmlns:a16="http://schemas.microsoft.com/office/drawing/2014/main" id="{491BFF55-B256-42D5-8391-87010606E476}"/>
                </a:ext>
              </a:extLst>
            </p:cNvPr>
            <p:cNvSpPr/>
            <p:nvPr/>
          </p:nvSpPr>
          <p:spPr>
            <a:xfrm>
              <a:off x="10791949" y="3252075"/>
              <a:ext cx="58262" cy="58262"/>
            </a:xfrm>
            <a:custGeom>
              <a:avLst/>
              <a:gdLst>
                <a:gd name="connsiteX0" fmla="*/ 49747 w 58262"/>
                <a:gd name="connsiteY0" fmla="*/ 8348 h 58262"/>
                <a:gd name="connsiteX1" fmla="*/ 8515 w 58262"/>
                <a:gd name="connsiteY1" fmla="*/ 8796 h 58262"/>
                <a:gd name="connsiteX2" fmla="*/ 0 w 58262"/>
                <a:gd name="connsiteY2" fmla="*/ 29412 h 58262"/>
                <a:gd name="connsiteX3" fmla="*/ 8515 w 58262"/>
                <a:gd name="connsiteY3" fmla="*/ 50028 h 58262"/>
                <a:gd name="connsiteX4" fmla="*/ 29131 w 58262"/>
                <a:gd name="connsiteY4" fmla="*/ 58543 h 58262"/>
                <a:gd name="connsiteX5" fmla="*/ 29579 w 58262"/>
                <a:gd name="connsiteY5" fmla="*/ 58543 h 58262"/>
                <a:gd name="connsiteX6" fmla="*/ 50195 w 58262"/>
                <a:gd name="connsiteY6" fmla="*/ 50028 h 58262"/>
                <a:gd name="connsiteX7" fmla="*/ 58710 w 58262"/>
                <a:gd name="connsiteY7" fmla="*/ 29412 h 58262"/>
                <a:gd name="connsiteX8" fmla="*/ 49747 w 58262"/>
                <a:gd name="connsiteY8" fmla="*/ 8348 h 58262"/>
                <a:gd name="connsiteX9" fmla="*/ 46610 w 58262"/>
                <a:gd name="connsiteY9" fmla="*/ 46442 h 58262"/>
                <a:gd name="connsiteX10" fmla="*/ 29131 w 58262"/>
                <a:gd name="connsiteY10" fmla="*/ 53613 h 58262"/>
                <a:gd name="connsiteX11" fmla="*/ 11652 w 58262"/>
                <a:gd name="connsiteY11" fmla="*/ 46442 h 58262"/>
                <a:gd name="connsiteX12" fmla="*/ 4482 w 58262"/>
                <a:gd name="connsiteY12" fmla="*/ 28964 h 58262"/>
                <a:gd name="connsiteX13" fmla="*/ 11652 w 58262"/>
                <a:gd name="connsiteY13" fmla="*/ 11485 h 58262"/>
                <a:gd name="connsiteX14" fmla="*/ 46610 w 58262"/>
                <a:gd name="connsiteY14" fmla="*/ 11037 h 58262"/>
                <a:gd name="connsiteX15" fmla="*/ 53780 w 58262"/>
                <a:gd name="connsiteY15" fmla="*/ 28516 h 58262"/>
                <a:gd name="connsiteX16" fmla="*/ 46610 w 58262"/>
                <a:gd name="connsiteY16" fmla="*/ 4644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 h="58262">
                  <a:moveTo>
                    <a:pt x="49747" y="8348"/>
                  </a:moveTo>
                  <a:cubicBezTo>
                    <a:pt x="38094" y="-2856"/>
                    <a:pt x="19719" y="-2856"/>
                    <a:pt x="8515" y="8796"/>
                  </a:cubicBezTo>
                  <a:cubicBezTo>
                    <a:pt x="3137" y="14174"/>
                    <a:pt x="0" y="21793"/>
                    <a:pt x="0" y="29412"/>
                  </a:cubicBezTo>
                  <a:cubicBezTo>
                    <a:pt x="0" y="37031"/>
                    <a:pt x="3137" y="44650"/>
                    <a:pt x="8515" y="50028"/>
                  </a:cubicBezTo>
                  <a:cubicBezTo>
                    <a:pt x="13893" y="55406"/>
                    <a:pt x="21064" y="58543"/>
                    <a:pt x="29131" y="58543"/>
                  </a:cubicBezTo>
                  <a:cubicBezTo>
                    <a:pt x="29131" y="58543"/>
                    <a:pt x="29131" y="58543"/>
                    <a:pt x="29579" y="58543"/>
                  </a:cubicBezTo>
                  <a:cubicBezTo>
                    <a:pt x="37198" y="58543"/>
                    <a:pt x="44817" y="55406"/>
                    <a:pt x="50195" y="50028"/>
                  </a:cubicBezTo>
                  <a:cubicBezTo>
                    <a:pt x="55573" y="44650"/>
                    <a:pt x="58710" y="37031"/>
                    <a:pt x="58710" y="29412"/>
                  </a:cubicBezTo>
                  <a:cubicBezTo>
                    <a:pt x="58262" y="20897"/>
                    <a:pt x="55125" y="13726"/>
                    <a:pt x="49747" y="8348"/>
                  </a:cubicBezTo>
                  <a:close/>
                  <a:moveTo>
                    <a:pt x="46610" y="46442"/>
                  </a:moveTo>
                  <a:cubicBezTo>
                    <a:pt x="42128" y="50924"/>
                    <a:pt x="35854" y="53613"/>
                    <a:pt x="29131" y="53613"/>
                  </a:cubicBezTo>
                  <a:cubicBezTo>
                    <a:pt x="22409" y="53613"/>
                    <a:pt x="16134" y="51372"/>
                    <a:pt x="11652" y="46442"/>
                  </a:cubicBezTo>
                  <a:cubicBezTo>
                    <a:pt x="7171" y="41513"/>
                    <a:pt x="4482" y="35686"/>
                    <a:pt x="4482" y="28964"/>
                  </a:cubicBezTo>
                  <a:cubicBezTo>
                    <a:pt x="4482" y="22241"/>
                    <a:pt x="6723" y="15967"/>
                    <a:pt x="11652" y="11485"/>
                  </a:cubicBezTo>
                  <a:cubicBezTo>
                    <a:pt x="21064" y="1625"/>
                    <a:pt x="36750" y="1625"/>
                    <a:pt x="46610" y="11037"/>
                  </a:cubicBezTo>
                  <a:cubicBezTo>
                    <a:pt x="51091" y="15519"/>
                    <a:pt x="53780" y="21793"/>
                    <a:pt x="53780" y="28516"/>
                  </a:cubicBezTo>
                  <a:cubicBezTo>
                    <a:pt x="53780" y="35238"/>
                    <a:pt x="51091" y="41513"/>
                    <a:pt x="46610" y="46442"/>
                  </a:cubicBezTo>
                  <a:close/>
                </a:path>
              </a:pathLst>
            </a:custGeom>
            <a:solidFill>
              <a:srgbClr val="231F20"/>
            </a:solidFill>
            <a:ln w="4477" cap="flat">
              <a:noFill/>
              <a:prstDash val="solid"/>
              <a:miter/>
            </a:ln>
          </p:spPr>
          <p:txBody>
            <a:bodyPr rtlCol="0" anchor="ctr"/>
            <a:lstStyle/>
            <a:p>
              <a:endParaRPr lang="en-US"/>
            </a:p>
          </p:txBody>
        </p:sp>
        <p:sp>
          <p:nvSpPr>
            <p:cNvPr id="2673" name="Freeform: Shape 2672">
              <a:extLst>
                <a:ext uri="{FF2B5EF4-FFF2-40B4-BE49-F238E27FC236}">
                  <a16:creationId xmlns:a16="http://schemas.microsoft.com/office/drawing/2014/main" id="{1F652E8D-AFAC-4676-B938-B25E78A6A236}"/>
                </a:ext>
              </a:extLst>
            </p:cNvPr>
            <p:cNvSpPr/>
            <p:nvPr/>
          </p:nvSpPr>
          <p:spPr>
            <a:xfrm>
              <a:off x="10817942" y="3268490"/>
              <a:ext cx="4482" cy="4482"/>
            </a:xfrm>
            <a:custGeom>
              <a:avLst/>
              <a:gdLst>
                <a:gd name="connsiteX0" fmla="*/ 3137 w 4481"/>
                <a:gd name="connsiteY0" fmla="*/ 0 h 4481"/>
                <a:gd name="connsiteX1" fmla="*/ 0 w 4481"/>
                <a:gd name="connsiteY1" fmla="*/ 3137 h 4481"/>
                <a:gd name="connsiteX2" fmla="*/ 3137 w 4481"/>
                <a:gd name="connsiteY2" fmla="*/ 6274 h 4481"/>
                <a:gd name="connsiteX3" fmla="*/ 5378 w 4481"/>
                <a:gd name="connsiteY3" fmla="*/ 5378 h 4481"/>
                <a:gd name="connsiteX4" fmla="*/ 6274 w 4481"/>
                <a:gd name="connsiteY4" fmla="*/ 3137 h 4481"/>
                <a:gd name="connsiteX5" fmla="*/ 3137 w 4481"/>
                <a:gd name="connsiteY5" fmla="*/ 0 h 4481"/>
                <a:gd name="connsiteX6" fmla="*/ 4482 w 4481"/>
                <a:gd name="connsiteY6" fmla="*/ 3137 h 4481"/>
                <a:gd name="connsiteX7" fmla="*/ 3137 w 4481"/>
                <a:gd name="connsiteY7" fmla="*/ 4482 h 4481"/>
                <a:gd name="connsiteX8" fmla="*/ 1793 w 4481"/>
                <a:gd name="connsiteY8" fmla="*/ 3137 h 4481"/>
                <a:gd name="connsiteX9" fmla="*/ 2241 w 4481"/>
                <a:gd name="connsiteY9" fmla="*/ 2241 h 4481"/>
                <a:gd name="connsiteX10" fmla="*/ 4482 w 4481"/>
                <a:gd name="connsiteY10" fmla="*/ 3137 h 4481"/>
                <a:gd name="connsiteX11" fmla="*/ 4034 w 4481"/>
                <a:gd name="connsiteY11" fmla="*/ 3137 h 4481"/>
                <a:gd name="connsiteX12" fmla="*/ 4482 w 4481"/>
                <a:gd name="connsiteY12" fmla="*/ 3137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1" h="4481">
                  <a:moveTo>
                    <a:pt x="3137" y="0"/>
                  </a:moveTo>
                  <a:cubicBezTo>
                    <a:pt x="1344" y="0"/>
                    <a:pt x="0" y="1345"/>
                    <a:pt x="0" y="3137"/>
                  </a:cubicBezTo>
                  <a:cubicBezTo>
                    <a:pt x="0" y="4930"/>
                    <a:pt x="1344" y="6274"/>
                    <a:pt x="3137" y="6274"/>
                  </a:cubicBezTo>
                  <a:cubicBezTo>
                    <a:pt x="4034" y="6274"/>
                    <a:pt x="4930" y="5826"/>
                    <a:pt x="5378" y="5378"/>
                  </a:cubicBezTo>
                  <a:cubicBezTo>
                    <a:pt x="5826" y="4930"/>
                    <a:pt x="6274" y="4034"/>
                    <a:pt x="6274" y="3137"/>
                  </a:cubicBezTo>
                  <a:cubicBezTo>
                    <a:pt x="6274" y="1345"/>
                    <a:pt x="4930" y="0"/>
                    <a:pt x="3137" y="0"/>
                  </a:cubicBezTo>
                  <a:close/>
                  <a:moveTo>
                    <a:pt x="4482" y="3137"/>
                  </a:moveTo>
                  <a:cubicBezTo>
                    <a:pt x="4482" y="4034"/>
                    <a:pt x="4034" y="4482"/>
                    <a:pt x="3137" y="4482"/>
                  </a:cubicBezTo>
                  <a:cubicBezTo>
                    <a:pt x="2241" y="4482"/>
                    <a:pt x="1793" y="4034"/>
                    <a:pt x="1793" y="3137"/>
                  </a:cubicBezTo>
                  <a:cubicBezTo>
                    <a:pt x="1793" y="2689"/>
                    <a:pt x="1793" y="2241"/>
                    <a:pt x="2241" y="2241"/>
                  </a:cubicBezTo>
                  <a:cubicBezTo>
                    <a:pt x="3137" y="896"/>
                    <a:pt x="4482" y="1793"/>
                    <a:pt x="4482" y="3137"/>
                  </a:cubicBezTo>
                  <a:lnTo>
                    <a:pt x="4034" y="3137"/>
                  </a:lnTo>
                  <a:lnTo>
                    <a:pt x="4482" y="3137"/>
                  </a:lnTo>
                  <a:close/>
                </a:path>
              </a:pathLst>
            </a:custGeom>
            <a:solidFill>
              <a:srgbClr val="231F20"/>
            </a:solidFill>
            <a:ln w="4477" cap="flat">
              <a:noFill/>
              <a:prstDash val="solid"/>
              <a:miter/>
            </a:ln>
          </p:spPr>
          <p:txBody>
            <a:bodyPr rtlCol="0" anchor="ctr"/>
            <a:lstStyle/>
            <a:p>
              <a:endParaRPr lang="en-US"/>
            </a:p>
          </p:txBody>
        </p:sp>
        <p:sp>
          <p:nvSpPr>
            <p:cNvPr id="2674" name="Freeform: Shape 2673">
              <a:extLst>
                <a:ext uri="{FF2B5EF4-FFF2-40B4-BE49-F238E27FC236}">
                  <a16:creationId xmlns:a16="http://schemas.microsoft.com/office/drawing/2014/main" id="{F96EFAD5-DB43-4549-85D7-1BF10A213A41}"/>
                </a:ext>
              </a:extLst>
            </p:cNvPr>
            <p:cNvSpPr/>
            <p:nvPr/>
          </p:nvSpPr>
          <p:spPr>
            <a:xfrm>
              <a:off x="10818839" y="3278350"/>
              <a:ext cx="4482" cy="17927"/>
            </a:xfrm>
            <a:custGeom>
              <a:avLst/>
              <a:gdLst>
                <a:gd name="connsiteX0" fmla="*/ 2241 w 4481"/>
                <a:gd name="connsiteY0" fmla="*/ 0 h 17926"/>
                <a:gd name="connsiteX1" fmla="*/ 0 w 4481"/>
                <a:gd name="connsiteY1" fmla="*/ 2241 h 17926"/>
                <a:gd name="connsiteX2" fmla="*/ 0 w 4481"/>
                <a:gd name="connsiteY2" fmla="*/ 18823 h 17926"/>
                <a:gd name="connsiteX3" fmla="*/ 2241 w 4481"/>
                <a:gd name="connsiteY3" fmla="*/ 21064 h 17926"/>
                <a:gd name="connsiteX4" fmla="*/ 4482 w 4481"/>
                <a:gd name="connsiteY4" fmla="*/ 18823 h 17926"/>
                <a:gd name="connsiteX5" fmla="*/ 4482 w 4481"/>
                <a:gd name="connsiteY5" fmla="*/ 2241 h 17926"/>
                <a:gd name="connsiteX6" fmla="*/ 2241 w 4481"/>
                <a:gd name="connsiteY6" fmla="*/ 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2241" y="0"/>
                  </a:moveTo>
                  <a:cubicBezTo>
                    <a:pt x="896" y="0"/>
                    <a:pt x="0" y="896"/>
                    <a:pt x="0" y="2241"/>
                  </a:cubicBezTo>
                  <a:lnTo>
                    <a:pt x="0" y="18823"/>
                  </a:lnTo>
                  <a:cubicBezTo>
                    <a:pt x="0" y="20168"/>
                    <a:pt x="896" y="21064"/>
                    <a:pt x="2241" y="21064"/>
                  </a:cubicBezTo>
                  <a:cubicBezTo>
                    <a:pt x="3585" y="21064"/>
                    <a:pt x="4482" y="20168"/>
                    <a:pt x="4482" y="18823"/>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2675" name="Freeform: Shape 2674">
              <a:extLst>
                <a:ext uri="{FF2B5EF4-FFF2-40B4-BE49-F238E27FC236}">
                  <a16:creationId xmlns:a16="http://schemas.microsoft.com/office/drawing/2014/main" id="{0397A120-18E0-47B3-AC10-DE21DC8F1FF7}"/>
                </a:ext>
              </a:extLst>
            </p:cNvPr>
            <p:cNvSpPr/>
            <p:nvPr/>
          </p:nvSpPr>
          <p:spPr>
            <a:xfrm>
              <a:off x="10698281"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8 w 103079"/>
                <a:gd name="connsiteY5" fmla="*/ 70367 h 152377"/>
                <a:gd name="connsiteX6" fmla="*/ 103527 w 103079"/>
                <a:gd name="connsiteY6" fmla="*/ 43029 h 152377"/>
                <a:gd name="connsiteX7" fmla="*/ 103976 w 103079"/>
                <a:gd name="connsiteY7" fmla="*/ 40340 h 152377"/>
                <a:gd name="connsiteX8" fmla="*/ 103976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318 h 152377"/>
                <a:gd name="connsiteX25" fmla="*/ 36750 w 103079"/>
                <a:gd name="connsiteY25" fmla="*/ 98154 h 152377"/>
                <a:gd name="connsiteX26" fmla="*/ 57366 w 103079"/>
                <a:gd name="connsiteY26" fmla="*/ 76641 h 152377"/>
                <a:gd name="connsiteX27" fmla="*/ 57366 w 103079"/>
                <a:gd name="connsiteY27" fmla="*/ 75745 h 152377"/>
                <a:gd name="connsiteX28" fmla="*/ 71707 w 103079"/>
                <a:gd name="connsiteY28" fmla="*/ 79330 h 152377"/>
                <a:gd name="connsiteX29" fmla="*/ 72156 w 103079"/>
                <a:gd name="connsiteY29" fmla="*/ 79330 h 152377"/>
                <a:gd name="connsiteX30" fmla="*/ 85601 w 103079"/>
                <a:gd name="connsiteY30" fmla="*/ 76641 h 152377"/>
                <a:gd name="connsiteX31" fmla="*/ 85601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5 w 103079"/>
                <a:gd name="connsiteY38" fmla="*/ 41236 h 152377"/>
                <a:gd name="connsiteX39" fmla="*/ 43025 w 103079"/>
                <a:gd name="connsiteY39" fmla="*/ 39892 h 152377"/>
                <a:gd name="connsiteX40" fmla="*/ 43025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318"/>
                  </a:lnTo>
                  <a:cubicBezTo>
                    <a:pt x="4930" y="112943"/>
                    <a:pt x="19271" y="98154"/>
                    <a:pt x="36750" y="98154"/>
                  </a:cubicBezTo>
                  <a:cubicBezTo>
                    <a:pt x="47954" y="98154"/>
                    <a:pt x="57366" y="88742"/>
                    <a:pt x="57366" y="76641"/>
                  </a:cubicBezTo>
                  <a:cubicBezTo>
                    <a:pt x="57366" y="76193"/>
                    <a:pt x="57366" y="76193"/>
                    <a:pt x="57366" y="75745"/>
                  </a:cubicBezTo>
                  <a:cubicBezTo>
                    <a:pt x="64088" y="78882"/>
                    <a:pt x="70811" y="79330"/>
                    <a:pt x="71707" y="79330"/>
                  </a:cubicBezTo>
                  <a:cubicBezTo>
                    <a:pt x="71707" y="79330"/>
                    <a:pt x="71707" y="79330"/>
                    <a:pt x="72156" y="79330"/>
                  </a:cubicBezTo>
                  <a:cubicBezTo>
                    <a:pt x="73948" y="79330"/>
                    <a:pt x="79774" y="78882"/>
                    <a:pt x="85601" y="76641"/>
                  </a:cubicBezTo>
                  <a:cubicBezTo>
                    <a:pt x="85601" y="76641"/>
                    <a:pt x="85601" y="76641"/>
                    <a:pt x="85601" y="77090"/>
                  </a:cubicBezTo>
                  <a:cubicBezTo>
                    <a:pt x="85601" y="85605"/>
                    <a:pt x="90530" y="93224"/>
                    <a:pt x="97701" y="96361"/>
                  </a:cubicBezTo>
                  <a:cubicBezTo>
                    <a:pt x="97253" y="96361"/>
                    <a:pt x="97253" y="96361"/>
                    <a:pt x="97701" y="96361"/>
                  </a:cubicBezTo>
                  <a:close/>
                  <a:moveTo>
                    <a:pt x="71259" y="74849"/>
                  </a:moveTo>
                  <a:cubicBezTo>
                    <a:pt x="71259" y="74849"/>
                    <a:pt x="71259" y="74849"/>
                    <a:pt x="71259" y="74849"/>
                  </a:cubicBezTo>
                  <a:cubicBezTo>
                    <a:pt x="71259" y="74849"/>
                    <a:pt x="71259" y="74849"/>
                    <a:pt x="71259" y="74849"/>
                  </a:cubicBezTo>
                  <a:cubicBezTo>
                    <a:pt x="70811" y="74849"/>
                    <a:pt x="58710" y="74849"/>
                    <a:pt x="52436" y="67230"/>
                  </a:cubicBezTo>
                  <a:cubicBezTo>
                    <a:pt x="45713" y="59611"/>
                    <a:pt x="43921" y="48855"/>
                    <a:pt x="43025" y="41236"/>
                  </a:cubicBezTo>
                  <a:lnTo>
                    <a:pt x="43025" y="39892"/>
                  </a:lnTo>
                  <a:cubicBezTo>
                    <a:pt x="41680" y="31376"/>
                    <a:pt x="43025" y="23757"/>
                    <a:pt x="43025" y="23757"/>
                  </a:cubicBezTo>
                  <a:cubicBezTo>
                    <a:pt x="47058" y="4038"/>
                    <a:pt x="69915" y="4486"/>
                    <a:pt x="71259" y="4486"/>
                  </a:cubicBezTo>
                  <a:cubicBezTo>
                    <a:pt x="72156" y="4486"/>
                    <a:pt x="95460" y="4038"/>
                    <a:pt x="99494" y="23757"/>
                  </a:cubicBezTo>
                  <a:cubicBezTo>
                    <a:pt x="99494" y="23757"/>
                    <a:pt x="100838" y="30928"/>
                    <a:pt x="99494" y="39892"/>
                  </a:cubicBezTo>
                  <a:lnTo>
                    <a:pt x="99046" y="42581"/>
                  </a:lnTo>
                  <a:cubicBezTo>
                    <a:pt x="97701" y="50648"/>
                    <a:pt x="96357" y="60507"/>
                    <a:pt x="90082" y="67678"/>
                  </a:cubicBezTo>
                  <a:cubicBezTo>
                    <a:pt x="83360" y="74401"/>
                    <a:pt x="73052"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18" name="Group 2617">
            <a:extLst>
              <a:ext uri="{FF2B5EF4-FFF2-40B4-BE49-F238E27FC236}">
                <a16:creationId xmlns:a16="http://schemas.microsoft.com/office/drawing/2014/main" id="{3E56BFF5-53E9-4204-A7A4-29562E0B40FE}"/>
              </a:ext>
              <a:ext uri="{C183D7F6-B498-43B3-948B-1728B52AA6E4}">
                <adec:decorative xmlns:adec="http://schemas.microsoft.com/office/drawing/2017/decorative" val="1"/>
              </a:ext>
            </a:extLst>
          </p:cNvPr>
          <p:cNvGrpSpPr>
            <a:grpSpLocks noChangeAspect="1"/>
          </p:cNvGrpSpPr>
          <p:nvPr/>
        </p:nvGrpSpPr>
        <p:grpSpPr>
          <a:xfrm>
            <a:off x="9837764" y="5245303"/>
            <a:ext cx="165823" cy="120110"/>
            <a:chOff x="9894264" y="3189612"/>
            <a:chExt cx="165823" cy="120110"/>
          </a:xfrm>
        </p:grpSpPr>
        <p:sp>
          <p:nvSpPr>
            <p:cNvPr id="2670" name="Freeform: Shape 2669">
              <a:extLst>
                <a:ext uri="{FF2B5EF4-FFF2-40B4-BE49-F238E27FC236}">
                  <a16:creationId xmlns:a16="http://schemas.microsoft.com/office/drawing/2014/main" id="{2D80AA7A-C137-4193-9F4B-13ACDB2576BD}"/>
                </a:ext>
              </a:extLst>
            </p:cNvPr>
            <p:cNvSpPr/>
            <p:nvPr/>
          </p:nvSpPr>
          <p:spPr>
            <a:xfrm>
              <a:off x="9948044" y="3189612"/>
              <a:ext cx="112043" cy="116524"/>
            </a:xfrm>
            <a:custGeom>
              <a:avLst/>
              <a:gdLst>
                <a:gd name="connsiteX0" fmla="*/ 112043 w 112042"/>
                <a:gd name="connsiteY0" fmla="*/ 110698 h 116524"/>
                <a:gd name="connsiteX1" fmla="*/ 112043 w 112042"/>
                <a:gd name="connsiteY1" fmla="*/ 103976 h 116524"/>
                <a:gd name="connsiteX2" fmla="*/ 112043 w 112042"/>
                <a:gd name="connsiteY2" fmla="*/ 103079 h 116524"/>
                <a:gd name="connsiteX3" fmla="*/ 82911 w 112042"/>
                <a:gd name="connsiteY3" fmla="*/ 73500 h 116524"/>
                <a:gd name="connsiteX4" fmla="*/ 70811 w 112042"/>
                <a:gd name="connsiteY4" fmla="*/ 60951 h 116524"/>
                <a:gd name="connsiteX5" fmla="*/ 70811 w 112042"/>
                <a:gd name="connsiteY5" fmla="*/ 58710 h 116524"/>
                <a:gd name="connsiteX6" fmla="*/ 73500 w 112042"/>
                <a:gd name="connsiteY6" fmla="*/ 56021 h 116524"/>
                <a:gd name="connsiteX7" fmla="*/ 81567 w 112042"/>
                <a:gd name="connsiteY7" fmla="*/ 34509 h 116524"/>
                <a:gd name="connsiteX8" fmla="*/ 82015 w 112042"/>
                <a:gd name="connsiteY8" fmla="*/ 32268 h 116524"/>
                <a:gd name="connsiteX9" fmla="*/ 82015 w 112042"/>
                <a:gd name="connsiteY9" fmla="*/ 18375 h 116524"/>
                <a:gd name="connsiteX10" fmla="*/ 56021 w 112042"/>
                <a:gd name="connsiteY10" fmla="*/ 0 h 116524"/>
                <a:gd name="connsiteX11" fmla="*/ 30027 w 112042"/>
                <a:gd name="connsiteY11" fmla="*/ 18375 h 116524"/>
                <a:gd name="connsiteX12" fmla="*/ 30027 w 112042"/>
                <a:gd name="connsiteY12" fmla="*/ 32268 h 116524"/>
                <a:gd name="connsiteX13" fmla="*/ 30027 w 112042"/>
                <a:gd name="connsiteY13" fmla="*/ 33165 h 116524"/>
                <a:gd name="connsiteX14" fmla="*/ 38543 w 112042"/>
                <a:gd name="connsiteY14" fmla="*/ 55573 h 116524"/>
                <a:gd name="connsiteX15" fmla="*/ 40783 w 112042"/>
                <a:gd name="connsiteY15" fmla="*/ 57366 h 116524"/>
                <a:gd name="connsiteX16" fmla="*/ 41231 w 112042"/>
                <a:gd name="connsiteY16" fmla="*/ 60055 h 116524"/>
                <a:gd name="connsiteX17" fmla="*/ 29131 w 112042"/>
                <a:gd name="connsiteY17" fmla="*/ 72604 h 116524"/>
                <a:gd name="connsiteX18" fmla="*/ 0 w 112042"/>
                <a:gd name="connsiteY18" fmla="*/ 102631 h 116524"/>
                <a:gd name="connsiteX19" fmla="*/ 0 w 112042"/>
                <a:gd name="connsiteY19" fmla="*/ 108457 h 116524"/>
                <a:gd name="connsiteX20" fmla="*/ 0 w 112042"/>
                <a:gd name="connsiteY20" fmla="*/ 117869 h 116524"/>
                <a:gd name="connsiteX21" fmla="*/ 2241 w 112042"/>
                <a:gd name="connsiteY21" fmla="*/ 120110 h 116524"/>
                <a:gd name="connsiteX22" fmla="*/ 2241 w 112042"/>
                <a:gd name="connsiteY22" fmla="*/ 120110 h 116524"/>
                <a:gd name="connsiteX23" fmla="*/ 4482 w 112042"/>
                <a:gd name="connsiteY23" fmla="*/ 117869 h 116524"/>
                <a:gd name="connsiteX24" fmla="*/ 4482 w 112042"/>
                <a:gd name="connsiteY24" fmla="*/ 108457 h 116524"/>
                <a:gd name="connsiteX25" fmla="*/ 4482 w 112042"/>
                <a:gd name="connsiteY25" fmla="*/ 103079 h 116524"/>
                <a:gd name="connsiteX26" fmla="*/ 29131 w 112042"/>
                <a:gd name="connsiteY26" fmla="*/ 77534 h 116524"/>
                <a:gd name="connsiteX27" fmla="*/ 45713 w 112042"/>
                <a:gd name="connsiteY27" fmla="*/ 60503 h 116524"/>
                <a:gd name="connsiteX28" fmla="*/ 56469 w 112042"/>
                <a:gd name="connsiteY28" fmla="*/ 62744 h 116524"/>
                <a:gd name="connsiteX29" fmla="*/ 56917 w 112042"/>
                <a:gd name="connsiteY29" fmla="*/ 62744 h 116524"/>
                <a:gd name="connsiteX30" fmla="*/ 66777 w 112042"/>
                <a:gd name="connsiteY30" fmla="*/ 60951 h 116524"/>
                <a:gd name="connsiteX31" fmla="*/ 83360 w 112042"/>
                <a:gd name="connsiteY31" fmla="*/ 77534 h 116524"/>
                <a:gd name="connsiteX32" fmla="*/ 108009 w 112042"/>
                <a:gd name="connsiteY32" fmla="*/ 103079 h 116524"/>
                <a:gd name="connsiteX33" fmla="*/ 108009 w 112042"/>
                <a:gd name="connsiteY33" fmla="*/ 103976 h 116524"/>
                <a:gd name="connsiteX34" fmla="*/ 108009 w 112042"/>
                <a:gd name="connsiteY34" fmla="*/ 110698 h 116524"/>
                <a:gd name="connsiteX35" fmla="*/ 108009 w 112042"/>
                <a:gd name="connsiteY35" fmla="*/ 117869 h 116524"/>
                <a:gd name="connsiteX36" fmla="*/ 110250 w 112042"/>
                <a:gd name="connsiteY36" fmla="*/ 120110 h 116524"/>
                <a:gd name="connsiteX37" fmla="*/ 110250 w 112042"/>
                <a:gd name="connsiteY37" fmla="*/ 120110 h 116524"/>
                <a:gd name="connsiteX38" fmla="*/ 112491 w 112042"/>
                <a:gd name="connsiteY38" fmla="*/ 117869 h 116524"/>
                <a:gd name="connsiteX39" fmla="*/ 112043 w 112042"/>
                <a:gd name="connsiteY39" fmla="*/ 110698 h 116524"/>
                <a:gd name="connsiteX40" fmla="*/ 56469 w 112042"/>
                <a:gd name="connsiteY40" fmla="*/ 59159 h 116524"/>
                <a:gd name="connsiteX41" fmla="*/ 56469 w 112042"/>
                <a:gd name="connsiteY41" fmla="*/ 59159 h 116524"/>
                <a:gd name="connsiteX42" fmla="*/ 56469 w 112042"/>
                <a:gd name="connsiteY42" fmla="*/ 59159 h 116524"/>
                <a:gd name="connsiteX43" fmla="*/ 42128 w 112042"/>
                <a:gd name="connsiteY43" fmla="*/ 53332 h 116524"/>
                <a:gd name="connsiteX44" fmla="*/ 34957 w 112042"/>
                <a:gd name="connsiteY44" fmla="*/ 33165 h 116524"/>
                <a:gd name="connsiteX45" fmla="*/ 34957 w 112042"/>
                <a:gd name="connsiteY45" fmla="*/ 32268 h 116524"/>
                <a:gd name="connsiteX46" fmla="*/ 34957 w 112042"/>
                <a:gd name="connsiteY46" fmla="*/ 19720 h 116524"/>
                <a:gd name="connsiteX47" fmla="*/ 56469 w 112042"/>
                <a:gd name="connsiteY47" fmla="*/ 4930 h 116524"/>
                <a:gd name="connsiteX48" fmla="*/ 77981 w 112042"/>
                <a:gd name="connsiteY48" fmla="*/ 19720 h 116524"/>
                <a:gd name="connsiteX49" fmla="*/ 77981 w 112042"/>
                <a:gd name="connsiteY49" fmla="*/ 32268 h 116524"/>
                <a:gd name="connsiteX50" fmla="*/ 77533 w 112042"/>
                <a:gd name="connsiteY50" fmla="*/ 34509 h 116524"/>
                <a:gd name="connsiteX51" fmla="*/ 70811 w 112042"/>
                <a:gd name="connsiteY51" fmla="*/ 53780 h 116524"/>
                <a:gd name="connsiteX52" fmla="*/ 56469 w 112042"/>
                <a:gd name="connsiteY52" fmla="*/ 59159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2042" h="116524">
                  <a:moveTo>
                    <a:pt x="112043" y="110698"/>
                  </a:moveTo>
                  <a:cubicBezTo>
                    <a:pt x="112043" y="108457"/>
                    <a:pt x="112043" y="106216"/>
                    <a:pt x="112043" y="103976"/>
                  </a:cubicBezTo>
                  <a:lnTo>
                    <a:pt x="112043" y="103079"/>
                  </a:lnTo>
                  <a:cubicBezTo>
                    <a:pt x="111594" y="86497"/>
                    <a:pt x="99046" y="73500"/>
                    <a:pt x="82911" y="73500"/>
                  </a:cubicBezTo>
                  <a:cubicBezTo>
                    <a:pt x="76189" y="73500"/>
                    <a:pt x="70811" y="67674"/>
                    <a:pt x="70811" y="60951"/>
                  </a:cubicBezTo>
                  <a:cubicBezTo>
                    <a:pt x="70811" y="60055"/>
                    <a:pt x="70811" y="59607"/>
                    <a:pt x="70811" y="58710"/>
                  </a:cubicBezTo>
                  <a:cubicBezTo>
                    <a:pt x="71707" y="57814"/>
                    <a:pt x="72603" y="57366"/>
                    <a:pt x="73500" y="56021"/>
                  </a:cubicBezTo>
                  <a:cubicBezTo>
                    <a:pt x="78878" y="49747"/>
                    <a:pt x="80222" y="40784"/>
                    <a:pt x="81567" y="34509"/>
                  </a:cubicBezTo>
                  <a:lnTo>
                    <a:pt x="82015" y="32268"/>
                  </a:lnTo>
                  <a:cubicBezTo>
                    <a:pt x="83360" y="24649"/>
                    <a:pt x="82015" y="18375"/>
                    <a:pt x="82015" y="18375"/>
                  </a:cubicBezTo>
                  <a:cubicBezTo>
                    <a:pt x="78878" y="3137"/>
                    <a:pt x="63640" y="0"/>
                    <a:pt x="56021" y="0"/>
                  </a:cubicBezTo>
                  <a:cubicBezTo>
                    <a:pt x="48402" y="0"/>
                    <a:pt x="33164" y="3137"/>
                    <a:pt x="30027" y="18375"/>
                  </a:cubicBezTo>
                  <a:cubicBezTo>
                    <a:pt x="30027" y="18823"/>
                    <a:pt x="28683" y="24649"/>
                    <a:pt x="30027" y="32268"/>
                  </a:cubicBezTo>
                  <a:lnTo>
                    <a:pt x="30027" y="33165"/>
                  </a:lnTo>
                  <a:cubicBezTo>
                    <a:pt x="30924" y="39887"/>
                    <a:pt x="32716" y="48851"/>
                    <a:pt x="38543" y="55573"/>
                  </a:cubicBezTo>
                  <a:cubicBezTo>
                    <a:pt x="38991" y="56469"/>
                    <a:pt x="39887" y="56918"/>
                    <a:pt x="40783" y="57366"/>
                  </a:cubicBezTo>
                  <a:cubicBezTo>
                    <a:pt x="40783" y="58262"/>
                    <a:pt x="41231" y="59159"/>
                    <a:pt x="41231" y="60055"/>
                  </a:cubicBezTo>
                  <a:cubicBezTo>
                    <a:pt x="41231" y="67226"/>
                    <a:pt x="35854" y="72604"/>
                    <a:pt x="29131" y="72604"/>
                  </a:cubicBezTo>
                  <a:cubicBezTo>
                    <a:pt x="12997" y="72604"/>
                    <a:pt x="448" y="85601"/>
                    <a:pt x="0" y="102631"/>
                  </a:cubicBezTo>
                  <a:lnTo>
                    <a:pt x="0" y="108457"/>
                  </a:lnTo>
                  <a:cubicBezTo>
                    <a:pt x="0" y="111595"/>
                    <a:pt x="0" y="114732"/>
                    <a:pt x="0" y="117869"/>
                  </a:cubicBezTo>
                  <a:cubicBezTo>
                    <a:pt x="0" y="119213"/>
                    <a:pt x="896" y="120110"/>
                    <a:pt x="2241" y="120110"/>
                  </a:cubicBezTo>
                  <a:cubicBezTo>
                    <a:pt x="2241" y="120110"/>
                    <a:pt x="2241" y="120110"/>
                    <a:pt x="2241" y="120110"/>
                  </a:cubicBezTo>
                  <a:cubicBezTo>
                    <a:pt x="3585" y="120110"/>
                    <a:pt x="4482" y="119213"/>
                    <a:pt x="4482" y="117869"/>
                  </a:cubicBezTo>
                  <a:cubicBezTo>
                    <a:pt x="4482" y="114732"/>
                    <a:pt x="4482" y="111595"/>
                    <a:pt x="4482" y="108457"/>
                  </a:cubicBezTo>
                  <a:lnTo>
                    <a:pt x="4482" y="103079"/>
                  </a:lnTo>
                  <a:cubicBezTo>
                    <a:pt x="4930" y="88738"/>
                    <a:pt x="15686" y="77534"/>
                    <a:pt x="29131" y="77534"/>
                  </a:cubicBezTo>
                  <a:cubicBezTo>
                    <a:pt x="38094" y="77534"/>
                    <a:pt x="45265" y="69915"/>
                    <a:pt x="45713" y="60503"/>
                  </a:cubicBezTo>
                  <a:cubicBezTo>
                    <a:pt x="50643" y="62744"/>
                    <a:pt x="56021" y="62744"/>
                    <a:pt x="56469" y="62744"/>
                  </a:cubicBezTo>
                  <a:cubicBezTo>
                    <a:pt x="56469" y="62744"/>
                    <a:pt x="56469" y="62744"/>
                    <a:pt x="56917" y="62744"/>
                  </a:cubicBezTo>
                  <a:cubicBezTo>
                    <a:pt x="58262" y="62744"/>
                    <a:pt x="62295" y="62744"/>
                    <a:pt x="66777" y="60951"/>
                  </a:cubicBezTo>
                  <a:cubicBezTo>
                    <a:pt x="67226" y="70363"/>
                    <a:pt x="74396" y="77534"/>
                    <a:pt x="83360" y="77534"/>
                  </a:cubicBezTo>
                  <a:cubicBezTo>
                    <a:pt x="96805" y="77534"/>
                    <a:pt x="107561" y="88738"/>
                    <a:pt x="108009" y="103079"/>
                  </a:cubicBezTo>
                  <a:lnTo>
                    <a:pt x="108009" y="103976"/>
                  </a:lnTo>
                  <a:cubicBezTo>
                    <a:pt x="108009" y="106216"/>
                    <a:pt x="108009" y="108457"/>
                    <a:pt x="108009" y="110698"/>
                  </a:cubicBezTo>
                  <a:cubicBezTo>
                    <a:pt x="108009" y="112939"/>
                    <a:pt x="108009" y="115180"/>
                    <a:pt x="108009" y="117869"/>
                  </a:cubicBezTo>
                  <a:cubicBezTo>
                    <a:pt x="108009" y="119213"/>
                    <a:pt x="108905" y="120110"/>
                    <a:pt x="110250" y="120110"/>
                  </a:cubicBezTo>
                  <a:cubicBezTo>
                    <a:pt x="110250" y="120110"/>
                    <a:pt x="110250" y="120110"/>
                    <a:pt x="110250" y="120110"/>
                  </a:cubicBezTo>
                  <a:cubicBezTo>
                    <a:pt x="111594" y="120110"/>
                    <a:pt x="112491" y="119213"/>
                    <a:pt x="112491" y="117869"/>
                  </a:cubicBezTo>
                  <a:cubicBezTo>
                    <a:pt x="112043" y="115628"/>
                    <a:pt x="112043" y="112939"/>
                    <a:pt x="112043" y="110698"/>
                  </a:cubicBezTo>
                  <a:close/>
                  <a:moveTo>
                    <a:pt x="56469" y="59159"/>
                  </a:moveTo>
                  <a:cubicBezTo>
                    <a:pt x="56021" y="59159"/>
                    <a:pt x="56469" y="59159"/>
                    <a:pt x="56469" y="59159"/>
                  </a:cubicBezTo>
                  <a:cubicBezTo>
                    <a:pt x="56469" y="59159"/>
                    <a:pt x="56469" y="59159"/>
                    <a:pt x="56469" y="59159"/>
                  </a:cubicBezTo>
                  <a:cubicBezTo>
                    <a:pt x="56021" y="59159"/>
                    <a:pt x="47058" y="59159"/>
                    <a:pt x="42128" y="53332"/>
                  </a:cubicBezTo>
                  <a:cubicBezTo>
                    <a:pt x="37198" y="47506"/>
                    <a:pt x="35854" y="38991"/>
                    <a:pt x="34957" y="33165"/>
                  </a:cubicBezTo>
                  <a:lnTo>
                    <a:pt x="34957" y="32268"/>
                  </a:lnTo>
                  <a:cubicBezTo>
                    <a:pt x="34061" y="25546"/>
                    <a:pt x="34957" y="20168"/>
                    <a:pt x="34957" y="19720"/>
                  </a:cubicBezTo>
                  <a:cubicBezTo>
                    <a:pt x="38094" y="4930"/>
                    <a:pt x="55573" y="4930"/>
                    <a:pt x="56469" y="4930"/>
                  </a:cubicBezTo>
                  <a:cubicBezTo>
                    <a:pt x="57366" y="4930"/>
                    <a:pt x="74844" y="4482"/>
                    <a:pt x="77981" y="19720"/>
                  </a:cubicBezTo>
                  <a:cubicBezTo>
                    <a:pt x="77981" y="19720"/>
                    <a:pt x="78878" y="25546"/>
                    <a:pt x="77981" y="32268"/>
                  </a:cubicBezTo>
                  <a:lnTo>
                    <a:pt x="77533" y="34509"/>
                  </a:lnTo>
                  <a:cubicBezTo>
                    <a:pt x="76637" y="40784"/>
                    <a:pt x="75293" y="48402"/>
                    <a:pt x="70811" y="53780"/>
                  </a:cubicBezTo>
                  <a:cubicBezTo>
                    <a:pt x="65881" y="58710"/>
                    <a:pt x="57814" y="59159"/>
                    <a:pt x="56469" y="59159"/>
                  </a:cubicBezTo>
                  <a:close/>
                </a:path>
              </a:pathLst>
            </a:custGeom>
            <a:solidFill>
              <a:srgbClr val="231F20"/>
            </a:solidFill>
            <a:ln w="4477" cap="flat">
              <a:noFill/>
              <a:prstDash val="solid"/>
              <a:miter/>
            </a:ln>
          </p:spPr>
          <p:txBody>
            <a:bodyPr rtlCol="0" anchor="ctr"/>
            <a:lstStyle/>
            <a:p>
              <a:endParaRPr lang="en-US"/>
            </a:p>
          </p:txBody>
        </p:sp>
        <p:sp>
          <p:nvSpPr>
            <p:cNvPr id="2671" name="Freeform: Shape 2670">
              <a:extLst>
                <a:ext uri="{FF2B5EF4-FFF2-40B4-BE49-F238E27FC236}">
                  <a16:creationId xmlns:a16="http://schemas.microsoft.com/office/drawing/2014/main" id="{957DB927-BF32-4D8E-AEA2-090912AC92DE}"/>
                </a:ext>
              </a:extLst>
            </p:cNvPr>
            <p:cNvSpPr/>
            <p:nvPr/>
          </p:nvSpPr>
          <p:spPr>
            <a:xfrm>
              <a:off x="9894264" y="3202161"/>
              <a:ext cx="71707" cy="107561"/>
            </a:xfrm>
            <a:custGeom>
              <a:avLst/>
              <a:gdLst>
                <a:gd name="connsiteX0" fmla="*/ 62295 w 71707"/>
                <a:gd name="connsiteY0" fmla="*/ 63640 h 107560"/>
                <a:gd name="connsiteX1" fmla="*/ 64088 w 71707"/>
                <a:gd name="connsiteY1" fmla="*/ 64536 h 107560"/>
                <a:gd name="connsiteX2" fmla="*/ 65433 w 71707"/>
                <a:gd name="connsiteY2" fmla="*/ 64088 h 107560"/>
                <a:gd name="connsiteX3" fmla="*/ 65881 w 71707"/>
                <a:gd name="connsiteY3" fmla="*/ 60951 h 107560"/>
                <a:gd name="connsiteX4" fmla="*/ 63640 w 71707"/>
                <a:gd name="connsiteY4" fmla="*/ 54229 h 107560"/>
                <a:gd name="connsiteX5" fmla="*/ 63640 w 71707"/>
                <a:gd name="connsiteY5" fmla="*/ 52436 h 107560"/>
                <a:gd name="connsiteX6" fmla="*/ 65881 w 71707"/>
                <a:gd name="connsiteY6" fmla="*/ 50195 h 107560"/>
                <a:gd name="connsiteX7" fmla="*/ 73052 w 71707"/>
                <a:gd name="connsiteY7" fmla="*/ 30924 h 107560"/>
                <a:gd name="connsiteX8" fmla="*/ 73500 w 71707"/>
                <a:gd name="connsiteY8" fmla="*/ 29131 h 107560"/>
                <a:gd name="connsiteX9" fmla="*/ 73500 w 71707"/>
                <a:gd name="connsiteY9" fmla="*/ 16582 h 107560"/>
                <a:gd name="connsiteX10" fmla="*/ 50195 w 71707"/>
                <a:gd name="connsiteY10" fmla="*/ 0 h 107560"/>
                <a:gd name="connsiteX11" fmla="*/ 26890 w 71707"/>
                <a:gd name="connsiteY11" fmla="*/ 16582 h 107560"/>
                <a:gd name="connsiteX12" fmla="*/ 26890 w 71707"/>
                <a:gd name="connsiteY12" fmla="*/ 29131 h 107560"/>
                <a:gd name="connsiteX13" fmla="*/ 26890 w 71707"/>
                <a:gd name="connsiteY13" fmla="*/ 30027 h 107560"/>
                <a:gd name="connsiteX14" fmla="*/ 34509 w 71707"/>
                <a:gd name="connsiteY14" fmla="*/ 50195 h 107560"/>
                <a:gd name="connsiteX15" fmla="*/ 36302 w 71707"/>
                <a:gd name="connsiteY15" fmla="*/ 51988 h 107560"/>
                <a:gd name="connsiteX16" fmla="*/ 36750 w 71707"/>
                <a:gd name="connsiteY16" fmla="*/ 54229 h 107560"/>
                <a:gd name="connsiteX17" fmla="*/ 26442 w 71707"/>
                <a:gd name="connsiteY17" fmla="*/ 65433 h 107560"/>
                <a:gd name="connsiteX18" fmla="*/ 0 w 71707"/>
                <a:gd name="connsiteY18" fmla="*/ 92323 h 107560"/>
                <a:gd name="connsiteX19" fmla="*/ 0 w 71707"/>
                <a:gd name="connsiteY19" fmla="*/ 97253 h 107560"/>
                <a:gd name="connsiteX20" fmla="*/ 0 w 71707"/>
                <a:gd name="connsiteY20" fmla="*/ 105320 h 107560"/>
                <a:gd name="connsiteX21" fmla="*/ 2241 w 71707"/>
                <a:gd name="connsiteY21" fmla="*/ 107561 h 107560"/>
                <a:gd name="connsiteX22" fmla="*/ 2241 w 71707"/>
                <a:gd name="connsiteY22" fmla="*/ 107561 h 107560"/>
                <a:gd name="connsiteX23" fmla="*/ 4482 w 71707"/>
                <a:gd name="connsiteY23" fmla="*/ 105320 h 107560"/>
                <a:gd name="connsiteX24" fmla="*/ 4482 w 71707"/>
                <a:gd name="connsiteY24" fmla="*/ 97253 h 107560"/>
                <a:gd name="connsiteX25" fmla="*/ 4482 w 71707"/>
                <a:gd name="connsiteY25" fmla="*/ 92323 h 107560"/>
                <a:gd name="connsiteX26" fmla="*/ 26442 w 71707"/>
                <a:gd name="connsiteY26" fmla="*/ 69915 h 107560"/>
                <a:gd name="connsiteX27" fmla="*/ 41231 w 71707"/>
                <a:gd name="connsiteY27" fmla="*/ 55125 h 107560"/>
                <a:gd name="connsiteX28" fmla="*/ 50643 w 71707"/>
                <a:gd name="connsiteY28" fmla="*/ 57366 h 107560"/>
                <a:gd name="connsiteX29" fmla="*/ 51091 w 71707"/>
                <a:gd name="connsiteY29" fmla="*/ 57366 h 107560"/>
                <a:gd name="connsiteX30" fmla="*/ 59607 w 71707"/>
                <a:gd name="connsiteY30" fmla="*/ 55573 h 107560"/>
                <a:gd name="connsiteX31" fmla="*/ 62295 w 71707"/>
                <a:gd name="connsiteY31" fmla="*/ 63640 h 107560"/>
                <a:gd name="connsiteX32" fmla="*/ 50643 w 71707"/>
                <a:gd name="connsiteY32" fmla="*/ 52884 h 107560"/>
                <a:gd name="connsiteX33" fmla="*/ 50643 w 71707"/>
                <a:gd name="connsiteY33" fmla="*/ 52884 h 107560"/>
                <a:gd name="connsiteX34" fmla="*/ 50643 w 71707"/>
                <a:gd name="connsiteY34" fmla="*/ 52884 h 107560"/>
                <a:gd name="connsiteX35" fmla="*/ 38094 w 71707"/>
                <a:gd name="connsiteY35" fmla="*/ 47954 h 107560"/>
                <a:gd name="connsiteX36" fmla="*/ 31372 w 71707"/>
                <a:gd name="connsiteY36" fmla="*/ 30027 h 107560"/>
                <a:gd name="connsiteX37" fmla="*/ 31372 w 71707"/>
                <a:gd name="connsiteY37" fmla="*/ 29131 h 107560"/>
                <a:gd name="connsiteX38" fmla="*/ 31372 w 71707"/>
                <a:gd name="connsiteY38" fmla="*/ 18375 h 107560"/>
                <a:gd name="connsiteX39" fmla="*/ 50195 w 71707"/>
                <a:gd name="connsiteY39" fmla="*/ 5378 h 107560"/>
                <a:gd name="connsiteX40" fmla="*/ 69018 w 71707"/>
                <a:gd name="connsiteY40" fmla="*/ 18375 h 107560"/>
                <a:gd name="connsiteX41" fmla="*/ 69018 w 71707"/>
                <a:gd name="connsiteY41" fmla="*/ 29131 h 107560"/>
                <a:gd name="connsiteX42" fmla="*/ 68570 w 71707"/>
                <a:gd name="connsiteY42" fmla="*/ 30924 h 107560"/>
                <a:gd name="connsiteX43" fmla="*/ 62744 w 71707"/>
                <a:gd name="connsiteY43" fmla="*/ 47954 h 107560"/>
                <a:gd name="connsiteX44" fmla="*/ 50643 w 71707"/>
                <a:gd name="connsiteY44" fmla="*/ 52884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1707" h="107560">
                  <a:moveTo>
                    <a:pt x="62295" y="63640"/>
                  </a:moveTo>
                  <a:cubicBezTo>
                    <a:pt x="62744" y="64088"/>
                    <a:pt x="63640" y="64536"/>
                    <a:pt x="64088" y="64536"/>
                  </a:cubicBezTo>
                  <a:cubicBezTo>
                    <a:pt x="64536" y="64536"/>
                    <a:pt x="64985" y="64536"/>
                    <a:pt x="65433" y="64088"/>
                  </a:cubicBezTo>
                  <a:cubicBezTo>
                    <a:pt x="66329" y="63192"/>
                    <a:pt x="66777" y="61847"/>
                    <a:pt x="65881" y="60951"/>
                  </a:cubicBezTo>
                  <a:cubicBezTo>
                    <a:pt x="64536" y="59158"/>
                    <a:pt x="63640" y="56918"/>
                    <a:pt x="63640" y="54229"/>
                  </a:cubicBezTo>
                  <a:cubicBezTo>
                    <a:pt x="63640" y="53780"/>
                    <a:pt x="63640" y="52884"/>
                    <a:pt x="63640" y="52436"/>
                  </a:cubicBezTo>
                  <a:cubicBezTo>
                    <a:pt x="64536" y="51988"/>
                    <a:pt x="65433" y="51091"/>
                    <a:pt x="65881" y="50195"/>
                  </a:cubicBezTo>
                  <a:cubicBezTo>
                    <a:pt x="70811" y="44369"/>
                    <a:pt x="72155" y="36750"/>
                    <a:pt x="73052" y="30924"/>
                  </a:cubicBezTo>
                  <a:lnTo>
                    <a:pt x="73500" y="29131"/>
                  </a:lnTo>
                  <a:cubicBezTo>
                    <a:pt x="74844" y="22409"/>
                    <a:pt x="73500" y="17030"/>
                    <a:pt x="73500" y="16582"/>
                  </a:cubicBezTo>
                  <a:cubicBezTo>
                    <a:pt x="70811" y="3137"/>
                    <a:pt x="56917" y="0"/>
                    <a:pt x="50195" y="0"/>
                  </a:cubicBezTo>
                  <a:cubicBezTo>
                    <a:pt x="43472" y="0"/>
                    <a:pt x="29579" y="3137"/>
                    <a:pt x="26890" y="16582"/>
                  </a:cubicBezTo>
                  <a:cubicBezTo>
                    <a:pt x="26890" y="17030"/>
                    <a:pt x="25545" y="22409"/>
                    <a:pt x="26890" y="29131"/>
                  </a:cubicBezTo>
                  <a:lnTo>
                    <a:pt x="26890" y="30027"/>
                  </a:lnTo>
                  <a:cubicBezTo>
                    <a:pt x="27786" y="35854"/>
                    <a:pt x="29131" y="43921"/>
                    <a:pt x="34509" y="50195"/>
                  </a:cubicBezTo>
                  <a:cubicBezTo>
                    <a:pt x="34957" y="50643"/>
                    <a:pt x="35854" y="51540"/>
                    <a:pt x="36302" y="51988"/>
                  </a:cubicBezTo>
                  <a:cubicBezTo>
                    <a:pt x="36302" y="52884"/>
                    <a:pt x="36750" y="53780"/>
                    <a:pt x="36750" y="54229"/>
                  </a:cubicBezTo>
                  <a:cubicBezTo>
                    <a:pt x="36750" y="60503"/>
                    <a:pt x="32268" y="65433"/>
                    <a:pt x="26442" y="65433"/>
                  </a:cubicBezTo>
                  <a:cubicBezTo>
                    <a:pt x="12100" y="65433"/>
                    <a:pt x="448" y="77085"/>
                    <a:pt x="0" y="92323"/>
                  </a:cubicBezTo>
                  <a:lnTo>
                    <a:pt x="0" y="97253"/>
                  </a:lnTo>
                  <a:lnTo>
                    <a:pt x="0" y="105320"/>
                  </a:lnTo>
                  <a:cubicBezTo>
                    <a:pt x="0" y="106664"/>
                    <a:pt x="896" y="107561"/>
                    <a:pt x="2241" y="107561"/>
                  </a:cubicBezTo>
                  <a:cubicBezTo>
                    <a:pt x="2241" y="107561"/>
                    <a:pt x="2241" y="107561"/>
                    <a:pt x="2241" y="107561"/>
                  </a:cubicBezTo>
                  <a:cubicBezTo>
                    <a:pt x="3585" y="107561"/>
                    <a:pt x="4482" y="106664"/>
                    <a:pt x="4482" y="105320"/>
                  </a:cubicBezTo>
                  <a:lnTo>
                    <a:pt x="4482" y="97253"/>
                  </a:lnTo>
                  <a:lnTo>
                    <a:pt x="4482" y="92323"/>
                  </a:lnTo>
                  <a:cubicBezTo>
                    <a:pt x="4930" y="79774"/>
                    <a:pt x="14341" y="69915"/>
                    <a:pt x="26442" y="69915"/>
                  </a:cubicBezTo>
                  <a:cubicBezTo>
                    <a:pt x="34509" y="69915"/>
                    <a:pt x="41231" y="63192"/>
                    <a:pt x="41231" y="55125"/>
                  </a:cubicBezTo>
                  <a:cubicBezTo>
                    <a:pt x="45713" y="56918"/>
                    <a:pt x="50195" y="57366"/>
                    <a:pt x="50643" y="57366"/>
                  </a:cubicBezTo>
                  <a:cubicBezTo>
                    <a:pt x="50643" y="57366"/>
                    <a:pt x="50643" y="57366"/>
                    <a:pt x="51091" y="57366"/>
                  </a:cubicBezTo>
                  <a:cubicBezTo>
                    <a:pt x="51988" y="57366"/>
                    <a:pt x="56021" y="57366"/>
                    <a:pt x="59607" y="55573"/>
                  </a:cubicBezTo>
                  <a:cubicBezTo>
                    <a:pt x="59607" y="58710"/>
                    <a:pt x="60503" y="61399"/>
                    <a:pt x="62295" y="63640"/>
                  </a:cubicBezTo>
                  <a:close/>
                  <a:moveTo>
                    <a:pt x="50643" y="52884"/>
                  </a:moveTo>
                  <a:cubicBezTo>
                    <a:pt x="50195" y="52884"/>
                    <a:pt x="50643" y="52884"/>
                    <a:pt x="50643" y="52884"/>
                  </a:cubicBezTo>
                  <a:cubicBezTo>
                    <a:pt x="50643" y="52884"/>
                    <a:pt x="50643" y="52884"/>
                    <a:pt x="50643" y="52884"/>
                  </a:cubicBezTo>
                  <a:cubicBezTo>
                    <a:pt x="50195" y="52884"/>
                    <a:pt x="42576" y="52884"/>
                    <a:pt x="38094" y="47954"/>
                  </a:cubicBezTo>
                  <a:cubicBezTo>
                    <a:pt x="33613" y="42576"/>
                    <a:pt x="32268" y="35405"/>
                    <a:pt x="31372" y="30027"/>
                  </a:cubicBezTo>
                  <a:lnTo>
                    <a:pt x="31372" y="29131"/>
                  </a:lnTo>
                  <a:cubicBezTo>
                    <a:pt x="30476" y="23305"/>
                    <a:pt x="31372" y="18375"/>
                    <a:pt x="31372" y="18375"/>
                  </a:cubicBezTo>
                  <a:cubicBezTo>
                    <a:pt x="34061" y="5378"/>
                    <a:pt x="49299" y="5378"/>
                    <a:pt x="50195" y="5378"/>
                  </a:cubicBezTo>
                  <a:cubicBezTo>
                    <a:pt x="50195" y="5378"/>
                    <a:pt x="66329" y="4930"/>
                    <a:pt x="69018" y="18375"/>
                  </a:cubicBezTo>
                  <a:cubicBezTo>
                    <a:pt x="69018" y="18375"/>
                    <a:pt x="69914" y="23305"/>
                    <a:pt x="69018" y="29131"/>
                  </a:cubicBezTo>
                  <a:lnTo>
                    <a:pt x="68570" y="30924"/>
                  </a:lnTo>
                  <a:cubicBezTo>
                    <a:pt x="67674" y="36302"/>
                    <a:pt x="66777" y="43024"/>
                    <a:pt x="62744" y="47954"/>
                  </a:cubicBezTo>
                  <a:cubicBezTo>
                    <a:pt x="58710" y="52436"/>
                    <a:pt x="51540" y="52884"/>
                    <a:pt x="50643" y="52884"/>
                  </a:cubicBezTo>
                  <a:close/>
                </a:path>
              </a:pathLst>
            </a:custGeom>
            <a:solidFill>
              <a:srgbClr val="231F20"/>
            </a:solidFill>
            <a:ln w="4477" cap="flat">
              <a:noFill/>
              <a:prstDash val="solid"/>
              <a:miter/>
            </a:ln>
          </p:spPr>
          <p:txBody>
            <a:bodyPr rtlCol="0" anchor="ctr"/>
            <a:lstStyle/>
            <a:p>
              <a:endParaRPr lang="en-US"/>
            </a:p>
          </p:txBody>
        </p:sp>
      </p:grpSp>
      <p:grpSp>
        <p:nvGrpSpPr>
          <p:cNvPr id="2619" name="Group 2618">
            <a:extLst>
              <a:ext uri="{FF2B5EF4-FFF2-40B4-BE49-F238E27FC236}">
                <a16:creationId xmlns:a16="http://schemas.microsoft.com/office/drawing/2014/main" id="{56E3313B-52A1-4818-AA63-9A22276A3043}"/>
              </a:ext>
              <a:ext uri="{C183D7F6-B498-43B3-948B-1728B52AA6E4}">
                <adec:decorative xmlns:adec="http://schemas.microsoft.com/office/drawing/2017/decorative" val="1"/>
              </a:ext>
            </a:extLst>
          </p:cNvPr>
          <p:cNvGrpSpPr>
            <a:grpSpLocks noChangeAspect="1"/>
          </p:cNvGrpSpPr>
          <p:nvPr/>
        </p:nvGrpSpPr>
        <p:grpSpPr>
          <a:xfrm>
            <a:off x="7469633" y="5595732"/>
            <a:ext cx="178869" cy="103079"/>
            <a:chOff x="7526133" y="3540041"/>
            <a:chExt cx="178869" cy="103079"/>
          </a:xfrm>
        </p:grpSpPr>
        <p:sp>
          <p:nvSpPr>
            <p:cNvPr id="2665" name="Freeform: Shape 2664">
              <a:extLst>
                <a:ext uri="{FF2B5EF4-FFF2-40B4-BE49-F238E27FC236}">
                  <a16:creationId xmlns:a16="http://schemas.microsoft.com/office/drawing/2014/main" id="{A4E1E4E3-4BE4-45F1-AF40-E657E44A0C60}"/>
                </a:ext>
              </a:extLst>
            </p:cNvPr>
            <p:cNvSpPr/>
            <p:nvPr/>
          </p:nvSpPr>
          <p:spPr>
            <a:xfrm>
              <a:off x="7567812" y="3540041"/>
              <a:ext cx="98597" cy="103079"/>
            </a:xfrm>
            <a:custGeom>
              <a:avLst/>
              <a:gdLst>
                <a:gd name="connsiteX0" fmla="*/ 98149 w 98597"/>
                <a:gd name="connsiteY0" fmla="*/ 91019 h 103079"/>
                <a:gd name="connsiteX1" fmla="*/ 98149 w 98597"/>
                <a:gd name="connsiteY1" fmla="*/ 90571 h 103079"/>
                <a:gd name="connsiteX2" fmla="*/ 72604 w 98597"/>
                <a:gd name="connsiteY2" fmla="*/ 64129 h 103079"/>
                <a:gd name="connsiteX3" fmla="*/ 62296 w 98597"/>
                <a:gd name="connsiteY3" fmla="*/ 53373 h 103079"/>
                <a:gd name="connsiteX4" fmla="*/ 62296 w 98597"/>
                <a:gd name="connsiteY4" fmla="*/ 51580 h 103079"/>
                <a:gd name="connsiteX5" fmla="*/ 64537 w 98597"/>
                <a:gd name="connsiteY5" fmla="*/ 49339 h 103079"/>
                <a:gd name="connsiteX6" fmla="*/ 71707 w 98597"/>
                <a:gd name="connsiteY6" fmla="*/ 30516 h 103079"/>
                <a:gd name="connsiteX7" fmla="*/ 72155 w 98597"/>
                <a:gd name="connsiteY7" fmla="*/ 28723 h 103079"/>
                <a:gd name="connsiteX8" fmla="*/ 72155 w 98597"/>
                <a:gd name="connsiteY8" fmla="*/ 16175 h 103079"/>
                <a:gd name="connsiteX9" fmla="*/ 49299 w 98597"/>
                <a:gd name="connsiteY9" fmla="*/ 40 h 103079"/>
                <a:gd name="connsiteX10" fmla="*/ 26442 w 98597"/>
                <a:gd name="connsiteY10" fmla="*/ 16175 h 103079"/>
                <a:gd name="connsiteX11" fmla="*/ 26442 w 98597"/>
                <a:gd name="connsiteY11" fmla="*/ 28275 h 103079"/>
                <a:gd name="connsiteX12" fmla="*/ 26442 w 98597"/>
                <a:gd name="connsiteY12" fmla="*/ 29172 h 103079"/>
                <a:gd name="connsiteX13" fmla="*/ 34061 w 98597"/>
                <a:gd name="connsiteY13" fmla="*/ 48891 h 103079"/>
                <a:gd name="connsiteX14" fmla="*/ 35854 w 98597"/>
                <a:gd name="connsiteY14" fmla="*/ 50684 h 103079"/>
                <a:gd name="connsiteX15" fmla="*/ 36302 w 98597"/>
                <a:gd name="connsiteY15" fmla="*/ 52925 h 103079"/>
                <a:gd name="connsiteX16" fmla="*/ 25994 w 98597"/>
                <a:gd name="connsiteY16" fmla="*/ 63681 h 103079"/>
                <a:gd name="connsiteX17" fmla="*/ 0 w 98597"/>
                <a:gd name="connsiteY17" fmla="*/ 90123 h 103079"/>
                <a:gd name="connsiteX18" fmla="*/ 0 w 98597"/>
                <a:gd name="connsiteY18" fmla="*/ 95053 h 103079"/>
                <a:gd name="connsiteX19" fmla="*/ 0 w 98597"/>
                <a:gd name="connsiteY19" fmla="*/ 103120 h 103079"/>
                <a:gd name="connsiteX20" fmla="*/ 2241 w 98597"/>
                <a:gd name="connsiteY20" fmla="*/ 105361 h 103079"/>
                <a:gd name="connsiteX21" fmla="*/ 2241 w 98597"/>
                <a:gd name="connsiteY21" fmla="*/ 105361 h 103079"/>
                <a:gd name="connsiteX22" fmla="*/ 4482 w 98597"/>
                <a:gd name="connsiteY22" fmla="*/ 103120 h 103079"/>
                <a:gd name="connsiteX23" fmla="*/ 4482 w 98597"/>
                <a:gd name="connsiteY23" fmla="*/ 95053 h 103079"/>
                <a:gd name="connsiteX24" fmla="*/ 4482 w 98597"/>
                <a:gd name="connsiteY24" fmla="*/ 91019 h 103079"/>
                <a:gd name="connsiteX25" fmla="*/ 4482 w 98597"/>
                <a:gd name="connsiteY25" fmla="*/ 90571 h 103079"/>
                <a:gd name="connsiteX26" fmla="*/ 25994 w 98597"/>
                <a:gd name="connsiteY26" fmla="*/ 68610 h 103079"/>
                <a:gd name="connsiteX27" fmla="*/ 40783 w 98597"/>
                <a:gd name="connsiteY27" fmla="*/ 53821 h 103079"/>
                <a:gd name="connsiteX28" fmla="*/ 49747 w 98597"/>
                <a:gd name="connsiteY28" fmla="*/ 55614 h 103079"/>
                <a:gd name="connsiteX29" fmla="*/ 50195 w 98597"/>
                <a:gd name="connsiteY29" fmla="*/ 55614 h 103079"/>
                <a:gd name="connsiteX30" fmla="*/ 58710 w 98597"/>
                <a:gd name="connsiteY30" fmla="*/ 53821 h 103079"/>
                <a:gd name="connsiteX31" fmla="*/ 73500 w 98597"/>
                <a:gd name="connsiteY31" fmla="*/ 68162 h 103079"/>
                <a:gd name="connsiteX32" fmla="*/ 94564 w 98597"/>
                <a:gd name="connsiteY32" fmla="*/ 90123 h 103079"/>
                <a:gd name="connsiteX33" fmla="*/ 94564 w 98597"/>
                <a:gd name="connsiteY33" fmla="*/ 90571 h 103079"/>
                <a:gd name="connsiteX34" fmla="*/ 94564 w 98597"/>
                <a:gd name="connsiteY34" fmla="*/ 96397 h 103079"/>
                <a:gd name="connsiteX35" fmla="*/ 94564 w 98597"/>
                <a:gd name="connsiteY35" fmla="*/ 102672 h 103079"/>
                <a:gd name="connsiteX36" fmla="*/ 96805 w 98597"/>
                <a:gd name="connsiteY36" fmla="*/ 104912 h 103079"/>
                <a:gd name="connsiteX37" fmla="*/ 96805 w 98597"/>
                <a:gd name="connsiteY37" fmla="*/ 104912 h 103079"/>
                <a:gd name="connsiteX38" fmla="*/ 99046 w 98597"/>
                <a:gd name="connsiteY38" fmla="*/ 102672 h 103079"/>
                <a:gd name="connsiteX39" fmla="*/ 99046 w 98597"/>
                <a:gd name="connsiteY39" fmla="*/ 96397 h 103079"/>
                <a:gd name="connsiteX40" fmla="*/ 98149 w 98597"/>
                <a:gd name="connsiteY40" fmla="*/ 91019 h 103079"/>
                <a:gd name="connsiteX41" fmla="*/ 49299 w 98597"/>
                <a:gd name="connsiteY41" fmla="*/ 51132 h 103079"/>
                <a:gd name="connsiteX42" fmla="*/ 49299 w 98597"/>
                <a:gd name="connsiteY42" fmla="*/ 51132 h 103079"/>
                <a:gd name="connsiteX43" fmla="*/ 49299 w 98597"/>
                <a:gd name="connsiteY43" fmla="*/ 51132 h 103079"/>
                <a:gd name="connsiteX44" fmla="*/ 36750 w 98597"/>
                <a:gd name="connsiteY44" fmla="*/ 46202 h 103079"/>
                <a:gd name="connsiteX45" fmla="*/ 30476 w 98597"/>
                <a:gd name="connsiteY45" fmla="*/ 28723 h 103079"/>
                <a:gd name="connsiteX46" fmla="*/ 30476 w 98597"/>
                <a:gd name="connsiteY46" fmla="*/ 27827 h 103079"/>
                <a:gd name="connsiteX47" fmla="*/ 30476 w 98597"/>
                <a:gd name="connsiteY47" fmla="*/ 17071 h 103079"/>
                <a:gd name="connsiteX48" fmla="*/ 48851 w 98597"/>
                <a:gd name="connsiteY48" fmla="*/ 4522 h 103079"/>
                <a:gd name="connsiteX49" fmla="*/ 67674 w 98597"/>
                <a:gd name="connsiteY49" fmla="*/ 17071 h 103079"/>
                <a:gd name="connsiteX50" fmla="*/ 67674 w 98597"/>
                <a:gd name="connsiteY50" fmla="*/ 27827 h 103079"/>
                <a:gd name="connsiteX51" fmla="*/ 67225 w 98597"/>
                <a:gd name="connsiteY51" fmla="*/ 29620 h 103079"/>
                <a:gd name="connsiteX52" fmla="*/ 61399 w 98597"/>
                <a:gd name="connsiteY52" fmla="*/ 46202 h 103079"/>
                <a:gd name="connsiteX53" fmla="*/ 49299 w 98597"/>
                <a:gd name="connsiteY53" fmla="*/ 51132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8597" h="103079">
                  <a:moveTo>
                    <a:pt x="98149" y="91019"/>
                  </a:moveTo>
                  <a:lnTo>
                    <a:pt x="98149" y="90571"/>
                  </a:lnTo>
                  <a:cubicBezTo>
                    <a:pt x="97701" y="75781"/>
                    <a:pt x="86497" y="64129"/>
                    <a:pt x="72604" y="64129"/>
                  </a:cubicBezTo>
                  <a:cubicBezTo>
                    <a:pt x="66777" y="64129"/>
                    <a:pt x="62296" y="59199"/>
                    <a:pt x="62296" y="53373"/>
                  </a:cubicBezTo>
                  <a:cubicBezTo>
                    <a:pt x="62296" y="52925"/>
                    <a:pt x="62296" y="52476"/>
                    <a:pt x="62296" y="51580"/>
                  </a:cubicBezTo>
                  <a:cubicBezTo>
                    <a:pt x="63192" y="51132"/>
                    <a:pt x="64088" y="50236"/>
                    <a:pt x="64537" y="49339"/>
                  </a:cubicBezTo>
                  <a:cubicBezTo>
                    <a:pt x="69466" y="43513"/>
                    <a:pt x="70811" y="35894"/>
                    <a:pt x="71707" y="30516"/>
                  </a:cubicBezTo>
                  <a:lnTo>
                    <a:pt x="72155" y="28723"/>
                  </a:lnTo>
                  <a:cubicBezTo>
                    <a:pt x="73052" y="22001"/>
                    <a:pt x="72155" y="16623"/>
                    <a:pt x="72155" y="16175"/>
                  </a:cubicBezTo>
                  <a:cubicBezTo>
                    <a:pt x="69466" y="2729"/>
                    <a:pt x="55573" y="-408"/>
                    <a:pt x="49299" y="40"/>
                  </a:cubicBezTo>
                  <a:cubicBezTo>
                    <a:pt x="42576" y="40"/>
                    <a:pt x="29131" y="2729"/>
                    <a:pt x="26442" y="16175"/>
                  </a:cubicBezTo>
                  <a:cubicBezTo>
                    <a:pt x="26442" y="16623"/>
                    <a:pt x="25097" y="22001"/>
                    <a:pt x="26442" y="28275"/>
                  </a:cubicBezTo>
                  <a:lnTo>
                    <a:pt x="26442" y="29172"/>
                  </a:lnTo>
                  <a:cubicBezTo>
                    <a:pt x="27338" y="34998"/>
                    <a:pt x="28683" y="43065"/>
                    <a:pt x="34061" y="48891"/>
                  </a:cubicBezTo>
                  <a:cubicBezTo>
                    <a:pt x="34509" y="49339"/>
                    <a:pt x="35405" y="50236"/>
                    <a:pt x="35854" y="50684"/>
                  </a:cubicBezTo>
                  <a:cubicBezTo>
                    <a:pt x="35854" y="51580"/>
                    <a:pt x="36302" y="52028"/>
                    <a:pt x="36302" y="52925"/>
                  </a:cubicBezTo>
                  <a:cubicBezTo>
                    <a:pt x="36302" y="58751"/>
                    <a:pt x="31820" y="63681"/>
                    <a:pt x="25994" y="63681"/>
                  </a:cubicBezTo>
                  <a:cubicBezTo>
                    <a:pt x="12101" y="63681"/>
                    <a:pt x="448" y="75333"/>
                    <a:pt x="0" y="90123"/>
                  </a:cubicBezTo>
                  <a:lnTo>
                    <a:pt x="0" y="95053"/>
                  </a:lnTo>
                  <a:cubicBezTo>
                    <a:pt x="0" y="97742"/>
                    <a:pt x="0" y="100431"/>
                    <a:pt x="0" y="103120"/>
                  </a:cubicBezTo>
                  <a:cubicBezTo>
                    <a:pt x="0" y="104464"/>
                    <a:pt x="896" y="105361"/>
                    <a:pt x="2241" y="105361"/>
                  </a:cubicBezTo>
                  <a:cubicBezTo>
                    <a:pt x="2241" y="105361"/>
                    <a:pt x="2241" y="105361"/>
                    <a:pt x="2241" y="105361"/>
                  </a:cubicBezTo>
                  <a:cubicBezTo>
                    <a:pt x="3585" y="105361"/>
                    <a:pt x="4482" y="104464"/>
                    <a:pt x="4482" y="103120"/>
                  </a:cubicBezTo>
                  <a:cubicBezTo>
                    <a:pt x="4482" y="100431"/>
                    <a:pt x="4482" y="97742"/>
                    <a:pt x="4482" y="95053"/>
                  </a:cubicBezTo>
                  <a:lnTo>
                    <a:pt x="4482" y="91019"/>
                  </a:lnTo>
                  <a:cubicBezTo>
                    <a:pt x="4482" y="91019"/>
                    <a:pt x="4482" y="90571"/>
                    <a:pt x="4482" y="90571"/>
                  </a:cubicBezTo>
                  <a:cubicBezTo>
                    <a:pt x="4930" y="78022"/>
                    <a:pt x="14341" y="68610"/>
                    <a:pt x="25994" y="68610"/>
                  </a:cubicBezTo>
                  <a:cubicBezTo>
                    <a:pt x="34061" y="68610"/>
                    <a:pt x="40335" y="61888"/>
                    <a:pt x="40783" y="53821"/>
                  </a:cubicBezTo>
                  <a:cubicBezTo>
                    <a:pt x="45265" y="55614"/>
                    <a:pt x="49299" y="55614"/>
                    <a:pt x="49747" y="55614"/>
                  </a:cubicBezTo>
                  <a:cubicBezTo>
                    <a:pt x="49747" y="55614"/>
                    <a:pt x="49747" y="55614"/>
                    <a:pt x="50195" y="55614"/>
                  </a:cubicBezTo>
                  <a:cubicBezTo>
                    <a:pt x="51091" y="55614"/>
                    <a:pt x="54677" y="55614"/>
                    <a:pt x="58710" y="53821"/>
                  </a:cubicBezTo>
                  <a:cubicBezTo>
                    <a:pt x="59158" y="61888"/>
                    <a:pt x="65433" y="68162"/>
                    <a:pt x="73500" y="68162"/>
                  </a:cubicBezTo>
                  <a:cubicBezTo>
                    <a:pt x="85152" y="68162"/>
                    <a:pt x="94564" y="77574"/>
                    <a:pt x="94564" y="90123"/>
                  </a:cubicBezTo>
                  <a:lnTo>
                    <a:pt x="94564" y="90571"/>
                  </a:lnTo>
                  <a:cubicBezTo>
                    <a:pt x="94564" y="92363"/>
                    <a:pt x="94564" y="94604"/>
                    <a:pt x="94564" y="96397"/>
                  </a:cubicBezTo>
                  <a:cubicBezTo>
                    <a:pt x="94564" y="98190"/>
                    <a:pt x="94564" y="100431"/>
                    <a:pt x="94564" y="102672"/>
                  </a:cubicBezTo>
                  <a:cubicBezTo>
                    <a:pt x="94564" y="104016"/>
                    <a:pt x="95460" y="104912"/>
                    <a:pt x="96805" y="104912"/>
                  </a:cubicBezTo>
                  <a:cubicBezTo>
                    <a:pt x="96805" y="104912"/>
                    <a:pt x="96805" y="104912"/>
                    <a:pt x="96805" y="104912"/>
                  </a:cubicBezTo>
                  <a:cubicBezTo>
                    <a:pt x="98149" y="104912"/>
                    <a:pt x="99046" y="104016"/>
                    <a:pt x="99046" y="102672"/>
                  </a:cubicBezTo>
                  <a:cubicBezTo>
                    <a:pt x="99046" y="100431"/>
                    <a:pt x="99046" y="98190"/>
                    <a:pt x="99046" y="96397"/>
                  </a:cubicBezTo>
                  <a:cubicBezTo>
                    <a:pt x="98149" y="95053"/>
                    <a:pt x="98149" y="93260"/>
                    <a:pt x="98149" y="91019"/>
                  </a:cubicBezTo>
                  <a:close/>
                  <a:moveTo>
                    <a:pt x="49299" y="51132"/>
                  </a:moveTo>
                  <a:cubicBezTo>
                    <a:pt x="48851" y="51132"/>
                    <a:pt x="49299" y="51132"/>
                    <a:pt x="49299" y="51132"/>
                  </a:cubicBezTo>
                  <a:cubicBezTo>
                    <a:pt x="49299" y="51132"/>
                    <a:pt x="49299" y="51132"/>
                    <a:pt x="49299" y="51132"/>
                  </a:cubicBezTo>
                  <a:cubicBezTo>
                    <a:pt x="48851" y="51132"/>
                    <a:pt x="41232" y="51132"/>
                    <a:pt x="36750" y="46202"/>
                  </a:cubicBezTo>
                  <a:cubicBezTo>
                    <a:pt x="32268" y="41272"/>
                    <a:pt x="31372" y="34101"/>
                    <a:pt x="30476" y="28723"/>
                  </a:cubicBezTo>
                  <a:lnTo>
                    <a:pt x="30476" y="27827"/>
                  </a:lnTo>
                  <a:cubicBezTo>
                    <a:pt x="29579" y="22001"/>
                    <a:pt x="30476" y="17071"/>
                    <a:pt x="30476" y="17071"/>
                  </a:cubicBezTo>
                  <a:cubicBezTo>
                    <a:pt x="33165" y="4074"/>
                    <a:pt x="48402" y="4522"/>
                    <a:pt x="48851" y="4522"/>
                  </a:cubicBezTo>
                  <a:cubicBezTo>
                    <a:pt x="48851" y="4522"/>
                    <a:pt x="64985" y="4074"/>
                    <a:pt x="67674" y="17071"/>
                  </a:cubicBezTo>
                  <a:cubicBezTo>
                    <a:pt x="67674" y="17071"/>
                    <a:pt x="68570" y="22001"/>
                    <a:pt x="67674" y="27827"/>
                  </a:cubicBezTo>
                  <a:lnTo>
                    <a:pt x="67225" y="29620"/>
                  </a:lnTo>
                  <a:cubicBezTo>
                    <a:pt x="66329" y="34998"/>
                    <a:pt x="65433" y="41720"/>
                    <a:pt x="61399" y="46202"/>
                  </a:cubicBezTo>
                  <a:cubicBezTo>
                    <a:pt x="57366" y="51132"/>
                    <a:pt x="50643" y="51132"/>
                    <a:pt x="49299" y="51132"/>
                  </a:cubicBezTo>
                  <a:close/>
                </a:path>
              </a:pathLst>
            </a:custGeom>
            <a:solidFill>
              <a:srgbClr val="231F20"/>
            </a:solidFill>
            <a:ln w="4477" cap="flat">
              <a:noFill/>
              <a:prstDash val="solid"/>
              <a:miter/>
            </a:ln>
          </p:spPr>
          <p:txBody>
            <a:bodyPr rtlCol="0" anchor="ctr"/>
            <a:lstStyle/>
            <a:p>
              <a:endParaRPr lang="en-US"/>
            </a:p>
          </p:txBody>
        </p:sp>
        <p:sp>
          <p:nvSpPr>
            <p:cNvPr id="2666" name="Freeform: Shape 2665">
              <a:extLst>
                <a:ext uri="{FF2B5EF4-FFF2-40B4-BE49-F238E27FC236}">
                  <a16:creationId xmlns:a16="http://schemas.microsoft.com/office/drawing/2014/main" id="{731EB481-54DC-492F-89C7-92D86DF836BE}"/>
                </a:ext>
              </a:extLst>
            </p:cNvPr>
            <p:cNvSpPr/>
            <p:nvPr/>
          </p:nvSpPr>
          <p:spPr>
            <a:xfrm>
              <a:off x="7570501" y="3591621"/>
              <a:ext cx="4482" cy="4482"/>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231F20"/>
            </a:solidFill>
            <a:ln w="4477" cap="flat">
              <a:noFill/>
              <a:prstDash val="solid"/>
              <a:miter/>
            </a:ln>
          </p:spPr>
          <p:txBody>
            <a:bodyPr rtlCol="0" anchor="ctr"/>
            <a:lstStyle/>
            <a:p>
              <a:endParaRPr lang="en-US"/>
            </a:p>
          </p:txBody>
        </p:sp>
        <p:sp>
          <p:nvSpPr>
            <p:cNvPr id="2667" name="Freeform: Shape 2666">
              <a:extLst>
                <a:ext uri="{FF2B5EF4-FFF2-40B4-BE49-F238E27FC236}">
                  <a16:creationId xmlns:a16="http://schemas.microsoft.com/office/drawing/2014/main" id="{66B2F2AC-F438-4050-8BE6-CB00B4B7059C}"/>
                </a:ext>
              </a:extLst>
            </p:cNvPr>
            <p:cNvSpPr/>
            <p:nvPr/>
          </p:nvSpPr>
          <p:spPr>
            <a:xfrm>
              <a:off x="7570501" y="3591621"/>
              <a:ext cx="4482" cy="4482"/>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0"/>
                    <a:pt x="0" y="0"/>
                    <a:pt x="0" y="0"/>
                  </a:cubicBezTo>
                  <a:cubicBezTo>
                    <a:pt x="0" y="0"/>
                    <a:pt x="0" y="0"/>
                    <a:pt x="0" y="0"/>
                  </a:cubicBezTo>
                  <a:close/>
                </a:path>
              </a:pathLst>
            </a:custGeom>
            <a:solidFill>
              <a:srgbClr val="231F20"/>
            </a:solidFill>
            <a:ln w="4477" cap="flat">
              <a:noFill/>
              <a:prstDash val="solid"/>
              <a:miter/>
            </a:ln>
          </p:spPr>
          <p:txBody>
            <a:bodyPr rtlCol="0" anchor="ctr"/>
            <a:lstStyle/>
            <a:p>
              <a:endParaRPr lang="en-US"/>
            </a:p>
          </p:txBody>
        </p:sp>
        <p:sp>
          <p:nvSpPr>
            <p:cNvPr id="2668" name="Freeform: Shape 2667">
              <a:extLst>
                <a:ext uri="{FF2B5EF4-FFF2-40B4-BE49-F238E27FC236}">
                  <a16:creationId xmlns:a16="http://schemas.microsoft.com/office/drawing/2014/main" id="{A6E56A21-44D7-490D-AD34-8C1023FA122B}"/>
                </a:ext>
              </a:extLst>
            </p:cNvPr>
            <p:cNvSpPr/>
            <p:nvPr/>
          </p:nvSpPr>
          <p:spPr>
            <a:xfrm>
              <a:off x="7526133" y="3546804"/>
              <a:ext cx="62744" cy="89634"/>
            </a:xfrm>
            <a:custGeom>
              <a:avLst/>
              <a:gdLst>
                <a:gd name="connsiteX0" fmla="*/ 44369 w 62743"/>
                <a:gd name="connsiteY0" fmla="*/ 49299 h 89634"/>
                <a:gd name="connsiteX1" fmla="*/ 44369 w 62743"/>
                <a:gd name="connsiteY1" fmla="*/ 49299 h 89634"/>
                <a:gd name="connsiteX2" fmla="*/ 51540 w 62743"/>
                <a:gd name="connsiteY2" fmla="*/ 47954 h 89634"/>
                <a:gd name="connsiteX3" fmla="*/ 53780 w 62743"/>
                <a:gd name="connsiteY3" fmla="*/ 54677 h 89634"/>
                <a:gd name="connsiteX4" fmla="*/ 55573 w 62743"/>
                <a:gd name="connsiteY4" fmla="*/ 55573 h 89634"/>
                <a:gd name="connsiteX5" fmla="*/ 56918 w 62743"/>
                <a:gd name="connsiteY5" fmla="*/ 55125 h 89634"/>
                <a:gd name="connsiteX6" fmla="*/ 57366 w 62743"/>
                <a:gd name="connsiteY6" fmla="*/ 51988 h 89634"/>
                <a:gd name="connsiteX7" fmla="*/ 55573 w 62743"/>
                <a:gd name="connsiteY7" fmla="*/ 46610 h 89634"/>
                <a:gd name="connsiteX8" fmla="*/ 55573 w 62743"/>
                <a:gd name="connsiteY8" fmla="*/ 45265 h 89634"/>
                <a:gd name="connsiteX9" fmla="*/ 57366 w 62743"/>
                <a:gd name="connsiteY9" fmla="*/ 43473 h 89634"/>
                <a:gd name="connsiteX10" fmla="*/ 63640 w 62743"/>
                <a:gd name="connsiteY10" fmla="*/ 26890 h 89634"/>
                <a:gd name="connsiteX11" fmla="*/ 64088 w 62743"/>
                <a:gd name="connsiteY11" fmla="*/ 25097 h 89634"/>
                <a:gd name="connsiteX12" fmla="*/ 64088 w 62743"/>
                <a:gd name="connsiteY12" fmla="*/ 14342 h 89634"/>
                <a:gd name="connsiteX13" fmla="*/ 43921 w 62743"/>
                <a:gd name="connsiteY13" fmla="*/ 0 h 89634"/>
                <a:gd name="connsiteX14" fmla="*/ 23753 w 62743"/>
                <a:gd name="connsiteY14" fmla="*/ 14342 h 89634"/>
                <a:gd name="connsiteX15" fmla="*/ 23753 w 62743"/>
                <a:gd name="connsiteY15" fmla="*/ 25097 h 89634"/>
                <a:gd name="connsiteX16" fmla="*/ 23753 w 62743"/>
                <a:gd name="connsiteY16" fmla="*/ 25994 h 89634"/>
                <a:gd name="connsiteX17" fmla="*/ 30027 w 62743"/>
                <a:gd name="connsiteY17" fmla="*/ 43024 h 89634"/>
                <a:gd name="connsiteX18" fmla="*/ 31372 w 62743"/>
                <a:gd name="connsiteY18" fmla="*/ 44369 h 89634"/>
                <a:gd name="connsiteX19" fmla="*/ 31372 w 62743"/>
                <a:gd name="connsiteY19" fmla="*/ 46161 h 89634"/>
                <a:gd name="connsiteX20" fmla="*/ 22857 w 62743"/>
                <a:gd name="connsiteY20" fmla="*/ 55125 h 89634"/>
                <a:gd name="connsiteX21" fmla="*/ 0 w 62743"/>
                <a:gd name="connsiteY21" fmla="*/ 77982 h 89634"/>
                <a:gd name="connsiteX22" fmla="*/ 0 w 62743"/>
                <a:gd name="connsiteY22" fmla="*/ 82015 h 89634"/>
                <a:gd name="connsiteX23" fmla="*/ 0 w 62743"/>
                <a:gd name="connsiteY23" fmla="*/ 89186 h 89634"/>
                <a:gd name="connsiteX24" fmla="*/ 2241 w 62743"/>
                <a:gd name="connsiteY24" fmla="*/ 91427 h 89634"/>
                <a:gd name="connsiteX25" fmla="*/ 2241 w 62743"/>
                <a:gd name="connsiteY25" fmla="*/ 91427 h 89634"/>
                <a:gd name="connsiteX26" fmla="*/ 4482 w 62743"/>
                <a:gd name="connsiteY26" fmla="*/ 89186 h 89634"/>
                <a:gd name="connsiteX27" fmla="*/ 4482 w 62743"/>
                <a:gd name="connsiteY27" fmla="*/ 82912 h 89634"/>
                <a:gd name="connsiteX28" fmla="*/ 4482 w 62743"/>
                <a:gd name="connsiteY28" fmla="*/ 78878 h 89634"/>
                <a:gd name="connsiteX29" fmla="*/ 22857 w 62743"/>
                <a:gd name="connsiteY29" fmla="*/ 60055 h 89634"/>
                <a:gd name="connsiteX30" fmla="*/ 35854 w 62743"/>
                <a:gd name="connsiteY30" fmla="*/ 47506 h 89634"/>
                <a:gd name="connsiteX31" fmla="*/ 44369 w 62743"/>
                <a:gd name="connsiteY31" fmla="*/ 49299 h 89634"/>
                <a:gd name="connsiteX32" fmla="*/ 28235 w 62743"/>
                <a:gd name="connsiteY32" fmla="*/ 25546 h 89634"/>
                <a:gd name="connsiteX33" fmla="*/ 28235 w 62743"/>
                <a:gd name="connsiteY33" fmla="*/ 24649 h 89634"/>
                <a:gd name="connsiteX34" fmla="*/ 28235 w 62743"/>
                <a:gd name="connsiteY34" fmla="*/ 15686 h 89634"/>
                <a:gd name="connsiteX35" fmla="*/ 43921 w 62743"/>
                <a:gd name="connsiteY35" fmla="*/ 4930 h 89634"/>
                <a:gd name="connsiteX36" fmla="*/ 59607 w 62743"/>
                <a:gd name="connsiteY36" fmla="*/ 15686 h 89634"/>
                <a:gd name="connsiteX37" fmla="*/ 59607 w 62743"/>
                <a:gd name="connsiteY37" fmla="*/ 24649 h 89634"/>
                <a:gd name="connsiteX38" fmla="*/ 59158 w 62743"/>
                <a:gd name="connsiteY38" fmla="*/ 26442 h 89634"/>
                <a:gd name="connsiteX39" fmla="*/ 54229 w 62743"/>
                <a:gd name="connsiteY39" fmla="*/ 40783 h 89634"/>
                <a:gd name="connsiteX40" fmla="*/ 44369 w 62743"/>
                <a:gd name="connsiteY40" fmla="*/ 44817 h 89634"/>
                <a:gd name="connsiteX41" fmla="*/ 44369 w 62743"/>
                <a:gd name="connsiteY41" fmla="*/ 44817 h 89634"/>
                <a:gd name="connsiteX42" fmla="*/ 34061 w 62743"/>
                <a:gd name="connsiteY42" fmla="*/ 40783 h 89634"/>
                <a:gd name="connsiteX43" fmla="*/ 28235 w 62743"/>
                <a:gd name="connsiteY43" fmla="*/ 25546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2743" h="89634">
                  <a:moveTo>
                    <a:pt x="44369" y="49299"/>
                  </a:moveTo>
                  <a:cubicBezTo>
                    <a:pt x="44369" y="49299"/>
                    <a:pt x="44369" y="49299"/>
                    <a:pt x="44369" y="49299"/>
                  </a:cubicBezTo>
                  <a:cubicBezTo>
                    <a:pt x="45265" y="49299"/>
                    <a:pt x="48402" y="49299"/>
                    <a:pt x="51540" y="47954"/>
                  </a:cubicBezTo>
                  <a:cubicBezTo>
                    <a:pt x="51540" y="50195"/>
                    <a:pt x="52436" y="52884"/>
                    <a:pt x="53780" y="54677"/>
                  </a:cubicBezTo>
                  <a:cubicBezTo>
                    <a:pt x="54229" y="55125"/>
                    <a:pt x="55125" y="55573"/>
                    <a:pt x="55573" y="55573"/>
                  </a:cubicBezTo>
                  <a:cubicBezTo>
                    <a:pt x="56021" y="55573"/>
                    <a:pt x="56469" y="55573"/>
                    <a:pt x="56918" y="55125"/>
                  </a:cubicBezTo>
                  <a:cubicBezTo>
                    <a:pt x="57814" y="54228"/>
                    <a:pt x="58262" y="52884"/>
                    <a:pt x="57366" y="51988"/>
                  </a:cubicBezTo>
                  <a:cubicBezTo>
                    <a:pt x="56469" y="50643"/>
                    <a:pt x="55573" y="48402"/>
                    <a:pt x="55573" y="46610"/>
                  </a:cubicBezTo>
                  <a:cubicBezTo>
                    <a:pt x="55573" y="46161"/>
                    <a:pt x="55573" y="45713"/>
                    <a:pt x="55573" y="45265"/>
                  </a:cubicBezTo>
                  <a:cubicBezTo>
                    <a:pt x="56469" y="44817"/>
                    <a:pt x="56918" y="43921"/>
                    <a:pt x="57366" y="43473"/>
                  </a:cubicBezTo>
                  <a:cubicBezTo>
                    <a:pt x="61847" y="38543"/>
                    <a:pt x="62744" y="31820"/>
                    <a:pt x="63640" y="26890"/>
                  </a:cubicBezTo>
                  <a:lnTo>
                    <a:pt x="64088" y="25097"/>
                  </a:lnTo>
                  <a:cubicBezTo>
                    <a:pt x="64985" y="19271"/>
                    <a:pt x="64088" y="14342"/>
                    <a:pt x="64088" y="14342"/>
                  </a:cubicBezTo>
                  <a:cubicBezTo>
                    <a:pt x="61399" y="2689"/>
                    <a:pt x="49747" y="0"/>
                    <a:pt x="43921" y="0"/>
                  </a:cubicBezTo>
                  <a:cubicBezTo>
                    <a:pt x="38094" y="0"/>
                    <a:pt x="26442" y="2689"/>
                    <a:pt x="23753" y="14342"/>
                  </a:cubicBezTo>
                  <a:cubicBezTo>
                    <a:pt x="23753" y="14342"/>
                    <a:pt x="22857" y="19271"/>
                    <a:pt x="23753" y="25097"/>
                  </a:cubicBezTo>
                  <a:lnTo>
                    <a:pt x="23753" y="25994"/>
                  </a:lnTo>
                  <a:cubicBezTo>
                    <a:pt x="24649" y="30924"/>
                    <a:pt x="25546" y="38094"/>
                    <a:pt x="30027" y="43024"/>
                  </a:cubicBezTo>
                  <a:cubicBezTo>
                    <a:pt x="30476" y="43473"/>
                    <a:pt x="30924" y="43921"/>
                    <a:pt x="31372" y="44369"/>
                  </a:cubicBezTo>
                  <a:cubicBezTo>
                    <a:pt x="31372" y="44817"/>
                    <a:pt x="31372" y="45713"/>
                    <a:pt x="31372" y="46161"/>
                  </a:cubicBezTo>
                  <a:cubicBezTo>
                    <a:pt x="31372" y="51092"/>
                    <a:pt x="27787" y="55125"/>
                    <a:pt x="22857" y="55125"/>
                  </a:cubicBezTo>
                  <a:cubicBezTo>
                    <a:pt x="10308" y="55125"/>
                    <a:pt x="448" y="65433"/>
                    <a:pt x="0" y="77982"/>
                  </a:cubicBezTo>
                  <a:lnTo>
                    <a:pt x="0" y="82015"/>
                  </a:lnTo>
                  <a:lnTo>
                    <a:pt x="0" y="89186"/>
                  </a:lnTo>
                  <a:cubicBezTo>
                    <a:pt x="0" y="90530"/>
                    <a:pt x="896" y="91427"/>
                    <a:pt x="2241" y="91427"/>
                  </a:cubicBezTo>
                  <a:cubicBezTo>
                    <a:pt x="2241" y="91427"/>
                    <a:pt x="2241" y="91427"/>
                    <a:pt x="2241" y="91427"/>
                  </a:cubicBezTo>
                  <a:cubicBezTo>
                    <a:pt x="3585" y="91427"/>
                    <a:pt x="4482" y="90530"/>
                    <a:pt x="4482" y="89186"/>
                  </a:cubicBezTo>
                  <a:lnTo>
                    <a:pt x="4482" y="82912"/>
                  </a:lnTo>
                  <a:lnTo>
                    <a:pt x="4482" y="78878"/>
                  </a:lnTo>
                  <a:cubicBezTo>
                    <a:pt x="4930" y="68570"/>
                    <a:pt x="12549" y="60055"/>
                    <a:pt x="22857" y="60055"/>
                  </a:cubicBezTo>
                  <a:cubicBezTo>
                    <a:pt x="29579" y="60055"/>
                    <a:pt x="35405" y="54677"/>
                    <a:pt x="35854" y="47506"/>
                  </a:cubicBezTo>
                  <a:cubicBezTo>
                    <a:pt x="40335" y="48851"/>
                    <a:pt x="43472" y="49299"/>
                    <a:pt x="44369" y="49299"/>
                  </a:cubicBezTo>
                  <a:close/>
                  <a:moveTo>
                    <a:pt x="28235" y="25546"/>
                  </a:moveTo>
                  <a:lnTo>
                    <a:pt x="28235" y="24649"/>
                  </a:lnTo>
                  <a:cubicBezTo>
                    <a:pt x="27338" y="19720"/>
                    <a:pt x="28235" y="15686"/>
                    <a:pt x="28235" y="15686"/>
                  </a:cubicBezTo>
                  <a:cubicBezTo>
                    <a:pt x="30476" y="4930"/>
                    <a:pt x="43024" y="4930"/>
                    <a:pt x="43921" y="4930"/>
                  </a:cubicBezTo>
                  <a:cubicBezTo>
                    <a:pt x="44369" y="4930"/>
                    <a:pt x="57366" y="4482"/>
                    <a:pt x="59607" y="15686"/>
                  </a:cubicBezTo>
                  <a:cubicBezTo>
                    <a:pt x="59607" y="15686"/>
                    <a:pt x="60503" y="19720"/>
                    <a:pt x="59607" y="24649"/>
                  </a:cubicBezTo>
                  <a:lnTo>
                    <a:pt x="59158" y="26442"/>
                  </a:lnTo>
                  <a:cubicBezTo>
                    <a:pt x="58262" y="30924"/>
                    <a:pt x="57366" y="36750"/>
                    <a:pt x="54229" y="40783"/>
                  </a:cubicBezTo>
                  <a:cubicBezTo>
                    <a:pt x="51091" y="44817"/>
                    <a:pt x="44817" y="44817"/>
                    <a:pt x="44369" y="44817"/>
                  </a:cubicBezTo>
                  <a:cubicBezTo>
                    <a:pt x="44369" y="44817"/>
                    <a:pt x="44369" y="44817"/>
                    <a:pt x="44369" y="44817"/>
                  </a:cubicBezTo>
                  <a:cubicBezTo>
                    <a:pt x="44369" y="44817"/>
                    <a:pt x="37646" y="44817"/>
                    <a:pt x="34061" y="40783"/>
                  </a:cubicBezTo>
                  <a:cubicBezTo>
                    <a:pt x="30027" y="36302"/>
                    <a:pt x="29131" y="30027"/>
                    <a:pt x="28235" y="25546"/>
                  </a:cubicBezTo>
                  <a:close/>
                </a:path>
              </a:pathLst>
            </a:custGeom>
            <a:solidFill>
              <a:srgbClr val="231F20"/>
            </a:solidFill>
            <a:ln w="4477" cap="flat">
              <a:noFill/>
              <a:prstDash val="solid"/>
              <a:miter/>
            </a:ln>
          </p:spPr>
          <p:txBody>
            <a:bodyPr rtlCol="0" anchor="ctr"/>
            <a:lstStyle/>
            <a:p>
              <a:endParaRPr lang="en-US"/>
            </a:p>
          </p:txBody>
        </p:sp>
        <p:sp>
          <p:nvSpPr>
            <p:cNvPr id="2669" name="Freeform: Shape 2668">
              <a:extLst>
                <a:ext uri="{FF2B5EF4-FFF2-40B4-BE49-F238E27FC236}">
                  <a16:creationId xmlns:a16="http://schemas.microsoft.com/office/drawing/2014/main" id="{23E43036-4C24-4BA4-856F-F49A6197F0B9}"/>
                </a:ext>
              </a:extLst>
            </p:cNvPr>
            <p:cNvSpPr/>
            <p:nvPr/>
          </p:nvSpPr>
          <p:spPr>
            <a:xfrm>
              <a:off x="7642258" y="3547654"/>
              <a:ext cx="62744" cy="89634"/>
            </a:xfrm>
            <a:custGeom>
              <a:avLst/>
              <a:gdLst>
                <a:gd name="connsiteX0" fmla="*/ 64039 w 62743"/>
                <a:gd name="connsiteY0" fmla="*/ 78027 h 89634"/>
                <a:gd name="connsiteX1" fmla="*/ 41182 w 62743"/>
                <a:gd name="connsiteY1" fmla="*/ 55171 h 89634"/>
                <a:gd name="connsiteX2" fmla="*/ 32667 w 62743"/>
                <a:gd name="connsiteY2" fmla="*/ 46207 h 89634"/>
                <a:gd name="connsiteX3" fmla="*/ 32667 w 62743"/>
                <a:gd name="connsiteY3" fmla="*/ 44415 h 89634"/>
                <a:gd name="connsiteX4" fmla="*/ 34011 w 62743"/>
                <a:gd name="connsiteY4" fmla="*/ 43070 h 89634"/>
                <a:gd name="connsiteX5" fmla="*/ 40286 w 62743"/>
                <a:gd name="connsiteY5" fmla="*/ 26040 h 89634"/>
                <a:gd name="connsiteX6" fmla="*/ 40286 w 62743"/>
                <a:gd name="connsiteY6" fmla="*/ 25143 h 89634"/>
                <a:gd name="connsiteX7" fmla="*/ 40286 w 62743"/>
                <a:gd name="connsiteY7" fmla="*/ 14387 h 89634"/>
                <a:gd name="connsiteX8" fmla="*/ 20566 w 62743"/>
                <a:gd name="connsiteY8" fmla="*/ 46 h 89634"/>
                <a:gd name="connsiteX9" fmla="*/ 398 w 62743"/>
                <a:gd name="connsiteY9" fmla="*/ 14387 h 89634"/>
                <a:gd name="connsiteX10" fmla="*/ 398 w 62743"/>
                <a:gd name="connsiteY10" fmla="*/ 25143 h 89634"/>
                <a:gd name="connsiteX11" fmla="*/ 847 w 62743"/>
                <a:gd name="connsiteY11" fmla="*/ 26936 h 89634"/>
                <a:gd name="connsiteX12" fmla="*/ 7121 w 62743"/>
                <a:gd name="connsiteY12" fmla="*/ 43519 h 89634"/>
                <a:gd name="connsiteX13" fmla="*/ 8914 w 62743"/>
                <a:gd name="connsiteY13" fmla="*/ 45311 h 89634"/>
                <a:gd name="connsiteX14" fmla="*/ 8914 w 62743"/>
                <a:gd name="connsiteY14" fmla="*/ 46656 h 89634"/>
                <a:gd name="connsiteX15" fmla="*/ 7121 w 62743"/>
                <a:gd name="connsiteY15" fmla="*/ 52034 h 89634"/>
                <a:gd name="connsiteX16" fmla="*/ 7569 w 62743"/>
                <a:gd name="connsiteY16" fmla="*/ 55171 h 89634"/>
                <a:gd name="connsiteX17" fmla="*/ 8914 w 62743"/>
                <a:gd name="connsiteY17" fmla="*/ 55619 h 89634"/>
                <a:gd name="connsiteX18" fmla="*/ 10706 w 62743"/>
                <a:gd name="connsiteY18" fmla="*/ 54723 h 89634"/>
                <a:gd name="connsiteX19" fmla="*/ 12947 w 62743"/>
                <a:gd name="connsiteY19" fmla="*/ 48000 h 89634"/>
                <a:gd name="connsiteX20" fmla="*/ 20118 w 62743"/>
                <a:gd name="connsiteY20" fmla="*/ 49345 h 89634"/>
                <a:gd name="connsiteX21" fmla="*/ 20118 w 62743"/>
                <a:gd name="connsiteY21" fmla="*/ 49345 h 89634"/>
                <a:gd name="connsiteX22" fmla="*/ 27737 w 62743"/>
                <a:gd name="connsiteY22" fmla="*/ 48000 h 89634"/>
                <a:gd name="connsiteX23" fmla="*/ 40734 w 62743"/>
                <a:gd name="connsiteY23" fmla="*/ 60549 h 89634"/>
                <a:gd name="connsiteX24" fmla="*/ 59109 w 62743"/>
                <a:gd name="connsiteY24" fmla="*/ 79372 h 89634"/>
                <a:gd name="connsiteX25" fmla="*/ 59109 w 62743"/>
                <a:gd name="connsiteY25" fmla="*/ 83406 h 89634"/>
                <a:gd name="connsiteX26" fmla="*/ 59109 w 62743"/>
                <a:gd name="connsiteY26" fmla="*/ 90576 h 89634"/>
                <a:gd name="connsiteX27" fmla="*/ 61350 w 62743"/>
                <a:gd name="connsiteY27" fmla="*/ 92817 h 89634"/>
                <a:gd name="connsiteX28" fmla="*/ 61350 w 62743"/>
                <a:gd name="connsiteY28" fmla="*/ 92817 h 89634"/>
                <a:gd name="connsiteX29" fmla="*/ 63590 w 62743"/>
                <a:gd name="connsiteY29" fmla="*/ 90576 h 89634"/>
                <a:gd name="connsiteX30" fmla="*/ 63590 w 62743"/>
                <a:gd name="connsiteY30" fmla="*/ 83406 h 89634"/>
                <a:gd name="connsiteX31" fmla="*/ 64039 w 62743"/>
                <a:gd name="connsiteY31" fmla="*/ 78027 h 89634"/>
                <a:gd name="connsiteX32" fmla="*/ 21014 w 62743"/>
                <a:gd name="connsiteY32" fmla="*/ 43967 h 89634"/>
                <a:gd name="connsiteX33" fmla="*/ 21014 w 62743"/>
                <a:gd name="connsiteY33" fmla="*/ 43967 h 89634"/>
                <a:gd name="connsiteX34" fmla="*/ 10706 w 62743"/>
                <a:gd name="connsiteY34" fmla="*/ 39933 h 89634"/>
                <a:gd name="connsiteX35" fmla="*/ 5776 w 62743"/>
                <a:gd name="connsiteY35" fmla="*/ 25592 h 89634"/>
                <a:gd name="connsiteX36" fmla="*/ 5328 w 62743"/>
                <a:gd name="connsiteY36" fmla="*/ 23799 h 89634"/>
                <a:gd name="connsiteX37" fmla="*/ 5328 w 62743"/>
                <a:gd name="connsiteY37" fmla="*/ 14836 h 89634"/>
                <a:gd name="connsiteX38" fmla="*/ 21014 w 62743"/>
                <a:gd name="connsiteY38" fmla="*/ 4079 h 89634"/>
                <a:gd name="connsiteX39" fmla="*/ 21462 w 62743"/>
                <a:gd name="connsiteY39" fmla="*/ 4079 h 89634"/>
                <a:gd name="connsiteX40" fmla="*/ 37148 w 62743"/>
                <a:gd name="connsiteY40" fmla="*/ 14836 h 89634"/>
                <a:gd name="connsiteX41" fmla="*/ 37148 w 62743"/>
                <a:gd name="connsiteY41" fmla="*/ 23799 h 89634"/>
                <a:gd name="connsiteX42" fmla="*/ 37148 w 62743"/>
                <a:gd name="connsiteY42" fmla="*/ 24695 h 89634"/>
                <a:gd name="connsiteX43" fmla="*/ 31770 w 62743"/>
                <a:gd name="connsiteY43" fmla="*/ 39485 h 89634"/>
                <a:gd name="connsiteX44" fmla="*/ 21014 w 62743"/>
                <a:gd name="connsiteY44" fmla="*/ 43967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2743" h="89634">
                  <a:moveTo>
                    <a:pt x="64039" y="78027"/>
                  </a:moveTo>
                  <a:cubicBezTo>
                    <a:pt x="63590" y="65031"/>
                    <a:pt x="53731" y="55171"/>
                    <a:pt x="41182" y="55171"/>
                  </a:cubicBezTo>
                  <a:cubicBezTo>
                    <a:pt x="36700" y="55171"/>
                    <a:pt x="32667" y="51137"/>
                    <a:pt x="32667" y="46207"/>
                  </a:cubicBezTo>
                  <a:cubicBezTo>
                    <a:pt x="32667" y="45759"/>
                    <a:pt x="32667" y="44863"/>
                    <a:pt x="32667" y="44415"/>
                  </a:cubicBezTo>
                  <a:cubicBezTo>
                    <a:pt x="33115" y="43967"/>
                    <a:pt x="33563" y="43519"/>
                    <a:pt x="34011" y="43070"/>
                  </a:cubicBezTo>
                  <a:cubicBezTo>
                    <a:pt x="38493" y="37692"/>
                    <a:pt x="39837" y="30970"/>
                    <a:pt x="40286" y="26040"/>
                  </a:cubicBezTo>
                  <a:lnTo>
                    <a:pt x="40286" y="25143"/>
                  </a:lnTo>
                  <a:cubicBezTo>
                    <a:pt x="41182" y="19317"/>
                    <a:pt x="40286" y="14387"/>
                    <a:pt x="40286" y="14387"/>
                  </a:cubicBezTo>
                  <a:cubicBezTo>
                    <a:pt x="38045" y="2735"/>
                    <a:pt x="25944" y="46"/>
                    <a:pt x="20566" y="46"/>
                  </a:cubicBezTo>
                  <a:cubicBezTo>
                    <a:pt x="14740" y="-402"/>
                    <a:pt x="2639" y="2287"/>
                    <a:pt x="398" y="14387"/>
                  </a:cubicBezTo>
                  <a:cubicBezTo>
                    <a:pt x="398" y="14387"/>
                    <a:pt x="-498" y="19317"/>
                    <a:pt x="398" y="25143"/>
                  </a:cubicBezTo>
                  <a:lnTo>
                    <a:pt x="847" y="26936"/>
                  </a:lnTo>
                  <a:cubicBezTo>
                    <a:pt x="1743" y="31866"/>
                    <a:pt x="2639" y="38589"/>
                    <a:pt x="7121" y="43519"/>
                  </a:cubicBezTo>
                  <a:cubicBezTo>
                    <a:pt x="7569" y="44415"/>
                    <a:pt x="8465" y="44863"/>
                    <a:pt x="8914" y="45311"/>
                  </a:cubicBezTo>
                  <a:cubicBezTo>
                    <a:pt x="8914" y="45759"/>
                    <a:pt x="8914" y="46207"/>
                    <a:pt x="8914" y="46656"/>
                  </a:cubicBezTo>
                  <a:cubicBezTo>
                    <a:pt x="8914" y="48448"/>
                    <a:pt x="8465" y="50689"/>
                    <a:pt x="7121" y="52034"/>
                  </a:cubicBezTo>
                  <a:cubicBezTo>
                    <a:pt x="6225" y="52930"/>
                    <a:pt x="6673" y="54274"/>
                    <a:pt x="7569" y="55171"/>
                  </a:cubicBezTo>
                  <a:cubicBezTo>
                    <a:pt x="8017" y="55619"/>
                    <a:pt x="8465" y="55619"/>
                    <a:pt x="8914" y="55619"/>
                  </a:cubicBezTo>
                  <a:cubicBezTo>
                    <a:pt x="9810" y="55619"/>
                    <a:pt x="10258" y="55171"/>
                    <a:pt x="10706" y="54723"/>
                  </a:cubicBezTo>
                  <a:cubicBezTo>
                    <a:pt x="12051" y="52930"/>
                    <a:pt x="12947" y="50241"/>
                    <a:pt x="12947" y="48000"/>
                  </a:cubicBezTo>
                  <a:cubicBezTo>
                    <a:pt x="16084" y="49345"/>
                    <a:pt x="19222" y="49345"/>
                    <a:pt x="20118" y="49345"/>
                  </a:cubicBezTo>
                  <a:cubicBezTo>
                    <a:pt x="20118" y="49345"/>
                    <a:pt x="20118" y="49345"/>
                    <a:pt x="20118" y="49345"/>
                  </a:cubicBezTo>
                  <a:cubicBezTo>
                    <a:pt x="20566" y="49345"/>
                    <a:pt x="24151" y="49345"/>
                    <a:pt x="27737" y="48000"/>
                  </a:cubicBezTo>
                  <a:cubicBezTo>
                    <a:pt x="28185" y="55171"/>
                    <a:pt x="33563" y="60549"/>
                    <a:pt x="40734" y="60549"/>
                  </a:cubicBezTo>
                  <a:cubicBezTo>
                    <a:pt x="50594" y="60549"/>
                    <a:pt x="58661" y="68616"/>
                    <a:pt x="59109" y="79372"/>
                  </a:cubicBezTo>
                  <a:lnTo>
                    <a:pt x="59109" y="83406"/>
                  </a:lnTo>
                  <a:lnTo>
                    <a:pt x="59109" y="90576"/>
                  </a:lnTo>
                  <a:cubicBezTo>
                    <a:pt x="59109" y="91921"/>
                    <a:pt x="60005" y="92817"/>
                    <a:pt x="61350" y="92817"/>
                  </a:cubicBezTo>
                  <a:cubicBezTo>
                    <a:pt x="61350" y="92817"/>
                    <a:pt x="61350" y="92817"/>
                    <a:pt x="61350" y="92817"/>
                  </a:cubicBezTo>
                  <a:cubicBezTo>
                    <a:pt x="62694" y="92817"/>
                    <a:pt x="63590" y="91921"/>
                    <a:pt x="63590" y="90576"/>
                  </a:cubicBezTo>
                  <a:lnTo>
                    <a:pt x="63590" y="83406"/>
                  </a:lnTo>
                  <a:lnTo>
                    <a:pt x="64039" y="78027"/>
                  </a:lnTo>
                  <a:close/>
                  <a:moveTo>
                    <a:pt x="21014" y="43967"/>
                  </a:moveTo>
                  <a:cubicBezTo>
                    <a:pt x="21014" y="43967"/>
                    <a:pt x="21014" y="43967"/>
                    <a:pt x="21014" y="43967"/>
                  </a:cubicBezTo>
                  <a:cubicBezTo>
                    <a:pt x="21014" y="43967"/>
                    <a:pt x="14292" y="43967"/>
                    <a:pt x="10706" y="39933"/>
                  </a:cubicBezTo>
                  <a:cubicBezTo>
                    <a:pt x="7121" y="35900"/>
                    <a:pt x="6225" y="30073"/>
                    <a:pt x="5776" y="25592"/>
                  </a:cubicBezTo>
                  <a:lnTo>
                    <a:pt x="5328" y="23799"/>
                  </a:lnTo>
                  <a:cubicBezTo>
                    <a:pt x="4432" y="18869"/>
                    <a:pt x="5328" y="14836"/>
                    <a:pt x="5328" y="14836"/>
                  </a:cubicBezTo>
                  <a:cubicBezTo>
                    <a:pt x="7569" y="4528"/>
                    <a:pt x="18773" y="4079"/>
                    <a:pt x="21014" y="4079"/>
                  </a:cubicBezTo>
                  <a:cubicBezTo>
                    <a:pt x="21014" y="4079"/>
                    <a:pt x="21462" y="4079"/>
                    <a:pt x="21462" y="4079"/>
                  </a:cubicBezTo>
                  <a:cubicBezTo>
                    <a:pt x="21911" y="4079"/>
                    <a:pt x="34908" y="3631"/>
                    <a:pt x="37148" y="14836"/>
                  </a:cubicBezTo>
                  <a:cubicBezTo>
                    <a:pt x="37148" y="14836"/>
                    <a:pt x="38045" y="18869"/>
                    <a:pt x="37148" y="23799"/>
                  </a:cubicBezTo>
                  <a:lnTo>
                    <a:pt x="37148" y="24695"/>
                  </a:lnTo>
                  <a:cubicBezTo>
                    <a:pt x="36252" y="29177"/>
                    <a:pt x="35356" y="35451"/>
                    <a:pt x="31770" y="39485"/>
                  </a:cubicBezTo>
                  <a:cubicBezTo>
                    <a:pt x="27737" y="43967"/>
                    <a:pt x="21014" y="43967"/>
                    <a:pt x="21014" y="43967"/>
                  </a:cubicBezTo>
                  <a:close/>
                </a:path>
              </a:pathLst>
            </a:custGeom>
            <a:solidFill>
              <a:srgbClr val="231F20"/>
            </a:solidFill>
            <a:ln w="4477" cap="flat">
              <a:noFill/>
              <a:prstDash val="solid"/>
              <a:miter/>
            </a:ln>
          </p:spPr>
          <p:txBody>
            <a:bodyPr rtlCol="0" anchor="ctr"/>
            <a:lstStyle/>
            <a:p>
              <a:endParaRPr lang="en-US"/>
            </a:p>
          </p:txBody>
        </p:sp>
      </p:grpSp>
      <p:sp>
        <p:nvSpPr>
          <p:cNvPr id="2620" name="Freeform: Shape 2619">
            <a:extLst>
              <a:ext uri="{FF2B5EF4-FFF2-40B4-BE49-F238E27FC236}">
                <a16:creationId xmlns:a16="http://schemas.microsoft.com/office/drawing/2014/main" id="{DDE8201F-E4F7-497C-A021-893A52ED75B2}"/>
              </a:ext>
              <a:ext uri="{C183D7F6-B498-43B3-948B-1728B52AA6E4}">
                <adec:decorative xmlns:adec="http://schemas.microsoft.com/office/drawing/2017/decorative" val="1"/>
              </a:ext>
            </a:extLst>
          </p:cNvPr>
          <p:cNvSpPr>
            <a:spLocks noChangeAspect="1"/>
          </p:cNvSpPr>
          <p:nvPr/>
        </p:nvSpPr>
        <p:spPr>
          <a:xfrm>
            <a:off x="8283047" y="5562607"/>
            <a:ext cx="134451" cy="147896"/>
          </a:xfrm>
          <a:custGeom>
            <a:avLst/>
            <a:gdLst>
              <a:gd name="connsiteX0" fmla="*/ 134465 w 134451"/>
              <a:gd name="connsiteY0" fmla="*/ 82912 h 147896"/>
              <a:gd name="connsiteX1" fmla="*/ 134465 w 134451"/>
              <a:gd name="connsiteY1" fmla="*/ 18823 h 147896"/>
              <a:gd name="connsiteX2" fmla="*/ 126398 w 134451"/>
              <a:gd name="connsiteY2" fmla="*/ 10308 h 147896"/>
              <a:gd name="connsiteX3" fmla="*/ 68584 w 134451"/>
              <a:gd name="connsiteY3" fmla="*/ 0 h 147896"/>
              <a:gd name="connsiteX4" fmla="*/ 68136 w 134451"/>
              <a:gd name="connsiteY4" fmla="*/ 0 h 147896"/>
              <a:gd name="connsiteX5" fmla="*/ 67688 w 134451"/>
              <a:gd name="connsiteY5" fmla="*/ 0 h 147896"/>
              <a:gd name="connsiteX6" fmla="*/ 67240 w 134451"/>
              <a:gd name="connsiteY6" fmla="*/ 0 h 147896"/>
              <a:gd name="connsiteX7" fmla="*/ 66791 w 134451"/>
              <a:gd name="connsiteY7" fmla="*/ 0 h 147896"/>
              <a:gd name="connsiteX8" fmla="*/ 66343 w 134451"/>
              <a:gd name="connsiteY8" fmla="*/ 0 h 147896"/>
              <a:gd name="connsiteX9" fmla="*/ 65895 w 134451"/>
              <a:gd name="connsiteY9" fmla="*/ 0 h 147896"/>
              <a:gd name="connsiteX10" fmla="*/ 8081 w 134451"/>
              <a:gd name="connsiteY10" fmla="*/ 10308 h 147896"/>
              <a:gd name="connsiteX11" fmla="*/ 14 w 134451"/>
              <a:gd name="connsiteY11" fmla="*/ 18823 h 147896"/>
              <a:gd name="connsiteX12" fmla="*/ 14 w 134451"/>
              <a:gd name="connsiteY12" fmla="*/ 82463 h 147896"/>
              <a:gd name="connsiteX13" fmla="*/ 66343 w 134451"/>
              <a:gd name="connsiteY13" fmla="*/ 151930 h 147896"/>
              <a:gd name="connsiteX14" fmla="*/ 66791 w 134451"/>
              <a:gd name="connsiteY14" fmla="*/ 151930 h 147896"/>
              <a:gd name="connsiteX15" fmla="*/ 66791 w 134451"/>
              <a:gd name="connsiteY15" fmla="*/ 151930 h 147896"/>
              <a:gd name="connsiteX16" fmla="*/ 66791 w 134451"/>
              <a:gd name="connsiteY16" fmla="*/ 151930 h 147896"/>
              <a:gd name="connsiteX17" fmla="*/ 66791 w 134451"/>
              <a:gd name="connsiteY17" fmla="*/ 151930 h 147896"/>
              <a:gd name="connsiteX18" fmla="*/ 66791 w 134451"/>
              <a:gd name="connsiteY18" fmla="*/ 151930 h 147896"/>
              <a:gd name="connsiteX19" fmla="*/ 67240 w 134451"/>
              <a:gd name="connsiteY19" fmla="*/ 151930 h 147896"/>
              <a:gd name="connsiteX20" fmla="*/ 134465 w 134451"/>
              <a:gd name="connsiteY20" fmla="*/ 82912 h 147896"/>
              <a:gd name="connsiteX21" fmla="*/ 67240 w 134451"/>
              <a:gd name="connsiteY21" fmla="*/ 147896 h 147896"/>
              <a:gd name="connsiteX22" fmla="*/ 22423 w 134451"/>
              <a:gd name="connsiteY22" fmla="*/ 123695 h 147896"/>
              <a:gd name="connsiteX23" fmla="*/ 22423 w 134451"/>
              <a:gd name="connsiteY23" fmla="*/ 122799 h 147896"/>
              <a:gd name="connsiteX24" fmla="*/ 22423 w 134451"/>
              <a:gd name="connsiteY24" fmla="*/ 116973 h 147896"/>
              <a:gd name="connsiteX25" fmla="*/ 43935 w 134451"/>
              <a:gd name="connsiteY25" fmla="*/ 95012 h 147896"/>
              <a:gd name="connsiteX26" fmla="*/ 58724 w 134451"/>
              <a:gd name="connsiteY26" fmla="*/ 80223 h 147896"/>
              <a:gd name="connsiteX27" fmla="*/ 67688 w 134451"/>
              <a:gd name="connsiteY27" fmla="*/ 82015 h 147896"/>
              <a:gd name="connsiteX28" fmla="*/ 68136 w 134451"/>
              <a:gd name="connsiteY28" fmla="*/ 82015 h 147896"/>
              <a:gd name="connsiteX29" fmla="*/ 76651 w 134451"/>
              <a:gd name="connsiteY29" fmla="*/ 80223 h 147896"/>
              <a:gd name="connsiteX30" fmla="*/ 90993 w 134451"/>
              <a:gd name="connsiteY30" fmla="*/ 94564 h 147896"/>
              <a:gd name="connsiteX31" fmla="*/ 112505 w 134451"/>
              <a:gd name="connsiteY31" fmla="*/ 116524 h 147896"/>
              <a:gd name="connsiteX32" fmla="*/ 112505 w 134451"/>
              <a:gd name="connsiteY32" fmla="*/ 121006 h 147896"/>
              <a:gd name="connsiteX33" fmla="*/ 112505 w 134451"/>
              <a:gd name="connsiteY33" fmla="*/ 122799 h 147896"/>
              <a:gd name="connsiteX34" fmla="*/ 67240 w 134451"/>
              <a:gd name="connsiteY34" fmla="*/ 147896 h 147896"/>
              <a:gd name="connsiteX35" fmla="*/ 79788 w 134451"/>
              <a:gd name="connsiteY35" fmla="*/ 73052 h 147896"/>
              <a:gd name="connsiteX36" fmla="*/ 67688 w 134451"/>
              <a:gd name="connsiteY36" fmla="*/ 77982 h 147896"/>
              <a:gd name="connsiteX37" fmla="*/ 67688 w 134451"/>
              <a:gd name="connsiteY37" fmla="*/ 77982 h 147896"/>
              <a:gd name="connsiteX38" fmla="*/ 67688 w 134451"/>
              <a:gd name="connsiteY38" fmla="*/ 77982 h 147896"/>
              <a:gd name="connsiteX39" fmla="*/ 55587 w 134451"/>
              <a:gd name="connsiteY39" fmla="*/ 73052 h 147896"/>
              <a:gd name="connsiteX40" fmla="*/ 49313 w 134451"/>
              <a:gd name="connsiteY40" fmla="*/ 55573 h 147896"/>
              <a:gd name="connsiteX41" fmla="*/ 49313 w 134451"/>
              <a:gd name="connsiteY41" fmla="*/ 54677 h 147896"/>
              <a:gd name="connsiteX42" fmla="*/ 49313 w 134451"/>
              <a:gd name="connsiteY42" fmla="*/ 43921 h 147896"/>
              <a:gd name="connsiteX43" fmla="*/ 67688 w 134451"/>
              <a:gd name="connsiteY43" fmla="*/ 31372 h 147896"/>
              <a:gd name="connsiteX44" fmla="*/ 86511 w 134451"/>
              <a:gd name="connsiteY44" fmla="*/ 43921 h 147896"/>
              <a:gd name="connsiteX45" fmla="*/ 86511 w 134451"/>
              <a:gd name="connsiteY45" fmla="*/ 54677 h 147896"/>
              <a:gd name="connsiteX46" fmla="*/ 86063 w 134451"/>
              <a:gd name="connsiteY46" fmla="*/ 56470 h 147896"/>
              <a:gd name="connsiteX47" fmla="*/ 79788 w 134451"/>
              <a:gd name="connsiteY47" fmla="*/ 73052 h 147896"/>
              <a:gd name="connsiteX48" fmla="*/ 116538 w 134451"/>
              <a:gd name="connsiteY48" fmla="*/ 118317 h 147896"/>
              <a:gd name="connsiteX49" fmla="*/ 116538 w 134451"/>
              <a:gd name="connsiteY49" fmla="*/ 116524 h 147896"/>
              <a:gd name="connsiteX50" fmla="*/ 90544 w 134451"/>
              <a:gd name="connsiteY50" fmla="*/ 90082 h 147896"/>
              <a:gd name="connsiteX51" fmla="*/ 80236 w 134451"/>
              <a:gd name="connsiteY51" fmla="*/ 79326 h 147896"/>
              <a:gd name="connsiteX52" fmla="*/ 80236 w 134451"/>
              <a:gd name="connsiteY52" fmla="*/ 77534 h 147896"/>
              <a:gd name="connsiteX53" fmla="*/ 82477 w 134451"/>
              <a:gd name="connsiteY53" fmla="*/ 75293 h 147896"/>
              <a:gd name="connsiteX54" fmla="*/ 89200 w 134451"/>
              <a:gd name="connsiteY54" fmla="*/ 56470 h 147896"/>
              <a:gd name="connsiteX55" fmla="*/ 89648 w 134451"/>
              <a:gd name="connsiteY55" fmla="*/ 54677 h 147896"/>
              <a:gd name="connsiteX56" fmla="*/ 89648 w 134451"/>
              <a:gd name="connsiteY56" fmla="*/ 42576 h 147896"/>
              <a:gd name="connsiteX57" fmla="*/ 66791 w 134451"/>
              <a:gd name="connsiteY57" fmla="*/ 26442 h 147896"/>
              <a:gd name="connsiteX58" fmla="*/ 43935 w 134451"/>
              <a:gd name="connsiteY58" fmla="*/ 42576 h 147896"/>
              <a:gd name="connsiteX59" fmla="*/ 43935 w 134451"/>
              <a:gd name="connsiteY59" fmla="*/ 54677 h 147896"/>
              <a:gd name="connsiteX60" fmla="*/ 43935 w 134451"/>
              <a:gd name="connsiteY60" fmla="*/ 55573 h 147896"/>
              <a:gd name="connsiteX61" fmla="*/ 51554 w 134451"/>
              <a:gd name="connsiteY61" fmla="*/ 75293 h 147896"/>
              <a:gd name="connsiteX62" fmla="*/ 53346 w 134451"/>
              <a:gd name="connsiteY62" fmla="*/ 77085 h 147896"/>
              <a:gd name="connsiteX63" fmla="*/ 53794 w 134451"/>
              <a:gd name="connsiteY63" fmla="*/ 79326 h 147896"/>
              <a:gd name="connsiteX64" fmla="*/ 43487 w 134451"/>
              <a:gd name="connsiteY64" fmla="*/ 90082 h 147896"/>
              <a:gd name="connsiteX65" fmla="*/ 17493 w 134451"/>
              <a:gd name="connsiteY65" fmla="*/ 116524 h 147896"/>
              <a:gd name="connsiteX66" fmla="*/ 17493 w 134451"/>
              <a:gd name="connsiteY66" fmla="*/ 118317 h 147896"/>
              <a:gd name="connsiteX67" fmla="*/ 4496 w 134451"/>
              <a:gd name="connsiteY67" fmla="*/ 82463 h 147896"/>
              <a:gd name="connsiteX68" fmla="*/ 4496 w 134451"/>
              <a:gd name="connsiteY68" fmla="*/ 18823 h 147896"/>
              <a:gd name="connsiteX69" fmla="*/ 8081 w 134451"/>
              <a:gd name="connsiteY69" fmla="*/ 14790 h 147896"/>
              <a:gd name="connsiteX70" fmla="*/ 66791 w 134451"/>
              <a:gd name="connsiteY70" fmla="*/ 4482 h 147896"/>
              <a:gd name="connsiteX71" fmla="*/ 125502 w 134451"/>
              <a:gd name="connsiteY71" fmla="*/ 14790 h 147896"/>
              <a:gd name="connsiteX72" fmla="*/ 129087 w 134451"/>
              <a:gd name="connsiteY72" fmla="*/ 18823 h 147896"/>
              <a:gd name="connsiteX73" fmla="*/ 129087 w 134451"/>
              <a:gd name="connsiteY73" fmla="*/ 82912 h 147896"/>
              <a:gd name="connsiteX74" fmla="*/ 116538 w 134451"/>
              <a:gd name="connsiteY74" fmla="*/ 118317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34451" h="147896">
                <a:moveTo>
                  <a:pt x="134465" y="82912"/>
                </a:moveTo>
                <a:lnTo>
                  <a:pt x="134465" y="18823"/>
                </a:lnTo>
                <a:cubicBezTo>
                  <a:pt x="134465" y="14342"/>
                  <a:pt x="130880" y="10756"/>
                  <a:pt x="126398" y="10308"/>
                </a:cubicBezTo>
                <a:cubicBezTo>
                  <a:pt x="112953" y="9860"/>
                  <a:pt x="80685" y="7171"/>
                  <a:pt x="68584" y="0"/>
                </a:cubicBezTo>
                <a:cubicBezTo>
                  <a:pt x="68584" y="0"/>
                  <a:pt x="68584" y="0"/>
                  <a:pt x="68136" y="0"/>
                </a:cubicBezTo>
                <a:cubicBezTo>
                  <a:pt x="68136" y="0"/>
                  <a:pt x="67688" y="0"/>
                  <a:pt x="67688" y="0"/>
                </a:cubicBezTo>
                <a:cubicBezTo>
                  <a:pt x="67688" y="0"/>
                  <a:pt x="67240" y="0"/>
                  <a:pt x="67240" y="0"/>
                </a:cubicBezTo>
                <a:cubicBezTo>
                  <a:pt x="67240" y="0"/>
                  <a:pt x="66791" y="0"/>
                  <a:pt x="66791" y="0"/>
                </a:cubicBezTo>
                <a:cubicBezTo>
                  <a:pt x="66791" y="0"/>
                  <a:pt x="66343" y="0"/>
                  <a:pt x="66343" y="0"/>
                </a:cubicBezTo>
                <a:cubicBezTo>
                  <a:pt x="66343" y="0"/>
                  <a:pt x="66343" y="0"/>
                  <a:pt x="65895" y="0"/>
                </a:cubicBezTo>
                <a:cubicBezTo>
                  <a:pt x="53794" y="7619"/>
                  <a:pt x="21526" y="9860"/>
                  <a:pt x="8081" y="10308"/>
                </a:cubicBezTo>
                <a:cubicBezTo>
                  <a:pt x="3599" y="10308"/>
                  <a:pt x="14" y="14342"/>
                  <a:pt x="14" y="18823"/>
                </a:cubicBezTo>
                <a:lnTo>
                  <a:pt x="14" y="82463"/>
                </a:lnTo>
                <a:cubicBezTo>
                  <a:pt x="14" y="82912"/>
                  <a:pt x="-2675" y="133555"/>
                  <a:pt x="66343" y="151930"/>
                </a:cubicBezTo>
                <a:cubicBezTo>
                  <a:pt x="66343" y="151930"/>
                  <a:pt x="66791" y="151930"/>
                  <a:pt x="66791" y="151930"/>
                </a:cubicBezTo>
                <a:lnTo>
                  <a:pt x="66791" y="151930"/>
                </a:lnTo>
                <a:cubicBezTo>
                  <a:pt x="66791" y="151930"/>
                  <a:pt x="66791" y="151930"/>
                  <a:pt x="66791" y="151930"/>
                </a:cubicBezTo>
                <a:lnTo>
                  <a:pt x="66791" y="151930"/>
                </a:lnTo>
                <a:cubicBezTo>
                  <a:pt x="66791" y="151930"/>
                  <a:pt x="66791" y="151930"/>
                  <a:pt x="66791" y="151930"/>
                </a:cubicBezTo>
                <a:cubicBezTo>
                  <a:pt x="66791" y="151930"/>
                  <a:pt x="67240" y="151930"/>
                  <a:pt x="67240" y="151930"/>
                </a:cubicBezTo>
                <a:cubicBezTo>
                  <a:pt x="137602" y="133107"/>
                  <a:pt x="134465" y="83360"/>
                  <a:pt x="134465" y="82912"/>
                </a:cubicBezTo>
                <a:close/>
                <a:moveTo>
                  <a:pt x="67240" y="147896"/>
                </a:moveTo>
                <a:cubicBezTo>
                  <a:pt x="45727" y="142070"/>
                  <a:pt x="31834" y="133107"/>
                  <a:pt x="22423" y="123695"/>
                </a:cubicBezTo>
                <a:lnTo>
                  <a:pt x="22423" y="122799"/>
                </a:lnTo>
                <a:cubicBezTo>
                  <a:pt x="22423" y="121006"/>
                  <a:pt x="22423" y="117421"/>
                  <a:pt x="22423" y="116973"/>
                </a:cubicBezTo>
                <a:cubicBezTo>
                  <a:pt x="22871" y="104872"/>
                  <a:pt x="32282" y="95012"/>
                  <a:pt x="43935" y="95012"/>
                </a:cubicBezTo>
                <a:cubicBezTo>
                  <a:pt x="52002" y="95012"/>
                  <a:pt x="58276" y="88290"/>
                  <a:pt x="58724" y="80223"/>
                </a:cubicBezTo>
                <a:cubicBezTo>
                  <a:pt x="63206" y="82015"/>
                  <a:pt x="67240" y="82015"/>
                  <a:pt x="67688" y="82015"/>
                </a:cubicBezTo>
                <a:cubicBezTo>
                  <a:pt x="67688" y="82015"/>
                  <a:pt x="67688" y="82015"/>
                  <a:pt x="68136" y="82015"/>
                </a:cubicBezTo>
                <a:cubicBezTo>
                  <a:pt x="69032" y="82015"/>
                  <a:pt x="72618" y="82015"/>
                  <a:pt x="76651" y="80223"/>
                </a:cubicBezTo>
                <a:cubicBezTo>
                  <a:pt x="77099" y="88290"/>
                  <a:pt x="83374" y="94564"/>
                  <a:pt x="90993" y="94564"/>
                </a:cubicBezTo>
                <a:cubicBezTo>
                  <a:pt x="102645" y="94564"/>
                  <a:pt x="112057" y="104424"/>
                  <a:pt x="112505" y="116524"/>
                </a:cubicBezTo>
                <a:cubicBezTo>
                  <a:pt x="112505" y="116973"/>
                  <a:pt x="112505" y="119213"/>
                  <a:pt x="112505" y="121006"/>
                </a:cubicBezTo>
                <a:lnTo>
                  <a:pt x="112505" y="122799"/>
                </a:lnTo>
                <a:cubicBezTo>
                  <a:pt x="102645" y="132659"/>
                  <a:pt x="88752" y="141622"/>
                  <a:pt x="67240" y="147896"/>
                </a:cubicBezTo>
                <a:close/>
                <a:moveTo>
                  <a:pt x="79788" y="73052"/>
                </a:moveTo>
                <a:cubicBezTo>
                  <a:pt x="75755" y="77534"/>
                  <a:pt x="69032" y="77982"/>
                  <a:pt x="67688" y="77982"/>
                </a:cubicBezTo>
                <a:cubicBezTo>
                  <a:pt x="67240" y="77982"/>
                  <a:pt x="67688" y="77982"/>
                  <a:pt x="67688" y="77982"/>
                </a:cubicBezTo>
                <a:cubicBezTo>
                  <a:pt x="67688" y="77982"/>
                  <a:pt x="67688" y="77982"/>
                  <a:pt x="67688" y="77982"/>
                </a:cubicBezTo>
                <a:cubicBezTo>
                  <a:pt x="67688" y="77982"/>
                  <a:pt x="59621" y="77982"/>
                  <a:pt x="55587" y="73052"/>
                </a:cubicBezTo>
                <a:cubicBezTo>
                  <a:pt x="51105" y="68122"/>
                  <a:pt x="50209" y="60951"/>
                  <a:pt x="49313" y="55573"/>
                </a:cubicBezTo>
                <a:lnTo>
                  <a:pt x="49313" y="54677"/>
                </a:lnTo>
                <a:cubicBezTo>
                  <a:pt x="48416" y="48851"/>
                  <a:pt x="49313" y="43921"/>
                  <a:pt x="49313" y="43921"/>
                </a:cubicBezTo>
                <a:cubicBezTo>
                  <a:pt x="52002" y="30924"/>
                  <a:pt x="66791" y="31372"/>
                  <a:pt x="67688" y="31372"/>
                </a:cubicBezTo>
                <a:cubicBezTo>
                  <a:pt x="68136" y="31372"/>
                  <a:pt x="83374" y="30924"/>
                  <a:pt x="86511" y="43921"/>
                </a:cubicBezTo>
                <a:cubicBezTo>
                  <a:pt x="86511" y="43921"/>
                  <a:pt x="87407" y="48851"/>
                  <a:pt x="86511" y="54677"/>
                </a:cubicBezTo>
                <a:lnTo>
                  <a:pt x="86063" y="56470"/>
                </a:lnTo>
                <a:cubicBezTo>
                  <a:pt x="84718" y="61848"/>
                  <a:pt x="83822" y="68570"/>
                  <a:pt x="79788" y="73052"/>
                </a:cubicBezTo>
                <a:close/>
                <a:moveTo>
                  <a:pt x="116538" y="118317"/>
                </a:moveTo>
                <a:cubicBezTo>
                  <a:pt x="116538" y="117421"/>
                  <a:pt x="116538" y="116524"/>
                  <a:pt x="116538" y="116524"/>
                </a:cubicBezTo>
                <a:cubicBezTo>
                  <a:pt x="116090" y="102183"/>
                  <a:pt x="104438" y="90082"/>
                  <a:pt x="90544" y="90082"/>
                </a:cubicBezTo>
                <a:cubicBezTo>
                  <a:pt x="85166" y="90082"/>
                  <a:pt x="80236" y="85152"/>
                  <a:pt x="80236" y="79326"/>
                </a:cubicBezTo>
                <a:cubicBezTo>
                  <a:pt x="80236" y="78878"/>
                  <a:pt x="80236" y="78430"/>
                  <a:pt x="80236" y="77534"/>
                </a:cubicBezTo>
                <a:cubicBezTo>
                  <a:pt x="81133" y="77085"/>
                  <a:pt x="82029" y="76189"/>
                  <a:pt x="82477" y="75293"/>
                </a:cubicBezTo>
                <a:cubicBezTo>
                  <a:pt x="87407" y="69466"/>
                  <a:pt x="88752" y="61848"/>
                  <a:pt x="89200" y="56470"/>
                </a:cubicBezTo>
                <a:lnTo>
                  <a:pt x="89648" y="54677"/>
                </a:lnTo>
                <a:cubicBezTo>
                  <a:pt x="90544" y="47954"/>
                  <a:pt x="89648" y="42576"/>
                  <a:pt x="89648" y="42576"/>
                </a:cubicBezTo>
                <a:cubicBezTo>
                  <a:pt x="86959" y="29131"/>
                  <a:pt x="73066" y="25994"/>
                  <a:pt x="66791" y="26442"/>
                </a:cubicBezTo>
                <a:cubicBezTo>
                  <a:pt x="60069" y="26442"/>
                  <a:pt x="46624" y="29131"/>
                  <a:pt x="43935" y="42576"/>
                </a:cubicBezTo>
                <a:cubicBezTo>
                  <a:pt x="43935" y="43025"/>
                  <a:pt x="43038" y="48403"/>
                  <a:pt x="43935" y="54677"/>
                </a:cubicBezTo>
                <a:lnTo>
                  <a:pt x="43935" y="55573"/>
                </a:lnTo>
                <a:cubicBezTo>
                  <a:pt x="44831" y="61399"/>
                  <a:pt x="46176" y="69466"/>
                  <a:pt x="51554" y="75293"/>
                </a:cubicBezTo>
                <a:cubicBezTo>
                  <a:pt x="52002" y="75741"/>
                  <a:pt x="52898" y="76637"/>
                  <a:pt x="53346" y="77085"/>
                </a:cubicBezTo>
                <a:cubicBezTo>
                  <a:pt x="53346" y="77982"/>
                  <a:pt x="53794" y="78430"/>
                  <a:pt x="53794" y="79326"/>
                </a:cubicBezTo>
                <a:cubicBezTo>
                  <a:pt x="53794" y="85152"/>
                  <a:pt x="49313" y="90082"/>
                  <a:pt x="43487" y="90082"/>
                </a:cubicBezTo>
                <a:cubicBezTo>
                  <a:pt x="29593" y="90082"/>
                  <a:pt x="17941" y="101735"/>
                  <a:pt x="17493" y="116524"/>
                </a:cubicBezTo>
                <a:cubicBezTo>
                  <a:pt x="17493" y="116524"/>
                  <a:pt x="17493" y="117421"/>
                  <a:pt x="17493" y="118317"/>
                </a:cubicBezTo>
                <a:cubicBezTo>
                  <a:pt x="3599" y="100838"/>
                  <a:pt x="4048" y="83808"/>
                  <a:pt x="4496" y="82463"/>
                </a:cubicBezTo>
                <a:lnTo>
                  <a:pt x="4496" y="18823"/>
                </a:lnTo>
                <a:cubicBezTo>
                  <a:pt x="4496" y="16582"/>
                  <a:pt x="6288" y="14790"/>
                  <a:pt x="8081" y="14790"/>
                </a:cubicBezTo>
                <a:cubicBezTo>
                  <a:pt x="21526" y="14342"/>
                  <a:pt x="53346" y="11653"/>
                  <a:pt x="66791" y="4482"/>
                </a:cubicBezTo>
                <a:cubicBezTo>
                  <a:pt x="80236" y="12101"/>
                  <a:pt x="112057" y="14342"/>
                  <a:pt x="125502" y="14790"/>
                </a:cubicBezTo>
                <a:cubicBezTo>
                  <a:pt x="127743" y="14790"/>
                  <a:pt x="129087" y="16582"/>
                  <a:pt x="129087" y="18823"/>
                </a:cubicBezTo>
                <a:lnTo>
                  <a:pt x="129087" y="82912"/>
                </a:lnTo>
                <a:cubicBezTo>
                  <a:pt x="129983" y="83360"/>
                  <a:pt x="130880" y="100838"/>
                  <a:pt x="116538" y="118317"/>
                </a:cubicBezTo>
                <a:close/>
              </a:path>
            </a:pathLst>
          </a:custGeom>
          <a:solidFill>
            <a:srgbClr val="231F20"/>
          </a:solidFill>
          <a:ln w="4477" cap="flat">
            <a:noFill/>
            <a:prstDash val="solid"/>
            <a:miter/>
          </a:ln>
        </p:spPr>
        <p:txBody>
          <a:bodyPr rtlCol="0" anchor="ctr"/>
          <a:lstStyle/>
          <a:p>
            <a:endParaRPr lang="en-US"/>
          </a:p>
        </p:txBody>
      </p:sp>
      <p:grpSp>
        <p:nvGrpSpPr>
          <p:cNvPr id="2621" name="Group 2620">
            <a:extLst>
              <a:ext uri="{FF2B5EF4-FFF2-40B4-BE49-F238E27FC236}">
                <a16:creationId xmlns:a16="http://schemas.microsoft.com/office/drawing/2014/main" id="{F32086C5-BB3C-46EC-B1AC-43256256E523}"/>
              </a:ext>
              <a:ext uri="{C183D7F6-B498-43B3-948B-1728B52AA6E4}">
                <adec:decorative xmlns:adec="http://schemas.microsoft.com/office/drawing/2017/decorative" val="1"/>
              </a:ext>
            </a:extLst>
          </p:cNvPr>
          <p:cNvGrpSpPr>
            <a:grpSpLocks noChangeAspect="1"/>
          </p:cNvGrpSpPr>
          <p:nvPr/>
        </p:nvGrpSpPr>
        <p:grpSpPr>
          <a:xfrm>
            <a:off x="8535381" y="5562603"/>
            <a:ext cx="151930" cy="152378"/>
            <a:chOff x="8591881" y="3506912"/>
            <a:chExt cx="151930" cy="152378"/>
          </a:xfrm>
        </p:grpSpPr>
        <p:sp>
          <p:nvSpPr>
            <p:cNvPr id="2663" name="Freeform: Shape 2662">
              <a:extLst>
                <a:ext uri="{FF2B5EF4-FFF2-40B4-BE49-F238E27FC236}">
                  <a16:creationId xmlns:a16="http://schemas.microsoft.com/office/drawing/2014/main" id="{DE86B92D-4273-43C7-A4DB-AE6FA324D9FD}"/>
                </a:ext>
              </a:extLst>
            </p:cNvPr>
            <p:cNvSpPr/>
            <p:nvPr/>
          </p:nvSpPr>
          <p:spPr>
            <a:xfrm>
              <a:off x="8672104" y="3586131"/>
              <a:ext cx="71707" cy="71707"/>
            </a:xfrm>
            <a:custGeom>
              <a:avLst/>
              <a:gdLst>
                <a:gd name="connsiteX0" fmla="*/ 71707 w 71707"/>
                <a:gd name="connsiteY0" fmla="*/ 13557 h 71707"/>
                <a:gd name="connsiteX1" fmla="*/ 69466 w 71707"/>
                <a:gd name="connsiteY1" fmla="*/ 7731 h 71707"/>
                <a:gd name="connsiteX2" fmla="*/ 64088 w 71707"/>
                <a:gd name="connsiteY2" fmla="*/ 2353 h 71707"/>
                <a:gd name="connsiteX3" fmla="*/ 52884 w 71707"/>
                <a:gd name="connsiteY3" fmla="*/ 2353 h 71707"/>
                <a:gd name="connsiteX4" fmla="*/ 4482 w 71707"/>
                <a:gd name="connsiteY4" fmla="*/ 50755 h 71707"/>
                <a:gd name="connsiteX5" fmla="*/ 4482 w 71707"/>
                <a:gd name="connsiteY5" fmla="*/ 50755 h 71707"/>
                <a:gd name="connsiteX6" fmla="*/ 4034 w 71707"/>
                <a:gd name="connsiteY6" fmla="*/ 51204 h 71707"/>
                <a:gd name="connsiteX7" fmla="*/ 4034 w 71707"/>
                <a:gd name="connsiteY7" fmla="*/ 51652 h 71707"/>
                <a:gd name="connsiteX8" fmla="*/ 4034 w 71707"/>
                <a:gd name="connsiteY8" fmla="*/ 51652 h 71707"/>
                <a:gd name="connsiteX9" fmla="*/ 0 w 71707"/>
                <a:gd name="connsiteY9" fmla="*/ 69130 h 71707"/>
                <a:gd name="connsiteX10" fmla="*/ 448 w 71707"/>
                <a:gd name="connsiteY10" fmla="*/ 71371 h 71707"/>
                <a:gd name="connsiteX11" fmla="*/ 2241 w 71707"/>
                <a:gd name="connsiteY11" fmla="*/ 71819 h 71707"/>
                <a:gd name="connsiteX12" fmla="*/ 2689 w 71707"/>
                <a:gd name="connsiteY12" fmla="*/ 71819 h 71707"/>
                <a:gd name="connsiteX13" fmla="*/ 20168 w 71707"/>
                <a:gd name="connsiteY13" fmla="*/ 67786 h 71707"/>
                <a:gd name="connsiteX14" fmla="*/ 20168 w 71707"/>
                <a:gd name="connsiteY14" fmla="*/ 67786 h 71707"/>
                <a:gd name="connsiteX15" fmla="*/ 20616 w 71707"/>
                <a:gd name="connsiteY15" fmla="*/ 67786 h 71707"/>
                <a:gd name="connsiteX16" fmla="*/ 21064 w 71707"/>
                <a:gd name="connsiteY16" fmla="*/ 67338 h 71707"/>
                <a:gd name="connsiteX17" fmla="*/ 21064 w 71707"/>
                <a:gd name="connsiteY17" fmla="*/ 67338 h 71707"/>
                <a:gd name="connsiteX18" fmla="*/ 62744 w 71707"/>
                <a:gd name="connsiteY18" fmla="*/ 25658 h 71707"/>
                <a:gd name="connsiteX19" fmla="*/ 62744 w 71707"/>
                <a:gd name="connsiteY19" fmla="*/ 25658 h 71707"/>
                <a:gd name="connsiteX20" fmla="*/ 62744 w 71707"/>
                <a:gd name="connsiteY20" fmla="*/ 25658 h 71707"/>
                <a:gd name="connsiteX21" fmla="*/ 69466 w 71707"/>
                <a:gd name="connsiteY21" fmla="*/ 18935 h 71707"/>
                <a:gd name="connsiteX22" fmla="*/ 71707 w 71707"/>
                <a:gd name="connsiteY22" fmla="*/ 13557 h 71707"/>
                <a:gd name="connsiteX23" fmla="*/ 47506 w 71707"/>
                <a:gd name="connsiteY23" fmla="*/ 14006 h 71707"/>
                <a:gd name="connsiteX24" fmla="*/ 57814 w 71707"/>
                <a:gd name="connsiteY24" fmla="*/ 24313 h 71707"/>
                <a:gd name="connsiteX25" fmla="*/ 19271 w 71707"/>
                <a:gd name="connsiteY25" fmla="*/ 62856 h 71707"/>
                <a:gd name="connsiteX26" fmla="*/ 8963 w 71707"/>
                <a:gd name="connsiteY26" fmla="*/ 52548 h 71707"/>
                <a:gd name="connsiteX27" fmla="*/ 47506 w 71707"/>
                <a:gd name="connsiteY27" fmla="*/ 14006 h 71707"/>
                <a:gd name="connsiteX28" fmla="*/ 7171 w 71707"/>
                <a:gd name="connsiteY28" fmla="*/ 57030 h 71707"/>
                <a:gd name="connsiteX29" fmla="*/ 15238 w 71707"/>
                <a:gd name="connsiteY29" fmla="*/ 64649 h 71707"/>
                <a:gd name="connsiteX30" fmla="*/ 4930 w 71707"/>
                <a:gd name="connsiteY30" fmla="*/ 66890 h 71707"/>
                <a:gd name="connsiteX31" fmla="*/ 7171 w 71707"/>
                <a:gd name="connsiteY31" fmla="*/ 57030 h 71707"/>
                <a:gd name="connsiteX32" fmla="*/ 66329 w 71707"/>
                <a:gd name="connsiteY32" fmla="*/ 16246 h 71707"/>
                <a:gd name="connsiteX33" fmla="*/ 61399 w 71707"/>
                <a:gd name="connsiteY33" fmla="*/ 21176 h 71707"/>
                <a:gd name="connsiteX34" fmla="*/ 51091 w 71707"/>
                <a:gd name="connsiteY34" fmla="*/ 10868 h 71707"/>
                <a:gd name="connsiteX35" fmla="*/ 56021 w 71707"/>
                <a:gd name="connsiteY35" fmla="*/ 5938 h 71707"/>
                <a:gd name="connsiteX36" fmla="*/ 60951 w 71707"/>
                <a:gd name="connsiteY36" fmla="*/ 5938 h 71707"/>
                <a:gd name="connsiteX37" fmla="*/ 66329 w 71707"/>
                <a:gd name="connsiteY37" fmla="*/ 11316 h 71707"/>
                <a:gd name="connsiteX38" fmla="*/ 67226 w 71707"/>
                <a:gd name="connsiteY38" fmla="*/ 14006 h 71707"/>
                <a:gd name="connsiteX39" fmla="*/ 66329 w 71707"/>
                <a:gd name="connsiteY39" fmla="*/ 1624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1707" h="71707">
                  <a:moveTo>
                    <a:pt x="71707" y="13557"/>
                  </a:moveTo>
                  <a:cubicBezTo>
                    <a:pt x="71707" y="11316"/>
                    <a:pt x="70811" y="9524"/>
                    <a:pt x="69466" y="7731"/>
                  </a:cubicBezTo>
                  <a:lnTo>
                    <a:pt x="64088" y="2353"/>
                  </a:lnTo>
                  <a:cubicBezTo>
                    <a:pt x="60951" y="-784"/>
                    <a:pt x="56021" y="-784"/>
                    <a:pt x="52884" y="2353"/>
                  </a:cubicBezTo>
                  <a:lnTo>
                    <a:pt x="4482" y="50755"/>
                  </a:lnTo>
                  <a:cubicBezTo>
                    <a:pt x="4482" y="50755"/>
                    <a:pt x="4482" y="50755"/>
                    <a:pt x="4482" y="50755"/>
                  </a:cubicBezTo>
                  <a:cubicBezTo>
                    <a:pt x="4482" y="50755"/>
                    <a:pt x="4482" y="51204"/>
                    <a:pt x="4034" y="51204"/>
                  </a:cubicBezTo>
                  <a:cubicBezTo>
                    <a:pt x="4034" y="51204"/>
                    <a:pt x="4034" y="51652"/>
                    <a:pt x="4034" y="51652"/>
                  </a:cubicBezTo>
                  <a:cubicBezTo>
                    <a:pt x="4034" y="51652"/>
                    <a:pt x="4034" y="51652"/>
                    <a:pt x="4034" y="51652"/>
                  </a:cubicBezTo>
                  <a:lnTo>
                    <a:pt x="0" y="69130"/>
                  </a:lnTo>
                  <a:cubicBezTo>
                    <a:pt x="0" y="70027"/>
                    <a:pt x="0" y="70475"/>
                    <a:pt x="448" y="71371"/>
                  </a:cubicBezTo>
                  <a:cubicBezTo>
                    <a:pt x="896" y="71819"/>
                    <a:pt x="1344" y="71819"/>
                    <a:pt x="2241" y="71819"/>
                  </a:cubicBezTo>
                  <a:cubicBezTo>
                    <a:pt x="2241" y="71819"/>
                    <a:pt x="2689" y="71819"/>
                    <a:pt x="2689" y="71819"/>
                  </a:cubicBezTo>
                  <a:lnTo>
                    <a:pt x="20168" y="67786"/>
                  </a:lnTo>
                  <a:cubicBezTo>
                    <a:pt x="20168" y="67786"/>
                    <a:pt x="20168" y="67786"/>
                    <a:pt x="20168" y="67786"/>
                  </a:cubicBezTo>
                  <a:cubicBezTo>
                    <a:pt x="20168" y="67786"/>
                    <a:pt x="20616" y="67786"/>
                    <a:pt x="20616" y="67786"/>
                  </a:cubicBezTo>
                  <a:cubicBezTo>
                    <a:pt x="20616" y="67786"/>
                    <a:pt x="21064" y="67786"/>
                    <a:pt x="21064" y="67338"/>
                  </a:cubicBezTo>
                  <a:cubicBezTo>
                    <a:pt x="21064" y="67338"/>
                    <a:pt x="21064" y="67338"/>
                    <a:pt x="21064" y="67338"/>
                  </a:cubicBezTo>
                  <a:lnTo>
                    <a:pt x="62744" y="25658"/>
                  </a:lnTo>
                  <a:cubicBezTo>
                    <a:pt x="62744" y="25658"/>
                    <a:pt x="62744" y="25658"/>
                    <a:pt x="62744" y="25658"/>
                  </a:cubicBezTo>
                  <a:cubicBezTo>
                    <a:pt x="62744" y="25658"/>
                    <a:pt x="62744" y="25658"/>
                    <a:pt x="62744" y="25658"/>
                  </a:cubicBezTo>
                  <a:lnTo>
                    <a:pt x="69466" y="18935"/>
                  </a:lnTo>
                  <a:cubicBezTo>
                    <a:pt x="70811" y="18039"/>
                    <a:pt x="71707" y="15798"/>
                    <a:pt x="71707" y="13557"/>
                  </a:cubicBezTo>
                  <a:close/>
                  <a:moveTo>
                    <a:pt x="47506" y="14006"/>
                  </a:moveTo>
                  <a:lnTo>
                    <a:pt x="57814" y="24313"/>
                  </a:lnTo>
                  <a:lnTo>
                    <a:pt x="19271" y="62856"/>
                  </a:lnTo>
                  <a:lnTo>
                    <a:pt x="8963" y="52548"/>
                  </a:lnTo>
                  <a:lnTo>
                    <a:pt x="47506" y="14006"/>
                  </a:lnTo>
                  <a:close/>
                  <a:moveTo>
                    <a:pt x="7171" y="57030"/>
                  </a:moveTo>
                  <a:lnTo>
                    <a:pt x="15238" y="64649"/>
                  </a:lnTo>
                  <a:lnTo>
                    <a:pt x="4930" y="66890"/>
                  </a:lnTo>
                  <a:lnTo>
                    <a:pt x="7171" y="57030"/>
                  </a:lnTo>
                  <a:close/>
                  <a:moveTo>
                    <a:pt x="66329" y="16246"/>
                  </a:moveTo>
                  <a:lnTo>
                    <a:pt x="61399" y="21176"/>
                  </a:lnTo>
                  <a:lnTo>
                    <a:pt x="51091" y="10868"/>
                  </a:lnTo>
                  <a:lnTo>
                    <a:pt x="56021" y="5938"/>
                  </a:lnTo>
                  <a:cubicBezTo>
                    <a:pt x="57366" y="4594"/>
                    <a:pt x="59607" y="4594"/>
                    <a:pt x="60951" y="5938"/>
                  </a:cubicBezTo>
                  <a:lnTo>
                    <a:pt x="66329" y="11316"/>
                  </a:lnTo>
                  <a:cubicBezTo>
                    <a:pt x="67226" y="12213"/>
                    <a:pt x="67226" y="13109"/>
                    <a:pt x="67226" y="14006"/>
                  </a:cubicBezTo>
                  <a:cubicBezTo>
                    <a:pt x="67226" y="14902"/>
                    <a:pt x="66777" y="15798"/>
                    <a:pt x="66329" y="16246"/>
                  </a:cubicBezTo>
                  <a:close/>
                </a:path>
              </a:pathLst>
            </a:custGeom>
            <a:solidFill>
              <a:srgbClr val="231F20"/>
            </a:solidFill>
            <a:ln w="4477" cap="flat">
              <a:noFill/>
              <a:prstDash val="solid"/>
              <a:miter/>
            </a:ln>
          </p:spPr>
          <p:txBody>
            <a:bodyPr rtlCol="0" anchor="ctr"/>
            <a:lstStyle/>
            <a:p>
              <a:endParaRPr lang="en-US"/>
            </a:p>
          </p:txBody>
        </p:sp>
        <p:sp>
          <p:nvSpPr>
            <p:cNvPr id="2664" name="Freeform: Shape 2663">
              <a:extLst>
                <a:ext uri="{FF2B5EF4-FFF2-40B4-BE49-F238E27FC236}">
                  <a16:creationId xmlns:a16="http://schemas.microsoft.com/office/drawing/2014/main" id="{DDA069D9-B8EE-42F4-9AF3-DAB02908D2DB}"/>
                </a:ext>
              </a:extLst>
            </p:cNvPr>
            <p:cNvSpPr/>
            <p:nvPr/>
          </p:nvSpPr>
          <p:spPr>
            <a:xfrm>
              <a:off x="8591881" y="3506912"/>
              <a:ext cx="103079" cy="152378"/>
            </a:xfrm>
            <a:custGeom>
              <a:avLst/>
              <a:gdLst>
                <a:gd name="connsiteX0" fmla="*/ 84704 w 103079"/>
                <a:gd name="connsiteY0" fmla="*/ 77090 h 152377"/>
                <a:gd name="connsiteX1" fmla="*/ 96805 w 103079"/>
                <a:gd name="connsiteY1" fmla="*/ 96361 h 152377"/>
                <a:gd name="connsiteX2" fmla="*/ 97701 w 103079"/>
                <a:gd name="connsiteY2" fmla="*/ 96361 h 152377"/>
                <a:gd name="connsiteX3" fmla="*/ 99942 w 103079"/>
                <a:gd name="connsiteY3" fmla="*/ 95017 h 152377"/>
                <a:gd name="connsiteX4" fmla="*/ 99046 w 103079"/>
                <a:gd name="connsiteY4" fmla="*/ 91879 h 152377"/>
                <a:gd name="connsiteX5" fmla="*/ 89634 w 103079"/>
                <a:gd name="connsiteY5" fmla="*/ 76642 h 152377"/>
                <a:gd name="connsiteX6" fmla="*/ 90082 w 103079"/>
                <a:gd name="connsiteY6" fmla="*/ 73504 h 152377"/>
                <a:gd name="connsiteX7" fmla="*/ 93668 w 103079"/>
                <a:gd name="connsiteY7" fmla="*/ 70367 h 152377"/>
                <a:gd name="connsiteX8" fmla="*/ 103527 w 103079"/>
                <a:gd name="connsiteY8" fmla="*/ 43029 h 152377"/>
                <a:gd name="connsiteX9" fmla="*/ 103976 w 103079"/>
                <a:gd name="connsiteY9" fmla="*/ 40340 h 152377"/>
                <a:gd name="connsiteX10" fmla="*/ 103976 w 103079"/>
                <a:gd name="connsiteY10" fmla="*/ 22861 h 152377"/>
                <a:gd name="connsiteX11" fmla="*/ 71259 w 103079"/>
                <a:gd name="connsiteY11" fmla="*/ 4 h 152377"/>
                <a:gd name="connsiteX12" fmla="*/ 38991 w 103079"/>
                <a:gd name="connsiteY12" fmla="*/ 22861 h 152377"/>
                <a:gd name="connsiteX13" fmla="*/ 38991 w 103079"/>
                <a:gd name="connsiteY13" fmla="*/ 40340 h 152377"/>
                <a:gd name="connsiteX14" fmla="*/ 38991 w 103079"/>
                <a:gd name="connsiteY14" fmla="*/ 41684 h 152377"/>
                <a:gd name="connsiteX15" fmla="*/ 49747 w 103079"/>
                <a:gd name="connsiteY15" fmla="*/ 69919 h 152377"/>
                <a:gd name="connsiteX16" fmla="*/ 52436 w 103079"/>
                <a:gd name="connsiteY16" fmla="*/ 72608 h 152377"/>
                <a:gd name="connsiteX17" fmla="*/ 52884 w 103079"/>
                <a:gd name="connsiteY17" fmla="*/ 76642 h 152377"/>
                <a:gd name="connsiteX18" fmla="*/ 36750 w 103079"/>
                <a:gd name="connsiteY18" fmla="*/ 93672 h 152377"/>
                <a:gd name="connsiteX19" fmla="*/ 0 w 103079"/>
                <a:gd name="connsiteY19" fmla="*/ 131319 h 152377"/>
                <a:gd name="connsiteX20" fmla="*/ 0 w 103079"/>
                <a:gd name="connsiteY20" fmla="*/ 150141 h 152377"/>
                <a:gd name="connsiteX21" fmla="*/ 2241 w 103079"/>
                <a:gd name="connsiteY21" fmla="*/ 152382 h 152377"/>
                <a:gd name="connsiteX22" fmla="*/ 4482 w 103079"/>
                <a:gd name="connsiteY22" fmla="*/ 150141 h 152377"/>
                <a:gd name="connsiteX23" fmla="*/ 4482 w 103079"/>
                <a:gd name="connsiteY23" fmla="*/ 131319 h 152377"/>
                <a:gd name="connsiteX24" fmla="*/ 36750 w 103079"/>
                <a:gd name="connsiteY24" fmla="*/ 98154 h 152377"/>
                <a:gd name="connsiteX25" fmla="*/ 57366 w 103079"/>
                <a:gd name="connsiteY25" fmla="*/ 76642 h 152377"/>
                <a:gd name="connsiteX26" fmla="*/ 57366 w 103079"/>
                <a:gd name="connsiteY26" fmla="*/ 75745 h 152377"/>
                <a:gd name="connsiteX27" fmla="*/ 71707 w 103079"/>
                <a:gd name="connsiteY27" fmla="*/ 79331 h 152377"/>
                <a:gd name="connsiteX28" fmla="*/ 72155 w 103079"/>
                <a:gd name="connsiteY28" fmla="*/ 79331 h 152377"/>
                <a:gd name="connsiteX29" fmla="*/ 84704 w 103079"/>
                <a:gd name="connsiteY29" fmla="*/ 77090 h 152377"/>
                <a:gd name="connsiteX30" fmla="*/ 84704 w 103079"/>
                <a:gd name="connsiteY30" fmla="*/ 77090 h 152377"/>
                <a:gd name="connsiteX31" fmla="*/ 71259 w 103079"/>
                <a:gd name="connsiteY31" fmla="*/ 75297 h 152377"/>
                <a:gd name="connsiteX32" fmla="*/ 71259 w 103079"/>
                <a:gd name="connsiteY32" fmla="*/ 75297 h 152377"/>
                <a:gd name="connsiteX33" fmla="*/ 71259 w 103079"/>
                <a:gd name="connsiteY33" fmla="*/ 75297 h 152377"/>
                <a:gd name="connsiteX34" fmla="*/ 52436 w 103079"/>
                <a:gd name="connsiteY34" fmla="*/ 67678 h 152377"/>
                <a:gd name="connsiteX35" fmla="*/ 43024 w 103079"/>
                <a:gd name="connsiteY35" fmla="*/ 41684 h 152377"/>
                <a:gd name="connsiteX36" fmla="*/ 43024 w 103079"/>
                <a:gd name="connsiteY36" fmla="*/ 40340 h 152377"/>
                <a:gd name="connsiteX37" fmla="*/ 43024 w 103079"/>
                <a:gd name="connsiteY37" fmla="*/ 24206 h 152377"/>
                <a:gd name="connsiteX38" fmla="*/ 71259 w 103079"/>
                <a:gd name="connsiteY38" fmla="*/ 4934 h 152377"/>
                <a:gd name="connsiteX39" fmla="*/ 99494 w 103079"/>
                <a:gd name="connsiteY39" fmla="*/ 24206 h 152377"/>
                <a:gd name="connsiteX40" fmla="*/ 99494 w 103079"/>
                <a:gd name="connsiteY40" fmla="*/ 40340 h 152377"/>
                <a:gd name="connsiteX41" fmla="*/ 99046 w 103079"/>
                <a:gd name="connsiteY41" fmla="*/ 43029 h 152377"/>
                <a:gd name="connsiteX42" fmla="*/ 90082 w 103079"/>
                <a:gd name="connsiteY42" fmla="*/ 68126 h 152377"/>
                <a:gd name="connsiteX43" fmla="*/ 71259 w 103079"/>
                <a:gd name="connsiteY43" fmla="*/ 752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3079" h="152377">
                  <a:moveTo>
                    <a:pt x="84704" y="77090"/>
                  </a:moveTo>
                  <a:cubicBezTo>
                    <a:pt x="84704" y="85605"/>
                    <a:pt x="89634" y="93224"/>
                    <a:pt x="96805" y="96361"/>
                  </a:cubicBezTo>
                  <a:cubicBezTo>
                    <a:pt x="97253" y="96361"/>
                    <a:pt x="97253" y="96361"/>
                    <a:pt x="97701" y="96361"/>
                  </a:cubicBezTo>
                  <a:cubicBezTo>
                    <a:pt x="98597" y="96361"/>
                    <a:pt x="99494" y="95913"/>
                    <a:pt x="99942" y="95017"/>
                  </a:cubicBezTo>
                  <a:cubicBezTo>
                    <a:pt x="100390" y="93672"/>
                    <a:pt x="99942" y="92776"/>
                    <a:pt x="99046" y="91879"/>
                  </a:cubicBezTo>
                  <a:cubicBezTo>
                    <a:pt x="93219" y="89190"/>
                    <a:pt x="89634" y="83364"/>
                    <a:pt x="89634" y="76642"/>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200"/>
                    <a:pt x="42128" y="61404"/>
                    <a:pt x="49747" y="69919"/>
                  </a:cubicBezTo>
                  <a:cubicBezTo>
                    <a:pt x="50643" y="70816"/>
                    <a:pt x="51540" y="71712"/>
                    <a:pt x="52436" y="72608"/>
                  </a:cubicBezTo>
                  <a:cubicBezTo>
                    <a:pt x="52884" y="73953"/>
                    <a:pt x="52884" y="75297"/>
                    <a:pt x="52884" y="76642"/>
                  </a:cubicBezTo>
                  <a:cubicBezTo>
                    <a:pt x="52884" y="86053"/>
                    <a:pt x="45713" y="93672"/>
                    <a:pt x="36750" y="93672"/>
                  </a:cubicBezTo>
                  <a:cubicBezTo>
                    <a:pt x="16582" y="93672"/>
                    <a:pt x="448" y="110254"/>
                    <a:pt x="0" y="131319"/>
                  </a:cubicBezTo>
                  <a:lnTo>
                    <a:pt x="0" y="150141"/>
                  </a:lnTo>
                  <a:cubicBezTo>
                    <a:pt x="0" y="151486"/>
                    <a:pt x="896" y="152382"/>
                    <a:pt x="2241" y="152382"/>
                  </a:cubicBezTo>
                  <a:cubicBezTo>
                    <a:pt x="3585" y="152382"/>
                    <a:pt x="4482" y="151486"/>
                    <a:pt x="4482" y="150141"/>
                  </a:cubicBezTo>
                  <a:lnTo>
                    <a:pt x="4482" y="131319"/>
                  </a:lnTo>
                  <a:cubicBezTo>
                    <a:pt x="4930" y="112943"/>
                    <a:pt x="19271" y="98154"/>
                    <a:pt x="36750" y="98154"/>
                  </a:cubicBezTo>
                  <a:cubicBezTo>
                    <a:pt x="47954" y="98154"/>
                    <a:pt x="57366" y="88742"/>
                    <a:pt x="57366" y="76642"/>
                  </a:cubicBezTo>
                  <a:cubicBezTo>
                    <a:pt x="57366" y="76193"/>
                    <a:pt x="57366" y="76193"/>
                    <a:pt x="57366" y="75745"/>
                  </a:cubicBezTo>
                  <a:cubicBezTo>
                    <a:pt x="64088" y="78883"/>
                    <a:pt x="70811" y="79331"/>
                    <a:pt x="71707" y="79331"/>
                  </a:cubicBezTo>
                  <a:cubicBezTo>
                    <a:pt x="71707" y="79331"/>
                    <a:pt x="71707" y="79331"/>
                    <a:pt x="72155" y="79331"/>
                  </a:cubicBezTo>
                  <a:cubicBezTo>
                    <a:pt x="73052" y="79779"/>
                    <a:pt x="78878" y="79331"/>
                    <a:pt x="84704" y="77090"/>
                  </a:cubicBezTo>
                  <a:cubicBezTo>
                    <a:pt x="84704" y="77090"/>
                    <a:pt x="84704" y="77090"/>
                    <a:pt x="84704" y="77090"/>
                  </a:cubicBezTo>
                  <a:close/>
                  <a:moveTo>
                    <a:pt x="71259" y="75297"/>
                  </a:moveTo>
                  <a:cubicBezTo>
                    <a:pt x="70811" y="75297"/>
                    <a:pt x="71259" y="75297"/>
                    <a:pt x="71259" y="75297"/>
                  </a:cubicBezTo>
                  <a:cubicBezTo>
                    <a:pt x="71259" y="75297"/>
                    <a:pt x="71259" y="75297"/>
                    <a:pt x="71259" y="75297"/>
                  </a:cubicBezTo>
                  <a:cubicBezTo>
                    <a:pt x="70811" y="75297"/>
                    <a:pt x="58710" y="75297"/>
                    <a:pt x="52436" y="67678"/>
                  </a:cubicBezTo>
                  <a:cubicBezTo>
                    <a:pt x="45713" y="60059"/>
                    <a:pt x="43921" y="49303"/>
                    <a:pt x="43024" y="41684"/>
                  </a:cubicBezTo>
                  <a:lnTo>
                    <a:pt x="43024" y="40340"/>
                  </a:lnTo>
                  <a:cubicBezTo>
                    <a:pt x="41680" y="31825"/>
                    <a:pt x="43024" y="24206"/>
                    <a:pt x="43024" y="24206"/>
                  </a:cubicBezTo>
                  <a:cubicBezTo>
                    <a:pt x="47058" y="4486"/>
                    <a:pt x="69915" y="4934"/>
                    <a:pt x="71259" y="4934"/>
                  </a:cubicBezTo>
                  <a:cubicBezTo>
                    <a:pt x="72155" y="4934"/>
                    <a:pt x="95460" y="4486"/>
                    <a:pt x="99494" y="24206"/>
                  </a:cubicBezTo>
                  <a:cubicBezTo>
                    <a:pt x="99494" y="24206"/>
                    <a:pt x="100838" y="31376"/>
                    <a:pt x="99494" y="40340"/>
                  </a:cubicBezTo>
                  <a:lnTo>
                    <a:pt x="99046" y="43029"/>
                  </a:lnTo>
                  <a:cubicBezTo>
                    <a:pt x="97701" y="51096"/>
                    <a:pt x="96357" y="60956"/>
                    <a:pt x="90082" y="68126"/>
                  </a:cubicBezTo>
                  <a:cubicBezTo>
                    <a:pt x="83360" y="74849"/>
                    <a:pt x="73052" y="75297"/>
                    <a:pt x="71259" y="75297"/>
                  </a:cubicBezTo>
                  <a:close/>
                </a:path>
              </a:pathLst>
            </a:custGeom>
            <a:solidFill>
              <a:srgbClr val="231F20"/>
            </a:solidFill>
            <a:ln w="4477" cap="flat">
              <a:noFill/>
              <a:prstDash val="solid"/>
              <a:miter/>
            </a:ln>
          </p:spPr>
          <p:txBody>
            <a:bodyPr rtlCol="0" anchor="ctr"/>
            <a:lstStyle/>
            <a:p>
              <a:endParaRPr lang="en-US"/>
            </a:p>
          </p:txBody>
        </p:sp>
      </p:grpSp>
      <p:grpSp>
        <p:nvGrpSpPr>
          <p:cNvPr id="2622" name="Group 2621">
            <a:extLst>
              <a:ext uri="{FF2B5EF4-FFF2-40B4-BE49-F238E27FC236}">
                <a16:creationId xmlns:a16="http://schemas.microsoft.com/office/drawing/2014/main" id="{AA752DA8-B6F4-4CF3-9B40-A39E9427EEAF}"/>
              </a:ext>
              <a:ext uri="{C183D7F6-B498-43B3-948B-1728B52AA6E4}">
                <adec:decorative xmlns:adec="http://schemas.microsoft.com/office/drawing/2017/decorative" val="1"/>
              </a:ext>
            </a:extLst>
          </p:cNvPr>
          <p:cNvGrpSpPr>
            <a:grpSpLocks noChangeAspect="1"/>
          </p:cNvGrpSpPr>
          <p:nvPr/>
        </p:nvGrpSpPr>
        <p:grpSpPr>
          <a:xfrm>
            <a:off x="11156280" y="5213478"/>
            <a:ext cx="151930" cy="153727"/>
            <a:chOff x="11212780" y="3157787"/>
            <a:chExt cx="151930" cy="153727"/>
          </a:xfrm>
        </p:grpSpPr>
        <p:sp>
          <p:nvSpPr>
            <p:cNvPr id="2659" name="Freeform: Shape 2658">
              <a:extLst>
                <a:ext uri="{FF2B5EF4-FFF2-40B4-BE49-F238E27FC236}">
                  <a16:creationId xmlns:a16="http://schemas.microsoft.com/office/drawing/2014/main" id="{7CC7F462-7495-4AAC-8B7F-029BF7D77996}"/>
                </a:ext>
              </a:extLst>
            </p:cNvPr>
            <p:cNvSpPr/>
            <p:nvPr/>
          </p:nvSpPr>
          <p:spPr>
            <a:xfrm>
              <a:off x="11279558" y="3257734"/>
              <a:ext cx="85152" cy="53780"/>
            </a:xfrm>
            <a:custGeom>
              <a:avLst/>
              <a:gdLst>
                <a:gd name="connsiteX0" fmla="*/ 74396 w 85152"/>
                <a:gd name="connsiteY0" fmla="*/ 0 h 53780"/>
                <a:gd name="connsiteX1" fmla="*/ 11204 w 85152"/>
                <a:gd name="connsiteY1" fmla="*/ 0 h 53780"/>
                <a:gd name="connsiteX2" fmla="*/ 0 w 85152"/>
                <a:gd name="connsiteY2" fmla="*/ 9860 h 53780"/>
                <a:gd name="connsiteX3" fmla="*/ 0 w 85152"/>
                <a:gd name="connsiteY3" fmla="*/ 34509 h 53780"/>
                <a:gd name="connsiteX4" fmla="*/ 11204 w 85152"/>
                <a:gd name="connsiteY4" fmla="*/ 44817 h 53780"/>
                <a:gd name="connsiteX5" fmla="*/ 14341 w 85152"/>
                <a:gd name="connsiteY5" fmla="*/ 44817 h 53780"/>
                <a:gd name="connsiteX6" fmla="*/ 15686 w 85152"/>
                <a:gd name="connsiteY6" fmla="*/ 46161 h 53780"/>
                <a:gd name="connsiteX7" fmla="*/ 15686 w 85152"/>
                <a:gd name="connsiteY7" fmla="*/ 53780 h 53780"/>
                <a:gd name="connsiteX8" fmla="*/ 34061 w 85152"/>
                <a:gd name="connsiteY8" fmla="*/ 45265 h 53780"/>
                <a:gd name="connsiteX9" fmla="*/ 34509 w 85152"/>
                <a:gd name="connsiteY9" fmla="*/ 45265 h 53780"/>
                <a:gd name="connsiteX10" fmla="*/ 73948 w 85152"/>
                <a:gd name="connsiteY10" fmla="*/ 45265 h 53780"/>
                <a:gd name="connsiteX11" fmla="*/ 85152 w 85152"/>
                <a:gd name="connsiteY11" fmla="*/ 34957 h 53780"/>
                <a:gd name="connsiteX12" fmla="*/ 85152 w 85152"/>
                <a:gd name="connsiteY12" fmla="*/ 10308 h 53780"/>
                <a:gd name="connsiteX13" fmla="*/ 74396 w 85152"/>
                <a:gd name="connsiteY13" fmla="*/ 0 h 53780"/>
                <a:gd name="connsiteX14" fmla="*/ 81119 w 85152"/>
                <a:gd name="connsiteY14" fmla="*/ 34957 h 53780"/>
                <a:gd name="connsiteX15" fmla="*/ 74396 w 85152"/>
                <a:gd name="connsiteY15" fmla="*/ 40784 h 53780"/>
                <a:gd name="connsiteX16" fmla="*/ 34957 w 85152"/>
                <a:gd name="connsiteY16" fmla="*/ 40784 h 53780"/>
                <a:gd name="connsiteX17" fmla="*/ 32268 w 85152"/>
                <a:gd name="connsiteY17" fmla="*/ 41232 h 53780"/>
                <a:gd name="connsiteX18" fmla="*/ 20168 w 85152"/>
                <a:gd name="connsiteY18" fmla="*/ 47058 h 53780"/>
                <a:gd name="connsiteX19" fmla="*/ 20168 w 85152"/>
                <a:gd name="connsiteY19" fmla="*/ 46610 h 53780"/>
                <a:gd name="connsiteX20" fmla="*/ 14341 w 85152"/>
                <a:gd name="connsiteY20" fmla="*/ 40784 h 53780"/>
                <a:gd name="connsiteX21" fmla="*/ 11204 w 85152"/>
                <a:gd name="connsiteY21" fmla="*/ 40784 h 53780"/>
                <a:gd name="connsiteX22" fmla="*/ 4482 w 85152"/>
                <a:gd name="connsiteY22" fmla="*/ 34957 h 53780"/>
                <a:gd name="connsiteX23" fmla="*/ 4482 w 85152"/>
                <a:gd name="connsiteY23" fmla="*/ 10308 h 53780"/>
                <a:gd name="connsiteX24" fmla="*/ 11204 w 85152"/>
                <a:gd name="connsiteY24" fmla="*/ 4930 h 53780"/>
                <a:gd name="connsiteX25" fmla="*/ 74396 w 85152"/>
                <a:gd name="connsiteY25" fmla="*/ 4930 h 53780"/>
                <a:gd name="connsiteX26" fmla="*/ 81119 w 85152"/>
                <a:gd name="connsiteY26" fmla="*/ 10308 h 53780"/>
                <a:gd name="connsiteX27" fmla="*/ 81119 w 85152"/>
                <a:gd name="connsiteY27" fmla="*/ 3495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152" h="53780">
                  <a:moveTo>
                    <a:pt x="74396" y="0"/>
                  </a:moveTo>
                  <a:lnTo>
                    <a:pt x="11204" y="0"/>
                  </a:lnTo>
                  <a:cubicBezTo>
                    <a:pt x="4930" y="0"/>
                    <a:pt x="0" y="4482"/>
                    <a:pt x="0" y="9860"/>
                  </a:cubicBezTo>
                  <a:lnTo>
                    <a:pt x="0" y="34509"/>
                  </a:lnTo>
                  <a:cubicBezTo>
                    <a:pt x="0" y="39887"/>
                    <a:pt x="4930" y="44817"/>
                    <a:pt x="11204" y="44817"/>
                  </a:cubicBezTo>
                  <a:lnTo>
                    <a:pt x="14341" y="44817"/>
                  </a:lnTo>
                  <a:cubicBezTo>
                    <a:pt x="15238" y="44817"/>
                    <a:pt x="15686" y="45265"/>
                    <a:pt x="15686" y="46161"/>
                  </a:cubicBezTo>
                  <a:lnTo>
                    <a:pt x="15686" y="53780"/>
                  </a:lnTo>
                  <a:lnTo>
                    <a:pt x="34061" y="45265"/>
                  </a:lnTo>
                  <a:cubicBezTo>
                    <a:pt x="34061" y="45265"/>
                    <a:pt x="34509" y="45265"/>
                    <a:pt x="34509" y="45265"/>
                  </a:cubicBezTo>
                  <a:lnTo>
                    <a:pt x="73948" y="45265"/>
                  </a:lnTo>
                  <a:cubicBezTo>
                    <a:pt x="80223" y="45265"/>
                    <a:pt x="85152" y="40784"/>
                    <a:pt x="85152" y="34957"/>
                  </a:cubicBezTo>
                  <a:lnTo>
                    <a:pt x="85152" y="10308"/>
                  </a:lnTo>
                  <a:cubicBezTo>
                    <a:pt x="85600" y="4930"/>
                    <a:pt x="80671" y="0"/>
                    <a:pt x="74396" y="0"/>
                  </a:cubicBezTo>
                  <a:close/>
                  <a:moveTo>
                    <a:pt x="81119" y="34957"/>
                  </a:moveTo>
                  <a:cubicBezTo>
                    <a:pt x="81119" y="38094"/>
                    <a:pt x="77982" y="40784"/>
                    <a:pt x="74396" y="40784"/>
                  </a:cubicBezTo>
                  <a:lnTo>
                    <a:pt x="34957" y="40784"/>
                  </a:lnTo>
                  <a:cubicBezTo>
                    <a:pt x="34061" y="40784"/>
                    <a:pt x="33165" y="40784"/>
                    <a:pt x="32268" y="41232"/>
                  </a:cubicBezTo>
                  <a:lnTo>
                    <a:pt x="20168" y="47058"/>
                  </a:lnTo>
                  <a:lnTo>
                    <a:pt x="20168" y="46610"/>
                  </a:lnTo>
                  <a:cubicBezTo>
                    <a:pt x="20168" y="43473"/>
                    <a:pt x="17479" y="40784"/>
                    <a:pt x="14341" y="40784"/>
                  </a:cubicBezTo>
                  <a:lnTo>
                    <a:pt x="11204" y="40784"/>
                  </a:lnTo>
                  <a:cubicBezTo>
                    <a:pt x="7619" y="40784"/>
                    <a:pt x="4482" y="38094"/>
                    <a:pt x="4482" y="34957"/>
                  </a:cubicBezTo>
                  <a:lnTo>
                    <a:pt x="4482" y="10308"/>
                  </a:lnTo>
                  <a:cubicBezTo>
                    <a:pt x="4482" y="7171"/>
                    <a:pt x="7619" y="4930"/>
                    <a:pt x="11204" y="4930"/>
                  </a:cubicBezTo>
                  <a:lnTo>
                    <a:pt x="74396" y="4930"/>
                  </a:lnTo>
                  <a:cubicBezTo>
                    <a:pt x="77982" y="4930"/>
                    <a:pt x="81119" y="7619"/>
                    <a:pt x="81119" y="10308"/>
                  </a:cubicBezTo>
                  <a:lnTo>
                    <a:pt x="81119" y="34957"/>
                  </a:lnTo>
                  <a:close/>
                </a:path>
              </a:pathLst>
            </a:custGeom>
            <a:solidFill>
              <a:srgbClr val="231F20"/>
            </a:solidFill>
            <a:ln w="4477" cap="flat">
              <a:noFill/>
              <a:prstDash val="solid"/>
              <a:miter/>
            </a:ln>
          </p:spPr>
          <p:txBody>
            <a:bodyPr rtlCol="0" anchor="ctr"/>
            <a:lstStyle/>
            <a:p>
              <a:endParaRPr lang="en-US"/>
            </a:p>
          </p:txBody>
        </p:sp>
        <p:sp>
          <p:nvSpPr>
            <p:cNvPr id="2660" name="Freeform: Shape 2659">
              <a:extLst>
                <a:ext uri="{FF2B5EF4-FFF2-40B4-BE49-F238E27FC236}">
                  <a16:creationId xmlns:a16="http://schemas.microsoft.com/office/drawing/2014/main" id="{41B7F56F-9EB5-41DD-92BE-1D3189E6D97C}"/>
                </a:ext>
              </a:extLst>
            </p:cNvPr>
            <p:cNvSpPr/>
            <p:nvPr/>
          </p:nvSpPr>
          <p:spPr>
            <a:xfrm>
              <a:off x="11293451" y="3271179"/>
              <a:ext cx="40335" cy="4482"/>
            </a:xfrm>
            <a:custGeom>
              <a:avLst/>
              <a:gdLst>
                <a:gd name="connsiteX0" fmla="*/ 42128 w 40335"/>
                <a:gd name="connsiteY0" fmla="*/ 0 h 4481"/>
                <a:gd name="connsiteX1" fmla="*/ 2241 w 40335"/>
                <a:gd name="connsiteY1" fmla="*/ 0 h 4481"/>
                <a:gd name="connsiteX2" fmla="*/ 0 w 40335"/>
                <a:gd name="connsiteY2" fmla="*/ 2241 h 4481"/>
                <a:gd name="connsiteX3" fmla="*/ 2241 w 40335"/>
                <a:gd name="connsiteY3" fmla="*/ 4482 h 4481"/>
                <a:gd name="connsiteX4" fmla="*/ 42128 w 40335"/>
                <a:gd name="connsiteY4" fmla="*/ 4482 h 4481"/>
                <a:gd name="connsiteX5" fmla="*/ 44369 w 40335"/>
                <a:gd name="connsiteY5" fmla="*/ 2241 h 4481"/>
                <a:gd name="connsiteX6" fmla="*/ 42128 w 40335"/>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5" h="4481">
                  <a:moveTo>
                    <a:pt x="42128" y="0"/>
                  </a:moveTo>
                  <a:lnTo>
                    <a:pt x="2241" y="0"/>
                  </a:lnTo>
                  <a:cubicBezTo>
                    <a:pt x="897" y="0"/>
                    <a:pt x="0" y="896"/>
                    <a:pt x="0" y="2241"/>
                  </a:cubicBezTo>
                  <a:cubicBezTo>
                    <a:pt x="0" y="3585"/>
                    <a:pt x="897" y="4482"/>
                    <a:pt x="2241" y="4482"/>
                  </a:cubicBezTo>
                  <a:lnTo>
                    <a:pt x="42128" y="4482"/>
                  </a:lnTo>
                  <a:cubicBezTo>
                    <a:pt x="43473" y="4482"/>
                    <a:pt x="44369" y="3585"/>
                    <a:pt x="44369" y="2241"/>
                  </a:cubicBezTo>
                  <a:cubicBezTo>
                    <a:pt x="44369" y="1344"/>
                    <a:pt x="43473" y="0"/>
                    <a:pt x="42128" y="0"/>
                  </a:cubicBezTo>
                  <a:close/>
                </a:path>
              </a:pathLst>
            </a:custGeom>
            <a:solidFill>
              <a:srgbClr val="231F20"/>
            </a:solidFill>
            <a:ln w="4477" cap="flat">
              <a:noFill/>
              <a:prstDash val="solid"/>
              <a:miter/>
            </a:ln>
          </p:spPr>
          <p:txBody>
            <a:bodyPr rtlCol="0" anchor="ctr"/>
            <a:lstStyle/>
            <a:p>
              <a:endParaRPr lang="en-US"/>
            </a:p>
          </p:txBody>
        </p:sp>
        <p:sp>
          <p:nvSpPr>
            <p:cNvPr id="2661" name="Freeform: Shape 2660">
              <a:extLst>
                <a:ext uri="{FF2B5EF4-FFF2-40B4-BE49-F238E27FC236}">
                  <a16:creationId xmlns:a16="http://schemas.microsoft.com/office/drawing/2014/main" id="{4E7E4890-0B4B-4E26-B207-8FB90BD2C51B}"/>
                </a:ext>
              </a:extLst>
            </p:cNvPr>
            <p:cNvSpPr/>
            <p:nvPr/>
          </p:nvSpPr>
          <p:spPr>
            <a:xfrm>
              <a:off x="11293451" y="3284624"/>
              <a:ext cx="17927" cy="4482"/>
            </a:xfrm>
            <a:custGeom>
              <a:avLst/>
              <a:gdLst>
                <a:gd name="connsiteX0" fmla="*/ 15686 w 17926"/>
                <a:gd name="connsiteY0" fmla="*/ 0 h 4481"/>
                <a:gd name="connsiteX1" fmla="*/ 2241 w 17926"/>
                <a:gd name="connsiteY1" fmla="*/ 0 h 4481"/>
                <a:gd name="connsiteX2" fmla="*/ 0 w 17926"/>
                <a:gd name="connsiteY2" fmla="*/ 2241 h 4481"/>
                <a:gd name="connsiteX3" fmla="*/ 2241 w 17926"/>
                <a:gd name="connsiteY3" fmla="*/ 4482 h 4481"/>
                <a:gd name="connsiteX4" fmla="*/ 15686 w 17926"/>
                <a:gd name="connsiteY4" fmla="*/ 4482 h 4481"/>
                <a:gd name="connsiteX5" fmla="*/ 17927 w 17926"/>
                <a:gd name="connsiteY5" fmla="*/ 2241 h 4481"/>
                <a:gd name="connsiteX6" fmla="*/ 15686 w 17926"/>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26" h="4481">
                  <a:moveTo>
                    <a:pt x="15686" y="0"/>
                  </a:moveTo>
                  <a:lnTo>
                    <a:pt x="2241" y="0"/>
                  </a:lnTo>
                  <a:cubicBezTo>
                    <a:pt x="897" y="0"/>
                    <a:pt x="0" y="896"/>
                    <a:pt x="0" y="2241"/>
                  </a:cubicBezTo>
                  <a:cubicBezTo>
                    <a:pt x="0" y="3585"/>
                    <a:pt x="897" y="4482"/>
                    <a:pt x="2241" y="4482"/>
                  </a:cubicBezTo>
                  <a:lnTo>
                    <a:pt x="15686" y="4482"/>
                  </a:lnTo>
                  <a:cubicBezTo>
                    <a:pt x="17031" y="4482"/>
                    <a:pt x="17927" y="3585"/>
                    <a:pt x="17927" y="2241"/>
                  </a:cubicBezTo>
                  <a:cubicBezTo>
                    <a:pt x="17927" y="1344"/>
                    <a:pt x="17031" y="0"/>
                    <a:pt x="15686" y="0"/>
                  </a:cubicBezTo>
                  <a:close/>
                </a:path>
              </a:pathLst>
            </a:custGeom>
            <a:solidFill>
              <a:srgbClr val="231F20"/>
            </a:solidFill>
            <a:ln w="4477" cap="flat">
              <a:noFill/>
              <a:prstDash val="solid"/>
              <a:miter/>
            </a:ln>
          </p:spPr>
          <p:txBody>
            <a:bodyPr rtlCol="0" anchor="ctr"/>
            <a:lstStyle/>
            <a:p>
              <a:endParaRPr lang="en-US"/>
            </a:p>
          </p:txBody>
        </p:sp>
        <p:sp>
          <p:nvSpPr>
            <p:cNvPr id="2662" name="Freeform: Shape 2661">
              <a:extLst>
                <a:ext uri="{FF2B5EF4-FFF2-40B4-BE49-F238E27FC236}">
                  <a16:creationId xmlns:a16="http://schemas.microsoft.com/office/drawing/2014/main" id="{38E92E3C-9655-40FA-9574-6121D09C5B6F}"/>
                </a:ext>
              </a:extLst>
            </p:cNvPr>
            <p:cNvSpPr/>
            <p:nvPr/>
          </p:nvSpPr>
          <p:spPr>
            <a:xfrm>
              <a:off x="11212780" y="3157787"/>
              <a:ext cx="103079" cy="152378"/>
            </a:xfrm>
            <a:custGeom>
              <a:avLst/>
              <a:gdLst>
                <a:gd name="connsiteX0" fmla="*/ 71259 w 103079"/>
                <a:gd name="connsiteY0" fmla="*/ 79330 h 152377"/>
                <a:gd name="connsiteX1" fmla="*/ 71259 w 103079"/>
                <a:gd name="connsiteY1" fmla="*/ 79330 h 152377"/>
                <a:gd name="connsiteX2" fmla="*/ 84704 w 103079"/>
                <a:gd name="connsiteY2" fmla="*/ 76641 h 152377"/>
                <a:gd name="connsiteX3" fmla="*/ 84704 w 103079"/>
                <a:gd name="connsiteY3" fmla="*/ 77090 h 152377"/>
                <a:gd name="connsiteX4" fmla="*/ 96805 w 103079"/>
                <a:gd name="connsiteY4" fmla="*/ 96361 h 152377"/>
                <a:gd name="connsiteX5" fmla="*/ 97701 w 103079"/>
                <a:gd name="connsiteY5" fmla="*/ 96361 h 152377"/>
                <a:gd name="connsiteX6" fmla="*/ 99942 w 103079"/>
                <a:gd name="connsiteY6" fmla="*/ 95016 h 152377"/>
                <a:gd name="connsiteX7" fmla="*/ 99046 w 103079"/>
                <a:gd name="connsiteY7" fmla="*/ 91879 h 152377"/>
                <a:gd name="connsiteX8" fmla="*/ 89634 w 103079"/>
                <a:gd name="connsiteY8" fmla="*/ 76641 h 152377"/>
                <a:gd name="connsiteX9" fmla="*/ 90082 w 103079"/>
                <a:gd name="connsiteY9" fmla="*/ 73504 h 152377"/>
                <a:gd name="connsiteX10" fmla="*/ 93668 w 103079"/>
                <a:gd name="connsiteY10" fmla="*/ 70367 h 152377"/>
                <a:gd name="connsiteX11" fmla="*/ 103527 w 103079"/>
                <a:gd name="connsiteY11" fmla="*/ 43029 h 152377"/>
                <a:gd name="connsiteX12" fmla="*/ 103976 w 103079"/>
                <a:gd name="connsiteY12" fmla="*/ 40340 h 152377"/>
                <a:gd name="connsiteX13" fmla="*/ 103976 w 103079"/>
                <a:gd name="connsiteY13" fmla="*/ 22861 h 152377"/>
                <a:gd name="connsiteX14" fmla="*/ 71259 w 103079"/>
                <a:gd name="connsiteY14" fmla="*/ 4 h 152377"/>
                <a:gd name="connsiteX15" fmla="*/ 38991 w 103079"/>
                <a:gd name="connsiteY15" fmla="*/ 22861 h 152377"/>
                <a:gd name="connsiteX16" fmla="*/ 38991 w 103079"/>
                <a:gd name="connsiteY16" fmla="*/ 40340 h 152377"/>
                <a:gd name="connsiteX17" fmla="*/ 38991 w 103079"/>
                <a:gd name="connsiteY17" fmla="*/ 41684 h 152377"/>
                <a:gd name="connsiteX18" fmla="*/ 49747 w 103079"/>
                <a:gd name="connsiteY18" fmla="*/ 69919 h 152377"/>
                <a:gd name="connsiteX19" fmla="*/ 52436 w 103079"/>
                <a:gd name="connsiteY19" fmla="*/ 72608 h 152377"/>
                <a:gd name="connsiteX20" fmla="*/ 52884 w 103079"/>
                <a:gd name="connsiteY20" fmla="*/ 76641 h 152377"/>
                <a:gd name="connsiteX21" fmla="*/ 36750 w 103079"/>
                <a:gd name="connsiteY21" fmla="*/ 93672 h 152377"/>
                <a:gd name="connsiteX22" fmla="*/ 0 w 103079"/>
                <a:gd name="connsiteY22" fmla="*/ 131318 h 152377"/>
                <a:gd name="connsiteX23" fmla="*/ 0 w 103079"/>
                <a:gd name="connsiteY23" fmla="*/ 138489 h 152377"/>
                <a:gd name="connsiteX24" fmla="*/ 0 w 103079"/>
                <a:gd name="connsiteY24" fmla="*/ 150590 h 152377"/>
                <a:gd name="connsiteX25" fmla="*/ 2241 w 103079"/>
                <a:gd name="connsiteY25" fmla="*/ 152830 h 152377"/>
                <a:gd name="connsiteX26" fmla="*/ 2241 w 103079"/>
                <a:gd name="connsiteY26" fmla="*/ 152830 h 152377"/>
                <a:gd name="connsiteX27" fmla="*/ 4482 w 103079"/>
                <a:gd name="connsiteY27" fmla="*/ 150590 h 152377"/>
                <a:gd name="connsiteX28" fmla="*/ 4482 w 103079"/>
                <a:gd name="connsiteY28" fmla="*/ 138489 h 152377"/>
                <a:gd name="connsiteX29" fmla="*/ 4482 w 103079"/>
                <a:gd name="connsiteY29" fmla="*/ 131318 h 152377"/>
                <a:gd name="connsiteX30" fmla="*/ 36750 w 103079"/>
                <a:gd name="connsiteY30" fmla="*/ 98154 h 152377"/>
                <a:gd name="connsiteX31" fmla="*/ 57366 w 103079"/>
                <a:gd name="connsiteY31" fmla="*/ 76641 h 152377"/>
                <a:gd name="connsiteX32" fmla="*/ 57366 w 103079"/>
                <a:gd name="connsiteY32" fmla="*/ 75745 h 152377"/>
                <a:gd name="connsiteX33" fmla="*/ 71259 w 103079"/>
                <a:gd name="connsiteY33" fmla="*/ 79330 h 152377"/>
                <a:gd name="connsiteX34" fmla="*/ 43024 w 103079"/>
                <a:gd name="connsiteY34" fmla="*/ 40788 h 152377"/>
                <a:gd name="connsiteX35" fmla="*/ 43024 w 103079"/>
                <a:gd name="connsiteY35" fmla="*/ 39443 h 152377"/>
                <a:gd name="connsiteX36" fmla="*/ 43024 w 103079"/>
                <a:gd name="connsiteY36" fmla="*/ 23309 h 152377"/>
                <a:gd name="connsiteX37" fmla="*/ 71259 w 103079"/>
                <a:gd name="connsiteY37" fmla="*/ 4038 h 152377"/>
                <a:gd name="connsiteX38" fmla="*/ 99494 w 103079"/>
                <a:gd name="connsiteY38" fmla="*/ 23309 h 152377"/>
                <a:gd name="connsiteX39" fmla="*/ 99494 w 103079"/>
                <a:gd name="connsiteY39" fmla="*/ 39443 h 152377"/>
                <a:gd name="connsiteX40" fmla="*/ 99046 w 103079"/>
                <a:gd name="connsiteY40" fmla="*/ 42132 h 152377"/>
                <a:gd name="connsiteX41" fmla="*/ 90082 w 103079"/>
                <a:gd name="connsiteY41" fmla="*/ 67230 h 152377"/>
                <a:gd name="connsiteX42" fmla="*/ 71707 w 103079"/>
                <a:gd name="connsiteY42" fmla="*/ 74401 h 152377"/>
                <a:gd name="connsiteX43" fmla="*/ 71259 w 103079"/>
                <a:gd name="connsiteY43" fmla="*/ 74401 h 152377"/>
                <a:gd name="connsiteX44" fmla="*/ 71259 w 103079"/>
                <a:gd name="connsiteY44" fmla="*/ 74401 h 152377"/>
                <a:gd name="connsiteX45" fmla="*/ 52436 w 103079"/>
                <a:gd name="connsiteY45" fmla="*/ 66782 h 152377"/>
                <a:gd name="connsiteX46" fmla="*/ 43024 w 103079"/>
                <a:gd name="connsiteY46" fmla="*/ 40788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71259" y="79330"/>
                  </a:moveTo>
                  <a:cubicBezTo>
                    <a:pt x="71707" y="79330"/>
                    <a:pt x="71707" y="79330"/>
                    <a:pt x="71259" y="79330"/>
                  </a:cubicBezTo>
                  <a:cubicBezTo>
                    <a:pt x="73500" y="79330"/>
                    <a:pt x="78878" y="78882"/>
                    <a:pt x="84704" y="76641"/>
                  </a:cubicBezTo>
                  <a:cubicBezTo>
                    <a:pt x="84704" y="76641"/>
                    <a:pt x="84704" y="76641"/>
                    <a:pt x="84704" y="77090"/>
                  </a:cubicBezTo>
                  <a:cubicBezTo>
                    <a:pt x="84704" y="85605"/>
                    <a:pt x="89634" y="93224"/>
                    <a:pt x="96805" y="96361"/>
                  </a:cubicBezTo>
                  <a:cubicBezTo>
                    <a:pt x="97253" y="96361"/>
                    <a:pt x="97253" y="96361"/>
                    <a:pt x="97701" y="96361"/>
                  </a:cubicBezTo>
                  <a:cubicBezTo>
                    <a:pt x="98597" y="96361"/>
                    <a:pt x="99494" y="95913"/>
                    <a:pt x="99942" y="95016"/>
                  </a:cubicBezTo>
                  <a:cubicBezTo>
                    <a:pt x="100390" y="93672"/>
                    <a:pt x="99942" y="92776"/>
                    <a:pt x="99046" y="91879"/>
                  </a:cubicBezTo>
                  <a:cubicBezTo>
                    <a:pt x="93220" y="89190"/>
                    <a:pt x="89634" y="82916"/>
                    <a:pt x="89634" y="76641"/>
                  </a:cubicBezTo>
                  <a:cubicBezTo>
                    <a:pt x="89634" y="75745"/>
                    <a:pt x="89634" y="74401"/>
                    <a:pt x="90082" y="73504"/>
                  </a:cubicBezTo>
                  <a:cubicBezTo>
                    <a:pt x="91427" y="72608"/>
                    <a:pt x="92323" y="71712"/>
                    <a:pt x="93668" y="70367"/>
                  </a:cubicBezTo>
                  <a:cubicBezTo>
                    <a:pt x="100838" y="62300"/>
                    <a:pt x="102183" y="51096"/>
                    <a:pt x="103527" y="43029"/>
                  </a:cubicBezTo>
                  <a:lnTo>
                    <a:pt x="103976" y="40340"/>
                  </a:lnTo>
                  <a:cubicBezTo>
                    <a:pt x="105768" y="30928"/>
                    <a:pt x="103976" y="22861"/>
                    <a:pt x="103976" y="22861"/>
                  </a:cubicBezTo>
                  <a:cubicBezTo>
                    <a:pt x="99046" y="-892"/>
                    <a:pt x="71259" y="4"/>
                    <a:pt x="71259" y="4"/>
                  </a:cubicBezTo>
                  <a:cubicBezTo>
                    <a:pt x="70811" y="4"/>
                    <a:pt x="43473"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4" y="93672"/>
                    <a:pt x="36750" y="93672"/>
                  </a:cubicBezTo>
                  <a:cubicBezTo>
                    <a:pt x="16583" y="93672"/>
                    <a:pt x="448" y="110254"/>
                    <a:pt x="0" y="131318"/>
                  </a:cubicBezTo>
                  <a:lnTo>
                    <a:pt x="0" y="138489"/>
                  </a:lnTo>
                  <a:lnTo>
                    <a:pt x="0" y="150590"/>
                  </a:lnTo>
                  <a:cubicBezTo>
                    <a:pt x="0" y="151934"/>
                    <a:pt x="897" y="152830"/>
                    <a:pt x="2241" y="152830"/>
                  </a:cubicBezTo>
                  <a:cubicBezTo>
                    <a:pt x="2241" y="152830"/>
                    <a:pt x="2241" y="152830"/>
                    <a:pt x="2241" y="152830"/>
                  </a:cubicBezTo>
                  <a:cubicBezTo>
                    <a:pt x="3586" y="152830"/>
                    <a:pt x="4482" y="151934"/>
                    <a:pt x="4482" y="150590"/>
                  </a:cubicBezTo>
                  <a:lnTo>
                    <a:pt x="4482" y="138489"/>
                  </a:lnTo>
                  <a:lnTo>
                    <a:pt x="4482" y="131318"/>
                  </a:lnTo>
                  <a:cubicBezTo>
                    <a:pt x="4930" y="112943"/>
                    <a:pt x="19272" y="98154"/>
                    <a:pt x="36750" y="98154"/>
                  </a:cubicBezTo>
                  <a:cubicBezTo>
                    <a:pt x="47955" y="98154"/>
                    <a:pt x="57366" y="88742"/>
                    <a:pt x="57366" y="76641"/>
                  </a:cubicBezTo>
                  <a:cubicBezTo>
                    <a:pt x="57366" y="76193"/>
                    <a:pt x="57366" y="76193"/>
                    <a:pt x="57366" y="75745"/>
                  </a:cubicBezTo>
                  <a:cubicBezTo>
                    <a:pt x="63640" y="78882"/>
                    <a:pt x="70811" y="79330"/>
                    <a:pt x="71259" y="79330"/>
                  </a:cubicBezTo>
                  <a:close/>
                  <a:moveTo>
                    <a:pt x="43024" y="40788"/>
                  </a:moveTo>
                  <a:lnTo>
                    <a:pt x="43024" y="39443"/>
                  </a:lnTo>
                  <a:cubicBezTo>
                    <a:pt x="41680" y="30928"/>
                    <a:pt x="43024" y="23309"/>
                    <a:pt x="43024" y="23309"/>
                  </a:cubicBezTo>
                  <a:cubicBezTo>
                    <a:pt x="47058" y="3590"/>
                    <a:pt x="69914" y="4038"/>
                    <a:pt x="71259" y="4038"/>
                  </a:cubicBezTo>
                  <a:cubicBezTo>
                    <a:pt x="71707" y="4038"/>
                    <a:pt x="95460" y="3142"/>
                    <a:pt x="99494" y="23309"/>
                  </a:cubicBezTo>
                  <a:cubicBezTo>
                    <a:pt x="99494" y="23309"/>
                    <a:pt x="100838" y="30480"/>
                    <a:pt x="99494" y="39443"/>
                  </a:cubicBezTo>
                  <a:lnTo>
                    <a:pt x="99046" y="42132"/>
                  </a:lnTo>
                  <a:cubicBezTo>
                    <a:pt x="97701" y="50199"/>
                    <a:pt x="96357" y="60059"/>
                    <a:pt x="90082" y="67230"/>
                  </a:cubicBezTo>
                  <a:cubicBezTo>
                    <a:pt x="83808" y="74401"/>
                    <a:pt x="73500" y="74401"/>
                    <a:pt x="71707" y="74401"/>
                  </a:cubicBezTo>
                  <a:cubicBezTo>
                    <a:pt x="71259" y="74401"/>
                    <a:pt x="71259" y="74401"/>
                    <a:pt x="71259" y="74401"/>
                  </a:cubicBezTo>
                  <a:cubicBezTo>
                    <a:pt x="71259" y="74401"/>
                    <a:pt x="71259" y="74401"/>
                    <a:pt x="71259" y="74401"/>
                  </a:cubicBezTo>
                  <a:cubicBezTo>
                    <a:pt x="71259" y="74401"/>
                    <a:pt x="59159" y="74401"/>
                    <a:pt x="52436" y="66782"/>
                  </a:cubicBezTo>
                  <a:cubicBezTo>
                    <a:pt x="46162" y="59611"/>
                    <a:pt x="44369" y="48855"/>
                    <a:pt x="43024" y="40788"/>
                  </a:cubicBezTo>
                  <a:close/>
                </a:path>
              </a:pathLst>
            </a:custGeom>
            <a:solidFill>
              <a:srgbClr val="231F20"/>
            </a:solidFill>
            <a:ln w="4477" cap="flat">
              <a:noFill/>
              <a:prstDash val="solid"/>
              <a:miter/>
            </a:ln>
          </p:spPr>
          <p:txBody>
            <a:bodyPr rtlCol="0" anchor="ctr"/>
            <a:lstStyle/>
            <a:p>
              <a:endParaRPr lang="en-US"/>
            </a:p>
          </p:txBody>
        </p:sp>
      </p:grpSp>
      <p:grpSp>
        <p:nvGrpSpPr>
          <p:cNvPr id="2623" name="Group 2622">
            <a:extLst>
              <a:ext uri="{FF2B5EF4-FFF2-40B4-BE49-F238E27FC236}">
                <a16:creationId xmlns:a16="http://schemas.microsoft.com/office/drawing/2014/main" id="{C0069DA9-CF1F-4A3C-9380-C600DFF6D9DA}"/>
              </a:ext>
              <a:ext uri="{C183D7F6-B498-43B3-948B-1728B52AA6E4}">
                <adec:decorative xmlns:adec="http://schemas.microsoft.com/office/drawing/2017/decorative" val="1"/>
              </a:ext>
            </a:extLst>
          </p:cNvPr>
          <p:cNvGrpSpPr>
            <a:grpSpLocks noChangeAspect="1"/>
          </p:cNvGrpSpPr>
          <p:nvPr/>
        </p:nvGrpSpPr>
        <p:grpSpPr>
          <a:xfrm>
            <a:off x="11417564" y="5213478"/>
            <a:ext cx="151929" cy="152383"/>
            <a:chOff x="11474064" y="3157787"/>
            <a:chExt cx="151929" cy="152383"/>
          </a:xfrm>
        </p:grpSpPr>
        <p:sp>
          <p:nvSpPr>
            <p:cNvPr id="2656" name="Freeform: Shape 2655">
              <a:extLst>
                <a:ext uri="{FF2B5EF4-FFF2-40B4-BE49-F238E27FC236}">
                  <a16:creationId xmlns:a16="http://schemas.microsoft.com/office/drawing/2014/main" id="{FDA4E9E7-E140-4419-9141-9F5DB7C2EF4E}"/>
                </a:ext>
              </a:extLst>
            </p:cNvPr>
            <p:cNvSpPr/>
            <p:nvPr/>
          </p:nvSpPr>
          <p:spPr>
            <a:xfrm>
              <a:off x="11567731" y="3251908"/>
              <a:ext cx="58262" cy="58262"/>
            </a:xfrm>
            <a:custGeom>
              <a:avLst/>
              <a:gdLst>
                <a:gd name="connsiteX0" fmla="*/ 29131 w 58262"/>
                <a:gd name="connsiteY0" fmla="*/ 0 h 58262"/>
                <a:gd name="connsiteX1" fmla="*/ 0 w 58262"/>
                <a:gd name="connsiteY1" fmla="*/ 29131 h 58262"/>
                <a:gd name="connsiteX2" fmla="*/ 29131 w 58262"/>
                <a:gd name="connsiteY2" fmla="*/ 58262 h 58262"/>
                <a:gd name="connsiteX3" fmla="*/ 58262 w 58262"/>
                <a:gd name="connsiteY3" fmla="*/ 29131 h 58262"/>
                <a:gd name="connsiteX4" fmla="*/ 29131 w 58262"/>
                <a:gd name="connsiteY4" fmla="*/ 0 h 58262"/>
                <a:gd name="connsiteX5" fmla="*/ 29131 w 58262"/>
                <a:gd name="connsiteY5" fmla="*/ 53780 h 58262"/>
                <a:gd name="connsiteX6" fmla="*/ 4482 w 58262"/>
                <a:gd name="connsiteY6" fmla="*/ 29131 h 58262"/>
                <a:gd name="connsiteX7" fmla="*/ 29131 w 58262"/>
                <a:gd name="connsiteY7" fmla="*/ 4482 h 58262"/>
                <a:gd name="connsiteX8" fmla="*/ 53780 w 58262"/>
                <a:gd name="connsiteY8" fmla="*/ 29131 h 58262"/>
                <a:gd name="connsiteX9" fmla="*/ 29131 w 58262"/>
                <a:gd name="connsiteY9"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29131" y="0"/>
                  </a:moveTo>
                  <a:cubicBezTo>
                    <a:pt x="12996" y="0"/>
                    <a:pt x="0" y="12997"/>
                    <a:pt x="0" y="29131"/>
                  </a:cubicBezTo>
                  <a:cubicBezTo>
                    <a:pt x="0" y="45265"/>
                    <a:pt x="12996" y="58262"/>
                    <a:pt x="29131" y="58262"/>
                  </a:cubicBezTo>
                  <a:cubicBezTo>
                    <a:pt x="45265" y="58262"/>
                    <a:pt x="58262" y="45265"/>
                    <a:pt x="58262" y="29131"/>
                  </a:cubicBezTo>
                  <a:cubicBezTo>
                    <a:pt x="58262" y="12997"/>
                    <a:pt x="45265" y="0"/>
                    <a:pt x="29131" y="0"/>
                  </a:cubicBezTo>
                  <a:close/>
                  <a:moveTo>
                    <a:pt x="29131" y="53780"/>
                  </a:moveTo>
                  <a:cubicBezTo>
                    <a:pt x="15686" y="53780"/>
                    <a:pt x="4482" y="42576"/>
                    <a:pt x="4482" y="29131"/>
                  </a:cubicBezTo>
                  <a:cubicBezTo>
                    <a:pt x="4482" y="15686"/>
                    <a:pt x="15686" y="4482"/>
                    <a:pt x="29131" y="4482"/>
                  </a:cubicBezTo>
                  <a:cubicBezTo>
                    <a:pt x="42576" y="4482"/>
                    <a:pt x="53780" y="15686"/>
                    <a:pt x="53780" y="29131"/>
                  </a:cubicBezTo>
                  <a:cubicBezTo>
                    <a:pt x="53780" y="42576"/>
                    <a:pt x="42576" y="53780"/>
                    <a:pt x="29131" y="53780"/>
                  </a:cubicBezTo>
                  <a:close/>
                </a:path>
              </a:pathLst>
            </a:custGeom>
            <a:solidFill>
              <a:srgbClr val="231F20"/>
            </a:solidFill>
            <a:ln w="4477" cap="flat">
              <a:noFill/>
              <a:prstDash val="solid"/>
              <a:miter/>
            </a:ln>
          </p:spPr>
          <p:txBody>
            <a:bodyPr rtlCol="0" anchor="ctr"/>
            <a:lstStyle/>
            <a:p>
              <a:endParaRPr lang="en-US"/>
            </a:p>
          </p:txBody>
        </p:sp>
        <p:sp>
          <p:nvSpPr>
            <p:cNvPr id="2657" name="Freeform: Shape 2656">
              <a:extLst>
                <a:ext uri="{FF2B5EF4-FFF2-40B4-BE49-F238E27FC236}">
                  <a16:creationId xmlns:a16="http://schemas.microsoft.com/office/drawing/2014/main" id="{7439215E-F3A3-410B-BB0E-E3F7C28FF354}"/>
                </a:ext>
              </a:extLst>
            </p:cNvPr>
            <p:cNvSpPr/>
            <p:nvPr/>
          </p:nvSpPr>
          <p:spPr>
            <a:xfrm>
              <a:off x="11579832" y="3264008"/>
              <a:ext cx="31372" cy="31372"/>
            </a:xfrm>
            <a:custGeom>
              <a:avLst/>
              <a:gdLst>
                <a:gd name="connsiteX0" fmla="*/ 31820 w 31371"/>
                <a:gd name="connsiteY0" fmla="*/ 14790 h 31371"/>
                <a:gd name="connsiteX1" fmla="*/ 19272 w 31371"/>
                <a:gd name="connsiteY1" fmla="*/ 14790 h 31371"/>
                <a:gd name="connsiteX2" fmla="*/ 19272 w 31371"/>
                <a:gd name="connsiteY2" fmla="*/ 2241 h 31371"/>
                <a:gd name="connsiteX3" fmla="*/ 17031 w 31371"/>
                <a:gd name="connsiteY3" fmla="*/ 0 h 31371"/>
                <a:gd name="connsiteX4" fmla="*/ 14790 w 31371"/>
                <a:gd name="connsiteY4" fmla="*/ 2241 h 31371"/>
                <a:gd name="connsiteX5" fmla="*/ 14790 w 31371"/>
                <a:gd name="connsiteY5" fmla="*/ 14790 h 31371"/>
                <a:gd name="connsiteX6" fmla="*/ 2241 w 31371"/>
                <a:gd name="connsiteY6" fmla="*/ 14790 h 31371"/>
                <a:gd name="connsiteX7" fmla="*/ 0 w 31371"/>
                <a:gd name="connsiteY7" fmla="*/ 17031 h 31371"/>
                <a:gd name="connsiteX8" fmla="*/ 2241 w 31371"/>
                <a:gd name="connsiteY8" fmla="*/ 19271 h 31371"/>
                <a:gd name="connsiteX9" fmla="*/ 14790 w 31371"/>
                <a:gd name="connsiteY9" fmla="*/ 19271 h 31371"/>
                <a:gd name="connsiteX10" fmla="*/ 14790 w 31371"/>
                <a:gd name="connsiteY10" fmla="*/ 31820 h 31371"/>
                <a:gd name="connsiteX11" fmla="*/ 17031 w 31371"/>
                <a:gd name="connsiteY11" fmla="*/ 34061 h 31371"/>
                <a:gd name="connsiteX12" fmla="*/ 19272 w 31371"/>
                <a:gd name="connsiteY12" fmla="*/ 31820 h 31371"/>
                <a:gd name="connsiteX13" fmla="*/ 19272 w 31371"/>
                <a:gd name="connsiteY13" fmla="*/ 19271 h 31371"/>
                <a:gd name="connsiteX14" fmla="*/ 31820 w 31371"/>
                <a:gd name="connsiteY14" fmla="*/ 19271 h 31371"/>
                <a:gd name="connsiteX15" fmla="*/ 34061 w 31371"/>
                <a:gd name="connsiteY15" fmla="*/ 17031 h 31371"/>
                <a:gd name="connsiteX16" fmla="*/ 31820 w 31371"/>
                <a:gd name="connsiteY16" fmla="*/ 147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31820" y="14790"/>
                  </a:moveTo>
                  <a:lnTo>
                    <a:pt x="19272" y="14790"/>
                  </a:lnTo>
                  <a:lnTo>
                    <a:pt x="19272" y="2241"/>
                  </a:lnTo>
                  <a:cubicBezTo>
                    <a:pt x="19272" y="896"/>
                    <a:pt x="18375" y="0"/>
                    <a:pt x="17031" y="0"/>
                  </a:cubicBezTo>
                  <a:cubicBezTo>
                    <a:pt x="15686" y="0"/>
                    <a:pt x="14790" y="896"/>
                    <a:pt x="14790" y="2241"/>
                  </a:cubicBezTo>
                  <a:lnTo>
                    <a:pt x="14790" y="14790"/>
                  </a:lnTo>
                  <a:lnTo>
                    <a:pt x="2241" y="14790"/>
                  </a:lnTo>
                  <a:cubicBezTo>
                    <a:pt x="896" y="14790"/>
                    <a:pt x="0" y="15686"/>
                    <a:pt x="0" y="17031"/>
                  </a:cubicBezTo>
                  <a:cubicBezTo>
                    <a:pt x="0" y="18375"/>
                    <a:pt x="896" y="19271"/>
                    <a:pt x="2241" y="19271"/>
                  </a:cubicBezTo>
                  <a:lnTo>
                    <a:pt x="14790" y="19271"/>
                  </a:lnTo>
                  <a:lnTo>
                    <a:pt x="14790" y="31820"/>
                  </a:lnTo>
                  <a:cubicBezTo>
                    <a:pt x="14790" y="33165"/>
                    <a:pt x="15686" y="34061"/>
                    <a:pt x="17031" y="34061"/>
                  </a:cubicBezTo>
                  <a:cubicBezTo>
                    <a:pt x="18375" y="34061"/>
                    <a:pt x="19272" y="33165"/>
                    <a:pt x="19272" y="31820"/>
                  </a:cubicBezTo>
                  <a:lnTo>
                    <a:pt x="19272" y="19271"/>
                  </a:lnTo>
                  <a:lnTo>
                    <a:pt x="31820" y="19271"/>
                  </a:lnTo>
                  <a:cubicBezTo>
                    <a:pt x="33165" y="19271"/>
                    <a:pt x="34061" y="18375"/>
                    <a:pt x="34061" y="17031"/>
                  </a:cubicBezTo>
                  <a:cubicBezTo>
                    <a:pt x="34061" y="15686"/>
                    <a:pt x="33165" y="14790"/>
                    <a:pt x="31820" y="14790"/>
                  </a:cubicBezTo>
                  <a:close/>
                </a:path>
              </a:pathLst>
            </a:custGeom>
            <a:solidFill>
              <a:srgbClr val="231F20"/>
            </a:solidFill>
            <a:ln w="4477" cap="flat">
              <a:noFill/>
              <a:prstDash val="solid"/>
              <a:miter/>
            </a:ln>
          </p:spPr>
          <p:txBody>
            <a:bodyPr rtlCol="0" anchor="ctr"/>
            <a:lstStyle/>
            <a:p>
              <a:endParaRPr lang="en-US"/>
            </a:p>
          </p:txBody>
        </p:sp>
        <p:sp>
          <p:nvSpPr>
            <p:cNvPr id="2658" name="Freeform: Shape 2657">
              <a:extLst>
                <a:ext uri="{FF2B5EF4-FFF2-40B4-BE49-F238E27FC236}">
                  <a16:creationId xmlns:a16="http://schemas.microsoft.com/office/drawing/2014/main" id="{903327AD-6153-4099-8EA3-05767EE860F9}"/>
                </a:ext>
              </a:extLst>
            </p:cNvPr>
            <p:cNvSpPr/>
            <p:nvPr/>
          </p:nvSpPr>
          <p:spPr>
            <a:xfrm>
              <a:off x="11474064" y="3157787"/>
              <a:ext cx="103079" cy="152378"/>
            </a:xfrm>
            <a:custGeom>
              <a:avLst/>
              <a:gdLst>
                <a:gd name="connsiteX0" fmla="*/ 97701 w 103079"/>
                <a:gd name="connsiteY0" fmla="*/ 96361 h 152377"/>
                <a:gd name="connsiteX1" fmla="*/ 99942 w 103079"/>
                <a:gd name="connsiteY1" fmla="*/ 95016 h 152377"/>
                <a:gd name="connsiteX2" fmla="*/ 99046 w 103079"/>
                <a:gd name="connsiteY2" fmla="*/ 91879 h 152377"/>
                <a:gd name="connsiteX3" fmla="*/ 89634 w 103079"/>
                <a:gd name="connsiteY3" fmla="*/ 76641 h 152377"/>
                <a:gd name="connsiteX4" fmla="*/ 90082 w 103079"/>
                <a:gd name="connsiteY4" fmla="*/ 73504 h 152377"/>
                <a:gd name="connsiteX5" fmla="*/ 93668 w 103079"/>
                <a:gd name="connsiteY5" fmla="*/ 70367 h 152377"/>
                <a:gd name="connsiteX6" fmla="*/ 103527 w 103079"/>
                <a:gd name="connsiteY6" fmla="*/ 43029 h 152377"/>
                <a:gd name="connsiteX7" fmla="*/ 103975 w 103079"/>
                <a:gd name="connsiteY7" fmla="*/ 40340 h 152377"/>
                <a:gd name="connsiteX8" fmla="*/ 103975 w 103079"/>
                <a:gd name="connsiteY8" fmla="*/ 22861 h 152377"/>
                <a:gd name="connsiteX9" fmla="*/ 71259 w 103079"/>
                <a:gd name="connsiteY9" fmla="*/ 4 h 152377"/>
                <a:gd name="connsiteX10" fmla="*/ 38991 w 103079"/>
                <a:gd name="connsiteY10" fmla="*/ 22861 h 152377"/>
                <a:gd name="connsiteX11" fmla="*/ 38991 w 103079"/>
                <a:gd name="connsiteY11" fmla="*/ 40340 h 152377"/>
                <a:gd name="connsiteX12" fmla="*/ 38991 w 103079"/>
                <a:gd name="connsiteY12" fmla="*/ 41684 h 152377"/>
                <a:gd name="connsiteX13" fmla="*/ 49747 w 103079"/>
                <a:gd name="connsiteY13" fmla="*/ 69919 h 152377"/>
                <a:gd name="connsiteX14" fmla="*/ 52436 w 103079"/>
                <a:gd name="connsiteY14" fmla="*/ 72608 h 152377"/>
                <a:gd name="connsiteX15" fmla="*/ 52884 w 103079"/>
                <a:gd name="connsiteY15" fmla="*/ 76641 h 152377"/>
                <a:gd name="connsiteX16" fmla="*/ 36750 w 103079"/>
                <a:gd name="connsiteY16" fmla="*/ 93672 h 152377"/>
                <a:gd name="connsiteX17" fmla="*/ 0 w 103079"/>
                <a:gd name="connsiteY17" fmla="*/ 131318 h 152377"/>
                <a:gd name="connsiteX18" fmla="*/ 0 w 103079"/>
                <a:gd name="connsiteY18" fmla="*/ 138489 h 152377"/>
                <a:gd name="connsiteX19" fmla="*/ 0 w 103079"/>
                <a:gd name="connsiteY19" fmla="*/ 150590 h 152377"/>
                <a:gd name="connsiteX20" fmla="*/ 2241 w 103079"/>
                <a:gd name="connsiteY20" fmla="*/ 152830 h 152377"/>
                <a:gd name="connsiteX21" fmla="*/ 2241 w 103079"/>
                <a:gd name="connsiteY21" fmla="*/ 152830 h 152377"/>
                <a:gd name="connsiteX22" fmla="*/ 4482 w 103079"/>
                <a:gd name="connsiteY22" fmla="*/ 150590 h 152377"/>
                <a:gd name="connsiteX23" fmla="*/ 4482 w 103079"/>
                <a:gd name="connsiteY23" fmla="*/ 138489 h 152377"/>
                <a:gd name="connsiteX24" fmla="*/ 4482 w 103079"/>
                <a:gd name="connsiteY24" fmla="*/ 131318 h 152377"/>
                <a:gd name="connsiteX25" fmla="*/ 36750 w 103079"/>
                <a:gd name="connsiteY25" fmla="*/ 98154 h 152377"/>
                <a:gd name="connsiteX26" fmla="*/ 57365 w 103079"/>
                <a:gd name="connsiteY26" fmla="*/ 76641 h 152377"/>
                <a:gd name="connsiteX27" fmla="*/ 57365 w 103079"/>
                <a:gd name="connsiteY27" fmla="*/ 75745 h 152377"/>
                <a:gd name="connsiteX28" fmla="*/ 71707 w 103079"/>
                <a:gd name="connsiteY28" fmla="*/ 79330 h 152377"/>
                <a:gd name="connsiteX29" fmla="*/ 72155 w 103079"/>
                <a:gd name="connsiteY29" fmla="*/ 79330 h 152377"/>
                <a:gd name="connsiteX30" fmla="*/ 85600 w 103079"/>
                <a:gd name="connsiteY30" fmla="*/ 76641 h 152377"/>
                <a:gd name="connsiteX31" fmla="*/ 85600 w 103079"/>
                <a:gd name="connsiteY31" fmla="*/ 77090 h 152377"/>
                <a:gd name="connsiteX32" fmla="*/ 97701 w 103079"/>
                <a:gd name="connsiteY32" fmla="*/ 96361 h 152377"/>
                <a:gd name="connsiteX33" fmla="*/ 97701 w 103079"/>
                <a:gd name="connsiteY33" fmla="*/ 96361 h 152377"/>
                <a:gd name="connsiteX34" fmla="*/ 71259 w 103079"/>
                <a:gd name="connsiteY34" fmla="*/ 74849 h 152377"/>
                <a:gd name="connsiteX35" fmla="*/ 71259 w 103079"/>
                <a:gd name="connsiteY35" fmla="*/ 74849 h 152377"/>
                <a:gd name="connsiteX36" fmla="*/ 71259 w 103079"/>
                <a:gd name="connsiteY36" fmla="*/ 74849 h 152377"/>
                <a:gd name="connsiteX37" fmla="*/ 52436 w 103079"/>
                <a:gd name="connsiteY37" fmla="*/ 67230 h 152377"/>
                <a:gd name="connsiteX38" fmla="*/ 43024 w 103079"/>
                <a:gd name="connsiteY38" fmla="*/ 41236 h 152377"/>
                <a:gd name="connsiteX39" fmla="*/ 43024 w 103079"/>
                <a:gd name="connsiteY39" fmla="*/ 39892 h 152377"/>
                <a:gd name="connsiteX40" fmla="*/ 43024 w 103079"/>
                <a:gd name="connsiteY40" fmla="*/ 23757 h 152377"/>
                <a:gd name="connsiteX41" fmla="*/ 71259 w 103079"/>
                <a:gd name="connsiteY41" fmla="*/ 4486 h 152377"/>
                <a:gd name="connsiteX42" fmla="*/ 99494 w 103079"/>
                <a:gd name="connsiteY42" fmla="*/ 23757 h 152377"/>
                <a:gd name="connsiteX43" fmla="*/ 99494 w 103079"/>
                <a:gd name="connsiteY43" fmla="*/ 39892 h 152377"/>
                <a:gd name="connsiteX44" fmla="*/ 99046 w 103079"/>
                <a:gd name="connsiteY44" fmla="*/ 42581 h 152377"/>
                <a:gd name="connsiteX45" fmla="*/ 90082 w 103079"/>
                <a:gd name="connsiteY45" fmla="*/ 67678 h 152377"/>
                <a:gd name="connsiteX46" fmla="*/ 71259 w 103079"/>
                <a:gd name="connsiteY46" fmla="*/ 7484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3079" h="152377">
                  <a:moveTo>
                    <a:pt x="97701" y="96361"/>
                  </a:moveTo>
                  <a:cubicBezTo>
                    <a:pt x="98597" y="96361"/>
                    <a:pt x="99494" y="95913"/>
                    <a:pt x="99942" y="95016"/>
                  </a:cubicBezTo>
                  <a:cubicBezTo>
                    <a:pt x="100390" y="93672"/>
                    <a:pt x="99942" y="92776"/>
                    <a:pt x="99046" y="91879"/>
                  </a:cubicBezTo>
                  <a:cubicBezTo>
                    <a:pt x="93219" y="89190"/>
                    <a:pt x="89634" y="82916"/>
                    <a:pt x="89634" y="76641"/>
                  </a:cubicBezTo>
                  <a:cubicBezTo>
                    <a:pt x="89634" y="75745"/>
                    <a:pt x="89634" y="74401"/>
                    <a:pt x="90082" y="73504"/>
                  </a:cubicBezTo>
                  <a:cubicBezTo>
                    <a:pt x="91427" y="72608"/>
                    <a:pt x="92323" y="71712"/>
                    <a:pt x="93668" y="70367"/>
                  </a:cubicBezTo>
                  <a:cubicBezTo>
                    <a:pt x="100838" y="62300"/>
                    <a:pt x="102182" y="51096"/>
                    <a:pt x="103527" y="43029"/>
                  </a:cubicBezTo>
                  <a:lnTo>
                    <a:pt x="103975" y="40340"/>
                  </a:lnTo>
                  <a:cubicBezTo>
                    <a:pt x="105768" y="30928"/>
                    <a:pt x="103975" y="22861"/>
                    <a:pt x="103975" y="22861"/>
                  </a:cubicBezTo>
                  <a:cubicBezTo>
                    <a:pt x="99046" y="-892"/>
                    <a:pt x="71259" y="4"/>
                    <a:pt x="71259" y="4"/>
                  </a:cubicBezTo>
                  <a:cubicBezTo>
                    <a:pt x="70811" y="4"/>
                    <a:pt x="43472" y="-444"/>
                    <a:pt x="38991" y="22861"/>
                  </a:cubicBezTo>
                  <a:cubicBezTo>
                    <a:pt x="38991" y="23309"/>
                    <a:pt x="37198" y="30928"/>
                    <a:pt x="38991" y="40340"/>
                  </a:cubicBezTo>
                  <a:lnTo>
                    <a:pt x="38991" y="41684"/>
                  </a:lnTo>
                  <a:cubicBezTo>
                    <a:pt x="40335" y="50199"/>
                    <a:pt x="42128" y="61404"/>
                    <a:pt x="49747" y="69919"/>
                  </a:cubicBezTo>
                  <a:cubicBezTo>
                    <a:pt x="50643" y="70815"/>
                    <a:pt x="51540" y="71712"/>
                    <a:pt x="52436" y="72608"/>
                  </a:cubicBezTo>
                  <a:cubicBezTo>
                    <a:pt x="52884" y="73953"/>
                    <a:pt x="52884" y="75297"/>
                    <a:pt x="52884" y="76641"/>
                  </a:cubicBezTo>
                  <a:cubicBezTo>
                    <a:pt x="52884" y="86053"/>
                    <a:pt x="45713" y="93672"/>
                    <a:pt x="36750" y="93672"/>
                  </a:cubicBezTo>
                  <a:cubicBezTo>
                    <a:pt x="16582" y="93672"/>
                    <a:pt x="448" y="110254"/>
                    <a:pt x="0" y="131318"/>
                  </a:cubicBezTo>
                  <a:lnTo>
                    <a:pt x="0" y="138489"/>
                  </a:lnTo>
                  <a:lnTo>
                    <a:pt x="0" y="150590"/>
                  </a:lnTo>
                  <a:cubicBezTo>
                    <a:pt x="0" y="151934"/>
                    <a:pt x="896" y="152830"/>
                    <a:pt x="2241" y="152830"/>
                  </a:cubicBezTo>
                  <a:cubicBezTo>
                    <a:pt x="2241" y="152830"/>
                    <a:pt x="2241" y="152830"/>
                    <a:pt x="2241" y="152830"/>
                  </a:cubicBezTo>
                  <a:cubicBezTo>
                    <a:pt x="3585" y="152830"/>
                    <a:pt x="4482" y="151934"/>
                    <a:pt x="4482" y="150590"/>
                  </a:cubicBezTo>
                  <a:lnTo>
                    <a:pt x="4482" y="138489"/>
                  </a:lnTo>
                  <a:lnTo>
                    <a:pt x="4482" y="131318"/>
                  </a:lnTo>
                  <a:cubicBezTo>
                    <a:pt x="4930" y="112943"/>
                    <a:pt x="19271" y="98154"/>
                    <a:pt x="36750" y="98154"/>
                  </a:cubicBezTo>
                  <a:cubicBezTo>
                    <a:pt x="47954" y="98154"/>
                    <a:pt x="57365" y="88742"/>
                    <a:pt x="57365" y="76641"/>
                  </a:cubicBezTo>
                  <a:cubicBezTo>
                    <a:pt x="57365" y="76193"/>
                    <a:pt x="57365" y="76193"/>
                    <a:pt x="57365" y="75745"/>
                  </a:cubicBezTo>
                  <a:cubicBezTo>
                    <a:pt x="64088" y="78882"/>
                    <a:pt x="70811" y="79330"/>
                    <a:pt x="71707" y="79330"/>
                  </a:cubicBezTo>
                  <a:cubicBezTo>
                    <a:pt x="71707" y="79330"/>
                    <a:pt x="71707" y="79330"/>
                    <a:pt x="72155" y="79330"/>
                  </a:cubicBezTo>
                  <a:cubicBezTo>
                    <a:pt x="73948" y="79330"/>
                    <a:pt x="79774" y="78882"/>
                    <a:pt x="85600" y="76641"/>
                  </a:cubicBezTo>
                  <a:cubicBezTo>
                    <a:pt x="85600" y="76641"/>
                    <a:pt x="85600" y="76641"/>
                    <a:pt x="85600" y="77090"/>
                  </a:cubicBezTo>
                  <a:cubicBezTo>
                    <a:pt x="85600" y="85605"/>
                    <a:pt x="90530" y="93224"/>
                    <a:pt x="97701" y="96361"/>
                  </a:cubicBezTo>
                  <a:cubicBezTo>
                    <a:pt x="97253" y="96361"/>
                    <a:pt x="97253" y="96361"/>
                    <a:pt x="97701" y="96361"/>
                  </a:cubicBezTo>
                  <a:close/>
                  <a:moveTo>
                    <a:pt x="71259" y="74849"/>
                  </a:moveTo>
                  <a:cubicBezTo>
                    <a:pt x="70811" y="74849"/>
                    <a:pt x="71259" y="74849"/>
                    <a:pt x="71259" y="74849"/>
                  </a:cubicBezTo>
                  <a:cubicBezTo>
                    <a:pt x="71259" y="74849"/>
                    <a:pt x="71259" y="74849"/>
                    <a:pt x="71259" y="74849"/>
                  </a:cubicBezTo>
                  <a:cubicBezTo>
                    <a:pt x="70811" y="74849"/>
                    <a:pt x="58710" y="74849"/>
                    <a:pt x="52436" y="67230"/>
                  </a:cubicBezTo>
                  <a:cubicBezTo>
                    <a:pt x="45713" y="59611"/>
                    <a:pt x="43920" y="48855"/>
                    <a:pt x="43024" y="41236"/>
                  </a:cubicBezTo>
                  <a:lnTo>
                    <a:pt x="43024" y="39892"/>
                  </a:lnTo>
                  <a:cubicBezTo>
                    <a:pt x="41679" y="31376"/>
                    <a:pt x="43024" y="23757"/>
                    <a:pt x="43024" y="23757"/>
                  </a:cubicBezTo>
                  <a:cubicBezTo>
                    <a:pt x="47058" y="4038"/>
                    <a:pt x="69914" y="4486"/>
                    <a:pt x="71259" y="4486"/>
                  </a:cubicBezTo>
                  <a:cubicBezTo>
                    <a:pt x="71707" y="4486"/>
                    <a:pt x="95460" y="3590"/>
                    <a:pt x="99494" y="23757"/>
                  </a:cubicBezTo>
                  <a:cubicBezTo>
                    <a:pt x="99494" y="23757"/>
                    <a:pt x="100838" y="30928"/>
                    <a:pt x="99494" y="39892"/>
                  </a:cubicBezTo>
                  <a:lnTo>
                    <a:pt x="99046" y="42581"/>
                  </a:lnTo>
                  <a:cubicBezTo>
                    <a:pt x="97701" y="50648"/>
                    <a:pt x="96357" y="60507"/>
                    <a:pt x="90082" y="67678"/>
                  </a:cubicBezTo>
                  <a:cubicBezTo>
                    <a:pt x="83360" y="74401"/>
                    <a:pt x="73051" y="74849"/>
                    <a:pt x="71259" y="74849"/>
                  </a:cubicBezTo>
                  <a:close/>
                </a:path>
              </a:pathLst>
            </a:custGeom>
            <a:solidFill>
              <a:srgbClr val="231F20"/>
            </a:solidFill>
            <a:ln w="4477" cap="flat">
              <a:noFill/>
              <a:prstDash val="solid"/>
              <a:miter/>
            </a:ln>
          </p:spPr>
          <p:txBody>
            <a:bodyPr rtlCol="0" anchor="ctr"/>
            <a:lstStyle/>
            <a:p>
              <a:endParaRPr lang="en-US"/>
            </a:p>
          </p:txBody>
        </p:sp>
      </p:grpSp>
      <p:grpSp>
        <p:nvGrpSpPr>
          <p:cNvPr id="2624" name="Group 2623">
            <a:extLst>
              <a:ext uri="{FF2B5EF4-FFF2-40B4-BE49-F238E27FC236}">
                <a16:creationId xmlns:a16="http://schemas.microsoft.com/office/drawing/2014/main" id="{889B4017-2AB2-470A-A116-40888DAA13A2}"/>
              </a:ext>
              <a:ext uri="{C183D7F6-B498-43B3-948B-1728B52AA6E4}">
                <adec:decorative xmlns:adec="http://schemas.microsoft.com/office/drawing/2017/decorative" val="1"/>
              </a:ext>
            </a:extLst>
          </p:cNvPr>
          <p:cNvGrpSpPr>
            <a:grpSpLocks noChangeAspect="1"/>
          </p:cNvGrpSpPr>
          <p:nvPr/>
        </p:nvGrpSpPr>
        <p:grpSpPr>
          <a:xfrm>
            <a:off x="10889619" y="5213020"/>
            <a:ext cx="160388" cy="152378"/>
            <a:chOff x="10946119" y="3157329"/>
            <a:chExt cx="160388" cy="152378"/>
          </a:xfrm>
        </p:grpSpPr>
        <p:sp>
          <p:nvSpPr>
            <p:cNvPr id="2653" name="Freeform: Shape 2652">
              <a:extLst>
                <a:ext uri="{FF2B5EF4-FFF2-40B4-BE49-F238E27FC236}">
                  <a16:creationId xmlns:a16="http://schemas.microsoft.com/office/drawing/2014/main" id="{6AD08A90-01D4-4E78-858F-242509F0C8D5}"/>
                </a:ext>
              </a:extLst>
            </p:cNvPr>
            <p:cNvSpPr/>
            <p:nvPr/>
          </p:nvSpPr>
          <p:spPr>
            <a:xfrm>
              <a:off x="11057208" y="3256781"/>
              <a:ext cx="49299" cy="49299"/>
            </a:xfrm>
            <a:custGeom>
              <a:avLst/>
              <a:gdLst>
                <a:gd name="connsiteX0" fmla="*/ 45322 w 49298"/>
                <a:gd name="connsiteY0" fmla="*/ 7676 h 49298"/>
                <a:gd name="connsiteX1" fmla="*/ 7676 w 49298"/>
                <a:gd name="connsiteY1" fmla="*/ 8124 h 49298"/>
                <a:gd name="connsiteX2" fmla="*/ 8124 w 49298"/>
                <a:gd name="connsiteY2" fmla="*/ 45770 h 49298"/>
                <a:gd name="connsiteX3" fmla="*/ 26947 w 49298"/>
                <a:gd name="connsiteY3" fmla="*/ 53389 h 49298"/>
                <a:gd name="connsiteX4" fmla="*/ 45770 w 49298"/>
                <a:gd name="connsiteY4" fmla="*/ 45322 h 49298"/>
                <a:gd name="connsiteX5" fmla="*/ 53389 w 49298"/>
                <a:gd name="connsiteY5" fmla="*/ 26499 h 49298"/>
                <a:gd name="connsiteX6" fmla="*/ 45322 w 49298"/>
                <a:gd name="connsiteY6" fmla="*/ 7676 h 49298"/>
                <a:gd name="connsiteX7" fmla="*/ 42633 w 49298"/>
                <a:gd name="connsiteY7" fmla="*/ 42185 h 49298"/>
                <a:gd name="connsiteX8" fmla="*/ 11261 w 49298"/>
                <a:gd name="connsiteY8" fmla="*/ 42633 h 49298"/>
                <a:gd name="connsiteX9" fmla="*/ 10813 w 49298"/>
                <a:gd name="connsiteY9" fmla="*/ 11261 h 49298"/>
                <a:gd name="connsiteX10" fmla="*/ 42185 w 49298"/>
                <a:gd name="connsiteY10" fmla="*/ 10813 h 49298"/>
                <a:gd name="connsiteX11" fmla="*/ 48908 w 49298"/>
                <a:gd name="connsiteY11" fmla="*/ 26499 h 49298"/>
                <a:gd name="connsiteX12" fmla="*/ 42633 w 49298"/>
                <a:gd name="connsiteY12" fmla="*/ 42185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98" h="49298">
                  <a:moveTo>
                    <a:pt x="45322" y="7676"/>
                  </a:moveTo>
                  <a:cubicBezTo>
                    <a:pt x="35014" y="-2632"/>
                    <a:pt x="17984" y="-2632"/>
                    <a:pt x="7676" y="8124"/>
                  </a:cubicBezTo>
                  <a:cubicBezTo>
                    <a:pt x="-2632" y="18880"/>
                    <a:pt x="-2632" y="35462"/>
                    <a:pt x="8124" y="45770"/>
                  </a:cubicBezTo>
                  <a:cubicBezTo>
                    <a:pt x="13502" y="50700"/>
                    <a:pt x="20225" y="53389"/>
                    <a:pt x="26947" y="53389"/>
                  </a:cubicBezTo>
                  <a:cubicBezTo>
                    <a:pt x="33670" y="53389"/>
                    <a:pt x="40840" y="50700"/>
                    <a:pt x="45770" y="45322"/>
                  </a:cubicBezTo>
                  <a:cubicBezTo>
                    <a:pt x="50700" y="40392"/>
                    <a:pt x="53389" y="33670"/>
                    <a:pt x="53389" y="26499"/>
                  </a:cubicBezTo>
                  <a:cubicBezTo>
                    <a:pt x="53389" y="19328"/>
                    <a:pt x="50252" y="12606"/>
                    <a:pt x="45322" y="7676"/>
                  </a:cubicBezTo>
                  <a:close/>
                  <a:moveTo>
                    <a:pt x="42633" y="42185"/>
                  </a:moveTo>
                  <a:cubicBezTo>
                    <a:pt x="34118" y="50700"/>
                    <a:pt x="20225" y="51148"/>
                    <a:pt x="11261" y="42633"/>
                  </a:cubicBezTo>
                  <a:cubicBezTo>
                    <a:pt x="2298" y="34118"/>
                    <a:pt x="2298" y="20224"/>
                    <a:pt x="10813" y="11261"/>
                  </a:cubicBezTo>
                  <a:cubicBezTo>
                    <a:pt x="19328" y="2746"/>
                    <a:pt x="33222" y="2298"/>
                    <a:pt x="42185" y="10813"/>
                  </a:cubicBezTo>
                  <a:cubicBezTo>
                    <a:pt x="46218" y="14847"/>
                    <a:pt x="48908" y="20673"/>
                    <a:pt x="48908" y="26499"/>
                  </a:cubicBezTo>
                  <a:cubicBezTo>
                    <a:pt x="48908" y="32325"/>
                    <a:pt x="46667" y="37703"/>
                    <a:pt x="42633" y="42185"/>
                  </a:cubicBezTo>
                  <a:close/>
                </a:path>
              </a:pathLst>
            </a:custGeom>
            <a:solidFill>
              <a:srgbClr val="231F20"/>
            </a:solidFill>
            <a:ln w="4477" cap="flat">
              <a:noFill/>
              <a:prstDash val="solid"/>
              <a:miter/>
            </a:ln>
          </p:spPr>
          <p:txBody>
            <a:bodyPr rtlCol="0" anchor="ctr"/>
            <a:lstStyle/>
            <a:p>
              <a:endParaRPr lang="en-US"/>
            </a:p>
          </p:txBody>
        </p:sp>
        <p:sp>
          <p:nvSpPr>
            <p:cNvPr id="2654" name="Freeform: Shape 2653">
              <a:extLst>
                <a:ext uri="{FF2B5EF4-FFF2-40B4-BE49-F238E27FC236}">
                  <a16:creationId xmlns:a16="http://schemas.microsoft.com/office/drawing/2014/main" id="{DE09461D-0059-4243-9316-FFCF8FABC792}"/>
                </a:ext>
              </a:extLst>
            </p:cNvPr>
            <p:cNvSpPr/>
            <p:nvPr/>
          </p:nvSpPr>
          <p:spPr>
            <a:xfrm>
              <a:off x="11068470" y="3268042"/>
              <a:ext cx="31372" cy="31372"/>
            </a:xfrm>
            <a:custGeom>
              <a:avLst/>
              <a:gdLst>
                <a:gd name="connsiteX0" fmla="*/ 29131 w 31371"/>
                <a:gd name="connsiteY0" fmla="*/ 13445 h 31371"/>
                <a:gd name="connsiteX1" fmla="*/ 17927 w 31371"/>
                <a:gd name="connsiteY1" fmla="*/ 13445 h 31371"/>
                <a:gd name="connsiteX2" fmla="*/ 17927 w 31371"/>
                <a:gd name="connsiteY2" fmla="*/ 2241 h 31371"/>
                <a:gd name="connsiteX3" fmla="*/ 15686 w 31371"/>
                <a:gd name="connsiteY3" fmla="*/ 0 h 31371"/>
                <a:gd name="connsiteX4" fmla="*/ 13445 w 31371"/>
                <a:gd name="connsiteY4" fmla="*/ 2241 h 31371"/>
                <a:gd name="connsiteX5" fmla="*/ 13445 w 31371"/>
                <a:gd name="connsiteY5" fmla="*/ 13445 h 31371"/>
                <a:gd name="connsiteX6" fmla="*/ 2241 w 31371"/>
                <a:gd name="connsiteY6" fmla="*/ 13445 h 31371"/>
                <a:gd name="connsiteX7" fmla="*/ 0 w 31371"/>
                <a:gd name="connsiteY7" fmla="*/ 15686 h 31371"/>
                <a:gd name="connsiteX8" fmla="*/ 2241 w 31371"/>
                <a:gd name="connsiteY8" fmla="*/ 17927 h 31371"/>
                <a:gd name="connsiteX9" fmla="*/ 13445 w 31371"/>
                <a:gd name="connsiteY9" fmla="*/ 17927 h 31371"/>
                <a:gd name="connsiteX10" fmla="*/ 13445 w 31371"/>
                <a:gd name="connsiteY10" fmla="*/ 29131 h 31371"/>
                <a:gd name="connsiteX11" fmla="*/ 15686 w 31371"/>
                <a:gd name="connsiteY11" fmla="*/ 31372 h 31371"/>
                <a:gd name="connsiteX12" fmla="*/ 17927 w 31371"/>
                <a:gd name="connsiteY12" fmla="*/ 29131 h 31371"/>
                <a:gd name="connsiteX13" fmla="*/ 17927 w 31371"/>
                <a:gd name="connsiteY13" fmla="*/ 17927 h 31371"/>
                <a:gd name="connsiteX14" fmla="*/ 29131 w 31371"/>
                <a:gd name="connsiteY14" fmla="*/ 17927 h 31371"/>
                <a:gd name="connsiteX15" fmla="*/ 31372 w 31371"/>
                <a:gd name="connsiteY15" fmla="*/ 15686 h 31371"/>
                <a:gd name="connsiteX16" fmla="*/ 29131 w 31371"/>
                <a:gd name="connsiteY16" fmla="*/ 13445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31371">
                  <a:moveTo>
                    <a:pt x="29131" y="13445"/>
                  </a:moveTo>
                  <a:lnTo>
                    <a:pt x="17927" y="13445"/>
                  </a:lnTo>
                  <a:lnTo>
                    <a:pt x="17927" y="2241"/>
                  </a:lnTo>
                  <a:cubicBezTo>
                    <a:pt x="17927" y="896"/>
                    <a:pt x="17030" y="0"/>
                    <a:pt x="15686" y="0"/>
                  </a:cubicBezTo>
                  <a:cubicBezTo>
                    <a:pt x="14341" y="0"/>
                    <a:pt x="13445" y="896"/>
                    <a:pt x="13445" y="2241"/>
                  </a:cubicBezTo>
                  <a:lnTo>
                    <a:pt x="13445" y="13445"/>
                  </a:lnTo>
                  <a:lnTo>
                    <a:pt x="2241" y="13445"/>
                  </a:lnTo>
                  <a:cubicBezTo>
                    <a:pt x="896" y="13445"/>
                    <a:pt x="0" y="14342"/>
                    <a:pt x="0" y="15686"/>
                  </a:cubicBezTo>
                  <a:cubicBezTo>
                    <a:pt x="0" y="17031"/>
                    <a:pt x="896" y="17927"/>
                    <a:pt x="2241" y="17927"/>
                  </a:cubicBezTo>
                  <a:lnTo>
                    <a:pt x="13445" y="17927"/>
                  </a:lnTo>
                  <a:lnTo>
                    <a:pt x="13445" y="29131"/>
                  </a:lnTo>
                  <a:cubicBezTo>
                    <a:pt x="13445" y="30476"/>
                    <a:pt x="14341" y="31372"/>
                    <a:pt x="15686" y="31372"/>
                  </a:cubicBezTo>
                  <a:cubicBezTo>
                    <a:pt x="17030" y="31372"/>
                    <a:pt x="17927" y="30476"/>
                    <a:pt x="17927" y="29131"/>
                  </a:cubicBezTo>
                  <a:lnTo>
                    <a:pt x="17927" y="17927"/>
                  </a:lnTo>
                  <a:lnTo>
                    <a:pt x="29131" y="17927"/>
                  </a:lnTo>
                  <a:cubicBezTo>
                    <a:pt x="30475" y="17927"/>
                    <a:pt x="31372" y="17031"/>
                    <a:pt x="31372" y="15686"/>
                  </a:cubicBezTo>
                  <a:cubicBezTo>
                    <a:pt x="31372" y="14342"/>
                    <a:pt x="30027" y="13445"/>
                    <a:pt x="29131" y="13445"/>
                  </a:cubicBezTo>
                  <a:close/>
                </a:path>
              </a:pathLst>
            </a:custGeom>
            <a:solidFill>
              <a:srgbClr val="231F20"/>
            </a:solidFill>
            <a:ln w="4477" cap="flat">
              <a:noFill/>
              <a:prstDash val="solid"/>
              <a:miter/>
            </a:ln>
          </p:spPr>
          <p:txBody>
            <a:bodyPr rtlCol="0" anchor="ctr"/>
            <a:lstStyle/>
            <a:p>
              <a:endParaRPr lang="en-US"/>
            </a:p>
          </p:txBody>
        </p:sp>
        <p:sp>
          <p:nvSpPr>
            <p:cNvPr id="2655" name="Freeform: Shape 2654">
              <a:extLst>
                <a:ext uri="{FF2B5EF4-FFF2-40B4-BE49-F238E27FC236}">
                  <a16:creationId xmlns:a16="http://schemas.microsoft.com/office/drawing/2014/main" id="{B0207B56-81DD-4B86-9787-0BDD489F239F}"/>
                </a:ext>
              </a:extLst>
            </p:cNvPr>
            <p:cNvSpPr/>
            <p:nvPr/>
          </p:nvSpPr>
          <p:spPr>
            <a:xfrm>
              <a:off x="10946119" y="3157329"/>
              <a:ext cx="134451" cy="152378"/>
            </a:xfrm>
            <a:custGeom>
              <a:avLst/>
              <a:gdLst>
                <a:gd name="connsiteX0" fmla="*/ 118317 w 134451"/>
                <a:gd name="connsiteY0" fmla="*/ 77100 h 152377"/>
                <a:gd name="connsiteX1" fmla="*/ 130417 w 134451"/>
                <a:gd name="connsiteY1" fmla="*/ 96371 h 152377"/>
                <a:gd name="connsiteX2" fmla="*/ 131314 w 134451"/>
                <a:gd name="connsiteY2" fmla="*/ 96371 h 152377"/>
                <a:gd name="connsiteX3" fmla="*/ 133555 w 134451"/>
                <a:gd name="connsiteY3" fmla="*/ 95027 h 152377"/>
                <a:gd name="connsiteX4" fmla="*/ 132658 w 134451"/>
                <a:gd name="connsiteY4" fmla="*/ 91890 h 152377"/>
                <a:gd name="connsiteX5" fmla="*/ 123247 w 134451"/>
                <a:gd name="connsiteY5" fmla="*/ 76652 h 152377"/>
                <a:gd name="connsiteX6" fmla="*/ 123695 w 134451"/>
                <a:gd name="connsiteY6" fmla="*/ 73515 h 152377"/>
                <a:gd name="connsiteX7" fmla="*/ 127280 w 134451"/>
                <a:gd name="connsiteY7" fmla="*/ 70377 h 152377"/>
                <a:gd name="connsiteX8" fmla="*/ 137140 w 134451"/>
                <a:gd name="connsiteY8" fmla="*/ 43039 h 152377"/>
                <a:gd name="connsiteX9" fmla="*/ 137589 w 134451"/>
                <a:gd name="connsiteY9" fmla="*/ 40350 h 152377"/>
                <a:gd name="connsiteX10" fmla="*/ 137589 w 134451"/>
                <a:gd name="connsiteY10" fmla="*/ 22872 h 152377"/>
                <a:gd name="connsiteX11" fmla="*/ 104872 w 134451"/>
                <a:gd name="connsiteY11" fmla="*/ 15 h 152377"/>
                <a:gd name="connsiteX12" fmla="*/ 88738 w 134451"/>
                <a:gd name="connsiteY12" fmla="*/ 3600 h 152377"/>
                <a:gd name="connsiteX13" fmla="*/ 88738 w 134451"/>
                <a:gd name="connsiteY13" fmla="*/ 3600 h 152377"/>
                <a:gd name="connsiteX14" fmla="*/ 71259 w 134451"/>
                <a:gd name="connsiteY14" fmla="*/ 15 h 152377"/>
                <a:gd name="connsiteX15" fmla="*/ 38991 w 134451"/>
                <a:gd name="connsiteY15" fmla="*/ 22872 h 152377"/>
                <a:gd name="connsiteX16" fmla="*/ 38991 w 134451"/>
                <a:gd name="connsiteY16" fmla="*/ 40350 h 152377"/>
                <a:gd name="connsiteX17" fmla="*/ 38991 w 134451"/>
                <a:gd name="connsiteY17" fmla="*/ 41695 h 152377"/>
                <a:gd name="connsiteX18" fmla="*/ 49747 w 134451"/>
                <a:gd name="connsiteY18" fmla="*/ 69929 h 152377"/>
                <a:gd name="connsiteX19" fmla="*/ 52436 w 134451"/>
                <a:gd name="connsiteY19" fmla="*/ 72618 h 152377"/>
                <a:gd name="connsiteX20" fmla="*/ 52884 w 134451"/>
                <a:gd name="connsiteY20" fmla="*/ 76652 h 152377"/>
                <a:gd name="connsiteX21" fmla="*/ 36750 w 134451"/>
                <a:gd name="connsiteY21" fmla="*/ 93682 h 152377"/>
                <a:gd name="connsiteX22" fmla="*/ 0 w 134451"/>
                <a:gd name="connsiteY22" fmla="*/ 131329 h 152377"/>
                <a:gd name="connsiteX23" fmla="*/ 0 w 134451"/>
                <a:gd name="connsiteY23" fmla="*/ 138499 h 152377"/>
                <a:gd name="connsiteX24" fmla="*/ 0 w 134451"/>
                <a:gd name="connsiteY24" fmla="*/ 150600 h 152377"/>
                <a:gd name="connsiteX25" fmla="*/ 2241 w 134451"/>
                <a:gd name="connsiteY25" fmla="*/ 152841 h 152377"/>
                <a:gd name="connsiteX26" fmla="*/ 2241 w 134451"/>
                <a:gd name="connsiteY26" fmla="*/ 152841 h 152377"/>
                <a:gd name="connsiteX27" fmla="*/ 4482 w 134451"/>
                <a:gd name="connsiteY27" fmla="*/ 150600 h 152377"/>
                <a:gd name="connsiteX28" fmla="*/ 4482 w 134451"/>
                <a:gd name="connsiteY28" fmla="*/ 138499 h 152377"/>
                <a:gd name="connsiteX29" fmla="*/ 4482 w 134451"/>
                <a:gd name="connsiteY29" fmla="*/ 131329 h 152377"/>
                <a:gd name="connsiteX30" fmla="*/ 36750 w 134451"/>
                <a:gd name="connsiteY30" fmla="*/ 98164 h 152377"/>
                <a:gd name="connsiteX31" fmla="*/ 57366 w 134451"/>
                <a:gd name="connsiteY31" fmla="*/ 76652 h 152377"/>
                <a:gd name="connsiteX32" fmla="*/ 57366 w 134451"/>
                <a:gd name="connsiteY32" fmla="*/ 75756 h 152377"/>
                <a:gd name="connsiteX33" fmla="*/ 71707 w 134451"/>
                <a:gd name="connsiteY33" fmla="*/ 79341 h 152377"/>
                <a:gd name="connsiteX34" fmla="*/ 72156 w 134451"/>
                <a:gd name="connsiteY34" fmla="*/ 79341 h 152377"/>
                <a:gd name="connsiteX35" fmla="*/ 86497 w 134451"/>
                <a:gd name="connsiteY35" fmla="*/ 76204 h 152377"/>
                <a:gd name="connsiteX36" fmla="*/ 86497 w 134451"/>
                <a:gd name="connsiteY36" fmla="*/ 77100 h 152377"/>
                <a:gd name="connsiteX37" fmla="*/ 70363 w 134451"/>
                <a:gd name="connsiteY37" fmla="*/ 94131 h 152377"/>
                <a:gd name="connsiteX38" fmla="*/ 33613 w 134451"/>
                <a:gd name="connsiteY38" fmla="*/ 131777 h 152377"/>
                <a:gd name="connsiteX39" fmla="*/ 33613 w 134451"/>
                <a:gd name="connsiteY39" fmla="*/ 138948 h 152377"/>
                <a:gd name="connsiteX40" fmla="*/ 33613 w 134451"/>
                <a:gd name="connsiteY40" fmla="*/ 151048 h 152377"/>
                <a:gd name="connsiteX41" fmla="*/ 35854 w 134451"/>
                <a:gd name="connsiteY41" fmla="*/ 153289 h 152377"/>
                <a:gd name="connsiteX42" fmla="*/ 35854 w 134451"/>
                <a:gd name="connsiteY42" fmla="*/ 153289 h 152377"/>
                <a:gd name="connsiteX43" fmla="*/ 38094 w 134451"/>
                <a:gd name="connsiteY43" fmla="*/ 151048 h 152377"/>
                <a:gd name="connsiteX44" fmla="*/ 38094 w 134451"/>
                <a:gd name="connsiteY44" fmla="*/ 138948 h 152377"/>
                <a:gd name="connsiteX45" fmla="*/ 38094 w 134451"/>
                <a:gd name="connsiteY45" fmla="*/ 131777 h 152377"/>
                <a:gd name="connsiteX46" fmla="*/ 70363 w 134451"/>
                <a:gd name="connsiteY46" fmla="*/ 98612 h 152377"/>
                <a:gd name="connsiteX47" fmla="*/ 90979 w 134451"/>
                <a:gd name="connsiteY47" fmla="*/ 77100 h 152377"/>
                <a:gd name="connsiteX48" fmla="*/ 90979 w 134451"/>
                <a:gd name="connsiteY48" fmla="*/ 76204 h 152377"/>
                <a:gd name="connsiteX49" fmla="*/ 105320 w 134451"/>
                <a:gd name="connsiteY49" fmla="*/ 79789 h 152377"/>
                <a:gd name="connsiteX50" fmla="*/ 105768 w 134451"/>
                <a:gd name="connsiteY50" fmla="*/ 79789 h 152377"/>
                <a:gd name="connsiteX51" fmla="*/ 118317 w 134451"/>
                <a:gd name="connsiteY51" fmla="*/ 77100 h 152377"/>
                <a:gd name="connsiteX52" fmla="*/ 118317 w 134451"/>
                <a:gd name="connsiteY52" fmla="*/ 77100 h 152377"/>
                <a:gd name="connsiteX53" fmla="*/ 71259 w 134451"/>
                <a:gd name="connsiteY53" fmla="*/ 75307 h 152377"/>
                <a:gd name="connsiteX54" fmla="*/ 52436 w 134451"/>
                <a:gd name="connsiteY54" fmla="*/ 67689 h 152377"/>
                <a:gd name="connsiteX55" fmla="*/ 43025 w 134451"/>
                <a:gd name="connsiteY55" fmla="*/ 41695 h 152377"/>
                <a:gd name="connsiteX56" fmla="*/ 43025 w 134451"/>
                <a:gd name="connsiteY56" fmla="*/ 40350 h 152377"/>
                <a:gd name="connsiteX57" fmla="*/ 43025 w 134451"/>
                <a:gd name="connsiteY57" fmla="*/ 24216 h 152377"/>
                <a:gd name="connsiteX58" fmla="*/ 71259 w 134451"/>
                <a:gd name="connsiteY58" fmla="*/ 4945 h 152377"/>
                <a:gd name="connsiteX59" fmla="*/ 83360 w 134451"/>
                <a:gd name="connsiteY59" fmla="*/ 6737 h 152377"/>
                <a:gd name="connsiteX60" fmla="*/ 72604 w 134451"/>
                <a:gd name="connsiteY60" fmla="*/ 23320 h 152377"/>
                <a:gd name="connsiteX61" fmla="*/ 72604 w 134451"/>
                <a:gd name="connsiteY61" fmla="*/ 40798 h 152377"/>
                <a:gd name="connsiteX62" fmla="*/ 72604 w 134451"/>
                <a:gd name="connsiteY62" fmla="*/ 42143 h 152377"/>
                <a:gd name="connsiteX63" fmla="*/ 83360 w 134451"/>
                <a:gd name="connsiteY63" fmla="*/ 70377 h 152377"/>
                <a:gd name="connsiteX64" fmla="*/ 84704 w 134451"/>
                <a:gd name="connsiteY64" fmla="*/ 71722 h 152377"/>
                <a:gd name="connsiteX65" fmla="*/ 71259 w 134451"/>
                <a:gd name="connsiteY65" fmla="*/ 75307 h 152377"/>
                <a:gd name="connsiteX66" fmla="*/ 105320 w 134451"/>
                <a:gd name="connsiteY66" fmla="*/ 75307 h 152377"/>
                <a:gd name="connsiteX67" fmla="*/ 105320 w 134451"/>
                <a:gd name="connsiteY67" fmla="*/ 75307 h 152377"/>
                <a:gd name="connsiteX68" fmla="*/ 105320 w 134451"/>
                <a:gd name="connsiteY68" fmla="*/ 75307 h 152377"/>
                <a:gd name="connsiteX69" fmla="*/ 86497 w 134451"/>
                <a:gd name="connsiteY69" fmla="*/ 67689 h 152377"/>
                <a:gd name="connsiteX70" fmla="*/ 77085 w 134451"/>
                <a:gd name="connsiteY70" fmla="*/ 41695 h 152377"/>
                <a:gd name="connsiteX71" fmla="*/ 77085 w 134451"/>
                <a:gd name="connsiteY71" fmla="*/ 40350 h 152377"/>
                <a:gd name="connsiteX72" fmla="*/ 77085 w 134451"/>
                <a:gd name="connsiteY72" fmla="*/ 24216 h 152377"/>
                <a:gd name="connsiteX73" fmla="*/ 105320 w 134451"/>
                <a:gd name="connsiteY73" fmla="*/ 4945 h 152377"/>
                <a:gd name="connsiteX74" fmla="*/ 133555 w 134451"/>
                <a:gd name="connsiteY74" fmla="*/ 24216 h 152377"/>
                <a:gd name="connsiteX75" fmla="*/ 133555 w 134451"/>
                <a:gd name="connsiteY75" fmla="*/ 40350 h 152377"/>
                <a:gd name="connsiteX76" fmla="*/ 133107 w 134451"/>
                <a:gd name="connsiteY76" fmla="*/ 43039 h 152377"/>
                <a:gd name="connsiteX77" fmla="*/ 124143 w 134451"/>
                <a:gd name="connsiteY77" fmla="*/ 68137 h 152377"/>
                <a:gd name="connsiteX78" fmla="*/ 105320 w 134451"/>
                <a:gd name="connsiteY78" fmla="*/ 7530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4451" h="152377">
                  <a:moveTo>
                    <a:pt x="118317" y="77100"/>
                  </a:moveTo>
                  <a:cubicBezTo>
                    <a:pt x="118317" y="85615"/>
                    <a:pt x="123247" y="93234"/>
                    <a:pt x="130417" y="96371"/>
                  </a:cubicBezTo>
                  <a:cubicBezTo>
                    <a:pt x="130866" y="96371"/>
                    <a:pt x="130866" y="96371"/>
                    <a:pt x="131314" y="96371"/>
                  </a:cubicBezTo>
                  <a:cubicBezTo>
                    <a:pt x="132210" y="96371"/>
                    <a:pt x="133107" y="95923"/>
                    <a:pt x="133555" y="95027"/>
                  </a:cubicBezTo>
                  <a:cubicBezTo>
                    <a:pt x="134003" y="93682"/>
                    <a:pt x="133555" y="92786"/>
                    <a:pt x="132658" y="91890"/>
                  </a:cubicBezTo>
                  <a:cubicBezTo>
                    <a:pt x="126832" y="89201"/>
                    <a:pt x="123247" y="83375"/>
                    <a:pt x="123247" y="76652"/>
                  </a:cubicBezTo>
                  <a:cubicBezTo>
                    <a:pt x="123247" y="75756"/>
                    <a:pt x="123247" y="74411"/>
                    <a:pt x="123695" y="73515"/>
                  </a:cubicBezTo>
                  <a:cubicBezTo>
                    <a:pt x="125040" y="72618"/>
                    <a:pt x="125936" y="71722"/>
                    <a:pt x="127280" y="70377"/>
                  </a:cubicBezTo>
                  <a:cubicBezTo>
                    <a:pt x="134451" y="62310"/>
                    <a:pt x="135796" y="51106"/>
                    <a:pt x="137140" y="43039"/>
                  </a:cubicBezTo>
                  <a:lnTo>
                    <a:pt x="137589" y="40350"/>
                  </a:lnTo>
                  <a:cubicBezTo>
                    <a:pt x="139381" y="30939"/>
                    <a:pt x="137589" y="22872"/>
                    <a:pt x="137589" y="22872"/>
                  </a:cubicBezTo>
                  <a:cubicBezTo>
                    <a:pt x="132658" y="-882"/>
                    <a:pt x="104872" y="15"/>
                    <a:pt x="104872" y="15"/>
                  </a:cubicBezTo>
                  <a:cubicBezTo>
                    <a:pt x="104872" y="15"/>
                    <a:pt x="96805" y="15"/>
                    <a:pt x="88738" y="3600"/>
                  </a:cubicBezTo>
                  <a:cubicBezTo>
                    <a:pt x="88738" y="3600"/>
                    <a:pt x="88738" y="3600"/>
                    <a:pt x="88738" y="3600"/>
                  </a:cubicBezTo>
                  <a:cubicBezTo>
                    <a:pt x="80223" y="-433"/>
                    <a:pt x="71707" y="15"/>
                    <a:pt x="71259" y="15"/>
                  </a:cubicBezTo>
                  <a:cubicBezTo>
                    <a:pt x="70811" y="15"/>
                    <a:pt x="43473" y="-433"/>
                    <a:pt x="38991" y="22872"/>
                  </a:cubicBezTo>
                  <a:cubicBezTo>
                    <a:pt x="38991" y="23320"/>
                    <a:pt x="37198" y="30939"/>
                    <a:pt x="38991" y="40350"/>
                  </a:cubicBezTo>
                  <a:lnTo>
                    <a:pt x="38991" y="41695"/>
                  </a:lnTo>
                  <a:cubicBezTo>
                    <a:pt x="40335" y="50210"/>
                    <a:pt x="42128" y="61414"/>
                    <a:pt x="49747" y="69929"/>
                  </a:cubicBezTo>
                  <a:cubicBezTo>
                    <a:pt x="50643" y="70826"/>
                    <a:pt x="51540" y="71722"/>
                    <a:pt x="52436" y="72618"/>
                  </a:cubicBezTo>
                  <a:cubicBezTo>
                    <a:pt x="52884" y="73963"/>
                    <a:pt x="52884" y="75307"/>
                    <a:pt x="52884" y="76652"/>
                  </a:cubicBezTo>
                  <a:cubicBezTo>
                    <a:pt x="52884" y="86063"/>
                    <a:pt x="45713" y="93682"/>
                    <a:pt x="36750" y="93682"/>
                  </a:cubicBezTo>
                  <a:cubicBezTo>
                    <a:pt x="16582" y="93682"/>
                    <a:pt x="448" y="110265"/>
                    <a:pt x="0" y="131329"/>
                  </a:cubicBezTo>
                  <a:lnTo>
                    <a:pt x="0" y="138499"/>
                  </a:lnTo>
                  <a:lnTo>
                    <a:pt x="0" y="150600"/>
                  </a:lnTo>
                  <a:cubicBezTo>
                    <a:pt x="0" y="151945"/>
                    <a:pt x="896" y="152841"/>
                    <a:pt x="2241" y="152841"/>
                  </a:cubicBezTo>
                  <a:cubicBezTo>
                    <a:pt x="2241" y="152841"/>
                    <a:pt x="2241" y="152841"/>
                    <a:pt x="2241" y="152841"/>
                  </a:cubicBezTo>
                  <a:cubicBezTo>
                    <a:pt x="3586" y="152841"/>
                    <a:pt x="4482" y="151945"/>
                    <a:pt x="4482" y="150600"/>
                  </a:cubicBezTo>
                  <a:lnTo>
                    <a:pt x="4482" y="138499"/>
                  </a:lnTo>
                  <a:lnTo>
                    <a:pt x="4482" y="131329"/>
                  </a:lnTo>
                  <a:cubicBezTo>
                    <a:pt x="4930" y="112954"/>
                    <a:pt x="19272" y="98164"/>
                    <a:pt x="36750" y="98164"/>
                  </a:cubicBezTo>
                  <a:cubicBezTo>
                    <a:pt x="47954" y="98164"/>
                    <a:pt x="57366" y="88752"/>
                    <a:pt x="57366" y="76652"/>
                  </a:cubicBezTo>
                  <a:cubicBezTo>
                    <a:pt x="57366" y="76204"/>
                    <a:pt x="57366" y="76204"/>
                    <a:pt x="57366" y="75756"/>
                  </a:cubicBezTo>
                  <a:cubicBezTo>
                    <a:pt x="64089" y="78893"/>
                    <a:pt x="70811" y="79341"/>
                    <a:pt x="71707" y="79341"/>
                  </a:cubicBezTo>
                  <a:cubicBezTo>
                    <a:pt x="71707" y="79341"/>
                    <a:pt x="71707" y="79341"/>
                    <a:pt x="72156" y="79341"/>
                  </a:cubicBezTo>
                  <a:cubicBezTo>
                    <a:pt x="73948" y="79341"/>
                    <a:pt x="80223" y="79341"/>
                    <a:pt x="86497" y="76204"/>
                  </a:cubicBezTo>
                  <a:cubicBezTo>
                    <a:pt x="86497" y="76652"/>
                    <a:pt x="86497" y="76652"/>
                    <a:pt x="86497" y="77100"/>
                  </a:cubicBezTo>
                  <a:cubicBezTo>
                    <a:pt x="86497" y="86512"/>
                    <a:pt x="79326" y="94131"/>
                    <a:pt x="70363" y="94131"/>
                  </a:cubicBezTo>
                  <a:cubicBezTo>
                    <a:pt x="50195" y="94131"/>
                    <a:pt x="34061" y="110713"/>
                    <a:pt x="33613" y="131777"/>
                  </a:cubicBezTo>
                  <a:lnTo>
                    <a:pt x="33613" y="138948"/>
                  </a:lnTo>
                  <a:lnTo>
                    <a:pt x="33613" y="151048"/>
                  </a:lnTo>
                  <a:cubicBezTo>
                    <a:pt x="33613" y="152393"/>
                    <a:pt x="34509" y="153289"/>
                    <a:pt x="35854" y="153289"/>
                  </a:cubicBezTo>
                  <a:cubicBezTo>
                    <a:pt x="35854" y="153289"/>
                    <a:pt x="35854" y="153289"/>
                    <a:pt x="35854" y="153289"/>
                  </a:cubicBezTo>
                  <a:cubicBezTo>
                    <a:pt x="37198" y="153289"/>
                    <a:pt x="38094" y="152393"/>
                    <a:pt x="38094" y="151048"/>
                  </a:cubicBezTo>
                  <a:lnTo>
                    <a:pt x="38094" y="138948"/>
                  </a:lnTo>
                  <a:lnTo>
                    <a:pt x="38094" y="131777"/>
                  </a:lnTo>
                  <a:cubicBezTo>
                    <a:pt x="38543" y="113402"/>
                    <a:pt x="52884" y="98612"/>
                    <a:pt x="70363" y="98612"/>
                  </a:cubicBezTo>
                  <a:cubicBezTo>
                    <a:pt x="81567" y="98612"/>
                    <a:pt x="90979" y="89201"/>
                    <a:pt x="90979" y="77100"/>
                  </a:cubicBezTo>
                  <a:cubicBezTo>
                    <a:pt x="90979" y="76652"/>
                    <a:pt x="90979" y="76652"/>
                    <a:pt x="90979" y="76204"/>
                  </a:cubicBezTo>
                  <a:cubicBezTo>
                    <a:pt x="97701" y="79341"/>
                    <a:pt x="104424" y="79789"/>
                    <a:pt x="105320" y="79789"/>
                  </a:cubicBezTo>
                  <a:cubicBezTo>
                    <a:pt x="105320" y="79789"/>
                    <a:pt x="105320" y="79789"/>
                    <a:pt x="105768" y="79789"/>
                  </a:cubicBezTo>
                  <a:cubicBezTo>
                    <a:pt x="106665" y="79789"/>
                    <a:pt x="112491" y="79789"/>
                    <a:pt x="118317" y="77100"/>
                  </a:cubicBezTo>
                  <a:cubicBezTo>
                    <a:pt x="118317" y="77100"/>
                    <a:pt x="118317" y="77100"/>
                    <a:pt x="118317" y="77100"/>
                  </a:cubicBezTo>
                  <a:close/>
                  <a:moveTo>
                    <a:pt x="71259" y="75307"/>
                  </a:moveTo>
                  <a:cubicBezTo>
                    <a:pt x="71259" y="75307"/>
                    <a:pt x="59159" y="75307"/>
                    <a:pt x="52436" y="67689"/>
                  </a:cubicBezTo>
                  <a:cubicBezTo>
                    <a:pt x="45713" y="60070"/>
                    <a:pt x="43921" y="49314"/>
                    <a:pt x="43025" y="41695"/>
                  </a:cubicBezTo>
                  <a:lnTo>
                    <a:pt x="43025" y="40350"/>
                  </a:lnTo>
                  <a:cubicBezTo>
                    <a:pt x="41680" y="31835"/>
                    <a:pt x="43025" y="24216"/>
                    <a:pt x="43025" y="24216"/>
                  </a:cubicBezTo>
                  <a:cubicBezTo>
                    <a:pt x="47058" y="4497"/>
                    <a:pt x="69915" y="4945"/>
                    <a:pt x="71259" y="4945"/>
                  </a:cubicBezTo>
                  <a:cubicBezTo>
                    <a:pt x="71259" y="4945"/>
                    <a:pt x="77085" y="4945"/>
                    <a:pt x="83360" y="6737"/>
                  </a:cubicBezTo>
                  <a:cubicBezTo>
                    <a:pt x="78430" y="10323"/>
                    <a:pt x="73948" y="15253"/>
                    <a:pt x="72604" y="23320"/>
                  </a:cubicBezTo>
                  <a:cubicBezTo>
                    <a:pt x="72604" y="23768"/>
                    <a:pt x="70811" y="31387"/>
                    <a:pt x="72604" y="40798"/>
                  </a:cubicBezTo>
                  <a:lnTo>
                    <a:pt x="72604" y="42143"/>
                  </a:lnTo>
                  <a:cubicBezTo>
                    <a:pt x="73948" y="50658"/>
                    <a:pt x="75741" y="61862"/>
                    <a:pt x="83360" y="70377"/>
                  </a:cubicBezTo>
                  <a:cubicBezTo>
                    <a:pt x="83808" y="70826"/>
                    <a:pt x="84256" y="71274"/>
                    <a:pt x="84704" y="71722"/>
                  </a:cubicBezTo>
                  <a:cubicBezTo>
                    <a:pt x="77982" y="75307"/>
                    <a:pt x="71259" y="75307"/>
                    <a:pt x="71259" y="75307"/>
                  </a:cubicBezTo>
                  <a:close/>
                  <a:moveTo>
                    <a:pt x="105320" y="75307"/>
                  </a:moveTo>
                  <a:cubicBezTo>
                    <a:pt x="104872" y="75307"/>
                    <a:pt x="104872" y="75307"/>
                    <a:pt x="105320" y="75307"/>
                  </a:cubicBezTo>
                  <a:cubicBezTo>
                    <a:pt x="104872" y="75307"/>
                    <a:pt x="104872" y="75307"/>
                    <a:pt x="105320" y="75307"/>
                  </a:cubicBezTo>
                  <a:cubicBezTo>
                    <a:pt x="104872" y="75307"/>
                    <a:pt x="92771" y="75307"/>
                    <a:pt x="86497" y="67689"/>
                  </a:cubicBezTo>
                  <a:cubicBezTo>
                    <a:pt x="79775" y="60070"/>
                    <a:pt x="77982" y="49314"/>
                    <a:pt x="77085" y="41695"/>
                  </a:cubicBezTo>
                  <a:lnTo>
                    <a:pt x="77085" y="40350"/>
                  </a:lnTo>
                  <a:cubicBezTo>
                    <a:pt x="75741" y="31835"/>
                    <a:pt x="77085" y="24216"/>
                    <a:pt x="77085" y="24216"/>
                  </a:cubicBezTo>
                  <a:cubicBezTo>
                    <a:pt x="81119" y="4497"/>
                    <a:pt x="103976" y="4945"/>
                    <a:pt x="105320" y="4945"/>
                  </a:cubicBezTo>
                  <a:cubicBezTo>
                    <a:pt x="105768" y="4945"/>
                    <a:pt x="129521" y="4048"/>
                    <a:pt x="133555" y="24216"/>
                  </a:cubicBezTo>
                  <a:cubicBezTo>
                    <a:pt x="133555" y="24216"/>
                    <a:pt x="134899" y="31387"/>
                    <a:pt x="133555" y="40350"/>
                  </a:cubicBezTo>
                  <a:lnTo>
                    <a:pt x="133107" y="43039"/>
                  </a:lnTo>
                  <a:cubicBezTo>
                    <a:pt x="131762" y="51106"/>
                    <a:pt x="130417" y="60966"/>
                    <a:pt x="124143" y="68137"/>
                  </a:cubicBezTo>
                  <a:cubicBezTo>
                    <a:pt x="117421" y="75307"/>
                    <a:pt x="106665" y="75307"/>
                    <a:pt x="105320" y="75307"/>
                  </a:cubicBezTo>
                  <a:close/>
                </a:path>
              </a:pathLst>
            </a:custGeom>
            <a:solidFill>
              <a:srgbClr val="231F20"/>
            </a:solidFill>
            <a:ln w="4477" cap="flat">
              <a:noFill/>
              <a:prstDash val="solid"/>
              <a:miter/>
            </a:ln>
          </p:spPr>
          <p:txBody>
            <a:bodyPr rtlCol="0" anchor="ctr"/>
            <a:lstStyle/>
            <a:p>
              <a:endParaRPr lang="en-US"/>
            </a:p>
          </p:txBody>
        </p:sp>
      </p:grpSp>
      <p:sp>
        <p:nvSpPr>
          <p:cNvPr id="2625" name="Graphic 2733">
            <a:extLst>
              <a:ext uri="{FF2B5EF4-FFF2-40B4-BE49-F238E27FC236}">
                <a16:creationId xmlns:a16="http://schemas.microsoft.com/office/drawing/2014/main" id="{0852D98C-39C6-4249-9354-350E1DB15EF0}"/>
              </a:ext>
              <a:ext uri="{C183D7F6-B498-43B3-948B-1728B52AA6E4}">
                <adec:decorative xmlns:adec="http://schemas.microsoft.com/office/drawing/2017/decorative" val="1"/>
              </a:ext>
            </a:extLst>
          </p:cNvPr>
          <p:cNvSpPr>
            <a:spLocks noChangeAspect="1"/>
          </p:cNvSpPr>
          <p:nvPr/>
        </p:nvSpPr>
        <p:spPr>
          <a:xfrm>
            <a:off x="10912028" y="3832670"/>
            <a:ext cx="138789" cy="130114"/>
          </a:xfrm>
          <a:custGeom>
            <a:avLst/>
            <a:gdLst>
              <a:gd name="connsiteX0" fmla="*/ 99754 w 138788"/>
              <a:gd name="connsiteY0" fmla="*/ 0 h 130113"/>
              <a:gd name="connsiteX1" fmla="*/ 70262 w 138788"/>
              <a:gd name="connsiteY1" fmla="*/ 7373 h 130113"/>
              <a:gd name="connsiteX2" fmla="*/ 41203 w 138788"/>
              <a:gd name="connsiteY2" fmla="*/ 0 h 130113"/>
              <a:gd name="connsiteX3" fmla="*/ 0 w 138788"/>
              <a:gd name="connsiteY3" fmla="*/ 24722 h 130113"/>
              <a:gd name="connsiteX4" fmla="*/ 0 w 138788"/>
              <a:gd name="connsiteY4" fmla="*/ 52479 h 130113"/>
              <a:gd name="connsiteX5" fmla="*/ 0 w 138788"/>
              <a:gd name="connsiteY5" fmla="*/ 80237 h 130113"/>
              <a:gd name="connsiteX6" fmla="*/ 0 w 138788"/>
              <a:gd name="connsiteY6" fmla="*/ 107995 h 130113"/>
              <a:gd name="connsiteX7" fmla="*/ 41203 w 138788"/>
              <a:gd name="connsiteY7" fmla="*/ 132716 h 130113"/>
              <a:gd name="connsiteX8" fmla="*/ 70262 w 138788"/>
              <a:gd name="connsiteY8" fmla="*/ 125343 h 130113"/>
              <a:gd name="connsiteX9" fmla="*/ 99754 w 138788"/>
              <a:gd name="connsiteY9" fmla="*/ 132716 h 130113"/>
              <a:gd name="connsiteX10" fmla="*/ 140957 w 138788"/>
              <a:gd name="connsiteY10" fmla="*/ 107995 h 130113"/>
              <a:gd name="connsiteX11" fmla="*/ 140957 w 138788"/>
              <a:gd name="connsiteY11" fmla="*/ 80237 h 130113"/>
              <a:gd name="connsiteX12" fmla="*/ 140957 w 138788"/>
              <a:gd name="connsiteY12" fmla="*/ 52479 h 130113"/>
              <a:gd name="connsiteX13" fmla="*/ 140957 w 138788"/>
              <a:gd name="connsiteY13" fmla="*/ 24722 h 130113"/>
              <a:gd name="connsiteX14" fmla="*/ 99754 w 138788"/>
              <a:gd name="connsiteY14" fmla="*/ 0 h 130113"/>
              <a:gd name="connsiteX15" fmla="*/ 136620 w 138788"/>
              <a:gd name="connsiteY15" fmla="*/ 24722 h 130113"/>
              <a:gd name="connsiteX16" fmla="*/ 129247 w 138788"/>
              <a:gd name="connsiteY16" fmla="*/ 36866 h 130113"/>
              <a:gd name="connsiteX17" fmla="*/ 99754 w 138788"/>
              <a:gd name="connsiteY17" fmla="*/ 45106 h 130113"/>
              <a:gd name="connsiteX18" fmla="*/ 80671 w 138788"/>
              <a:gd name="connsiteY18" fmla="*/ 42070 h 130113"/>
              <a:gd name="connsiteX19" fmla="*/ 71563 w 138788"/>
              <a:gd name="connsiteY19" fmla="*/ 37733 h 130113"/>
              <a:gd name="connsiteX20" fmla="*/ 70262 w 138788"/>
              <a:gd name="connsiteY20" fmla="*/ 36866 h 130113"/>
              <a:gd name="connsiteX21" fmla="*/ 62889 w 138788"/>
              <a:gd name="connsiteY21" fmla="*/ 24722 h 130113"/>
              <a:gd name="connsiteX22" fmla="*/ 62889 w 138788"/>
              <a:gd name="connsiteY22" fmla="*/ 22987 h 130113"/>
              <a:gd name="connsiteX23" fmla="*/ 71563 w 138788"/>
              <a:gd name="connsiteY23" fmla="*/ 11710 h 130113"/>
              <a:gd name="connsiteX24" fmla="*/ 99754 w 138788"/>
              <a:gd name="connsiteY24" fmla="*/ 4337 h 130113"/>
              <a:gd name="connsiteX25" fmla="*/ 136620 w 138788"/>
              <a:gd name="connsiteY25" fmla="*/ 24722 h 130113"/>
              <a:gd name="connsiteX26" fmla="*/ 41203 w 138788"/>
              <a:gd name="connsiteY26" fmla="*/ 4337 h 130113"/>
              <a:gd name="connsiteX27" fmla="*/ 66358 w 138788"/>
              <a:gd name="connsiteY27" fmla="*/ 9975 h 130113"/>
              <a:gd name="connsiteX28" fmla="*/ 64624 w 138788"/>
              <a:gd name="connsiteY28" fmla="*/ 11710 h 130113"/>
              <a:gd name="connsiteX29" fmla="*/ 64624 w 138788"/>
              <a:gd name="connsiteY29" fmla="*/ 11710 h 130113"/>
              <a:gd name="connsiteX30" fmla="*/ 62889 w 138788"/>
              <a:gd name="connsiteY30" fmla="*/ 13445 h 130113"/>
              <a:gd name="connsiteX31" fmla="*/ 62455 w 138788"/>
              <a:gd name="connsiteY31" fmla="*/ 13879 h 130113"/>
              <a:gd name="connsiteX32" fmla="*/ 61588 w 138788"/>
              <a:gd name="connsiteY32" fmla="*/ 15180 h 130113"/>
              <a:gd name="connsiteX33" fmla="*/ 61154 w 138788"/>
              <a:gd name="connsiteY33" fmla="*/ 16047 h 130113"/>
              <a:gd name="connsiteX34" fmla="*/ 60286 w 138788"/>
              <a:gd name="connsiteY34" fmla="*/ 17349 h 130113"/>
              <a:gd name="connsiteX35" fmla="*/ 59853 w 138788"/>
              <a:gd name="connsiteY35" fmla="*/ 18216 h 130113"/>
              <a:gd name="connsiteX36" fmla="*/ 59419 w 138788"/>
              <a:gd name="connsiteY36" fmla="*/ 19517 h 130113"/>
              <a:gd name="connsiteX37" fmla="*/ 58985 w 138788"/>
              <a:gd name="connsiteY37" fmla="*/ 20385 h 130113"/>
              <a:gd name="connsiteX38" fmla="*/ 58552 w 138788"/>
              <a:gd name="connsiteY38" fmla="*/ 21686 h 130113"/>
              <a:gd name="connsiteX39" fmla="*/ 58552 w 138788"/>
              <a:gd name="connsiteY39" fmla="*/ 22553 h 130113"/>
              <a:gd name="connsiteX40" fmla="*/ 58552 w 138788"/>
              <a:gd name="connsiteY40" fmla="*/ 24722 h 130113"/>
              <a:gd name="connsiteX41" fmla="*/ 58552 w 138788"/>
              <a:gd name="connsiteY41" fmla="*/ 42504 h 130113"/>
              <a:gd name="connsiteX42" fmla="*/ 56817 w 138788"/>
              <a:gd name="connsiteY42" fmla="*/ 42938 h 130113"/>
              <a:gd name="connsiteX43" fmla="*/ 55082 w 138788"/>
              <a:gd name="connsiteY43" fmla="*/ 43371 h 130113"/>
              <a:gd name="connsiteX44" fmla="*/ 52480 w 138788"/>
              <a:gd name="connsiteY44" fmla="*/ 43805 h 130113"/>
              <a:gd name="connsiteX45" fmla="*/ 50745 w 138788"/>
              <a:gd name="connsiteY45" fmla="*/ 44239 h 130113"/>
              <a:gd name="connsiteX46" fmla="*/ 47709 w 138788"/>
              <a:gd name="connsiteY46" fmla="*/ 44672 h 130113"/>
              <a:gd name="connsiteX47" fmla="*/ 45974 w 138788"/>
              <a:gd name="connsiteY47" fmla="*/ 44672 h 130113"/>
              <a:gd name="connsiteX48" fmla="*/ 41203 w 138788"/>
              <a:gd name="connsiteY48" fmla="*/ 44672 h 130113"/>
              <a:gd name="connsiteX49" fmla="*/ 11710 w 138788"/>
              <a:gd name="connsiteY49" fmla="*/ 36432 h 130113"/>
              <a:gd name="connsiteX50" fmla="*/ 4337 w 138788"/>
              <a:gd name="connsiteY50" fmla="*/ 24722 h 130113"/>
              <a:gd name="connsiteX51" fmla="*/ 41203 w 138788"/>
              <a:gd name="connsiteY51" fmla="*/ 4337 h 130113"/>
              <a:gd name="connsiteX52" fmla="*/ 6072 w 138788"/>
              <a:gd name="connsiteY52" fmla="*/ 37733 h 130113"/>
              <a:gd name="connsiteX53" fmla="*/ 6939 w 138788"/>
              <a:gd name="connsiteY53" fmla="*/ 38167 h 130113"/>
              <a:gd name="connsiteX54" fmla="*/ 9108 w 138788"/>
              <a:gd name="connsiteY54" fmla="*/ 40335 h 130113"/>
              <a:gd name="connsiteX55" fmla="*/ 41203 w 138788"/>
              <a:gd name="connsiteY55" fmla="*/ 49443 h 130113"/>
              <a:gd name="connsiteX56" fmla="*/ 45974 w 138788"/>
              <a:gd name="connsiteY56" fmla="*/ 49443 h 130113"/>
              <a:gd name="connsiteX57" fmla="*/ 47709 w 138788"/>
              <a:gd name="connsiteY57" fmla="*/ 49443 h 130113"/>
              <a:gd name="connsiteX58" fmla="*/ 51178 w 138788"/>
              <a:gd name="connsiteY58" fmla="*/ 49010 h 130113"/>
              <a:gd name="connsiteX59" fmla="*/ 52913 w 138788"/>
              <a:gd name="connsiteY59" fmla="*/ 48576 h 130113"/>
              <a:gd name="connsiteX60" fmla="*/ 55949 w 138788"/>
              <a:gd name="connsiteY60" fmla="*/ 48142 h 130113"/>
              <a:gd name="connsiteX61" fmla="*/ 57684 w 138788"/>
              <a:gd name="connsiteY61" fmla="*/ 47708 h 130113"/>
              <a:gd name="connsiteX62" fmla="*/ 58552 w 138788"/>
              <a:gd name="connsiteY62" fmla="*/ 47275 h 130113"/>
              <a:gd name="connsiteX63" fmla="*/ 58552 w 138788"/>
              <a:gd name="connsiteY63" fmla="*/ 52479 h 130113"/>
              <a:gd name="connsiteX64" fmla="*/ 58552 w 138788"/>
              <a:gd name="connsiteY64" fmla="*/ 70695 h 130113"/>
              <a:gd name="connsiteX65" fmla="*/ 58118 w 138788"/>
              <a:gd name="connsiteY65" fmla="*/ 70695 h 130113"/>
              <a:gd name="connsiteX66" fmla="*/ 54214 w 138788"/>
              <a:gd name="connsiteY66" fmla="*/ 71563 h 130113"/>
              <a:gd name="connsiteX67" fmla="*/ 50311 w 138788"/>
              <a:gd name="connsiteY67" fmla="*/ 72430 h 130113"/>
              <a:gd name="connsiteX68" fmla="*/ 45540 w 138788"/>
              <a:gd name="connsiteY68" fmla="*/ 72864 h 130113"/>
              <a:gd name="connsiteX69" fmla="*/ 41203 w 138788"/>
              <a:gd name="connsiteY69" fmla="*/ 72864 h 130113"/>
              <a:gd name="connsiteX70" fmla="*/ 11710 w 138788"/>
              <a:gd name="connsiteY70" fmla="*/ 64623 h 130113"/>
              <a:gd name="connsiteX71" fmla="*/ 4337 w 138788"/>
              <a:gd name="connsiteY71" fmla="*/ 52479 h 130113"/>
              <a:gd name="connsiteX72" fmla="*/ 4337 w 138788"/>
              <a:gd name="connsiteY72" fmla="*/ 35998 h 130113"/>
              <a:gd name="connsiteX73" fmla="*/ 4771 w 138788"/>
              <a:gd name="connsiteY73" fmla="*/ 36432 h 130113"/>
              <a:gd name="connsiteX74" fmla="*/ 6072 w 138788"/>
              <a:gd name="connsiteY74" fmla="*/ 37733 h 130113"/>
              <a:gd name="connsiteX75" fmla="*/ 6072 w 138788"/>
              <a:gd name="connsiteY75" fmla="*/ 65491 h 130113"/>
              <a:gd name="connsiteX76" fmla="*/ 6506 w 138788"/>
              <a:gd name="connsiteY76" fmla="*/ 65924 h 130113"/>
              <a:gd name="connsiteX77" fmla="*/ 8674 w 138788"/>
              <a:gd name="connsiteY77" fmla="*/ 68093 h 130113"/>
              <a:gd name="connsiteX78" fmla="*/ 40769 w 138788"/>
              <a:gd name="connsiteY78" fmla="*/ 77201 h 130113"/>
              <a:gd name="connsiteX79" fmla="*/ 45106 w 138788"/>
              <a:gd name="connsiteY79" fmla="*/ 77201 h 130113"/>
              <a:gd name="connsiteX80" fmla="*/ 45974 w 138788"/>
              <a:gd name="connsiteY80" fmla="*/ 77201 h 130113"/>
              <a:gd name="connsiteX81" fmla="*/ 49877 w 138788"/>
              <a:gd name="connsiteY81" fmla="*/ 76767 h 130113"/>
              <a:gd name="connsiteX82" fmla="*/ 50311 w 138788"/>
              <a:gd name="connsiteY82" fmla="*/ 76767 h 130113"/>
              <a:gd name="connsiteX83" fmla="*/ 54214 w 138788"/>
              <a:gd name="connsiteY83" fmla="*/ 75900 h 130113"/>
              <a:gd name="connsiteX84" fmla="*/ 57684 w 138788"/>
              <a:gd name="connsiteY84" fmla="*/ 75032 h 130113"/>
              <a:gd name="connsiteX85" fmla="*/ 57684 w 138788"/>
              <a:gd name="connsiteY85" fmla="*/ 80237 h 130113"/>
              <a:gd name="connsiteX86" fmla="*/ 57684 w 138788"/>
              <a:gd name="connsiteY86" fmla="*/ 98019 h 130113"/>
              <a:gd name="connsiteX87" fmla="*/ 57250 w 138788"/>
              <a:gd name="connsiteY87" fmla="*/ 98019 h 130113"/>
              <a:gd name="connsiteX88" fmla="*/ 53347 w 138788"/>
              <a:gd name="connsiteY88" fmla="*/ 98887 h 130113"/>
              <a:gd name="connsiteX89" fmla="*/ 50745 w 138788"/>
              <a:gd name="connsiteY89" fmla="*/ 99754 h 130113"/>
              <a:gd name="connsiteX90" fmla="*/ 49877 w 138788"/>
              <a:gd name="connsiteY90" fmla="*/ 99754 h 130113"/>
              <a:gd name="connsiteX91" fmla="*/ 45540 w 138788"/>
              <a:gd name="connsiteY91" fmla="*/ 100188 h 130113"/>
              <a:gd name="connsiteX92" fmla="*/ 41203 w 138788"/>
              <a:gd name="connsiteY92" fmla="*/ 100188 h 130113"/>
              <a:gd name="connsiteX93" fmla="*/ 11710 w 138788"/>
              <a:gd name="connsiteY93" fmla="*/ 91947 h 130113"/>
              <a:gd name="connsiteX94" fmla="*/ 4337 w 138788"/>
              <a:gd name="connsiteY94" fmla="*/ 80237 h 130113"/>
              <a:gd name="connsiteX95" fmla="*/ 4337 w 138788"/>
              <a:gd name="connsiteY95" fmla="*/ 63756 h 130113"/>
              <a:gd name="connsiteX96" fmla="*/ 4771 w 138788"/>
              <a:gd name="connsiteY96" fmla="*/ 64190 h 130113"/>
              <a:gd name="connsiteX97" fmla="*/ 6072 w 138788"/>
              <a:gd name="connsiteY97" fmla="*/ 65491 h 130113"/>
              <a:gd name="connsiteX98" fmla="*/ 41203 w 138788"/>
              <a:gd name="connsiteY98" fmla="*/ 128379 h 130113"/>
              <a:gd name="connsiteX99" fmla="*/ 4337 w 138788"/>
              <a:gd name="connsiteY99" fmla="*/ 107995 h 130113"/>
              <a:gd name="connsiteX100" fmla="*/ 4337 w 138788"/>
              <a:gd name="connsiteY100" fmla="*/ 91513 h 130113"/>
              <a:gd name="connsiteX101" fmla="*/ 4771 w 138788"/>
              <a:gd name="connsiteY101" fmla="*/ 91947 h 130113"/>
              <a:gd name="connsiteX102" fmla="*/ 6072 w 138788"/>
              <a:gd name="connsiteY102" fmla="*/ 93248 h 130113"/>
              <a:gd name="connsiteX103" fmla="*/ 6939 w 138788"/>
              <a:gd name="connsiteY103" fmla="*/ 93682 h 130113"/>
              <a:gd name="connsiteX104" fmla="*/ 9108 w 138788"/>
              <a:gd name="connsiteY104" fmla="*/ 95417 h 130113"/>
              <a:gd name="connsiteX105" fmla="*/ 41203 w 138788"/>
              <a:gd name="connsiteY105" fmla="*/ 104525 h 130113"/>
              <a:gd name="connsiteX106" fmla="*/ 45540 w 138788"/>
              <a:gd name="connsiteY106" fmla="*/ 104525 h 130113"/>
              <a:gd name="connsiteX107" fmla="*/ 46408 w 138788"/>
              <a:gd name="connsiteY107" fmla="*/ 104525 h 130113"/>
              <a:gd name="connsiteX108" fmla="*/ 50311 w 138788"/>
              <a:gd name="connsiteY108" fmla="*/ 104091 h 130113"/>
              <a:gd name="connsiteX109" fmla="*/ 50745 w 138788"/>
              <a:gd name="connsiteY109" fmla="*/ 104091 h 130113"/>
              <a:gd name="connsiteX110" fmla="*/ 54648 w 138788"/>
              <a:gd name="connsiteY110" fmla="*/ 103224 h 130113"/>
              <a:gd name="connsiteX111" fmla="*/ 58118 w 138788"/>
              <a:gd name="connsiteY111" fmla="*/ 102356 h 130113"/>
              <a:gd name="connsiteX112" fmla="*/ 58118 w 138788"/>
              <a:gd name="connsiteY112" fmla="*/ 107561 h 130113"/>
              <a:gd name="connsiteX113" fmla="*/ 58118 w 138788"/>
              <a:gd name="connsiteY113" fmla="*/ 109729 h 130113"/>
              <a:gd name="connsiteX114" fmla="*/ 58118 w 138788"/>
              <a:gd name="connsiteY114" fmla="*/ 110597 h 130113"/>
              <a:gd name="connsiteX115" fmla="*/ 58552 w 138788"/>
              <a:gd name="connsiteY115" fmla="*/ 111898 h 130113"/>
              <a:gd name="connsiteX116" fmla="*/ 58985 w 138788"/>
              <a:gd name="connsiteY116" fmla="*/ 112765 h 130113"/>
              <a:gd name="connsiteX117" fmla="*/ 59419 w 138788"/>
              <a:gd name="connsiteY117" fmla="*/ 114066 h 130113"/>
              <a:gd name="connsiteX118" fmla="*/ 59853 w 138788"/>
              <a:gd name="connsiteY118" fmla="*/ 114934 h 130113"/>
              <a:gd name="connsiteX119" fmla="*/ 60720 w 138788"/>
              <a:gd name="connsiteY119" fmla="*/ 116235 h 130113"/>
              <a:gd name="connsiteX120" fmla="*/ 61154 w 138788"/>
              <a:gd name="connsiteY120" fmla="*/ 117102 h 130113"/>
              <a:gd name="connsiteX121" fmla="*/ 62021 w 138788"/>
              <a:gd name="connsiteY121" fmla="*/ 118404 h 130113"/>
              <a:gd name="connsiteX122" fmla="*/ 62455 w 138788"/>
              <a:gd name="connsiteY122" fmla="*/ 119271 h 130113"/>
              <a:gd name="connsiteX123" fmla="*/ 64190 w 138788"/>
              <a:gd name="connsiteY123" fmla="*/ 121006 h 130113"/>
              <a:gd name="connsiteX124" fmla="*/ 64190 w 138788"/>
              <a:gd name="connsiteY124" fmla="*/ 121006 h 130113"/>
              <a:gd name="connsiteX125" fmla="*/ 65925 w 138788"/>
              <a:gd name="connsiteY125" fmla="*/ 122741 h 130113"/>
              <a:gd name="connsiteX126" fmla="*/ 41203 w 138788"/>
              <a:gd name="connsiteY126" fmla="*/ 128379 h 130113"/>
              <a:gd name="connsiteX127" fmla="*/ 136620 w 138788"/>
              <a:gd name="connsiteY127" fmla="*/ 91513 h 130113"/>
              <a:gd name="connsiteX128" fmla="*/ 136620 w 138788"/>
              <a:gd name="connsiteY128" fmla="*/ 107995 h 130113"/>
              <a:gd name="connsiteX129" fmla="*/ 99754 w 138788"/>
              <a:gd name="connsiteY129" fmla="*/ 128379 h 130113"/>
              <a:gd name="connsiteX130" fmla="*/ 71563 w 138788"/>
              <a:gd name="connsiteY130" fmla="*/ 121006 h 130113"/>
              <a:gd name="connsiteX131" fmla="*/ 62889 w 138788"/>
              <a:gd name="connsiteY131" fmla="*/ 107995 h 130113"/>
              <a:gd name="connsiteX132" fmla="*/ 62889 w 138788"/>
              <a:gd name="connsiteY132" fmla="*/ 99754 h 130113"/>
              <a:gd name="connsiteX133" fmla="*/ 62889 w 138788"/>
              <a:gd name="connsiteY133" fmla="*/ 91513 h 130113"/>
              <a:gd name="connsiteX134" fmla="*/ 63322 w 138788"/>
              <a:gd name="connsiteY134" fmla="*/ 91947 h 130113"/>
              <a:gd name="connsiteX135" fmla="*/ 64624 w 138788"/>
              <a:gd name="connsiteY135" fmla="*/ 93248 h 130113"/>
              <a:gd name="connsiteX136" fmla="*/ 65057 w 138788"/>
              <a:gd name="connsiteY136" fmla="*/ 93682 h 130113"/>
              <a:gd name="connsiteX137" fmla="*/ 67226 w 138788"/>
              <a:gd name="connsiteY137" fmla="*/ 95417 h 130113"/>
              <a:gd name="connsiteX138" fmla="*/ 68961 w 138788"/>
              <a:gd name="connsiteY138" fmla="*/ 96718 h 130113"/>
              <a:gd name="connsiteX139" fmla="*/ 71129 w 138788"/>
              <a:gd name="connsiteY139" fmla="*/ 98019 h 130113"/>
              <a:gd name="connsiteX140" fmla="*/ 76768 w 138788"/>
              <a:gd name="connsiteY140" fmla="*/ 100621 h 130113"/>
              <a:gd name="connsiteX141" fmla="*/ 77635 w 138788"/>
              <a:gd name="connsiteY141" fmla="*/ 101055 h 130113"/>
              <a:gd name="connsiteX142" fmla="*/ 78936 w 138788"/>
              <a:gd name="connsiteY142" fmla="*/ 101489 h 130113"/>
              <a:gd name="connsiteX143" fmla="*/ 81972 w 138788"/>
              <a:gd name="connsiteY143" fmla="*/ 102356 h 130113"/>
              <a:gd name="connsiteX144" fmla="*/ 85008 w 138788"/>
              <a:gd name="connsiteY144" fmla="*/ 103224 h 130113"/>
              <a:gd name="connsiteX145" fmla="*/ 88912 w 138788"/>
              <a:gd name="connsiteY145" fmla="*/ 104091 h 130113"/>
              <a:gd name="connsiteX146" fmla="*/ 91080 w 138788"/>
              <a:gd name="connsiteY146" fmla="*/ 104525 h 130113"/>
              <a:gd name="connsiteX147" fmla="*/ 94550 w 138788"/>
              <a:gd name="connsiteY147" fmla="*/ 104959 h 130113"/>
              <a:gd name="connsiteX148" fmla="*/ 99321 w 138788"/>
              <a:gd name="connsiteY148" fmla="*/ 104959 h 130113"/>
              <a:gd name="connsiteX149" fmla="*/ 131416 w 138788"/>
              <a:gd name="connsiteY149" fmla="*/ 95851 h 130113"/>
              <a:gd name="connsiteX150" fmla="*/ 133584 w 138788"/>
              <a:gd name="connsiteY150" fmla="*/ 94116 h 130113"/>
              <a:gd name="connsiteX151" fmla="*/ 134018 w 138788"/>
              <a:gd name="connsiteY151" fmla="*/ 93682 h 130113"/>
              <a:gd name="connsiteX152" fmla="*/ 136620 w 138788"/>
              <a:gd name="connsiteY152" fmla="*/ 91513 h 130113"/>
              <a:gd name="connsiteX153" fmla="*/ 136620 w 138788"/>
              <a:gd name="connsiteY153" fmla="*/ 91513 h 130113"/>
              <a:gd name="connsiteX154" fmla="*/ 136620 w 138788"/>
              <a:gd name="connsiteY154" fmla="*/ 63756 h 130113"/>
              <a:gd name="connsiteX155" fmla="*/ 136620 w 138788"/>
              <a:gd name="connsiteY155" fmla="*/ 80237 h 130113"/>
              <a:gd name="connsiteX156" fmla="*/ 129247 w 138788"/>
              <a:gd name="connsiteY156" fmla="*/ 92381 h 130113"/>
              <a:gd name="connsiteX157" fmla="*/ 99754 w 138788"/>
              <a:gd name="connsiteY157" fmla="*/ 100621 h 130113"/>
              <a:gd name="connsiteX158" fmla="*/ 95417 w 138788"/>
              <a:gd name="connsiteY158" fmla="*/ 100621 h 130113"/>
              <a:gd name="connsiteX159" fmla="*/ 92381 w 138788"/>
              <a:gd name="connsiteY159" fmla="*/ 100188 h 130113"/>
              <a:gd name="connsiteX160" fmla="*/ 90213 w 138788"/>
              <a:gd name="connsiteY160" fmla="*/ 99754 h 130113"/>
              <a:gd name="connsiteX161" fmla="*/ 86743 w 138788"/>
              <a:gd name="connsiteY161" fmla="*/ 98887 h 130113"/>
              <a:gd name="connsiteX162" fmla="*/ 84141 w 138788"/>
              <a:gd name="connsiteY162" fmla="*/ 98019 h 130113"/>
              <a:gd name="connsiteX163" fmla="*/ 81538 w 138788"/>
              <a:gd name="connsiteY163" fmla="*/ 97152 h 130113"/>
              <a:gd name="connsiteX164" fmla="*/ 80237 w 138788"/>
              <a:gd name="connsiteY164" fmla="*/ 96718 h 130113"/>
              <a:gd name="connsiteX165" fmla="*/ 79370 w 138788"/>
              <a:gd name="connsiteY165" fmla="*/ 96284 h 130113"/>
              <a:gd name="connsiteX166" fmla="*/ 74165 w 138788"/>
              <a:gd name="connsiteY166" fmla="*/ 93682 h 130113"/>
              <a:gd name="connsiteX167" fmla="*/ 71997 w 138788"/>
              <a:gd name="connsiteY167" fmla="*/ 92381 h 130113"/>
              <a:gd name="connsiteX168" fmla="*/ 70696 w 138788"/>
              <a:gd name="connsiteY168" fmla="*/ 91513 h 130113"/>
              <a:gd name="connsiteX169" fmla="*/ 63322 w 138788"/>
              <a:gd name="connsiteY169" fmla="*/ 79369 h 130113"/>
              <a:gd name="connsiteX170" fmla="*/ 63322 w 138788"/>
              <a:gd name="connsiteY170" fmla="*/ 71129 h 130113"/>
              <a:gd name="connsiteX171" fmla="*/ 63322 w 138788"/>
              <a:gd name="connsiteY171" fmla="*/ 62888 h 130113"/>
              <a:gd name="connsiteX172" fmla="*/ 63756 w 138788"/>
              <a:gd name="connsiteY172" fmla="*/ 63322 h 130113"/>
              <a:gd name="connsiteX173" fmla="*/ 65057 w 138788"/>
              <a:gd name="connsiteY173" fmla="*/ 64623 h 130113"/>
              <a:gd name="connsiteX174" fmla="*/ 65491 w 138788"/>
              <a:gd name="connsiteY174" fmla="*/ 65057 h 130113"/>
              <a:gd name="connsiteX175" fmla="*/ 67660 w 138788"/>
              <a:gd name="connsiteY175" fmla="*/ 66792 h 130113"/>
              <a:gd name="connsiteX176" fmla="*/ 69394 w 138788"/>
              <a:gd name="connsiteY176" fmla="*/ 68093 h 130113"/>
              <a:gd name="connsiteX177" fmla="*/ 69828 w 138788"/>
              <a:gd name="connsiteY177" fmla="*/ 68527 h 130113"/>
              <a:gd name="connsiteX178" fmla="*/ 71563 w 138788"/>
              <a:gd name="connsiteY178" fmla="*/ 69394 h 130113"/>
              <a:gd name="connsiteX179" fmla="*/ 79370 w 138788"/>
              <a:gd name="connsiteY179" fmla="*/ 72864 h 130113"/>
              <a:gd name="connsiteX180" fmla="*/ 88912 w 138788"/>
              <a:gd name="connsiteY180" fmla="*/ 75032 h 130113"/>
              <a:gd name="connsiteX181" fmla="*/ 91514 w 138788"/>
              <a:gd name="connsiteY181" fmla="*/ 75466 h 130113"/>
              <a:gd name="connsiteX182" fmla="*/ 94984 w 138788"/>
              <a:gd name="connsiteY182" fmla="*/ 75900 h 130113"/>
              <a:gd name="connsiteX183" fmla="*/ 99754 w 138788"/>
              <a:gd name="connsiteY183" fmla="*/ 75900 h 130113"/>
              <a:gd name="connsiteX184" fmla="*/ 131849 w 138788"/>
              <a:gd name="connsiteY184" fmla="*/ 66792 h 130113"/>
              <a:gd name="connsiteX185" fmla="*/ 134018 w 138788"/>
              <a:gd name="connsiteY185" fmla="*/ 65057 h 130113"/>
              <a:gd name="connsiteX186" fmla="*/ 134452 w 138788"/>
              <a:gd name="connsiteY186" fmla="*/ 64623 h 130113"/>
              <a:gd name="connsiteX187" fmla="*/ 136620 w 138788"/>
              <a:gd name="connsiteY187" fmla="*/ 63756 h 130113"/>
              <a:gd name="connsiteX188" fmla="*/ 136620 w 138788"/>
              <a:gd name="connsiteY188" fmla="*/ 63756 h 130113"/>
              <a:gd name="connsiteX189" fmla="*/ 136620 w 138788"/>
              <a:gd name="connsiteY189" fmla="*/ 35998 h 130113"/>
              <a:gd name="connsiteX190" fmla="*/ 136620 w 138788"/>
              <a:gd name="connsiteY190" fmla="*/ 52479 h 130113"/>
              <a:gd name="connsiteX191" fmla="*/ 129247 w 138788"/>
              <a:gd name="connsiteY191" fmla="*/ 64623 h 130113"/>
              <a:gd name="connsiteX192" fmla="*/ 99754 w 138788"/>
              <a:gd name="connsiteY192" fmla="*/ 72864 h 130113"/>
              <a:gd name="connsiteX193" fmla="*/ 95417 w 138788"/>
              <a:gd name="connsiteY193" fmla="*/ 72864 h 130113"/>
              <a:gd name="connsiteX194" fmla="*/ 92381 w 138788"/>
              <a:gd name="connsiteY194" fmla="*/ 72430 h 130113"/>
              <a:gd name="connsiteX195" fmla="*/ 89779 w 138788"/>
              <a:gd name="connsiteY195" fmla="*/ 71996 h 130113"/>
              <a:gd name="connsiteX196" fmla="*/ 80671 w 138788"/>
              <a:gd name="connsiteY196" fmla="*/ 69828 h 130113"/>
              <a:gd name="connsiteX197" fmla="*/ 73298 w 138788"/>
              <a:gd name="connsiteY197" fmla="*/ 66792 h 130113"/>
              <a:gd name="connsiteX198" fmla="*/ 71563 w 138788"/>
              <a:gd name="connsiteY198" fmla="*/ 65924 h 130113"/>
              <a:gd name="connsiteX199" fmla="*/ 71129 w 138788"/>
              <a:gd name="connsiteY199" fmla="*/ 65491 h 130113"/>
              <a:gd name="connsiteX200" fmla="*/ 69828 w 138788"/>
              <a:gd name="connsiteY200" fmla="*/ 64623 h 130113"/>
              <a:gd name="connsiteX201" fmla="*/ 62455 w 138788"/>
              <a:gd name="connsiteY201" fmla="*/ 52479 h 130113"/>
              <a:gd name="connsiteX202" fmla="*/ 62455 w 138788"/>
              <a:gd name="connsiteY202" fmla="*/ 44239 h 130113"/>
              <a:gd name="connsiteX203" fmla="*/ 62455 w 138788"/>
              <a:gd name="connsiteY203" fmla="*/ 35998 h 130113"/>
              <a:gd name="connsiteX204" fmla="*/ 62889 w 138788"/>
              <a:gd name="connsiteY204" fmla="*/ 36432 h 130113"/>
              <a:gd name="connsiteX205" fmla="*/ 64190 w 138788"/>
              <a:gd name="connsiteY205" fmla="*/ 37733 h 130113"/>
              <a:gd name="connsiteX206" fmla="*/ 64624 w 138788"/>
              <a:gd name="connsiteY206" fmla="*/ 38167 h 130113"/>
              <a:gd name="connsiteX207" fmla="*/ 66792 w 138788"/>
              <a:gd name="connsiteY207" fmla="*/ 39902 h 130113"/>
              <a:gd name="connsiteX208" fmla="*/ 68527 w 138788"/>
              <a:gd name="connsiteY208" fmla="*/ 41203 h 130113"/>
              <a:gd name="connsiteX209" fmla="*/ 78936 w 138788"/>
              <a:gd name="connsiteY209" fmla="*/ 45974 h 130113"/>
              <a:gd name="connsiteX210" fmla="*/ 99321 w 138788"/>
              <a:gd name="connsiteY210" fmla="*/ 49010 h 130113"/>
              <a:gd name="connsiteX211" fmla="*/ 131416 w 138788"/>
              <a:gd name="connsiteY211" fmla="*/ 39902 h 130113"/>
              <a:gd name="connsiteX212" fmla="*/ 134452 w 138788"/>
              <a:gd name="connsiteY212" fmla="*/ 38600 h 130113"/>
              <a:gd name="connsiteX213" fmla="*/ 134885 w 138788"/>
              <a:gd name="connsiteY213" fmla="*/ 38167 h 130113"/>
              <a:gd name="connsiteX214" fmla="*/ 136620 w 138788"/>
              <a:gd name="connsiteY214" fmla="*/ 35998 h 130113"/>
              <a:gd name="connsiteX215" fmla="*/ 136620 w 138788"/>
              <a:gd name="connsiteY215" fmla="*/ 35998 h 13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138788" h="130113">
                <a:moveTo>
                  <a:pt x="99754" y="0"/>
                </a:moveTo>
                <a:cubicBezTo>
                  <a:pt x="88478" y="0"/>
                  <a:pt x="78069" y="2602"/>
                  <a:pt x="70262" y="7373"/>
                </a:cubicBezTo>
                <a:cubicBezTo>
                  <a:pt x="62889" y="2602"/>
                  <a:pt x="52480" y="0"/>
                  <a:pt x="41203" y="0"/>
                </a:cubicBezTo>
                <a:cubicBezTo>
                  <a:pt x="18216" y="0"/>
                  <a:pt x="0" y="10843"/>
                  <a:pt x="0" y="24722"/>
                </a:cubicBezTo>
                <a:lnTo>
                  <a:pt x="0" y="52479"/>
                </a:lnTo>
                <a:lnTo>
                  <a:pt x="0" y="80237"/>
                </a:lnTo>
                <a:lnTo>
                  <a:pt x="0" y="107995"/>
                </a:lnTo>
                <a:cubicBezTo>
                  <a:pt x="0" y="121873"/>
                  <a:pt x="18216" y="132716"/>
                  <a:pt x="41203" y="132716"/>
                </a:cubicBezTo>
                <a:cubicBezTo>
                  <a:pt x="52046" y="132716"/>
                  <a:pt x="62889" y="130114"/>
                  <a:pt x="70262" y="125343"/>
                </a:cubicBezTo>
                <a:cubicBezTo>
                  <a:pt x="78069" y="130114"/>
                  <a:pt x="88478" y="132716"/>
                  <a:pt x="99754" y="132716"/>
                </a:cubicBezTo>
                <a:cubicBezTo>
                  <a:pt x="122741" y="132716"/>
                  <a:pt x="140957" y="121873"/>
                  <a:pt x="140957" y="107995"/>
                </a:cubicBezTo>
                <a:lnTo>
                  <a:pt x="140957" y="80237"/>
                </a:lnTo>
                <a:lnTo>
                  <a:pt x="140957" y="52479"/>
                </a:lnTo>
                <a:lnTo>
                  <a:pt x="140957" y="24722"/>
                </a:lnTo>
                <a:cubicBezTo>
                  <a:pt x="140957" y="10843"/>
                  <a:pt x="122741" y="0"/>
                  <a:pt x="99754" y="0"/>
                </a:cubicBezTo>
                <a:close/>
                <a:moveTo>
                  <a:pt x="136620" y="24722"/>
                </a:moveTo>
                <a:cubicBezTo>
                  <a:pt x="136620" y="30360"/>
                  <a:pt x="132717" y="34263"/>
                  <a:pt x="129247" y="36866"/>
                </a:cubicBezTo>
                <a:cubicBezTo>
                  <a:pt x="122308" y="42070"/>
                  <a:pt x="111465" y="45106"/>
                  <a:pt x="99754" y="45106"/>
                </a:cubicBezTo>
                <a:cubicBezTo>
                  <a:pt x="93249" y="45106"/>
                  <a:pt x="86743" y="44239"/>
                  <a:pt x="80671" y="42070"/>
                </a:cubicBezTo>
                <a:cubicBezTo>
                  <a:pt x="77201" y="40769"/>
                  <a:pt x="74165" y="39468"/>
                  <a:pt x="71563" y="37733"/>
                </a:cubicBezTo>
                <a:cubicBezTo>
                  <a:pt x="71129" y="37299"/>
                  <a:pt x="70696" y="37299"/>
                  <a:pt x="70262" y="36866"/>
                </a:cubicBezTo>
                <a:cubicBezTo>
                  <a:pt x="66792" y="34263"/>
                  <a:pt x="62889" y="30360"/>
                  <a:pt x="62889" y="24722"/>
                </a:cubicBezTo>
                <a:cubicBezTo>
                  <a:pt x="62889" y="24288"/>
                  <a:pt x="62889" y="23420"/>
                  <a:pt x="62889" y="22987"/>
                </a:cubicBezTo>
                <a:cubicBezTo>
                  <a:pt x="63756" y="18650"/>
                  <a:pt x="66792" y="14746"/>
                  <a:pt x="71563" y="11710"/>
                </a:cubicBezTo>
                <a:cubicBezTo>
                  <a:pt x="78936" y="6939"/>
                  <a:pt x="88912" y="4337"/>
                  <a:pt x="99754" y="4337"/>
                </a:cubicBezTo>
                <a:cubicBezTo>
                  <a:pt x="120139" y="4337"/>
                  <a:pt x="136620" y="13445"/>
                  <a:pt x="136620" y="24722"/>
                </a:cubicBezTo>
                <a:close/>
                <a:moveTo>
                  <a:pt x="41203" y="4337"/>
                </a:moveTo>
                <a:cubicBezTo>
                  <a:pt x="50745" y="4337"/>
                  <a:pt x="59853" y="6506"/>
                  <a:pt x="66358" y="9975"/>
                </a:cubicBezTo>
                <a:cubicBezTo>
                  <a:pt x="65491" y="10409"/>
                  <a:pt x="65057" y="10843"/>
                  <a:pt x="64624" y="11710"/>
                </a:cubicBezTo>
                <a:cubicBezTo>
                  <a:pt x="64624" y="11710"/>
                  <a:pt x="64624" y="11710"/>
                  <a:pt x="64624" y="11710"/>
                </a:cubicBezTo>
                <a:cubicBezTo>
                  <a:pt x="64190" y="12144"/>
                  <a:pt x="63322" y="13011"/>
                  <a:pt x="62889" y="13445"/>
                </a:cubicBezTo>
                <a:cubicBezTo>
                  <a:pt x="62889" y="13445"/>
                  <a:pt x="62455" y="13879"/>
                  <a:pt x="62455" y="13879"/>
                </a:cubicBezTo>
                <a:cubicBezTo>
                  <a:pt x="62021" y="14313"/>
                  <a:pt x="61588" y="14746"/>
                  <a:pt x="61588" y="15180"/>
                </a:cubicBezTo>
                <a:cubicBezTo>
                  <a:pt x="61588" y="15614"/>
                  <a:pt x="61154" y="15614"/>
                  <a:pt x="61154" y="16047"/>
                </a:cubicBezTo>
                <a:cubicBezTo>
                  <a:pt x="60720" y="16481"/>
                  <a:pt x="60720" y="16915"/>
                  <a:pt x="60286" y="17349"/>
                </a:cubicBezTo>
                <a:cubicBezTo>
                  <a:pt x="60286" y="17782"/>
                  <a:pt x="59853" y="17782"/>
                  <a:pt x="59853" y="18216"/>
                </a:cubicBezTo>
                <a:cubicBezTo>
                  <a:pt x="59853" y="18650"/>
                  <a:pt x="59419" y="19083"/>
                  <a:pt x="59419" y="19517"/>
                </a:cubicBezTo>
                <a:cubicBezTo>
                  <a:pt x="59419" y="19951"/>
                  <a:pt x="59419" y="19951"/>
                  <a:pt x="58985" y="20385"/>
                </a:cubicBezTo>
                <a:cubicBezTo>
                  <a:pt x="58985" y="20818"/>
                  <a:pt x="58552" y="21252"/>
                  <a:pt x="58552" y="21686"/>
                </a:cubicBezTo>
                <a:cubicBezTo>
                  <a:pt x="58552" y="22119"/>
                  <a:pt x="58552" y="22119"/>
                  <a:pt x="58552" y="22553"/>
                </a:cubicBezTo>
                <a:cubicBezTo>
                  <a:pt x="58552" y="23420"/>
                  <a:pt x="58552" y="23854"/>
                  <a:pt x="58552" y="24722"/>
                </a:cubicBezTo>
                <a:lnTo>
                  <a:pt x="58552" y="42504"/>
                </a:lnTo>
                <a:cubicBezTo>
                  <a:pt x="58118" y="42504"/>
                  <a:pt x="57250" y="42938"/>
                  <a:pt x="56817" y="42938"/>
                </a:cubicBezTo>
                <a:cubicBezTo>
                  <a:pt x="56383" y="42938"/>
                  <a:pt x="55516" y="43371"/>
                  <a:pt x="55082" y="43371"/>
                </a:cubicBezTo>
                <a:cubicBezTo>
                  <a:pt x="54214" y="43371"/>
                  <a:pt x="53347" y="43805"/>
                  <a:pt x="52480" y="43805"/>
                </a:cubicBezTo>
                <a:cubicBezTo>
                  <a:pt x="52046" y="43805"/>
                  <a:pt x="51178" y="44239"/>
                  <a:pt x="50745" y="44239"/>
                </a:cubicBezTo>
                <a:cubicBezTo>
                  <a:pt x="49877" y="44239"/>
                  <a:pt x="48576" y="44672"/>
                  <a:pt x="47709" y="44672"/>
                </a:cubicBezTo>
                <a:cubicBezTo>
                  <a:pt x="47275" y="44672"/>
                  <a:pt x="46841" y="44672"/>
                  <a:pt x="45974" y="44672"/>
                </a:cubicBezTo>
                <a:cubicBezTo>
                  <a:pt x="44239" y="44672"/>
                  <a:pt x="42938" y="44672"/>
                  <a:pt x="41203" y="44672"/>
                </a:cubicBezTo>
                <a:cubicBezTo>
                  <a:pt x="29493" y="44672"/>
                  <a:pt x="18650" y="41636"/>
                  <a:pt x="11710" y="36432"/>
                </a:cubicBezTo>
                <a:cubicBezTo>
                  <a:pt x="8241" y="34263"/>
                  <a:pt x="4337" y="30360"/>
                  <a:pt x="4337" y="24722"/>
                </a:cubicBezTo>
                <a:cubicBezTo>
                  <a:pt x="4337" y="13445"/>
                  <a:pt x="20818" y="4337"/>
                  <a:pt x="41203" y="4337"/>
                </a:cubicBezTo>
                <a:close/>
                <a:moveTo>
                  <a:pt x="6072" y="37733"/>
                </a:moveTo>
                <a:cubicBezTo>
                  <a:pt x="6506" y="37733"/>
                  <a:pt x="6506" y="38167"/>
                  <a:pt x="6939" y="38167"/>
                </a:cubicBezTo>
                <a:cubicBezTo>
                  <a:pt x="7373" y="39034"/>
                  <a:pt x="8241" y="39902"/>
                  <a:pt x="9108" y="40335"/>
                </a:cubicBezTo>
                <a:cubicBezTo>
                  <a:pt x="16915" y="45974"/>
                  <a:pt x="28625" y="49443"/>
                  <a:pt x="41203" y="49443"/>
                </a:cubicBezTo>
                <a:cubicBezTo>
                  <a:pt x="42938" y="49443"/>
                  <a:pt x="44673" y="49443"/>
                  <a:pt x="45974" y="49443"/>
                </a:cubicBezTo>
                <a:cubicBezTo>
                  <a:pt x="46408" y="49443"/>
                  <a:pt x="46841" y="49443"/>
                  <a:pt x="47709" y="49443"/>
                </a:cubicBezTo>
                <a:cubicBezTo>
                  <a:pt x="49010" y="49443"/>
                  <a:pt x="49877" y="49010"/>
                  <a:pt x="51178" y="49010"/>
                </a:cubicBezTo>
                <a:cubicBezTo>
                  <a:pt x="51612" y="49010"/>
                  <a:pt x="52480" y="49010"/>
                  <a:pt x="52913" y="48576"/>
                </a:cubicBezTo>
                <a:cubicBezTo>
                  <a:pt x="53781" y="48576"/>
                  <a:pt x="55082" y="48142"/>
                  <a:pt x="55949" y="48142"/>
                </a:cubicBezTo>
                <a:cubicBezTo>
                  <a:pt x="56383" y="48142"/>
                  <a:pt x="57250" y="47708"/>
                  <a:pt x="57684" y="47708"/>
                </a:cubicBezTo>
                <a:cubicBezTo>
                  <a:pt x="58118" y="47708"/>
                  <a:pt x="58552" y="47708"/>
                  <a:pt x="58552" y="47275"/>
                </a:cubicBezTo>
                <a:lnTo>
                  <a:pt x="58552" y="52479"/>
                </a:lnTo>
                <a:lnTo>
                  <a:pt x="58552" y="70695"/>
                </a:lnTo>
                <a:cubicBezTo>
                  <a:pt x="58552" y="70695"/>
                  <a:pt x="58118" y="70695"/>
                  <a:pt x="58118" y="70695"/>
                </a:cubicBezTo>
                <a:cubicBezTo>
                  <a:pt x="56817" y="71129"/>
                  <a:pt x="55516" y="71563"/>
                  <a:pt x="54214" y="71563"/>
                </a:cubicBezTo>
                <a:cubicBezTo>
                  <a:pt x="52913" y="71996"/>
                  <a:pt x="51612" y="71996"/>
                  <a:pt x="50311" y="72430"/>
                </a:cubicBezTo>
                <a:lnTo>
                  <a:pt x="45540" y="72864"/>
                </a:lnTo>
                <a:cubicBezTo>
                  <a:pt x="44239" y="72864"/>
                  <a:pt x="42504" y="72864"/>
                  <a:pt x="41203" y="72864"/>
                </a:cubicBezTo>
                <a:cubicBezTo>
                  <a:pt x="29493" y="72864"/>
                  <a:pt x="18650" y="69828"/>
                  <a:pt x="11710" y="64623"/>
                </a:cubicBezTo>
                <a:cubicBezTo>
                  <a:pt x="6939" y="61154"/>
                  <a:pt x="4337" y="56816"/>
                  <a:pt x="4337" y="52479"/>
                </a:cubicBezTo>
                <a:lnTo>
                  <a:pt x="4337" y="35998"/>
                </a:lnTo>
                <a:cubicBezTo>
                  <a:pt x="4337" y="35998"/>
                  <a:pt x="4771" y="36432"/>
                  <a:pt x="4771" y="36432"/>
                </a:cubicBezTo>
                <a:cubicBezTo>
                  <a:pt x="5205" y="36866"/>
                  <a:pt x="5638" y="37299"/>
                  <a:pt x="6072" y="37733"/>
                </a:cubicBezTo>
                <a:close/>
                <a:moveTo>
                  <a:pt x="6072" y="65491"/>
                </a:moveTo>
                <a:cubicBezTo>
                  <a:pt x="6072" y="65491"/>
                  <a:pt x="6506" y="65924"/>
                  <a:pt x="6506" y="65924"/>
                </a:cubicBezTo>
                <a:cubicBezTo>
                  <a:pt x="7373" y="66792"/>
                  <a:pt x="7807" y="67226"/>
                  <a:pt x="8674" y="68093"/>
                </a:cubicBezTo>
                <a:cubicBezTo>
                  <a:pt x="16481" y="73731"/>
                  <a:pt x="28191" y="77201"/>
                  <a:pt x="40769" y="77201"/>
                </a:cubicBezTo>
                <a:cubicBezTo>
                  <a:pt x="42504" y="77201"/>
                  <a:pt x="43805" y="77201"/>
                  <a:pt x="45106" y="77201"/>
                </a:cubicBezTo>
                <a:cubicBezTo>
                  <a:pt x="45540" y="77201"/>
                  <a:pt x="45974" y="77201"/>
                  <a:pt x="45974" y="77201"/>
                </a:cubicBezTo>
                <a:cubicBezTo>
                  <a:pt x="47275" y="77201"/>
                  <a:pt x="48142" y="77201"/>
                  <a:pt x="49877" y="76767"/>
                </a:cubicBezTo>
                <a:cubicBezTo>
                  <a:pt x="49877" y="76767"/>
                  <a:pt x="50311" y="76767"/>
                  <a:pt x="50311" y="76767"/>
                </a:cubicBezTo>
                <a:cubicBezTo>
                  <a:pt x="51612" y="76333"/>
                  <a:pt x="52913" y="76333"/>
                  <a:pt x="54214" y="75900"/>
                </a:cubicBezTo>
                <a:cubicBezTo>
                  <a:pt x="55516" y="75466"/>
                  <a:pt x="56383" y="75466"/>
                  <a:pt x="57684" y="75032"/>
                </a:cubicBezTo>
                <a:lnTo>
                  <a:pt x="57684" y="80237"/>
                </a:lnTo>
                <a:lnTo>
                  <a:pt x="57684" y="98019"/>
                </a:lnTo>
                <a:cubicBezTo>
                  <a:pt x="57684" y="98019"/>
                  <a:pt x="57250" y="98019"/>
                  <a:pt x="57250" y="98019"/>
                </a:cubicBezTo>
                <a:cubicBezTo>
                  <a:pt x="55949" y="98453"/>
                  <a:pt x="54648" y="98887"/>
                  <a:pt x="53347" y="98887"/>
                </a:cubicBezTo>
                <a:cubicBezTo>
                  <a:pt x="52913" y="99754"/>
                  <a:pt x="51612" y="99754"/>
                  <a:pt x="50745" y="99754"/>
                </a:cubicBezTo>
                <a:cubicBezTo>
                  <a:pt x="50311" y="99754"/>
                  <a:pt x="49877" y="99754"/>
                  <a:pt x="49877" y="99754"/>
                </a:cubicBezTo>
                <a:cubicBezTo>
                  <a:pt x="48576" y="99754"/>
                  <a:pt x="45540" y="100188"/>
                  <a:pt x="45540" y="100188"/>
                </a:cubicBezTo>
                <a:cubicBezTo>
                  <a:pt x="44239" y="100188"/>
                  <a:pt x="42504" y="100188"/>
                  <a:pt x="41203" y="100188"/>
                </a:cubicBezTo>
                <a:cubicBezTo>
                  <a:pt x="29493" y="100188"/>
                  <a:pt x="18650" y="97152"/>
                  <a:pt x="11710" y="91947"/>
                </a:cubicBezTo>
                <a:cubicBezTo>
                  <a:pt x="8241" y="89779"/>
                  <a:pt x="4337" y="85875"/>
                  <a:pt x="4337" y="80237"/>
                </a:cubicBezTo>
                <a:lnTo>
                  <a:pt x="4337" y="63756"/>
                </a:lnTo>
                <a:cubicBezTo>
                  <a:pt x="4337" y="63756"/>
                  <a:pt x="4771" y="64190"/>
                  <a:pt x="4771" y="64190"/>
                </a:cubicBezTo>
                <a:cubicBezTo>
                  <a:pt x="5205" y="64623"/>
                  <a:pt x="5638" y="65057"/>
                  <a:pt x="6072" y="65491"/>
                </a:cubicBezTo>
                <a:close/>
                <a:moveTo>
                  <a:pt x="41203" y="128379"/>
                </a:moveTo>
                <a:cubicBezTo>
                  <a:pt x="21252" y="128379"/>
                  <a:pt x="4337" y="118837"/>
                  <a:pt x="4337" y="107995"/>
                </a:cubicBezTo>
                <a:lnTo>
                  <a:pt x="4337" y="91513"/>
                </a:lnTo>
                <a:cubicBezTo>
                  <a:pt x="4337" y="91513"/>
                  <a:pt x="4771" y="91947"/>
                  <a:pt x="4771" y="91947"/>
                </a:cubicBezTo>
                <a:cubicBezTo>
                  <a:pt x="5205" y="92381"/>
                  <a:pt x="5638" y="92815"/>
                  <a:pt x="6072" y="93248"/>
                </a:cubicBezTo>
                <a:cubicBezTo>
                  <a:pt x="6506" y="93248"/>
                  <a:pt x="6506" y="93682"/>
                  <a:pt x="6939" y="93682"/>
                </a:cubicBezTo>
                <a:cubicBezTo>
                  <a:pt x="7807" y="94549"/>
                  <a:pt x="8241" y="94983"/>
                  <a:pt x="9108" y="95417"/>
                </a:cubicBezTo>
                <a:cubicBezTo>
                  <a:pt x="16915" y="101055"/>
                  <a:pt x="28625" y="104525"/>
                  <a:pt x="41203" y="104525"/>
                </a:cubicBezTo>
                <a:cubicBezTo>
                  <a:pt x="42938" y="104525"/>
                  <a:pt x="44239" y="104525"/>
                  <a:pt x="45540" y="104525"/>
                </a:cubicBezTo>
                <a:cubicBezTo>
                  <a:pt x="45974" y="104525"/>
                  <a:pt x="46408" y="104525"/>
                  <a:pt x="46408" y="104525"/>
                </a:cubicBezTo>
                <a:cubicBezTo>
                  <a:pt x="47709" y="104525"/>
                  <a:pt x="49010" y="104091"/>
                  <a:pt x="50311" y="104091"/>
                </a:cubicBezTo>
                <a:lnTo>
                  <a:pt x="50745" y="104091"/>
                </a:lnTo>
                <a:cubicBezTo>
                  <a:pt x="52046" y="103657"/>
                  <a:pt x="53347" y="103657"/>
                  <a:pt x="54648" y="103224"/>
                </a:cubicBezTo>
                <a:cubicBezTo>
                  <a:pt x="55949" y="102790"/>
                  <a:pt x="56817" y="102790"/>
                  <a:pt x="58118" y="102356"/>
                </a:cubicBezTo>
                <a:lnTo>
                  <a:pt x="58118" y="107561"/>
                </a:lnTo>
                <a:cubicBezTo>
                  <a:pt x="58118" y="108428"/>
                  <a:pt x="58118" y="108862"/>
                  <a:pt x="58118" y="109729"/>
                </a:cubicBezTo>
                <a:cubicBezTo>
                  <a:pt x="58118" y="110163"/>
                  <a:pt x="58118" y="110163"/>
                  <a:pt x="58118" y="110597"/>
                </a:cubicBezTo>
                <a:cubicBezTo>
                  <a:pt x="58118" y="111031"/>
                  <a:pt x="58118" y="111464"/>
                  <a:pt x="58552" y="111898"/>
                </a:cubicBezTo>
                <a:cubicBezTo>
                  <a:pt x="58552" y="112332"/>
                  <a:pt x="58552" y="112332"/>
                  <a:pt x="58985" y="112765"/>
                </a:cubicBezTo>
                <a:cubicBezTo>
                  <a:pt x="58985" y="113199"/>
                  <a:pt x="59419" y="113633"/>
                  <a:pt x="59419" y="114066"/>
                </a:cubicBezTo>
                <a:cubicBezTo>
                  <a:pt x="59419" y="114500"/>
                  <a:pt x="59853" y="114500"/>
                  <a:pt x="59853" y="114934"/>
                </a:cubicBezTo>
                <a:cubicBezTo>
                  <a:pt x="59853" y="115368"/>
                  <a:pt x="60286" y="115801"/>
                  <a:pt x="60720" y="116235"/>
                </a:cubicBezTo>
                <a:cubicBezTo>
                  <a:pt x="60720" y="116669"/>
                  <a:pt x="61154" y="116669"/>
                  <a:pt x="61154" y="117102"/>
                </a:cubicBezTo>
                <a:cubicBezTo>
                  <a:pt x="61588" y="117536"/>
                  <a:pt x="61588" y="117970"/>
                  <a:pt x="62021" y="118404"/>
                </a:cubicBezTo>
                <a:cubicBezTo>
                  <a:pt x="62021" y="118837"/>
                  <a:pt x="62455" y="118837"/>
                  <a:pt x="62455" y="119271"/>
                </a:cubicBezTo>
                <a:cubicBezTo>
                  <a:pt x="62889" y="119705"/>
                  <a:pt x="63322" y="120572"/>
                  <a:pt x="64190" y="121006"/>
                </a:cubicBezTo>
                <a:cubicBezTo>
                  <a:pt x="64190" y="121006"/>
                  <a:pt x="64190" y="121006"/>
                  <a:pt x="64190" y="121006"/>
                </a:cubicBezTo>
                <a:cubicBezTo>
                  <a:pt x="64624" y="121440"/>
                  <a:pt x="65491" y="122307"/>
                  <a:pt x="65925" y="122741"/>
                </a:cubicBezTo>
                <a:cubicBezTo>
                  <a:pt x="59853" y="126210"/>
                  <a:pt x="50745" y="128379"/>
                  <a:pt x="41203" y="128379"/>
                </a:cubicBezTo>
                <a:close/>
                <a:moveTo>
                  <a:pt x="136620" y="91513"/>
                </a:moveTo>
                <a:lnTo>
                  <a:pt x="136620" y="107995"/>
                </a:lnTo>
                <a:cubicBezTo>
                  <a:pt x="136620" y="119271"/>
                  <a:pt x="120139" y="128379"/>
                  <a:pt x="99754" y="128379"/>
                </a:cubicBezTo>
                <a:cubicBezTo>
                  <a:pt x="88912" y="128379"/>
                  <a:pt x="78502" y="125777"/>
                  <a:pt x="71563" y="121006"/>
                </a:cubicBezTo>
                <a:cubicBezTo>
                  <a:pt x="65925" y="117102"/>
                  <a:pt x="62889" y="112765"/>
                  <a:pt x="62889" y="107995"/>
                </a:cubicBezTo>
                <a:lnTo>
                  <a:pt x="62889" y="99754"/>
                </a:lnTo>
                <a:lnTo>
                  <a:pt x="62889" y="91513"/>
                </a:lnTo>
                <a:cubicBezTo>
                  <a:pt x="62889" y="91513"/>
                  <a:pt x="63322" y="91947"/>
                  <a:pt x="63322" y="91947"/>
                </a:cubicBezTo>
                <a:cubicBezTo>
                  <a:pt x="63756" y="92381"/>
                  <a:pt x="64190" y="92815"/>
                  <a:pt x="64624" y="93248"/>
                </a:cubicBezTo>
                <a:cubicBezTo>
                  <a:pt x="64624" y="93248"/>
                  <a:pt x="65057" y="93682"/>
                  <a:pt x="65057" y="93682"/>
                </a:cubicBezTo>
                <a:cubicBezTo>
                  <a:pt x="65925" y="94549"/>
                  <a:pt x="66358" y="94983"/>
                  <a:pt x="67226" y="95417"/>
                </a:cubicBezTo>
                <a:cubicBezTo>
                  <a:pt x="67660" y="95851"/>
                  <a:pt x="68527" y="96284"/>
                  <a:pt x="68961" y="96718"/>
                </a:cubicBezTo>
                <a:cubicBezTo>
                  <a:pt x="69828" y="97152"/>
                  <a:pt x="70262" y="97585"/>
                  <a:pt x="71129" y="98019"/>
                </a:cubicBezTo>
                <a:cubicBezTo>
                  <a:pt x="72864" y="98887"/>
                  <a:pt x="74599" y="99754"/>
                  <a:pt x="76768" y="100621"/>
                </a:cubicBezTo>
                <a:lnTo>
                  <a:pt x="77635" y="101055"/>
                </a:lnTo>
                <a:cubicBezTo>
                  <a:pt x="78069" y="101055"/>
                  <a:pt x="78502" y="101489"/>
                  <a:pt x="78936" y="101489"/>
                </a:cubicBezTo>
                <a:cubicBezTo>
                  <a:pt x="79804" y="101923"/>
                  <a:pt x="81105" y="102356"/>
                  <a:pt x="81972" y="102356"/>
                </a:cubicBezTo>
                <a:cubicBezTo>
                  <a:pt x="82840" y="102790"/>
                  <a:pt x="84141" y="102790"/>
                  <a:pt x="85008" y="103224"/>
                </a:cubicBezTo>
                <a:cubicBezTo>
                  <a:pt x="86309" y="103657"/>
                  <a:pt x="87610" y="103657"/>
                  <a:pt x="88912" y="104091"/>
                </a:cubicBezTo>
                <a:cubicBezTo>
                  <a:pt x="89779" y="104091"/>
                  <a:pt x="90213" y="104525"/>
                  <a:pt x="91080" y="104525"/>
                </a:cubicBezTo>
                <a:cubicBezTo>
                  <a:pt x="92381" y="104525"/>
                  <a:pt x="93249" y="104959"/>
                  <a:pt x="94550" y="104959"/>
                </a:cubicBezTo>
                <a:cubicBezTo>
                  <a:pt x="96285" y="104959"/>
                  <a:pt x="97586" y="104959"/>
                  <a:pt x="99321" y="104959"/>
                </a:cubicBezTo>
                <a:cubicBezTo>
                  <a:pt x="111899" y="104959"/>
                  <a:pt x="123609" y="101489"/>
                  <a:pt x="131416" y="95851"/>
                </a:cubicBezTo>
                <a:cubicBezTo>
                  <a:pt x="132283" y="95417"/>
                  <a:pt x="133151" y="94549"/>
                  <a:pt x="133584" y="94116"/>
                </a:cubicBezTo>
                <a:cubicBezTo>
                  <a:pt x="134018" y="94116"/>
                  <a:pt x="134018" y="93682"/>
                  <a:pt x="134018" y="93682"/>
                </a:cubicBezTo>
                <a:cubicBezTo>
                  <a:pt x="135319" y="92815"/>
                  <a:pt x="135753" y="92381"/>
                  <a:pt x="136620" y="91513"/>
                </a:cubicBezTo>
                <a:cubicBezTo>
                  <a:pt x="136187" y="91513"/>
                  <a:pt x="136620" y="91513"/>
                  <a:pt x="136620" y="91513"/>
                </a:cubicBezTo>
                <a:close/>
                <a:moveTo>
                  <a:pt x="136620" y="63756"/>
                </a:moveTo>
                <a:lnTo>
                  <a:pt x="136620" y="80237"/>
                </a:lnTo>
                <a:cubicBezTo>
                  <a:pt x="136620" y="85875"/>
                  <a:pt x="132717" y="89779"/>
                  <a:pt x="129247" y="92381"/>
                </a:cubicBezTo>
                <a:cubicBezTo>
                  <a:pt x="122308" y="97585"/>
                  <a:pt x="111465" y="100621"/>
                  <a:pt x="99754" y="100621"/>
                </a:cubicBezTo>
                <a:cubicBezTo>
                  <a:pt x="98453" y="100621"/>
                  <a:pt x="96718" y="100621"/>
                  <a:pt x="95417" y="100621"/>
                </a:cubicBezTo>
                <a:cubicBezTo>
                  <a:pt x="94550" y="100621"/>
                  <a:pt x="93249" y="100621"/>
                  <a:pt x="92381" y="100188"/>
                </a:cubicBezTo>
                <a:cubicBezTo>
                  <a:pt x="91514" y="100188"/>
                  <a:pt x="91080" y="100188"/>
                  <a:pt x="90213" y="99754"/>
                </a:cubicBezTo>
                <a:cubicBezTo>
                  <a:pt x="88912" y="99754"/>
                  <a:pt x="88044" y="99320"/>
                  <a:pt x="86743" y="98887"/>
                </a:cubicBezTo>
                <a:cubicBezTo>
                  <a:pt x="85876" y="98887"/>
                  <a:pt x="85008" y="98453"/>
                  <a:pt x="84141" y="98019"/>
                </a:cubicBezTo>
                <a:cubicBezTo>
                  <a:pt x="83273" y="97585"/>
                  <a:pt x="82406" y="97585"/>
                  <a:pt x="81538" y="97152"/>
                </a:cubicBezTo>
                <a:cubicBezTo>
                  <a:pt x="81105" y="97152"/>
                  <a:pt x="80671" y="96718"/>
                  <a:pt x="80237" y="96718"/>
                </a:cubicBezTo>
                <a:lnTo>
                  <a:pt x="79370" y="96284"/>
                </a:lnTo>
                <a:cubicBezTo>
                  <a:pt x="77635" y="95417"/>
                  <a:pt x="75900" y="94983"/>
                  <a:pt x="74165" y="93682"/>
                </a:cubicBezTo>
                <a:cubicBezTo>
                  <a:pt x="73298" y="93248"/>
                  <a:pt x="72864" y="92815"/>
                  <a:pt x="71997" y="92381"/>
                </a:cubicBezTo>
                <a:cubicBezTo>
                  <a:pt x="71563" y="91947"/>
                  <a:pt x="71129" y="91947"/>
                  <a:pt x="70696" y="91513"/>
                </a:cubicBezTo>
                <a:cubicBezTo>
                  <a:pt x="67226" y="88911"/>
                  <a:pt x="63322" y="85008"/>
                  <a:pt x="63322" y="79369"/>
                </a:cubicBezTo>
                <a:lnTo>
                  <a:pt x="63322" y="71129"/>
                </a:lnTo>
                <a:lnTo>
                  <a:pt x="63322" y="62888"/>
                </a:lnTo>
                <a:cubicBezTo>
                  <a:pt x="63322" y="62888"/>
                  <a:pt x="63756" y="63322"/>
                  <a:pt x="63756" y="63322"/>
                </a:cubicBezTo>
                <a:cubicBezTo>
                  <a:pt x="64190" y="63756"/>
                  <a:pt x="64624" y="64190"/>
                  <a:pt x="65057" y="64623"/>
                </a:cubicBezTo>
                <a:cubicBezTo>
                  <a:pt x="65057" y="64623"/>
                  <a:pt x="65491" y="65057"/>
                  <a:pt x="65491" y="65057"/>
                </a:cubicBezTo>
                <a:cubicBezTo>
                  <a:pt x="66358" y="65924"/>
                  <a:pt x="66792" y="66358"/>
                  <a:pt x="67660" y="66792"/>
                </a:cubicBezTo>
                <a:cubicBezTo>
                  <a:pt x="68093" y="67226"/>
                  <a:pt x="68961" y="67659"/>
                  <a:pt x="69394" y="68093"/>
                </a:cubicBezTo>
                <a:cubicBezTo>
                  <a:pt x="69394" y="68093"/>
                  <a:pt x="69828" y="68093"/>
                  <a:pt x="69828" y="68527"/>
                </a:cubicBezTo>
                <a:cubicBezTo>
                  <a:pt x="70262" y="68960"/>
                  <a:pt x="71129" y="69394"/>
                  <a:pt x="71563" y="69394"/>
                </a:cubicBezTo>
                <a:cubicBezTo>
                  <a:pt x="73732" y="70695"/>
                  <a:pt x="76334" y="71996"/>
                  <a:pt x="79370" y="72864"/>
                </a:cubicBezTo>
                <a:cubicBezTo>
                  <a:pt x="82406" y="73731"/>
                  <a:pt x="85442" y="74599"/>
                  <a:pt x="88912" y="75032"/>
                </a:cubicBezTo>
                <a:cubicBezTo>
                  <a:pt x="89779" y="75032"/>
                  <a:pt x="90646" y="75466"/>
                  <a:pt x="91514" y="75466"/>
                </a:cubicBezTo>
                <a:cubicBezTo>
                  <a:pt x="92815" y="75466"/>
                  <a:pt x="93682" y="75900"/>
                  <a:pt x="94984" y="75900"/>
                </a:cubicBezTo>
                <a:cubicBezTo>
                  <a:pt x="96718" y="75900"/>
                  <a:pt x="98020" y="75900"/>
                  <a:pt x="99754" y="75900"/>
                </a:cubicBezTo>
                <a:cubicBezTo>
                  <a:pt x="112332" y="75900"/>
                  <a:pt x="124043" y="72430"/>
                  <a:pt x="131849" y="66792"/>
                </a:cubicBezTo>
                <a:cubicBezTo>
                  <a:pt x="132717" y="66358"/>
                  <a:pt x="133584" y="65491"/>
                  <a:pt x="134018" y="65057"/>
                </a:cubicBezTo>
                <a:cubicBezTo>
                  <a:pt x="134452" y="65057"/>
                  <a:pt x="134452" y="64623"/>
                  <a:pt x="134452" y="64623"/>
                </a:cubicBezTo>
                <a:cubicBezTo>
                  <a:pt x="135319" y="65057"/>
                  <a:pt x="135753" y="64623"/>
                  <a:pt x="136620" y="63756"/>
                </a:cubicBezTo>
                <a:cubicBezTo>
                  <a:pt x="136187" y="63756"/>
                  <a:pt x="136620" y="63756"/>
                  <a:pt x="136620" y="63756"/>
                </a:cubicBezTo>
                <a:close/>
                <a:moveTo>
                  <a:pt x="136620" y="35998"/>
                </a:moveTo>
                <a:lnTo>
                  <a:pt x="136620" y="52479"/>
                </a:lnTo>
                <a:cubicBezTo>
                  <a:pt x="136620" y="56816"/>
                  <a:pt x="134018" y="61154"/>
                  <a:pt x="129247" y="64623"/>
                </a:cubicBezTo>
                <a:cubicBezTo>
                  <a:pt x="122308" y="69828"/>
                  <a:pt x="111465" y="72864"/>
                  <a:pt x="99754" y="72864"/>
                </a:cubicBezTo>
                <a:cubicBezTo>
                  <a:pt x="98453" y="72864"/>
                  <a:pt x="96718" y="72864"/>
                  <a:pt x="95417" y="72864"/>
                </a:cubicBezTo>
                <a:cubicBezTo>
                  <a:pt x="94550" y="72864"/>
                  <a:pt x="93249" y="72864"/>
                  <a:pt x="92381" y="72430"/>
                </a:cubicBezTo>
                <a:cubicBezTo>
                  <a:pt x="91514" y="72430"/>
                  <a:pt x="90646" y="72430"/>
                  <a:pt x="89779" y="71996"/>
                </a:cubicBezTo>
                <a:cubicBezTo>
                  <a:pt x="86743" y="71563"/>
                  <a:pt x="83707" y="70695"/>
                  <a:pt x="80671" y="69828"/>
                </a:cubicBezTo>
                <a:cubicBezTo>
                  <a:pt x="78069" y="68960"/>
                  <a:pt x="75466" y="67659"/>
                  <a:pt x="73298" y="66792"/>
                </a:cubicBezTo>
                <a:cubicBezTo>
                  <a:pt x="72864" y="66358"/>
                  <a:pt x="71997" y="66358"/>
                  <a:pt x="71563" y="65924"/>
                </a:cubicBezTo>
                <a:cubicBezTo>
                  <a:pt x="71563" y="65924"/>
                  <a:pt x="71129" y="65924"/>
                  <a:pt x="71129" y="65491"/>
                </a:cubicBezTo>
                <a:cubicBezTo>
                  <a:pt x="70696" y="65057"/>
                  <a:pt x="70262" y="65057"/>
                  <a:pt x="69828" y="64623"/>
                </a:cubicBezTo>
                <a:cubicBezTo>
                  <a:pt x="65057" y="61154"/>
                  <a:pt x="62455" y="56816"/>
                  <a:pt x="62455" y="52479"/>
                </a:cubicBezTo>
                <a:lnTo>
                  <a:pt x="62455" y="44239"/>
                </a:lnTo>
                <a:lnTo>
                  <a:pt x="62455" y="35998"/>
                </a:lnTo>
                <a:cubicBezTo>
                  <a:pt x="62455" y="35998"/>
                  <a:pt x="62889" y="36432"/>
                  <a:pt x="62889" y="36432"/>
                </a:cubicBezTo>
                <a:cubicBezTo>
                  <a:pt x="63322" y="36866"/>
                  <a:pt x="63756" y="37299"/>
                  <a:pt x="64190" y="37733"/>
                </a:cubicBezTo>
                <a:cubicBezTo>
                  <a:pt x="64190" y="37733"/>
                  <a:pt x="64624" y="38167"/>
                  <a:pt x="64624" y="38167"/>
                </a:cubicBezTo>
                <a:cubicBezTo>
                  <a:pt x="65491" y="39034"/>
                  <a:pt x="65925" y="39468"/>
                  <a:pt x="66792" y="39902"/>
                </a:cubicBezTo>
                <a:cubicBezTo>
                  <a:pt x="67226" y="40335"/>
                  <a:pt x="68093" y="40769"/>
                  <a:pt x="68527" y="41203"/>
                </a:cubicBezTo>
                <a:cubicBezTo>
                  <a:pt x="71563" y="43371"/>
                  <a:pt x="75033" y="44672"/>
                  <a:pt x="78936" y="45974"/>
                </a:cubicBezTo>
                <a:cubicBezTo>
                  <a:pt x="85008" y="48142"/>
                  <a:pt x="92381" y="49010"/>
                  <a:pt x="99321" y="49010"/>
                </a:cubicBezTo>
                <a:cubicBezTo>
                  <a:pt x="111899" y="49010"/>
                  <a:pt x="123609" y="45540"/>
                  <a:pt x="131416" y="39902"/>
                </a:cubicBezTo>
                <a:cubicBezTo>
                  <a:pt x="132717" y="39902"/>
                  <a:pt x="133584" y="39034"/>
                  <a:pt x="134452" y="38600"/>
                </a:cubicBezTo>
                <a:cubicBezTo>
                  <a:pt x="134885" y="38600"/>
                  <a:pt x="134885" y="38167"/>
                  <a:pt x="134885" y="38167"/>
                </a:cubicBezTo>
                <a:cubicBezTo>
                  <a:pt x="135319" y="37299"/>
                  <a:pt x="135753" y="36866"/>
                  <a:pt x="136620" y="35998"/>
                </a:cubicBezTo>
                <a:cubicBezTo>
                  <a:pt x="136187" y="35998"/>
                  <a:pt x="136620" y="35998"/>
                  <a:pt x="136620" y="35998"/>
                </a:cubicBezTo>
                <a:close/>
              </a:path>
            </a:pathLst>
          </a:custGeom>
          <a:solidFill>
            <a:srgbClr val="231F20"/>
          </a:solidFill>
          <a:ln w="4330" cap="flat">
            <a:noFill/>
            <a:prstDash val="solid"/>
            <a:miter/>
          </a:ln>
        </p:spPr>
        <p:txBody>
          <a:bodyPr rtlCol="0" anchor="ctr"/>
          <a:lstStyle/>
          <a:p>
            <a:endParaRPr lang="en-US"/>
          </a:p>
        </p:txBody>
      </p:sp>
      <p:grpSp>
        <p:nvGrpSpPr>
          <p:cNvPr id="2626" name="Graphic 7">
            <a:extLst>
              <a:ext uri="{FF2B5EF4-FFF2-40B4-BE49-F238E27FC236}">
                <a16:creationId xmlns:a16="http://schemas.microsoft.com/office/drawing/2014/main" id="{7385B510-A10D-4A03-8E69-811589D507C0}"/>
              </a:ext>
              <a:ext uri="{C183D7F6-B498-43B3-948B-1728B52AA6E4}">
                <adec:decorative xmlns:adec="http://schemas.microsoft.com/office/drawing/2017/decorative" val="1"/>
              </a:ext>
            </a:extLst>
          </p:cNvPr>
          <p:cNvGrpSpPr>
            <a:grpSpLocks noChangeAspect="1"/>
          </p:cNvGrpSpPr>
          <p:nvPr/>
        </p:nvGrpSpPr>
        <p:grpSpPr>
          <a:xfrm>
            <a:off x="6422487" y="3825652"/>
            <a:ext cx="150128" cy="132466"/>
            <a:chOff x="5842148" y="3154939"/>
            <a:chExt cx="514201" cy="453707"/>
          </a:xfrm>
          <a:solidFill>
            <a:schemeClr val="tx1"/>
          </a:solidFill>
        </p:grpSpPr>
        <p:sp>
          <p:nvSpPr>
            <p:cNvPr id="2644" name="Freeform: Shape 2643">
              <a:extLst>
                <a:ext uri="{FF2B5EF4-FFF2-40B4-BE49-F238E27FC236}">
                  <a16:creationId xmlns:a16="http://schemas.microsoft.com/office/drawing/2014/main" id="{84C8DAA1-EAB7-44A1-B5D9-A7DA73012FC8}"/>
                </a:ext>
              </a:extLst>
            </p:cNvPr>
            <p:cNvSpPr/>
            <p:nvPr/>
          </p:nvSpPr>
          <p:spPr>
            <a:xfrm>
              <a:off x="5842148" y="3219970"/>
              <a:ext cx="393213" cy="347842"/>
            </a:xfrm>
            <a:custGeom>
              <a:avLst/>
              <a:gdLst>
                <a:gd name="connsiteX0" fmla="*/ 223829 w 393212"/>
                <a:gd name="connsiteY0" fmla="*/ 356916 h 347842"/>
                <a:gd name="connsiteX1" fmla="*/ 7562 w 393212"/>
                <a:gd name="connsiteY1" fmla="*/ 356916 h 347842"/>
                <a:gd name="connsiteX2" fmla="*/ 0 w 393212"/>
                <a:gd name="connsiteY2" fmla="*/ 349354 h 347842"/>
                <a:gd name="connsiteX3" fmla="*/ 7562 w 393212"/>
                <a:gd name="connsiteY3" fmla="*/ 341793 h 347842"/>
                <a:gd name="connsiteX4" fmla="*/ 223829 w 393212"/>
                <a:gd name="connsiteY4" fmla="*/ 341793 h 347842"/>
                <a:gd name="connsiteX5" fmla="*/ 387163 w 393212"/>
                <a:gd name="connsiteY5" fmla="*/ 178458 h 347842"/>
                <a:gd name="connsiteX6" fmla="*/ 223829 w 393212"/>
                <a:gd name="connsiteY6" fmla="*/ 15124 h 347842"/>
                <a:gd name="connsiteX7" fmla="*/ 60494 w 393212"/>
                <a:gd name="connsiteY7" fmla="*/ 178458 h 347842"/>
                <a:gd name="connsiteX8" fmla="*/ 99815 w 393212"/>
                <a:gd name="connsiteY8" fmla="*/ 284323 h 347842"/>
                <a:gd name="connsiteX9" fmla="*/ 98303 w 393212"/>
                <a:gd name="connsiteY9" fmla="*/ 294910 h 347842"/>
                <a:gd name="connsiteX10" fmla="*/ 87717 w 393212"/>
                <a:gd name="connsiteY10" fmla="*/ 294910 h 347842"/>
                <a:gd name="connsiteX11" fmla="*/ 45371 w 393212"/>
                <a:gd name="connsiteY11" fmla="*/ 178458 h 347842"/>
                <a:gd name="connsiteX12" fmla="*/ 223829 w 393212"/>
                <a:gd name="connsiteY12" fmla="*/ 0 h 347842"/>
                <a:gd name="connsiteX13" fmla="*/ 402287 w 393212"/>
                <a:gd name="connsiteY13" fmla="*/ 178458 h 347842"/>
                <a:gd name="connsiteX14" fmla="*/ 223829 w 393212"/>
                <a:gd name="connsiteY14" fmla="*/ 356916 h 34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212" h="347842">
                  <a:moveTo>
                    <a:pt x="223829" y="356916"/>
                  </a:moveTo>
                  <a:lnTo>
                    <a:pt x="7562" y="356916"/>
                  </a:lnTo>
                  <a:cubicBezTo>
                    <a:pt x="3025" y="356916"/>
                    <a:pt x="0" y="353891"/>
                    <a:pt x="0" y="349354"/>
                  </a:cubicBezTo>
                  <a:cubicBezTo>
                    <a:pt x="0" y="344817"/>
                    <a:pt x="3025" y="341793"/>
                    <a:pt x="7562" y="341793"/>
                  </a:cubicBezTo>
                  <a:lnTo>
                    <a:pt x="223829" y="341793"/>
                  </a:lnTo>
                  <a:cubicBezTo>
                    <a:pt x="314570" y="341793"/>
                    <a:pt x="387163" y="269200"/>
                    <a:pt x="387163" y="178458"/>
                  </a:cubicBezTo>
                  <a:cubicBezTo>
                    <a:pt x="387163" y="87717"/>
                    <a:pt x="314570" y="15124"/>
                    <a:pt x="223829" y="15124"/>
                  </a:cubicBezTo>
                  <a:cubicBezTo>
                    <a:pt x="127038" y="15124"/>
                    <a:pt x="60494" y="81667"/>
                    <a:pt x="60494" y="178458"/>
                  </a:cubicBezTo>
                  <a:cubicBezTo>
                    <a:pt x="60494" y="217779"/>
                    <a:pt x="74105" y="255588"/>
                    <a:pt x="99815" y="284323"/>
                  </a:cubicBezTo>
                  <a:cubicBezTo>
                    <a:pt x="102840" y="287348"/>
                    <a:pt x="102840" y="291885"/>
                    <a:pt x="98303" y="294910"/>
                  </a:cubicBezTo>
                  <a:cubicBezTo>
                    <a:pt x="95278" y="299447"/>
                    <a:pt x="90741" y="297934"/>
                    <a:pt x="87717" y="294910"/>
                  </a:cubicBezTo>
                  <a:cubicBezTo>
                    <a:pt x="60494" y="263150"/>
                    <a:pt x="45371" y="220804"/>
                    <a:pt x="45371" y="178458"/>
                  </a:cubicBezTo>
                  <a:cubicBezTo>
                    <a:pt x="45371" y="74105"/>
                    <a:pt x="119476" y="0"/>
                    <a:pt x="223829" y="0"/>
                  </a:cubicBezTo>
                  <a:cubicBezTo>
                    <a:pt x="322132" y="0"/>
                    <a:pt x="402287" y="80155"/>
                    <a:pt x="402287" y="178458"/>
                  </a:cubicBezTo>
                  <a:cubicBezTo>
                    <a:pt x="402287" y="276761"/>
                    <a:pt x="322132" y="356916"/>
                    <a:pt x="223829" y="356916"/>
                  </a:cubicBezTo>
                  <a:close/>
                </a:path>
              </a:pathLst>
            </a:custGeom>
            <a:grpFill/>
            <a:ln w="14848" cap="flat">
              <a:noFill/>
              <a:prstDash val="solid"/>
              <a:miter/>
            </a:ln>
          </p:spPr>
          <p:txBody>
            <a:bodyPr rtlCol="0" anchor="ctr"/>
            <a:lstStyle/>
            <a:p>
              <a:endParaRPr lang="en-US"/>
            </a:p>
          </p:txBody>
        </p:sp>
        <p:sp>
          <p:nvSpPr>
            <p:cNvPr id="2645" name="Freeform: Shape 2644">
              <a:extLst>
                <a:ext uri="{FF2B5EF4-FFF2-40B4-BE49-F238E27FC236}">
                  <a16:creationId xmlns:a16="http://schemas.microsoft.com/office/drawing/2014/main" id="{82BEA00D-3114-4C13-9454-E5B37A76C4C0}"/>
                </a:ext>
              </a:extLst>
            </p:cNvPr>
            <p:cNvSpPr/>
            <p:nvPr/>
          </p:nvSpPr>
          <p:spPr>
            <a:xfrm>
              <a:off x="6158230" y="3561763"/>
              <a:ext cx="136112" cy="15124"/>
            </a:xfrm>
            <a:custGeom>
              <a:avLst/>
              <a:gdLst>
                <a:gd name="connsiteX0" fmla="*/ 131575 w 136112"/>
                <a:gd name="connsiteY0" fmla="*/ 15124 h 15123"/>
                <a:gd name="connsiteX1" fmla="*/ 7562 w 136112"/>
                <a:gd name="connsiteY1" fmla="*/ 15124 h 15123"/>
                <a:gd name="connsiteX2" fmla="*/ 0 w 136112"/>
                <a:gd name="connsiteY2" fmla="*/ 7562 h 15123"/>
                <a:gd name="connsiteX3" fmla="*/ 7562 w 136112"/>
                <a:gd name="connsiteY3" fmla="*/ 0 h 15123"/>
                <a:gd name="connsiteX4" fmla="*/ 131575 w 136112"/>
                <a:gd name="connsiteY4" fmla="*/ 0 h 15123"/>
                <a:gd name="connsiteX5" fmla="*/ 139137 w 136112"/>
                <a:gd name="connsiteY5" fmla="*/ 7562 h 15123"/>
                <a:gd name="connsiteX6" fmla="*/ 131575 w 136112"/>
                <a:gd name="connsiteY6" fmla="*/ 15124 h 1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112" h="15123">
                  <a:moveTo>
                    <a:pt x="131575" y="15124"/>
                  </a:moveTo>
                  <a:lnTo>
                    <a:pt x="7562" y="15124"/>
                  </a:lnTo>
                  <a:cubicBezTo>
                    <a:pt x="3025" y="15124"/>
                    <a:pt x="0" y="12099"/>
                    <a:pt x="0" y="7562"/>
                  </a:cubicBezTo>
                  <a:cubicBezTo>
                    <a:pt x="0" y="3025"/>
                    <a:pt x="3025" y="0"/>
                    <a:pt x="7562" y="0"/>
                  </a:cubicBezTo>
                  <a:lnTo>
                    <a:pt x="131575" y="0"/>
                  </a:lnTo>
                  <a:cubicBezTo>
                    <a:pt x="136112" y="0"/>
                    <a:pt x="139137" y="3025"/>
                    <a:pt x="139137" y="7562"/>
                  </a:cubicBezTo>
                  <a:cubicBezTo>
                    <a:pt x="139137" y="12099"/>
                    <a:pt x="136112" y="15124"/>
                    <a:pt x="131575" y="15124"/>
                  </a:cubicBezTo>
                  <a:close/>
                </a:path>
              </a:pathLst>
            </a:custGeom>
            <a:grpFill/>
            <a:ln w="14848" cap="flat">
              <a:noFill/>
              <a:prstDash val="solid"/>
              <a:miter/>
            </a:ln>
          </p:spPr>
          <p:txBody>
            <a:bodyPr rtlCol="0" anchor="ctr"/>
            <a:lstStyle/>
            <a:p>
              <a:endParaRPr lang="en-US"/>
            </a:p>
          </p:txBody>
        </p:sp>
        <p:sp>
          <p:nvSpPr>
            <p:cNvPr id="2646" name="Freeform: Shape 2645">
              <a:extLst>
                <a:ext uri="{FF2B5EF4-FFF2-40B4-BE49-F238E27FC236}">
                  <a16:creationId xmlns:a16="http://schemas.microsoft.com/office/drawing/2014/main" id="{558BC096-1B7F-4605-A6C8-9BC31CD388A3}"/>
                </a:ext>
              </a:extLst>
            </p:cNvPr>
            <p:cNvSpPr/>
            <p:nvPr/>
          </p:nvSpPr>
          <p:spPr>
            <a:xfrm>
              <a:off x="6232944" y="3526842"/>
              <a:ext cx="60494" cy="75618"/>
            </a:xfrm>
            <a:custGeom>
              <a:avLst/>
              <a:gdLst>
                <a:gd name="connsiteX0" fmla="*/ 6954 w 60494"/>
                <a:gd name="connsiteY0" fmla="*/ 86341 h 75617"/>
                <a:gd name="connsiteX1" fmla="*/ 905 w 60494"/>
                <a:gd name="connsiteY1" fmla="*/ 83316 h 75617"/>
                <a:gd name="connsiteX2" fmla="*/ 3929 w 60494"/>
                <a:gd name="connsiteY2" fmla="*/ 72729 h 75617"/>
                <a:gd name="connsiteX3" fmla="*/ 49300 w 60494"/>
                <a:gd name="connsiteY3" fmla="*/ 45507 h 75617"/>
                <a:gd name="connsiteX4" fmla="*/ 3929 w 60494"/>
                <a:gd name="connsiteY4" fmla="*/ 13748 h 75617"/>
                <a:gd name="connsiteX5" fmla="*/ 2417 w 60494"/>
                <a:gd name="connsiteY5" fmla="*/ 3161 h 75617"/>
                <a:gd name="connsiteX6" fmla="*/ 13003 w 60494"/>
                <a:gd name="connsiteY6" fmla="*/ 1649 h 75617"/>
                <a:gd name="connsiteX7" fmla="*/ 58374 w 60494"/>
                <a:gd name="connsiteY7" fmla="*/ 33408 h 75617"/>
                <a:gd name="connsiteX8" fmla="*/ 64423 w 60494"/>
                <a:gd name="connsiteY8" fmla="*/ 45507 h 75617"/>
                <a:gd name="connsiteX9" fmla="*/ 56862 w 60494"/>
                <a:gd name="connsiteY9" fmla="*/ 57606 h 75617"/>
                <a:gd name="connsiteX10" fmla="*/ 11491 w 60494"/>
                <a:gd name="connsiteY10" fmla="*/ 84828 h 75617"/>
                <a:gd name="connsiteX11" fmla="*/ 6954 w 60494"/>
                <a:gd name="connsiteY11" fmla="*/ 86341 h 7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94" h="75617">
                  <a:moveTo>
                    <a:pt x="6954" y="86341"/>
                  </a:moveTo>
                  <a:cubicBezTo>
                    <a:pt x="3929" y="86341"/>
                    <a:pt x="2417" y="84828"/>
                    <a:pt x="905" y="83316"/>
                  </a:cubicBezTo>
                  <a:cubicBezTo>
                    <a:pt x="-608" y="80291"/>
                    <a:pt x="-608" y="75754"/>
                    <a:pt x="3929" y="72729"/>
                  </a:cubicBezTo>
                  <a:lnTo>
                    <a:pt x="49300" y="45507"/>
                  </a:lnTo>
                  <a:lnTo>
                    <a:pt x="3929" y="13748"/>
                  </a:lnTo>
                  <a:cubicBezTo>
                    <a:pt x="905" y="10723"/>
                    <a:pt x="-608" y="6186"/>
                    <a:pt x="2417" y="3161"/>
                  </a:cubicBezTo>
                  <a:cubicBezTo>
                    <a:pt x="5442" y="136"/>
                    <a:pt x="9979" y="-1376"/>
                    <a:pt x="13003" y="1649"/>
                  </a:cubicBezTo>
                  <a:lnTo>
                    <a:pt x="58374" y="33408"/>
                  </a:lnTo>
                  <a:cubicBezTo>
                    <a:pt x="62911" y="36433"/>
                    <a:pt x="64423" y="40970"/>
                    <a:pt x="64423" y="45507"/>
                  </a:cubicBezTo>
                  <a:cubicBezTo>
                    <a:pt x="64423" y="50044"/>
                    <a:pt x="61399" y="54581"/>
                    <a:pt x="56862" y="57606"/>
                  </a:cubicBezTo>
                  <a:lnTo>
                    <a:pt x="11491" y="84828"/>
                  </a:lnTo>
                  <a:cubicBezTo>
                    <a:pt x="9979" y="86341"/>
                    <a:pt x="8466" y="86341"/>
                    <a:pt x="6954" y="86341"/>
                  </a:cubicBezTo>
                  <a:close/>
                </a:path>
              </a:pathLst>
            </a:custGeom>
            <a:grpFill/>
            <a:ln w="14848" cap="flat">
              <a:noFill/>
              <a:prstDash val="solid"/>
              <a:miter/>
            </a:ln>
          </p:spPr>
          <p:txBody>
            <a:bodyPr rtlCol="0" anchor="ctr"/>
            <a:lstStyle/>
            <a:p>
              <a:endParaRPr lang="en-US"/>
            </a:p>
          </p:txBody>
        </p:sp>
        <p:sp>
          <p:nvSpPr>
            <p:cNvPr id="2647" name="Freeform: Shape 2646">
              <a:extLst>
                <a:ext uri="{FF2B5EF4-FFF2-40B4-BE49-F238E27FC236}">
                  <a16:creationId xmlns:a16="http://schemas.microsoft.com/office/drawing/2014/main" id="{2BAD8EAD-8C18-4327-B34A-EA8284DA470F}"/>
                </a:ext>
              </a:extLst>
            </p:cNvPr>
            <p:cNvSpPr/>
            <p:nvPr/>
          </p:nvSpPr>
          <p:spPr>
            <a:xfrm>
              <a:off x="5842148" y="3154939"/>
              <a:ext cx="15124" cy="15124"/>
            </a:xfrm>
            <a:custGeom>
              <a:avLst/>
              <a:gdLst/>
              <a:ahLst/>
              <a:cxnLst/>
              <a:rect l="l" t="t" r="r" b="b"/>
              <a:pathLst>
                <a:path/>
              </a:pathLst>
            </a:custGeom>
            <a:grpFill/>
            <a:ln w="14848" cap="flat">
              <a:solidFill>
                <a:srgbClr val="231F20"/>
              </a:solidFill>
              <a:prstDash val="solid"/>
              <a:round/>
            </a:ln>
          </p:spPr>
          <p:txBody>
            <a:bodyPr rtlCol="0" anchor="ctr"/>
            <a:lstStyle/>
            <a:p>
              <a:endParaRPr lang="en-US"/>
            </a:p>
          </p:txBody>
        </p:sp>
        <p:sp>
          <p:nvSpPr>
            <p:cNvPr id="2648" name="Freeform: Shape 2647">
              <a:extLst>
                <a:ext uri="{FF2B5EF4-FFF2-40B4-BE49-F238E27FC236}">
                  <a16:creationId xmlns:a16="http://schemas.microsoft.com/office/drawing/2014/main" id="{7EBA718C-F306-493B-8377-856F70A4D476}"/>
                </a:ext>
              </a:extLst>
            </p:cNvPr>
            <p:cNvSpPr/>
            <p:nvPr/>
          </p:nvSpPr>
          <p:spPr>
            <a:xfrm>
              <a:off x="5895080" y="3464972"/>
              <a:ext cx="45371" cy="45371"/>
            </a:xfrm>
            <a:custGeom>
              <a:avLst/>
              <a:gdLst>
                <a:gd name="connsiteX0" fmla="*/ 45371 w 45370"/>
                <a:gd name="connsiteY0" fmla="*/ 57470 h 45370"/>
                <a:gd name="connsiteX1" fmla="*/ 43858 w 45370"/>
                <a:gd name="connsiteY1" fmla="*/ 57470 h 45370"/>
                <a:gd name="connsiteX2" fmla="*/ 6049 w 45370"/>
                <a:gd name="connsiteY2" fmla="*/ 46883 h 45370"/>
                <a:gd name="connsiteX3" fmla="*/ 0 w 45370"/>
                <a:gd name="connsiteY3" fmla="*/ 37809 h 45370"/>
                <a:gd name="connsiteX4" fmla="*/ 9074 w 45370"/>
                <a:gd name="connsiteY4" fmla="*/ 31759 h 45370"/>
                <a:gd name="connsiteX5" fmla="*/ 36297 w 45370"/>
                <a:gd name="connsiteY5" fmla="*/ 39321 h 45370"/>
                <a:gd name="connsiteX6" fmla="*/ 31759 w 45370"/>
                <a:gd name="connsiteY6" fmla="*/ 9074 h 45370"/>
                <a:gd name="connsiteX7" fmla="*/ 37809 w 45370"/>
                <a:gd name="connsiteY7" fmla="*/ 0 h 45370"/>
                <a:gd name="connsiteX8" fmla="*/ 46883 w 45370"/>
                <a:gd name="connsiteY8" fmla="*/ 6049 h 45370"/>
                <a:gd name="connsiteX9" fmla="*/ 52932 w 45370"/>
                <a:gd name="connsiteY9" fmla="*/ 46883 h 45370"/>
                <a:gd name="connsiteX10" fmla="*/ 49908 w 45370"/>
                <a:gd name="connsiteY10" fmla="*/ 52932 h 45370"/>
                <a:gd name="connsiteX11" fmla="*/ 45371 w 45370"/>
                <a:gd name="connsiteY11" fmla="*/ 57470 h 4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70" h="45370">
                  <a:moveTo>
                    <a:pt x="45371" y="57470"/>
                  </a:moveTo>
                  <a:cubicBezTo>
                    <a:pt x="45371" y="57470"/>
                    <a:pt x="43858" y="57470"/>
                    <a:pt x="43858" y="57470"/>
                  </a:cubicBezTo>
                  <a:lnTo>
                    <a:pt x="6049" y="46883"/>
                  </a:lnTo>
                  <a:cubicBezTo>
                    <a:pt x="1512" y="45371"/>
                    <a:pt x="0" y="42346"/>
                    <a:pt x="0" y="37809"/>
                  </a:cubicBezTo>
                  <a:cubicBezTo>
                    <a:pt x="0" y="33272"/>
                    <a:pt x="4537" y="31759"/>
                    <a:pt x="9074" y="31759"/>
                  </a:cubicBezTo>
                  <a:lnTo>
                    <a:pt x="36297" y="39321"/>
                  </a:lnTo>
                  <a:lnTo>
                    <a:pt x="31759" y="9074"/>
                  </a:lnTo>
                  <a:cubicBezTo>
                    <a:pt x="31759" y="4537"/>
                    <a:pt x="34784" y="1512"/>
                    <a:pt x="37809" y="0"/>
                  </a:cubicBezTo>
                  <a:cubicBezTo>
                    <a:pt x="42346" y="0"/>
                    <a:pt x="45371" y="3025"/>
                    <a:pt x="46883" y="6049"/>
                  </a:cubicBezTo>
                  <a:lnTo>
                    <a:pt x="52932" y="46883"/>
                  </a:lnTo>
                  <a:cubicBezTo>
                    <a:pt x="52932" y="49908"/>
                    <a:pt x="52932" y="51420"/>
                    <a:pt x="49908" y="52932"/>
                  </a:cubicBezTo>
                  <a:cubicBezTo>
                    <a:pt x="48395" y="57470"/>
                    <a:pt x="46883" y="57470"/>
                    <a:pt x="45371" y="57470"/>
                  </a:cubicBezTo>
                  <a:close/>
                </a:path>
              </a:pathLst>
            </a:custGeom>
            <a:grpFill/>
            <a:ln w="14848" cap="flat">
              <a:noFill/>
              <a:prstDash val="solid"/>
              <a:miter/>
            </a:ln>
          </p:spPr>
          <p:txBody>
            <a:bodyPr rtlCol="0" anchor="ctr"/>
            <a:lstStyle/>
            <a:p>
              <a:endParaRPr lang="en-US"/>
            </a:p>
          </p:txBody>
        </p:sp>
        <p:sp>
          <p:nvSpPr>
            <p:cNvPr id="2649" name="Freeform: Shape 2648">
              <a:extLst>
                <a:ext uri="{FF2B5EF4-FFF2-40B4-BE49-F238E27FC236}">
                  <a16:creationId xmlns:a16="http://schemas.microsoft.com/office/drawing/2014/main" id="{B68971FE-91B1-462B-9E79-774FB5979F9A}"/>
                </a:ext>
              </a:extLst>
            </p:cNvPr>
            <p:cNvSpPr/>
            <p:nvPr/>
          </p:nvSpPr>
          <p:spPr>
            <a:xfrm>
              <a:off x="6178407" y="3155455"/>
              <a:ext cx="166359" cy="166359"/>
            </a:xfrm>
            <a:custGeom>
              <a:avLst/>
              <a:gdLst>
                <a:gd name="connsiteX0" fmla="*/ 88713 w 166359"/>
                <a:gd name="connsiteY0" fmla="*/ 179455 h 166359"/>
                <a:gd name="connsiteX1" fmla="*/ 76614 w 166359"/>
                <a:gd name="connsiteY1" fmla="*/ 177942 h 166359"/>
                <a:gd name="connsiteX2" fmla="*/ 70565 w 166359"/>
                <a:gd name="connsiteY2" fmla="*/ 168868 h 166359"/>
                <a:gd name="connsiteX3" fmla="*/ 79639 w 166359"/>
                <a:gd name="connsiteY3" fmla="*/ 162819 h 166359"/>
                <a:gd name="connsiteX4" fmla="*/ 129547 w 166359"/>
                <a:gd name="connsiteY4" fmla="*/ 150720 h 166359"/>
                <a:gd name="connsiteX5" fmla="*/ 150720 w 166359"/>
                <a:gd name="connsiteY5" fmla="*/ 47880 h 166359"/>
                <a:gd name="connsiteX6" fmla="*/ 47880 w 166359"/>
                <a:gd name="connsiteY6" fmla="*/ 26707 h 166359"/>
                <a:gd name="connsiteX7" fmla="*/ 26707 w 166359"/>
                <a:gd name="connsiteY7" fmla="*/ 129547 h 166359"/>
                <a:gd name="connsiteX8" fmla="*/ 25194 w 166359"/>
                <a:gd name="connsiteY8" fmla="*/ 140133 h 166359"/>
                <a:gd name="connsiteX9" fmla="*/ 14608 w 166359"/>
                <a:gd name="connsiteY9" fmla="*/ 138621 h 166359"/>
                <a:gd name="connsiteX10" fmla="*/ 40318 w 166359"/>
                <a:gd name="connsiteY10" fmla="*/ 14608 h 166359"/>
                <a:gd name="connsiteX11" fmla="*/ 164331 w 166359"/>
                <a:gd name="connsiteY11" fmla="*/ 40318 h 166359"/>
                <a:gd name="connsiteX12" fmla="*/ 138621 w 166359"/>
                <a:gd name="connsiteY12" fmla="*/ 164331 h 166359"/>
                <a:gd name="connsiteX13" fmla="*/ 88713 w 166359"/>
                <a:gd name="connsiteY13" fmla="*/ 179455 h 16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359" h="166359">
                  <a:moveTo>
                    <a:pt x="88713" y="179455"/>
                  </a:moveTo>
                  <a:cubicBezTo>
                    <a:pt x="84176" y="179455"/>
                    <a:pt x="81151" y="179455"/>
                    <a:pt x="76614" y="177942"/>
                  </a:cubicBezTo>
                  <a:cubicBezTo>
                    <a:pt x="72077" y="177942"/>
                    <a:pt x="69053" y="173405"/>
                    <a:pt x="70565" y="168868"/>
                  </a:cubicBezTo>
                  <a:cubicBezTo>
                    <a:pt x="70565" y="164331"/>
                    <a:pt x="75102" y="161306"/>
                    <a:pt x="79639" y="162819"/>
                  </a:cubicBezTo>
                  <a:cubicBezTo>
                    <a:pt x="97787" y="165843"/>
                    <a:pt x="115936" y="161306"/>
                    <a:pt x="129547" y="150720"/>
                  </a:cubicBezTo>
                  <a:cubicBezTo>
                    <a:pt x="164331" y="128034"/>
                    <a:pt x="173405" y="81151"/>
                    <a:pt x="150720" y="47880"/>
                  </a:cubicBezTo>
                  <a:cubicBezTo>
                    <a:pt x="128034" y="14608"/>
                    <a:pt x="81151" y="4021"/>
                    <a:pt x="47880" y="26707"/>
                  </a:cubicBezTo>
                  <a:cubicBezTo>
                    <a:pt x="13095" y="49392"/>
                    <a:pt x="4021" y="96275"/>
                    <a:pt x="26707" y="129547"/>
                  </a:cubicBezTo>
                  <a:cubicBezTo>
                    <a:pt x="29731" y="132572"/>
                    <a:pt x="28219" y="137109"/>
                    <a:pt x="25194" y="140133"/>
                  </a:cubicBezTo>
                  <a:cubicBezTo>
                    <a:pt x="22170" y="143158"/>
                    <a:pt x="17632" y="141646"/>
                    <a:pt x="14608" y="138621"/>
                  </a:cubicBezTo>
                  <a:cubicBezTo>
                    <a:pt x="-12615" y="97787"/>
                    <a:pt x="-516" y="41830"/>
                    <a:pt x="40318" y="14608"/>
                  </a:cubicBezTo>
                  <a:cubicBezTo>
                    <a:pt x="81151" y="-12615"/>
                    <a:pt x="137109" y="-516"/>
                    <a:pt x="164331" y="40318"/>
                  </a:cubicBezTo>
                  <a:cubicBezTo>
                    <a:pt x="191553" y="81151"/>
                    <a:pt x="179454" y="137109"/>
                    <a:pt x="138621" y="164331"/>
                  </a:cubicBezTo>
                  <a:cubicBezTo>
                    <a:pt x="121985" y="174918"/>
                    <a:pt x="105349" y="179455"/>
                    <a:pt x="88713" y="179455"/>
                  </a:cubicBezTo>
                  <a:close/>
                </a:path>
              </a:pathLst>
            </a:custGeom>
            <a:grpFill/>
            <a:ln w="14848" cap="flat">
              <a:noFill/>
              <a:prstDash val="solid"/>
              <a:miter/>
            </a:ln>
          </p:spPr>
          <p:txBody>
            <a:bodyPr rtlCol="0" anchor="ctr"/>
            <a:lstStyle/>
            <a:p>
              <a:endParaRPr lang="en-US"/>
            </a:p>
          </p:txBody>
        </p:sp>
        <p:sp>
          <p:nvSpPr>
            <p:cNvPr id="2650" name="Freeform: Shape 2649">
              <a:extLst>
                <a:ext uri="{FF2B5EF4-FFF2-40B4-BE49-F238E27FC236}">
                  <a16:creationId xmlns:a16="http://schemas.microsoft.com/office/drawing/2014/main" id="{A9322241-5485-4429-B8CD-71FBC965B21F}"/>
                </a:ext>
              </a:extLst>
            </p:cNvPr>
            <p:cNvSpPr/>
            <p:nvPr/>
          </p:nvSpPr>
          <p:spPr>
            <a:xfrm>
              <a:off x="6242922" y="3299989"/>
              <a:ext cx="30247" cy="45371"/>
            </a:xfrm>
            <a:custGeom>
              <a:avLst/>
              <a:gdLst>
                <a:gd name="connsiteX0" fmla="*/ 28735 w 30247"/>
                <a:gd name="connsiteY0" fmla="*/ 53069 h 45370"/>
                <a:gd name="connsiteX1" fmla="*/ 24198 w 30247"/>
                <a:gd name="connsiteY1" fmla="*/ 51556 h 45370"/>
                <a:gd name="connsiteX2" fmla="*/ 0 w 30247"/>
                <a:gd name="connsiteY2" fmla="*/ 27359 h 45370"/>
                <a:gd name="connsiteX3" fmla="*/ 25710 w 30247"/>
                <a:gd name="connsiteY3" fmla="*/ 1649 h 45370"/>
                <a:gd name="connsiteX4" fmla="*/ 36297 w 30247"/>
                <a:gd name="connsiteY4" fmla="*/ 3161 h 45370"/>
                <a:gd name="connsiteX5" fmla="*/ 34784 w 30247"/>
                <a:gd name="connsiteY5" fmla="*/ 13748 h 45370"/>
                <a:gd name="connsiteX6" fmla="*/ 18148 w 30247"/>
                <a:gd name="connsiteY6" fmla="*/ 25846 h 45370"/>
                <a:gd name="connsiteX7" fmla="*/ 33272 w 30247"/>
                <a:gd name="connsiteY7" fmla="*/ 37945 h 45370"/>
                <a:gd name="connsiteX8" fmla="*/ 34784 w 30247"/>
                <a:gd name="connsiteY8" fmla="*/ 48532 h 45370"/>
                <a:gd name="connsiteX9" fmla="*/ 28735 w 30247"/>
                <a:gd name="connsiteY9" fmla="*/ 53069 h 4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47" h="45370">
                  <a:moveTo>
                    <a:pt x="28735" y="53069"/>
                  </a:moveTo>
                  <a:cubicBezTo>
                    <a:pt x="27222" y="53069"/>
                    <a:pt x="25710" y="53069"/>
                    <a:pt x="24198" y="51556"/>
                  </a:cubicBezTo>
                  <a:cubicBezTo>
                    <a:pt x="0" y="33408"/>
                    <a:pt x="0" y="31896"/>
                    <a:pt x="0" y="27359"/>
                  </a:cubicBezTo>
                  <a:cubicBezTo>
                    <a:pt x="0" y="24334"/>
                    <a:pt x="0" y="21309"/>
                    <a:pt x="25710" y="1649"/>
                  </a:cubicBezTo>
                  <a:cubicBezTo>
                    <a:pt x="28735" y="-1376"/>
                    <a:pt x="33272" y="136"/>
                    <a:pt x="36297" y="3161"/>
                  </a:cubicBezTo>
                  <a:cubicBezTo>
                    <a:pt x="39321" y="6186"/>
                    <a:pt x="37809" y="10723"/>
                    <a:pt x="34784" y="13748"/>
                  </a:cubicBezTo>
                  <a:cubicBezTo>
                    <a:pt x="28735" y="18285"/>
                    <a:pt x="22685" y="22822"/>
                    <a:pt x="18148" y="25846"/>
                  </a:cubicBezTo>
                  <a:cubicBezTo>
                    <a:pt x="22685" y="28871"/>
                    <a:pt x="28735" y="33408"/>
                    <a:pt x="33272" y="37945"/>
                  </a:cubicBezTo>
                  <a:cubicBezTo>
                    <a:pt x="36297" y="40970"/>
                    <a:pt x="37809" y="45507"/>
                    <a:pt x="34784" y="48532"/>
                  </a:cubicBezTo>
                  <a:cubicBezTo>
                    <a:pt x="34784" y="51556"/>
                    <a:pt x="31759" y="53069"/>
                    <a:pt x="28735" y="53069"/>
                  </a:cubicBezTo>
                  <a:close/>
                </a:path>
              </a:pathLst>
            </a:custGeom>
            <a:grpFill/>
            <a:ln w="14848" cap="flat">
              <a:noFill/>
              <a:prstDash val="solid"/>
              <a:miter/>
            </a:ln>
          </p:spPr>
          <p:txBody>
            <a:bodyPr rtlCol="0" anchor="ctr"/>
            <a:lstStyle/>
            <a:p>
              <a:endParaRPr lang="en-US"/>
            </a:p>
          </p:txBody>
        </p:sp>
        <p:sp>
          <p:nvSpPr>
            <p:cNvPr id="2651" name="Freeform: Shape 2650">
              <a:extLst>
                <a:ext uri="{FF2B5EF4-FFF2-40B4-BE49-F238E27FC236}">
                  <a16:creationId xmlns:a16="http://schemas.microsoft.com/office/drawing/2014/main" id="{534EE97B-8CC7-4BF2-9866-33DC24D1C47D}"/>
                </a:ext>
              </a:extLst>
            </p:cNvPr>
            <p:cNvSpPr/>
            <p:nvPr/>
          </p:nvSpPr>
          <p:spPr>
            <a:xfrm>
              <a:off x="6025143" y="3359107"/>
              <a:ext cx="75618" cy="75618"/>
            </a:xfrm>
            <a:custGeom>
              <a:avLst/>
              <a:gdLst>
                <a:gd name="connsiteX0" fmla="*/ 39321 w 75617"/>
                <a:gd name="connsiteY0" fmla="*/ 78643 h 75617"/>
                <a:gd name="connsiteX1" fmla="*/ 0 w 75617"/>
                <a:gd name="connsiteY1" fmla="*/ 39321 h 75617"/>
                <a:gd name="connsiteX2" fmla="*/ 39321 w 75617"/>
                <a:gd name="connsiteY2" fmla="*/ 0 h 75617"/>
                <a:gd name="connsiteX3" fmla="*/ 78642 w 75617"/>
                <a:gd name="connsiteY3" fmla="*/ 39321 h 75617"/>
                <a:gd name="connsiteX4" fmla="*/ 39321 w 75617"/>
                <a:gd name="connsiteY4" fmla="*/ 78643 h 75617"/>
                <a:gd name="connsiteX5" fmla="*/ 39321 w 75617"/>
                <a:gd name="connsiteY5" fmla="*/ 13611 h 75617"/>
                <a:gd name="connsiteX6" fmla="*/ 15124 w 75617"/>
                <a:gd name="connsiteY6" fmla="*/ 37809 h 75617"/>
                <a:gd name="connsiteX7" fmla="*/ 39321 w 75617"/>
                <a:gd name="connsiteY7" fmla="*/ 62007 h 75617"/>
                <a:gd name="connsiteX8" fmla="*/ 63519 w 75617"/>
                <a:gd name="connsiteY8" fmla="*/ 37809 h 75617"/>
                <a:gd name="connsiteX9" fmla="*/ 39321 w 75617"/>
                <a:gd name="connsiteY9" fmla="*/ 13611 h 7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617" h="75617">
                  <a:moveTo>
                    <a:pt x="39321" y="78643"/>
                  </a:moveTo>
                  <a:cubicBezTo>
                    <a:pt x="16636" y="78643"/>
                    <a:pt x="0" y="60494"/>
                    <a:pt x="0" y="39321"/>
                  </a:cubicBezTo>
                  <a:cubicBezTo>
                    <a:pt x="0" y="18148"/>
                    <a:pt x="18148" y="0"/>
                    <a:pt x="39321" y="0"/>
                  </a:cubicBezTo>
                  <a:cubicBezTo>
                    <a:pt x="60494" y="0"/>
                    <a:pt x="78642" y="18148"/>
                    <a:pt x="78642" y="39321"/>
                  </a:cubicBezTo>
                  <a:cubicBezTo>
                    <a:pt x="78642" y="60494"/>
                    <a:pt x="60494" y="78643"/>
                    <a:pt x="39321" y="78643"/>
                  </a:cubicBezTo>
                  <a:close/>
                  <a:moveTo>
                    <a:pt x="39321" y="13611"/>
                  </a:moveTo>
                  <a:cubicBezTo>
                    <a:pt x="25710" y="13611"/>
                    <a:pt x="15124" y="24198"/>
                    <a:pt x="15124" y="37809"/>
                  </a:cubicBezTo>
                  <a:cubicBezTo>
                    <a:pt x="15124" y="51420"/>
                    <a:pt x="25710" y="62007"/>
                    <a:pt x="39321" y="62007"/>
                  </a:cubicBezTo>
                  <a:cubicBezTo>
                    <a:pt x="52932" y="62007"/>
                    <a:pt x="63519" y="51420"/>
                    <a:pt x="63519" y="37809"/>
                  </a:cubicBezTo>
                  <a:cubicBezTo>
                    <a:pt x="63519" y="24198"/>
                    <a:pt x="52932" y="13611"/>
                    <a:pt x="39321" y="13611"/>
                  </a:cubicBezTo>
                  <a:close/>
                </a:path>
              </a:pathLst>
            </a:custGeom>
            <a:grpFill/>
            <a:ln w="14848" cap="flat">
              <a:noFill/>
              <a:prstDash val="solid"/>
              <a:miter/>
            </a:ln>
          </p:spPr>
          <p:txBody>
            <a:bodyPr rtlCol="0" anchor="ctr"/>
            <a:lstStyle/>
            <a:p>
              <a:endParaRPr lang="en-US"/>
            </a:p>
          </p:txBody>
        </p:sp>
        <p:sp>
          <p:nvSpPr>
            <p:cNvPr id="2652" name="Freeform: Shape 2651">
              <a:extLst>
                <a:ext uri="{FF2B5EF4-FFF2-40B4-BE49-F238E27FC236}">
                  <a16:creationId xmlns:a16="http://schemas.microsoft.com/office/drawing/2014/main" id="{E7BEB24D-BD96-48E4-AB7E-F85BD5090717}"/>
                </a:ext>
              </a:extLst>
            </p:cNvPr>
            <p:cNvSpPr/>
            <p:nvPr/>
          </p:nvSpPr>
          <p:spPr>
            <a:xfrm>
              <a:off x="5943476" y="3275928"/>
              <a:ext cx="241977" cy="241977"/>
            </a:xfrm>
            <a:custGeom>
              <a:avLst/>
              <a:gdLst>
                <a:gd name="connsiteX0" fmla="*/ 131575 w 241976"/>
                <a:gd name="connsiteY0" fmla="*/ 241977 h 241977"/>
                <a:gd name="connsiteX1" fmla="*/ 110402 w 241976"/>
                <a:gd name="connsiteY1" fmla="*/ 241977 h 241977"/>
                <a:gd name="connsiteX2" fmla="*/ 102840 w 241976"/>
                <a:gd name="connsiteY2" fmla="*/ 237440 h 241977"/>
                <a:gd name="connsiteX3" fmla="*/ 93766 w 241976"/>
                <a:gd name="connsiteY3" fmla="*/ 210218 h 241977"/>
                <a:gd name="connsiteX4" fmla="*/ 77130 w 241976"/>
                <a:gd name="connsiteY4" fmla="*/ 205681 h 241977"/>
                <a:gd name="connsiteX5" fmla="*/ 48395 w 241976"/>
                <a:gd name="connsiteY5" fmla="*/ 216267 h 241977"/>
                <a:gd name="connsiteX6" fmla="*/ 40834 w 241976"/>
                <a:gd name="connsiteY6" fmla="*/ 214755 h 241977"/>
                <a:gd name="connsiteX7" fmla="*/ 28735 w 241976"/>
                <a:gd name="connsiteY7" fmla="*/ 202656 h 241977"/>
                <a:gd name="connsiteX8" fmla="*/ 27222 w 241976"/>
                <a:gd name="connsiteY8" fmla="*/ 195094 h 241977"/>
                <a:gd name="connsiteX9" fmla="*/ 37809 w 241976"/>
                <a:gd name="connsiteY9" fmla="*/ 166359 h 241977"/>
                <a:gd name="connsiteX10" fmla="*/ 33272 w 241976"/>
                <a:gd name="connsiteY10" fmla="*/ 149723 h 241977"/>
                <a:gd name="connsiteX11" fmla="*/ 4537 w 241976"/>
                <a:gd name="connsiteY11" fmla="*/ 139137 h 241977"/>
                <a:gd name="connsiteX12" fmla="*/ 0 w 241976"/>
                <a:gd name="connsiteY12" fmla="*/ 131575 h 241977"/>
                <a:gd name="connsiteX13" fmla="*/ 0 w 241976"/>
                <a:gd name="connsiteY13" fmla="*/ 108890 h 241977"/>
                <a:gd name="connsiteX14" fmla="*/ 4537 w 241976"/>
                <a:gd name="connsiteY14" fmla="*/ 101328 h 241977"/>
                <a:gd name="connsiteX15" fmla="*/ 31759 w 241976"/>
                <a:gd name="connsiteY15" fmla="*/ 92254 h 241977"/>
                <a:gd name="connsiteX16" fmla="*/ 36297 w 241976"/>
                <a:gd name="connsiteY16" fmla="*/ 75618 h 241977"/>
                <a:gd name="connsiteX17" fmla="*/ 25710 w 241976"/>
                <a:gd name="connsiteY17" fmla="*/ 46883 h 241977"/>
                <a:gd name="connsiteX18" fmla="*/ 27222 w 241976"/>
                <a:gd name="connsiteY18" fmla="*/ 39321 h 241977"/>
                <a:gd name="connsiteX19" fmla="*/ 39321 w 241976"/>
                <a:gd name="connsiteY19" fmla="*/ 27222 h 241977"/>
                <a:gd name="connsiteX20" fmla="*/ 46883 w 241976"/>
                <a:gd name="connsiteY20" fmla="*/ 25710 h 241977"/>
                <a:gd name="connsiteX21" fmla="*/ 75618 w 241976"/>
                <a:gd name="connsiteY21" fmla="*/ 36297 h 241977"/>
                <a:gd name="connsiteX22" fmla="*/ 92254 w 241976"/>
                <a:gd name="connsiteY22" fmla="*/ 31759 h 241977"/>
                <a:gd name="connsiteX23" fmla="*/ 101328 w 241976"/>
                <a:gd name="connsiteY23" fmla="*/ 4537 h 241977"/>
                <a:gd name="connsiteX24" fmla="*/ 110402 w 241976"/>
                <a:gd name="connsiteY24" fmla="*/ 0 h 241977"/>
                <a:gd name="connsiteX25" fmla="*/ 133087 w 241976"/>
                <a:gd name="connsiteY25" fmla="*/ 0 h 241977"/>
                <a:gd name="connsiteX26" fmla="*/ 140649 w 241976"/>
                <a:gd name="connsiteY26" fmla="*/ 4537 h 241977"/>
                <a:gd name="connsiteX27" fmla="*/ 149723 w 241976"/>
                <a:gd name="connsiteY27" fmla="*/ 31759 h 241977"/>
                <a:gd name="connsiteX28" fmla="*/ 166359 w 241976"/>
                <a:gd name="connsiteY28" fmla="*/ 36297 h 241977"/>
                <a:gd name="connsiteX29" fmla="*/ 195094 w 241976"/>
                <a:gd name="connsiteY29" fmla="*/ 25710 h 241977"/>
                <a:gd name="connsiteX30" fmla="*/ 202656 w 241976"/>
                <a:gd name="connsiteY30" fmla="*/ 27222 h 241977"/>
                <a:gd name="connsiteX31" fmla="*/ 214755 w 241976"/>
                <a:gd name="connsiteY31" fmla="*/ 39321 h 241977"/>
                <a:gd name="connsiteX32" fmla="*/ 216267 w 241976"/>
                <a:gd name="connsiteY32" fmla="*/ 46883 h 241977"/>
                <a:gd name="connsiteX33" fmla="*/ 205680 w 241976"/>
                <a:gd name="connsiteY33" fmla="*/ 75618 h 241977"/>
                <a:gd name="connsiteX34" fmla="*/ 210217 w 241976"/>
                <a:gd name="connsiteY34" fmla="*/ 92254 h 241977"/>
                <a:gd name="connsiteX35" fmla="*/ 237440 w 241976"/>
                <a:gd name="connsiteY35" fmla="*/ 101328 h 241977"/>
                <a:gd name="connsiteX36" fmla="*/ 241977 w 241976"/>
                <a:gd name="connsiteY36" fmla="*/ 108890 h 241977"/>
                <a:gd name="connsiteX37" fmla="*/ 241977 w 241976"/>
                <a:gd name="connsiteY37" fmla="*/ 131575 h 241977"/>
                <a:gd name="connsiteX38" fmla="*/ 237440 w 241976"/>
                <a:gd name="connsiteY38" fmla="*/ 139137 h 241977"/>
                <a:gd name="connsiteX39" fmla="*/ 210217 w 241976"/>
                <a:gd name="connsiteY39" fmla="*/ 148211 h 241977"/>
                <a:gd name="connsiteX40" fmla="*/ 205680 w 241976"/>
                <a:gd name="connsiteY40" fmla="*/ 164847 h 241977"/>
                <a:gd name="connsiteX41" fmla="*/ 216267 w 241976"/>
                <a:gd name="connsiteY41" fmla="*/ 193582 h 241977"/>
                <a:gd name="connsiteX42" fmla="*/ 214755 w 241976"/>
                <a:gd name="connsiteY42" fmla="*/ 201143 h 241977"/>
                <a:gd name="connsiteX43" fmla="*/ 201143 w 241976"/>
                <a:gd name="connsiteY43" fmla="*/ 213242 h 241977"/>
                <a:gd name="connsiteX44" fmla="*/ 193582 w 241976"/>
                <a:gd name="connsiteY44" fmla="*/ 214755 h 241977"/>
                <a:gd name="connsiteX45" fmla="*/ 164847 w 241976"/>
                <a:gd name="connsiteY45" fmla="*/ 204168 h 241977"/>
                <a:gd name="connsiteX46" fmla="*/ 148211 w 241976"/>
                <a:gd name="connsiteY46" fmla="*/ 208705 h 241977"/>
                <a:gd name="connsiteX47" fmla="*/ 139137 w 241976"/>
                <a:gd name="connsiteY47" fmla="*/ 235928 h 241977"/>
                <a:gd name="connsiteX48" fmla="*/ 131575 w 241976"/>
                <a:gd name="connsiteY48" fmla="*/ 241977 h 241977"/>
                <a:gd name="connsiteX49" fmla="*/ 114939 w 241976"/>
                <a:gd name="connsiteY49" fmla="*/ 226854 h 241977"/>
                <a:gd name="connsiteX50" fmla="*/ 127038 w 241976"/>
                <a:gd name="connsiteY50" fmla="*/ 226854 h 241977"/>
                <a:gd name="connsiteX51" fmla="*/ 136112 w 241976"/>
                <a:gd name="connsiteY51" fmla="*/ 201143 h 241977"/>
                <a:gd name="connsiteX52" fmla="*/ 140649 w 241976"/>
                <a:gd name="connsiteY52" fmla="*/ 196606 h 241977"/>
                <a:gd name="connsiteX53" fmla="*/ 163334 w 241976"/>
                <a:gd name="connsiteY53" fmla="*/ 189045 h 241977"/>
                <a:gd name="connsiteX54" fmla="*/ 167872 w 241976"/>
                <a:gd name="connsiteY54" fmla="*/ 189045 h 241977"/>
                <a:gd name="connsiteX55" fmla="*/ 195094 w 241976"/>
                <a:gd name="connsiteY55" fmla="*/ 199631 h 241977"/>
                <a:gd name="connsiteX56" fmla="*/ 199631 w 241976"/>
                <a:gd name="connsiteY56" fmla="*/ 195094 h 241977"/>
                <a:gd name="connsiteX57" fmla="*/ 189045 w 241976"/>
                <a:gd name="connsiteY57" fmla="*/ 167872 h 241977"/>
                <a:gd name="connsiteX58" fmla="*/ 189045 w 241976"/>
                <a:gd name="connsiteY58" fmla="*/ 163335 h 241977"/>
                <a:gd name="connsiteX59" fmla="*/ 196606 w 241976"/>
                <a:gd name="connsiteY59" fmla="*/ 140649 h 241977"/>
                <a:gd name="connsiteX60" fmla="*/ 201143 w 241976"/>
                <a:gd name="connsiteY60" fmla="*/ 136112 h 241977"/>
                <a:gd name="connsiteX61" fmla="*/ 226853 w 241976"/>
                <a:gd name="connsiteY61" fmla="*/ 127038 h 241977"/>
                <a:gd name="connsiteX62" fmla="*/ 226853 w 241976"/>
                <a:gd name="connsiteY62" fmla="*/ 114939 h 241977"/>
                <a:gd name="connsiteX63" fmla="*/ 201143 w 241976"/>
                <a:gd name="connsiteY63" fmla="*/ 105865 h 241977"/>
                <a:gd name="connsiteX64" fmla="*/ 196606 w 241976"/>
                <a:gd name="connsiteY64" fmla="*/ 101328 h 241977"/>
                <a:gd name="connsiteX65" fmla="*/ 189045 w 241976"/>
                <a:gd name="connsiteY65" fmla="*/ 78643 h 241977"/>
                <a:gd name="connsiteX66" fmla="*/ 189045 w 241976"/>
                <a:gd name="connsiteY66" fmla="*/ 74105 h 241977"/>
                <a:gd name="connsiteX67" fmla="*/ 199631 w 241976"/>
                <a:gd name="connsiteY67" fmla="*/ 46883 h 241977"/>
                <a:gd name="connsiteX68" fmla="*/ 195094 w 241976"/>
                <a:gd name="connsiteY68" fmla="*/ 42346 h 241977"/>
                <a:gd name="connsiteX69" fmla="*/ 167872 w 241976"/>
                <a:gd name="connsiteY69" fmla="*/ 52932 h 241977"/>
                <a:gd name="connsiteX70" fmla="*/ 163334 w 241976"/>
                <a:gd name="connsiteY70" fmla="*/ 52932 h 241977"/>
                <a:gd name="connsiteX71" fmla="*/ 140649 w 241976"/>
                <a:gd name="connsiteY71" fmla="*/ 45371 h 241977"/>
                <a:gd name="connsiteX72" fmla="*/ 136112 w 241976"/>
                <a:gd name="connsiteY72" fmla="*/ 40834 h 241977"/>
                <a:gd name="connsiteX73" fmla="*/ 127038 w 241976"/>
                <a:gd name="connsiteY73" fmla="*/ 15124 h 241977"/>
                <a:gd name="connsiteX74" fmla="*/ 114939 w 241976"/>
                <a:gd name="connsiteY74" fmla="*/ 15124 h 241977"/>
                <a:gd name="connsiteX75" fmla="*/ 105865 w 241976"/>
                <a:gd name="connsiteY75" fmla="*/ 40834 h 241977"/>
                <a:gd name="connsiteX76" fmla="*/ 101328 w 241976"/>
                <a:gd name="connsiteY76" fmla="*/ 45371 h 241977"/>
                <a:gd name="connsiteX77" fmla="*/ 78643 w 241976"/>
                <a:gd name="connsiteY77" fmla="*/ 52932 h 241977"/>
                <a:gd name="connsiteX78" fmla="*/ 74105 w 241976"/>
                <a:gd name="connsiteY78" fmla="*/ 52932 h 241977"/>
                <a:gd name="connsiteX79" fmla="*/ 46883 w 241976"/>
                <a:gd name="connsiteY79" fmla="*/ 42346 h 241977"/>
                <a:gd name="connsiteX80" fmla="*/ 42346 w 241976"/>
                <a:gd name="connsiteY80" fmla="*/ 46883 h 241977"/>
                <a:gd name="connsiteX81" fmla="*/ 52932 w 241976"/>
                <a:gd name="connsiteY81" fmla="*/ 74105 h 241977"/>
                <a:gd name="connsiteX82" fmla="*/ 52932 w 241976"/>
                <a:gd name="connsiteY82" fmla="*/ 78643 h 241977"/>
                <a:gd name="connsiteX83" fmla="*/ 45371 w 241976"/>
                <a:gd name="connsiteY83" fmla="*/ 101328 h 241977"/>
                <a:gd name="connsiteX84" fmla="*/ 40834 w 241976"/>
                <a:gd name="connsiteY84" fmla="*/ 105865 h 241977"/>
                <a:gd name="connsiteX85" fmla="*/ 15124 w 241976"/>
                <a:gd name="connsiteY85" fmla="*/ 114939 h 241977"/>
                <a:gd name="connsiteX86" fmla="*/ 15124 w 241976"/>
                <a:gd name="connsiteY86" fmla="*/ 127038 h 241977"/>
                <a:gd name="connsiteX87" fmla="*/ 40834 w 241976"/>
                <a:gd name="connsiteY87" fmla="*/ 136112 h 241977"/>
                <a:gd name="connsiteX88" fmla="*/ 45371 w 241976"/>
                <a:gd name="connsiteY88" fmla="*/ 140649 h 241977"/>
                <a:gd name="connsiteX89" fmla="*/ 52932 w 241976"/>
                <a:gd name="connsiteY89" fmla="*/ 163335 h 241977"/>
                <a:gd name="connsiteX90" fmla="*/ 52932 w 241976"/>
                <a:gd name="connsiteY90" fmla="*/ 167872 h 241977"/>
                <a:gd name="connsiteX91" fmla="*/ 42346 w 241976"/>
                <a:gd name="connsiteY91" fmla="*/ 195094 h 241977"/>
                <a:gd name="connsiteX92" fmla="*/ 46883 w 241976"/>
                <a:gd name="connsiteY92" fmla="*/ 199631 h 241977"/>
                <a:gd name="connsiteX93" fmla="*/ 74105 w 241976"/>
                <a:gd name="connsiteY93" fmla="*/ 189045 h 241977"/>
                <a:gd name="connsiteX94" fmla="*/ 78643 w 241976"/>
                <a:gd name="connsiteY94" fmla="*/ 189045 h 241977"/>
                <a:gd name="connsiteX95" fmla="*/ 101328 w 241976"/>
                <a:gd name="connsiteY95" fmla="*/ 196606 h 241977"/>
                <a:gd name="connsiteX96" fmla="*/ 105865 w 241976"/>
                <a:gd name="connsiteY96" fmla="*/ 201143 h 241977"/>
                <a:gd name="connsiteX97" fmla="*/ 114939 w 241976"/>
                <a:gd name="connsiteY97" fmla="*/ 226854 h 24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1976" h="241977">
                  <a:moveTo>
                    <a:pt x="131575" y="241977"/>
                  </a:moveTo>
                  <a:lnTo>
                    <a:pt x="110402" y="241977"/>
                  </a:lnTo>
                  <a:cubicBezTo>
                    <a:pt x="107377" y="241977"/>
                    <a:pt x="104353" y="240465"/>
                    <a:pt x="102840" y="237440"/>
                  </a:cubicBezTo>
                  <a:lnTo>
                    <a:pt x="93766" y="210218"/>
                  </a:lnTo>
                  <a:lnTo>
                    <a:pt x="77130" y="205681"/>
                  </a:lnTo>
                  <a:lnTo>
                    <a:pt x="48395" y="216267"/>
                  </a:lnTo>
                  <a:cubicBezTo>
                    <a:pt x="45371" y="217779"/>
                    <a:pt x="42346" y="216267"/>
                    <a:pt x="40834" y="214755"/>
                  </a:cubicBezTo>
                  <a:lnTo>
                    <a:pt x="28735" y="202656"/>
                  </a:lnTo>
                  <a:cubicBezTo>
                    <a:pt x="27222" y="201143"/>
                    <a:pt x="25710" y="198119"/>
                    <a:pt x="27222" y="195094"/>
                  </a:cubicBezTo>
                  <a:lnTo>
                    <a:pt x="37809" y="166359"/>
                  </a:lnTo>
                  <a:lnTo>
                    <a:pt x="33272" y="149723"/>
                  </a:lnTo>
                  <a:lnTo>
                    <a:pt x="4537" y="139137"/>
                  </a:lnTo>
                  <a:cubicBezTo>
                    <a:pt x="1512" y="137624"/>
                    <a:pt x="0" y="134600"/>
                    <a:pt x="0" y="131575"/>
                  </a:cubicBezTo>
                  <a:lnTo>
                    <a:pt x="0" y="108890"/>
                  </a:lnTo>
                  <a:cubicBezTo>
                    <a:pt x="0" y="105865"/>
                    <a:pt x="1512" y="102840"/>
                    <a:pt x="4537" y="101328"/>
                  </a:cubicBezTo>
                  <a:lnTo>
                    <a:pt x="31759" y="92254"/>
                  </a:lnTo>
                  <a:lnTo>
                    <a:pt x="36297" y="75618"/>
                  </a:lnTo>
                  <a:lnTo>
                    <a:pt x="25710" y="46883"/>
                  </a:lnTo>
                  <a:cubicBezTo>
                    <a:pt x="24198" y="43858"/>
                    <a:pt x="25710" y="40834"/>
                    <a:pt x="27222" y="39321"/>
                  </a:cubicBezTo>
                  <a:lnTo>
                    <a:pt x="39321" y="27222"/>
                  </a:lnTo>
                  <a:cubicBezTo>
                    <a:pt x="40834" y="25710"/>
                    <a:pt x="43858" y="24198"/>
                    <a:pt x="46883" y="25710"/>
                  </a:cubicBezTo>
                  <a:lnTo>
                    <a:pt x="75618" y="36297"/>
                  </a:lnTo>
                  <a:lnTo>
                    <a:pt x="92254" y="31759"/>
                  </a:lnTo>
                  <a:lnTo>
                    <a:pt x="101328" y="4537"/>
                  </a:lnTo>
                  <a:cubicBezTo>
                    <a:pt x="102840" y="1512"/>
                    <a:pt x="105865" y="0"/>
                    <a:pt x="110402" y="0"/>
                  </a:cubicBezTo>
                  <a:lnTo>
                    <a:pt x="133087" y="0"/>
                  </a:lnTo>
                  <a:cubicBezTo>
                    <a:pt x="136112" y="0"/>
                    <a:pt x="139137" y="1512"/>
                    <a:pt x="140649" y="4537"/>
                  </a:cubicBezTo>
                  <a:lnTo>
                    <a:pt x="149723" y="31759"/>
                  </a:lnTo>
                  <a:lnTo>
                    <a:pt x="166359" y="36297"/>
                  </a:lnTo>
                  <a:lnTo>
                    <a:pt x="195094" y="25710"/>
                  </a:lnTo>
                  <a:cubicBezTo>
                    <a:pt x="198119" y="24198"/>
                    <a:pt x="201143" y="25710"/>
                    <a:pt x="202656" y="27222"/>
                  </a:cubicBezTo>
                  <a:lnTo>
                    <a:pt x="214755" y="39321"/>
                  </a:lnTo>
                  <a:cubicBezTo>
                    <a:pt x="216267" y="40834"/>
                    <a:pt x="217779" y="43858"/>
                    <a:pt x="216267" y="46883"/>
                  </a:cubicBezTo>
                  <a:lnTo>
                    <a:pt x="205680" y="75618"/>
                  </a:lnTo>
                  <a:lnTo>
                    <a:pt x="210217" y="92254"/>
                  </a:lnTo>
                  <a:lnTo>
                    <a:pt x="237440" y="101328"/>
                  </a:lnTo>
                  <a:cubicBezTo>
                    <a:pt x="240465" y="102840"/>
                    <a:pt x="241977" y="105865"/>
                    <a:pt x="241977" y="108890"/>
                  </a:cubicBezTo>
                  <a:lnTo>
                    <a:pt x="241977" y="131575"/>
                  </a:lnTo>
                  <a:cubicBezTo>
                    <a:pt x="241977" y="134600"/>
                    <a:pt x="240465" y="137624"/>
                    <a:pt x="237440" y="139137"/>
                  </a:cubicBezTo>
                  <a:lnTo>
                    <a:pt x="210217" y="148211"/>
                  </a:lnTo>
                  <a:lnTo>
                    <a:pt x="205680" y="164847"/>
                  </a:lnTo>
                  <a:lnTo>
                    <a:pt x="216267" y="193582"/>
                  </a:lnTo>
                  <a:cubicBezTo>
                    <a:pt x="217779" y="196606"/>
                    <a:pt x="216267" y="199631"/>
                    <a:pt x="214755" y="201143"/>
                  </a:cubicBezTo>
                  <a:lnTo>
                    <a:pt x="201143" y="213242"/>
                  </a:lnTo>
                  <a:cubicBezTo>
                    <a:pt x="199631" y="214755"/>
                    <a:pt x="196606" y="216267"/>
                    <a:pt x="193582" y="214755"/>
                  </a:cubicBezTo>
                  <a:lnTo>
                    <a:pt x="164847" y="204168"/>
                  </a:lnTo>
                  <a:lnTo>
                    <a:pt x="148211" y="208705"/>
                  </a:lnTo>
                  <a:lnTo>
                    <a:pt x="139137" y="235928"/>
                  </a:lnTo>
                  <a:cubicBezTo>
                    <a:pt x="137624" y="240465"/>
                    <a:pt x="134600" y="241977"/>
                    <a:pt x="131575" y="241977"/>
                  </a:cubicBezTo>
                  <a:close/>
                  <a:moveTo>
                    <a:pt x="114939" y="226854"/>
                  </a:moveTo>
                  <a:lnTo>
                    <a:pt x="127038" y="226854"/>
                  </a:lnTo>
                  <a:lnTo>
                    <a:pt x="136112" y="201143"/>
                  </a:lnTo>
                  <a:cubicBezTo>
                    <a:pt x="137624" y="199631"/>
                    <a:pt x="139137" y="196606"/>
                    <a:pt x="140649" y="196606"/>
                  </a:cubicBezTo>
                  <a:lnTo>
                    <a:pt x="163334" y="189045"/>
                  </a:lnTo>
                  <a:cubicBezTo>
                    <a:pt x="164847" y="189045"/>
                    <a:pt x="166359" y="189045"/>
                    <a:pt x="167872" y="189045"/>
                  </a:cubicBezTo>
                  <a:lnTo>
                    <a:pt x="195094" y="199631"/>
                  </a:lnTo>
                  <a:lnTo>
                    <a:pt x="199631" y="195094"/>
                  </a:lnTo>
                  <a:lnTo>
                    <a:pt x="189045" y="167872"/>
                  </a:lnTo>
                  <a:cubicBezTo>
                    <a:pt x="189045" y="166359"/>
                    <a:pt x="189045" y="164847"/>
                    <a:pt x="189045" y="163335"/>
                  </a:cubicBezTo>
                  <a:lnTo>
                    <a:pt x="196606" y="140649"/>
                  </a:lnTo>
                  <a:cubicBezTo>
                    <a:pt x="196606" y="137624"/>
                    <a:pt x="199631" y="136112"/>
                    <a:pt x="201143" y="136112"/>
                  </a:cubicBezTo>
                  <a:lnTo>
                    <a:pt x="226853" y="127038"/>
                  </a:lnTo>
                  <a:lnTo>
                    <a:pt x="226853" y="114939"/>
                  </a:lnTo>
                  <a:lnTo>
                    <a:pt x="201143" y="105865"/>
                  </a:lnTo>
                  <a:cubicBezTo>
                    <a:pt x="199631" y="104353"/>
                    <a:pt x="196606" y="102840"/>
                    <a:pt x="196606" y="101328"/>
                  </a:cubicBezTo>
                  <a:lnTo>
                    <a:pt x="189045" y="78643"/>
                  </a:lnTo>
                  <a:cubicBezTo>
                    <a:pt x="189045" y="77130"/>
                    <a:pt x="189045" y="75618"/>
                    <a:pt x="189045" y="74105"/>
                  </a:cubicBezTo>
                  <a:lnTo>
                    <a:pt x="199631" y="46883"/>
                  </a:lnTo>
                  <a:lnTo>
                    <a:pt x="195094" y="42346"/>
                  </a:lnTo>
                  <a:lnTo>
                    <a:pt x="167872" y="52932"/>
                  </a:lnTo>
                  <a:cubicBezTo>
                    <a:pt x="166359" y="52932"/>
                    <a:pt x="164847" y="52932"/>
                    <a:pt x="163334" y="52932"/>
                  </a:cubicBezTo>
                  <a:lnTo>
                    <a:pt x="140649" y="45371"/>
                  </a:lnTo>
                  <a:cubicBezTo>
                    <a:pt x="137624" y="45371"/>
                    <a:pt x="136112" y="42346"/>
                    <a:pt x="136112" y="40834"/>
                  </a:cubicBezTo>
                  <a:lnTo>
                    <a:pt x="127038" y="15124"/>
                  </a:lnTo>
                  <a:lnTo>
                    <a:pt x="114939" y="15124"/>
                  </a:lnTo>
                  <a:lnTo>
                    <a:pt x="105865" y="40834"/>
                  </a:lnTo>
                  <a:cubicBezTo>
                    <a:pt x="104353" y="42346"/>
                    <a:pt x="102840" y="45371"/>
                    <a:pt x="101328" y="45371"/>
                  </a:cubicBezTo>
                  <a:lnTo>
                    <a:pt x="78643" y="52932"/>
                  </a:lnTo>
                  <a:cubicBezTo>
                    <a:pt x="77130" y="52932"/>
                    <a:pt x="75618" y="52932"/>
                    <a:pt x="74105" y="52932"/>
                  </a:cubicBezTo>
                  <a:lnTo>
                    <a:pt x="46883" y="42346"/>
                  </a:lnTo>
                  <a:lnTo>
                    <a:pt x="42346" y="46883"/>
                  </a:lnTo>
                  <a:lnTo>
                    <a:pt x="52932" y="74105"/>
                  </a:lnTo>
                  <a:cubicBezTo>
                    <a:pt x="52932" y="75618"/>
                    <a:pt x="52932" y="77130"/>
                    <a:pt x="52932" y="78643"/>
                  </a:cubicBezTo>
                  <a:lnTo>
                    <a:pt x="45371" y="101328"/>
                  </a:lnTo>
                  <a:cubicBezTo>
                    <a:pt x="45371" y="104353"/>
                    <a:pt x="42346" y="105865"/>
                    <a:pt x="40834" y="105865"/>
                  </a:cubicBezTo>
                  <a:lnTo>
                    <a:pt x="15124" y="114939"/>
                  </a:lnTo>
                  <a:lnTo>
                    <a:pt x="15124" y="127038"/>
                  </a:lnTo>
                  <a:lnTo>
                    <a:pt x="40834" y="136112"/>
                  </a:lnTo>
                  <a:cubicBezTo>
                    <a:pt x="42346" y="137624"/>
                    <a:pt x="45371" y="139137"/>
                    <a:pt x="45371" y="140649"/>
                  </a:cubicBezTo>
                  <a:lnTo>
                    <a:pt x="52932" y="163335"/>
                  </a:lnTo>
                  <a:cubicBezTo>
                    <a:pt x="52932" y="164847"/>
                    <a:pt x="52932" y="166359"/>
                    <a:pt x="52932" y="167872"/>
                  </a:cubicBezTo>
                  <a:lnTo>
                    <a:pt x="42346" y="195094"/>
                  </a:lnTo>
                  <a:lnTo>
                    <a:pt x="46883" y="199631"/>
                  </a:lnTo>
                  <a:lnTo>
                    <a:pt x="74105" y="189045"/>
                  </a:lnTo>
                  <a:cubicBezTo>
                    <a:pt x="75618" y="189045"/>
                    <a:pt x="77130" y="189045"/>
                    <a:pt x="78643" y="189045"/>
                  </a:cubicBezTo>
                  <a:lnTo>
                    <a:pt x="101328" y="196606"/>
                  </a:lnTo>
                  <a:cubicBezTo>
                    <a:pt x="104353" y="196606"/>
                    <a:pt x="105865" y="199631"/>
                    <a:pt x="105865" y="201143"/>
                  </a:cubicBezTo>
                  <a:lnTo>
                    <a:pt x="114939" y="226854"/>
                  </a:lnTo>
                  <a:close/>
                </a:path>
              </a:pathLst>
            </a:custGeom>
            <a:grpFill/>
            <a:ln w="14848" cap="flat">
              <a:noFill/>
              <a:prstDash val="solid"/>
              <a:miter/>
            </a:ln>
          </p:spPr>
          <p:txBody>
            <a:bodyPr rtlCol="0" anchor="ctr"/>
            <a:lstStyle/>
            <a:p>
              <a:endParaRPr lang="en-US"/>
            </a:p>
          </p:txBody>
        </p:sp>
      </p:grpSp>
      <p:grpSp>
        <p:nvGrpSpPr>
          <p:cNvPr id="2627" name="Graphic 8">
            <a:extLst>
              <a:ext uri="{FF2B5EF4-FFF2-40B4-BE49-F238E27FC236}">
                <a16:creationId xmlns:a16="http://schemas.microsoft.com/office/drawing/2014/main" id="{1679A343-1E67-4469-977A-F6010FEBEAEF}"/>
              </a:ext>
              <a:ext uri="{C183D7F6-B498-43B3-948B-1728B52AA6E4}">
                <adec:decorative xmlns:adec="http://schemas.microsoft.com/office/drawing/2017/decorative" val="1"/>
              </a:ext>
            </a:extLst>
          </p:cNvPr>
          <p:cNvGrpSpPr>
            <a:grpSpLocks noChangeAspect="1"/>
          </p:cNvGrpSpPr>
          <p:nvPr/>
        </p:nvGrpSpPr>
        <p:grpSpPr>
          <a:xfrm>
            <a:off x="7212525" y="3823083"/>
            <a:ext cx="152542" cy="125623"/>
            <a:chOff x="5842020" y="3175000"/>
            <a:chExt cx="517793" cy="426418"/>
          </a:xfrm>
          <a:solidFill>
            <a:schemeClr val="tx1"/>
          </a:solidFill>
        </p:grpSpPr>
        <p:sp>
          <p:nvSpPr>
            <p:cNvPr id="2633" name="Freeform: Shape 2632">
              <a:extLst>
                <a:ext uri="{FF2B5EF4-FFF2-40B4-BE49-F238E27FC236}">
                  <a16:creationId xmlns:a16="http://schemas.microsoft.com/office/drawing/2014/main" id="{8A6B28C9-1C9E-4BC3-B1F9-08E8BCC755C5}"/>
                </a:ext>
              </a:extLst>
            </p:cNvPr>
            <p:cNvSpPr/>
            <p:nvPr/>
          </p:nvSpPr>
          <p:spPr>
            <a:xfrm>
              <a:off x="5889231" y="3199367"/>
              <a:ext cx="152292" cy="304584"/>
            </a:xfrm>
            <a:custGeom>
              <a:avLst/>
              <a:gdLst>
                <a:gd name="connsiteX0" fmla="*/ 53302 w 152292"/>
                <a:gd name="connsiteY0" fmla="*/ 316768 h 304584"/>
                <a:gd name="connsiteX1" fmla="*/ 47211 w 152292"/>
                <a:gd name="connsiteY1" fmla="*/ 313722 h 304584"/>
                <a:gd name="connsiteX2" fmla="*/ 0 w 152292"/>
                <a:gd name="connsiteY2" fmla="*/ 188842 h 304584"/>
                <a:gd name="connsiteX3" fmla="*/ 156861 w 152292"/>
                <a:gd name="connsiteY3" fmla="*/ 0 h 304584"/>
                <a:gd name="connsiteX4" fmla="*/ 165998 w 152292"/>
                <a:gd name="connsiteY4" fmla="*/ 6092 h 304584"/>
                <a:gd name="connsiteX5" fmla="*/ 159907 w 152292"/>
                <a:gd name="connsiteY5" fmla="*/ 15229 h 304584"/>
                <a:gd name="connsiteX6" fmla="*/ 16752 w 152292"/>
                <a:gd name="connsiteY6" fmla="*/ 188842 h 304584"/>
                <a:gd name="connsiteX7" fmla="*/ 59394 w 152292"/>
                <a:gd name="connsiteY7" fmla="*/ 304584 h 304584"/>
                <a:gd name="connsiteX8" fmla="*/ 57871 w 152292"/>
                <a:gd name="connsiteY8" fmla="*/ 315245 h 304584"/>
                <a:gd name="connsiteX9" fmla="*/ 53302 w 152292"/>
                <a:gd name="connsiteY9" fmla="*/ 316768 h 304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92" h="304584">
                  <a:moveTo>
                    <a:pt x="53302" y="316768"/>
                  </a:moveTo>
                  <a:cubicBezTo>
                    <a:pt x="51779" y="316768"/>
                    <a:pt x="48733" y="315245"/>
                    <a:pt x="47211" y="313722"/>
                  </a:cubicBezTo>
                  <a:cubicBezTo>
                    <a:pt x="16752" y="278695"/>
                    <a:pt x="0" y="234530"/>
                    <a:pt x="0" y="188842"/>
                  </a:cubicBezTo>
                  <a:cubicBezTo>
                    <a:pt x="0" y="88329"/>
                    <a:pt x="62440" y="13706"/>
                    <a:pt x="156861" y="0"/>
                  </a:cubicBezTo>
                  <a:cubicBezTo>
                    <a:pt x="161430" y="0"/>
                    <a:pt x="164475" y="1523"/>
                    <a:pt x="165998" y="6092"/>
                  </a:cubicBezTo>
                  <a:cubicBezTo>
                    <a:pt x="165998" y="10660"/>
                    <a:pt x="164475" y="13706"/>
                    <a:pt x="159907" y="15229"/>
                  </a:cubicBezTo>
                  <a:cubicBezTo>
                    <a:pt x="73100" y="28936"/>
                    <a:pt x="16752" y="94421"/>
                    <a:pt x="16752" y="188842"/>
                  </a:cubicBezTo>
                  <a:cubicBezTo>
                    <a:pt x="16752" y="231484"/>
                    <a:pt x="31981" y="272603"/>
                    <a:pt x="59394" y="304584"/>
                  </a:cubicBezTo>
                  <a:cubicBezTo>
                    <a:pt x="62440" y="307630"/>
                    <a:pt x="62440" y="312199"/>
                    <a:pt x="57871" y="315245"/>
                  </a:cubicBezTo>
                  <a:cubicBezTo>
                    <a:pt x="57871" y="315245"/>
                    <a:pt x="54825" y="316768"/>
                    <a:pt x="53302" y="316768"/>
                  </a:cubicBezTo>
                  <a:close/>
                </a:path>
              </a:pathLst>
            </a:custGeom>
            <a:grpFill/>
            <a:ln w="15128" cap="flat">
              <a:noFill/>
              <a:prstDash val="solid"/>
              <a:miter/>
            </a:ln>
          </p:spPr>
          <p:txBody>
            <a:bodyPr rtlCol="0" anchor="ctr"/>
            <a:lstStyle/>
            <a:p>
              <a:endParaRPr lang="en-US"/>
            </a:p>
          </p:txBody>
        </p:sp>
        <p:sp>
          <p:nvSpPr>
            <p:cNvPr id="2634" name="Freeform: Shape 2633">
              <a:extLst>
                <a:ext uri="{FF2B5EF4-FFF2-40B4-BE49-F238E27FC236}">
                  <a16:creationId xmlns:a16="http://schemas.microsoft.com/office/drawing/2014/main" id="{FC3599C4-E67C-47E4-928E-E17AD71CBE1B}"/>
                </a:ext>
              </a:extLst>
            </p:cNvPr>
            <p:cNvSpPr/>
            <p:nvPr/>
          </p:nvSpPr>
          <p:spPr>
            <a:xfrm>
              <a:off x="5842020" y="3196321"/>
              <a:ext cx="426418" cy="380730"/>
            </a:xfrm>
            <a:custGeom>
              <a:avLst/>
              <a:gdLst>
                <a:gd name="connsiteX0" fmla="*/ 242144 w 426417"/>
                <a:gd name="connsiteY0" fmla="*/ 383776 h 380730"/>
                <a:gd name="connsiteX1" fmla="*/ 7615 w 426417"/>
                <a:gd name="connsiteY1" fmla="*/ 383776 h 380730"/>
                <a:gd name="connsiteX2" fmla="*/ 0 w 426417"/>
                <a:gd name="connsiteY2" fmla="*/ 376162 h 380730"/>
                <a:gd name="connsiteX3" fmla="*/ 7615 w 426417"/>
                <a:gd name="connsiteY3" fmla="*/ 368547 h 380730"/>
                <a:gd name="connsiteX4" fmla="*/ 242144 w 426417"/>
                <a:gd name="connsiteY4" fmla="*/ 368547 h 380730"/>
                <a:gd name="connsiteX5" fmla="*/ 420326 w 426417"/>
                <a:gd name="connsiteY5" fmla="*/ 191888 h 380730"/>
                <a:gd name="connsiteX6" fmla="*/ 257374 w 426417"/>
                <a:gd name="connsiteY6" fmla="*/ 15229 h 380730"/>
                <a:gd name="connsiteX7" fmla="*/ 249759 w 426417"/>
                <a:gd name="connsiteY7" fmla="*/ 7615 h 380730"/>
                <a:gd name="connsiteX8" fmla="*/ 257374 w 426417"/>
                <a:gd name="connsiteY8" fmla="*/ 0 h 380730"/>
                <a:gd name="connsiteX9" fmla="*/ 434032 w 426417"/>
                <a:gd name="connsiteY9" fmla="*/ 191888 h 380730"/>
                <a:gd name="connsiteX10" fmla="*/ 242144 w 426417"/>
                <a:gd name="connsiteY10" fmla="*/ 383776 h 38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417" h="380730">
                  <a:moveTo>
                    <a:pt x="242144" y="383776"/>
                  </a:moveTo>
                  <a:lnTo>
                    <a:pt x="7615" y="383776"/>
                  </a:lnTo>
                  <a:cubicBezTo>
                    <a:pt x="3046" y="383776"/>
                    <a:pt x="0" y="380730"/>
                    <a:pt x="0" y="376162"/>
                  </a:cubicBezTo>
                  <a:cubicBezTo>
                    <a:pt x="0" y="371593"/>
                    <a:pt x="3046" y="368547"/>
                    <a:pt x="7615" y="368547"/>
                  </a:cubicBezTo>
                  <a:lnTo>
                    <a:pt x="242144" y="368547"/>
                  </a:lnTo>
                  <a:cubicBezTo>
                    <a:pt x="339611" y="368547"/>
                    <a:pt x="420326" y="289355"/>
                    <a:pt x="420326" y="191888"/>
                  </a:cubicBezTo>
                  <a:cubicBezTo>
                    <a:pt x="420326" y="100513"/>
                    <a:pt x="348749" y="22844"/>
                    <a:pt x="257374" y="15229"/>
                  </a:cubicBezTo>
                  <a:cubicBezTo>
                    <a:pt x="252805" y="15229"/>
                    <a:pt x="249759" y="10660"/>
                    <a:pt x="249759" y="7615"/>
                  </a:cubicBezTo>
                  <a:cubicBezTo>
                    <a:pt x="249759" y="3046"/>
                    <a:pt x="254328" y="0"/>
                    <a:pt x="257374" y="0"/>
                  </a:cubicBezTo>
                  <a:cubicBezTo>
                    <a:pt x="356363" y="7615"/>
                    <a:pt x="434032" y="91375"/>
                    <a:pt x="434032" y="191888"/>
                  </a:cubicBezTo>
                  <a:cubicBezTo>
                    <a:pt x="434032" y="298493"/>
                    <a:pt x="347226" y="383776"/>
                    <a:pt x="242144" y="383776"/>
                  </a:cubicBezTo>
                  <a:close/>
                </a:path>
              </a:pathLst>
            </a:custGeom>
            <a:grpFill/>
            <a:ln w="15128" cap="flat">
              <a:noFill/>
              <a:prstDash val="solid"/>
              <a:miter/>
            </a:ln>
          </p:spPr>
          <p:txBody>
            <a:bodyPr rtlCol="0" anchor="ctr"/>
            <a:lstStyle/>
            <a:p>
              <a:endParaRPr lang="en-US"/>
            </a:p>
          </p:txBody>
        </p:sp>
        <p:sp>
          <p:nvSpPr>
            <p:cNvPr id="2635" name="Freeform: Shape 2634">
              <a:extLst>
                <a:ext uri="{FF2B5EF4-FFF2-40B4-BE49-F238E27FC236}">
                  <a16:creationId xmlns:a16="http://schemas.microsoft.com/office/drawing/2014/main" id="{0C4753D7-4D94-4BC3-8224-E20D3AF850C6}"/>
                </a:ext>
              </a:extLst>
            </p:cNvPr>
            <p:cNvSpPr/>
            <p:nvPr/>
          </p:nvSpPr>
          <p:spPr>
            <a:xfrm>
              <a:off x="5842020" y="3175000"/>
              <a:ext cx="15229" cy="15229"/>
            </a:xfrm>
            <a:custGeom>
              <a:avLst/>
              <a:gdLst/>
              <a:ahLst/>
              <a:cxnLst/>
              <a:rect l="l" t="t" r="r" b="b"/>
              <a:pathLst>
                <a:path/>
              </a:pathLst>
            </a:custGeom>
            <a:grpFill/>
            <a:ln w="15128" cap="rnd">
              <a:solidFill>
                <a:srgbClr val="231F20"/>
              </a:solidFill>
              <a:prstDash val="solid"/>
              <a:round/>
            </a:ln>
          </p:spPr>
          <p:txBody>
            <a:bodyPr rtlCol="0" anchor="ctr"/>
            <a:lstStyle/>
            <a:p>
              <a:endParaRPr lang="en-US"/>
            </a:p>
          </p:txBody>
        </p:sp>
        <p:sp>
          <p:nvSpPr>
            <p:cNvPr id="2636" name="Freeform: Shape 2635">
              <a:extLst>
                <a:ext uri="{FF2B5EF4-FFF2-40B4-BE49-F238E27FC236}">
                  <a16:creationId xmlns:a16="http://schemas.microsoft.com/office/drawing/2014/main" id="{29291649-9E4C-45EB-AD2B-4904AA1A46F8}"/>
                </a:ext>
              </a:extLst>
            </p:cNvPr>
            <p:cNvSpPr/>
            <p:nvPr/>
          </p:nvSpPr>
          <p:spPr>
            <a:xfrm>
              <a:off x="5898368" y="3459786"/>
              <a:ext cx="45688" cy="60917"/>
            </a:xfrm>
            <a:custGeom>
              <a:avLst/>
              <a:gdLst>
                <a:gd name="connsiteX0" fmla="*/ 48733 w 45687"/>
                <a:gd name="connsiteY0" fmla="*/ 60917 h 60916"/>
                <a:gd name="connsiteX1" fmla="*/ 47211 w 45687"/>
                <a:gd name="connsiteY1" fmla="*/ 60917 h 60916"/>
                <a:gd name="connsiteX2" fmla="*/ 6092 w 45687"/>
                <a:gd name="connsiteY2" fmla="*/ 50256 h 60916"/>
                <a:gd name="connsiteX3" fmla="*/ 0 w 45687"/>
                <a:gd name="connsiteY3" fmla="*/ 41119 h 60916"/>
                <a:gd name="connsiteX4" fmla="*/ 9138 w 45687"/>
                <a:gd name="connsiteY4" fmla="*/ 35027 h 60916"/>
                <a:gd name="connsiteX5" fmla="*/ 39596 w 45687"/>
                <a:gd name="connsiteY5" fmla="*/ 42642 h 60916"/>
                <a:gd name="connsiteX6" fmla="*/ 35027 w 45687"/>
                <a:gd name="connsiteY6" fmla="*/ 9138 h 60916"/>
                <a:gd name="connsiteX7" fmla="*/ 41119 w 45687"/>
                <a:gd name="connsiteY7" fmla="*/ 0 h 60916"/>
                <a:gd name="connsiteX8" fmla="*/ 50256 w 45687"/>
                <a:gd name="connsiteY8" fmla="*/ 6092 h 60916"/>
                <a:gd name="connsiteX9" fmla="*/ 56348 w 45687"/>
                <a:gd name="connsiteY9" fmla="*/ 50256 h 60916"/>
                <a:gd name="connsiteX10" fmla="*/ 53302 w 45687"/>
                <a:gd name="connsiteY10" fmla="*/ 56348 h 60916"/>
                <a:gd name="connsiteX11" fmla="*/ 48733 w 45687"/>
                <a:gd name="connsiteY11" fmla="*/ 60917 h 6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87" h="60916">
                  <a:moveTo>
                    <a:pt x="48733" y="60917"/>
                  </a:moveTo>
                  <a:cubicBezTo>
                    <a:pt x="48733" y="60917"/>
                    <a:pt x="47211" y="60917"/>
                    <a:pt x="47211" y="60917"/>
                  </a:cubicBezTo>
                  <a:lnTo>
                    <a:pt x="6092" y="50256"/>
                  </a:lnTo>
                  <a:cubicBezTo>
                    <a:pt x="1523" y="48733"/>
                    <a:pt x="0" y="45688"/>
                    <a:pt x="0" y="41119"/>
                  </a:cubicBezTo>
                  <a:cubicBezTo>
                    <a:pt x="1523" y="36550"/>
                    <a:pt x="4569" y="35027"/>
                    <a:pt x="9138" y="35027"/>
                  </a:cubicBezTo>
                  <a:lnTo>
                    <a:pt x="39596" y="42642"/>
                  </a:lnTo>
                  <a:lnTo>
                    <a:pt x="35027" y="9138"/>
                  </a:lnTo>
                  <a:cubicBezTo>
                    <a:pt x="35027" y="4569"/>
                    <a:pt x="38073" y="1523"/>
                    <a:pt x="41119" y="0"/>
                  </a:cubicBezTo>
                  <a:cubicBezTo>
                    <a:pt x="45688" y="0"/>
                    <a:pt x="48733" y="3046"/>
                    <a:pt x="50256" y="6092"/>
                  </a:cubicBezTo>
                  <a:lnTo>
                    <a:pt x="56348" y="50256"/>
                  </a:lnTo>
                  <a:cubicBezTo>
                    <a:pt x="56348" y="53302"/>
                    <a:pt x="56348" y="54825"/>
                    <a:pt x="53302" y="56348"/>
                  </a:cubicBezTo>
                  <a:cubicBezTo>
                    <a:pt x="51779" y="60917"/>
                    <a:pt x="50256" y="60917"/>
                    <a:pt x="48733" y="60917"/>
                  </a:cubicBezTo>
                  <a:close/>
                </a:path>
              </a:pathLst>
            </a:custGeom>
            <a:grpFill/>
            <a:ln w="15128" cap="flat">
              <a:noFill/>
              <a:prstDash val="solid"/>
              <a:miter/>
            </a:ln>
          </p:spPr>
          <p:txBody>
            <a:bodyPr rtlCol="0" anchor="ctr"/>
            <a:lstStyle/>
            <a:p>
              <a:endParaRPr lang="en-US"/>
            </a:p>
          </p:txBody>
        </p:sp>
        <p:sp>
          <p:nvSpPr>
            <p:cNvPr id="2637" name="Freeform: Shape 2636">
              <a:extLst>
                <a:ext uri="{FF2B5EF4-FFF2-40B4-BE49-F238E27FC236}">
                  <a16:creationId xmlns:a16="http://schemas.microsoft.com/office/drawing/2014/main" id="{35978550-1AEF-463D-94A2-98D712E61504}"/>
                </a:ext>
              </a:extLst>
            </p:cNvPr>
            <p:cNvSpPr/>
            <p:nvPr/>
          </p:nvSpPr>
          <p:spPr>
            <a:xfrm>
              <a:off x="6183154" y="3564868"/>
              <a:ext cx="137063" cy="15229"/>
            </a:xfrm>
            <a:custGeom>
              <a:avLst/>
              <a:gdLst>
                <a:gd name="connsiteX0" fmla="*/ 141632 w 137062"/>
                <a:gd name="connsiteY0" fmla="*/ 15229 h 15229"/>
                <a:gd name="connsiteX1" fmla="*/ 7615 w 137062"/>
                <a:gd name="connsiteY1" fmla="*/ 15229 h 15229"/>
                <a:gd name="connsiteX2" fmla="*/ 0 w 137062"/>
                <a:gd name="connsiteY2" fmla="*/ 7615 h 15229"/>
                <a:gd name="connsiteX3" fmla="*/ 7615 w 137062"/>
                <a:gd name="connsiteY3" fmla="*/ 0 h 15229"/>
                <a:gd name="connsiteX4" fmla="*/ 141632 w 137062"/>
                <a:gd name="connsiteY4" fmla="*/ 0 h 15229"/>
                <a:gd name="connsiteX5" fmla="*/ 149246 w 137062"/>
                <a:gd name="connsiteY5" fmla="*/ 7615 h 15229"/>
                <a:gd name="connsiteX6" fmla="*/ 141632 w 137062"/>
                <a:gd name="connsiteY6" fmla="*/ 15229 h 1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062" h="15229">
                  <a:moveTo>
                    <a:pt x="141632" y="15229"/>
                  </a:moveTo>
                  <a:lnTo>
                    <a:pt x="7615" y="15229"/>
                  </a:lnTo>
                  <a:cubicBezTo>
                    <a:pt x="3046" y="15229"/>
                    <a:pt x="0" y="12183"/>
                    <a:pt x="0" y="7615"/>
                  </a:cubicBezTo>
                  <a:cubicBezTo>
                    <a:pt x="0" y="3046"/>
                    <a:pt x="3046" y="0"/>
                    <a:pt x="7615" y="0"/>
                  </a:cubicBezTo>
                  <a:lnTo>
                    <a:pt x="141632" y="0"/>
                  </a:lnTo>
                  <a:cubicBezTo>
                    <a:pt x="146200" y="0"/>
                    <a:pt x="149246" y="3046"/>
                    <a:pt x="149246" y="7615"/>
                  </a:cubicBezTo>
                  <a:cubicBezTo>
                    <a:pt x="149246" y="12183"/>
                    <a:pt x="146200" y="15229"/>
                    <a:pt x="141632" y="15229"/>
                  </a:cubicBezTo>
                  <a:close/>
                </a:path>
              </a:pathLst>
            </a:custGeom>
            <a:grpFill/>
            <a:ln w="15128" cap="flat">
              <a:noFill/>
              <a:prstDash val="solid"/>
              <a:miter/>
            </a:ln>
          </p:spPr>
          <p:txBody>
            <a:bodyPr rtlCol="0" anchor="ctr"/>
            <a:lstStyle/>
            <a:p>
              <a:endParaRPr lang="en-US"/>
            </a:p>
          </p:txBody>
        </p:sp>
        <p:sp>
          <p:nvSpPr>
            <p:cNvPr id="2638" name="Freeform: Shape 2637">
              <a:extLst>
                <a:ext uri="{FF2B5EF4-FFF2-40B4-BE49-F238E27FC236}">
                  <a16:creationId xmlns:a16="http://schemas.microsoft.com/office/drawing/2014/main" id="{7E94B464-01AE-4BA6-AF23-1C1B5D03C3CF}"/>
                </a:ext>
              </a:extLst>
            </p:cNvPr>
            <p:cNvSpPr/>
            <p:nvPr/>
          </p:nvSpPr>
          <p:spPr>
            <a:xfrm>
              <a:off x="5842020" y="3175000"/>
              <a:ext cx="15229" cy="15229"/>
            </a:xfrm>
            <a:custGeom>
              <a:avLst/>
              <a:gdLst/>
              <a:ahLst/>
              <a:cxnLst/>
              <a:rect l="l" t="t" r="r" b="b"/>
              <a:pathLst>
                <a:path/>
              </a:pathLst>
            </a:custGeom>
            <a:grpFill/>
            <a:ln w="15128" cap="rnd">
              <a:solidFill>
                <a:srgbClr val="231F20"/>
              </a:solidFill>
              <a:prstDash val="solid"/>
              <a:round/>
            </a:ln>
          </p:spPr>
          <p:txBody>
            <a:bodyPr rtlCol="0" anchor="ctr"/>
            <a:lstStyle/>
            <a:p>
              <a:endParaRPr lang="en-US"/>
            </a:p>
          </p:txBody>
        </p:sp>
        <p:sp>
          <p:nvSpPr>
            <p:cNvPr id="2639" name="Freeform: Shape 2638">
              <a:extLst>
                <a:ext uri="{FF2B5EF4-FFF2-40B4-BE49-F238E27FC236}">
                  <a16:creationId xmlns:a16="http://schemas.microsoft.com/office/drawing/2014/main" id="{A4A6950E-FEC4-4420-B8E1-20E26E04E783}"/>
                </a:ext>
              </a:extLst>
            </p:cNvPr>
            <p:cNvSpPr/>
            <p:nvPr/>
          </p:nvSpPr>
          <p:spPr>
            <a:xfrm>
              <a:off x="6295713" y="3540364"/>
              <a:ext cx="45688" cy="60917"/>
            </a:xfrm>
            <a:custGeom>
              <a:avLst/>
              <a:gdLst>
                <a:gd name="connsiteX0" fmla="*/ 7752 w 45687"/>
                <a:gd name="connsiteY0" fmla="*/ 64100 h 60916"/>
                <a:gd name="connsiteX1" fmla="*/ 1660 w 45687"/>
                <a:gd name="connsiteY1" fmla="*/ 61054 h 60916"/>
                <a:gd name="connsiteX2" fmla="*/ 4706 w 45687"/>
                <a:gd name="connsiteY2" fmla="*/ 50394 h 60916"/>
                <a:gd name="connsiteX3" fmla="*/ 30596 w 45687"/>
                <a:gd name="connsiteY3" fmla="*/ 33642 h 60916"/>
                <a:gd name="connsiteX4" fmla="*/ 3183 w 45687"/>
                <a:gd name="connsiteY4" fmla="*/ 13844 h 60916"/>
                <a:gd name="connsiteX5" fmla="*/ 1660 w 45687"/>
                <a:gd name="connsiteY5" fmla="*/ 3183 h 60916"/>
                <a:gd name="connsiteX6" fmla="*/ 12321 w 45687"/>
                <a:gd name="connsiteY6" fmla="*/ 1660 h 60916"/>
                <a:gd name="connsiteX7" fmla="*/ 48871 w 45687"/>
                <a:gd name="connsiteY7" fmla="*/ 29073 h 60916"/>
                <a:gd name="connsiteX8" fmla="*/ 51917 w 45687"/>
                <a:gd name="connsiteY8" fmla="*/ 35165 h 60916"/>
                <a:gd name="connsiteX9" fmla="*/ 48871 w 45687"/>
                <a:gd name="connsiteY9" fmla="*/ 41256 h 60916"/>
                <a:gd name="connsiteX10" fmla="*/ 12321 w 45687"/>
                <a:gd name="connsiteY10" fmla="*/ 62577 h 60916"/>
                <a:gd name="connsiteX11" fmla="*/ 7752 w 45687"/>
                <a:gd name="connsiteY11" fmla="*/ 64100 h 6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87" h="60916">
                  <a:moveTo>
                    <a:pt x="7752" y="64100"/>
                  </a:moveTo>
                  <a:cubicBezTo>
                    <a:pt x="4706" y="64100"/>
                    <a:pt x="3183" y="62577"/>
                    <a:pt x="1660" y="61054"/>
                  </a:cubicBezTo>
                  <a:cubicBezTo>
                    <a:pt x="137" y="58008"/>
                    <a:pt x="137" y="53440"/>
                    <a:pt x="4706" y="50394"/>
                  </a:cubicBezTo>
                  <a:lnTo>
                    <a:pt x="30596" y="33642"/>
                  </a:lnTo>
                  <a:lnTo>
                    <a:pt x="3183" y="13844"/>
                  </a:lnTo>
                  <a:cubicBezTo>
                    <a:pt x="137" y="10798"/>
                    <a:pt x="-1386" y="6229"/>
                    <a:pt x="1660" y="3183"/>
                  </a:cubicBezTo>
                  <a:cubicBezTo>
                    <a:pt x="4706" y="137"/>
                    <a:pt x="9275" y="-1386"/>
                    <a:pt x="12321" y="1660"/>
                  </a:cubicBezTo>
                  <a:lnTo>
                    <a:pt x="48871" y="29073"/>
                  </a:lnTo>
                  <a:cubicBezTo>
                    <a:pt x="50394" y="30596"/>
                    <a:pt x="51917" y="33642"/>
                    <a:pt x="51917" y="35165"/>
                  </a:cubicBezTo>
                  <a:cubicBezTo>
                    <a:pt x="51917" y="38210"/>
                    <a:pt x="50394" y="39733"/>
                    <a:pt x="48871" y="41256"/>
                  </a:cubicBezTo>
                  <a:lnTo>
                    <a:pt x="12321" y="62577"/>
                  </a:lnTo>
                  <a:cubicBezTo>
                    <a:pt x="9275" y="64100"/>
                    <a:pt x="9275" y="64100"/>
                    <a:pt x="7752" y="64100"/>
                  </a:cubicBezTo>
                  <a:close/>
                </a:path>
              </a:pathLst>
            </a:custGeom>
            <a:grpFill/>
            <a:ln w="15128" cap="flat">
              <a:noFill/>
              <a:prstDash val="solid"/>
              <a:miter/>
            </a:ln>
          </p:spPr>
          <p:txBody>
            <a:bodyPr rtlCol="0" anchor="ctr"/>
            <a:lstStyle/>
            <a:p>
              <a:endParaRPr lang="en-US"/>
            </a:p>
          </p:txBody>
        </p:sp>
        <p:sp>
          <p:nvSpPr>
            <p:cNvPr id="2640" name="Freeform: Shape 2639">
              <a:extLst>
                <a:ext uri="{FF2B5EF4-FFF2-40B4-BE49-F238E27FC236}">
                  <a16:creationId xmlns:a16="http://schemas.microsoft.com/office/drawing/2014/main" id="{409739E4-F1A6-4E29-8618-38F8CD22CD77}"/>
                </a:ext>
              </a:extLst>
            </p:cNvPr>
            <p:cNvSpPr/>
            <p:nvPr/>
          </p:nvSpPr>
          <p:spPr>
            <a:xfrm>
              <a:off x="5842020" y="3175000"/>
              <a:ext cx="15229" cy="15229"/>
            </a:xfrm>
            <a:custGeom>
              <a:avLst/>
              <a:gdLst/>
              <a:ahLst/>
              <a:cxnLst/>
              <a:rect l="l" t="t" r="r" b="b"/>
              <a:pathLst>
                <a:path/>
              </a:pathLst>
            </a:custGeom>
            <a:grpFill/>
            <a:ln w="15128" cap="rnd">
              <a:solidFill>
                <a:srgbClr val="231F20"/>
              </a:solidFill>
              <a:prstDash val="solid"/>
              <a:round/>
            </a:ln>
          </p:spPr>
          <p:txBody>
            <a:bodyPr rtlCol="0" anchor="ctr"/>
            <a:lstStyle/>
            <a:p>
              <a:endParaRPr lang="en-US"/>
            </a:p>
          </p:txBody>
        </p:sp>
        <p:sp>
          <p:nvSpPr>
            <p:cNvPr id="2641" name="Freeform: Shape 2640">
              <a:extLst>
                <a:ext uri="{FF2B5EF4-FFF2-40B4-BE49-F238E27FC236}">
                  <a16:creationId xmlns:a16="http://schemas.microsoft.com/office/drawing/2014/main" id="{406B72B0-C353-45B3-AC1F-B96E81062FA5}"/>
                </a:ext>
              </a:extLst>
            </p:cNvPr>
            <p:cNvSpPr/>
            <p:nvPr/>
          </p:nvSpPr>
          <p:spPr>
            <a:xfrm>
              <a:off x="6081119" y="3175925"/>
              <a:ext cx="45688" cy="60917"/>
            </a:xfrm>
            <a:custGeom>
              <a:avLst/>
              <a:gdLst>
                <a:gd name="connsiteX0" fmla="*/ 41119 w 45687"/>
                <a:gd name="connsiteY0" fmla="*/ 63037 h 60916"/>
                <a:gd name="connsiteX1" fmla="*/ 36550 w 45687"/>
                <a:gd name="connsiteY1" fmla="*/ 61514 h 60916"/>
                <a:gd name="connsiteX2" fmla="*/ 3046 w 45687"/>
                <a:gd name="connsiteY2" fmla="*/ 32579 h 60916"/>
                <a:gd name="connsiteX3" fmla="*/ 0 w 45687"/>
                <a:gd name="connsiteY3" fmla="*/ 26487 h 60916"/>
                <a:gd name="connsiteX4" fmla="*/ 4569 w 45687"/>
                <a:gd name="connsiteY4" fmla="*/ 20395 h 60916"/>
                <a:gd name="connsiteX5" fmla="*/ 42642 w 45687"/>
                <a:gd name="connsiteY5" fmla="*/ 597 h 60916"/>
                <a:gd name="connsiteX6" fmla="*/ 53302 w 45687"/>
                <a:gd name="connsiteY6" fmla="*/ 3643 h 60916"/>
                <a:gd name="connsiteX7" fmla="*/ 50256 w 45687"/>
                <a:gd name="connsiteY7" fmla="*/ 14304 h 60916"/>
                <a:gd name="connsiteX8" fmla="*/ 19798 w 45687"/>
                <a:gd name="connsiteY8" fmla="*/ 28010 h 60916"/>
                <a:gd name="connsiteX9" fmla="*/ 45688 w 45687"/>
                <a:gd name="connsiteY9" fmla="*/ 49331 h 60916"/>
                <a:gd name="connsiteX10" fmla="*/ 47211 w 45687"/>
                <a:gd name="connsiteY10" fmla="*/ 59991 h 60916"/>
                <a:gd name="connsiteX11" fmla="*/ 41119 w 45687"/>
                <a:gd name="connsiteY11" fmla="*/ 63037 h 6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87" h="60916">
                  <a:moveTo>
                    <a:pt x="41119" y="63037"/>
                  </a:moveTo>
                  <a:cubicBezTo>
                    <a:pt x="39596" y="63037"/>
                    <a:pt x="38073" y="63037"/>
                    <a:pt x="36550" y="61514"/>
                  </a:cubicBezTo>
                  <a:lnTo>
                    <a:pt x="3046" y="32579"/>
                  </a:lnTo>
                  <a:cubicBezTo>
                    <a:pt x="1523" y="31056"/>
                    <a:pt x="0" y="28010"/>
                    <a:pt x="0" y="26487"/>
                  </a:cubicBezTo>
                  <a:cubicBezTo>
                    <a:pt x="0" y="24964"/>
                    <a:pt x="1523" y="21918"/>
                    <a:pt x="4569" y="20395"/>
                  </a:cubicBezTo>
                  <a:lnTo>
                    <a:pt x="42642" y="597"/>
                  </a:lnTo>
                  <a:cubicBezTo>
                    <a:pt x="45688" y="-925"/>
                    <a:pt x="50256" y="597"/>
                    <a:pt x="53302" y="3643"/>
                  </a:cubicBezTo>
                  <a:cubicBezTo>
                    <a:pt x="54825" y="6689"/>
                    <a:pt x="53302" y="11258"/>
                    <a:pt x="50256" y="14304"/>
                  </a:cubicBezTo>
                  <a:lnTo>
                    <a:pt x="19798" y="28010"/>
                  </a:lnTo>
                  <a:lnTo>
                    <a:pt x="45688" y="49331"/>
                  </a:lnTo>
                  <a:cubicBezTo>
                    <a:pt x="48733" y="52377"/>
                    <a:pt x="48733" y="56946"/>
                    <a:pt x="47211" y="59991"/>
                  </a:cubicBezTo>
                  <a:cubicBezTo>
                    <a:pt x="45688" y="61514"/>
                    <a:pt x="42642" y="63037"/>
                    <a:pt x="41119" y="63037"/>
                  </a:cubicBezTo>
                  <a:close/>
                </a:path>
              </a:pathLst>
            </a:custGeom>
            <a:grpFill/>
            <a:ln w="15128" cap="flat">
              <a:noFill/>
              <a:prstDash val="solid"/>
              <a:miter/>
            </a:ln>
          </p:spPr>
          <p:txBody>
            <a:bodyPr rtlCol="0" anchor="ctr"/>
            <a:lstStyle/>
            <a:p>
              <a:endParaRPr lang="en-US"/>
            </a:p>
          </p:txBody>
        </p:sp>
        <p:sp>
          <p:nvSpPr>
            <p:cNvPr id="2642" name="Freeform: Shape 2641">
              <a:extLst>
                <a:ext uri="{FF2B5EF4-FFF2-40B4-BE49-F238E27FC236}">
                  <a16:creationId xmlns:a16="http://schemas.microsoft.com/office/drawing/2014/main" id="{3CED6ABF-489B-48DA-91F8-2C8F3526A621}"/>
                </a:ext>
              </a:extLst>
            </p:cNvPr>
            <p:cNvSpPr/>
            <p:nvPr/>
          </p:nvSpPr>
          <p:spPr>
            <a:xfrm>
              <a:off x="6043046" y="3337953"/>
              <a:ext cx="76146" cy="76146"/>
            </a:xfrm>
            <a:custGeom>
              <a:avLst/>
              <a:gdLst>
                <a:gd name="connsiteX0" fmla="*/ 39596 w 76146"/>
                <a:gd name="connsiteY0" fmla="*/ 79192 h 76146"/>
                <a:gd name="connsiteX1" fmla="*/ 0 w 76146"/>
                <a:gd name="connsiteY1" fmla="*/ 39596 h 76146"/>
                <a:gd name="connsiteX2" fmla="*/ 39596 w 76146"/>
                <a:gd name="connsiteY2" fmla="*/ 0 h 76146"/>
                <a:gd name="connsiteX3" fmla="*/ 79192 w 76146"/>
                <a:gd name="connsiteY3" fmla="*/ 39596 h 76146"/>
                <a:gd name="connsiteX4" fmla="*/ 39596 w 76146"/>
                <a:gd name="connsiteY4" fmla="*/ 79192 h 76146"/>
                <a:gd name="connsiteX5" fmla="*/ 39596 w 76146"/>
                <a:gd name="connsiteY5" fmla="*/ 13706 h 76146"/>
                <a:gd name="connsiteX6" fmla="*/ 15229 w 76146"/>
                <a:gd name="connsiteY6" fmla="*/ 38073 h 76146"/>
                <a:gd name="connsiteX7" fmla="*/ 39596 w 76146"/>
                <a:gd name="connsiteY7" fmla="*/ 62440 h 76146"/>
                <a:gd name="connsiteX8" fmla="*/ 63963 w 76146"/>
                <a:gd name="connsiteY8" fmla="*/ 38073 h 76146"/>
                <a:gd name="connsiteX9" fmla="*/ 39596 w 76146"/>
                <a:gd name="connsiteY9" fmla="*/ 13706 h 7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46" h="76146">
                  <a:moveTo>
                    <a:pt x="39596" y="79192"/>
                  </a:moveTo>
                  <a:cubicBezTo>
                    <a:pt x="16752" y="79192"/>
                    <a:pt x="0" y="60917"/>
                    <a:pt x="0" y="39596"/>
                  </a:cubicBezTo>
                  <a:cubicBezTo>
                    <a:pt x="0" y="18275"/>
                    <a:pt x="18275" y="0"/>
                    <a:pt x="39596" y="0"/>
                  </a:cubicBezTo>
                  <a:cubicBezTo>
                    <a:pt x="60917" y="0"/>
                    <a:pt x="79192" y="18275"/>
                    <a:pt x="79192" y="39596"/>
                  </a:cubicBezTo>
                  <a:cubicBezTo>
                    <a:pt x="79192" y="60917"/>
                    <a:pt x="60917" y="79192"/>
                    <a:pt x="39596" y="79192"/>
                  </a:cubicBezTo>
                  <a:close/>
                  <a:moveTo>
                    <a:pt x="39596" y="13706"/>
                  </a:moveTo>
                  <a:cubicBezTo>
                    <a:pt x="25890" y="13706"/>
                    <a:pt x="15229" y="24367"/>
                    <a:pt x="15229" y="38073"/>
                  </a:cubicBezTo>
                  <a:cubicBezTo>
                    <a:pt x="15229" y="51779"/>
                    <a:pt x="25890" y="62440"/>
                    <a:pt x="39596" y="62440"/>
                  </a:cubicBezTo>
                  <a:cubicBezTo>
                    <a:pt x="53302" y="62440"/>
                    <a:pt x="63963" y="51779"/>
                    <a:pt x="63963" y="38073"/>
                  </a:cubicBezTo>
                  <a:cubicBezTo>
                    <a:pt x="63963" y="24367"/>
                    <a:pt x="53302" y="13706"/>
                    <a:pt x="39596" y="13706"/>
                  </a:cubicBezTo>
                  <a:close/>
                </a:path>
              </a:pathLst>
            </a:custGeom>
            <a:grpFill/>
            <a:ln w="15128" cap="flat">
              <a:noFill/>
              <a:prstDash val="solid"/>
              <a:miter/>
            </a:ln>
          </p:spPr>
          <p:txBody>
            <a:bodyPr rtlCol="0" anchor="ctr"/>
            <a:lstStyle/>
            <a:p>
              <a:endParaRPr lang="en-US"/>
            </a:p>
          </p:txBody>
        </p:sp>
        <p:sp>
          <p:nvSpPr>
            <p:cNvPr id="2643" name="Freeform: Shape 2642">
              <a:extLst>
                <a:ext uri="{FF2B5EF4-FFF2-40B4-BE49-F238E27FC236}">
                  <a16:creationId xmlns:a16="http://schemas.microsoft.com/office/drawing/2014/main" id="{6302F9F2-A7C7-42B4-8F72-E2A370617C71}"/>
                </a:ext>
              </a:extLst>
            </p:cNvPr>
            <p:cNvSpPr/>
            <p:nvPr/>
          </p:nvSpPr>
          <p:spPr>
            <a:xfrm>
              <a:off x="5962331" y="3255715"/>
              <a:ext cx="228438" cy="228438"/>
            </a:xfrm>
            <a:custGeom>
              <a:avLst/>
              <a:gdLst>
                <a:gd name="connsiteX0" fmla="*/ 130971 w 228438"/>
                <a:gd name="connsiteY0" fmla="*/ 242145 h 228438"/>
                <a:gd name="connsiteX1" fmla="*/ 108127 w 228438"/>
                <a:gd name="connsiteY1" fmla="*/ 242145 h 228438"/>
                <a:gd name="connsiteX2" fmla="*/ 100513 w 228438"/>
                <a:gd name="connsiteY2" fmla="*/ 237576 h 228438"/>
                <a:gd name="connsiteX3" fmla="*/ 91375 w 228438"/>
                <a:gd name="connsiteY3" fmla="*/ 210163 h 228438"/>
                <a:gd name="connsiteX4" fmla="*/ 74623 w 228438"/>
                <a:gd name="connsiteY4" fmla="*/ 205594 h 228438"/>
                <a:gd name="connsiteX5" fmla="*/ 47211 w 228438"/>
                <a:gd name="connsiteY5" fmla="*/ 216255 h 228438"/>
                <a:gd name="connsiteX6" fmla="*/ 39596 w 228438"/>
                <a:gd name="connsiteY6" fmla="*/ 214732 h 228438"/>
                <a:gd name="connsiteX7" fmla="*/ 27413 w 228438"/>
                <a:gd name="connsiteY7" fmla="*/ 202549 h 228438"/>
                <a:gd name="connsiteX8" fmla="*/ 25890 w 228438"/>
                <a:gd name="connsiteY8" fmla="*/ 194934 h 228438"/>
                <a:gd name="connsiteX9" fmla="*/ 36550 w 228438"/>
                <a:gd name="connsiteY9" fmla="*/ 165998 h 228438"/>
                <a:gd name="connsiteX10" fmla="*/ 31981 w 228438"/>
                <a:gd name="connsiteY10" fmla="*/ 149246 h 228438"/>
                <a:gd name="connsiteX11" fmla="*/ 4569 w 228438"/>
                <a:gd name="connsiteY11" fmla="*/ 140109 h 228438"/>
                <a:gd name="connsiteX12" fmla="*/ 0 w 228438"/>
                <a:gd name="connsiteY12" fmla="*/ 132494 h 228438"/>
                <a:gd name="connsiteX13" fmla="*/ 0 w 228438"/>
                <a:gd name="connsiteY13" fmla="*/ 109650 h 228438"/>
                <a:gd name="connsiteX14" fmla="*/ 4569 w 228438"/>
                <a:gd name="connsiteY14" fmla="*/ 102036 h 228438"/>
                <a:gd name="connsiteX15" fmla="*/ 31981 w 228438"/>
                <a:gd name="connsiteY15" fmla="*/ 92898 h 228438"/>
                <a:gd name="connsiteX16" fmla="*/ 36550 w 228438"/>
                <a:gd name="connsiteY16" fmla="*/ 76146 h 228438"/>
                <a:gd name="connsiteX17" fmla="*/ 24367 w 228438"/>
                <a:gd name="connsiteY17" fmla="*/ 48733 h 228438"/>
                <a:gd name="connsiteX18" fmla="*/ 25890 w 228438"/>
                <a:gd name="connsiteY18" fmla="*/ 41119 h 228438"/>
                <a:gd name="connsiteX19" fmla="*/ 38073 w 228438"/>
                <a:gd name="connsiteY19" fmla="*/ 28936 h 228438"/>
                <a:gd name="connsiteX20" fmla="*/ 47211 w 228438"/>
                <a:gd name="connsiteY20" fmla="*/ 25890 h 228438"/>
                <a:gd name="connsiteX21" fmla="*/ 76146 w 228438"/>
                <a:gd name="connsiteY21" fmla="*/ 36550 h 228438"/>
                <a:gd name="connsiteX22" fmla="*/ 92898 w 228438"/>
                <a:gd name="connsiteY22" fmla="*/ 31981 h 228438"/>
                <a:gd name="connsiteX23" fmla="*/ 102036 w 228438"/>
                <a:gd name="connsiteY23" fmla="*/ 4569 h 228438"/>
                <a:gd name="connsiteX24" fmla="*/ 109650 w 228438"/>
                <a:gd name="connsiteY24" fmla="*/ 0 h 228438"/>
                <a:gd name="connsiteX25" fmla="*/ 132494 w 228438"/>
                <a:gd name="connsiteY25" fmla="*/ 0 h 228438"/>
                <a:gd name="connsiteX26" fmla="*/ 140109 w 228438"/>
                <a:gd name="connsiteY26" fmla="*/ 4569 h 228438"/>
                <a:gd name="connsiteX27" fmla="*/ 149246 w 228438"/>
                <a:gd name="connsiteY27" fmla="*/ 31981 h 228438"/>
                <a:gd name="connsiteX28" fmla="*/ 165998 w 228438"/>
                <a:gd name="connsiteY28" fmla="*/ 36550 h 228438"/>
                <a:gd name="connsiteX29" fmla="*/ 193411 w 228438"/>
                <a:gd name="connsiteY29" fmla="*/ 25890 h 228438"/>
                <a:gd name="connsiteX30" fmla="*/ 201026 w 228438"/>
                <a:gd name="connsiteY30" fmla="*/ 27413 h 228438"/>
                <a:gd name="connsiteX31" fmla="*/ 213209 w 228438"/>
                <a:gd name="connsiteY31" fmla="*/ 39596 h 228438"/>
                <a:gd name="connsiteX32" fmla="*/ 214732 w 228438"/>
                <a:gd name="connsiteY32" fmla="*/ 48733 h 228438"/>
                <a:gd name="connsiteX33" fmla="*/ 204071 w 228438"/>
                <a:gd name="connsiteY33" fmla="*/ 77669 h 228438"/>
                <a:gd name="connsiteX34" fmla="*/ 208640 w 228438"/>
                <a:gd name="connsiteY34" fmla="*/ 94421 h 228438"/>
                <a:gd name="connsiteX35" fmla="*/ 236053 w 228438"/>
                <a:gd name="connsiteY35" fmla="*/ 103559 h 228438"/>
                <a:gd name="connsiteX36" fmla="*/ 240621 w 228438"/>
                <a:gd name="connsiteY36" fmla="*/ 111173 h 228438"/>
                <a:gd name="connsiteX37" fmla="*/ 240621 w 228438"/>
                <a:gd name="connsiteY37" fmla="*/ 132494 h 228438"/>
                <a:gd name="connsiteX38" fmla="*/ 236053 w 228438"/>
                <a:gd name="connsiteY38" fmla="*/ 140109 h 228438"/>
                <a:gd name="connsiteX39" fmla="*/ 208640 w 228438"/>
                <a:gd name="connsiteY39" fmla="*/ 149246 h 228438"/>
                <a:gd name="connsiteX40" fmla="*/ 204071 w 228438"/>
                <a:gd name="connsiteY40" fmla="*/ 165998 h 228438"/>
                <a:gd name="connsiteX41" fmla="*/ 214732 w 228438"/>
                <a:gd name="connsiteY41" fmla="*/ 193411 h 228438"/>
                <a:gd name="connsiteX42" fmla="*/ 213209 w 228438"/>
                <a:gd name="connsiteY42" fmla="*/ 201026 h 228438"/>
                <a:gd name="connsiteX43" fmla="*/ 201026 w 228438"/>
                <a:gd name="connsiteY43" fmla="*/ 213209 h 228438"/>
                <a:gd name="connsiteX44" fmla="*/ 193411 w 228438"/>
                <a:gd name="connsiteY44" fmla="*/ 214732 h 228438"/>
                <a:gd name="connsiteX45" fmla="*/ 164475 w 228438"/>
                <a:gd name="connsiteY45" fmla="*/ 204071 h 228438"/>
                <a:gd name="connsiteX46" fmla="*/ 147723 w 228438"/>
                <a:gd name="connsiteY46" fmla="*/ 208640 h 228438"/>
                <a:gd name="connsiteX47" fmla="*/ 138586 w 228438"/>
                <a:gd name="connsiteY47" fmla="*/ 237576 h 228438"/>
                <a:gd name="connsiteX48" fmla="*/ 130971 w 228438"/>
                <a:gd name="connsiteY48" fmla="*/ 242145 h 228438"/>
                <a:gd name="connsiteX49" fmla="*/ 114219 w 228438"/>
                <a:gd name="connsiteY49" fmla="*/ 226915 h 228438"/>
                <a:gd name="connsiteX50" fmla="*/ 126402 w 228438"/>
                <a:gd name="connsiteY50" fmla="*/ 226915 h 228438"/>
                <a:gd name="connsiteX51" fmla="*/ 135540 w 228438"/>
                <a:gd name="connsiteY51" fmla="*/ 201026 h 228438"/>
                <a:gd name="connsiteX52" fmla="*/ 140109 w 228438"/>
                <a:gd name="connsiteY52" fmla="*/ 196457 h 228438"/>
                <a:gd name="connsiteX53" fmla="*/ 162953 w 228438"/>
                <a:gd name="connsiteY53" fmla="*/ 188842 h 228438"/>
                <a:gd name="connsiteX54" fmla="*/ 167521 w 228438"/>
                <a:gd name="connsiteY54" fmla="*/ 188842 h 228438"/>
                <a:gd name="connsiteX55" fmla="*/ 194934 w 228438"/>
                <a:gd name="connsiteY55" fmla="*/ 199503 h 228438"/>
                <a:gd name="connsiteX56" fmla="*/ 199503 w 228438"/>
                <a:gd name="connsiteY56" fmla="*/ 194934 h 228438"/>
                <a:gd name="connsiteX57" fmla="*/ 188842 w 228438"/>
                <a:gd name="connsiteY57" fmla="*/ 167521 h 228438"/>
                <a:gd name="connsiteX58" fmla="*/ 188842 w 228438"/>
                <a:gd name="connsiteY58" fmla="*/ 162953 h 228438"/>
                <a:gd name="connsiteX59" fmla="*/ 196457 w 228438"/>
                <a:gd name="connsiteY59" fmla="*/ 140109 h 228438"/>
                <a:gd name="connsiteX60" fmla="*/ 201026 w 228438"/>
                <a:gd name="connsiteY60" fmla="*/ 135540 h 228438"/>
                <a:gd name="connsiteX61" fmla="*/ 226915 w 228438"/>
                <a:gd name="connsiteY61" fmla="*/ 126402 h 228438"/>
                <a:gd name="connsiteX62" fmla="*/ 226915 w 228438"/>
                <a:gd name="connsiteY62" fmla="*/ 114219 h 228438"/>
                <a:gd name="connsiteX63" fmla="*/ 199503 w 228438"/>
                <a:gd name="connsiteY63" fmla="*/ 106605 h 228438"/>
                <a:gd name="connsiteX64" fmla="*/ 194934 w 228438"/>
                <a:gd name="connsiteY64" fmla="*/ 102036 h 228438"/>
                <a:gd name="connsiteX65" fmla="*/ 187319 w 228438"/>
                <a:gd name="connsiteY65" fmla="*/ 79192 h 228438"/>
                <a:gd name="connsiteX66" fmla="*/ 187319 w 228438"/>
                <a:gd name="connsiteY66" fmla="*/ 74623 h 228438"/>
                <a:gd name="connsiteX67" fmla="*/ 197980 w 228438"/>
                <a:gd name="connsiteY67" fmla="*/ 47211 h 228438"/>
                <a:gd name="connsiteX68" fmla="*/ 193411 w 228438"/>
                <a:gd name="connsiteY68" fmla="*/ 42642 h 228438"/>
                <a:gd name="connsiteX69" fmla="*/ 165998 w 228438"/>
                <a:gd name="connsiteY69" fmla="*/ 53302 h 228438"/>
                <a:gd name="connsiteX70" fmla="*/ 161430 w 228438"/>
                <a:gd name="connsiteY70" fmla="*/ 53302 h 228438"/>
                <a:gd name="connsiteX71" fmla="*/ 138586 w 228438"/>
                <a:gd name="connsiteY71" fmla="*/ 45688 h 228438"/>
                <a:gd name="connsiteX72" fmla="*/ 134017 w 228438"/>
                <a:gd name="connsiteY72" fmla="*/ 41119 h 228438"/>
                <a:gd name="connsiteX73" fmla="*/ 124879 w 228438"/>
                <a:gd name="connsiteY73" fmla="*/ 15229 h 228438"/>
                <a:gd name="connsiteX74" fmla="*/ 112696 w 228438"/>
                <a:gd name="connsiteY74" fmla="*/ 15229 h 228438"/>
                <a:gd name="connsiteX75" fmla="*/ 105082 w 228438"/>
                <a:gd name="connsiteY75" fmla="*/ 41119 h 228438"/>
                <a:gd name="connsiteX76" fmla="*/ 100513 w 228438"/>
                <a:gd name="connsiteY76" fmla="*/ 45688 h 228438"/>
                <a:gd name="connsiteX77" fmla="*/ 77669 w 228438"/>
                <a:gd name="connsiteY77" fmla="*/ 51779 h 228438"/>
                <a:gd name="connsiteX78" fmla="*/ 73100 w 228438"/>
                <a:gd name="connsiteY78" fmla="*/ 51779 h 228438"/>
                <a:gd name="connsiteX79" fmla="*/ 45688 w 228438"/>
                <a:gd name="connsiteY79" fmla="*/ 41119 h 228438"/>
                <a:gd name="connsiteX80" fmla="*/ 41119 w 228438"/>
                <a:gd name="connsiteY80" fmla="*/ 45688 h 228438"/>
                <a:gd name="connsiteX81" fmla="*/ 51779 w 228438"/>
                <a:gd name="connsiteY81" fmla="*/ 73100 h 228438"/>
                <a:gd name="connsiteX82" fmla="*/ 51779 w 228438"/>
                <a:gd name="connsiteY82" fmla="*/ 77669 h 228438"/>
                <a:gd name="connsiteX83" fmla="*/ 44165 w 228438"/>
                <a:gd name="connsiteY83" fmla="*/ 102036 h 228438"/>
                <a:gd name="connsiteX84" fmla="*/ 39596 w 228438"/>
                <a:gd name="connsiteY84" fmla="*/ 106605 h 228438"/>
                <a:gd name="connsiteX85" fmla="*/ 13706 w 228438"/>
                <a:gd name="connsiteY85" fmla="*/ 115742 h 228438"/>
                <a:gd name="connsiteX86" fmla="*/ 13706 w 228438"/>
                <a:gd name="connsiteY86" fmla="*/ 127925 h 228438"/>
                <a:gd name="connsiteX87" fmla="*/ 39596 w 228438"/>
                <a:gd name="connsiteY87" fmla="*/ 137063 h 228438"/>
                <a:gd name="connsiteX88" fmla="*/ 44165 w 228438"/>
                <a:gd name="connsiteY88" fmla="*/ 141632 h 228438"/>
                <a:gd name="connsiteX89" fmla="*/ 51779 w 228438"/>
                <a:gd name="connsiteY89" fmla="*/ 164476 h 228438"/>
                <a:gd name="connsiteX90" fmla="*/ 51779 w 228438"/>
                <a:gd name="connsiteY90" fmla="*/ 169044 h 228438"/>
                <a:gd name="connsiteX91" fmla="*/ 41119 w 228438"/>
                <a:gd name="connsiteY91" fmla="*/ 196457 h 228438"/>
                <a:gd name="connsiteX92" fmla="*/ 45688 w 228438"/>
                <a:gd name="connsiteY92" fmla="*/ 201026 h 228438"/>
                <a:gd name="connsiteX93" fmla="*/ 73100 w 228438"/>
                <a:gd name="connsiteY93" fmla="*/ 190365 h 228438"/>
                <a:gd name="connsiteX94" fmla="*/ 77669 w 228438"/>
                <a:gd name="connsiteY94" fmla="*/ 190365 h 228438"/>
                <a:gd name="connsiteX95" fmla="*/ 100513 w 228438"/>
                <a:gd name="connsiteY95" fmla="*/ 197980 h 228438"/>
                <a:gd name="connsiteX96" fmla="*/ 105082 w 228438"/>
                <a:gd name="connsiteY96" fmla="*/ 202549 h 228438"/>
                <a:gd name="connsiteX97" fmla="*/ 114219 w 228438"/>
                <a:gd name="connsiteY97" fmla="*/ 226915 h 22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28438" h="228438">
                  <a:moveTo>
                    <a:pt x="130971" y="242145"/>
                  </a:moveTo>
                  <a:lnTo>
                    <a:pt x="108127" y="242145"/>
                  </a:lnTo>
                  <a:cubicBezTo>
                    <a:pt x="105082" y="242145"/>
                    <a:pt x="102036" y="240622"/>
                    <a:pt x="100513" y="237576"/>
                  </a:cubicBezTo>
                  <a:lnTo>
                    <a:pt x="91375" y="210163"/>
                  </a:lnTo>
                  <a:lnTo>
                    <a:pt x="74623" y="205594"/>
                  </a:lnTo>
                  <a:lnTo>
                    <a:pt x="47211" y="216255"/>
                  </a:lnTo>
                  <a:cubicBezTo>
                    <a:pt x="44165" y="217778"/>
                    <a:pt x="41119" y="216255"/>
                    <a:pt x="39596" y="214732"/>
                  </a:cubicBezTo>
                  <a:lnTo>
                    <a:pt x="27413" y="202549"/>
                  </a:lnTo>
                  <a:cubicBezTo>
                    <a:pt x="25890" y="201026"/>
                    <a:pt x="24367" y="197980"/>
                    <a:pt x="25890" y="194934"/>
                  </a:cubicBezTo>
                  <a:lnTo>
                    <a:pt x="36550" y="165998"/>
                  </a:lnTo>
                  <a:lnTo>
                    <a:pt x="31981" y="149246"/>
                  </a:lnTo>
                  <a:lnTo>
                    <a:pt x="4569" y="140109"/>
                  </a:lnTo>
                  <a:cubicBezTo>
                    <a:pt x="1523" y="138586"/>
                    <a:pt x="0" y="135540"/>
                    <a:pt x="0" y="132494"/>
                  </a:cubicBezTo>
                  <a:lnTo>
                    <a:pt x="0" y="109650"/>
                  </a:lnTo>
                  <a:cubicBezTo>
                    <a:pt x="0" y="106605"/>
                    <a:pt x="1523" y="103559"/>
                    <a:pt x="4569" y="102036"/>
                  </a:cubicBezTo>
                  <a:lnTo>
                    <a:pt x="31981" y="92898"/>
                  </a:lnTo>
                  <a:lnTo>
                    <a:pt x="36550" y="76146"/>
                  </a:lnTo>
                  <a:lnTo>
                    <a:pt x="24367" y="48733"/>
                  </a:lnTo>
                  <a:cubicBezTo>
                    <a:pt x="22844" y="45688"/>
                    <a:pt x="24367" y="42642"/>
                    <a:pt x="25890" y="41119"/>
                  </a:cubicBezTo>
                  <a:lnTo>
                    <a:pt x="38073" y="28936"/>
                  </a:lnTo>
                  <a:cubicBezTo>
                    <a:pt x="41119" y="25890"/>
                    <a:pt x="44165" y="25890"/>
                    <a:pt x="47211" y="25890"/>
                  </a:cubicBezTo>
                  <a:lnTo>
                    <a:pt x="76146" y="36550"/>
                  </a:lnTo>
                  <a:lnTo>
                    <a:pt x="92898" y="31981"/>
                  </a:lnTo>
                  <a:lnTo>
                    <a:pt x="102036" y="4569"/>
                  </a:lnTo>
                  <a:cubicBezTo>
                    <a:pt x="103559" y="1523"/>
                    <a:pt x="106604" y="0"/>
                    <a:pt x="109650" y="0"/>
                  </a:cubicBezTo>
                  <a:lnTo>
                    <a:pt x="132494" y="0"/>
                  </a:lnTo>
                  <a:cubicBezTo>
                    <a:pt x="135540" y="0"/>
                    <a:pt x="138586" y="1523"/>
                    <a:pt x="140109" y="4569"/>
                  </a:cubicBezTo>
                  <a:lnTo>
                    <a:pt x="149246" y="31981"/>
                  </a:lnTo>
                  <a:lnTo>
                    <a:pt x="165998" y="36550"/>
                  </a:lnTo>
                  <a:lnTo>
                    <a:pt x="193411" y="25890"/>
                  </a:lnTo>
                  <a:cubicBezTo>
                    <a:pt x="196457" y="24367"/>
                    <a:pt x="199503" y="25890"/>
                    <a:pt x="201026" y="27413"/>
                  </a:cubicBezTo>
                  <a:lnTo>
                    <a:pt x="213209" y="39596"/>
                  </a:lnTo>
                  <a:cubicBezTo>
                    <a:pt x="214732" y="42642"/>
                    <a:pt x="214732" y="45688"/>
                    <a:pt x="214732" y="48733"/>
                  </a:cubicBezTo>
                  <a:lnTo>
                    <a:pt x="204071" y="77669"/>
                  </a:lnTo>
                  <a:lnTo>
                    <a:pt x="208640" y="94421"/>
                  </a:lnTo>
                  <a:lnTo>
                    <a:pt x="236053" y="103559"/>
                  </a:lnTo>
                  <a:cubicBezTo>
                    <a:pt x="239099" y="105082"/>
                    <a:pt x="240621" y="108127"/>
                    <a:pt x="240621" y="111173"/>
                  </a:cubicBezTo>
                  <a:lnTo>
                    <a:pt x="240621" y="132494"/>
                  </a:lnTo>
                  <a:cubicBezTo>
                    <a:pt x="240621" y="135540"/>
                    <a:pt x="239099" y="138586"/>
                    <a:pt x="236053" y="140109"/>
                  </a:cubicBezTo>
                  <a:lnTo>
                    <a:pt x="208640" y="149246"/>
                  </a:lnTo>
                  <a:lnTo>
                    <a:pt x="204071" y="165998"/>
                  </a:lnTo>
                  <a:lnTo>
                    <a:pt x="214732" y="193411"/>
                  </a:lnTo>
                  <a:cubicBezTo>
                    <a:pt x="216255" y="196457"/>
                    <a:pt x="214732" y="199503"/>
                    <a:pt x="213209" y="201026"/>
                  </a:cubicBezTo>
                  <a:lnTo>
                    <a:pt x="201026" y="213209"/>
                  </a:lnTo>
                  <a:cubicBezTo>
                    <a:pt x="199503" y="214732"/>
                    <a:pt x="196457" y="216255"/>
                    <a:pt x="193411" y="214732"/>
                  </a:cubicBezTo>
                  <a:lnTo>
                    <a:pt x="164475" y="204071"/>
                  </a:lnTo>
                  <a:lnTo>
                    <a:pt x="147723" y="208640"/>
                  </a:lnTo>
                  <a:lnTo>
                    <a:pt x="138586" y="237576"/>
                  </a:lnTo>
                  <a:cubicBezTo>
                    <a:pt x="137063" y="240622"/>
                    <a:pt x="134017" y="242145"/>
                    <a:pt x="130971" y="242145"/>
                  </a:cubicBezTo>
                  <a:close/>
                  <a:moveTo>
                    <a:pt x="114219" y="226915"/>
                  </a:moveTo>
                  <a:lnTo>
                    <a:pt x="126402" y="226915"/>
                  </a:lnTo>
                  <a:lnTo>
                    <a:pt x="135540" y="201026"/>
                  </a:lnTo>
                  <a:cubicBezTo>
                    <a:pt x="137063" y="199503"/>
                    <a:pt x="138586" y="196457"/>
                    <a:pt x="140109" y="196457"/>
                  </a:cubicBezTo>
                  <a:lnTo>
                    <a:pt x="162953" y="188842"/>
                  </a:lnTo>
                  <a:cubicBezTo>
                    <a:pt x="164475" y="188842"/>
                    <a:pt x="165998" y="188842"/>
                    <a:pt x="167521" y="188842"/>
                  </a:cubicBezTo>
                  <a:lnTo>
                    <a:pt x="194934" y="199503"/>
                  </a:lnTo>
                  <a:lnTo>
                    <a:pt x="199503" y="194934"/>
                  </a:lnTo>
                  <a:lnTo>
                    <a:pt x="188842" y="167521"/>
                  </a:lnTo>
                  <a:cubicBezTo>
                    <a:pt x="188842" y="165998"/>
                    <a:pt x="188842" y="164476"/>
                    <a:pt x="188842" y="162953"/>
                  </a:cubicBezTo>
                  <a:lnTo>
                    <a:pt x="196457" y="140109"/>
                  </a:lnTo>
                  <a:cubicBezTo>
                    <a:pt x="196457" y="137063"/>
                    <a:pt x="199503" y="135540"/>
                    <a:pt x="201026" y="135540"/>
                  </a:cubicBezTo>
                  <a:lnTo>
                    <a:pt x="226915" y="126402"/>
                  </a:lnTo>
                  <a:lnTo>
                    <a:pt x="226915" y="114219"/>
                  </a:lnTo>
                  <a:lnTo>
                    <a:pt x="199503" y="106605"/>
                  </a:lnTo>
                  <a:cubicBezTo>
                    <a:pt x="197980" y="105082"/>
                    <a:pt x="194934" y="103559"/>
                    <a:pt x="194934" y="102036"/>
                  </a:cubicBezTo>
                  <a:lnTo>
                    <a:pt x="187319" y="79192"/>
                  </a:lnTo>
                  <a:cubicBezTo>
                    <a:pt x="187319" y="77669"/>
                    <a:pt x="187319" y="76146"/>
                    <a:pt x="187319" y="74623"/>
                  </a:cubicBezTo>
                  <a:lnTo>
                    <a:pt x="197980" y="47211"/>
                  </a:lnTo>
                  <a:lnTo>
                    <a:pt x="193411" y="42642"/>
                  </a:lnTo>
                  <a:lnTo>
                    <a:pt x="165998" y="53302"/>
                  </a:lnTo>
                  <a:cubicBezTo>
                    <a:pt x="164475" y="53302"/>
                    <a:pt x="162953" y="53302"/>
                    <a:pt x="161430" y="53302"/>
                  </a:cubicBezTo>
                  <a:lnTo>
                    <a:pt x="138586" y="45688"/>
                  </a:lnTo>
                  <a:cubicBezTo>
                    <a:pt x="135540" y="45688"/>
                    <a:pt x="134017" y="42642"/>
                    <a:pt x="134017" y="41119"/>
                  </a:cubicBezTo>
                  <a:lnTo>
                    <a:pt x="124879" y="15229"/>
                  </a:lnTo>
                  <a:lnTo>
                    <a:pt x="112696" y="15229"/>
                  </a:lnTo>
                  <a:lnTo>
                    <a:pt x="105082" y="41119"/>
                  </a:lnTo>
                  <a:cubicBezTo>
                    <a:pt x="103559" y="42642"/>
                    <a:pt x="102036" y="45688"/>
                    <a:pt x="100513" y="45688"/>
                  </a:cubicBezTo>
                  <a:lnTo>
                    <a:pt x="77669" y="51779"/>
                  </a:lnTo>
                  <a:cubicBezTo>
                    <a:pt x="76146" y="51779"/>
                    <a:pt x="74623" y="51779"/>
                    <a:pt x="73100" y="51779"/>
                  </a:cubicBezTo>
                  <a:lnTo>
                    <a:pt x="45688" y="41119"/>
                  </a:lnTo>
                  <a:lnTo>
                    <a:pt x="41119" y="45688"/>
                  </a:lnTo>
                  <a:lnTo>
                    <a:pt x="51779" y="73100"/>
                  </a:lnTo>
                  <a:cubicBezTo>
                    <a:pt x="51779" y="74623"/>
                    <a:pt x="51779" y="76146"/>
                    <a:pt x="51779" y="77669"/>
                  </a:cubicBezTo>
                  <a:lnTo>
                    <a:pt x="44165" y="102036"/>
                  </a:lnTo>
                  <a:cubicBezTo>
                    <a:pt x="44165" y="105082"/>
                    <a:pt x="41119" y="106605"/>
                    <a:pt x="39596" y="106605"/>
                  </a:cubicBezTo>
                  <a:lnTo>
                    <a:pt x="13706" y="115742"/>
                  </a:lnTo>
                  <a:lnTo>
                    <a:pt x="13706" y="127925"/>
                  </a:lnTo>
                  <a:lnTo>
                    <a:pt x="39596" y="137063"/>
                  </a:lnTo>
                  <a:cubicBezTo>
                    <a:pt x="41119" y="138586"/>
                    <a:pt x="44165" y="140109"/>
                    <a:pt x="44165" y="141632"/>
                  </a:cubicBezTo>
                  <a:lnTo>
                    <a:pt x="51779" y="164476"/>
                  </a:lnTo>
                  <a:cubicBezTo>
                    <a:pt x="51779" y="165998"/>
                    <a:pt x="51779" y="167521"/>
                    <a:pt x="51779" y="169044"/>
                  </a:cubicBezTo>
                  <a:lnTo>
                    <a:pt x="41119" y="196457"/>
                  </a:lnTo>
                  <a:lnTo>
                    <a:pt x="45688" y="201026"/>
                  </a:lnTo>
                  <a:lnTo>
                    <a:pt x="73100" y="190365"/>
                  </a:lnTo>
                  <a:cubicBezTo>
                    <a:pt x="74623" y="190365"/>
                    <a:pt x="76146" y="190365"/>
                    <a:pt x="77669" y="190365"/>
                  </a:cubicBezTo>
                  <a:lnTo>
                    <a:pt x="100513" y="197980"/>
                  </a:lnTo>
                  <a:cubicBezTo>
                    <a:pt x="103559" y="197980"/>
                    <a:pt x="105082" y="201026"/>
                    <a:pt x="105082" y="202549"/>
                  </a:cubicBezTo>
                  <a:lnTo>
                    <a:pt x="114219" y="226915"/>
                  </a:lnTo>
                  <a:close/>
                </a:path>
              </a:pathLst>
            </a:custGeom>
            <a:grpFill/>
            <a:ln w="15128" cap="flat">
              <a:noFill/>
              <a:prstDash val="solid"/>
              <a:miter/>
            </a:ln>
          </p:spPr>
          <p:txBody>
            <a:bodyPr rtlCol="0" anchor="ctr"/>
            <a:lstStyle/>
            <a:p>
              <a:endParaRPr lang="en-US"/>
            </a:p>
          </p:txBody>
        </p:sp>
      </p:grpSp>
      <p:grpSp>
        <p:nvGrpSpPr>
          <p:cNvPr id="2628" name="Graphic 7">
            <a:extLst>
              <a:ext uri="{FF2B5EF4-FFF2-40B4-BE49-F238E27FC236}">
                <a16:creationId xmlns:a16="http://schemas.microsoft.com/office/drawing/2014/main" id="{9CD6E702-1303-494B-8D29-F50AA27C1506}"/>
              </a:ext>
              <a:ext uri="{C183D7F6-B498-43B3-948B-1728B52AA6E4}">
                <adec:decorative xmlns:adec="http://schemas.microsoft.com/office/drawing/2017/decorative" val="1"/>
              </a:ext>
            </a:extLst>
          </p:cNvPr>
          <p:cNvGrpSpPr>
            <a:grpSpLocks noChangeAspect="1"/>
          </p:cNvGrpSpPr>
          <p:nvPr/>
        </p:nvGrpSpPr>
        <p:grpSpPr>
          <a:xfrm>
            <a:off x="10112170" y="5572226"/>
            <a:ext cx="156429" cy="161030"/>
            <a:chOff x="5870452" y="3144979"/>
            <a:chExt cx="457716" cy="471178"/>
          </a:xfrm>
          <a:solidFill>
            <a:schemeClr val="tx1"/>
          </a:solidFill>
        </p:grpSpPr>
        <p:sp>
          <p:nvSpPr>
            <p:cNvPr id="2629" name="Freeform: Shape 2628">
              <a:extLst>
                <a:ext uri="{FF2B5EF4-FFF2-40B4-BE49-F238E27FC236}">
                  <a16:creationId xmlns:a16="http://schemas.microsoft.com/office/drawing/2014/main" id="{20A7EAA7-66EF-41A1-B143-A72FAF14FD7F}"/>
                </a:ext>
              </a:extLst>
            </p:cNvPr>
            <p:cNvSpPr/>
            <p:nvPr/>
          </p:nvSpPr>
          <p:spPr>
            <a:xfrm>
              <a:off x="5957957" y="3144979"/>
              <a:ext cx="201934" cy="201933"/>
            </a:xfrm>
            <a:custGeom>
              <a:avLst/>
              <a:gdLst>
                <a:gd name="connsiteX0" fmla="*/ 100967 w 201933"/>
                <a:gd name="connsiteY0" fmla="*/ 201933 h 201933"/>
                <a:gd name="connsiteX1" fmla="*/ 0 w 201933"/>
                <a:gd name="connsiteY1" fmla="*/ 100967 h 201933"/>
                <a:gd name="connsiteX2" fmla="*/ 100967 w 201933"/>
                <a:gd name="connsiteY2" fmla="*/ 0 h 201933"/>
                <a:gd name="connsiteX3" fmla="*/ 201934 w 201933"/>
                <a:gd name="connsiteY3" fmla="*/ 100967 h 201933"/>
                <a:gd name="connsiteX4" fmla="*/ 100967 w 201933"/>
                <a:gd name="connsiteY4" fmla="*/ 201933 h 201933"/>
                <a:gd name="connsiteX5" fmla="*/ 100967 w 201933"/>
                <a:gd name="connsiteY5" fmla="*/ 13462 h 201933"/>
                <a:gd name="connsiteX6" fmla="*/ 13462 w 201933"/>
                <a:gd name="connsiteY6" fmla="*/ 100967 h 201933"/>
                <a:gd name="connsiteX7" fmla="*/ 100967 w 201933"/>
                <a:gd name="connsiteY7" fmla="*/ 188471 h 201933"/>
                <a:gd name="connsiteX8" fmla="*/ 188471 w 201933"/>
                <a:gd name="connsiteY8" fmla="*/ 100967 h 201933"/>
                <a:gd name="connsiteX9" fmla="*/ 100967 w 201933"/>
                <a:gd name="connsiteY9" fmla="*/ 13462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933" h="201933">
                  <a:moveTo>
                    <a:pt x="100967" y="201933"/>
                  </a:moveTo>
                  <a:cubicBezTo>
                    <a:pt x="45772" y="201933"/>
                    <a:pt x="0" y="156162"/>
                    <a:pt x="0" y="100967"/>
                  </a:cubicBezTo>
                  <a:cubicBezTo>
                    <a:pt x="0" y="45772"/>
                    <a:pt x="45772" y="0"/>
                    <a:pt x="100967" y="0"/>
                  </a:cubicBezTo>
                  <a:cubicBezTo>
                    <a:pt x="156162" y="0"/>
                    <a:pt x="201934" y="45772"/>
                    <a:pt x="201934" y="100967"/>
                  </a:cubicBezTo>
                  <a:cubicBezTo>
                    <a:pt x="201934" y="156162"/>
                    <a:pt x="156162" y="201933"/>
                    <a:pt x="100967" y="201933"/>
                  </a:cubicBezTo>
                  <a:close/>
                  <a:moveTo>
                    <a:pt x="100967" y="13462"/>
                  </a:moveTo>
                  <a:cubicBezTo>
                    <a:pt x="52503" y="13462"/>
                    <a:pt x="13462" y="52503"/>
                    <a:pt x="13462" y="100967"/>
                  </a:cubicBezTo>
                  <a:cubicBezTo>
                    <a:pt x="13462" y="149431"/>
                    <a:pt x="52503" y="188471"/>
                    <a:pt x="100967" y="188471"/>
                  </a:cubicBezTo>
                  <a:cubicBezTo>
                    <a:pt x="149431" y="188471"/>
                    <a:pt x="188471" y="149431"/>
                    <a:pt x="188471" y="100967"/>
                  </a:cubicBezTo>
                  <a:cubicBezTo>
                    <a:pt x="188471" y="52503"/>
                    <a:pt x="149431" y="13462"/>
                    <a:pt x="100967" y="13462"/>
                  </a:cubicBezTo>
                  <a:close/>
                </a:path>
              </a:pathLst>
            </a:custGeom>
            <a:grpFill/>
            <a:ln w="13447" cap="flat">
              <a:noFill/>
              <a:prstDash val="solid"/>
              <a:miter/>
            </a:ln>
          </p:spPr>
          <p:txBody>
            <a:bodyPr rtlCol="0" anchor="ctr"/>
            <a:lstStyle/>
            <a:p>
              <a:endParaRPr lang="en-US"/>
            </a:p>
          </p:txBody>
        </p:sp>
        <p:sp>
          <p:nvSpPr>
            <p:cNvPr id="2630" name="Freeform: Shape 2629">
              <a:extLst>
                <a:ext uri="{FF2B5EF4-FFF2-40B4-BE49-F238E27FC236}">
                  <a16:creationId xmlns:a16="http://schemas.microsoft.com/office/drawing/2014/main" id="{3896C943-ED58-4412-BBDA-8EA0C1CFE163}"/>
                </a:ext>
              </a:extLst>
            </p:cNvPr>
            <p:cNvSpPr/>
            <p:nvPr/>
          </p:nvSpPr>
          <p:spPr>
            <a:xfrm>
              <a:off x="5870452" y="3368452"/>
              <a:ext cx="309631" cy="215396"/>
            </a:xfrm>
            <a:custGeom>
              <a:avLst/>
              <a:gdLst>
                <a:gd name="connsiteX0" fmla="*/ 249051 w 309631"/>
                <a:gd name="connsiteY0" fmla="*/ 220781 h 215395"/>
                <a:gd name="connsiteX1" fmla="*/ 41733 w 309631"/>
                <a:gd name="connsiteY1" fmla="*/ 220781 h 215395"/>
                <a:gd name="connsiteX2" fmla="*/ 0 w 309631"/>
                <a:gd name="connsiteY2" fmla="*/ 180394 h 215395"/>
                <a:gd name="connsiteX3" fmla="*/ 0 w 309631"/>
                <a:gd name="connsiteY3" fmla="*/ 121160 h 215395"/>
                <a:gd name="connsiteX4" fmla="*/ 121160 w 309631"/>
                <a:gd name="connsiteY4" fmla="*/ 0 h 215395"/>
                <a:gd name="connsiteX5" fmla="*/ 255782 w 309631"/>
                <a:gd name="connsiteY5" fmla="*/ 0 h 215395"/>
                <a:gd name="connsiteX6" fmla="*/ 316363 w 309631"/>
                <a:gd name="connsiteY6" fmla="*/ 16155 h 215395"/>
                <a:gd name="connsiteX7" fmla="*/ 319055 w 309631"/>
                <a:gd name="connsiteY7" fmla="*/ 25578 h 215395"/>
                <a:gd name="connsiteX8" fmla="*/ 309631 w 309631"/>
                <a:gd name="connsiteY8" fmla="*/ 28271 h 215395"/>
                <a:gd name="connsiteX9" fmla="*/ 255782 w 309631"/>
                <a:gd name="connsiteY9" fmla="*/ 13462 h 215395"/>
                <a:gd name="connsiteX10" fmla="*/ 121160 w 309631"/>
                <a:gd name="connsiteY10" fmla="*/ 13462 h 215395"/>
                <a:gd name="connsiteX11" fmla="*/ 13462 w 309631"/>
                <a:gd name="connsiteY11" fmla="*/ 121160 h 215395"/>
                <a:gd name="connsiteX12" fmla="*/ 13462 w 309631"/>
                <a:gd name="connsiteY12" fmla="*/ 180394 h 215395"/>
                <a:gd name="connsiteX13" fmla="*/ 41733 w 309631"/>
                <a:gd name="connsiteY13" fmla="*/ 207318 h 215395"/>
                <a:gd name="connsiteX14" fmla="*/ 249051 w 309631"/>
                <a:gd name="connsiteY14" fmla="*/ 207318 h 215395"/>
                <a:gd name="connsiteX15" fmla="*/ 255782 w 309631"/>
                <a:gd name="connsiteY15" fmla="*/ 214049 h 215395"/>
                <a:gd name="connsiteX16" fmla="*/ 249051 w 309631"/>
                <a:gd name="connsiteY16" fmla="*/ 220781 h 21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631" h="215395">
                  <a:moveTo>
                    <a:pt x="249051" y="220781"/>
                  </a:moveTo>
                  <a:lnTo>
                    <a:pt x="41733" y="220781"/>
                  </a:lnTo>
                  <a:cubicBezTo>
                    <a:pt x="18847" y="220781"/>
                    <a:pt x="0" y="203280"/>
                    <a:pt x="0" y="180394"/>
                  </a:cubicBezTo>
                  <a:lnTo>
                    <a:pt x="0" y="121160"/>
                  </a:lnTo>
                  <a:cubicBezTo>
                    <a:pt x="0" y="55195"/>
                    <a:pt x="53849" y="0"/>
                    <a:pt x="121160" y="0"/>
                  </a:cubicBezTo>
                  <a:lnTo>
                    <a:pt x="255782" y="0"/>
                  </a:lnTo>
                  <a:cubicBezTo>
                    <a:pt x="275976" y="0"/>
                    <a:pt x="297515" y="5385"/>
                    <a:pt x="316363" y="16155"/>
                  </a:cubicBezTo>
                  <a:cubicBezTo>
                    <a:pt x="319055" y="17501"/>
                    <a:pt x="320401" y="21540"/>
                    <a:pt x="319055" y="25578"/>
                  </a:cubicBezTo>
                  <a:cubicBezTo>
                    <a:pt x="317709" y="28271"/>
                    <a:pt x="313670" y="29617"/>
                    <a:pt x="309631" y="28271"/>
                  </a:cubicBezTo>
                  <a:cubicBezTo>
                    <a:pt x="292131" y="18847"/>
                    <a:pt x="274630" y="13462"/>
                    <a:pt x="255782" y="13462"/>
                  </a:cubicBezTo>
                  <a:lnTo>
                    <a:pt x="121160" y="13462"/>
                  </a:lnTo>
                  <a:cubicBezTo>
                    <a:pt x="61926" y="13462"/>
                    <a:pt x="13462" y="61926"/>
                    <a:pt x="13462" y="121160"/>
                  </a:cubicBezTo>
                  <a:lnTo>
                    <a:pt x="13462" y="180394"/>
                  </a:lnTo>
                  <a:cubicBezTo>
                    <a:pt x="13462" y="195202"/>
                    <a:pt x="25578" y="207318"/>
                    <a:pt x="41733" y="207318"/>
                  </a:cubicBezTo>
                  <a:lnTo>
                    <a:pt x="249051" y="207318"/>
                  </a:lnTo>
                  <a:cubicBezTo>
                    <a:pt x="253090" y="207318"/>
                    <a:pt x="255782" y="210011"/>
                    <a:pt x="255782" y="214049"/>
                  </a:cubicBezTo>
                  <a:cubicBezTo>
                    <a:pt x="255782" y="218088"/>
                    <a:pt x="253090" y="220781"/>
                    <a:pt x="249051" y="220781"/>
                  </a:cubicBezTo>
                  <a:close/>
                </a:path>
              </a:pathLst>
            </a:custGeom>
            <a:grpFill/>
            <a:ln w="13447" cap="flat">
              <a:noFill/>
              <a:prstDash val="solid"/>
              <a:miter/>
            </a:ln>
          </p:spPr>
          <p:txBody>
            <a:bodyPr rtlCol="0" anchor="ctr"/>
            <a:lstStyle/>
            <a:p>
              <a:endParaRPr lang="en-US"/>
            </a:p>
          </p:txBody>
        </p:sp>
        <p:sp>
          <p:nvSpPr>
            <p:cNvPr id="2631" name="Freeform: Shape 2630">
              <a:extLst>
                <a:ext uri="{FF2B5EF4-FFF2-40B4-BE49-F238E27FC236}">
                  <a16:creationId xmlns:a16="http://schemas.microsoft.com/office/drawing/2014/main" id="{6FACE1B5-D57A-4CF2-9248-9D7F98986BA6}"/>
                </a:ext>
              </a:extLst>
            </p:cNvPr>
            <p:cNvSpPr/>
            <p:nvPr/>
          </p:nvSpPr>
          <p:spPr>
            <a:xfrm>
              <a:off x="6189507" y="3476150"/>
              <a:ext cx="67311" cy="67311"/>
            </a:xfrm>
            <a:custGeom>
              <a:avLst/>
              <a:gdLst>
                <a:gd name="connsiteX0" fmla="*/ 35002 w 67311"/>
                <a:gd name="connsiteY0" fmla="*/ 70004 h 67311"/>
                <a:gd name="connsiteX1" fmla="*/ 0 w 67311"/>
                <a:gd name="connsiteY1" fmla="*/ 35002 h 67311"/>
                <a:gd name="connsiteX2" fmla="*/ 35002 w 67311"/>
                <a:gd name="connsiteY2" fmla="*/ 0 h 67311"/>
                <a:gd name="connsiteX3" fmla="*/ 70004 w 67311"/>
                <a:gd name="connsiteY3" fmla="*/ 35002 h 67311"/>
                <a:gd name="connsiteX4" fmla="*/ 35002 w 67311"/>
                <a:gd name="connsiteY4" fmla="*/ 70004 h 67311"/>
                <a:gd name="connsiteX5" fmla="*/ 35002 w 67311"/>
                <a:gd name="connsiteY5" fmla="*/ 12116 h 67311"/>
                <a:gd name="connsiteX6" fmla="*/ 13462 w 67311"/>
                <a:gd name="connsiteY6" fmla="*/ 33656 h 67311"/>
                <a:gd name="connsiteX7" fmla="*/ 35002 w 67311"/>
                <a:gd name="connsiteY7" fmla="*/ 55195 h 67311"/>
                <a:gd name="connsiteX8" fmla="*/ 57888 w 67311"/>
                <a:gd name="connsiteY8" fmla="*/ 33656 h 67311"/>
                <a:gd name="connsiteX9" fmla="*/ 35002 w 67311"/>
                <a:gd name="connsiteY9" fmla="*/ 12116 h 6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11" h="67311">
                  <a:moveTo>
                    <a:pt x="35002" y="70004"/>
                  </a:moveTo>
                  <a:cubicBezTo>
                    <a:pt x="14808" y="70004"/>
                    <a:pt x="0" y="53849"/>
                    <a:pt x="0" y="35002"/>
                  </a:cubicBezTo>
                  <a:cubicBezTo>
                    <a:pt x="0" y="16155"/>
                    <a:pt x="16155" y="0"/>
                    <a:pt x="35002" y="0"/>
                  </a:cubicBezTo>
                  <a:cubicBezTo>
                    <a:pt x="55195" y="0"/>
                    <a:pt x="70004" y="16155"/>
                    <a:pt x="70004" y="35002"/>
                  </a:cubicBezTo>
                  <a:cubicBezTo>
                    <a:pt x="70004" y="53849"/>
                    <a:pt x="55195" y="70004"/>
                    <a:pt x="35002" y="70004"/>
                  </a:cubicBezTo>
                  <a:close/>
                  <a:moveTo>
                    <a:pt x="35002" y="12116"/>
                  </a:moveTo>
                  <a:cubicBezTo>
                    <a:pt x="22886" y="12116"/>
                    <a:pt x="13462" y="21540"/>
                    <a:pt x="13462" y="33656"/>
                  </a:cubicBezTo>
                  <a:cubicBezTo>
                    <a:pt x="13462" y="45772"/>
                    <a:pt x="22886" y="55195"/>
                    <a:pt x="35002" y="55195"/>
                  </a:cubicBezTo>
                  <a:cubicBezTo>
                    <a:pt x="47118" y="55195"/>
                    <a:pt x="57888" y="45772"/>
                    <a:pt x="57888" y="33656"/>
                  </a:cubicBezTo>
                  <a:cubicBezTo>
                    <a:pt x="57888" y="21540"/>
                    <a:pt x="47118" y="12116"/>
                    <a:pt x="35002" y="12116"/>
                  </a:cubicBezTo>
                  <a:close/>
                </a:path>
              </a:pathLst>
            </a:custGeom>
            <a:grpFill/>
            <a:ln w="13447" cap="flat">
              <a:noFill/>
              <a:prstDash val="solid"/>
              <a:miter/>
            </a:ln>
          </p:spPr>
          <p:txBody>
            <a:bodyPr rtlCol="0" anchor="ctr"/>
            <a:lstStyle/>
            <a:p>
              <a:endParaRPr lang="en-US"/>
            </a:p>
          </p:txBody>
        </p:sp>
        <p:sp>
          <p:nvSpPr>
            <p:cNvPr id="2632" name="Freeform: Shape 2631">
              <a:extLst>
                <a:ext uri="{FF2B5EF4-FFF2-40B4-BE49-F238E27FC236}">
                  <a16:creationId xmlns:a16="http://schemas.microsoft.com/office/drawing/2014/main" id="{6621F5E9-39A2-4157-ACCC-52D4EDE88431}"/>
                </a:ext>
              </a:extLst>
            </p:cNvPr>
            <p:cNvSpPr/>
            <p:nvPr/>
          </p:nvSpPr>
          <p:spPr>
            <a:xfrm>
              <a:off x="6118157" y="3403454"/>
              <a:ext cx="201934" cy="201933"/>
            </a:xfrm>
            <a:custGeom>
              <a:avLst/>
              <a:gdLst>
                <a:gd name="connsiteX0" fmla="*/ 117121 w 201933"/>
                <a:gd name="connsiteY0" fmla="*/ 214049 h 201933"/>
                <a:gd name="connsiteX1" fmla="*/ 96928 w 201933"/>
                <a:gd name="connsiteY1" fmla="*/ 214049 h 201933"/>
                <a:gd name="connsiteX2" fmla="*/ 90197 w 201933"/>
                <a:gd name="connsiteY2" fmla="*/ 210011 h 201933"/>
                <a:gd name="connsiteX3" fmla="*/ 82120 w 201933"/>
                <a:gd name="connsiteY3" fmla="*/ 185779 h 201933"/>
                <a:gd name="connsiteX4" fmla="*/ 67311 w 201933"/>
                <a:gd name="connsiteY4" fmla="*/ 181740 h 201933"/>
                <a:gd name="connsiteX5" fmla="*/ 41733 w 201933"/>
                <a:gd name="connsiteY5" fmla="*/ 191164 h 201933"/>
                <a:gd name="connsiteX6" fmla="*/ 35002 w 201933"/>
                <a:gd name="connsiteY6" fmla="*/ 189817 h 201933"/>
                <a:gd name="connsiteX7" fmla="*/ 24232 w 201933"/>
                <a:gd name="connsiteY7" fmla="*/ 179048 h 201933"/>
                <a:gd name="connsiteX8" fmla="*/ 22886 w 201933"/>
                <a:gd name="connsiteY8" fmla="*/ 172317 h 201933"/>
                <a:gd name="connsiteX9" fmla="*/ 32309 w 201933"/>
                <a:gd name="connsiteY9" fmla="*/ 146738 h 201933"/>
                <a:gd name="connsiteX10" fmla="*/ 28271 w 201933"/>
                <a:gd name="connsiteY10" fmla="*/ 131930 h 201933"/>
                <a:gd name="connsiteX11" fmla="*/ 4039 w 201933"/>
                <a:gd name="connsiteY11" fmla="*/ 123852 h 201933"/>
                <a:gd name="connsiteX12" fmla="*/ 0 w 201933"/>
                <a:gd name="connsiteY12" fmla="*/ 117121 h 201933"/>
                <a:gd name="connsiteX13" fmla="*/ 0 w 201933"/>
                <a:gd name="connsiteY13" fmla="*/ 96928 h 201933"/>
                <a:gd name="connsiteX14" fmla="*/ 4039 w 201933"/>
                <a:gd name="connsiteY14" fmla="*/ 90197 h 201933"/>
                <a:gd name="connsiteX15" fmla="*/ 28271 w 201933"/>
                <a:gd name="connsiteY15" fmla="*/ 82120 h 201933"/>
                <a:gd name="connsiteX16" fmla="*/ 32309 w 201933"/>
                <a:gd name="connsiteY16" fmla="*/ 67311 h 201933"/>
                <a:gd name="connsiteX17" fmla="*/ 22886 w 201933"/>
                <a:gd name="connsiteY17" fmla="*/ 41733 h 201933"/>
                <a:gd name="connsiteX18" fmla="*/ 24232 w 201933"/>
                <a:gd name="connsiteY18" fmla="*/ 35002 h 201933"/>
                <a:gd name="connsiteX19" fmla="*/ 35002 w 201933"/>
                <a:gd name="connsiteY19" fmla="*/ 24232 h 201933"/>
                <a:gd name="connsiteX20" fmla="*/ 41733 w 201933"/>
                <a:gd name="connsiteY20" fmla="*/ 22886 h 201933"/>
                <a:gd name="connsiteX21" fmla="*/ 67311 w 201933"/>
                <a:gd name="connsiteY21" fmla="*/ 32309 h 201933"/>
                <a:gd name="connsiteX22" fmla="*/ 82120 w 201933"/>
                <a:gd name="connsiteY22" fmla="*/ 28271 h 201933"/>
                <a:gd name="connsiteX23" fmla="*/ 90197 w 201933"/>
                <a:gd name="connsiteY23" fmla="*/ 4039 h 201933"/>
                <a:gd name="connsiteX24" fmla="*/ 96928 w 201933"/>
                <a:gd name="connsiteY24" fmla="*/ 0 h 201933"/>
                <a:gd name="connsiteX25" fmla="*/ 117121 w 201933"/>
                <a:gd name="connsiteY25" fmla="*/ 0 h 201933"/>
                <a:gd name="connsiteX26" fmla="*/ 123853 w 201933"/>
                <a:gd name="connsiteY26" fmla="*/ 4039 h 201933"/>
                <a:gd name="connsiteX27" fmla="*/ 131930 w 201933"/>
                <a:gd name="connsiteY27" fmla="*/ 28271 h 201933"/>
                <a:gd name="connsiteX28" fmla="*/ 146738 w 201933"/>
                <a:gd name="connsiteY28" fmla="*/ 32309 h 201933"/>
                <a:gd name="connsiteX29" fmla="*/ 172317 w 201933"/>
                <a:gd name="connsiteY29" fmla="*/ 22886 h 201933"/>
                <a:gd name="connsiteX30" fmla="*/ 179048 w 201933"/>
                <a:gd name="connsiteY30" fmla="*/ 24232 h 201933"/>
                <a:gd name="connsiteX31" fmla="*/ 189818 w 201933"/>
                <a:gd name="connsiteY31" fmla="*/ 35002 h 201933"/>
                <a:gd name="connsiteX32" fmla="*/ 191164 w 201933"/>
                <a:gd name="connsiteY32" fmla="*/ 41733 h 201933"/>
                <a:gd name="connsiteX33" fmla="*/ 181740 w 201933"/>
                <a:gd name="connsiteY33" fmla="*/ 67311 h 201933"/>
                <a:gd name="connsiteX34" fmla="*/ 185779 w 201933"/>
                <a:gd name="connsiteY34" fmla="*/ 82120 h 201933"/>
                <a:gd name="connsiteX35" fmla="*/ 210011 w 201933"/>
                <a:gd name="connsiteY35" fmla="*/ 90197 h 201933"/>
                <a:gd name="connsiteX36" fmla="*/ 214050 w 201933"/>
                <a:gd name="connsiteY36" fmla="*/ 96928 h 201933"/>
                <a:gd name="connsiteX37" fmla="*/ 214050 w 201933"/>
                <a:gd name="connsiteY37" fmla="*/ 117121 h 201933"/>
                <a:gd name="connsiteX38" fmla="*/ 210011 w 201933"/>
                <a:gd name="connsiteY38" fmla="*/ 123852 h 201933"/>
                <a:gd name="connsiteX39" fmla="*/ 185779 w 201933"/>
                <a:gd name="connsiteY39" fmla="*/ 131930 h 201933"/>
                <a:gd name="connsiteX40" fmla="*/ 180394 w 201933"/>
                <a:gd name="connsiteY40" fmla="*/ 145392 h 201933"/>
                <a:gd name="connsiteX41" fmla="*/ 189818 w 201933"/>
                <a:gd name="connsiteY41" fmla="*/ 170970 h 201933"/>
                <a:gd name="connsiteX42" fmla="*/ 188471 w 201933"/>
                <a:gd name="connsiteY42" fmla="*/ 177701 h 201933"/>
                <a:gd name="connsiteX43" fmla="*/ 177702 w 201933"/>
                <a:gd name="connsiteY43" fmla="*/ 188471 h 201933"/>
                <a:gd name="connsiteX44" fmla="*/ 170970 w 201933"/>
                <a:gd name="connsiteY44" fmla="*/ 189817 h 201933"/>
                <a:gd name="connsiteX45" fmla="*/ 145392 w 201933"/>
                <a:gd name="connsiteY45" fmla="*/ 180394 h 201933"/>
                <a:gd name="connsiteX46" fmla="*/ 131930 w 201933"/>
                <a:gd name="connsiteY46" fmla="*/ 185779 h 201933"/>
                <a:gd name="connsiteX47" fmla="*/ 123853 w 201933"/>
                <a:gd name="connsiteY47" fmla="*/ 210011 h 201933"/>
                <a:gd name="connsiteX48" fmla="*/ 117121 w 201933"/>
                <a:gd name="connsiteY48" fmla="*/ 214049 h 201933"/>
                <a:gd name="connsiteX49" fmla="*/ 102313 w 201933"/>
                <a:gd name="connsiteY49" fmla="*/ 200587 h 201933"/>
                <a:gd name="connsiteX50" fmla="*/ 113083 w 201933"/>
                <a:gd name="connsiteY50" fmla="*/ 200587 h 201933"/>
                <a:gd name="connsiteX51" fmla="*/ 121160 w 201933"/>
                <a:gd name="connsiteY51" fmla="*/ 177701 h 201933"/>
                <a:gd name="connsiteX52" fmla="*/ 125199 w 201933"/>
                <a:gd name="connsiteY52" fmla="*/ 173663 h 201933"/>
                <a:gd name="connsiteX53" fmla="*/ 145392 w 201933"/>
                <a:gd name="connsiteY53" fmla="*/ 166932 h 201933"/>
                <a:gd name="connsiteX54" fmla="*/ 149431 w 201933"/>
                <a:gd name="connsiteY54" fmla="*/ 166932 h 201933"/>
                <a:gd name="connsiteX55" fmla="*/ 173663 w 201933"/>
                <a:gd name="connsiteY55" fmla="*/ 176355 h 201933"/>
                <a:gd name="connsiteX56" fmla="*/ 177702 w 201933"/>
                <a:gd name="connsiteY56" fmla="*/ 172317 h 201933"/>
                <a:gd name="connsiteX57" fmla="*/ 168278 w 201933"/>
                <a:gd name="connsiteY57" fmla="*/ 148085 h 201933"/>
                <a:gd name="connsiteX58" fmla="*/ 168278 w 201933"/>
                <a:gd name="connsiteY58" fmla="*/ 144046 h 201933"/>
                <a:gd name="connsiteX59" fmla="*/ 175009 w 201933"/>
                <a:gd name="connsiteY59" fmla="*/ 123852 h 201933"/>
                <a:gd name="connsiteX60" fmla="*/ 179048 w 201933"/>
                <a:gd name="connsiteY60" fmla="*/ 119814 h 201933"/>
                <a:gd name="connsiteX61" fmla="*/ 201934 w 201933"/>
                <a:gd name="connsiteY61" fmla="*/ 111736 h 201933"/>
                <a:gd name="connsiteX62" fmla="*/ 201934 w 201933"/>
                <a:gd name="connsiteY62" fmla="*/ 100967 h 201933"/>
                <a:gd name="connsiteX63" fmla="*/ 179048 w 201933"/>
                <a:gd name="connsiteY63" fmla="*/ 92889 h 201933"/>
                <a:gd name="connsiteX64" fmla="*/ 175009 w 201933"/>
                <a:gd name="connsiteY64" fmla="*/ 88851 h 201933"/>
                <a:gd name="connsiteX65" fmla="*/ 168278 w 201933"/>
                <a:gd name="connsiteY65" fmla="*/ 68657 h 201933"/>
                <a:gd name="connsiteX66" fmla="*/ 168278 w 201933"/>
                <a:gd name="connsiteY66" fmla="*/ 64619 h 201933"/>
                <a:gd name="connsiteX67" fmla="*/ 177702 w 201933"/>
                <a:gd name="connsiteY67" fmla="*/ 40387 h 201933"/>
                <a:gd name="connsiteX68" fmla="*/ 172317 w 201933"/>
                <a:gd name="connsiteY68" fmla="*/ 37694 h 201933"/>
                <a:gd name="connsiteX69" fmla="*/ 148085 w 201933"/>
                <a:gd name="connsiteY69" fmla="*/ 47118 h 201933"/>
                <a:gd name="connsiteX70" fmla="*/ 144046 w 201933"/>
                <a:gd name="connsiteY70" fmla="*/ 47118 h 201933"/>
                <a:gd name="connsiteX71" fmla="*/ 123853 w 201933"/>
                <a:gd name="connsiteY71" fmla="*/ 40387 h 201933"/>
                <a:gd name="connsiteX72" fmla="*/ 119814 w 201933"/>
                <a:gd name="connsiteY72" fmla="*/ 36348 h 201933"/>
                <a:gd name="connsiteX73" fmla="*/ 111737 w 201933"/>
                <a:gd name="connsiteY73" fmla="*/ 13462 h 201933"/>
                <a:gd name="connsiteX74" fmla="*/ 102313 w 201933"/>
                <a:gd name="connsiteY74" fmla="*/ 13462 h 201933"/>
                <a:gd name="connsiteX75" fmla="*/ 94236 w 201933"/>
                <a:gd name="connsiteY75" fmla="*/ 36348 h 201933"/>
                <a:gd name="connsiteX76" fmla="*/ 90197 w 201933"/>
                <a:gd name="connsiteY76" fmla="*/ 40387 h 201933"/>
                <a:gd name="connsiteX77" fmla="*/ 70004 w 201933"/>
                <a:gd name="connsiteY77" fmla="*/ 47118 h 201933"/>
                <a:gd name="connsiteX78" fmla="*/ 65965 w 201933"/>
                <a:gd name="connsiteY78" fmla="*/ 47118 h 201933"/>
                <a:gd name="connsiteX79" fmla="*/ 41733 w 201933"/>
                <a:gd name="connsiteY79" fmla="*/ 37694 h 201933"/>
                <a:gd name="connsiteX80" fmla="*/ 37694 w 201933"/>
                <a:gd name="connsiteY80" fmla="*/ 41733 h 201933"/>
                <a:gd name="connsiteX81" fmla="*/ 47118 w 201933"/>
                <a:gd name="connsiteY81" fmla="*/ 65965 h 201933"/>
                <a:gd name="connsiteX82" fmla="*/ 47118 w 201933"/>
                <a:gd name="connsiteY82" fmla="*/ 70004 h 201933"/>
                <a:gd name="connsiteX83" fmla="*/ 40387 w 201933"/>
                <a:gd name="connsiteY83" fmla="*/ 90197 h 201933"/>
                <a:gd name="connsiteX84" fmla="*/ 36348 w 201933"/>
                <a:gd name="connsiteY84" fmla="*/ 94236 h 201933"/>
                <a:gd name="connsiteX85" fmla="*/ 13462 w 201933"/>
                <a:gd name="connsiteY85" fmla="*/ 102313 h 201933"/>
                <a:gd name="connsiteX86" fmla="*/ 13462 w 201933"/>
                <a:gd name="connsiteY86" fmla="*/ 113083 h 201933"/>
                <a:gd name="connsiteX87" fmla="*/ 36348 w 201933"/>
                <a:gd name="connsiteY87" fmla="*/ 121160 h 201933"/>
                <a:gd name="connsiteX88" fmla="*/ 40387 w 201933"/>
                <a:gd name="connsiteY88" fmla="*/ 125199 h 201933"/>
                <a:gd name="connsiteX89" fmla="*/ 47118 w 201933"/>
                <a:gd name="connsiteY89" fmla="*/ 145392 h 201933"/>
                <a:gd name="connsiteX90" fmla="*/ 47118 w 201933"/>
                <a:gd name="connsiteY90" fmla="*/ 149431 h 201933"/>
                <a:gd name="connsiteX91" fmla="*/ 37694 w 201933"/>
                <a:gd name="connsiteY91" fmla="*/ 172317 h 201933"/>
                <a:gd name="connsiteX92" fmla="*/ 41733 w 201933"/>
                <a:gd name="connsiteY92" fmla="*/ 176355 h 201933"/>
                <a:gd name="connsiteX93" fmla="*/ 65965 w 201933"/>
                <a:gd name="connsiteY93" fmla="*/ 166932 h 201933"/>
                <a:gd name="connsiteX94" fmla="*/ 70004 w 201933"/>
                <a:gd name="connsiteY94" fmla="*/ 166932 h 201933"/>
                <a:gd name="connsiteX95" fmla="*/ 90197 w 201933"/>
                <a:gd name="connsiteY95" fmla="*/ 173663 h 201933"/>
                <a:gd name="connsiteX96" fmla="*/ 94236 w 201933"/>
                <a:gd name="connsiteY96" fmla="*/ 177701 h 201933"/>
                <a:gd name="connsiteX97" fmla="*/ 102313 w 201933"/>
                <a:gd name="connsiteY97" fmla="*/ 200587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1933" h="201933">
                  <a:moveTo>
                    <a:pt x="117121" y="214049"/>
                  </a:moveTo>
                  <a:lnTo>
                    <a:pt x="96928" y="214049"/>
                  </a:lnTo>
                  <a:cubicBezTo>
                    <a:pt x="94236" y="214049"/>
                    <a:pt x="91543" y="212703"/>
                    <a:pt x="90197" y="210011"/>
                  </a:cubicBezTo>
                  <a:lnTo>
                    <a:pt x="82120" y="185779"/>
                  </a:lnTo>
                  <a:lnTo>
                    <a:pt x="67311" y="181740"/>
                  </a:lnTo>
                  <a:lnTo>
                    <a:pt x="41733" y="191164"/>
                  </a:lnTo>
                  <a:cubicBezTo>
                    <a:pt x="39040" y="192510"/>
                    <a:pt x="36348" y="191164"/>
                    <a:pt x="35002" y="189817"/>
                  </a:cubicBezTo>
                  <a:lnTo>
                    <a:pt x="24232" y="179048"/>
                  </a:lnTo>
                  <a:cubicBezTo>
                    <a:pt x="22886" y="177701"/>
                    <a:pt x="21540" y="175009"/>
                    <a:pt x="22886" y="172317"/>
                  </a:cubicBezTo>
                  <a:lnTo>
                    <a:pt x="32309" y="146738"/>
                  </a:lnTo>
                  <a:lnTo>
                    <a:pt x="28271" y="131930"/>
                  </a:lnTo>
                  <a:lnTo>
                    <a:pt x="4039" y="123852"/>
                  </a:lnTo>
                  <a:cubicBezTo>
                    <a:pt x="1346" y="122506"/>
                    <a:pt x="0" y="119814"/>
                    <a:pt x="0" y="117121"/>
                  </a:cubicBezTo>
                  <a:lnTo>
                    <a:pt x="0" y="96928"/>
                  </a:lnTo>
                  <a:cubicBezTo>
                    <a:pt x="0" y="94236"/>
                    <a:pt x="1346" y="91543"/>
                    <a:pt x="4039" y="90197"/>
                  </a:cubicBezTo>
                  <a:lnTo>
                    <a:pt x="28271" y="82120"/>
                  </a:lnTo>
                  <a:lnTo>
                    <a:pt x="32309" y="67311"/>
                  </a:lnTo>
                  <a:lnTo>
                    <a:pt x="22886" y="41733"/>
                  </a:lnTo>
                  <a:cubicBezTo>
                    <a:pt x="21540" y="39040"/>
                    <a:pt x="22886" y="36348"/>
                    <a:pt x="24232" y="35002"/>
                  </a:cubicBezTo>
                  <a:lnTo>
                    <a:pt x="35002" y="24232"/>
                  </a:lnTo>
                  <a:cubicBezTo>
                    <a:pt x="36348" y="22886"/>
                    <a:pt x="39040" y="21540"/>
                    <a:pt x="41733" y="22886"/>
                  </a:cubicBezTo>
                  <a:lnTo>
                    <a:pt x="67311" y="32309"/>
                  </a:lnTo>
                  <a:lnTo>
                    <a:pt x="82120" y="28271"/>
                  </a:lnTo>
                  <a:lnTo>
                    <a:pt x="90197" y="4039"/>
                  </a:lnTo>
                  <a:cubicBezTo>
                    <a:pt x="91543" y="1346"/>
                    <a:pt x="94236" y="0"/>
                    <a:pt x="96928" y="0"/>
                  </a:cubicBezTo>
                  <a:lnTo>
                    <a:pt x="117121" y="0"/>
                  </a:lnTo>
                  <a:cubicBezTo>
                    <a:pt x="119814" y="0"/>
                    <a:pt x="122506" y="1346"/>
                    <a:pt x="123853" y="4039"/>
                  </a:cubicBezTo>
                  <a:lnTo>
                    <a:pt x="131930" y="28271"/>
                  </a:lnTo>
                  <a:lnTo>
                    <a:pt x="146738" y="32309"/>
                  </a:lnTo>
                  <a:lnTo>
                    <a:pt x="172317" y="22886"/>
                  </a:lnTo>
                  <a:cubicBezTo>
                    <a:pt x="175009" y="21540"/>
                    <a:pt x="177702" y="22886"/>
                    <a:pt x="179048" y="24232"/>
                  </a:cubicBezTo>
                  <a:lnTo>
                    <a:pt x="189818" y="35002"/>
                  </a:lnTo>
                  <a:cubicBezTo>
                    <a:pt x="191164" y="36348"/>
                    <a:pt x="192510" y="39040"/>
                    <a:pt x="191164" y="41733"/>
                  </a:cubicBezTo>
                  <a:lnTo>
                    <a:pt x="181740" y="67311"/>
                  </a:lnTo>
                  <a:lnTo>
                    <a:pt x="185779" y="82120"/>
                  </a:lnTo>
                  <a:lnTo>
                    <a:pt x="210011" y="90197"/>
                  </a:lnTo>
                  <a:cubicBezTo>
                    <a:pt x="212703" y="91543"/>
                    <a:pt x="214050" y="94236"/>
                    <a:pt x="214050" y="96928"/>
                  </a:cubicBezTo>
                  <a:lnTo>
                    <a:pt x="214050" y="117121"/>
                  </a:lnTo>
                  <a:cubicBezTo>
                    <a:pt x="214050" y="119814"/>
                    <a:pt x="212703" y="122506"/>
                    <a:pt x="210011" y="123852"/>
                  </a:cubicBezTo>
                  <a:lnTo>
                    <a:pt x="185779" y="131930"/>
                  </a:lnTo>
                  <a:lnTo>
                    <a:pt x="180394" y="145392"/>
                  </a:lnTo>
                  <a:lnTo>
                    <a:pt x="189818" y="170970"/>
                  </a:lnTo>
                  <a:cubicBezTo>
                    <a:pt x="191164" y="173663"/>
                    <a:pt x="189818" y="176355"/>
                    <a:pt x="188471" y="177701"/>
                  </a:cubicBezTo>
                  <a:lnTo>
                    <a:pt x="177702" y="188471"/>
                  </a:lnTo>
                  <a:cubicBezTo>
                    <a:pt x="176355" y="189817"/>
                    <a:pt x="173663" y="191164"/>
                    <a:pt x="170970" y="189817"/>
                  </a:cubicBezTo>
                  <a:lnTo>
                    <a:pt x="145392" y="180394"/>
                  </a:lnTo>
                  <a:lnTo>
                    <a:pt x="131930" y="185779"/>
                  </a:lnTo>
                  <a:lnTo>
                    <a:pt x="123853" y="210011"/>
                  </a:lnTo>
                  <a:cubicBezTo>
                    <a:pt x="122506" y="212703"/>
                    <a:pt x="119814" y="214049"/>
                    <a:pt x="117121" y="214049"/>
                  </a:cubicBezTo>
                  <a:close/>
                  <a:moveTo>
                    <a:pt x="102313" y="200587"/>
                  </a:moveTo>
                  <a:lnTo>
                    <a:pt x="113083" y="200587"/>
                  </a:lnTo>
                  <a:lnTo>
                    <a:pt x="121160" y="177701"/>
                  </a:lnTo>
                  <a:cubicBezTo>
                    <a:pt x="122506" y="176355"/>
                    <a:pt x="123853" y="173663"/>
                    <a:pt x="125199" y="173663"/>
                  </a:cubicBezTo>
                  <a:lnTo>
                    <a:pt x="145392" y="166932"/>
                  </a:lnTo>
                  <a:cubicBezTo>
                    <a:pt x="146738" y="166932"/>
                    <a:pt x="148085" y="166932"/>
                    <a:pt x="149431" y="166932"/>
                  </a:cubicBezTo>
                  <a:lnTo>
                    <a:pt x="173663" y="176355"/>
                  </a:lnTo>
                  <a:lnTo>
                    <a:pt x="177702" y="172317"/>
                  </a:lnTo>
                  <a:lnTo>
                    <a:pt x="168278" y="148085"/>
                  </a:lnTo>
                  <a:cubicBezTo>
                    <a:pt x="168278" y="146738"/>
                    <a:pt x="168278" y="145392"/>
                    <a:pt x="168278" y="144046"/>
                  </a:cubicBezTo>
                  <a:lnTo>
                    <a:pt x="175009" y="123852"/>
                  </a:lnTo>
                  <a:cubicBezTo>
                    <a:pt x="175009" y="121160"/>
                    <a:pt x="177702" y="119814"/>
                    <a:pt x="179048" y="119814"/>
                  </a:cubicBezTo>
                  <a:lnTo>
                    <a:pt x="201934" y="111736"/>
                  </a:lnTo>
                  <a:lnTo>
                    <a:pt x="201934" y="100967"/>
                  </a:lnTo>
                  <a:lnTo>
                    <a:pt x="179048" y="92889"/>
                  </a:lnTo>
                  <a:cubicBezTo>
                    <a:pt x="177702" y="91543"/>
                    <a:pt x="175009" y="90197"/>
                    <a:pt x="175009" y="88851"/>
                  </a:cubicBezTo>
                  <a:lnTo>
                    <a:pt x="168278" y="68657"/>
                  </a:lnTo>
                  <a:cubicBezTo>
                    <a:pt x="168278" y="67311"/>
                    <a:pt x="168278" y="65965"/>
                    <a:pt x="168278" y="64619"/>
                  </a:cubicBezTo>
                  <a:lnTo>
                    <a:pt x="177702" y="40387"/>
                  </a:lnTo>
                  <a:lnTo>
                    <a:pt x="172317" y="37694"/>
                  </a:lnTo>
                  <a:lnTo>
                    <a:pt x="148085" y="47118"/>
                  </a:lnTo>
                  <a:cubicBezTo>
                    <a:pt x="146738" y="47118"/>
                    <a:pt x="145392" y="47118"/>
                    <a:pt x="144046" y="47118"/>
                  </a:cubicBezTo>
                  <a:lnTo>
                    <a:pt x="123853" y="40387"/>
                  </a:lnTo>
                  <a:cubicBezTo>
                    <a:pt x="121160" y="40387"/>
                    <a:pt x="119814" y="37694"/>
                    <a:pt x="119814" y="36348"/>
                  </a:cubicBezTo>
                  <a:lnTo>
                    <a:pt x="111737" y="13462"/>
                  </a:lnTo>
                  <a:lnTo>
                    <a:pt x="102313" y="13462"/>
                  </a:lnTo>
                  <a:lnTo>
                    <a:pt x="94236" y="36348"/>
                  </a:lnTo>
                  <a:cubicBezTo>
                    <a:pt x="92889" y="37694"/>
                    <a:pt x="91543" y="40387"/>
                    <a:pt x="90197" y="40387"/>
                  </a:cubicBezTo>
                  <a:lnTo>
                    <a:pt x="70004" y="47118"/>
                  </a:lnTo>
                  <a:cubicBezTo>
                    <a:pt x="68657" y="47118"/>
                    <a:pt x="67311" y="47118"/>
                    <a:pt x="65965" y="47118"/>
                  </a:cubicBezTo>
                  <a:lnTo>
                    <a:pt x="41733" y="37694"/>
                  </a:lnTo>
                  <a:lnTo>
                    <a:pt x="37694" y="41733"/>
                  </a:lnTo>
                  <a:lnTo>
                    <a:pt x="47118" y="65965"/>
                  </a:lnTo>
                  <a:cubicBezTo>
                    <a:pt x="47118" y="67311"/>
                    <a:pt x="47118" y="68657"/>
                    <a:pt x="47118" y="70004"/>
                  </a:cubicBezTo>
                  <a:lnTo>
                    <a:pt x="40387" y="90197"/>
                  </a:lnTo>
                  <a:cubicBezTo>
                    <a:pt x="40387" y="92889"/>
                    <a:pt x="37694" y="94236"/>
                    <a:pt x="36348" y="94236"/>
                  </a:cubicBezTo>
                  <a:lnTo>
                    <a:pt x="13462" y="102313"/>
                  </a:lnTo>
                  <a:lnTo>
                    <a:pt x="13462" y="113083"/>
                  </a:lnTo>
                  <a:lnTo>
                    <a:pt x="36348" y="121160"/>
                  </a:lnTo>
                  <a:cubicBezTo>
                    <a:pt x="37694" y="122506"/>
                    <a:pt x="40387" y="123852"/>
                    <a:pt x="40387" y="125199"/>
                  </a:cubicBezTo>
                  <a:lnTo>
                    <a:pt x="47118" y="145392"/>
                  </a:lnTo>
                  <a:cubicBezTo>
                    <a:pt x="47118" y="146738"/>
                    <a:pt x="47118" y="148085"/>
                    <a:pt x="47118" y="149431"/>
                  </a:cubicBezTo>
                  <a:lnTo>
                    <a:pt x="37694" y="172317"/>
                  </a:lnTo>
                  <a:lnTo>
                    <a:pt x="41733" y="176355"/>
                  </a:lnTo>
                  <a:lnTo>
                    <a:pt x="65965" y="166932"/>
                  </a:lnTo>
                  <a:cubicBezTo>
                    <a:pt x="67311" y="166932"/>
                    <a:pt x="68657" y="166932"/>
                    <a:pt x="70004" y="166932"/>
                  </a:cubicBezTo>
                  <a:lnTo>
                    <a:pt x="90197" y="173663"/>
                  </a:lnTo>
                  <a:cubicBezTo>
                    <a:pt x="92889" y="173663"/>
                    <a:pt x="94236" y="176355"/>
                    <a:pt x="94236" y="177701"/>
                  </a:cubicBezTo>
                  <a:lnTo>
                    <a:pt x="102313" y="200587"/>
                  </a:lnTo>
                  <a:close/>
                </a:path>
              </a:pathLst>
            </a:custGeom>
            <a:grpFill/>
            <a:ln w="13447" cap="flat">
              <a:noFill/>
              <a:prstDash val="solid"/>
              <a:miter/>
            </a:ln>
          </p:spPr>
          <p:txBody>
            <a:bodyPr rtlCol="0" anchor="ctr"/>
            <a:lstStyle/>
            <a:p>
              <a:endParaRPr lang="en-US"/>
            </a:p>
          </p:txBody>
        </p:sp>
      </p:grpSp>
    </p:spTree>
    <p:extLst>
      <p:ext uri="{BB962C8B-B14F-4D97-AF65-F5344CB8AC3E}">
        <p14:creationId xmlns:p14="http://schemas.microsoft.com/office/powerpoint/2010/main" val="22850032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B0A26E-7520-1BA7-6A0A-EC469B974F59}"/>
              </a:ext>
            </a:extLst>
          </p:cNvPr>
          <p:cNvSpPr>
            <a:spLocks noGrp="1"/>
          </p:cNvSpPr>
          <p:nvPr>
            <p:ph type="title"/>
          </p:nvPr>
        </p:nvSpPr>
        <p:spPr/>
        <p:txBody>
          <a:bodyPr/>
          <a:lstStyle/>
          <a:p>
            <a:r>
              <a:rPr lang="en-US"/>
              <a:t>Icons examples</a:t>
            </a:r>
          </a:p>
        </p:txBody>
      </p:sp>
      <p:grpSp>
        <p:nvGrpSpPr>
          <p:cNvPr id="3612" name="Group 3611">
            <a:extLst>
              <a:ext uri="{FF2B5EF4-FFF2-40B4-BE49-F238E27FC236}">
                <a16:creationId xmlns:a16="http://schemas.microsoft.com/office/drawing/2014/main" id="{9D5836E3-0839-4A22-9B62-4E84FFC9A763}"/>
              </a:ext>
              <a:ext uri="{C183D7F6-B498-43B3-948B-1728B52AA6E4}">
                <adec:decorative xmlns:adec="http://schemas.microsoft.com/office/drawing/2017/decorative" val="1"/>
              </a:ext>
            </a:extLst>
          </p:cNvPr>
          <p:cNvGrpSpPr>
            <a:grpSpLocks noChangeAspect="1"/>
          </p:cNvGrpSpPr>
          <p:nvPr/>
        </p:nvGrpSpPr>
        <p:grpSpPr>
          <a:xfrm>
            <a:off x="1383167" y="2056879"/>
            <a:ext cx="123471" cy="151482"/>
            <a:chOff x="7284793" y="4903415"/>
            <a:chExt cx="123471" cy="151482"/>
          </a:xfrm>
        </p:grpSpPr>
        <p:sp>
          <p:nvSpPr>
            <p:cNvPr id="3613" name="Freeform: Shape 3612">
              <a:extLst>
                <a:ext uri="{FF2B5EF4-FFF2-40B4-BE49-F238E27FC236}">
                  <a16:creationId xmlns:a16="http://schemas.microsoft.com/office/drawing/2014/main" id="{60E1C38A-DB8A-48E3-8228-D0B17EB6DF33}"/>
                </a:ext>
              </a:extLst>
            </p:cNvPr>
            <p:cNvSpPr/>
            <p:nvPr/>
          </p:nvSpPr>
          <p:spPr>
            <a:xfrm>
              <a:off x="7376892" y="4903415"/>
              <a:ext cx="31372" cy="31372"/>
            </a:xfrm>
            <a:custGeom>
              <a:avLst/>
              <a:gdLst>
                <a:gd name="connsiteX0" fmla="*/ 15686 w 31371"/>
                <a:gd name="connsiteY0" fmla="*/ 32268 h 31371"/>
                <a:gd name="connsiteX1" fmla="*/ 31372 w 31371"/>
                <a:gd name="connsiteY1" fmla="*/ 16134 h 31371"/>
                <a:gd name="connsiteX2" fmla="*/ 15686 w 31371"/>
                <a:gd name="connsiteY2" fmla="*/ 0 h 31371"/>
                <a:gd name="connsiteX3" fmla="*/ 0 w 31371"/>
                <a:gd name="connsiteY3" fmla="*/ 16134 h 31371"/>
                <a:gd name="connsiteX4" fmla="*/ 15686 w 31371"/>
                <a:gd name="connsiteY4" fmla="*/ 32268 h 31371"/>
                <a:gd name="connsiteX5" fmla="*/ 15686 w 31371"/>
                <a:gd name="connsiteY5" fmla="*/ 4930 h 31371"/>
                <a:gd name="connsiteX6" fmla="*/ 26890 w 31371"/>
                <a:gd name="connsiteY6" fmla="*/ 16582 h 31371"/>
                <a:gd name="connsiteX7" fmla="*/ 15686 w 31371"/>
                <a:gd name="connsiteY7" fmla="*/ 28235 h 31371"/>
                <a:gd name="connsiteX8" fmla="*/ 4482 w 31371"/>
                <a:gd name="connsiteY8" fmla="*/ 16582 h 31371"/>
                <a:gd name="connsiteX9" fmla="*/ 15686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2268"/>
                  </a:moveTo>
                  <a:cubicBezTo>
                    <a:pt x="24201" y="32268"/>
                    <a:pt x="31372" y="25097"/>
                    <a:pt x="31372" y="16134"/>
                  </a:cubicBezTo>
                  <a:cubicBezTo>
                    <a:pt x="31372" y="7171"/>
                    <a:pt x="24201" y="0"/>
                    <a:pt x="15686" y="0"/>
                  </a:cubicBezTo>
                  <a:cubicBezTo>
                    <a:pt x="7171" y="0"/>
                    <a:pt x="0" y="7171"/>
                    <a:pt x="0" y="16134"/>
                  </a:cubicBezTo>
                  <a:cubicBezTo>
                    <a:pt x="0" y="25097"/>
                    <a:pt x="7171" y="32268"/>
                    <a:pt x="15686" y="32268"/>
                  </a:cubicBezTo>
                  <a:close/>
                  <a:moveTo>
                    <a:pt x="15686" y="4930"/>
                  </a:moveTo>
                  <a:cubicBezTo>
                    <a:pt x="21960" y="4930"/>
                    <a:pt x="26890" y="10308"/>
                    <a:pt x="26890" y="16582"/>
                  </a:cubicBezTo>
                  <a:cubicBezTo>
                    <a:pt x="26890" y="22857"/>
                    <a:pt x="21960" y="28235"/>
                    <a:pt x="15686" y="28235"/>
                  </a:cubicBezTo>
                  <a:cubicBezTo>
                    <a:pt x="9412" y="28235"/>
                    <a:pt x="4482" y="22857"/>
                    <a:pt x="4482" y="16582"/>
                  </a:cubicBezTo>
                  <a:cubicBezTo>
                    <a:pt x="4482" y="10308"/>
                    <a:pt x="9412" y="4930"/>
                    <a:pt x="15686" y="4930"/>
                  </a:cubicBezTo>
                  <a:close/>
                </a:path>
              </a:pathLst>
            </a:custGeom>
            <a:solidFill>
              <a:srgbClr val="231F20"/>
            </a:solidFill>
            <a:ln w="4477" cap="flat">
              <a:noFill/>
              <a:prstDash val="solid"/>
              <a:miter/>
            </a:ln>
          </p:spPr>
          <p:txBody>
            <a:bodyPr rtlCol="0" anchor="ctr"/>
            <a:lstStyle/>
            <a:p>
              <a:endParaRPr lang="en-US"/>
            </a:p>
          </p:txBody>
        </p:sp>
        <p:sp>
          <p:nvSpPr>
            <p:cNvPr id="3614" name="Freeform: Shape 3613">
              <a:extLst>
                <a:ext uri="{FF2B5EF4-FFF2-40B4-BE49-F238E27FC236}">
                  <a16:creationId xmlns:a16="http://schemas.microsoft.com/office/drawing/2014/main" id="{271BF79A-59EA-4248-AC8E-CEC5E0930DF8}"/>
                </a:ext>
              </a:extLst>
            </p:cNvPr>
            <p:cNvSpPr/>
            <p:nvPr/>
          </p:nvSpPr>
          <p:spPr>
            <a:xfrm>
              <a:off x="7295773" y="5023525"/>
              <a:ext cx="31372" cy="31372"/>
            </a:xfrm>
            <a:custGeom>
              <a:avLst/>
              <a:gdLst>
                <a:gd name="connsiteX0" fmla="*/ 15686 w 31371"/>
                <a:gd name="connsiteY0" fmla="*/ 0 h 31371"/>
                <a:gd name="connsiteX1" fmla="*/ 0 w 31371"/>
                <a:gd name="connsiteY1" fmla="*/ 16134 h 31371"/>
                <a:gd name="connsiteX2" fmla="*/ 15686 w 31371"/>
                <a:gd name="connsiteY2" fmla="*/ 32268 h 31371"/>
                <a:gd name="connsiteX3" fmla="*/ 31372 w 31371"/>
                <a:gd name="connsiteY3" fmla="*/ 16134 h 31371"/>
                <a:gd name="connsiteX4" fmla="*/ 15686 w 31371"/>
                <a:gd name="connsiteY4" fmla="*/ 0 h 31371"/>
                <a:gd name="connsiteX5" fmla="*/ 15686 w 31371"/>
                <a:gd name="connsiteY5" fmla="*/ 27338 h 31371"/>
                <a:gd name="connsiteX6" fmla="*/ 4482 w 31371"/>
                <a:gd name="connsiteY6" fmla="*/ 15686 h 31371"/>
                <a:gd name="connsiteX7" fmla="*/ 15686 w 31371"/>
                <a:gd name="connsiteY7" fmla="*/ 4034 h 31371"/>
                <a:gd name="connsiteX8" fmla="*/ 26890 w 31371"/>
                <a:gd name="connsiteY8" fmla="*/ 15686 h 31371"/>
                <a:gd name="connsiteX9" fmla="*/ 15686 w 31371"/>
                <a:gd name="connsiteY9" fmla="*/ 27338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0"/>
                  </a:moveTo>
                  <a:cubicBezTo>
                    <a:pt x="7171" y="0"/>
                    <a:pt x="0" y="7171"/>
                    <a:pt x="0" y="16134"/>
                  </a:cubicBezTo>
                  <a:cubicBezTo>
                    <a:pt x="0" y="25097"/>
                    <a:pt x="7171" y="32268"/>
                    <a:pt x="15686" y="32268"/>
                  </a:cubicBezTo>
                  <a:cubicBezTo>
                    <a:pt x="24201" y="32268"/>
                    <a:pt x="31372" y="25097"/>
                    <a:pt x="31372" y="16134"/>
                  </a:cubicBezTo>
                  <a:cubicBezTo>
                    <a:pt x="31372" y="7171"/>
                    <a:pt x="24649" y="0"/>
                    <a:pt x="15686" y="0"/>
                  </a:cubicBezTo>
                  <a:close/>
                  <a:moveTo>
                    <a:pt x="15686" y="27338"/>
                  </a:moveTo>
                  <a:cubicBezTo>
                    <a:pt x="9412" y="27338"/>
                    <a:pt x="4482" y="21960"/>
                    <a:pt x="4482" y="15686"/>
                  </a:cubicBezTo>
                  <a:cubicBezTo>
                    <a:pt x="4482" y="9411"/>
                    <a:pt x="9412" y="4034"/>
                    <a:pt x="15686" y="4034"/>
                  </a:cubicBezTo>
                  <a:cubicBezTo>
                    <a:pt x="21960" y="4034"/>
                    <a:pt x="26890" y="9411"/>
                    <a:pt x="26890" y="15686"/>
                  </a:cubicBezTo>
                  <a:cubicBezTo>
                    <a:pt x="26890" y="22409"/>
                    <a:pt x="21960" y="27338"/>
                    <a:pt x="15686" y="27338"/>
                  </a:cubicBezTo>
                  <a:close/>
                </a:path>
              </a:pathLst>
            </a:custGeom>
            <a:solidFill>
              <a:srgbClr val="231F20"/>
            </a:solidFill>
            <a:ln w="4477" cap="flat">
              <a:noFill/>
              <a:prstDash val="solid"/>
              <a:miter/>
            </a:ln>
          </p:spPr>
          <p:txBody>
            <a:bodyPr rtlCol="0" anchor="ctr"/>
            <a:lstStyle/>
            <a:p>
              <a:endParaRPr lang="en-US"/>
            </a:p>
          </p:txBody>
        </p:sp>
        <p:sp>
          <p:nvSpPr>
            <p:cNvPr id="3615" name="Freeform: Shape 3614">
              <a:extLst>
                <a:ext uri="{FF2B5EF4-FFF2-40B4-BE49-F238E27FC236}">
                  <a16:creationId xmlns:a16="http://schemas.microsoft.com/office/drawing/2014/main" id="{B364D055-5835-46DA-A06D-7D4D4ED118AB}"/>
                </a:ext>
              </a:extLst>
            </p:cNvPr>
            <p:cNvSpPr/>
            <p:nvPr/>
          </p:nvSpPr>
          <p:spPr>
            <a:xfrm>
              <a:off x="7375507" y="4936804"/>
              <a:ext cx="31372" cy="44817"/>
            </a:xfrm>
            <a:custGeom>
              <a:avLst/>
              <a:gdLst>
                <a:gd name="connsiteX0" fmla="*/ 34101 w 31371"/>
                <a:gd name="connsiteY0" fmla="*/ 15462 h 44817"/>
                <a:gd name="connsiteX1" fmla="*/ 19760 w 31371"/>
                <a:gd name="connsiteY1" fmla="*/ 672 h 44817"/>
                <a:gd name="connsiteX2" fmla="*/ 16623 w 31371"/>
                <a:gd name="connsiteY2" fmla="*/ 672 h 44817"/>
                <a:gd name="connsiteX3" fmla="*/ 13934 w 31371"/>
                <a:gd name="connsiteY3" fmla="*/ 3361 h 44817"/>
                <a:gd name="connsiteX4" fmla="*/ 13485 w 31371"/>
                <a:gd name="connsiteY4" fmla="*/ 3810 h 44817"/>
                <a:gd name="connsiteX5" fmla="*/ 2281 w 31371"/>
                <a:gd name="connsiteY5" fmla="*/ 15462 h 44817"/>
                <a:gd name="connsiteX6" fmla="*/ 2281 w 31371"/>
                <a:gd name="connsiteY6" fmla="*/ 18599 h 44817"/>
                <a:gd name="connsiteX7" fmla="*/ 5418 w 31371"/>
                <a:gd name="connsiteY7" fmla="*/ 18599 h 44817"/>
                <a:gd name="connsiteX8" fmla="*/ 15726 w 31371"/>
                <a:gd name="connsiteY8" fmla="*/ 7843 h 44817"/>
                <a:gd name="connsiteX9" fmla="*/ 937 w 31371"/>
                <a:gd name="connsiteY9" fmla="*/ 45041 h 44817"/>
                <a:gd name="connsiteX10" fmla="*/ 489 w 31371"/>
                <a:gd name="connsiteY10" fmla="*/ 48179 h 44817"/>
                <a:gd name="connsiteX11" fmla="*/ 2281 w 31371"/>
                <a:gd name="connsiteY11" fmla="*/ 49075 h 44817"/>
                <a:gd name="connsiteX12" fmla="*/ 3626 w 31371"/>
                <a:gd name="connsiteY12" fmla="*/ 48627 h 44817"/>
                <a:gd name="connsiteX13" fmla="*/ 20656 w 31371"/>
                <a:gd name="connsiteY13" fmla="*/ 7395 h 44817"/>
                <a:gd name="connsiteX14" fmla="*/ 31412 w 31371"/>
                <a:gd name="connsiteY14" fmla="*/ 18151 h 44817"/>
                <a:gd name="connsiteX15" fmla="*/ 33205 w 31371"/>
                <a:gd name="connsiteY15" fmla="*/ 19047 h 44817"/>
                <a:gd name="connsiteX16" fmla="*/ 34550 w 31371"/>
                <a:gd name="connsiteY16" fmla="*/ 18599 h 44817"/>
                <a:gd name="connsiteX17" fmla="*/ 34101 w 31371"/>
                <a:gd name="connsiteY17" fmla="*/ 1546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371" h="44817">
                  <a:moveTo>
                    <a:pt x="34101" y="15462"/>
                  </a:moveTo>
                  <a:lnTo>
                    <a:pt x="19760" y="672"/>
                  </a:lnTo>
                  <a:cubicBezTo>
                    <a:pt x="18864" y="-224"/>
                    <a:pt x="17519" y="-224"/>
                    <a:pt x="16623" y="672"/>
                  </a:cubicBezTo>
                  <a:lnTo>
                    <a:pt x="13934" y="3361"/>
                  </a:lnTo>
                  <a:cubicBezTo>
                    <a:pt x="13934" y="3361"/>
                    <a:pt x="13934" y="3361"/>
                    <a:pt x="13485" y="3810"/>
                  </a:cubicBezTo>
                  <a:lnTo>
                    <a:pt x="2281" y="15462"/>
                  </a:lnTo>
                  <a:cubicBezTo>
                    <a:pt x="1385" y="16358"/>
                    <a:pt x="1385" y="17703"/>
                    <a:pt x="2281" y="18599"/>
                  </a:cubicBezTo>
                  <a:cubicBezTo>
                    <a:pt x="3178" y="19496"/>
                    <a:pt x="4522" y="19496"/>
                    <a:pt x="5418" y="18599"/>
                  </a:cubicBezTo>
                  <a:lnTo>
                    <a:pt x="15726" y="7843"/>
                  </a:lnTo>
                  <a:cubicBezTo>
                    <a:pt x="15726" y="22633"/>
                    <a:pt x="13485" y="36974"/>
                    <a:pt x="937" y="45041"/>
                  </a:cubicBezTo>
                  <a:cubicBezTo>
                    <a:pt x="40" y="45489"/>
                    <a:pt x="-408" y="47282"/>
                    <a:pt x="489" y="48179"/>
                  </a:cubicBezTo>
                  <a:cubicBezTo>
                    <a:pt x="937" y="48627"/>
                    <a:pt x="1833" y="49075"/>
                    <a:pt x="2281" y="49075"/>
                  </a:cubicBezTo>
                  <a:cubicBezTo>
                    <a:pt x="2729" y="49075"/>
                    <a:pt x="3178" y="49075"/>
                    <a:pt x="3626" y="48627"/>
                  </a:cubicBezTo>
                  <a:cubicBezTo>
                    <a:pt x="17967" y="39215"/>
                    <a:pt x="20656" y="23529"/>
                    <a:pt x="20656" y="7395"/>
                  </a:cubicBezTo>
                  <a:lnTo>
                    <a:pt x="31412" y="18151"/>
                  </a:lnTo>
                  <a:cubicBezTo>
                    <a:pt x="31860" y="18599"/>
                    <a:pt x="32309" y="19047"/>
                    <a:pt x="33205" y="19047"/>
                  </a:cubicBezTo>
                  <a:cubicBezTo>
                    <a:pt x="33653" y="19047"/>
                    <a:pt x="34550" y="19047"/>
                    <a:pt x="34550" y="18599"/>
                  </a:cubicBezTo>
                  <a:cubicBezTo>
                    <a:pt x="34550" y="17703"/>
                    <a:pt x="34550" y="16358"/>
                    <a:pt x="34101" y="15462"/>
                  </a:cubicBezTo>
                  <a:close/>
                </a:path>
              </a:pathLst>
            </a:custGeom>
            <a:solidFill>
              <a:srgbClr val="231F20"/>
            </a:solidFill>
            <a:ln w="4477" cap="flat">
              <a:noFill/>
              <a:prstDash val="solid"/>
              <a:miter/>
            </a:ln>
          </p:spPr>
          <p:txBody>
            <a:bodyPr rtlCol="0" anchor="ctr"/>
            <a:lstStyle/>
            <a:p>
              <a:endParaRPr lang="en-US"/>
            </a:p>
          </p:txBody>
        </p:sp>
        <p:sp>
          <p:nvSpPr>
            <p:cNvPr id="3616" name="Freeform: Shape 3615">
              <a:extLst>
                <a:ext uri="{FF2B5EF4-FFF2-40B4-BE49-F238E27FC236}">
                  <a16:creationId xmlns:a16="http://schemas.microsoft.com/office/drawing/2014/main" id="{00776A33-5544-4A13-A272-AC4247AF5733}"/>
                </a:ext>
              </a:extLst>
            </p:cNvPr>
            <p:cNvSpPr/>
            <p:nvPr/>
          </p:nvSpPr>
          <p:spPr>
            <a:xfrm>
              <a:off x="7380701" y="5000444"/>
              <a:ext cx="22409" cy="22409"/>
            </a:xfrm>
            <a:custGeom>
              <a:avLst/>
              <a:gdLst>
                <a:gd name="connsiteX0" fmla="*/ 15014 w 22408"/>
                <a:gd name="connsiteY0" fmla="*/ 12325 h 22408"/>
                <a:gd name="connsiteX1" fmla="*/ 23081 w 22408"/>
                <a:gd name="connsiteY1" fmla="*/ 3810 h 22408"/>
                <a:gd name="connsiteX2" fmla="*/ 23081 w 22408"/>
                <a:gd name="connsiteY2" fmla="*/ 672 h 22408"/>
                <a:gd name="connsiteX3" fmla="*/ 19944 w 22408"/>
                <a:gd name="connsiteY3" fmla="*/ 672 h 22408"/>
                <a:gd name="connsiteX4" fmla="*/ 12325 w 22408"/>
                <a:gd name="connsiteY4" fmla="*/ 9188 h 22408"/>
                <a:gd name="connsiteX5" fmla="*/ 3809 w 22408"/>
                <a:gd name="connsiteY5" fmla="*/ 1120 h 22408"/>
                <a:gd name="connsiteX6" fmla="*/ 672 w 22408"/>
                <a:gd name="connsiteY6" fmla="*/ 1120 h 22408"/>
                <a:gd name="connsiteX7" fmla="*/ 672 w 22408"/>
                <a:gd name="connsiteY7" fmla="*/ 4258 h 22408"/>
                <a:gd name="connsiteX8" fmla="*/ 9188 w 22408"/>
                <a:gd name="connsiteY8" fmla="*/ 12325 h 22408"/>
                <a:gd name="connsiteX9" fmla="*/ 1120 w 22408"/>
                <a:gd name="connsiteY9" fmla="*/ 20840 h 22408"/>
                <a:gd name="connsiteX10" fmla="*/ 1120 w 22408"/>
                <a:gd name="connsiteY10" fmla="*/ 23977 h 22408"/>
                <a:gd name="connsiteX11" fmla="*/ 2465 w 22408"/>
                <a:gd name="connsiteY11" fmla="*/ 24425 h 22408"/>
                <a:gd name="connsiteX12" fmla="*/ 4258 w 22408"/>
                <a:gd name="connsiteY12" fmla="*/ 23529 h 22408"/>
                <a:gd name="connsiteX13" fmla="*/ 11876 w 22408"/>
                <a:gd name="connsiteY13" fmla="*/ 15014 h 22408"/>
                <a:gd name="connsiteX14" fmla="*/ 20392 w 22408"/>
                <a:gd name="connsiteY14" fmla="*/ 23081 h 22408"/>
                <a:gd name="connsiteX15" fmla="*/ 21736 w 22408"/>
                <a:gd name="connsiteY15" fmla="*/ 23529 h 22408"/>
                <a:gd name="connsiteX16" fmla="*/ 23529 w 22408"/>
                <a:gd name="connsiteY16" fmla="*/ 22633 h 22408"/>
                <a:gd name="connsiteX17" fmla="*/ 23529 w 22408"/>
                <a:gd name="connsiteY17" fmla="*/ 19496 h 22408"/>
                <a:gd name="connsiteX18" fmla="*/ 15014 w 22408"/>
                <a:gd name="connsiteY18" fmla="*/ 12325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15014" y="12325"/>
                  </a:moveTo>
                  <a:lnTo>
                    <a:pt x="23081" y="3810"/>
                  </a:lnTo>
                  <a:cubicBezTo>
                    <a:pt x="23977" y="2913"/>
                    <a:pt x="23977" y="1569"/>
                    <a:pt x="23081" y="672"/>
                  </a:cubicBezTo>
                  <a:cubicBezTo>
                    <a:pt x="22184" y="-224"/>
                    <a:pt x="20840" y="-224"/>
                    <a:pt x="19944" y="672"/>
                  </a:cubicBezTo>
                  <a:lnTo>
                    <a:pt x="12325" y="9188"/>
                  </a:lnTo>
                  <a:lnTo>
                    <a:pt x="3809" y="1120"/>
                  </a:lnTo>
                  <a:cubicBezTo>
                    <a:pt x="2913" y="224"/>
                    <a:pt x="1569" y="224"/>
                    <a:pt x="672" y="1120"/>
                  </a:cubicBezTo>
                  <a:cubicBezTo>
                    <a:pt x="-224" y="2017"/>
                    <a:pt x="-224" y="3361"/>
                    <a:pt x="672" y="4258"/>
                  </a:cubicBezTo>
                  <a:lnTo>
                    <a:pt x="9188" y="12325"/>
                  </a:lnTo>
                  <a:lnTo>
                    <a:pt x="1120" y="20840"/>
                  </a:lnTo>
                  <a:cubicBezTo>
                    <a:pt x="224" y="21736"/>
                    <a:pt x="224" y="23081"/>
                    <a:pt x="1120" y="23977"/>
                  </a:cubicBezTo>
                  <a:cubicBezTo>
                    <a:pt x="1569" y="24425"/>
                    <a:pt x="2017" y="24425"/>
                    <a:pt x="2465" y="24425"/>
                  </a:cubicBezTo>
                  <a:cubicBezTo>
                    <a:pt x="2913" y="24425"/>
                    <a:pt x="3809" y="23977"/>
                    <a:pt x="4258" y="23529"/>
                  </a:cubicBezTo>
                  <a:lnTo>
                    <a:pt x="11876" y="15014"/>
                  </a:lnTo>
                  <a:lnTo>
                    <a:pt x="20392" y="23081"/>
                  </a:lnTo>
                  <a:cubicBezTo>
                    <a:pt x="20840" y="23529"/>
                    <a:pt x="21288" y="23529"/>
                    <a:pt x="21736" y="23529"/>
                  </a:cubicBezTo>
                  <a:cubicBezTo>
                    <a:pt x="22184" y="23529"/>
                    <a:pt x="23081" y="23081"/>
                    <a:pt x="23529" y="22633"/>
                  </a:cubicBezTo>
                  <a:cubicBezTo>
                    <a:pt x="24425" y="21736"/>
                    <a:pt x="24425" y="20392"/>
                    <a:pt x="23529" y="19496"/>
                  </a:cubicBezTo>
                  <a:lnTo>
                    <a:pt x="15014" y="12325"/>
                  </a:lnTo>
                  <a:close/>
                </a:path>
              </a:pathLst>
            </a:custGeom>
            <a:solidFill>
              <a:srgbClr val="231F20"/>
            </a:solidFill>
            <a:ln w="4477" cap="flat">
              <a:noFill/>
              <a:prstDash val="solid"/>
              <a:miter/>
            </a:ln>
          </p:spPr>
          <p:txBody>
            <a:bodyPr rtlCol="0" anchor="ctr"/>
            <a:lstStyle/>
            <a:p>
              <a:endParaRPr lang="en-US"/>
            </a:p>
          </p:txBody>
        </p:sp>
        <p:sp>
          <p:nvSpPr>
            <p:cNvPr id="3617" name="Freeform: Shape 3616">
              <a:extLst>
                <a:ext uri="{FF2B5EF4-FFF2-40B4-BE49-F238E27FC236}">
                  <a16:creationId xmlns:a16="http://schemas.microsoft.com/office/drawing/2014/main" id="{EA6FC6B5-7C1A-4EC0-8212-A7E70DA4AD05}"/>
                </a:ext>
              </a:extLst>
            </p:cNvPr>
            <p:cNvSpPr/>
            <p:nvPr/>
          </p:nvSpPr>
          <p:spPr>
            <a:xfrm>
              <a:off x="7335436" y="4934115"/>
              <a:ext cx="22409" cy="22409"/>
            </a:xfrm>
            <a:custGeom>
              <a:avLst/>
              <a:gdLst>
                <a:gd name="connsiteX0" fmla="*/ 9188 w 22408"/>
                <a:gd name="connsiteY0" fmla="*/ 13221 h 22408"/>
                <a:gd name="connsiteX1" fmla="*/ 1120 w 22408"/>
                <a:gd name="connsiteY1" fmla="*/ 21736 h 22408"/>
                <a:gd name="connsiteX2" fmla="*/ 1120 w 22408"/>
                <a:gd name="connsiteY2" fmla="*/ 24873 h 22408"/>
                <a:gd name="connsiteX3" fmla="*/ 2465 w 22408"/>
                <a:gd name="connsiteY3" fmla="*/ 25322 h 22408"/>
                <a:gd name="connsiteX4" fmla="*/ 4258 w 22408"/>
                <a:gd name="connsiteY4" fmla="*/ 24425 h 22408"/>
                <a:gd name="connsiteX5" fmla="*/ 11877 w 22408"/>
                <a:gd name="connsiteY5" fmla="*/ 15910 h 22408"/>
                <a:gd name="connsiteX6" fmla="*/ 20392 w 22408"/>
                <a:gd name="connsiteY6" fmla="*/ 23977 h 22408"/>
                <a:gd name="connsiteX7" fmla="*/ 21736 w 22408"/>
                <a:gd name="connsiteY7" fmla="*/ 24425 h 22408"/>
                <a:gd name="connsiteX8" fmla="*/ 23529 w 22408"/>
                <a:gd name="connsiteY8" fmla="*/ 23529 h 22408"/>
                <a:gd name="connsiteX9" fmla="*/ 23529 w 22408"/>
                <a:gd name="connsiteY9" fmla="*/ 20392 h 22408"/>
                <a:gd name="connsiteX10" fmla="*/ 15014 w 22408"/>
                <a:gd name="connsiteY10" fmla="*/ 12325 h 22408"/>
                <a:gd name="connsiteX11" fmla="*/ 23081 w 22408"/>
                <a:gd name="connsiteY11" fmla="*/ 3810 h 22408"/>
                <a:gd name="connsiteX12" fmla="*/ 23081 w 22408"/>
                <a:gd name="connsiteY12" fmla="*/ 672 h 22408"/>
                <a:gd name="connsiteX13" fmla="*/ 19944 w 22408"/>
                <a:gd name="connsiteY13" fmla="*/ 672 h 22408"/>
                <a:gd name="connsiteX14" fmla="*/ 12325 w 22408"/>
                <a:gd name="connsiteY14" fmla="*/ 9187 h 22408"/>
                <a:gd name="connsiteX15" fmla="*/ 3809 w 22408"/>
                <a:gd name="connsiteY15" fmla="*/ 1120 h 22408"/>
                <a:gd name="connsiteX16" fmla="*/ 672 w 22408"/>
                <a:gd name="connsiteY16" fmla="*/ 1120 h 22408"/>
                <a:gd name="connsiteX17" fmla="*/ 672 w 22408"/>
                <a:gd name="connsiteY17" fmla="*/ 4258 h 22408"/>
                <a:gd name="connsiteX18" fmla="*/ 9188 w 22408"/>
                <a:gd name="connsiteY18" fmla="*/ 13221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9188" y="13221"/>
                  </a:moveTo>
                  <a:lnTo>
                    <a:pt x="1120" y="21736"/>
                  </a:lnTo>
                  <a:cubicBezTo>
                    <a:pt x="224" y="22632"/>
                    <a:pt x="224" y="23977"/>
                    <a:pt x="1120" y="24873"/>
                  </a:cubicBezTo>
                  <a:cubicBezTo>
                    <a:pt x="1569" y="25322"/>
                    <a:pt x="2017" y="25322"/>
                    <a:pt x="2465" y="25322"/>
                  </a:cubicBezTo>
                  <a:cubicBezTo>
                    <a:pt x="2913" y="25322"/>
                    <a:pt x="3809" y="24873"/>
                    <a:pt x="4258" y="24425"/>
                  </a:cubicBezTo>
                  <a:lnTo>
                    <a:pt x="11877" y="15910"/>
                  </a:lnTo>
                  <a:lnTo>
                    <a:pt x="20392" y="23977"/>
                  </a:lnTo>
                  <a:cubicBezTo>
                    <a:pt x="20840" y="24425"/>
                    <a:pt x="21288" y="24425"/>
                    <a:pt x="21736" y="24425"/>
                  </a:cubicBezTo>
                  <a:cubicBezTo>
                    <a:pt x="22184" y="24425"/>
                    <a:pt x="23081" y="23977"/>
                    <a:pt x="23529" y="23529"/>
                  </a:cubicBezTo>
                  <a:cubicBezTo>
                    <a:pt x="24425" y="22632"/>
                    <a:pt x="24425" y="21288"/>
                    <a:pt x="23529" y="20392"/>
                  </a:cubicBezTo>
                  <a:lnTo>
                    <a:pt x="15014" y="12325"/>
                  </a:lnTo>
                  <a:lnTo>
                    <a:pt x="23081" y="3810"/>
                  </a:lnTo>
                  <a:cubicBezTo>
                    <a:pt x="23977" y="2913"/>
                    <a:pt x="23977" y="1569"/>
                    <a:pt x="23081" y="672"/>
                  </a:cubicBezTo>
                  <a:cubicBezTo>
                    <a:pt x="22184" y="-224"/>
                    <a:pt x="20840" y="-224"/>
                    <a:pt x="19944" y="672"/>
                  </a:cubicBezTo>
                  <a:lnTo>
                    <a:pt x="12325" y="9187"/>
                  </a:lnTo>
                  <a:lnTo>
                    <a:pt x="3809" y="1120"/>
                  </a:lnTo>
                  <a:cubicBezTo>
                    <a:pt x="2913" y="224"/>
                    <a:pt x="1569" y="224"/>
                    <a:pt x="672" y="1120"/>
                  </a:cubicBezTo>
                  <a:cubicBezTo>
                    <a:pt x="-224" y="2017"/>
                    <a:pt x="-224" y="3361"/>
                    <a:pt x="672" y="4258"/>
                  </a:cubicBezTo>
                  <a:lnTo>
                    <a:pt x="9188" y="13221"/>
                  </a:lnTo>
                  <a:close/>
                </a:path>
              </a:pathLst>
            </a:custGeom>
            <a:solidFill>
              <a:srgbClr val="231F20"/>
            </a:solidFill>
            <a:ln w="4477" cap="flat">
              <a:noFill/>
              <a:prstDash val="solid"/>
              <a:miter/>
            </a:ln>
          </p:spPr>
          <p:txBody>
            <a:bodyPr rtlCol="0" anchor="ctr"/>
            <a:lstStyle/>
            <a:p>
              <a:endParaRPr lang="en-US"/>
            </a:p>
          </p:txBody>
        </p:sp>
        <p:sp>
          <p:nvSpPr>
            <p:cNvPr id="3618" name="Freeform: Shape 3617">
              <a:extLst>
                <a:ext uri="{FF2B5EF4-FFF2-40B4-BE49-F238E27FC236}">
                  <a16:creationId xmlns:a16="http://schemas.microsoft.com/office/drawing/2014/main" id="{57D33CCA-B4BE-48E2-A247-594F6F5421BC}"/>
                </a:ext>
              </a:extLst>
            </p:cNvPr>
            <p:cNvSpPr/>
            <p:nvPr/>
          </p:nvSpPr>
          <p:spPr>
            <a:xfrm>
              <a:off x="7284793" y="4965487"/>
              <a:ext cx="22409" cy="22409"/>
            </a:xfrm>
            <a:custGeom>
              <a:avLst/>
              <a:gdLst>
                <a:gd name="connsiteX0" fmla="*/ 20392 w 22408"/>
                <a:gd name="connsiteY0" fmla="*/ 23977 h 22408"/>
                <a:gd name="connsiteX1" fmla="*/ 21736 w 22408"/>
                <a:gd name="connsiteY1" fmla="*/ 24425 h 22408"/>
                <a:gd name="connsiteX2" fmla="*/ 23529 w 22408"/>
                <a:gd name="connsiteY2" fmla="*/ 23529 h 22408"/>
                <a:gd name="connsiteX3" fmla="*/ 23529 w 22408"/>
                <a:gd name="connsiteY3" fmla="*/ 20392 h 22408"/>
                <a:gd name="connsiteX4" fmla="*/ 15014 w 22408"/>
                <a:gd name="connsiteY4" fmla="*/ 12325 h 22408"/>
                <a:gd name="connsiteX5" fmla="*/ 23081 w 22408"/>
                <a:gd name="connsiteY5" fmla="*/ 3810 h 22408"/>
                <a:gd name="connsiteX6" fmla="*/ 23081 w 22408"/>
                <a:gd name="connsiteY6" fmla="*/ 672 h 22408"/>
                <a:gd name="connsiteX7" fmla="*/ 19944 w 22408"/>
                <a:gd name="connsiteY7" fmla="*/ 672 h 22408"/>
                <a:gd name="connsiteX8" fmla="*/ 12325 w 22408"/>
                <a:gd name="connsiteY8" fmla="*/ 9187 h 22408"/>
                <a:gd name="connsiteX9" fmla="*/ 3809 w 22408"/>
                <a:gd name="connsiteY9" fmla="*/ 1120 h 22408"/>
                <a:gd name="connsiteX10" fmla="*/ 672 w 22408"/>
                <a:gd name="connsiteY10" fmla="*/ 1120 h 22408"/>
                <a:gd name="connsiteX11" fmla="*/ 672 w 22408"/>
                <a:gd name="connsiteY11" fmla="*/ 4258 h 22408"/>
                <a:gd name="connsiteX12" fmla="*/ 9187 w 22408"/>
                <a:gd name="connsiteY12" fmla="*/ 12325 h 22408"/>
                <a:gd name="connsiteX13" fmla="*/ 1120 w 22408"/>
                <a:gd name="connsiteY13" fmla="*/ 20840 h 22408"/>
                <a:gd name="connsiteX14" fmla="*/ 1120 w 22408"/>
                <a:gd name="connsiteY14" fmla="*/ 23977 h 22408"/>
                <a:gd name="connsiteX15" fmla="*/ 2465 w 22408"/>
                <a:gd name="connsiteY15" fmla="*/ 24425 h 22408"/>
                <a:gd name="connsiteX16" fmla="*/ 4258 w 22408"/>
                <a:gd name="connsiteY16" fmla="*/ 23529 h 22408"/>
                <a:gd name="connsiteX17" fmla="*/ 11876 w 22408"/>
                <a:gd name="connsiteY17" fmla="*/ 15014 h 22408"/>
                <a:gd name="connsiteX18" fmla="*/ 20392 w 22408"/>
                <a:gd name="connsiteY18" fmla="*/ 23977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08" h="22408">
                  <a:moveTo>
                    <a:pt x="20392" y="23977"/>
                  </a:moveTo>
                  <a:cubicBezTo>
                    <a:pt x="20840" y="24425"/>
                    <a:pt x="21288" y="24425"/>
                    <a:pt x="21736" y="24425"/>
                  </a:cubicBezTo>
                  <a:cubicBezTo>
                    <a:pt x="22184" y="24425"/>
                    <a:pt x="23081" y="23977"/>
                    <a:pt x="23529" y="23529"/>
                  </a:cubicBezTo>
                  <a:cubicBezTo>
                    <a:pt x="24425" y="22632"/>
                    <a:pt x="24425" y="21288"/>
                    <a:pt x="23529" y="20392"/>
                  </a:cubicBezTo>
                  <a:lnTo>
                    <a:pt x="15014" y="12325"/>
                  </a:lnTo>
                  <a:lnTo>
                    <a:pt x="23081" y="3810"/>
                  </a:lnTo>
                  <a:cubicBezTo>
                    <a:pt x="23977" y="2913"/>
                    <a:pt x="23977" y="1569"/>
                    <a:pt x="23081" y="672"/>
                  </a:cubicBezTo>
                  <a:cubicBezTo>
                    <a:pt x="22184" y="-224"/>
                    <a:pt x="20840" y="-224"/>
                    <a:pt x="19944" y="672"/>
                  </a:cubicBezTo>
                  <a:lnTo>
                    <a:pt x="12325" y="9187"/>
                  </a:lnTo>
                  <a:lnTo>
                    <a:pt x="3809" y="1120"/>
                  </a:lnTo>
                  <a:cubicBezTo>
                    <a:pt x="2913" y="224"/>
                    <a:pt x="1569" y="224"/>
                    <a:pt x="672" y="1120"/>
                  </a:cubicBezTo>
                  <a:cubicBezTo>
                    <a:pt x="-224" y="2017"/>
                    <a:pt x="-224" y="3361"/>
                    <a:pt x="672" y="4258"/>
                  </a:cubicBezTo>
                  <a:lnTo>
                    <a:pt x="9187" y="12325"/>
                  </a:lnTo>
                  <a:lnTo>
                    <a:pt x="1120" y="20840"/>
                  </a:lnTo>
                  <a:cubicBezTo>
                    <a:pt x="224" y="21736"/>
                    <a:pt x="224" y="23081"/>
                    <a:pt x="1120" y="23977"/>
                  </a:cubicBezTo>
                  <a:cubicBezTo>
                    <a:pt x="1569" y="24425"/>
                    <a:pt x="2017" y="24425"/>
                    <a:pt x="2465" y="24425"/>
                  </a:cubicBezTo>
                  <a:cubicBezTo>
                    <a:pt x="2913" y="24425"/>
                    <a:pt x="3809" y="23977"/>
                    <a:pt x="4258" y="23529"/>
                  </a:cubicBezTo>
                  <a:lnTo>
                    <a:pt x="11876" y="15014"/>
                  </a:lnTo>
                  <a:lnTo>
                    <a:pt x="20392" y="23977"/>
                  </a:lnTo>
                  <a:close/>
                </a:path>
              </a:pathLst>
            </a:custGeom>
            <a:solidFill>
              <a:srgbClr val="231F20"/>
            </a:solidFill>
            <a:ln w="4477" cap="flat">
              <a:noFill/>
              <a:prstDash val="solid"/>
              <a:miter/>
            </a:ln>
          </p:spPr>
          <p:txBody>
            <a:bodyPr rtlCol="0" anchor="ctr"/>
            <a:lstStyle/>
            <a:p>
              <a:endParaRPr lang="en-US"/>
            </a:p>
          </p:txBody>
        </p:sp>
        <p:sp>
          <p:nvSpPr>
            <p:cNvPr id="3619" name="Freeform: Shape 3618">
              <a:extLst>
                <a:ext uri="{FF2B5EF4-FFF2-40B4-BE49-F238E27FC236}">
                  <a16:creationId xmlns:a16="http://schemas.microsoft.com/office/drawing/2014/main" id="{FA16C346-37D3-45EF-8C46-DCF1D3590375}"/>
                </a:ext>
              </a:extLst>
            </p:cNvPr>
            <p:cNvSpPr/>
            <p:nvPr/>
          </p:nvSpPr>
          <p:spPr>
            <a:xfrm>
              <a:off x="7308205" y="4985390"/>
              <a:ext cx="62744" cy="31372"/>
            </a:xfrm>
            <a:custGeom>
              <a:avLst/>
              <a:gdLst>
                <a:gd name="connsiteX0" fmla="*/ 61964 w 62743"/>
                <a:gd name="connsiteY0" fmla="*/ 488 h 31371"/>
                <a:gd name="connsiteX1" fmla="*/ 46278 w 62743"/>
                <a:gd name="connsiteY1" fmla="*/ 3626 h 31371"/>
                <a:gd name="connsiteX2" fmla="*/ 16251 w 62743"/>
                <a:gd name="connsiteY2" fmla="*/ 9452 h 31371"/>
                <a:gd name="connsiteX3" fmla="*/ 117 w 62743"/>
                <a:gd name="connsiteY3" fmla="*/ 31412 h 31371"/>
                <a:gd name="connsiteX4" fmla="*/ 1909 w 62743"/>
                <a:gd name="connsiteY4" fmla="*/ 34101 h 31371"/>
                <a:gd name="connsiteX5" fmla="*/ 2357 w 62743"/>
                <a:gd name="connsiteY5" fmla="*/ 34101 h 31371"/>
                <a:gd name="connsiteX6" fmla="*/ 4598 w 62743"/>
                <a:gd name="connsiteY6" fmla="*/ 32309 h 31371"/>
                <a:gd name="connsiteX7" fmla="*/ 18940 w 62743"/>
                <a:gd name="connsiteY7" fmla="*/ 13037 h 31371"/>
                <a:gd name="connsiteX8" fmla="*/ 46726 w 62743"/>
                <a:gd name="connsiteY8" fmla="*/ 8107 h 31371"/>
                <a:gd name="connsiteX9" fmla="*/ 65101 w 62743"/>
                <a:gd name="connsiteY9" fmla="*/ 4074 h 31371"/>
                <a:gd name="connsiteX10" fmla="*/ 65549 w 62743"/>
                <a:gd name="connsiteY10" fmla="*/ 937 h 31371"/>
                <a:gd name="connsiteX11" fmla="*/ 61964 w 62743"/>
                <a:gd name="connsiteY11" fmla="*/ 488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743" h="31371">
                  <a:moveTo>
                    <a:pt x="61964" y="488"/>
                  </a:moveTo>
                  <a:cubicBezTo>
                    <a:pt x="57482" y="3626"/>
                    <a:pt x="51656" y="3626"/>
                    <a:pt x="46278" y="3626"/>
                  </a:cubicBezTo>
                  <a:cubicBezTo>
                    <a:pt x="36418" y="3626"/>
                    <a:pt x="25662" y="3178"/>
                    <a:pt x="16251" y="9452"/>
                  </a:cubicBezTo>
                  <a:cubicBezTo>
                    <a:pt x="8184" y="14382"/>
                    <a:pt x="2357" y="22001"/>
                    <a:pt x="117" y="31412"/>
                  </a:cubicBezTo>
                  <a:cubicBezTo>
                    <a:pt x="-332" y="32757"/>
                    <a:pt x="565" y="33653"/>
                    <a:pt x="1909" y="34101"/>
                  </a:cubicBezTo>
                  <a:cubicBezTo>
                    <a:pt x="1909" y="34101"/>
                    <a:pt x="2357" y="34101"/>
                    <a:pt x="2357" y="34101"/>
                  </a:cubicBezTo>
                  <a:cubicBezTo>
                    <a:pt x="3254" y="34101"/>
                    <a:pt x="4150" y="33653"/>
                    <a:pt x="4598" y="32309"/>
                  </a:cubicBezTo>
                  <a:cubicBezTo>
                    <a:pt x="6839" y="24242"/>
                    <a:pt x="11769" y="17519"/>
                    <a:pt x="18940" y="13037"/>
                  </a:cubicBezTo>
                  <a:cubicBezTo>
                    <a:pt x="27455" y="7659"/>
                    <a:pt x="37315" y="8107"/>
                    <a:pt x="46726" y="8107"/>
                  </a:cubicBezTo>
                  <a:cubicBezTo>
                    <a:pt x="52553" y="8107"/>
                    <a:pt x="59723" y="7659"/>
                    <a:pt x="65101" y="4074"/>
                  </a:cubicBezTo>
                  <a:cubicBezTo>
                    <a:pt x="65998" y="3178"/>
                    <a:pt x="66446" y="1833"/>
                    <a:pt x="65549" y="937"/>
                  </a:cubicBezTo>
                  <a:cubicBezTo>
                    <a:pt x="64653" y="40"/>
                    <a:pt x="63309" y="-408"/>
                    <a:pt x="61964" y="488"/>
                  </a:cubicBezTo>
                  <a:close/>
                </a:path>
              </a:pathLst>
            </a:custGeom>
            <a:solidFill>
              <a:srgbClr val="231F20"/>
            </a:solidFill>
            <a:ln w="4477" cap="flat">
              <a:noFill/>
              <a:prstDash val="solid"/>
              <a:miter/>
            </a:ln>
          </p:spPr>
          <p:txBody>
            <a:bodyPr rtlCol="0" anchor="ctr"/>
            <a:lstStyle/>
            <a:p>
              <a:endParaRPr lang="en-US"/>
            </a:p>
          </p:txBody>
        </p:sp>
      </p:grpSp>
      <p:sp>
        <p:nvSpPr>
          <p:cNvPr id="3620" name="Freeform: Shape 3619">
            <a:extLst>
              <a:ext uri="{FF2B5EF4-FFF2-40B4-BE49-F238E27FC236}">
                <a16:creationId xmlns:a16="http://schemas.microsoft.com/office/drawing/2014/main" id="{A979A4ED-D03F-48CE-8964-7ACE4B1967D0}"/>
              </a:ext>
              <a:ext uri="{C183D7F6-B498-43B3-948B-1728B52AA6E4}">
                <adec:decorative xmlns:adec="http://schemas.microsoft.com/office/drawing/2017/decorative" val="1"/>
              </a:ext>
            </a:extLst>
          </p:cNvPr>
          <p:cNvSpPr>
            <a:spLocks noChangeAspect="1"/>
          </p:cNvSpPr>
          <p:nvPr/>
        </p:nvSpPr>
        <p:spPr>
          <a:xfrm>
            <a:off x="1638848" y="2056879"/>
            <a:ext cx="152378" cy="152378"/>
          </a:xfrm>
          <a:custGeom>
            <a:avLst/>
            <a:gdLst>
              <a:gd name="connsiteX0" fmla="*/ 127729 w 152377"/>
              <a:gd name="connsiteY0" fmla="*/ 52436 h 152377"/>
              <a:gd name="connsiteX1" fmla="*/ 76189 w 152377"/>
              <a:gd name="connsiteY1" fmla="*/ 0 h 152377"/>
              <a:gd name="connsiteX2" fmla="*/ 24649 w 152377"/>
              <a:gd name="connsiteY2" fmla="*/ 52436 h 152377"/>
              <a:gd name="connsiteX3" fmla="*/ 0 w 152377"/>
              <a:gd name="connsiteY3" fmla="*/ 98597 h 152377"/>
              <a:gd name="connsiteX4" fmla="*/ 51540 w 152377"/>
              <a:gd name="connsiteY4" fmla="*/ 152378 h 152377"/>
              <a:gd name="connsiteX5" fmla="*/ 76189 w 152377"/>
              <a:gd name="connsiteY5" fmla="*/ 145655 h 152377"/>
              <a:gd name="connsiteX6" fmla="*/ 100838 w 152377"/>
              <a:gd name="connsiteY6" fmla="*/ 152378 h 152377"/>
              <a:gd name="connsiteX7" fmla="*/ 152378 w 152377"/>
              <a:gd name="connsiteY7" fmla="*/ 98597 h 152377"/>
              <a:gd name="connsiteX8" fmla="*/ 127729 w 152377"/>
              <a:gd name="connsiteY8" fmla="*/ 52436 h 152377"/>
              <a:gd name="connsiteX9" fmla="*/ 103079 w 152377"/>
              <a:gd name="connsiteY9" fmla="*/ 95012 h 152377"/>
              <a:gd name="connsiteX10" fmla="*/ 80671 w 152377"/>
              <a:gd name="connsiteY10" fmla="*/ 54228 h 152377"/>
              <a:gd name="connsiteX11" fmla="*/ 100838 w 152377"/>
              <a:gd name="connsiteY11" fmla="*/ 49299 h 152377"/>
              <a:gd name="connsiteX12" fmla="*/ 123247 w 152377"/>
              <a:gd name="connsiteY12" fmla="*/ 55125 h 152377"/>
              <a:gd name="connsiteX13" fmla="*/ 103079 w 152377"/>
              <a:gd name="connsiteY13" fmla="*/ 95012 h 152377"/>
              <a:gd name="connsiteX14" fmla="*/ 29131 w 152377"/>
              <a:gd name="connsiteY14" fmla="*/ 55125 h 152377"/>
              <a:gd name="connsiteX15" fmla="*/ 51540 w 152377"/>
              <a:gd name="connsiteY15" fmla="*/ 49299 h 152377"/>
              <a:gd name="connsiteX16" fmla="*/ 71707 w 152377"/>
              <a:gd name="connsiteY16" fmla="*/ 54228 h 152377"/>
              <a:gd name="connsiteX17" fmla="*/ 49299 w 152377"/>
              <a:gd name="connsiteY17" fmla="*/ 95012 h 152377"/>
              <a:gd name="connsiteX18" fmla="*/ 29131 w 152377"/>
              <a:gd name="connsiteY18" fmla="*/ 55125 h 152377"/>
              <a:gd name="connsiteX19" fmla="*/ 76189 w 152377"/>
              <a:gd name="connsiteY19" fmla="*/ 103976 h 152377"/>
              <a:gd name="connsiteX20" fmla="*/ 53780 w 152377"/>
              <a:gd name="connsiteY20" fmla="*/ 98149 h 152377"/>
              <a:gd name="connsiteX21" fmla="*/ 76189 w 152377"/>
              <a:gd name="connsiteY21" fmla="*/ 56918 h 152377"/>
              <a:gd name="connsiteX22" fmla="*/ 98598 w 152377"/>
              <a:gd name="connsiteY22" fmla="*/ 98149 h 152377"/>
              <a:gd name="connsiteX23" fmla="*/ 76189 w 152377"/>
              <a:gd name="connsiteY23" fmla="*/ 103976 h 152377"/>
              <a:gd name="connsiteX24" fmla="*/ 98598 w 152377"/>
              <a:gd name="connsiteY24" fmla="*/ 103079 h 152377"/>
              <a:gd name="connsiteX25" fmla="*/ 76189 w 152377"/>
              <a:gd name="connsiteY25" fmla="*/ 140725 h 152377"/>
              <a:gd name="connsiteX26" fmla="*/ 53780 w 152377"/>
              <a:gd name="connsiteY26" fmla="*/ 103079 h 152377"/>
              <a:gd name="connsiteX27" fmla="*/ 76189 w 152377"/>
              <a:gd name="connsiteY27" fmla="*/ 108457 h 152377"/>
              <a:gd name="connsiteX28" fmla="*/ 98598 w 152377"/>
              <a:gd name="connsiteY28" fmla="*/ 103079 h 152377"/>
              <a:gd name="connsiteX29" fmla="*/ 76189 w 152377"/>
              <a:gd name="connsiteY29" fmla="*/ 4930 h 152377"/>
              <a:gd name="connsiteX30" fmla="*/ 123247 w 152377"/>
              <a:gd name="connsiteY30" fmla="*/ 50195 h 152377"/>
              <a:gd name="connsiteX31" fmla="*/ 100838 w 152377"/>
              <a:gd name="connsiteY31" fmla="*/ 44817 h 152377"/>
              <a:gd name="connsiteX32" fmla="*/ 76189 w 152377"/>
              <a:gd name="connsiteY32" fmla="*/ 51540 h 152377"/>
              <a:gd name="connsiteX33" fmla="*/ 51540 w 152377"/>
              <a:gd name="connsiteY33" fmla="*/ 44817 h 152377"/>
              <a:gd name="connsiteX34" fmla="*/ 29131 w 152377"/>
              <a:gd name="connsiteY34" fmla="*/ 50195 h 152377"/>
              <a:gd name="connsiteX35" fmla="*/ 76189 w 152377"/>
              <a:gd name="connsiteY35" fmla="*/ 4930 h 152377"/>
              <a:gd name="connsiteX36" fmla="*/ 51540 w 152377"/>
              <a:gd name="connsiteY36" fmla="*/ 148344 h 152377"/>
              <a:gd name="connsiteX37" fmla="*/ 4482 w 152377"/>
              <a:gd name="connsiteY37" fmla="*/ 99046 h 152377"/>
              <a:gd name="connsiteX38" fmla="*/ 24649 w 152377"/>
              <a:gd name="connsiteY38" fmla="*/ 58262 h 152377"/>
              <a:gd name="connsiteX39" fmla="*/ 49299 w 152377"/>
              <a:gd name="connsiteY39" fmla="*/ 100838 h 152377"/>
              <a:gd name="connsiteX40" fmla="*/ 71707 w 152377"/>
              <a:gd name="connsiteY40" fmla="*/ 143863 h 152377"/>
              <a:gd name="connsiteX41" fmla="*/ 51540 w 152377"/>
              <a:gd name="connsiteY41" fmla="*/ 148344 h 152377"/>
              <a:gd name="connsiteX42" fmla="*/ 100838 w 152377"/>
              <a:gd name="connsiteY42" fmla="*/ 148344 h 152377"/>
              <a:gd name="connsiteX43" fmla="*/ 80671 w 152377"/>
              <a:gd name="connsiteY43" fmla="*/ 143415 h 152377"/>
              <a:gd name="connsiteX44" fmla="*/ 103079 w 152377"/>
              <a:gd name="connsiteY44" fmla="*/ 100390 h 152377"/>
              <a:gd name="connsiteX45" fmla="*/ 127729 w 152377"/>
              <a:gd name="connsiteY45" fmla="*/ 57814 h 152377"/>
              <a:gd name="connsiteX46" fmla="*/ 147896 w 152377"/>
              <a:gd name="connsiteY46" fmla="*/ 98597 h 152377"/>
              <a:gd name="connsiteX47" fmla="*/ 100838 w 152377"/>
              <a:gd name="connsiteY47" fmla="*/ 148344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377" h="152377">
                <a:moveTo>
                  <a:pt x="127729" y="52436"/>
                </a:moveTo>
                <a:cubicBezTo>
                  <a:pt x="126832" y="23305"/>
                  <a:pt x="103975" y="0"/>
                  <a:pt x="76189" y="0"/>
                </a:cubicBezTo>
                <a:cubicBezTo>
                  <a:pt x="48402" y="0"/>
                  <a:pt x="25546" y="23305"/>
                  <a:pt x="24649" y="52436"/>
                </a:cubicBezTo>
                <a:cubicBezTo>
                  <a:pt x="9860" y="61847"/>
                  <a:pt x="0" y="78878"/>
                  <a:pt x="0" y="98597"/>
                </a:cubicBezTo>
                <a:cubicBezTo>
                  <a:pt x="0" y="128177"/>
                  <a:pt x="23305" y="152378"/>
                  <a:pt x="51540" y="152378"/>
                </a:cubicBezTo>
                <a:cubicBezTo>
                  <a:pt x="60503" y="152378"/>
                  <a:pt x="69018" y="150137"/>
                  <a:pt x="76189" y="145655"/>
                </a:cubicBezTo>
                <a:cubicBezTo>
                  <a:pt x="83360" y="149689"/>
                  <a:pt x="91875" y="152378"/>
                  <a:pt x="100838" y="152378"/>
                </a:cubicBezTo>
                <a:cubicBezTo>
                  <a:pt x="129073" y="152378"/>
                  <a:pt x="152378" y="128177"/>
                  <a:pt x="152378" y="98597"/>
                </a:cubicBezTo>
                <a:cubicBezTo>
                  <a:pt x="152378" y="79326"/>
                  <a:pt x="142518" y="62296"/>
                  <a:pt x="127729" y="52436"/>
                </a:cubicBezTo>
                <a:close/>
                <a:moveTo>
                  <a:pt x="103079" y="95012"/>
                </a:moveTo>
                <a:cubicBezTo>
                  <a:pt x="102183" y="77981"/>
                  <a:pt x="93219" y="63192"/>
                  <a:pt x="80671" y="54228"/>
                </a:cubicBezTo>
                <a:cubicBezTo>
                  <a:pt x="86945" y="51091"/>
                  <a:pt x="93668" y="49299"/>
                  <a:pt x="100838" y="49299"/>
                </a:cubicBezTo>
                <a:cubicBezTo>
                  <a:pt x="108905" y="49299"/>
                  <a:pt x="116524" y="51540"/>
                  <a:pt x="123247" y="55125"/>
                </a:cubicBezTo>
                <a:cubicBezTo>
                  <a:pt x="123247" y="71707"/>
                  <a:pt x="115180" y="86049"/>
                  <a:pt x="103079" y="95012"/>
                </a:cubicBezTo>
                <a:close/>
                <a:moveTo>
                  <a:pt x="29131" y="55125"/>
                </a:moveTo>
                <a:cubicBezTo>
                  <a:pt x="35854" y="51540"/>
                  <a:pt x="43472" y="49299"/>
                  <a:pt x="51540" y="49299"/>
                </a:cubicBezTo>
                <a:cubicBezTo>
                  <a:pt x="58710" y="49299"/>
                  <a:pt x="65881" y="51091"/>
                  <a:pt x="71707" y="54228"/>
                </a:cubicBezTo>
                <a:cubicBezTo>
                  <a:pt x="59158" y="63192"/>
                  <a:pt x="50643" y="77981"/>
                  <a:pt x="49299" y="95012"/>
                </a:cubicBezTo>
                <a:cubicBezTo>
                  <a:pt x="37646" y="86049"/>
                  <a:pt x="29579" y="71707"/>
                  <a:pt x="29131" y="55125"/>
                </a:cubicBezTo>
                <a:close/>
                <a:moveTo>
                  <a:pt x="76189" y="103976"/>
                </a:moveTo>
                <a:cubicBezTo>
                  <a:pt x="68122" y="103976"/>
                  <a:pt x="60503" y="101735"/>
                  <a:pt x="53780" y="98149"/>
                </a:cubicBezTo>
                <a:cubicBezTo>
                  <a:pt x="54229" y="80671"/>
                  <a:pt x="62744" y="65433"/>
                  <a:pt x="76189" y="56918"/>
                </a:cubicBezTo>
                <a:cubicBezTo>
                  <a:pt x="89186" y="65433"/>
                  <a:pt x="98149" y="80671"/>
                  <a:pt x="98598" y="98149"/>
                </a:cubicBezTo>
                <a:cubicBezTo>
                  <a:pt x="91875" y="101735"/>
                  <a:pt x="84256" y="103976"/>
                  <a:pt x="76189" y="103976"/>
                </a:cubicBezTo>
                <a:close/>
                <a:moveTo>
                  <a:pt x="98598" y="103079"/>
                </a:moveTo>
                <a:cubicBezTo>
                  <a:pt x="97253" y="119213"/>
                  <a:pt x="88738" y="132658"/>
                  <a:pt x="76189" y="140725"/>
                </a:cubicBezTo>
                <a:cubicBezTo>
                  <a:pt x="63640" y="132658"/>
                  <a:pt x="55125" y="118765"/>
                  <a:pt x="53780" y="103079"/>
                </a:cubicBezTo>
                <a:cubicBezTo>
                  <a:pt x="60503" y="106664"/>
                  <a:pt x="68122" y="108457"/>
                  <a:pt x="76189" y="108457"/>
                </a:cubicBezTo>
                <a:cubicBezTo>
                  <a:pt x="84256" y="108457"/>
                  <a:pt x="91875" y="106216"/>
                  <a:pt x="98598" y="103079"/>
                </a:cubicBezTo>
                <a:close/>
                <a:moveTo>
                  <a:pt x="76189" y="4930"/>
                </a:moveTo>
                <a:cubicBezTo>
                  <a:pt x="100838" y="4930"/>
                  <a:pt x="121006" y="24649"/>
                  <a:pt x="123247" y="50195"/>
                </a:cubicBezTo>
                <a:cubicBezTo>
                  <a:pt x="116524" y="46610"/>
                  <a:pt x="108905" y="44817"/>
                  <a:pt x="100838" y="44817"/>
                </a:cubicBezTo>
                <a:cubicBezTo>
                  <a:pt x="91875" y="44817"/>
                  <a:pt x="83360" y="47058"/>
                  <a:pt x="76189" y="51540"/>
                </a:cubicBezTo>
                <a:cubicBezTo>
                  <a:pt x="69018" y="47506"/>
                  <a:pt x="60503" y="44817"/>
                  <a:pt x="51540" y="44817"/>
                </a:cubicBezTo>
                <a:cubicBezTo>
                  <a:pt x="43472" y="44817"/>
                  <a:pt x="35854" y="46610"/>
                  <a:pt x="29131" y="50195"/>
                </a:cubicBezTo>
                <a:cubicBezTo>
                  <a:pt x="31372" y="24649"/>
                  <a:pt x="51540" y="4930"/>
                  <a:pt x="76189" y="4930"/>
                </a:cubicBezTo>
                <a:close/>
                <a:moveTo>
                  <a:pt x="51540" y="148344"/>
                </a:moveTo>
                <a:cubicBezTo>
                  <a:pt x="25546" y="148344"/>
                  <a:pt x="4482" y="125936"/>
                  <a:pt x="4482" y="99046"/>
                </a:cubicBezTo>
                <a:cubicBezTo>
                  <a:pt x="4482" y="82015"/>
                  <a:pt x="12549" y="67226"/>
                  <a:pt x="24649" y="58262"/>
                </a:cubicBezTo>
                <a:cubicBezTo>
                  <a:pt x="25994" y="76189"/>
                  <a:pt x="35405" y="91875"/>
                  <a:pt x="49299" y="100838"/>
                </a:cubicBezTo>
                <a:cubicBezTo>
                  <a:pt x="49747" y="118765"/>
                  <a:pt x="58710" y="134451"/>
                  <a:pt x="71707" y="143863"/>
                </a:cubicBezTo>
                <a:cubicBezTo>
                  <a:pt x="65881" y="146552"/>
                  <a:pt x="58710" y="148344"/>
                  <a:pt x="51540" y="148344"/>
                </a:cubicBezTo>
                <a:close/>
                <a:moveTo>
                  <a:pt x="100838" y="148344"/>
                </a:moveTo>
                <a:cubicBezTo>
                  <a:pt x="93668" y="148344"/>
                  <a:pt x="86497" y="146552"/>
                  <a:pt x="80671" y="143415"/>
                </a:cubicBezTo>
                <a:cubicBezTo>
                  <a:pt x="93668" y="134003"/>
                  <a:pt x="102631" y="118317"/>
                  <a:pt x="103079" y="100390"/>
                </a:cubicBezTo>
                <a:cubicBezTo>
                  <a:pt x="116972" y="91427"/>
                  <a:pt x="126384" y="75741"/>
                  <a:pt x="127729" y="57814"/>
                </a:cubicBezTo>
                <a:cubicBezTo>
                  <a:pt x="139829" y="66777"/>
                  <a:pt x="147896" y="81567"/>
                  <a:pt x="147896" y="98597"/>
                </a:cubicBezTo>
                <a:cubicBezTo>
                  <a:pt x="147896" y="125936"/>
                  <a:pt x="126832" y="148344"/>
                  <a:pt x="100838" y="148344"/>
                </a:cubicBezTo>
                <a:close/>
              </a:path>
            </a:pathLst>
          </a:custGeom>
          <a:solidFill>
            <a:srgbClr val="231F20"/>
          </a:solidFill>
          <a:ln w="4477" cap="flat">
            <a:noFill/>
            <a:prstDash val="solid"/>
            <a:miter/>
          </a:ln>
        </p:spPr>
        <p:txBody>
          <a:bodyPr rtlCol="0" anchor="ctr"/>
          <a:lstStyle/>
          <a:p>
            <a:endParaRPr lang="en-US"/>
          </a:p>
        </p:txBody>
      </p:sp>
      <p:sp>
        <p:nvSpPr>
          <p:cNvPr id="3621" name="Freeform: Shape 3620">
            <a:extLst>
              <a:ext uri="{FF2B5EF4-FFF2-40B4-BE49-F238E27FC236}">
                <a16:creationId xmlns:a16="http://schemas.microsoft.com/office/drawing/2014/main" id="{088CBBBD-85C3-44D1-815E-A6297CD22616}"/>
              </a:ext>
              <a:ext uri="{C183D7F6-B498-43B3-948B-1728B52AA6E4}">
                <adec:decorative xmlns:adec="http://schemas.microsoft.com/office/drawing/2017/decorative" val="1"/>
              </a:ext>
            </a:extLst>
          </p:cNvPr>
          <p:cNvSpPr>
            <a:spLocks noChangeAspect="1"/>
          </p:cNvSpPr>
          <p:nvPr/>
        </p:nvSpPr>
        <p:spPr>
          <a:xfrm>
            <a:off x="1898787" y="2094525"/>
            <a:ext cx="152378" cy="71707"/>
          </a:xfrm>
          <a:custGeom>
            <a:avLst/>
            <a:gdLst>
              <a:gd name="connsiteX0" fmla="*/ 142070 w 152377"/>
              <a:gd name="connsiteY0" fmla="*/ 11653 h 71707"/>
              <a:gd name="connsiteX1" fmla="*/ 116076 w 152377"/>
              <a:gd name="connsiteY1" fmla="*/ 448 h 71707"/>
              <a:gd name="connsiteX2" fmla="*/ 90082 w 152377"/>
              <a:gd name="connsiteY2" fmla="*/ 11653 h 71707"/>
              <a:gd name="connsiteX3" fmla="*/ 90082 w 152377"/>
              <a:gd name="connsiteY3" fmla="*/ 11653 h 71707"/>
              <a:gd name="connsiteX4" fmla="*/ 90082 w 152377"/>
              <a:gd name="connsiteY4" fmla="*/ 11653 h 71707"/>
              <a:gd name="connsiteX5" fmla="*/ 75293 w 152377"/>
              <a:gd name="connsiteY5" fmla="*/ 35854 h 71707"/>
              <a:gd name="connsiteX6" fmla="*/ 59607 w 152377"/>
              <a:gd name="connsiteY6" fmla="*/ 61399 h 71707"/>
              <a:gd name="connsiteX7" fmla="*/ 36750 w 152377"/>
              <a:gd name="connsiteY7" fmla="*/ 71259 h 71707"/>
              <a:gd name="connsiteX8" fmla="*/ 36750 w 152377"/>
              <a:gd name="connsiteY8" fmla="*/ 71259 h 71707"/>
              <a:gd name="connsiteX9" fmla="*/ 13893 w 152377"/>
              <a:gd name="connsiteY9" fmla="*/ 61399 h 71707"/>
              <a:gd name="connsiteX10" fmla="*/ 13893 w 152377"/>
              <a:gd name="connsiteY10" fmla="*/ 14342 h 71707"/>
              <a:gd name="connsiteX11" fmla="*/ 38095 w 152377"/>
              <a:gd name="connsiteY11" fmla="*/ 4482 h 71707"/>
              <a:gd name="connsiteX12" fmla="*/ 38095 w 152377"/>
              <a:gd name="connsiteY12" fmla="*/ 4482 h 71707"/>
              <a:gd name="connsiteX13" fmla="*/ 61847 w 152377"/>
              <a:gd name="connsiteY13" fmla="*/ 13893 h 71707"/>
              <a:gd name="connsiteX14" fmla="*/ 64985 w 152377"/>
              <a:gd name="connsiteY14" fmla="*/ 13893 h 71707"/>
              <a:gd name="connsiteX15" fmla="*/ 64985 w 152377"/>
              <a:gd name="connsiteY15" fmla="*/ 10756 h 71707"/>
              <a:gd name="connsiteX16" fmla="*/ 38095 w 152377"/>
              <a:gd name="connsiteY16" fmla="*/ 0 h 71707"/>
              <a:gd name="connsiteX17" fmla="*/ 38095 w 152377"/>
              <a:gd name="connsiteY17" fmla="*/ 0 h 71707"/>
              <a:gd name="connsiteX18" fmla="*/ 10756 w 152377"/>
              <a:gd name="connsiteY18" fmla="*/ 11204 h 71707"/>
              <a:gd name="connsiteX19" fmla="*/ 10756 w 152377"/>
              <a:gd name="connsiteY19" fmla="*/ 64537 h 71707"/>
              <a:gd name="connsiteX20" fmla="*/ 36750 w 152377"/>
              <a:gd name="connsiteY20" fmla="*/ 75741 h 71707"/>
              <a:gd name="connsiteX21" fmla="*/ 36750 w 152377"/>
              <a:gd name="connsiteY21" fmla="*/ 75741 h 71707"/>
              <a:gd name="connsiteX22" fmla="*/ 62744 w 152377"/>
              <a:gd name="connsiteY22" fmla="*/ 64537 h 71707"/>
              <a:gd name="connsiteX23" fmla="*/ 62744 w 152377"/>
              <a:gd name="connsiteY23" fmla="*/ 64537 h 71707"/>
              <a:gd name="connsiteX24" fmla="*/ 62744 w 152377"/>
              <a:gd name="connsiteY24" fmla="*/ 64537 h 71707"/>
              <a:gd name="connsiteX25" fmla="*/ 78878 w 152377"/>
              <a:gd name="connsiteY25" fmla="*/ 37646 h 71707"/>
              <a:gd name="connsiteX26" fmla="*/ 92771 w 152377"/>
              <a:gd name="connsiteY26" fmla="*/ 14342 h 71707"/>
              <a:gd name="connsiteX27" fmla="*/ 115628 w 152377"/>
              <a:gd name="connsiteY27" fmla="*/ 4482 h 71707"/>
              <a:gd name="connsiteX28" fmla="*/ 138485 w 152377"/>
              <a:gd name="connsiteY28" fmla="*/ 14342 h 71707"/>
              <a:gd name="connsiteX29" fmla="*/ 138485 w 152377"/>
              <a:gd name="connsiteY29" fmla="*/ 61399 h 71707"/>
              <a:gd name="connsiteX30" fmla="*/ 114283 w 152377"/>
              <a:gd name="connsiteY30" fmla="*/ 71259 h 71707"/>
              <a:gd name="connsiteX31" fmla="*/ 114283 w 152377"/>
              <a:gd name="connsiteY31" fmla="*/ 71259 h 71707"/>
              <a:gd name="connsiteX32" fmla="*/ 90530 w 152377"/>
              <a:gd name="connsiteY32" fmla="*/ 61848 h 71707"/>
              <a:gd name="connsiteX33" fmla="*/ 87393 w 152377"/>
              <a:gd name="connsiteY33" fmla="*/ 61848 h 71707"/>
              <a:gd name="connsiteX34" fmla="*/ 87393 w 152377"/>
              <a:gd name="connsiteY34" fmla="*/ 64985 h 71707"/>
              <a:gd name="connsiteX35" fmla="*/ 114283 w 152377"/>
              <a:gd name="connsiteY35" fmla="*/ 75741 h 71707"/>
              <a:gd name="connsiteX36" fmla="*/ 114283 w 152377"/>
              <a:gd name="connsiteY36" fmla="*/ 75741 h 71707"/>
              <a:gd name="connsiteX37" fmla="*/ 141622 w 152377"/>
              <a:gd name="connsiteY37" fmla="*/ 64537 h 71707"/>
              <a:gd name="connsiteX38" fmla="*/ 142070 w 152377"/>
              <a:gd name="connsiteY38" fmla="*/ 11653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377" h="71707">
                <a:moveTo>
                  <a:pt x="142070" y="11653"/>
                </a:moveTo>
                <a:cubicBezTo>
                  <a:pt x="134899" y="4482"/>
                  <a:pt x="125936" y="448"/>
                  <a:pt x="116076" y="448"/>
                </a:cubicBezTo>
                <a:cubicBezTo>
                  <a:pt x="106216" y="448"/>
                  <a:pt x="96805" y="4482"/>
                  <a:pt x="90082" y="11653"/>
                </a:cubicBezTo>
                <a:cubicBezTo>
                  <a:pt x="90082" y="11653"/>
                  <a:pt x="90082" y="11653"/>
                  <a:pt x="90082" y="11653"/>
                </a:cubicBezTo>
                <a:cubicBezTo>
                  <a:pt x="90082" y="11653"/>
                  <a:pt x="90082" y="11653"/>
                  <a:pt x="90082" y="11653"/>
                </a:cubicBezTo>
                <a:cubicBezTo>
                  <a:pt x="83360" y="18823"/>
                  <a:pt x="79326" y="27787"/>
                  <a:pt x="75293" y="35854"/>
                </a:cubicBezTo>
                <a:cubicBezTo>
                  <a:pt x="71259" y="44817"/>
                  <a:pt x="66777" y="53780"/>
                  <a:pt x="59607" y="61399"/>
                </a:cubicBezTo>
                <a:cubicBezTo>
                  <a:pt x="53332" y="67674"/>
                  <a:pt x="45265" y="71259"/>
                  <a:pt x="36750" y="71259"/>
                </a:cubicBezTo>
                <a:cubicBezTo>
                  <a:pt x="36750" y="71259"/>
                  <a:pt x="36750" y="71259"/>
                  <a:pt x="36750" y="71259"/>
                </a:cubicBezTo>
                <a:cubicBezTo>
                  <a:pt x="28235" y="71259"/>
                  <a:pt x="19720" y="67674"/>
                  <a:pt x="13893" y="61399"/>
                </a:cubicBezTo>
                <a:cubicBezTo>
                  <a:pt x="1345" y="48403"/>
                  <a:pt x="1345" y="27339"/>
                  <a:pt x="13893" y="14342"/>
                </a:cubicBezTo>
                <a:cubicBezTo>
                  <a:pt x="20168" y="8067"/>
                  <a:pt x="28683" y="4482"/>
                  <a:pt x="38095" y="4482"/>
                </a:cubicBezTo>
                <a:cubicBezTo>
                  <a:pt x="38095" y="4482"/>
                  <a:pt x="38095" y="4482"/>
                  <a:pt x="38095" y="4482"/>
                </a:cubicBezTo>
                <a:cubicBezTo>
                  <a:pt x="47058" y="4482"/>
                  <a:pt x="56021" y="8067"/>
                  <a:pt x="61847" y="13893"/>
                </a:cubicBezTo>
                <a:cubicBezTo>
                  <a:pt x="62744" y="14790"/>
                  <a:pt x="64088" y="14790"/>
                  <a:pt x="64985" y="13893"/>
                </a:cubicBezTo>
                <a:cubicBezTo>
                  <a:pt x="65881" y="12997"/>
                  <a:pt x="65881" y="11653"/>
                  <a:pt x="64985" y="10756"/>
                </a:cubicBezTo>
                <a:cubicBezTo>
                  <a:pt x="58262" y="3586"/>
                  <a:pt x="48402" y="0"/>
                  <a:pt x="38095" y="0"/>
                </a:cubicBezTo>
                <a:cubicBezTo>
                  <a:pt x="38095" y="0"/>
                  <a:pt x="38095" y="0"/>
                  <a:pt x="38095" y="0"/>
                </a:cubicBezTo>
                <a:cubicBezTo>
                  <a:pt x="27787" y="0"/>
                  <a:pt x="17479" y="4034"/>
                  <a:pt x="10756" y="11204"/>
                </a:cubicBezTo>
                <a:cubicBezTo>
                  <a:pt x="-3585" y="25994"/>
                  <a:pt x="-3585" y="49747"/>
                  <a:pt x="10756" y="64537"/>
                </a:cubicBezTo>
                <a:cubicBezTo>
                  <a:pt x="17927" y="71707"/>
                  <a:pt x="26890" y="75741"/>
                  <a:pt x="36750" y="75741"/>
                </a:cubicBezTo>
                <a:cubicBezTo>
                  <a:pt x="36750" y="75741"/>
                  <a:pt x="36750" y="75741"/>
                  <a:pt x="36750" y="75741"/>
                </a:cubicBezTo>
                <a:cubicBezTo>
                  <a:pt x="46610" y="75741"/>
                  <a:pt x="56021" y="71707"/>
                  <a:pt x="62744" y="64537"/>
                </a:cubicBezTo>
                <a:cubicBezTo>
                  <a:pt x="62744" y="64537"/>
                  <a:pt x="62744" y="64537"/>
                  <a:pt x="62744" y="64537"/>
                </a:cubicBezTo>
                <a:cubicBezTo>
                  <a:pt x="62744" y="64537"/>
                  <a:pt x="62744" y="64537"/>
                  <a:pt x="62744" y="64537"/>
                </a:cubicBezTo>
                <a:cubicBezTo>
                  <a:pt x="70363" y="56021"/>
                  <a:pt x="74844" y="46610"/>
                  <a:pt x="78878" y="37646"/>
                </a:cubicBezTo>
                <a:cubicBezTo>
                  <a:pt x="82912" y="29131"/>
                  <a:pt x="86497" y="21064"/>
                  <a:pt x="92771" y="14342"/>
                </a:cubicBezTo>
                <a:cubicBezTo>
                  <a:pt x="99046" y="8067"/>
                  <a:pt x="107113" y="4482"/>
                  <a:pt x="115628" y="4482"/>
                </a:cubicBezTo>
                <a:cubicBezTo>
                  <a:pt x="124143" y="4482"/>
                  <a:pt x="132658" y="8067"/>
                  <a:pt x="138485" y="14342"/>
                </a:cubicBezTo>
                <a:cubicBezTo>
                  <a:pt x="151033" y="27339"/>
                  <a:pt x="151033" y="48403"/>
                  <a:pt x="138485" y="61399"/>
                </a:cubicBezTo>
                <a:cubicBezTo>
                  <a:pt x="132210" y="67674"/>
                  <a:pt x="123695" y="71259"/>
                  <a:pt x="114283" y="71259"/>
                </a:cubicBezTo>
                <a:cubicBezTo>
                  <a:pt x="114283" y="71259"/>
                  <a:pt x="114283" y="71259"/>
                  <a:pt x="114283" y="71259"/>
                </a:cubicBezTo>
                <a:cubicBezTo>
                  <a:pt x="105320" y="71259"/>
                  <a:pt x="96357" y="67674"/>
                  <a:pt x="90530" y="61848"/>
                </a:cubicBezTo>
                <a:cubicBezTo>
                  <a:pt x="89634" y="60951"/>
                  <a:pt x="88290" y="60951"/>
                  <a:pt x="87393" y="61848"/>
                </a:cubicBezTo>
                <a:cubicBezTo>
                  <a:pt x="86497" y="62744"/>
                  <a:pt x="86497" y="64089"/>
                  <a:pt x="87393" y="64985"/>
                </a:cubicBezTo>
                <a:cubicBezTo>
                  <a:pt x="94116" y="71707"/>
                  <a:pt x="103975" y="75741"/>
                  <a:pt x="114283" y="75741"/>
                </a:cubicBezTo>
                <a:cubicBezTo>
                  <a:pt x="114283" y="75741"/>
                  <a:pt x="114283" y="75741"/>
                  <a:pt x="114283" y="75741"/>
                </a:cubicBezTo>
                <a:cubicBezTo>
                  <a:pt x="124591" y="75741"/>
                  <a:pt x="134899" y="71707"/>
                  <a:pt x="141622" y="64537"/>
                </a:cubicBezTo>
                <a:cubicBezTo>
                  <a:pt x="156411" y="50195"/>
                  <a:pt x="156411" y="26442"/>
                  <a:pt x="142070" y="11653"/>
                </a:cubicBezTo>
                <a:close/>
              </a:path>
            </a:pathLst>
          </a:custGeom>
          <a:solidFill>
            <a:srgbClr val="231F20"/>
          </a:solidFill>
          <a:ln w="4477" cap="flat">
            <a:noFill/>
            <a:prstDash val="solid"/>
            <a:miter/>
          </a:ln>
        </p:spPr>
        <p:txBody>
          <a:bodyPr rtlCol="0" anchor="ctr"/>
          <a:lstStyle/>
          <a:p>
            <a:endParaRPr lang="en-US"/>
          </a:p>
        </p:txBody>
      </p:sp>
      <p:sp>
        <p:nvSpPr>
          <p:cNvPr id="3622" name="Freeform: Shape 3621">
            <a:extLst>
              <a:ext uri="{FF2B5EF4-FFF2-40B4-BE49-F238E27FC236}">
                <a16:creationId xmlns:a16="http://schemas.microsoft.com/office/drawing/2014/main" id="{460D70ED-D912-419F-B2FE-B0EDCA5A2B2A}"/>
              </a:ext>
              <a:ext uri="{C183D7F6-B498-43B3-948B-1728B52AA6E4}">
                <adec:decorative xmlns:adec="http://schemas.microsoft.com/office/drawing/2017/decorative" val="1"/>
              </a:ext>
            </a:extLst>
          </p:cNvPr>
          <p:cNvSpPr>
            <a:spLocks noChangeAspect="1"/>
          </p:cNvSpPr>
          <p:nvPr/>
        </p:nvSpPr>
        <p:spPr>
          <a:xfrm>
            <a:off x="2169033" y="2090044"/>
            <a:ext cx="152378" cy="80671"/>
          </a:xfrm>
          <a:custGeom>
            <a:avLst/>
            <a:gdLst>
              <a:gd name="connsiteX0" fmla="*/ 142070 w 152377"/>
              <a:gd name="connsiteY0" fmla="*/ 20616 h 80670"/>
              <a:gd name="connsiteX1" fmla="*/ 116076 w 152377"/>
              <a:gd name="connsiteY1" fmla="*/ 9412 h 80670"/>
              <a:gd name="connsiteX2" fmla="*/ 90082 w 152377"/>
              <a:gd name="connsiteY2" fmla="*/ 20616 h 80670"/>
              <a:gd name="connsiteX3" fmla="*/ 90082 w 152377"/>
              <a:gd name="connsiteY3" fmla="*/ 20616 h 80670"/>
              <a:gd name="connsiteX4" fmla="*/ 90082 w 152377"/>
              <a:gd name="connsiteY4" fmla="*/ 20616 h 80670"/>
              <a:gd name="connsiteX5" fmla="*/ 75293 w 152377"/>
              <a:gd name="connsiteY5" fmla="*/ 44817 h 80670"/>
              <a:gd name="connsiteX6" fmla="*/ 59607 w 152377"/>
              <a:gd name="connsiteY6" fmla="*/ 70363 h 80670"/>
              <a:gd name="connsiteX7" fmla="*/ 36750 w 152377"/>
              <a:gd name="connsiteY7" fmla="*/ 80223 h 80670"/>
              <a:gd name="connsiteX8" fmla="*/ 36750 w 152377"/>
              <a:gd name="connsiteY8" fmla="*/ 80223 h 80670"/>
              <a:gd name="connsiteX9" fmla="*/ 13893 w 152377"/>
              <a:gd name="connsiteY9" fmla="*/ 70363 h 80670"/>
              <a:gd name="connsiteX10" fmla="*/ 13893 w 152377"/>
              <a:gd name="connsiteY10" fmla="*/ 23305 h 80670"/>
              <a:gd name="connsiteX11" fmla="*/ 38094 w 152377"/>
              <a:gd name="connsiteY11" fmla="*/ 13445 h 80670"/>
              <a:gd name="connsiteX12" fmla="*/ 38094 w 152377"/>
              <a:gd name="connsiteY12" fmla="*/ 13445 h 80670"/>
              <a:gd name="connsiteX13" fmla="*/ 59158 w 152377"/>
              <a:gd name="connsiteY13" fmla="*/ 20616 h 80670"/>
              <a:gd name="connsiteX14" fmla="*/ 45713 w 152377"/>
              <a:gd name="connsiteY14" fmla="*/ 24649 h 80670"/>
              <a:gd name="connsiteX15" fmla="*/ 44369 w 152377"/>
              <a:gd name="connsiteY15" fmla="*/ 27339 h 80670"/>
              <a:gd name="connsiteX16" fmla="*/ 46610 w 152377"/>
              <a:gd name="connsiteY16" fmla="*/ 28683 h 80670"/>
              <a:gd name="connsiteX17" fmla="*/ 47506 w 152377"/>
              <a:gd name="connsiteY17" fmla="*/ 28683 h 80670"/>
              <a:gd name="connsiteX18" fmla="*/ 64536 w 152377"/>
              <a:gd name="connsiteY18" fmla="*/ 23305 h 80670"/>
              <a:gd name="connsiteX19" fmla="*/ 65881 w 152377"/>
              <a:gd name="connsiteY19" fmla="*/ 20616 h 80670"/>
              <a:gd name="connsiteX20" fmla="*/ 60503 w 152377"/>
              <a:gd name="connsiteY20" fmla="*/ 1793 h 80670"/>
              <a:gd name="connsiteX21" fmla="*/ 57814 w 152377"/>
              <a:gd name="connsiteY21" fmla="*/ 0 h 80670"/>
              <a:gd name="connsiteX22" fmla="*/ 56021 w 152377"/>
              <a:gd name="connsiteY22" fmla="*/ 2689 h 80670"/>
              <a:gd name="connsiteX23" fmla="*/ 59607 w 152377"/>
              <a:gd name="connsiteY23" fmla="*/ 15686 h 80670"/>
              <a:gd name="connsiteX24" fmla="*/ 38094 w 152377"/>
              <a:gd name="connsiteY24" fmla="*/ 8963 h 80670"/>
              <a:gd name="connsiteX25" fmla="*/ 38094 w 152377"/>
              <a:gd name="connsiteY25" fmla="*/ 8963 h 80670"/>
              <a:gd name="connsiteX26" fmla="*/ 10756 w 152377"/>
              <a:gd name="connsiteY26" fmla="*/ 20168 h 80670"/>
              <a:gd name="connsiteX27" fmla="*/ 10756 w 152377"/>
              <a:gd name="connsiteY27" fmla="*/ 73500 h 80670"/>
              <a:gd name="connsiteX28" fmla="*/ 36750 w 152377"/>
              <a:gd name="connsiteY28" fmla="*/ 84704 h 80670"/>
              <a:gd name="connsiteX29" fmla="*/ 36750 w 152377"/>
              <a:gd name="connsiteY29" fmla="*/ 84704 h 80670"/>
              <a:gd name="connsiteX30" fmla="*/ 62744 w 152377"/>
              <a:gd name="connsiteY30" fmla="*/ 73500 h 80670"/>
              <a:gd name="connsiteX31" fmla="*/ 62744 w 152377"/>
              <a:gd name="connsiteY31" fmla="*/ 73500 h 80670"/>
              <a:gd name="connsiteX32" fmla="*/ 62744 w 152377"/>
              <a:gd name="connsiteY32" fmla="*/ 73500 h 80670"/>
              <a:gd name="connsiteX33" fmla="*/ 78878 w 152377"/>
              <a:gd name="connsiteY33" fmla="*/ 46610 h 80670"/>
              <a:gd name="connsiteX34" fmla="*/ 92771 w 152377"/>
              <a:gd name="connsiteY34" fmla="*/ 23305 h 80670"/>
              <a:gd name="connsiteX35" fmla="*/ 115628 w 152377"/>
              <a:gd name="connsiteY35" fmla="*/ 13445 h 80670"/>
              <a:gd name="connsiteX36" fmla="*/ 138485 w 152377"/>
              <a:gd name="connsiteY36" fmla="*/ 23305 h 80670"/>
              <a:gd name="connsiteX37" fmla="*/ 138485 w 152377"/>
              <a:gd name="connsiteY37" fmla="*/ 70363 h 80670"/>
              <a:gd name="connsiteX38" fmla="*/ 114283 w 152377"/>
              <a:gd name="connsiteY38" fmla="*/ 80223 h 80670"/>
              <a:gd name="connsiteX39" fmla="*/ 114283 w 152377"/>
              <a:gd name="connsiteY39" fmla="*/ 80223 h 80670"/>
              <a:gd name="connsiteX40" fmla="*/ 90530 w 152377"/>
              <a:gd name="connsiteY40" fmla="*/ 70811 h 80670"/>
              <a:gd name="connsiteX41" fmla="*/ 87393 w 152377"/>
              <a:gd name="connsiteY41" fmla="*/ 70811 h 80670"/>
              <a:gd name="connsiteX42" fmla="*/ 87393 w 152377"/>
              <a:gd name="connsiteY42" fmla="*/ 73948 h 80670"/>
              <a:gd name="connsiteX43" fmla="*/ 114283 w 152377"/>
              <a:gd name="connsiteY43" fmla="*/ 84704 h 80670"/>
              <a:gd name="connsiteX44" fmla="*/ 114283 w 152377"/>
              <a:gd name="connsiteY44" fmla="*/ 84704 h 80670"/>
              <a:gd name="connsiteX45" fmla="*/ 141622 w 152377"/>
              <a:gd name="connsiteY45" fmla="*/ 73500 h 80670"/>
              <a:gd name="connsiteX46" fmla="*/ 142070 w 152377"/>
              <a:gd name="connsiteY46" fmla="*/ 20616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52377" h="80670">
                <a:moveTo>
                  <a:pt x="142070" y="20616"/>
                </a:moveTo>
                <a:cubicBezTo>
                  <a:pt x="134899" y="13445"/>
                  <a:pt x="125936" y="9412"/>
                  <a:pt x="116076" y="9412"/>
                </a:cubicBezTo>
                <a:cubicBezTo>
                  <a:pt x="106216" y="9412"/>
                  <a:pt x="96805" y="13445"/>
                  <a:pt x="90082" y="20616"/>
                </a:cubicBezTo>
                <a:cubicBezTo>
                  <a:pt x="90082" y="20616"/>
                  <a:pt x="90082" y="20616"/>
                  <a:pt x="90082" y="20616"/>
                </a:cubicBezTo>
                <a:cubicBezTo>
                  <a:pt x="90082" y="20616"/>
                  <a:pt x="90082" y="20616"/>
                  <a:pt x="90082" y="20616"/>
                </a:cubicBezTo>
                <a:cubicBezTo>
                  <a:pt x="83360" y="27787"/>
                  <a:pt x="79326" y="36750"/>
                  <a:pt x="75293" y="44817"/>
                </a:cubicBezTo>
                <a:cubicBezTo>
                  <a:pt x="71259" y="53780"/>
                  <a:pt x="66777" y="62744"/>
                  <a:pt x="59607" y="70363"/>
                </a:cubicBezTo>
                <a:cubicBezTo>
                  <a:pt x="53332" y="76637"/>
                  <a:pt x="45265" y="80223"/>
                  <a:pt x="36750" y="80223"/>
                </a:cubicBezTo>
                <a:cubicBezTo>
                  <a:pt x="36750" y="80223"/>
                  <a:pt x="36750" y="80223"/>
                  <a:pt x="36750" y="80223"/>
                </a:cubicBezTo>
                <a:cubicBezTo>
                  <a:pt x="28235" y="80223"/>
                  <a:pt x="19719" y="76637"/>
                  <a:pt x="13893" y="70363"/>
                </a:cubicBezTo>
                <a:cubicBezTo>
                  <a:pt x="1344" y="57366"/>
                  <a:pt x="1344" y="36302"/>
                  <a:pt x="13893" y="23305"/>
                </a:cubicBezTo>
                <a:cubicBezTo>
                  <a:pt x="20168" y="17031"/>
                  <a:pt x="28683" y="13445"/>
                  <a:pt x="38094" y="13445"/>
                </a:cubicBezTo>
                <a:cubicBezTo>
                  <a:pt x="38094" y="13445"/>
                  <a:pt x="38094" y="13445"/>
                  <a:pt x="38094" y="13445"/>
                </a:cubicBezTo>
                <a:cubicBezTo>
                  <a:pt x="46161" y="13445"/>
                  <a:pt x="53332" y="16134"/>
                  <a:pt x="59158" y="20616"/>
                </a:cubicBezTo>
                <a:lnTo>
                  <a:pt x="45713" y="24649"/>
                </a:lnTo>
                <a:cubicBezTo>
                  <a:pt x="44369" y="25098"/>
                  <a:pt x="43921" y="26442"/>
                  <a:pt x="44369" y="27339"/>
                </a:cubicBezTo>
                <a:cubicBezTo>
                  <a:pt x="44817" y="28235"/>
                  <a:pt x="45713" y="28683"/>
                  <a:pt x="46610" y="28683"/>
                </a:cubicBezTo>
                <a:cubicBezTo>
                  <a:pt x="46610" y="28683"/>
                  <a:pt x="47058" y="28683"/>
                  <a:pt x="47506" y="28683"/>
                </a:cubicBezTo>
                <a:lnTo>
                  <a:pt x="64536" y="23305"/>
                </a:lnTo>
                <a:cubicBezTo>
                  <a:pt x="65881" y="22857"/>
                  <a:pt x="66329" y="21960"/>
                  <a:pt x="65881" y="20616"/>
                </a:cubicBezTo>
                <a:lnTo>
                  <a:pt x="60503" y="1793"/>
                </a:lnTo>
                <a:cubicBezTo>
                  <a:pt x="60055" y="448"/>
                  <a:pt x="59158" y="0"/>
                  <a:pt x="57814" y="0"/>
                </a:cubicBezTo>
                <a:cubicBezTo>
                  <a:pt x="56469" y="448"/>
                  <a:pt x="56021" y="1345"/>
                  <a:pt x="56021" y="2689"/>
                </a:cubicBezTo>
                <a:lnTo>
                  <a:pt x="59607" y="15686"/>
                </a:lnTo>
                <a:cubicBezTo>
                  <a:pt x="53332" y="11653"/>
                  <a:pt x="45713" y="8963"/>
                  <a:pt x="38094" y="8963"/>
                </a:cubicBezTo>
                <a:cubicBezTo>
                  <a:pt x="38094" y="8963"/>
                  <a:pt x="38094" y="8963"/>
                  <a:pt x="38094" y="8963"/>
                </a:cubicBezTo>
                <a:cubicBezTo>
                  <a:pt x="27787" y="8963"/>
                  <a:pt x="17479" y="12997"/>
                  <a:pt x="10756" y="20168"/>
                </a:cubicBezTo>
                <a:cubicBezTo>
                  <a:pt x="-3585" y="34958"/>
                  <a:pt x="-3585" y="58710"/>
                  <a:pt x="10756" y="73500"/>
                </a:cubicBezTo>
                <a:cubicBezTo>
                  <a:pt x="17927" y="80671"/>
                  <a:pt x="26890" y="84704"/>
                  <a:pt x="36750" y="84704"/>
                </a:cubicBezTo>
                <a:cubicBezTo>
                  <a:pt x="36750" y="84704"/>
                  <a:pt x="36750" y="84704"/>
                  <a:pt x="36750" y="84704"/>
                </a:cubicBezTo>
                <a:cubicBezTo>
                  <a:pt x="46610" y="84704"/>
                  <a:pt x="56021" y="80671"/>
                  <a:pt x="62744" y="73500"/>
                </a:cubicBezTo>
                <a:cubicBezTo>
                  <a:pt x="62744" y="73500"/>
                  <a:pt x="62744" y="73500"/>
                  <a:pt x="62744" y="73500"/>
                </a:cubicBezTo>
                <a:cubicBezTo>
                  <a:pt x="62744" y="73500"/>
                  <a:pt x="62744" y="73500"/>
                  <a:pt x="62744" y="73500"/>
                </a:cubicBezTo>
                <a:cubicBezTo>
                  <a:pt x="70363" y="64985"/>
                  <a:pt x="74844" y="55573"/>
                  <a:pt x="78878" y="46610"/>
                </a:cubicBezTo>
                <a:cubicBezTo>
                  <a:pt x="82911" y="38094"/>
                  <a:pt x="86497" y="30027"/>
                  <a:pt x="92771" y="23305"/>
                </a:cubicBezTo>
                <a:cubicBezTo>
                  <a:pt x="99046" y="17031"/>
                  <a:pt x="107113" y="13445"/>
                  <a:pt x="115628" y="13445"/>
                </a:cubicBezTo>
                <a:cubicBezTo>
                  <a:pt x="124143" y="13445"/>
                  <a:pt x="132658" y="17031"/>
                  <a:pt x="138485" y="23305"/>
                </a:cubicBezTo>
                <a:cubicBezTo>
                  <a:pt x="151033" y="36302"/>
                  <a:pt x="151033" y="57366"/>
                  <a:pt x="138485" y="70363"/>
                </a:cubicBezTo>
                <a:cubicBezTo>
                  <a:pt x="132210" y="76637"/>
                  <a:pt x="123695" y="80223"/>
                  <a:pt x="114283" y="80223"/>
                </a:cubicBezTo>
                <a:cubicBezTo>
                  <a:pt x="114283" y="80223"/>
                  <a:pt x="114283" y="80223"/>
                  <a:pt x="114283" y="80223"/>
                </a:cubicBezTo>
                <a:cubicBezTo>
                  <a:pt x="105320" y="80223"/>
                  <a:pt x="96357" y="76637"/>
                  <a:pt x="90530" y="70811"/>
                </a:cubicBezTo>
                <a:cubicBezTo>
                  <a:pt x="89634" y="69915"/>
                  <a:pt x="88290" y="69915"/>
                  <a:pt x="87393" y="70811"/>
                </a:cubicBezTo>
                <a:cubicBezTo>
                  <a:pt x="86497" y="71707"/>
                  <a:pt x="86497" y="73052"/>
                  <a:pt x="87393" y="73948"/>
                </a:cubicBezTo>
                <a:cubicBezTo>
                  <a:pt x="94116" y="80671"/>
                  <a:pt x="103976" y="84704"/>
                  <a:pt x="114283" y="84704"/>
                </a:cubicBezTo>
                <a:cubicBezTo>
                  <a:pt x="114283" y="84704"/>
                  <a:pt x="114283" y="84704"/>
                  <a:pt x="114283" y="84704"/>
                </a:cubicBezTo>
                <a:cubicBezTo>
                  <a:pt x="124591" y="84704"/>
                  <a:pt x="134899" y="80671"/>
                  <a:pt x="141622" y="73500"/>
                </a:cubicBezTo>
                <a:cubicBezTo>
                  <a:pt x="156411" y="59607"/>
                  <a:pt x="156411" y="35406"/>
                  <a:pt x="142070" y="20616"/>
                </a:cubicBezTo>
                <a:close/>
              </a:path>
            </a:pathLst>
          </a:custGeom>
          <a:solidFill>
            <a:srgbClr val="231F20"/>
          </a:solidFill>
          <a:ln w="4477" cap="flat">
            <a:noFill/>
            <a:prstDash val="solid"/>
            <a:miter/>
          </a:ln>
        </p:spPr>
        <p:txBody>
          <a:bodyPr rtlCol="0" anchor="ctr"/>
          <a:lstStyle/>
          <a:p>
            <a:endParaRPr lang="en-US"/>
          </a:p>
        </p:txBody>
      </p:sp>
      <p:grpSp>
        <p:nvGrpSpPr>
          <p:cNvPr id="3623" name="Group 3622">
            <a:extLst>
              <a:ext uri="{FF2B5EF4-FFF2-40B4-BE49-F238E27FC236}">
                <a16:creationId xmlns:a16="http://schemas.microsoft.com/office/drawing/2014/main" id="{CD8F6360-43C6-4F4D-90B2-BD9808390E06}"/>
              </a:ext>
              <a:ext uri="{C183D7F6-B498-43B3-948B-1728B52AA6E4}">
                <adec:decorative xmlns:adec="http://schemas.microsoft.com/office/drawing/2017/decorative" val="1"/>
              </a:ext>
            </a:extLst>
          </p:cNvPr>
          <p:cNvGrpSpPr>
            <a:grpSpLocks noChangeAspect="1"/>
          </p:cNvGrpSpPr>
          <p:nvPr/>
        </p:nvGrpSpPr>
        <p:grpSpPr>
          <a:xfrm>
            <a:off x="2945264" y="2056431"/>
            <a:ext cx="152378" cy="152378"/>
            <a:chOff x="8846890" y="4902967"/>
            <a:chExt cx="152378" cy="152378"/>
          </a:xfrm>
        </p:grpSpPr>
        <p:sp>
          <p:nvSpPr>
            <p:cNvPr id="3624" name="Freeform: Shape 3623">
              <a:extLst>
                <a:ext uri="{FF2B5EF4-FFF2-40B4-BE49-F238E27FC236}">
                  <a16:creationId xmlns:a16="http://schemas.microsoft.com/office/drawing/2014/main" id="{6C9C4DED-0D08-4C97-BA7C-B7A13648B88E}"/>
                </a:ext>
              </a:extLst>
            </p:cNvPr>
            <p:cNvSpPr/>
            <p:nvPr/>
          </p:nvSpPr>
          <p:spPr>
            <a:xfrm>
              <a:off x="8846890" y="4902967"/>
              <a:ext cx="152378" cy="152378"/>
            </a:xfrm>
            <a:custGeom>
              <a:avLst/>
              <a:gdLst>
                <a:gd name="connsiteX0" fmla="*/ 142518 w 152377"/>
                <a:gd name="connsiteY0" fmla="*/ 53780 h 152377"/>
                <a:gd name="connsiteX1" fmla="*/ 152826 w 152377"/>
                <a:gd name="connsiteY1" fmla="*/ 43473 h 152377"/>
                <a:gd name="connsiteX2" fmla="*/ 152826 w 152377"/>
                <a:gd name="connsiteY2" fmla="*/ 29579 h 152377"/>
                <a:gd name="connsiteX3" fmla="*/ 152826 w 152377"/>
                <a:gd name="connsiteY3" fmla="*/ 29579 h 152377"/>
                <a:gd name="connsiteX4" fmla="*/ 152826 w 152377"/>
                <a:gd name="connsiteY4" fmla="*/ 29131 h 152377"/>
                <a:gd name="connsiteX5" fmla="*/ 152378 w 152377"/>
                <a:gd name="connsiteY5" fmla="*/ 28235 h 152377"/>
                <a:gd name="connsiteX6" fmla="*/ 152378 w 152377"/>
                <a:gd name="connsiteY6" fmla="*/ 28235 h 152377"/>
                <a:gd name="connsiteX7" fmla="*/ 130417 w 152377"/>
                <a:gd name="connsiteY7" fmla="*/ 896 h 152377"/>
                <a:gd name="connsiteX8" fmla="*/ 128625 w 152377"/>
                <a:gd name="connsiteY8" fmla="*/ 0 h 152377"/>
                <a:gd name="connsiteX9" fmla="*/ 24201 w 152377"/>
                <a:gd name="connsiteY9" fmla="*/ 0 h 152377"/>
                <a:gd name="connsiteX10" fmla="*/ 22409 w 152377"/>
                <a:gd name="connsiteY10" fmla="*/ 896 h 152377"/>
                <a:gd name="connsiteX11" fmla="*/ 448 w 152377"/>
                <a:gd name="connsiteY11" fmla="*/ 28235 h 152377"/>
                <a:gd name="connsiteX12" fmla="*/ 448 w 152377"/>
                <a:gd name="connsiteY12" fmla="*/ 28235 h 152377"/>
                <a:gd name="connsiteX13" fmla="*/ 0 w 152377"/>
                <a:gd name="connsiteY13" fmla="*/ 29131 h 152377"/>
                <a:gd name="connsiteX14" fmla="*/ 0 w 152377"/>
                <a:gd name="connsiteY14" fmla="*/ 29579 h 152377"/>
                <a:gd name="connsiteX15" fmla="*/ 0 w 152377"/>
                <a:gd name="connsiteY15" fmla="*/ 29579 h 152377"/>
                <a:gd name="connsiteX16" fmla="*/ 0 w 152377"/>
                <a:gd name="connsiteY16" fmla="*/ 43473 h 152377"/>
                <a:gd name="connsiteX17" fmla="*/ 10308 w 152377"/>
                <a:gd name="connsiteY17" fmla="*/ 53780 h 152377"/>
                <a:gd name="connsiteX18" fmla="*/ 10756 w 152377"/>
                <a:gd name="connsiteY18" fmla="*/ 53780 h 152377"/>
                <a:gd name="connsiteX19" fmla="*/ 10756 w 152377"/>
                <a:gd name="connsiteY19" fmla="*/ 147896 h 152377"/>
                <a:gd name="connsiteX20" fmla="*/ 2241 w 152377"/>
                <a:gd name="connsiteY20" fmla="*/ 147896 h 152377"/>
                <a:gd name="connsiteX21" fmla="*/ 0 w 152377"/>
                <a:gd name="connsiteY21" fmla="*/ 150137 h 152377"/>
                <a:gd name="connsiteX22" fmla="*/ 2241 w 152377"/>
                <a:gd name="connsiteY22" fmla="*/ 152378 h 152377"/>
                <a:gd name="connsiteX23" fmla="*/ 12997 w 152377"/>
                <a:gd name="connsiteY23" fmla="*/ 152378 h 152377"/>
                <a:gd name="connsiteX24" fmla="*/ 30476 w 152377"/>
                <a:gd name="connsiteY24" fmla="*/ 152378 h 152377"/>
                <a:gd name="connsiteX25" fmla="*/ 61399 w 152377"/>
                <a:gd name="connsiteY25" fmla="*/ 152378 h 152377"/>
                <a:gd name="connsiteX26" fmla="*/ 138933 w 152377"/>
                <a:gd name="connsiteY26" fmla="*/ 152378 h 152377"/>
                <a:gd name="connsiteX27" fmla="*/ 149689 w 152377"/>
                <a:gd name="connsiteY27" fmla="*/ 152378 h 152377"/>
                <a:gd name="connsiteX28" fmla="*/ 151930 w 152377"/>
                <a:gd name="connsiteY28" fmla="*/ 150137 h 152377"/>
                <a:gd name="connsiteX29" fmla="*/ 149689 w 152377"/>
                <a:gd name="connsiteY29" fmla="*/ 147896 h 152377"/>
                <a:gd name="connsiteX30" fmla="*/ 141174 w 152377"/>
                <a:gd name="connsiteY30" fmla="*/ 147896 h 152377"/>
                <a:gd name="connsiteX31" fmla="*/ 141174 w 152377"/>
                <a:gd name="connsiteY31" fmla="*/ 53780 h 152377"/>
                <a:gd name="connsiteX32" fmla="*/ 142518 w 152377"/>
                <a:gd name="connsiteY32" fmla="*/ 53780 h 152377"/>
                <a:gd name="connsiteX33" fmla="*/ 148793 w 152377"/>
                <a:gd name="connsiteY33" fmla="*/ 43473 h 152377"/>
                <a:gd name="connsiteX34" fmla="*/ 142966 w 152377"/>
                <a:gd name="connsiteY34" fmla="*/ 49299 h 152377"/>
                <a:gd name="connsiteX35" fmla="*/ 137140 w 152377"/>
                <a:gd name="connsiteY35" fmla="*/ 43473 h 152377"/>
                <a:gd name="connsiteX36" fmla="*/ 137140 w 152377"/>
                <a:gd name="connsiteY36" fmla="*/ 31820 h 152377"/>
                <a:gd name="connsiteX37" fmla="*/ 149241 w 152377"/>
                <a:gd name="connsiteY37" fmla="*/ 31820 h 152377"/>
                <a:gd name="connsiteX38" fmla="*/ 149241 w 152377"/>
                <a:gd name="connsiteY38" fmla="*/ 43473 h 152377"/>
                <a:gd name="connsiteX39" fmla="*/ 132210 w 152377"/>
                <a:gd name="connsiteY39" fmla="*/ 43473 h 152377"/>
                <a:gd name="connsiteX40" fmla="*/ 126384 w 152377"/>
                <a:gd name="connsiteY40" fmla="*/ 49299 h 152377"/>
                <a:gd name="connsiteX41" fmla="*/ 120558 w 152377"/>
                <a:gd name="connsiteY41" fmla="*/ 43473 h 152377"/>
                <a:gd name="connsiteX42" fmla="*/ 120558 w 152377"/>
                <a:gd name="connsiteY42" fmla="*/ 31820 h 152377"/>
                <a:gd name="connsiteX43" fmla="*/ 132658 w 152377"/>
                <a:gd name="connsiteY43" fmla="*/ 31820 h 152377"/>
                <a:gd name="connsiteX44" fmla="*/ 132658 w 152377"/>
                <a:gd name="connsiteY44" fmla="*/ 43473 h 152377"/>
                <a:gd name="connsiteX45" fmla="*/ 115628 w 152377"/>
                <a:gd name="connsiteY45" fmla="*/ 43473 h 152377"/>
                <a:gd name="connsiteX46" fmla="*/ 109802 w 152377"/>
                <a:gd name="connsiteY46" fmla="*/ 49299 h 152377"/>
                <a:gd name="connsiteX47" fmla="*/ 103976 w 152377"/>
                <a:gd name="connsiteY47" fmla="*/ 43473 h 152377"/>
                <a:gd name="connsiteX48" fmla="*/ 103976 w 152377"/>
                <a:gd name="connsiteY48" fmla="*/ 31820 h 152377"/>
                <a:gd name="connsiteX49" fmla="*/ 116076 w 152377"/>
                <a:gd name="connsiteY49" fmla="*/ 31820 h 152377"/>
                <a:gd name="connsiteX50" fmla="*/ 116076 w 152377"/>
                <a:gd name="connsiteY50" fmla="*/ 43473 h 152377"/>
                <a:gd name="connsiteX51" fmla="*/ 99046 w 152377"/>
                <a:gd name="connsiteY51" fmla="*/ 43473 h 152377"/>
                <a:gd name="connsiteX52" fmla="*/ 93219 w 152377"/>
                <a:gd name="connsiteY52" fmla="*/ 49299 h 152377"/>
                <a:gd name="connsiteX53" fmla="*/ 87393 w 152377"/>
                <a:gd name="connsiteY53" fmla="*/ 43473 h 152377"/>
                <a:gd name="connsiteX54" fmla="*/ 87393 w 152377"/>
                <a:gd name="connsiteY54" fmla="*/ 31820 h 152377"/>
                <a:gd name="connsiteX55" fmla="*/ 99494 w 152377"/>
                <a:gd name="connsiteY55" fmla="*/ 31820 h 152377"/>
                <a:gd name="connsiteX56" fmla="*/ 99494 w 152377"/>
                <a:gd name="connsiteY56" fmla="*/ 43473 h 152377"/>
                <a:gd name="connsiteX57" fmla="*/ 66329 w 152377"/>
                <a:gd name="connsiteY57" fmla="*/ 43473 h 152377"/>
                <a:gd name="connsiteX58" fmla="*/ 60503 w 152377"/>
                <a:gd name="connsiteY58" fmla="*/ 49299 h 152377"/>
                <a:gd name="connsiteX59" fmla="*/ 54677 w 152377"/>
                <a:gd name="connsiteY59" fmla="*/ 43473 h 152377"/>
                <a:gd name="connsiteX60" fmla="*/ 54677 w 152377"/>
                <a:gd name="connsiteY60" fmla="*/ 31820 h 152377"/>
                <a:gd name="connsiteX61" fmla="*/ 66777 w 152377"/>
                <a:gd name="connsiteY61" fmla="*/ 31820 h 152377"/>
                <a:gd name="connsiteX62" fmla="*/ 66777 w 152377"/>
                <a:gd name="connsiteY62" fmla="*/ 43473 h 152377"/>
                <a:gd name="connsiteX63" fmla="*/ 47954 w 152377"/>
                <a:gd name="connsiteY63" fmla="*/ 4482 h 152377"/>
                <a:gd name="connsiteX64" fmla="*/ 34061 w 152377"/>
                <a:gd name="connsiteY64" fmla="*/ 27339 h 152377"/>
                <a:gd name="connsiteX65" fmla="*/ 23305 w 152377"/>
                <a:gd name="connsiteY65" fmla="*/ 27339 h 152377"/>
                <a:gd name="connsiteX66" fmla="*/ 39439 w 152377"/>
                <a:gd name="connsiteY66" fmla="*/ 4482 h 152377"/>
                <a:gd name="connsiteX67" fmla="*/ 47954 w 152377"/>
                <a:gd name="connsiteY67" fmla="*/ 4482 h 152377"/>
                <a:gd name="connsiteX68" fmla="*/ 62295 w 152377"/>
                <a:gd name="connsiteY68" fmla="*/ 4482 h 152377"/>
                <a:gd name="connsiteX69" fmla="*/ 50643 w 152377"/>
                <a:gd name="connsiteY69" fmla="*/ 27339 h 152377"/>
                <a:gd name="connsiteX70" fmla="*/ 39439 w 152377"/>
                <a:gd name="connsiteY70" fmla="*/ 27339 h 152377"/>
                <a:gd name="connsiteX71" fmla="*/ 53332 w 152377"/>
                <a:gd name="connsiteY71" fmla="*/ 4482 h 152377"/>
                <a:gd name="connsiteX72" fmla="*/ 62295 w 152377"/>
                <a:gd name="connsiteY72" fmla="*/ 4482 h 152377"/>
                <a:gd name="connsiteX73" fmla="*/ 71259 w 152377"/>
                <a:gd name="connsiteY73" fmla="*/ 4482 h 152377"/>
                <a:gd name="connsiteX74" fmla="*/ 66777 w 152377"/>
                <a:gd name="connsiteY74" fmla="*/ 27339 h 152377"/>
                <a:gd name="connsiteX75" fmla="*/ 55573 w 152377"/>
                <a:gd name="connsiteY75" fmla="*/ 27339 h 152377"/>
                <a:gd name="connsiteX76" fmla="*/ 67226 w 152377"/>
                <a:gd name="connsiteY76" fmla="*/ 4482 h 152377"/>
                <a:gd name="connsiteX77" fmla="*/ 71259 w 152377"/>
                <a:gd name="connsiteY77" fmla="*/ 4482 h 152377"/>
                <a:gd name="connsiteX78" fmla="*/ 86497 w 152377"/>
                <a:gd name="connsiteY78" fmla="*/ 4482 h 152377"/>
                <a:gd name="connsiteX79" fmla="*/ 98149 w 152377"/>
                <a:gd name="connsiteY79" fmla="*/ 27339 h 152377"/>
                <a:gd name="connsiteX80" fmla="*/ 86945 w 152377"/>
                <a:gd name="connsiteY80" fmla="*/ 27339 h 152377"/>
                <a:gd name="connsiteX81" fmla="*/ 82463 w 152377"/>
                <a:gd name="connsiteY81" fmla="*/ 4482 h 152377"/>
                <a:gd name="connsiteX82" fmla="*/ 86497 w 152377"/>
                <a:gd name="connsiteY82" fmla="*/ 4482 h 152377"/>
                <a:gd name="connsiteX83" fmla="*/ 100390 w 152377"/>
                <a:gd name="connsiteY83" fmla="*/ 4482 h 152377"/>
                <a:gd name="connsiteX84" fmla="*/ 114283 w 152377"/>
                <a:gd name="connsiteY84" fmla="*/ 27339 h 152377"/>
                <a:gd name="connsiteX85" fmla="*/ 103079 w 152377"/>
                <a:gd name="connsiteY85" fmla="*/ 27339 h 152377"/>
                <a:gd name="connsiteX86" fmla="*/ 91427 w 152377"/>
                <a:gd name="connsiteY86" fmla="*/ 4482 h 152377"/>
                <a:gd name="connsiteX87" fmla="*/ 100390 w 152377"/>
                <a:gd name="connsiteY87" fmla="*/ 4482 h 152377"/>
                <a:gd name="connsiteX88" fmla="*/ 113835 w 152377"/>
                <a:gd name="connsiteY88" fmla="*/ 4482 h 152377"/>
                <a:gd name="connsiteX89" fmla="*/ 129969 w 152377"/>
                <a:gd name="connsiteY89" fmla="*/ 27339 h 152377"/>
                <a:gd name="connsiteX90" fmla="*/ 119213 w 152377"/>
                <a:gd name="connsiteY90" fmla="*/ 27339 h 152377"/>
                <a:gd name="connsiteX91" fmla="*/ 105320 w 152377"/>
                <a:gd name="connsiteY91" fmla="*/ 4482 h 152377"/>
                <a:gd name="connsiteX92" fmla="*/ 113835 w 152377"/>
                <a:gd name="connsiteY92" fmla="*/ 4482 h 152377"/>
                <a:gd name="connsiteX93" fmla="*/ 82463 w 152377"/>
                <a:gd name="connsiteY93" fmla="*/ 27339 h 152377"/>
                <a:gd name="connsiteX94" fmla="*/ 71259 w 152377"/>
                <a:gd name="connsiteY94" fmla="*/ 27339 h 152377"/>
                <a:gd name="connsiteX95" fmla="*/ 75741 w 152377"/>
                <a:gd name="connsiteY95" fmla="*/ 4482 h 152377"/>
                <a:gd name="connsiteX96" fmla="*/ 77533 w 152377"/>
                <a:gd name="connsiteY96" fmla="*/ 4482 h 152377"/>
                <a:gd name="connsiteX97" fmla="*/ 82463 w 152377"/>
                <a:gd name="connsiteY97" fmla="*/ 27339 h 152377"/>
                <a:gd name="connsiteX98" fmla="*/ 21512 w 152377"/>
                <a:gd name="connsiteY98" fmla="*/ 31820 h 152377"/>
                <a:gd name="connsiteX99" fmla="*/ 33613 w 152377"/>
                <a:gd name="connsiteY99" fmla="*/ 31820 h 152377"/>
                <a:gd name="connsiteX100" fmla="*/ 33613 w 152377"/>
                <a:gd name="connsiteY100" fmla="*/ 43473 h 152377"/>
                <a:gd name="connsiteX101" fmla="*/ 27787 w 152377"/>
                <a:gd name="connsiteY101" fmla="*/ 49299 h 152377"/>
                <a:gd name="connsiteX102" fmla="*/ 21960 w 152377"/>
                <a:gd name="connsiteY102" fmla="*/ 43473 h 152377"/>
                <a:gd name="connsiteX103" fmla="*/ 21960 w 152377"/>
                <a:gd name="connsiteY103" fmla="*/ 31820 h 152377"/>
                <a:gd name="connsiteX104" fmla="*/ 38094 w 152377"/>
                <a:gd name="connsiteY104" fmla="*/ 31820 h 152377"/>
                <a:gd name="connsiteX105" fmla="*/ 50195 w 152377"/>
                <a:gd name="connsiteY105" fmla="*/ 31820 h 152377"/>
                <a:gd name="connsiteX106" fmla="*/ 50195 w 152377"/>
                <a:gd name="connsiteY106" fmla="*/ 43473 h 152377"/>
                <a:gd name="connsiteX107" fmla="*/ 44369 w 152377"/>
                <a:gd name="connsiteY107" fmla="*/ 49299 h 152377"/>
                <a:gd name="connsiteX108" fmla="*/ 38543 w 152377"/>
                <a:gd name="connsiteY108" fmla="*/ 43473 h 152377"/>
                <a:gd name="connsiteX109" fmla="*/ 38543 w 152377"/>
                <a:gd name="connsiteY109" fmla="*/ 31820 h 152377"/>
                <a:gd name="connsiteX110" fmla="*/ 70811 w 152377"/>
                <a:gd name="connsiteY110" fmla="*/ 31820 h 152377"/>
                <a:gd name="connsiteX111" fmla="*/ 82911 w 152377"/>
                <a:gd name="connsiteY111" fmla="*/ 31820 h 152377"/>
                <a:gd name="connsiteX112" fmla="*/ 82911 w 152377"/>
                <a:gd name="connsiteY112" fmla="*/ 43473 h 152377"/>
                <a:gd name="connsiteX113" fmla="*/ 77085 w 152377"/>
                <a:gd name="connsiteY113" fmla="*/ 49299 h 152377"/>
                <a:gd name="connsiteX114" fmla="*/ 71259 w 152377"/>
                <a:gd name="connsiteY114" fmla="*/ 43473 h 152377"/>
                <a:gd name="connsiteX115" fmla="*/ 71259 w 152377"/>
                <a:gd name="connsiteY115" fmla="*/ 31820 h 152377"/>
                <a:gd name="connsiteX116" fmla="*/ 146103 w 152377"/>
                <a:gd name="connsiteY116" fmla="*/ 27339 h 152377"/>
                <a:gd name="connsiteX117" fmla="*/ 135347 w 152377"/>
                <a:gd name="connsiteY117" fmla="*/ 27339 h 152377"/>
                <a:gd name="connsiteX118" fmla="*/ 119213 w 152377"/>
                <a:gd name="connsiteY118" fmla="*/ 4482 h 152377"/>
                <a:gd name="connsiteX119" fmla="*/ 127729 w 152377"/>
                <a:gd name="connsiteY119" fmla="*/ 4482 h 152377"/>
                <a:gd name="connsiteX120" fmla="*/ 146103 w 152377"/>
                <a:gd name="connsiteY120" fmla="*/ 27339 h 152377"/>
                <a:gd name="connsiteX121" fmla="*/ 25546 w 152377"/>
                <a:gd name="connsiteY121" fmla="*/ 4482 h 152377"/>
                <a:gd name="connsiteX122" fmla="*/ 34061 w 152377"/>
                <a:gd name="connsiteY122" fmla="*/ 4482 h 152377"/>
                <a:gd name="connsiteX123" fmla="*/ 17927 w 152377"/>
                <a:gd name="connsiteY123" fmla="*/ 27339 h 152377"/>
                <a:gd name="connsiteX124" fmla="*/ 7171 w 152377"/>
                <a:gd name="connsiteY124" fmla="*/ 27339 h 152377"/>
                <a:gd name="connsiteX125" fmla="*/ 25546 w 152377"/>
                <a:gd name="connsiteY125" fmla="*/ 4482 h 152377"/>
                <a:gd name="connsiteX126" fmla="*/ 4930 w 152377"/>
                <a:gd name="connsiteY126" fmla="*/ 43473 h 152377"/>
                <a:gd name="connsiteX127" fmla="*/ 4930 w 152377"/>
                <a:gd name="connsiteY127" fmla="*/ 31820 h 152377"/>
                <a:gd name="connsiteX128" fmla="*/ 17030 w 152377"/>
                <a:gd name="connsiteY128" fmla="*/ 31820 h 152377"/>
                <a:gd name="connsiteX129" fmla="*/ 17030 w 152377"/>
                <a:gd name="connsiteY129" fmla="*/ 43473 h 152377"/>
                <a:gd name="connsiteX130" fmla="*/ 11204 w 152377"/>
                <a:gd name="connsiteY130" fmla="*/ 49299 h 152377"/>
                <a:gd name="connsiteX131" fmla="*/ 4930 w 152377"/>
                <a:gd name="connsiteY131" fmla="*/ 43473 h 152377"/>
                <a:gd name="connsiteX132" fmla="*/ 32268 w 152377"/>
                <a:gd name="connsiteY132" fmla="*/ 147896 h 152377"/>
                <a:gd name="connsiteX133" fmla="*/ 32268 w 152377"/>
                <a:gd name="connsiteY133" fmla="*/ 89186 h 152377"/>
                <a:gd name="connsiteX134" fmla="*/ 60503 w 152377"/>
                <a:gd name="connsiteY134" fmla="*/ 89186 h 152377"/>
                <a:gd name="connsiteX135" fmla="*/ 60503 w 152377"/>
                <a:gd name="connsiteY135" fmla="*/ 147896 h 152377"/>
                <a:gd name="connsiteX136" fmla="*/ 32268 w 152377"/>
                <a:gd name="connsiteY136" fmla="*/ 147896 h 152377"/>
                <a:gd name="connsiteX137" fmla="*/ 137588 w 152377"/>
                <a:gd name="connsiteY137" fmla="*/ 147896 h 152377"/>
                <a:gd name="connsiteX138" fmla="*/ 65433 w 152377"/>
                <a:gd name="connsiteY138" fmla="*/ 147896 h 152377"/>
                <a:gd name="connsiteX139" fmla="*/ 65433 w 152377"/>
                <a:gd name="connsiteY139" fmla="*/ 87842 h 152377"/>
                <a:gd name="connsiteX140" fmla="*/ 62295 w 152377"/>
                <a:gd name="connsiteY140" fmla="*/ 84704 h 152377"/>
                <a:gd name="connsiteX141" fmla="*/ 31372 w 152377"/>
                <a:gd name="connsiteY141" fmla="*/ 84704 h 152377"/>
                <a:gd name="connsiteX142" fmla="*/ 28235 w 152377"/>
                <a:gd name="connsiteY142" fmla="*/ 87842 h 152377"/>
                <a:gd name="connsiteX143" fmla="*/ 28235 w 152377"/>
                <a:gd name="connsiteY143" fmla="*/ 147896 h 152377"/>
                <a:gd name="connsiteX144" fmla="*/ 16134 w 152377"/>
                <a:gd name="connsiteY144" fmla="*/ 147896 h 152377"/>
                <a:gd name="connsiteX145" fmla="*/ 16134 w 152377"/>
                <a:gd name="connsiteY145" fmla="*/ 52436 h 152377"/>
                <a:gd name="connsiteX146" fmla="*/ 19271 w 152377"/>
                <a:gd name="connsiteY146" fmla="*/ 49747 h 152377"/>
                <a:gd name="connsiteX147" fmla="*/ 27338 w 152377"/>
                <a:gd name="connsiteY147" fmla="*/ 53780 h 152377"/>
                <a:gd name="connsiteX148" fmla="*/ 35405 w 152377"/>
                <a:gd name="connsiteY148" fmla="*/ 49747 h 152377"/>
                <a:gd name="connsiteX149" fmla="*/ 43473 w 152377"/>
                <a:gd name="connsiteY149" fmla="*/ 53780 h 152377"/>
                <a:gd name="connsiteX150" fmla="*/ 51540 w 152377"/>
                <a:gd name="connsiteY150" fmla="*/ 49747 h 152377"/>
                <a:gd name="connsiteX151" fmla="*/ 59607 w 152377"/>
                <a:gd name="connsiteY151" fmla="*/ 53780 h 152377"/>
                <a:gd name="connsiteX152" fmla="*/ 67674 w 152377"/>
                <a:gd name="connsiteY152" fmla="*/ 49747 h 152377"/>
                <a:gd name="connsiteX153" fmla="*/ 75741 w 152377"/>
                <a:gd name="connsiteY153" fmla="*/ 53780 h 152377"/>
                <a:gd name="connsiteX154" fmla="*/ 83808 w 152377"/>
                <a:gd name="connsiteY154" fmla="*/ 49747 h 152377"/>
                <a:gd name="connsiteX155" fmla="*/ 91875 w 152377"/>
                <a:gd name="connsiteY155" fmla="*/ 53780 h 152377"/>
                <a:gd name="connsiteX156" fmla="*/ 99942 w 152377"/>
                <a:gd name="connsiteY156" fmla="*/ 49747 h 152377"/>
                <a:gd name="connsiteX157" fmla="*/ 108009 w 152377"/>
                <a:gd name="connsiteY157" fmla="*/ 53780 h 152377"/>
                <a:gd name="connsiteX158" fmla="*/ 116076 w 152377"/>
                <a:gd name="connsiteY158" fmla="*/ 49747 h 152377"/>
                <a:gd name="connsiteX159" fmla="*/ 124143 w 152377"/>
                <a:gd name="connsiteY159" fmla="*/ 53780 h 152377"/>
                <a:gd name="connsiteX160" fmla="*/ 132210 w 152377"/>
                <a:gd name="connsiteY160" fmla="*/ 49747 h 152377"/>
                <a:gd name="connsiteX161" fmla="*/ 135347 w 152377"/>
                <a:gd name="connsiteY161" fmla="*/ 52436 h 152377"/>
                <a:gd name="connsiteX162" fmla="*/ 135347 w 152377"/>
                <a:gd name="connsiteY162"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52377" h="152377">
                  <a:moveTo>
                    <a:pt x="142518" y="53780"/>
                  </a:moveTo>
                  <a:cubicBezTo>
                    <a:pt x="148344" y="53780"/>
                    <a:pt x="152826" y="49299"/>
                    <a:pt x="152826" y="43473"/>
                  </a:cubicBezTo>
                  <a:lnTo>
                    <a:pt x="152826" y="29579"/>
                  </a:lnTo>
                  <a:cubicBezTo>
                    <a:pt x="152826" y="29579"/>
                    <a:pt x="152826" y="29579"/>
                    <a:pt x="152826" y="29579"/>
                  </a:cubicBezTo>
                  <a:cubicBezTo>
                    <a:pt x="152826" y="29579"/>
                    <a:pt x="152826" y="29579"/>
                    <a:pt x="152826" y="29131"/>
                  </a:cubicBezTo>
                  <a:cubicBezTo>
                    <a:pt x="152826" y="28683"/>
                    <a:pt x="152826" y="28683"/>
                    <a:pt x="152378" y="28235"/>
                  </a:cubicBezTo>
                  <a:cubicBezTo>
                    <a:pt x="152378" y="28235"/>
                    <a:pt x="152378" y="28235"/>
                    <a:pt x="152378" y="28235"/>
                  </a:cubicBezTo>
                  <a:lnTo>
                    <a:pt x="130417" y="896"/>
                  </a:lnTo>
                  <a:cubicBezTo>
                    <a:pt x="129969" y="448"/>
                    <a:pt x="129521" y="0"/>
                    <a:pt x="128625" y="0"/>
                  </a:cubicBezTo>
                  <a:lnTo>
                    <a:pt x="24201" y="0"/>
                  </a:lnTo>
                  <a:cubicBezTo>
                    <a:pt x="23305" y="0"/>
                    <a:pt x="22857" y="448"/>
                    <a:pt x="22409" y="896"/>
                  </a:cubicBezTo>
                  <a:lnTo>
                    <a:pt x="448" y="28235"/>
                  </a:lnTo>
                  <a:cubicBezTo>
                    <a:pt x="448" y="28235"/>
                    <a:pt x="448" y="28235"/>
                    <a:pt x="448" y="28235"/>
                  </a:cubicBezTo>
                  <a:cubicBezTo>
                    <a:pt x="448" y="28683"/>
                    <a:pt x="0" y="28683"/>
                    <a:pt x="0" y="29131"/>
                  </a:cubicBezTo>
                  <a:cubicBezTo>
                    <a:pt x="0" y="29131"/>
                    <a:pt x="0" y="29131"/>
                    <a:pt x="0" y="29579"/>
                  </a:cubicBezTo>
                  <a:cubicBezTo>
                    <a:pt x="0" y="29579"/>
                    <a:pt x="0" y="29579"/>
                    <a:pt x="0" y="29579"/>
                  </a:cubicBezTo>
                  <a:lnTo>
                    <a:pt x="0" y="43473"/>
                  </a:lnTo>
                  <a:cubicBezTo>
                    <a:pt x="0" y="49299"/>
                    <a:pt x="4482" y="53780"/>
                    <a:pt x="10308" y="53780"/>
                  </a:cubicBezTo>
                  <a:cubicBezTo>
                    <a:pt x="10308" y="53780"/>
                    <a:pt x="10756" y="53780"/>
                    <a:pt x="10756" y="53780"/>
                  </a:cubicBezTo>
                  <a:lnTo>
                    <a:pt x="10756" y="147896"/>
                  </a:lnTo>
                  <a:lnTo>
                    <a:pt x="2241" y="147896"/>
                  </a:lnTo>
                  <a:cubicBezTo>
                    <a:pt x="896" y="147896"/>
                    <a:pt x="0" y="148793"/>
                    <a:pt x="0" y="150137"/>
                  </a:cubicBezTo>
                  <a:cubicBezTo>
                    <a:pt x="0" y="151482"/>
                    <a:pt x="896" y="152378"/>
                    <a:pt x="2241" y="152378"/>
                  </a:cubicBezTo>
                  <a:lnTo>
                    <a:pt x="12997" y="152378"/>
                  </a:lnTo>
                  <a:lnTo>
                    <a:pt x="30476" y="152378"/>
                  </a:lnTo>
                  <a:lnTo>
                    <a:pt x="61399" y="152378"/>
                  </a:lnTo>
                  <a:lnTo>
                    <a:pt x="138933" y="152378"/>
                  </a:lnTo>
                  <a:lnTo>
                    <a:pt x="149689" y="152378"/>
                  </a:lnTo>
                  <a:cubicBezTo>
                    <a:pt x="151033" y="152378"/>
                    <a:pt x="151930" y="151482"/>
                    <a:pt x="151930" y="150137"/>
                  </a:cubicBezTo>
                  <a:cubicBezTo>
                    <a:pt x="151930" y="148793"/>
                    <a:pt x="151033" y="147896"/>
                    <a:pt x="149689" y="147896"/>
                  </a:cubicBezTo>
                  <a:lnTo>
                    <a:pt x="141174" y="147896"/>
                  </a:lnTo>
                  <a:lnTo>
                    <a:pt x="141174" y="53780"/>
                  </a:lnTo>
                  <a:cubicBezTo>
                    <a:pt x="142070" y="53780"/>
                    <a:pt x="142518" y="53780"/>
                    <a:pt x="142518" y="53780"/>
                  </a:cubicBezTo>
                  <a:close/>
                  <a:moveTo>
                    <a:pt x="148793" y="43473"/>
                  </a:moveTo>
                  <a:cubicBezTo>
                    <a:pt x="148793" y="46610"/>
                    <a:pt x="146103" y="49299"/>
                    <a:pt x="142966" y="49299"/>
                  </a:cubicBezTo>
                  <a:cubicBezTo>
                    <a:pt x="139829" y="49299"/>
                    <a:pt x="137140" y="46610"/>
                    <a:pt x="137140" y="43473"/>
                  </a:cubicBezTo>
                  <a:lnTo>
                    <a:pt x="137140" y="31820"/>
                  </a:lnTo>
                  <a:lnTo>
                    <a:pt x="149241" y="31820"/>
                  </a:lnTo>
                  <a:lnTo>
                    <a:pt x="149241" y="43473"/>
                  </a:lnTo>
                  <a:close/>
                  <a:moveTo>
                    <a:pt x="132210" y="43473"/>
                  </a:moveTo>
                  <a:cubicBezTo>
                    <a:pt x="132210" y="46610"/>
                    <a:pt x="129521" y="49299"/>
                    <a:pt x="126384" y="49299"/>
                  </a:cubicBezTo>
                  <a:cubicBezTo>
                    <a:pt x="123247" y="49299"/>
                    <a:pt x="120558" y="46610"/>
                    <a:pt x="120558" y="43473"/>
                  </a:cubicBezTo>
                  <a:lnTo>
                    <a:pt x="120558" y="31820"/>
                  </a:lnTo>
                  <a:lnTo>
                    <a:pt x="132658" y="31820"/>
                  </a:lnTo>
                  <a:lnTo>
                    <a:pt x="132658" y="43473"/>
                  </a:lnTo>
                  <a:close/>
                  <a:moveTo>
                    <a:pt x="115628" y="43473"/>
                  </a:moveTo>
                  <a:cubicBezTo>
                    <a:pt x="115628" y="46610"/>
                    <a:pt x="112939" y="49299"/>
                    <a:pt x="109802" y="49299"/>
                  </a:cubicBezTo>
                  <a:cubicBezTo>
                    <a:pt x="106664" y="49299"/>
                    <a:pt x="103976" y="46610"/>
                    <a:pt x="103976" y="43473"/>
                  </a:cubicBezTo>
                  <a:lnTo>
                    <a:pt x="103976" y="31820"/>
                  </a:lnTo>
                  <a:lnTo>
                    <a:pt x="116076" y="31820"/>
                  </a:lnTo>
                  <a:lnTo>
                    <a:pt x="116076" y="43473"/>
                  </a:lnTo>
                  <a:close/>
                  <a:moveTo>
                    <a:pt x="99046" y="43473"/>
                  </a:moveTo>
                  <a:cubicBezTo>
                    <a:pt x="99046" y="46610"/>
                    <a:pt x="96357" y="49299"/>
                    <a:pt x="93219" y="49299"/>
                  </a:cubicBezTo>
                  <a:cubicBezTo>
                    <a:pt x="90082" y="49299"/>
                    <a:pt x="87393" y="46610"/>
                    <a:pt x="87393" y="43473"/>
                  </a:cubicBezTo>
                  <a:lnTo>
                    <a:pt x="87393" y="31820"/>
                  </a:lnTo>
                  <a:lnTo>
                    <a:pt x="99494" y="31820"/>
                  </a:lnTo>
                  <a:lnTo>
                    <a:pt x="99494" y="43473"/>
                  </a:lnTo>
                  <a:close/>
                  <a:moveTo>
                    <a:pt x="66329" y="43473"/>
                  </a:moveTo>
                  <a:cubicBezTo>
                    <a:pt x="66329" y="46610"/>
                    <a:pt x="63640" y="49299"/>
                    <a:pt x="60503" y="49299"/>
                  </a:cubicBezTo>
                  <a:cubicBezTo>
                    <a:pt x="57366" y="49299"/>
                    <a:pt x="54677" y="46610"/>
                    <a:pt x="54677" y="43473"/>
                  </a:cubicBezTo>
                  <a:lnTo>
                    <a:pt x="54677" y="31820"/>
                  </a:lnTo>
                  <a:lnTo>
                    <a:pt x="66777" y="31820"/>
                  </a:lnTo>
                  <a:lnTo>
                    <a:pt x="66777" y="43473"/>
                  </a:lnTo>
                  <a:close/>
                  <a:moveTo>
                    <a:pt x="47954" y="4482"/>
                  </a:moveTo>
                  <a:lnTo>
                    <a:pt x="34061" y="27339"/>
                  </a:lnTo>
                  <a:lnTo>
                    <a:pt x="23305" y="27339"/>
                  </a:lnTo>
                  <a:lnTo>
                    <a:pt x="39439" y="4482"/>
                  </a:lnTo>
                  <a:lnTo>
                    <a:pt x="47954" y="4482"/>
                  </a:lnTo>
                  <a:close/>
                  <a:moveTo>
                    <a:pt x="62295" y="4482"/>
                  </a:moveTo>
                  <a:lnTo>
                    <a:pt x="50643" y="27339"/>
                  </a:lnTo>
                  <a:lnTo>
                    <a:pt x="39439" y="27339"/>
                  </a:lnTo>
                  <a:lnTo>
                    <a:pt x="53332" y="4482"/>
                  </a:lnTo>
                  <a:lnTo>
                    <a:pt x="62295" y="4482"/>
                  </a:lnTo>
                  <a:close/>
                  <a:moveTo>
                    <a:pt x="71259" y="4482"/>
                  </a:moveTo>
                  <a:lnTo>
                    <a:pt x="66777" y="27339"/>
                  </a:lnTo>
                  <a:lnTo>
                    <a:pt x="55573" y="27339"/>
                  </a:lnTo>
                  <a:lnTo>
                    <a:pt x="67226" y="4482"/>
                  </a:lnTo>
                  <a:lnTo>
                    <a:pt x="71259" y="4482"/>
                  </a:lnTo>
                  <a:close/>
                  <a:moveTo>
                    <a:pt x="86497" y="4482"/>
                  </a:moveTo>
                  <a:lnTo>
                    <a:pt x="98149" y="27339"/>
                  </a:lnTo>
                  <a:lnTo>
                    <a:pt x="86945" y="27339"/>
                  </a:lnTo>
                  <a:lnTo>
                    <a:pt x="82463" y="4482"/>
                  </a:lnTo>
                  <a:lnTo>
                    <a:pt x="86497" y="4482"/>
                  </a:lnTo>
                  <a:close/>
                  <a:moveTo>
                    <a:pt x="100390" y="4482"/>
                  </a:moveTo>
                  <a:lnTo>
                    <a:pt x="114283" y="27339"/>
                  </a:lnTo>
                  <a:lnTo>
                    <a:pt x="103079" y="27339"/>
                  </a:lnTo>
                  <a:lnTo>
                    <a:pt x="91427" y="4482"/>
                  </a:lnTo>
                  <a:lnTo>
                    <a:pt x="100390" y="4482"/>
                  </a:lnTo>
                  <a:close/>
                  <a:moveTo>
                    <a:pt x="113835" y="4482"/>
                  </a:moveTo>
                  <a:lnTo>
                    <a:pt x="129969" y="27339"/>
                  </a:lnTo>
                  <a:lnTo>
                    <a:pt x="119213" y="27339"/>
                  </a:lnTo>
                  <a:lnTo>
                    <a:pt x="105320" y="4482"/>
                  </a:lnTo>
                  <a:lnTo>
                    <a:pt x="113835" y="4482"/>
                  </a:lnTo>
                  <a:close/>
                  <a:moveTo>
                    <a:pt x="82463" y="27339"/>
                  </a:moveTo>
                  <a:lnTo>
                    <a:pt x="71259" y="27339"/>
                  </a:lnTo>
                  <a:lnTo>
                    <a:pt x="75741" y="4482"/>
                  </a:lnTo>
                  <a:lnTo>
                    <a:pt x="77533" y="4482"/>
                  </a:lnTo>
                  <a:lnTo>
                    <a:pt x="82463" y="27339"/>
                  </a:lnTo>
                  <a:close/>
                  <a:moveTo>
                    <a:pt x="21512" y="31820"/>
                  </a:moveTo>
                  <a:lnTo>
                    <a:pt x="33613" y="31820"/>
                  </a:lnTo>
                  <a:lnTo>
                    <a:pt x="33613" y="43473"/>
                  </a:lnTo>
                  <a:cubicBezTo>
                    <a:pt x="33613" y="46610"/>
                    <a:pt x="30924" y="49299"/>
                    <a:pt x="27787" y="49299"/>
                  </a:cubicBezTo>
                  <a:cubicBezTo>
                    <a:pt x="24649" y="49299"/>
                    <a:pt x="21960" y="46610"/>
                    <a:pt x="21960" y="43473"/>
                  </a:cubicBezTo>
                  <a:lnTo>
                    <a:pt x="21960" y="31820"/>
                  </a:lnTo>
                  <a:close/>
                  <a:moveTo>
                    <a:pt x="38094" y="31820"/>
                  </a:moveTo>
                  <a:lnTo>
                    <a:pt x="50195" y="31820"/>
                  </a:lnTo>
                  <a:lnTo>
                    <a:pt x="50195" y="43473"/>
                  </a:lnTo>
                  <a:cubicBezTo>
                    <a:pt x="50195" y="46610"/>
                    <a:pt x="47506" y="49299"/>
                    <a:pt x="44369" y="49299"/>
                  </a:cubicBezTo>
                  <a:cubicBezTo>
                    <a:pt x="41232" y="49299"/>
                    <a:pt x="38543" y="46610"/>
                    <a:pt x="38543" y="43473"/>
                  </a:cubicBezTo>
                  <a:lnTo>
                    <a:pt x="38543" y="31820"/>
                  </a:lnTo>
                  <a:close/>
                  <a:moveTo>
                    <a:pt x="70811" y="31820"/>
                  </a:moveTo>
                  <a:lnTo>
                    <a:pt x="82911" y="31820"/>
                  </a:lnTo>
                  <a:lnTo>
                    <a:pt x="82911" y="43473"/>
                  </a:lnTo>
                  <a:cubicBezTo>
                    <a:pt x="82911" y="46610"/>
                    <a:pt x="80222" y="49299"/>
                    <a:pt x="77085" y="49299"/>
                  </a:cubicBezTo>
                  <a:cubicBezTo>
                    <a:pt x="73948" y="49299"/>
                    <a:pt x="71259" y="46610"/>
                    <a:pt x="71259" y="43473"/>
                  </a:cubicBezTo>
                  <a:lnTo>
                    <a:pt x="71259" y="31820"/>
                  </a:lnTo>
                  <a:close/>
                  <a:moveTo>
                    <a:pt x="146103" y="27339"/>
                  </a:moveTo>
                  <a:lnTo>
                    <a:pt x="135347" y="27339"/>
                  </a:lnTo>
                  <a:lnTo>
                    <a:pt x="119213" y="4482"/>
                  </a:lnTo>
                  <a:lnTo>
                    <a:pt x="127729" y="4482"/>
                  </a:lnTo>
                  <a:lnTo>
                    <a:pt x="146103" y="27339"/>
                  </a:lnTo>
                  <a:close/>
                  <a:moveTo>
                    <a:pt x="25546" y="4482"/>
                  </a:moveTo>
                  <a:lnTo>
                    <a:pt x="34061" y="4482"/>
                  </a:lnTo>
                  <a:lnTo>
                    <a:pt x="17927" y="27339"/>
                  </a:lnTo>
                  <a:lnTo>
                    <a:pt x="7171" y="27339"/>
                  </a:lnTo>
                  <a:lnTo>
                    <a:pt x="25546" y="4482"/>
                  </a:lnTo>
                  <a:close/>
                  <a:moveTo>
                    <a:pt x="4930" y="43473"/>
                  </a:moveTo>
                  <a:lnTo>
                    <a:pt x="4930" y="31820"/>
                  </a:lnTo>
                  <a:lnTo>
                    <a:pt x="17030" y="31820"/>
                  </a:lnTo>
                  <a:lnTo>
                    <a:pt x="17030" y="43473"/>
                  </a:lnTo>
                  <a:cubicBezTo>
                    <a:pt x="17030" y="46610"/>
                    <a:pt x="14342" y="49299"/>
                    <a:pt x="11204" y="49299"/>
                  </a:cubicBezTo>
                  <a:cubicBezTo>
                    <a:pt x="7619" y="49299"/>
                    <a:pt x="4930" y="46610"/>
                    <a:pt x="4930" y="43473"/>
                  </a:cubicBezTo>
                  <a:close/>
                  <a:moveTo>
                    <a:pt x="32268" y="147896"/>
                  </a:moveTo>
                  <a:lnTo>
                    <a:pt x="32268" y="89186"/>
                  </a:lnTo>
                  <a:lnTo>
                    <a:pt x="60503" y="89186"/>
                  </a:lnTo>
                  <a:lnTo>
                    <a:pt x="60503" y="147896"/>
                  </a:lnTo>
                  <a:lnTo>
                    <a:pt x="32268" y="147896"/>
                  </a:lnTo>
                  <a:close/>
                  <a:moveTo>
                    <a:pt x="137588" y="147896"/>
                  </a:moveTo>
                  <a:lnTo>
                    <a:pt x="65433" y="147896"/>
                  </a:lnTo>
                  <a:lnTo>
                    <a:pt x="65433" y="87842"/>
                  </a:lnTo>
                  <a:cubicBezTo>
                    <a:pt x="65433" y="86049"/>
                    <a:pt x="64088" y="84704"/>
                    <a:pt x="62295" y="84704"/>
                  </a:cubicBezTo>
                  <a:lnTo>
                    <a:pt x="31372" y="84704"/>
                  </a:lnTo>
                  <a:cubicBezTo>
                    <a:pt x="29579" y="84704"/>
                    <a:pt x="28235" y="86049"/>
                    <a:pt x="28235" y="87842"/>
                  </a:cubicBezTo>
                  <a:lnTo>
                    <a:pt x="28235" y="147896"/>
                  </a:lnTo>
                  <a:lnTo>
                    <a:pt x="16134" y="147896"/>
                  </a:lnTo>
                  <a:lnTo>
                    <a:pt x="16134" y="52436"/>
                  </a:lnTo>
                  <a:cubicBezTo>
                    <a:pt x="17478" y="51540"/>
                    <a:pt x="18375" y="50643"/>
                    <a:pt x="19271" y="49747"/>
                  </a:cubicBezTo>
                  <a:cubicBezTo>
                    <a:pt x="21064" y="51988"/>
                    <a:pt x="24201" y="53780"/>
                    <a:pt x="27338" y="53780"/>
                  </a:cubicBezTo>
                  <a:cubicBezTo>
                    <a:pt x="30476" y="53780"/>
                    <a:pt x="33613" y="51988"/>
                    <a:pt x="35405" y="49747"/>
                  </a:cubicBezTo>
                  <a:cubicBezTo>
                    <a:pt x="37198" y="51988"/>
                    <a:pt x="40335" y="53780"/>
                    <a:pt x="43473" y="53780"/>
                  </a:cubicBezTo>
                  <a:cubicBezTo>
                    <a:pt x="46610" y="53780"/>
                    <a:pt x="49747" y="51988"/>
                    <a:pt x="51540" y="49747"/>
                  </a:cubicBezTo>
                  <a:cubicBezTo>
                    <a:pt x="53332" y="51988"/>
                    <a:pt x="56469" y="53780"/>
                    <a:pt x="59607" y="53780"/>
                  </a:cubicBezTo>
                  <a:cubicBezTo>
                    <a:pt x="62744" y="53780"/>
                    <a:pt x="65881" y="51988"/>
                    <a:pt x="67674" y="49747"/>
                  </a:cubicBezTo>
                  <a:cubicBezTo>
                    <a:pt x="69466" y="51988"/>
                    <a:pt x="72604" y="53780"/>
                    <a:pt x="75741" y="53780"/>
                  </a:cubicBezTo>
                  <a:cubicBezTo>
                    <a:pt x="78878" y="53780"/>
                    <a:pt x="82015" y="51988"/>
                    <a:pt x="83808" y="49747"/>
                  </a:cubicBezTo>
                  <a:cubicBezTo>
                    <a:pt x="85600" y="51988"/>
                    <a:pt x="88738" y="53780"/>
                    <a:pt x="91875" y="53780"/>
                  </a:cubicBezTo>
                  <a:cubicBezTo>
                    <a:pt x="95012" y="53780"/>
                    <a:pt x="98149" y="51988"/>
                    <a:pt x="99942" y="49747"/>
                  </a:cubicBezTo>
                  <a:cubicBezTo>
                    <a:pt x="101735" y="51988"/>
                    <a:pt x="104872" y="53780"/>
                    <a:pt x="108009" y="53780"/>
                  </a:cubicBezTo>
                  <a:cubicBezTo>
                    <a:pt x="111146" y="53780"/>
                    <a:pt x="114283" y="51988"/>
                    <a:pt x="116076" y="49747"/>
                  </a:cubicBezTo>
                  <a:cubicBezTo>
                    <a:pt x="117869" y="51988"/>
                    <a:pt x="121006" y="53780"/>
                    <a:pt x="124143" y="53780"/>
                  </a:cubicBezTo>
                  <a:cubicBezTo>
                    <a:pt x="127280" y="53780"/>
                    <a:pt x="130417" y="51988"/>
                    <a:pt x="132210" y="49747"/>
                  </a:cubicBezTo>
                  <a:cubicBezTo>
                    <a:pt x="133107" y="51092"/>
                    <a:pt x="134003" y="51988"/>
                    <a:pt x="135347" y="52436"/>
                  </a:cubicBezTo>
                  <a:lnTo>
                    <a:pt x="135347" y="147896"/>
                  </a:lnTo>
                  <a:close/>
                </a:path>
              </a:pathLst>
            </a:custGeom>
            <a:solidFill>
              <a:srgbClr val="231F20"/>
            </a:solidFill>
            <a:ln w="4477" cap="flat">
              <a:noFill/>
              <a:prstDash val="solid"/>
              <a:miter/>
            </a:ln>
          </p:spPr>
          <p:txBody>
            <a:bodyPr rtlCol="0" anchor="ctr"/>
            <a:lstStyle/>
            <a:p>
              <a:endParaRPr lang="en-US"/>
            </a:p>
          </p:txBody>
        </p:sp>
        <p:sp>
          <p:nvSpPr>
            <p:cNvPr id="3625" name="Freeform: Shape 3624">
              <a:extLst>
                <a:ext uri="{FF2B5EF4-FFF2-40B4-BE49-F238E27FC236}">
                  <a16:creationId xmlns:a16="http://schemas.microsoft.com/office/drawing/2014/main" id="{C057C887-7C5B-47E5-AB39-02FAFA485C84}"/>
                </a:ext>
              </a:extLst>
            </p:cNvPr>
            <p:cNvSpPr/>
            <p:nvPr/>
          </p:nvSpPr>
          <p:spPr>
            <a:xfrm>
              <a:off x="8919045" y="4968848"/>
              <a:ext cx="58262" cy="62744"/>
            </a:xfrm>
            <a:custGeom>
              <a:avLst/>
              <a:gdLst>
                <a:gd name="connsiteX0" fmla="*/ 56021 w 58262"/>
                <a:gd name="connsiteY0" fmla="*/ 0 h 62743"/>
                <a:gd name="connsiteX1" fmla="*/ 3137 w 58262"/>
                <a:gd name="connsiteY1" fmla="*/ 0 h 62743"/>
                <a:gd name="connsiteX2" fmla="*/ 0 w 58262"/>
                <a:gd name="connsiteY2" fmla="*/ 3137 h 62743"/>
                <a:gd name="connsiteX3" fmla="*/ 0 w 58262"/>
                <a:gd name="connsiteY3" fmla="*/ 61847 h 62743"/>
                <a:gd name="connsiteX4" fmla="*/ 3137 w 58262"/>
                <a:gd name="connsiteY4" fmla="*/ 64985 h 62743"/>
                <a:gd name="connsiteX5" fmla="*/ 56021 w 58262"/>
                <a:gd name="connsiteY5" fmla="*/ 64985 h 62743"/>
                <a:gd name="connsiteX6" fmla="*/ 59159 w 58262"/>
                <a:gd name="connsiteY6" fmla="*/ 61847 h 62743"/>
                <a:gd name="connsiteX7" fmla="*/ 59159 w 58262"/>
                <a:gd name="connsiteY7" fmla="*/ 3137 h 62743"/>
                <a:gd name="connsiteX8" fmla="*/ 56021 w 58262"/>
                <a:gd name="connsiteY8" fmla="*/ 0 h 62743"/>
                <a:gd name="connsiteX9" fmla="*/ 54677 w 58262"/>
                <a:gd name="connsiteY9" fmla="*/ 60055 h 62743"/>
                <a:gd name="connsiteX10" fmla="*/ 4482 w 58262"/>
                <a:gd name="connsiteY10" fmla="*/ 60055 h 62743"/>
                <a:gd name="connsiteX11" fmla="*/ 4482 w 58262"/>
                <a:gd name="connsiteY11" fmla="*/ 4034 h 62743"/>
                <a:gd name="connsiteX12" fmla="*/ 54677 w 58262"/>
                <a:gd name="connsiteY12" fmla="*/ 4034 h 62743"/>
                <a:gd name="connsiteX13" fmla="*/ 54677 w 58262"/>
                <a:gd name="connsiteY13" fmla="*/ 60055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62743">
                  <a:moveTo>
                    <a:pt x="56021" y="0"/>
                  </a:moveTo>
                  <a:lnTo>
                    <a:pt x="3137" y="0"/>
                  </a:lnTo>
                  <a:cubicBezTo>
                    <a:pt x="1344" y="0"/>
                    <a:pt x="0" y="1344"/>
                    <a:pt x="0" y="3137"/>
                  </a:cubicBezTo>
                  <a:lnTo>
                    <a:pt x="0" y="61847"/>
                  </a:lnTo>
                  <a:cubicBezTo>
                    <a:pt x="0" y="63640"/>
                    <a:pt x="1344" y="64985"/>
                    <a:pt x="3137" y="64985"/>
                  </a:cubicBezTo>
                  <a:lnTo>
                    <a:pt x="56021" y="64985"/>
                  </a:lnTo>
                  <a:cubicBezTo>
                    <a:pt x="57814" y="64985"/>
                    <a:pt x="59159" y="63640"/>
                    <a:pt x="59159" y="61847"/>
                  </a:cubicBezTo>
                  <a:lnTo>
                    <a:pt x="59159" y="3137"/>
                  </a:lnTo>
                  <a:cubicBezTo>
                    <a:pt x="59159" y="1344"/>
                    <a:pt x="57366" y="0"/>
                    <a:pt x="56021" y="0"/>
                  </a:cubicBezTo>
                  <a:close/>
                  <a:moveTo>
                    <a:pt x="54677" y="60055"/>
                  </a:moveTo>
                  <a:lnTo>
                    <a:pt x="4482" y="60055"/>
                  </a:lnTo>
                  <a:lnTo>
                    <a:pt x="4482" y="4034"/>
                  </a:lnTo>
                  <a:lnTo>
                    <a:pt x="54677" y="4034"/>
                  </a:lnTo>
                  <a:lnTo>
                    <a:pt x="54677" y="60055"/>
                  </a:lnTo>
                  <a:close/>
                </a:path>
              </a:pathLst>
            </a:custGeom>
            <a:solidFill>
              <a:srgbClr val="231F20"/>
            </a:solidFill>
            <a:ln w="4477" cap="flat">
              <a:noFill/>
              <a:prstDash val="solid"/>
              <a:miter/>
            </a:ln>
          </p:spPr>
          <p:txBody>
            <a:bodyPr rtlCol="0" anchor="ctr"/>
            <a:lstStyle/>
            <a:p>
              <a:endParaRPr lang="en-US"/>
            </a:p>
          </p:txBody>
        </p:sp>
        <p:sp>
          <p:nvSpPr>
            <p:cNvPr id="3626" name="Freeform: Shape 3625">
              <a:extLst>
                <a:ext uri="{FF2B5EF4-FFF2-40B4-BE49-F238E27FC236}">
                  <a16:creationId xmlns:a16="http://schemas.microsoft.com/office/drawing/2014/main" id="{70CF0C40-D77C-49D6-9C17-829FB67AA6E3}"/>
                </a:ext>
              </a:extLst>
            </p:cNvPr>
            <p:cNvSpPr/>
            <p:nvPr/>
          </p:nvSpPr>
          <p:spPr>
            <a:xfrm>
              <a:off x="8919045" y="5040107"/>
              <a:ext cx="58262" cy="4482"/>
            </a:xfrm>
            <a:custGeom>
              <a:avLst/>
              <a:gdLst>
                <a:gd name="connsiteX0" fmla="*/ 56918 w 58262"/>
                <a:gd name="connsiteY0" fmla="*/ 0 h 4481"/>
                <a:gd name="connsiteX1" fmla="*/ 2241 w 58262"/>
                <a:gd name="connsiteY1" fmla="*/ 0 h 4481"/>
                <a:gd name="connsiteX2" fmla="*/ 0 w 58262"/>
                <a:gd name="connsiteY2" fmla="*/ 2241 h 4481"/>
                <a:gd name="connsiteX3" fmla="*/ 2241 w 58262"/>
                <a:gd name="connsiteY3" fmla="*/ 4482 h 4481"/>
                <a:gd name="connsiteX4" fmla="*/ 56918 w 58262"/>
                <a:gd name="connsiteY4" fmla="*/ 4482 h 4481"/>
                <a:gd name="connsiteX5" fmla="*/ 59159 w 58262"/>
                <a:gd name="connsiteY5" fmla="*/ 2241 h 4481"/>
                <a:gd name="connsiteX6" fmla="*/ 56918 w 58262"/>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62" h="4481">
                  <a:moveTo>
                    <a:pt x="56918" y="0"/>
                  </a:moveTo>
                  <a:lnTo>
                    <a:pt x="2241" y="0"/>
                  </a:lnTo>
                  <a:cubicBezTo>
                    <a:pt x="896" y="0"/>
                    <a:pt x="0" y="896"/>
                    <a:pt x="0" y="2241"/>
                  </a:cubicBezTo>
                  <a:cubicBezTo>
                    <a:pt x="0" y="3585"/>
                    <a:pt x="896" y="4482"/>
                    <a:pt x="2241" y="4482"/>
                  </a:cubicBezTo>
                  <a:lnTo>
                    <a:pt x="56918" y="4482"/>
                  </a:lnTo>
                  <a:cubicBezTo>
                    <a:pt x="58262" y="4482"/>
                    <a:pt x="59159" y="3585"/>
                    <a:pt x="59159" y="2241"/>
                  </a:cubicBezTo>
                  <a:cubicBezTo>
                    <a:pt x="59159" y="896"/>
                    <a:pt x="57814" y="0"/>
                    <a:pt x="56918" y="0"/>
                  </a:cubicBezTo>
                  <a:close/>
                </a:path>
              </a:pathLst>
            </a:custGeom>
            <a:solidFill>
              <a:srgbClr val="231F20"/>
            </a:solidFill>
            <a:ln w="4477" cap="flat">
              <a:noFill/>
              <a:prstDash val="solid"/>
              <a:miter/>
            </a:ln>
          </p:spPr>
          <p:txBody>
            <a:bodyPr rtlCol="0" anchor="ctr"/>
            <a:lstStyle/>
            <a:p>
              <a:endParaRPr lang="en-US"/>
            </a:p>
          </p:txBody>
        </p:sp>
      </p:grpSp>
      <p:grpSp>
        <p:nvGrpSpPr>
          <p:cNvPr id="3627" name="Group 3626">
            <a:extLst>
              <a:ext uri="{FF2B5EF4-FFF2-40B4-BE49-F238E27FC236}">
                <a16:creationId xmlns:a16="http://schemas.microsoft.com/office/drawing/2014/main" id="{73F39B10-BBA1-4BA7-8382-2E5550379A78}"/>
              </a:ext>
              <a:ext uri="{C183D7F6-B498-43B3-948B-1728B52AA6E4}">
                <adec:decorative xmlns:adec="http://schemas.microsoft.com/office/drawing/2017/decorative" val="1"/>
              </a:ext>
            </a:extLst>
          </p:cNvPr>
          <p:cNvGrpSpPr>
            <a:grpSpLocks noChangeAspect="1"/>
          </p:cNvGrpSpPr>
          <p:nvPr/>
        </p:nvGrpSpPr>
        <p:grpSpPr>
          <a:xfrm>
            <a:off x="3195791" y="2056319"/>
            <a:ext cx="170305" cy="147896"/>
            <a:chOff x="9097417" y="4902855"/>
            <a:chExt cx="170305" cy="147896"/>
          </a:xfrm>
        </p:grpSpPr>
        <p:sp>
          <p:nvSpPr>
            <p:cNvPr id="3628" name="Freeform: Shape 3627">
              <a:extLst>
                <a:ext uri="{FF2B5EF4-FFF2-40B4-BE49-F238E27FC236}">
                  <a16:creationId xmlns:a16="http://schemas.microsoft.com/office/drawing/2014/main" id="{959FDD7D-93AB-4E82-B98D-5E49F0A03291}"/>
                </a:ext>
              </a:extLst>
            </p:cNvPr>
            <p:cNvSpPr/>
            <p:nvPr/>
          </p:nvSpPr>
          <p:spPr>
            <a:xfrm>
              <a:off x="9173158" y="4915964"/>
              <a:ext cx="17927" cy="17927"/>
            </a:xfrm>
            <a:custGeom>
              <a:avLst/>
              <a:gdLst>
                <a:gd name="connsiteX0" fmla="*/ 9860 w 17926"/>
                <a:gd name="connsiteY0" fmla="*/ 0 h 17926"/>
                <a:gd name="connsiteX1" fmla="*/ 0 w 17926"/>
                <a:gd name="connsiteY1" fmla="*/ 9860 h 17926"/>
                <a:gd name="connsiteX2" fmla="*/ 9860 w 17926"/>
                <a:gd name="connsiteY2" fmla="*/ 19720 h 17926"/>
                <a:gd name="connsiteX3" fmla="*/ 19720 w 17926"/>
                <a:gd name="connsiteY3" fmla="*/ 9860 h 17926"/>
                <a:gd name="connsiteX4" fmla="*/ 9860 w 17926"/>
                <a:gd name="connsiteY4" fmla="*/ 0 h 17926"/>
                <a:gd name="connsiteX5" fmla="*/ 9860 w 17926"/>
                <a:gd name="connsiteY5" fmla="*/ 14790 h 17926"/>
                <a:gd name="connsiteX6" fmla="*/ 4482 w 17926"/>
                <a:gd name="connsiteY6" fmla="*/ 9411 h 17926"/>
                <a:gd name="connsiteX7" fmla="*/ 9860 w 17926"/>
                <a:gd name="connsiteY7" fmla="*/ 4034 h 17926"/>
                <a:gd name="connsiteX8" fmla="*/ 15238 w 17926"/>
                <a:gd name="connsiteY8" fmla="*/ 9411 h 17926"/>
                <a:gd name="connsiteX9" fmla="*/ 9860 w 17926"/>
                <a:gd name="connsiteY9" fmla="*/ 1479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9860" y="0"/>
                  </a:moveTo>
                  <a:cubicBezTo>
                    <a:pt x="4482" y="0"/>
                    <a:pt x="0" y="4482"/>
                    <a:pt x="0" y="9860"/>
                  </a:cubicBezTo>
                  <a:cubicBezTo>
                    <a:pt x="0" y="15238"/>
                    <a:pt x="4482" y="19720"/>
                    <a:pt x="9860" y="19720"/>
                  </a:cubicBezTo>
                  <a:cubicBezTo>
                    <a:pt x="15238" y="19720"/>
                    <a:pt x="19720" y="15238"/>
                    <a:pt x="19720" y="9860"/>
                  </a:cubicBezTo>
                  <a:cubicBezTo>
                    <a:pt x="19720" y="4482"/>
                    <a:pt x="15238" y="0"/>
                    <a:pt x="9860" y="0"/>
                  </a:cubicBezTo>
                  <a:close/>
                  <a:moveTo>
                    <a:pt x="9860" y="14790"/>
                  </a:moveTo>
                  <a:cubicBezTo>
                    <a:pt x="7171" y="14790"/>
                    <a:pt x="4482" y="12549"/>
                    <a:pt x="4482" y="9411"/>
                  </a:cubicBezTo>
                  <a:cubicBezTo>
                    <a:pt x="4482" y="6723"/>
                    <a:pt x="6723" y="4034"/>
                    <a:pt x="9860" y="4034"/>
                  </a:cubicBezTo>
                  <a:cubicBezTo>
                    <a:pt x="12997" y="4034"/>
                    <a:pt x="15238" y="6274"/>
                    <a:pt x="15238" y="9411"/>
                  </a:cubicBezTo>
                  <a:cubicBezTo>
                    <a:pt x="15238" y="12549"/>
                    <a:pt x="12997" y="14790"/>
                    <a:pt x="9860" y="14790"/>
                  </a:cubicBezTo>
                  <a:close/>
                </a:path>
              </a:pathLst>
            </a:custGeom>
            <a:solidFill>
              <a:srgbClr val="231F20"/>
            </a:solidFill>
            <a:ln w="4477" cap="flat">
              <a:noFill/>
              <a:prstDash val="solid"/>
              <a:miter/>
            </a:ln>
          </p:spPr>
          <p:txBody>
            <a:bodyPr rtlCol="0" anchor="ctr"/>
            <a:lstStyle/>
            <a:p>
              <a:endParaRPr lang="en-US"/>
            </a:p>
          </p:txBody>
        </p:sp>
        <p:sp>
          <p:nvSpPr>
            <p:cNvPr id="3629" name="Freeform: Shape 3628">
              <a:extLst>
                <a:ext uri="{FF2B5EF4-FFF2-40B4-BE49-F238E27FC236}">
                  <a16:creationId xmlns:a16="http://schemas.microsoft.com/office/drawing/2014/main" id="{2F051CAE-6C64-471F-805E-E4E0B3D6D071}"/>
                </a:ext>
              </a:extLst>
            </p:cNvPr>
            <p:cNvSpPr/>
            <p:nvPr/>
          </p:nvSpPr>
          <p:spPr>
            <a:xfrm>
              <a:off x="9097417" y="4902855"/>
              <a:ext cx="170305" cy="147896"/>
            </a:xfrm>
            <a:custGeom>
              <a:avLst/>
              <a:gdLst>
                <a:gd name="connsiteX0" fmla="*/ 169409 w 170304"/>
                <a:gd name="connsiteY0" fmla="*/ 148008 h 147896"/>
                <a:gd name="connsiteX1" fmla="*/ 161790 w 170304"/>
                <a:gd name="connsiteY1" fmla="*/ 148008 h 147896"/>
                <a:gd name="connsiteX2" fmla="*/ 161790 w 170304"/>
                <a:gd name="connsiteY2" fmla="*/ 141286 h 147896"/>
                <a:gd name="connsiteX3" fmla="*/ 158652 w 170304"/>
                <a:gd name="connsiteY3" fmla="*/ 138149 h 147896"/>
                <a:gd name="connsiteX4" fmla="*/ 155515 w 170304"/>
                <a:gd name="connsiteY4" fmla="*/ 138149 h 147896"/>
                <a:gd name="connsiteX5" fmla="*/ 155515 w 170304"/>
                <a:gd name="connsiteY5" fmla="*/ 131426 h 147896"/>
                <a:gd name="connsiteX6" fmla="*/ 152378 w 170304"/>
                <a:gd name="connsiteY6" fmla="*/ 128289 h 147896"/>
                <a:gd name="connsiteX7" fmla="*/ 146104 w 170304"/>
                <a:gd name="connsiteY7" fmla="*/ 128289 h 147896"/>
                <a:gd name="connsiteX8" fmla="*/ 146104 w 170304"/>
                <a:gd name="connsiteY8" fmla="*/ 53444 h 147896"/>
                <a:gd name="connsiteX9" fmla="*/ 147448 w 170304"/>
                <a:gd name="connsiteY9" fmla="*/ 53444 h 147896"/>
                <a:gd name="connsiteX10" fmla="*/ 150585 w 170304"/>
                <a:gd name="connsiteY10" fmla="*/ 50307 h 147896"/>
                <a:gd name="connsiteX11" fmla="*/ 150585 w 170304"/>
                <a:gd name="connsiteY11" fmla="*/ 38655 h 147896"/>
                <a:gd name="connsiteX12" fmla="*/ 147448 w 170304"/>
                <a:gd name="connsiteY12" fmla="*/ 35518 h 147896"/>
                <a:gd name="connsiteX13" fmla="*/ 138933 w 170304"/>
                <a:gd name="connsiteY13" fmla="*/ 35518 h 147896"/>
                <a:gd name="connsiteX14" fmla="*/ 89186 w 170304"/>
                <a:gd name="connsiteY14" fmla="*/ 1008 h 147896"/>
                <a:gd name="connsiteX15" fmla="*/ 82015 w 170304"/>
                <a:gd name="connsiteY15" fmla="*/ 1008 h 147896"/>
                <a:gd name="connsiteX16" fmla="*/ 32268 w 170304"/>
                <a:gd name="connsiteY16" fmla="*/ 35518 h 147896"/>
                <a:gd name="connsiteX17" fmla="*/ 24201 w 170304"/>
                <a:gd name="connsiteY17" fmla="*/ 35518 h 147896"/>
                <a:gd name="connsiteX18" fmla="*/ 21064 w 170304"/>
                <a:gd name="connsiteY18" fmla="*/ 38655 h 147896"/>
                <a:gd name="connsiteX19" fmla="*/ 21064 w 170304"/>
                <a:gd name="connsiteY19" fmla="*/ 50307 h 147896"/>
                <a:gd name="connsiteX20" fmla="*/ 24201 w 170304"/>
                <a:gd name="connsiteY20" fmla="*/ 53444 h 147896"/>
                <a:gd name="connsiteX21" fmla="*/ 25098 w 170304"/>
                <a:gd name="connsiteY21" fmla="*/ 53444 h 147896"/>
                <a:gd name="connsiteX22" fmla="*/ 25098 w 170304"/>
                <a:gd name="connsiteY22" fmla="*/ 127840 h 147896"/>
                <a:gd name="connsiteX23" fmla="*/ 19272 w 170304"/>
                <a:gd name="connsiteY23" fmla="*/ 127840 h 147896"/>
                <a:gd name="connsiteX24" fmla="*/ 16134 w 170304"/>
                <a:gd name="connsiteY24" fmla="*/ 130978 h 147896"/>
                <a:gd name="connsiteX25" fmla="*/ 16134 w 170304"/>
                <a:gd name="connsiteY25" fmla="*/ 137700 h 147896"/>
                <a:gd name="connsiteX26" fmla="*/ 12997 w 170304"/>
                <a:gd name="connsiteY26" fmla="*/ 137700 h 147896"/>
                <a:gd name="connsiteX27" fmla="*/ 9860 w 170304"/>
                <a:gd name="connsiteY27" fmla="*/ 140838 h 147896"/>
                <a:gd name="connsiteX28" fmla="*/ 9860 w 170304"/>
                <a:gd name="connsiteY28" fmla="*/ 147560 h 147896"/>
                <a:gd name="connsiteX29" fmla="*/ 2241 w 170304"/>
                <a:gd name="connsiteY29" fmla="*/ 147560 h 147896"/>
                <a:gd name="connsiteX30" fmla="*/ 0 w 170304"/>
                <a:gd name="connsiteY30" fmla="*/ 149801 h 147896"/>
                <a:gd name="connsiteX31" fmla="*/ 2241 w 170304"/>
                <a:gd name="connsiteY31" fmla="*/ 152042 h 147896"/>
                <a:gd name="connsiteX32" fmla="*/ 169409 w 170304"/>
                <a:gd name="connsiteY32" fmla="*/ 152042 h 147896"/>
                <a:gd name="connsiteX33" fmla="*/ 171649 w 170304"/>
                <a:gd name="connsiteY33" fmla="*/ 149801 h 147896"/>
                <a:gd name="connsiteX34" fmla="*/ 169409 w 170304"/>
                <a:gd name="connsiteY34" fmla="*/ 148008 h 147896"/>
                <a:gd name="connsiteX35" fmla="*/ 141622 w 170304"/>
                <a:gd name="connsiteY35" fmla="*/ 128289 h 147896"/>
                <a:gd name="connsiteX36" fmla="*/ 134899 w 170304"/>
                <a:gd name="connsiteY36" fmla="*/ 128289 h 147896"/>
                <a:gd name="connsiteX37" fmla="*/ 134899 w 170304"/>
                <a:gd name="connsiteY37" fmla="*/ 53444 h 147896"/>
                <a:gd name="connsiteX38" fmla="*/ 141622 w 170304"/>
                <a:gd name="connsiteY38" fmla="*/ 53444 h 147896"/>
                <a:gd name="connsiteX39" fmla="*/ 141622 w 170304"/>
                <a:gd name="connsiteY39" fmla="*/ 128289 h 147896"/>
                <a:gd name="connsiteX40" fmla="*/ 111146 w 170304"/>
                <a:gd name="connsiteY40" fmla="*/ 128289 h 147896"/>
                <a:gd name="connsiteX41" fmla="*/ 111146 w 170304"/>
                <a:gd name="connsiteY41" fmla="*/ 53444 h 147896"/>
                <a:gd name="connsiteX42" fmla="*/ 130866 w 170304"/>
                <a:gd name="connsiteY42" fmla="*/ 53444 h 147896"/>
                <a:gd name="connsiteX43" fmla="*/ 130866 w 170304"/>
                <a:gd name="connsiteY43" fmla="*/ 127840 h 147896"/>
                <a:gd name="connsiteX44" fmla="*/ 111146 w 170304"/>
                <a:gd name="connsiteY44" fmla="*/ 127840 h 147896"/>
                <a:gd name="connsiteX45" fmla="*/ 76189 w 170304"/>
                <a:gd name="connsiteY45" fmla="*/ 128289 h 147896"/>
                <a:gd name="connsiteX46" fmla="*/ 76189 w 170304"/>
                <a:gd name="connsiteY46" fmla="*/ 53444 h 147896"/>
                <a:gd name="connsiteX47" fmla="*/ 94116 w 170304"/>
                <a:gd name="connsiteY47" fmla="*/ 53444 h 147896"/>
                <a:gd name="connsiteX48" fmla="*/ 94116 w 170304"/>
                <a:gd name="connsiteY48" fmla="*/ 127840 h 147896"/>
                <a:gd name="connsiteX49" fmla="*/ 76189 w 170304"/>
                <a:gd name="connsiteY49" fmla="*/ 127840 h 147896"/>
                <a:gd name="connsiteX50" fmla="*/ 41232 w 170304"/>
                <a:gd name="connsiteY50" fmla="*/ 128289 h 147896"/>
                <a:gd name="connsiteX51" fmla="*/ 41232 w 170304"/>
                <a:gd name="connsiteY51" fmla="*/ 53444 h 147896"/>
                <a:gd name="connsiteX52" fmla="*/ 58710 w 170304"/>
                <a:gd name="connsiteY52" fmla="*/ 53444 h 147896"/>
                <a:gd name="connsiteX53" fmla="*/ 58710 w 170304"/>
                <a:gd name="connsiteY53" fmla="*/ 127840 h 147896"/>
                <a:gd name="connsiteX54" fmla="*/ 41232 w 170304"/>
                <a:gd name="connsiteY54" fmla="*/ 127840 h 147896"/>
                <a:gd name="connsiteX55" fmla="*/ 63192 w 170304"/>
                <a:gd name="connsiteY55" fmla="*/ 53444 h 147896"/>
                <a:gd name="connsiteX56" fmla="*/ 71707 w 170304"/>
                <a:gd name="connsiteY56" fmla="*/ 53444 h 147896"/>
                <a:gd name="connsiteX57" fmla="*/ 71707 w 170304"/>
                <a:gd name="connsiteY57" fmla="*/ 127840 h 147896"/>
                <a:gd name="connsiteX58" fmla="*/ 63192 w 170304"/>
                <a:gd name="connsiteY58" fmla="*/ 127840 h 147896"/>
                <a:gd name="connsiteX59" fmla="*/ 63192 w 170304"/>
                <a:gd name="connsiteY59" fmla="*/ 53444 h 147896"/>
                <a:gd name="connsiteX60" fmla="*/ 98149 w 170304"/>
                <a:gd name="connsiteY60" fmla="*/ 53444 h 147896"/>
                <a:gd name="connsiteX61" fmla="*/ 106665 w 170304"/>
                <a:gd name="connsiteY61" fmla="*/ 53444 h 147896"/>
                <a:gd name="connsiteX62" fmla="*/ 106665 w 170304"/>
                <a:gd name="connsiteY62" fmla="*/ 127840 h 147896"/>
                <a:gd name="connsiteX63" fmla="*/ 98149 w 170304"/>
                <a:gd name="connsiteY63" fmla="*/ 127840 h 147896"/>
                <a:gd name="connsiteX64" fmla="*/ 98149 w 170304"/>
                <a:gd name="connsiteY64" fmla="*/ 53444 h 147896"/>
                <a:gd name="connsiteX65" fmla="*/ 84704 w 170304"/>
                <a:gd name="connsiteY65" fmla="*/ 5042 h 147896"/>
                <a:gd name="connsiteX66" fmla="*/ 86945 w 170304"/>
                <a:gd name="connsiteY66" fmla="*/ 5042 h 147896"/>
                <a:gd name="connsiteX67" fmla="*/ 131314 w 170304"/>
                <a:gd name="connsiteY67" fmla="*/ 35966 h 147896"/>
                <a:gd name="connsiteX68" fmla="*/ 40335 w 170304"/>
                <a:gd name="connsiteY68" fmla="*/ 35966 h 147896"/>
                <a:gd name="connsiteX69" fmla="*/ 84704 w 170304"/>
                <a:gd name="connsiteY69" fmla="*/ 5042 h 147896"/>
                <a:gd name="connsiteX70" fmla="*/ 25546 w 170304"/>
                <a:gd name="connsiteY70" fmla="*/ 39999 h 147896"/>
                <a:gd name="connsiteX71" fmla="*/ 146104 w 170304"/>
                <a:gd name="connsiteY71" fmla="*/ 39999 h 147896"/>
                <a:gd name="connsiteX72" fmla="*/ 146104 w 170304"/>
                <a:gd name="connsiteY72" fmla="*/ 48963 h 147896"/>
                <a:gd name="connsiteX73" fmla="*/ 143863 w 170304"/>
                <a:gd name="connsiteY73" fmla="*/ 48963 h 147896"/>
                <a:gd name="connsiteX74" fmla="*/ 132659 w 170304"/>
                <a:gd name="connsiteY74" fmla="*/ 48963 h 147896"/>
                <a:gd name="connsiteX75" fmla="*/ 108457 w 170304"/>
                <a:gd name="connsiteY75" fmla="*/ 48963 h 147896"/>
                <a:gd name="connsiteX76" fmla="*/ 95909 w 170304"/>
                <a:gd name="connsiteY76" fmla="*/ 48963 h 147896"/>
                <a:gd name="connsiteX77" fmla="*/ 73500 w 170304"/>
                <a:gd name="connsiteY77" fmla="*/ 48963 h 147896"/>
                <a:gd name="connsiteX78" fmla="*/ 60503 w 170304"/>
                <a:gd name="connsiteY78" fmla="*/ 48963 h 147896"/>
                <a:gd name="connsiteX79" fmla="*/ 38543 w 170304"/>
                <a:gd name="connsiteY79" fmla="*/ 48963 h 147896"/>
                <a:gd name="connsiteX80" fmla="*/ 26890 w 170304"/>
                <a:gd name="connsiteY80" fmla="*/ 48963 h 147896"/>
                <a:gd name="connsiteX81" fmla="*/ 25098 w 170304"/>
                <a:gd name="connsiteY81" fmla="*/ 48963 h 147896"/>
                <a:gd name="connsiteX82" fmla="*/ 25098 w 170304"/>
                <a:gd name="connsiteY82" fmla="*/ 39999 h 147896"/>
                <a:gd name="connsiteX83" fmla="*/ 29579 w 170304"/>
                <a:gd name="connsiteY83" fmla="*/ 53444 h 147896"/>
                <a:gd name="connsiteX84" fmla="*/ 36750 w 170304"/>
                <a:gd name="connsiteY84" fmla="*/ 53444 h 147896"/>
                <a:gd name="connsiteX85" fmla="*/ 36750 w 170304"/>
                <a:gd name="connsiteY85" fmla="*/ 127840 h 147896"/>
                <a:gd name="connsiteX86" fmla="*/ 29579 w 170304"/>
                <a:gd name="connsiteY86" fmla="*/ 127840 h 147896"/>
                <a:gd name="connsiteX87" fmla="*/ 29579 w 170304"/>
                <a:gd name="connsiteY87" fmla="*/ 53444 h 147896"/>
                <a:gd name="connsiteX88" fmla="*/ 20616 w 170304"/>
                <a:gd name="connsiteY88" fmla="*/ 132771 h 147896"/>
                <a:gd name="connsiteX89" fmla="*/ 27339 w 170304"/>
                <a:gd name="connsiteY89" fmla="*/ 132771 h 147896"/>
                <a:gd name="connsiteX90" fmla="*/ 38991 w 170304"/>
                <a:gd name="connsiteY90" fmla="*/ 132771 h 147896"/>
                <a:gd name="connsiteX91" fmla="*/ 60951 w 170304"/>
                <a:gd name="connsiteY91" fmla="*/ 132771 h 147896"/>
                <a:gd name="connsiteX92" fmla="*/ 73948 w 170304"/>
                <a:gd name="connsiteY92" fmla="*/ 132771 h 147896"/>
                <a:gd name="connsiteX93" fmla="*/ 96357 w 170304"/>
                <a:gd name="connsiteY93" fmla="*/ 132771 h 147896"/>
                <a:gd name="connsiteX94" fmla="*/ 109354 w 170304"/>
                <a:gd name="connsiteY94" fmla="*/ 132771 h 147896"/>
                <a:gd name="connsiteX95" fmla="*/ 133555 w 170304"/>
                <a:gd name="connsiteY95" fmla="*/ 132771 h 147896"/>
                <a:gd name="connsiteX96" fmla="*/ 144759 w 170304"/>
                <a:gd name="connsiteY96" fmla="*/ 132771 h 147896"/>
                <a:gd name="connsiteX97" fmla="*/ 151930 w 170304"/>
                <a:gd name="connsiteY97" fmla="*/ 132771 h 147896"/>
                <a:gd name="connsiteX98" fmla="*/ 151930 w 170304"/>
                <a:gd name="connsiteY98" fmla="*/ 138149 h 147896"/>
                <a:gd name="connsiteX99" fmla="*/ 21512 w 170304"/>
                <a:gd name="connsiteY99" fmla="*/ 138149 h 147896"/>
                <a:gd name="connsiteX100" fmla="*/ 21512 w 170304"/>
                <a:gd name="connsiteY100" fmla="*/ 132771 h 147896"/>
                <a:gd name="connsiteX101" fmla="*/ 14342 w 170304"/>
                <a:gd name="connsiteY101" fmla="*/ 142630 h 147896"/>
                <a:gd name="connsiteX102" fmla="*/ 19272 w 170304"/>
                <a:gd name="connsiteY102" fmla="*/ 142630 h 147896"/>
                <a:gd name="connsiteX103" fmla="*/ 152378 w 170304"/>
                <a:gd name="connsiteY103" fmla="*/ 142630 h 147896"/>
                <a:gd name="connsiteX104" fmla="*/ 157308 w 170304"/>
                <a:gd name="connsiteY104" fmla="*/ 142630 h 147896"/>
                <a:gd name="connsiteX105" fmla="*/ 157308 w 170304"/>
                <a:gd name="connsiteY105" fmla="*/ 148008 h 147896"/>
                <a:gd name="connsiteX106" fmla="*/ 13893 w 170304"/>
                <a:gd name="connsiteY106" fmla="*/ 148008 h 147896"/>
                <a:gd name="connsiteX107" fmla="*/ 13893 w 170304"/>
                <a:gd name="connsiteY107" fmla="*/ 142630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70304" h="147896">
                  <a:moveTo>
                    <a:pt x="169409" y="148008"/>
                  </a:moveTo>
                  <a:lnTo>
                    <a:pt x="161790" y="148008"/>
                  </a:lnTo>
                  <a:lnTo>
                    <a:pt x="161790" y="141286"/>
                  </a:lnTo>
                  <a:cubicBezTo>
                    <a:pt x="161790" y="139493"/>
                    <a:pt x="160445" y="138149"/>
                    <a:pt x="158652" y="138149"/>
                  </a:cubicBezTo>
                  <a:lnTo>
                    <a:pt x="155515" y="138149"/>
                  </a:lnTo>
                  <a:lnTo>
                    <a:pt x="155515" y="131426"/>
                  </a:lnTo>
                  <a:cubicBezTo>
                    <a:pt x="155515" y="129633"/>
                    <a:pt x="154171" y="128289"/>
                    <a:pt x="152378" y="128289"/>
                  </a:cubicBezTo>
                  <a:lnTo>
                    <a:pt x="146104" y="128289"/>
                  </a:lnTo>
                  <a:lnTo>
                    <a:pt x="146104" y="53444"/>
                  </a:lnTo>
                  <a:lnTo>
                    <a:pt x="147448" y="53444"/>
                  </a:lnTo>
                  <a:cubicBezTo>
                    <a:pt x="149241" y="53444"/>
                    <a:pt x="150585" y="52100"/>
                    <a:pt x="150585" y="50307"/>
                  </a:cubicBezTo>
                  <a:lnTo>
                    <a:pt x="150585" y="38655"/>
                  </a:lnTo>
                  <a:cubicBezTo>
                    <a:pt x="150585" y="36862"/>
                    <a:pt x="149241" y="35518"/>
                    <a:pt x="147448" y="35518"/>
                  </a:cubicBezTo>
                  <a:lnTo>
                    <a:pt x="138933" y="35518"/>
                  </a:lnTo>
                  <a:lnTo>
                    <a:pt x="89186" y="1008"/>
                  </a:lnTo>
                  <a:cubicBezTo>
                    <a:pt x="86945" y="-336"/>
                    <a:pt x="84256" y="-336"/>
                    <a:pt x="82015" y="1008"/>
                  </a:cubicBezTo>
                  <a:lnTo>
                    <a:pt x="32268" y="35518"/>
                  </a:lnTo>
                  <a:lnTo>
                    <a:pt x="24201" y="35518"/>
                  </a:lnTo>
                  <a:cubicBezTo>
                    <a:pt x="22409" y="35518"/>
                    <a:pt x="21064" y="36862"/>
                    <a:pt x="21064" y="38655"/>
                  </a:cubicBezTo>
                  <a:lnTo>
                    <a:pt x="21064" y="50307"/>
                  </a:lnTo>
                  <a:cubicBezTo>
                    <a:pt x="21064" y="52100"/>
                    <a:pt x="22409" y="53444"/>
                    <a:pt x="24201" y="53444"/>
                  </a:cubicBezTo>
                  <a:lnTo>
                    <a:pt x="25098" y="53444"/>
                  </a:lnTo>
                  <a:lnTo>
                    <a:pt x="25098" y="127840"/>
                  </a:lnTo>
                  <a:lnTo>
                    <a:pt x="19272" y="127840"/>
                  </a:lnTo>
                  <a:cubicBezTo>
                    <a:pt x="17479" y="127840"/>
                    <a:pt x="16134" y="129185"/>
                    <a:pt x="16134" y="130978"/>
                  </a:cubicBezTo>
                  <a:lnTo>
                    <a:pt x="16134" y="137700"/>
                  </a:lnTo>
                  <a:lnTo>
                    <a:pt x="12997" y="137700"/>
                  </a:lnTo>
                  <a:cubicBezTo>
                    <a:pt x="11204" y="137700"/>
                    <a:pt x="9860" y="139045"/>
                    <a:pt x="9860" y="140838"/>
                  </a:cubicBezTo>
                  <a:lnTo>
                    <a:pt x="9860" y="147560"/>
                  </a:lnTo>
                  <a:lnTo>
                    <a:pt x="2241" y="147560"/>
                  </a:lnTo>
                  <a:cubicBezTo>
                    <a:pt x="896" y="147560"/>
                    <a:pt x="0" y="148456"/>
                    <a:pt x="0" y="149801"/>
                  </a:cubicBezTo>
                  <a:cubicBezTo>
                    <a:pt x="0" y="151145"/>
                    <a:pt x="896" y="152042"/>
                    <a:pt x="2241" y="152042"/>
                  </a:cubicBezTo>
                  <a:lnTo>
                    <a:pt x="169409" y="152042"/>
                  </a:lnTo>
                  <a:cubicBezTo>
                    <a:pt x="170753" y="152042"/>
                    <a:pt x="171649" y="151145"/>
                    <a:pt x="171649" y="149801"/>
                  </a:cubicBezTo>
                  <a:cubicBezTo>
                    <a:pt x="171649" y="148456"/>
                    <a:pt x="170753" y="148008"/>
                    <a:pt x="169409" y="148008"/>
                  </a:cubicBezTo>
                  <a:close/>
                  <a:moveTo>
                    <a:pt x="141622" y="128289"/>
                  </a:moveTo>
                  <a:lnTo>
                    <a:pt x="134899" y="128289"/>
                  </a:lnTo>
                  <a:lnTo>
                    <a:pt x="134899" y="53444"/>
                  </a:lnTo>
                  <a:lnTo>
                    <a:pt x="141622" y="53444"/>
                  </a:lnTo>
                  <a:lnTo>
                    <a:pt x="141622" y="128289"/>
                  </a:lnTo>
                  <a:close/>
                  <a:moveTo>
                    <a:pt x="111146" y="128289"/>
                  </a:moveTo>
                  <a:lnTo>
                    <a:pt x="111146" y="53444"/>
                  </a:lnTo>
                  <a:lnTo>
                    <a:pt x="130866" y="53444"/>
                  </a:lnTo>
                  <a:lnTo>
                    <a:pt x="130866" y="127840"/>
                  </a:lnTo>
                  <a:lnTo>
                    <a:pt x="111146" y="127840"/>
                  </a:lnTo>
                  <a:close/>
                  <a:moveTo>
                    <a:pt x="76189" y="128289"/>
                  </a:moveTo>
                  <a:lnTo>
                    <a:pt x="76189" y="53444"/>
                  </a:lnTo>
                  <a:lnTo>
                    <a:pt x="94116" y="53444"/>
                  </a:lnTo>
                  <a:lnTo>
                    <a:pt x="94116" y="127840"/>
                  </a:lnTo>
                  <a:lnTo>
                    <a:pt x="76189" y="127840"/>
                  </a:lnTo>
                  <a:close/>
                  <a:moveTo>
                    <a:pt x="41232" y="128289"/>
                  </a:moveTo>
                  <a:lnTo>
                    <a:pt x="41232" y="53444"/>
                  </a:lnTo>
                  <a:lnTo>
                    <a:pt x="58710" y="53444"/>
                  </a:lnTo>
                  <a:lnTo>
                    <a:pt x="58710" y="127840"/>
                  </a:lnTo>
                  <a:lnTo>
                    <a:pt x="41232" y="127840"/>
                  </a:lnTo>
                  <a:close/>
                  <a:moveTo>
                    <a:pt x="63192" y="53444"/>
                  </a:moveTo>
                  <a:lnTo>
                    <a:pt x="71707" y="53444"/>
                  </a:lnTo>
                  <a:lnTo>
                    <a:pt x="71707" y="127840"/>
                  </a:lnTo>
                  <a:lnTo>
                    <a:pt x="63192" y="127840"/>
                  </a:lnTo>
                  <a:lnTo>
                    <a:pt x="63192" y="53444"/>
                  </a:lnTo>
                  <a:close/>
                  <a:moveTo>
                    <a:pt x="98149" y="53444"/>
                  </a:moveTo>
                  <a:lnTo>
                    <a:pt x="106665" y="53444"/>
                  </a:lnTo>
                  <a:lnTo>
                    <a:pt x="106665" y="127840"/>
                  </a:lnTo>
                  <a:lnTo>
                    <a:pt x="98149" y="127840"/>
                  </a:lnTo>
                  <a:lnTo>
                    <a:pt x="98149" y="53444"/>
                  </a:lnTo>
                  <a:close/>
                  <a:moveTo>
                    <a:pt x="84704" y="5042"/>
                  </a:moveTo>
                  <a:cubicBezTo>
                    <a:pt x="85601" y="4594"/>
                    <a:pt x="86497" y="4594"/>
                    <a:pt x="86945" y="5042"/>
                  </a:cubicBezTo>
                  <a:lnTo>
                    <a:pt x="131314" y="35966"/>
                  </a:lnTo>
                  <a:lnTo>
                    <a:pt x="40335" y="35966"/>
                  </a:lnTo>
                  <a:lnTo>
                    <a:pt x="84704" y="5042"/>
                  </a:lnTo>
                  <a:close/>
                  <a:moveTo>
                    <a:pt x="25546" y="39999"/>
                  </a:moveTo>
                  <a:lnTo>
                    <a:pt x="146104" y="39999"/>
                  </a:lnTo>
                  <a:lnTo>
                    <a:pt x="146104" y="48963"/>
                  </a:lnTo>
                  <a:lnTo>
                    <a:pt x="143863" y="48963"/>
                  </a:lnTo>
                  <a:lnTo>
                    <a:pt x="132659" y="48963"/>
                  </a:lnTo>
                  <a:lnTo>
                    <a:pt x="108457" y="48963"/>
                  </a:lnTo>
                  <a:lnTo>
                    <a:pt x="95909" y="48963"/>
                  </a:lnTo>
                  <a:lnTo>
                    <a:pt x="73500" y="48963"/>
                  </a:lnTo>
                  <a:lnTo>
                    <a:pt x="60503" y="48963"/>
                  </a:lnTo>
                  <a:lnTo>
                    <a:pt x="38543" y="48963"/>
                  </a:lnTo>
                  <a:lnTo>
                    <a:pt x="26890" y="48963"/>
                  </a:lnTo>
                  <a:lnTo>
                    <a:pt x="25098" y="48963"/>
                  </a:lnTo>
                  <a:lnTo>
                    <a:pt x="25098" y="39999"/>
                  </a:lnTo>
                  <a:close/>
                  <a:moveTo>
                    <a:pt x="29579" y="53444"/>
                  </a:moveTo>
                  <a:lnTo>
                    <a:pt x="36750" y="53444"/>
                  </a:lnTo>
                  <a:lnTo>
                    <a:pt x="36750" y="127840"/>
                  </a:lnTo>
                  <a:lnTo>
                    <a:pt x="29579" y="127840"/>
                  </a:lnTo>
                  <a:lnTo>
                    <a:pt x="29579" y="53444"/>
                  </a:lnTo>
                  <a:close/>
                  <a:moveTo>
                    <a:pt x="20616" y="132771"/>
                  </a:moveTo>
                  <a:lnTo>
                    <a:pt x="27339" y="132771"/>
                  </a:lnTo>
                  <a:lnTo>
                    <a:pt x="38991" y="132771"/>
                  </a:lnTo>
                  <a:lnTo>
                    <a:pt x="60951" y="132771"/>
                  </a:lnTo>
                  <a:lnTo>
                    <a:pt x="73948" y="132771"/>
                  </a:lnTo>
                  <a:lnTo>
                    <a:pt x="96357" y="132771"/>
                  </a:lnTo>
                  <a:lnTo>
                    <a:pt x="109354" y="132771"/>
                  </a:lnTo>
                  <a:lnTo>
                    <a:pt x="133555" y="132771"/>
                  </a:lnTo>
                  <a:lnTo>
                    <a:pt x="144759" y="132771"/>
                  </a:lnTo>
                  <a:lnTo>
                    <a:pt x="151930" y="132771"/>
                  </a:lnTo>
                  <a:lnTo>
                    <a:pt x="151930" y="138149"/>
                  </a:lnTo>
                  <a:lnTo>
                    <a:pt x="21512" y="138149"/>
                  </a:lnTo>
                  <a:lnTo>
                    <a:pt x="21512" y="132771"/>
                  </a:lnTo>
                  <a:close/>
                  <a:moveTo>
                    <a:pt x="14342" y="142630"/>
                  </a:moveTo>
                  <a:lnTo>
                    <a:pt x="19272" y="142630"/>
                  </a:lnTo>
                  <a:lnTo>
                    <a:pt x="152378" y="142630"/>
                  </a:lnTo>
                  <a:lnTo>
                    <a:pt x="157308" y="142630"/>
                  </a:lnTo>
                  <a:lnTo>
                    <a:pt x="157308" y="148008"/>
                  </a:lnTo>
                  <a:lnTo>
                    <a:pt x="13893" y="148008"/>
                  </a:lnTo>
                  <a:lnTo>
                    <a:pt x="13893" y="142630"/>
                  </a:lnTo>
                  <a:close/>
                </a:path>
              </a:pathLst>
            </a:custGeom>
            <a:solidFill>
              <a:srgbClr val="231F20"/>
            </a:solidFill>
            <a:ln w="4477" cap="flat">
              <a:noFill/>
              <a:prstDash val="solid"/>
              <a:miter/>
            </a:ln>
          </p:spPr>
          <p:txBody>
            <a:bodyPr rtlCol="0" anchor="ctr"/>
            <a:lstStyle/>
            <a:p>
              <a:endParaRPr lang="en-US"/>
            </a:p>
          </p:txBody>
        </p:sp>
      </p:grpSp>
      <p:sp>
        <p:nvSpPr>
          <p:cNvPr id="3630" name="Freeform: Shape 3629">
            <a:extLst>
              <a:ext uri="{FF2B5EF4-FFF2-40B4-BE49-F238E27FC236}">
                <a16:creationId xmlns:a16="http://schemas.microsoft.com/office/drawing/2014/main" id="{F8A4C056-245B-4162-962F-89C455DA3866}"/>
              </a:ext>
              <a:ext uri="{C183D7F6-B498-43B3-948B-1728B52AA6E4}">
                <adec:decorative xmlns:adec="http://schemas.microsoft.com/office/drawing/2017/decorative" val="1"/>
              </a:ext>
            </a:extLst>
          </p:cNvPr>
          <p:cNvSpPr>
            <a:spLocks noChangeAspect="1"/>
          </p:cNvSpPr>
          <p:nvPr/>
        </p:nvSpPr>
        <p:spPr>
          <a:xfrm>
            <a:off x="1109111" y="1734421"/>
            <a:ext cx="147896" cy="121006"/>
          </a:xfrm>
          <a:custGeom>
            <a:avLst/>
            <a:gdLst>
              <a:gd name="connsiteX0" fmla="*/ 151930 w 147896"/>
              <a:gd name="connsiteY0" fmla="*/ 28907 h 121005"/>
              <a:gd name="connsiteX1" fmla="*/ 151930 w 147896"/>
              <a:gd name="connsiteY1" fmla="*/ 28907 h 121005"/>
              <a:gd name="connsiteX2" fmla="*/ 151930 w 147896"/>
              <a:gd name="connsiteY2" fmla="*/ 28907 h 121005"/>
              <a:gd name="connsiteX3" fmla="*/ 151930 w 147896"/>
              <a:gd name="connsiteY3" fmla="*/ 28907 h 121005"/>
              <a:gd name="connsiteX4" fmla="*/ 151930 w 147896"/>
              <a:gd name="connsiteY4" fmla="*/ 28011 h 121005"/>
              <a:gd name="connsiteX5" fmla="*/ 151930 w 147896"/>
              <a:gd name="connsiteY5" fmla="*/ 28011 h 121005"/>
              <a:gd name="connsiteX6" fmla="*/ 151482 w 147896"/>
              <a:gd name="connsiteY6" fmla="*/ 27563 h 121005"/>
              <a:gd name="connsiteX7" fmla="*/ 151482 w 147896"/>
              <a:gd name="connsiteY7" fmla="*/ 27563 h 121005"/>
              <a:gd name="connsiteX8" fmla="*/ 122799 w 147896"/>
              <a:gd name="connsiteY8" fmla="*/ 672 h 121005"/>
              <a:gd name="connsiteX9" fmla="*/ 119661 w 147896"/>
              <a:gd name="connsiteY9" fmla="*/ 672 h 121005"/>
              <a:gd name="connsiteX10" fmla="*/ 119661 w 147896"/>
              <a:gd name="connsiteY10" fmla="*/ 3809 h 121005"/>
              <a:gd name="connsiteX11" fmla="*/ 144311 w 147896"/>
              <a:gd name="connsiteY11" fmla="*/ 26666 h 121005"/>
              <a:gd name="connsiteX12" fmla="*/ 42128 w 147896"/>
              <a:gd name="connsiteY12" fmla="*/ 26666 h 121005"/>
              <a:gd name="connsiteX13" fmla="*/ 0 w 147896"/>
              <a:gd name="connsiteY13" fmla="*/ 63864 h 121005"/>
              <a:gd name="connsiteX14" fmla="*/ 0 w 147896"/>
              <a:gd name="connsiteY14" fmla="*/ 123023 h 121005"/>
              <a:gd name="connsiteX15" fmla="*/ 2241 w 147896"/>
              <a:gd name="connsiteY15" fmla="*/ 125264 h 121005"/>
              <a:gd name="connsiteX16" fmla="*/ 4482 w 147896"/>
              <a:gd name="connsiteY16" fmla="*/ 123023 h 121005"/>
              <a:gd name="connsiteX17" fmla="*/ 4482 w 147896"/>
              <a:gd name="connsiteY17" fmla="*/ 63864 h 121005"/>
              <a:gd name="connsiteX18" fmla="*/ 42128 w 147896"/>
              <a:gd name="connsiteY18" fmla="*/ 31148 h 121005"/>
              <a:gd name="connsiteX19" fmla="*/ 144311 w 147896"/>
              <a:gd name="connsiteY19" fmla="*/ 31148 h 121005"/>
              <a:gd name="connsiteX20" fmla="*/ 119661 w 147896"/>
              <a:gd name="connsiteY20" fmla="*/ 54004 h 121005"/>
              <a:gd name="connsiteX21" fmla="*/ 119661 w 147896"/>
              <a:gd name="connsiteY21" fmla="*/ 57142 h 121005"/>
              <a:gd name="connsiteX22" fmla="*/ 121454 w 147896"/>
              <a:gd name="connsiteY22" fmla="*/ 58038 h 121005"/>
              <a:gd name="connsiteX23" fmla="*/ 122799 w 147896"/>
              <a:gd name="connsiteY23" fmla="*/ 57590 h 121005"/>
              <a:gd name="connsiteX24" fmla="*/ 151482 w 147896"/>
              <a:gd name="connsiteY24" fmla="*/ 30699 h 121005"/>
              <a:gd name="connsiteX25" fmla="*/ 151482 w 147896"/>
              <a:gd name="connsiteY25" fmla="*/ 30699 h 121005"/>
              <a:gd name="connsiteX26" fmla="*/ 151930 w 147896"/>
              <a:gd name="connsiteY26" fmla="*/ 30251 h 121005"/>
              <a:gd name="connsiteX27" fmla="*/ 151930 w 147896"/>
              <a:gd name="connsiteY27" fmla="*/ 30251 h 121005"/>
              <a:gd name="connsiteX28" fmla="*/ 151930 w 147896"/>
              <a:gd name="connsiteY28" fmla="*/ 28907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7896" h="121005">
                <a:moveTo>
                  <a:pt x="151930" y="28907"/>
                </a:moveTo>
                <a:lnTo>
                  <a:pt x="151930" y="28907"/>
                </a:lnTo>
                <a:cubicBezTo>
                  <a:pt x="151930" y="28907"/>
                  <a:pt x="151930" y="28907"/>
                  <a:pt x="151930" y="28907"/>
                </a:cubicBezTo>
                <a:cubicBezTo>
                  <a:pt x="151930" y="28907"/>
                  <a:pt x="151930" y="28907"/>
                  <a:pt x="151930" y="28907"/>
                </a:cubicBezTo>
                <a:cubicBezTo>
                  <a:pt x="151930" y="28459"/>
                  <a:pt x="151930" y="28459"/>
                  <a:pt x="151930" y="28011"/>
                </a:cubicBezTo>
                <a:cubicBezTo>
                  <a:pt x="151930" y="28011"/>
                  <a:pt x="151930" y="28011"/>
                  <a:pt x="151930" y="28011"/>
                </a:cubicBezTo>
                <a:cubicBezTo>
                  <a:pt x="151930" y="28011"/>
                  <a:pt x="151930" y="27563"/>
                  <a:pt x="151482" y="27563"/>
                </a:cubicBezTo>
                <a:cubicBezTo>
                  <a:pt x="151482" y="27563"/>
                  <a:pt x="151482" y="27563"/>
                  <a:pt x="151482" y="27563"/>
                </a:cubicBezTo>
                <a:lnTo>
                  <a:pt x="122799" y="672"/>
                </a:lnTo>
                <a:cubicBezTo>
                  <a:pt x="121902" y="-224"/>
                  <a:pt x="120558" y="-224"/>
                  <a:pt x="119661" y="672"/>
                </a:cubicBezTo>
                <a:cubicBezTo>
                  <a:pt x="118765" y="1568"/>
                  <a:pt x="118765" y="2913"/>
                  <a:pt x="119661" y="3809"/>
                </a:cubicBezTo>
                <a:lnTo>
                  <a:pt x="144311" y="26666"/>
                </a:lnTo>
                <a:lnTo>
                  <a:pt x="42128" y="26666"/>
                </a:lnTo>
                <a:cubicBezTo>
                  <a:pt x="18823" y="26666"/>
                  <a:pt x="0" y="43248"/>
                  <a:pt x="0" y="63864"/>
                </a:cubicBezTo>
                <a:lnTo>
                  <a:pt x="0" y="123023"/>
                </a:lnTo>
                <a:cubicBezTo>
                  <a:pt x="0" y="124367"/>
                  <a:pt x="896" y="125264"/>
                  <a:pt x="2241" y="125264"/>
                </a:cubicBezTo>
                <a:cubicBezTo>
                  <a:pt x="3585" y="125264"/>
                  <a:pt x="4482" y="124367"/>
                  <a:pt x="4482" y="123023"/>
                </a:cubicBezTo>
                <a:lnTo>
                  <a:pt x="4482" y="63864"/>
                </a:lnTo>
                <a:cubicBezTo>
                  <a:pt x="4482" y="45937"/>
                  <a:pt x="21512" y="31148"/>
                  <a:pt x="42128" y="31148"/>
                </a:cubicBezTo>
                <a:lnTo>
                  <a:pt x="144311" y="31148"/>
                </a:lnTo>
                <a:lnTo>
                  <a:pt x="119661" y="54004"/>
                </a:lnTo>
                <a:cubicBezTo>
                  <a:pt x="118765" y="54901"/>
                  <a:pt x="118765" y="56245"/>
                  <a:pt x="119661" y="57142"/>
                </a:cubicBezTo>
                <a:cubicBezTo>
                  <a:pt x="120110" y="57590"/>
                  <a:pt x="120558" y="58038"/>
                  <a:pt x="121454" y="58038"/>
                </a:cubicBezTo>
                <a:cubicBezTo>
                  <a:pt x="121902" y="58038"/>
                  <a:pt x="122350" y="58038"/>
                  <a:pt x="122799" y="57590"/>
                </a:cubicBezTo>
                <a:lnTo>
                  <a:pt x="151482" y="30699"/>
                </a:lnTo>
                <a:cubicBezTo>
                  <a:pt x="151482" y="30699"/>
                  <a:pt x="151482" y="30699"/>
                  <a:pt x="151482" y="30699"/>
                </a:cubicBezTo>
                <a:cubicBezTo>
                  <a:pt x="151482" y="30699"/>
                  <a:pt x="151930" y="30251"/>
                  <a:pt x="151930" y="30251"/>
                </a:cubicBezTo>
                <a:cubicBezTo>
                  <a:pt x="151930" y="30251"/>
                  <a:pt x="151930" y="30251"/>
                  <a:pt x="151930" y="30251"/>
                </a:cubicBezTo>
                <a:cubicBezTo>
                  <a:pt x="151930" y="29803"/>
                  <a:pt x="151930" y="29355"/>
                  <a:pt x="151930" y="28907"/>
                </a:cubicBezTo>
                <a:close/>
              </a:path>
            </a:pathLst>
          </a:custGeom>
          <a:solidFill>
            <a:srgbClr val="231F20"/>
          </a:solidFill>
          <a:ln w="4477" cap="flat">
            <a:noFill/>
            <a:prstDash val="solid"/>
            <a:miter/>
          </a:ln>
        </p:spPr>
        <p:txBody>
          <a:bodyPr rtlCol="0" anchor="ctr"/>
          <a:lstStyle/>
          <a:p>
            <a:endParaRPr lang="en-US"/>
          </a:p>
        </p:txBody>
      </p:sp>
      <p:grpSp>
        <p:nvGrpSpPr>
          <p:cNvPr id="3631" name="Group 3630">
            <a:extLst>
              <a:ext uri="{FF2B5EF4-FFF2-40B4-BE49-F238E27FC236}">
                <a16:creationId xmlns:a16="http://schemas.microsoft.com/office/drawing/2014/main" id="{65C595EE-FBD1-4176-B60B-24FF0E563B18}"/>
              </a:ext>
              <a:ext uri="{C183D7F6-B498-43B3-948B-1728B52AA6E4}">
                <adec:decorative xmlns:adec="http://schemas.microsoft.com/office/drawing/2017/decorative" val="1"/>
              </a:ext>
            </a:extLst>
          </p:cNvPr>
          <p:cNvGrpSpPr>
            <a:grpSpLocks noChangeAspect="1"/>
          </p:cNvGrpSpPr>
          <p:nvPr/>
        </p:nvGrpSpPr>
        <p:grpSpPr>
          <a:xfrm>
            <a:off x="1381598" y="1707530"/>
            <a:ext cx="123695" cy="149914"/>
            <a:chOff x="7283224" y="4554066"/>
            <a:chExt cx="123695" cy="149914"/>
          </a:xfrm>
        </p:grpSpPr>
        <p:sp>
          <p:nvSpPr>
            <p:cNvPr id="3632" name="Freeform: Shape 3631">
              <a:extLst>
                <a:ext uri="{FF2B5EF4-FFF2-40B4-BE49-F238E27FC236}">
                  <a16:creationId xmlns:a16="http://schemas.microsoft.com/office/drawing/2014/main" id="{8FE3A772-F55A-4C04-97C9-F92374561E47}"/>
                </a:ext>
              </a:extLst>
            </p:cNvPr>
            <p:cNvSpPr/>
            <p:nvPr/>
          </p:nvSpPr>
          <p:spPr>
            <a:xfrm>
              <a:off x="7317285" y="4609864"/>
              <a:ext cx="89634" cy="94116"/>
            </a:xfrm>
            <a:custGeom>
              <a:avLst/>
              <a:gdLst>
                <a:gd name="connsiteX0" fmla="*/ 89634 w 89634"/>
                <a:gd name="connsiteY0" fmla="*/ 0 h 94115"/>
                <a:gd name="connsiteX1" fmla="*/ 87393 w 89634"/>
                <a:gd name="connsiteY1" fmla="*/ 2241 h 94115"/>
                <a:gd name="connsiteX2" fmla="*/ 87393 w 89634"/>
                <a:gd name="connsiteY2" fmla="*/ 43024 h 94115"/>
                <a:gd name="connsiteX3" fmla="*/ 66329 w 89634"/>
                <a:gd name="connsiteY3" fmla="*/ 64985 h 94115"/>
                <a:gd name="connsiteX4" fmla="*/ 8067 w 89634"/>
                <a:gd name="connsiteY4" fmla="*/ 64985 h 94115"/>
                <a:gd name="connsiteX5" fmla="*/ 32716 w 89634"/>
                <a:gd name="connsiteY5" fmla="*/ 42128 h 94115"/>
                <a:gd name="connsiteX6" fmla="*/ 32716 w 89634"/>
                <a:gd name="connsiteY6" fmla="*/ 38991 h 94115"/>
                <a:gd name="connsiteX7" fmla="*/ 29579 w 89634"/>
                <a:gd name="connsiteY7" fmla="*/ 38991 h 94115"/>
                <a:gd name="connsiteX8" fmla="*/ 896 w 89634"/>
                <a:gd name="connsiteY8" fmla="*/ 65881 h 94115"/>
                <a:gd name="connsiteX9" fmla="*/ 0 w 89634"/>
                <a:gd name="connsiteY9" fmla="*/ 67674 h 94115"/>
                <a:gd name="connsiteX10" fmla="*/ 896 w 89634"/>
                <a:gd name="connsiteY10" fmla="*/ 69466 h 94115"/>
                <a:gd name="connsiteX11" fmla="*/ 29579 w 89634"/>
                <a:gd name="connsiteY11" fmla="*/ 96357 h 94115"/>
                <a:gd name="connsiteX12" fmla="*/ 30924 w 89634"/>
                <a:gd name="connsiteY12" fmla="*/ 96805 h 94115"/>
                <a:gd name="connsiteX13" fmla="*/ 32716 w 89634"/>
                <a:gd name="connsiteY13" fmla="*/ 95908 h 94115"/>
                <a:gd name="connsiteX14" fmla="*/ 32716 w 89634"/>
                <a:gd name="connsiteY14" fmla="*/ 92771 h 94115"/>
                <a:gd name="connsiteX15" fmla="*/ 8067 w 89634"/>
                <a:gd name="connsiteY15" fmla="*/ 69466 h 94115"/>
                <a:gd name="connsiteX16" fmla="*/ 66329 w 89634"/>
                <a:gd name="connsiteY16" fmla="*/ 69466 h 94115"/>
                <a:gd name="connsiteX17" fmla="*/ 91875 w 89634"/>
                <a:gd name="connsiteY17" fmla="*/ 43024 h 94115"/>
                <a:gd name="connsiteX18" fmla="*/ 91875 w 89634"/>
                <a:gd name="connsiteY18" fmla="*/ 2241 h 94115"/>
                <a:gd name="connsiteX19" fmla="*/ 89634 w 89634"/>
                <a:gd name="connsiteY19" fmla="*/ 0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634" h="94115">
                  <a:moveTo>
                    <a:pt x="89634" y="0"/>
                  </a:moveTo>
                  <a:cubicBezTo>
                    <a:pt x="88290" y="0"/>
                    <a:pt x="87393" y="896"/>
                    <a:pt x="87393" y="2241"/>
                  </a:cubicBezTo>
                  <a:lnTo>
                    <a:pt x="87393" y="43024"/>
                  </a:lnTo>
                  <a:cubicBezTo>
                    <a:pt x="87393" y="55125"/>
                    <a:pt x="77982" y="64985"/>
                    <a:pt x="66329" y="64985"/>
                  </a:cubicBezTo>
                  <a:lnTo>
                    <a:pt x="8067" y="64985"/>
                  </a:lnTo>
                  <a:lnTo>
                    <a:pt x="32716" y="42128"/>
                  </a:lnTo>
                  <a:cubicBezTo>
                    <a:pt x="33613" y="41232"/>
                    <a:pt x="33613" y="39887"/>
                    <a:pt x="32716" y="38991"/>
                  </a:cubicBezTo>
                  <a:cubicBezTo>
                    <a:pt x="31820" y="38094"/>
                    <a:pt x="30476" y="38094"/>
                    <a:pt x="29579" y="38991"/>
                  </a:cubicBezTo>
                  <a:lnTo>
                    <a:pt x="896" y="65881"/>
                  </a:lnTo>
                  <a:cubicBezTo>
                    <a:pt x="448" y="66329"/>
                    <a:pt x="0" y="66777"/>
                    <a:pt x="0" y="67674"/>
                  </a:cubicBezTo>
                  <a:cubicBezTo>
                    <a:pt x="0" y="68570"/>
                    <a:pt x="448" y="69018"/>
                    <a:pt x="896" y="69466"/>
                  </a:cubicBezTo>
                  <a:lnTo>
                    <a:pt x="29579" y="96357"/>
                  </a:lnTo>
                  <a:cubicBezTo>
                    <a:pt x="30027" y="96805"/>
                    <a:pt x="30476" y="96805"/>
                    <a:pt x="30924" y="96805"/>
                  </a:cubicBezTo>
                  <a:cubicBezTo>
                    <a:pt x="31372" y="96805"/>
                    <a:pt x="32268" y="96357"/>
                    <a:pt x="32716" y="95908"/>
                  </a:cubicBezTo>
                  <a:cubicBezTo>
                    <a:pt x="33613" y="95012"/>
                    <a:pt x="33613" y="93667"/>
                    <a:pt x="32716" y="92771"/>
                  </a:cubicBezTo>
                  <a:lnTo>
                    <a:pt x="8067" y="69466"/>
                  </a:lnTo>
                  <a:lnTo>
                    <a:pt x="66329" y="69466"/>
                  </a:lnTo>
                  <a:cubicBezTo>
                    <a:pt x="80223" y="69466"/>
                    <a:pt x="91875" y="57814"/>
                    <a:pt x="91875" y="43024"/>
                  </a:cubicBezTo>
                  <a:lnTo>
                    <a:pt x="91875" y="2241"/>
                  </a:lnTo>
                  <a:cubicBezTo>
                    <a:pt x="91875" y="896"/>
                    <a:pt x="90979" y="0"/>
                    <a:pt x="89634" y="0"/>
                  </a:cubicBezTo>
                  <a:close/>
                </a:path>
              </a:pathLst>
            </a:custGeom>
            <a:solidFill>
              <a:srgbClr val="231F20"/>
            </a:solidFill>
            <a:ln w="4477" cap="flat">
              <a:noFill/>
              <a:prstDash val="solid"/>
              <a:miter/>
            </a:ln>
          </p:spPr>
          <p:txBody>
            <a:bodyPr rtlCol="0" anchor="ctr"/>
            <a:lstStyle/>
            <a:p>
              <a:endParaRPr lang="en-US"/>
            </a:p>
          </p:txBody>
        </p:sp>
        <p:sp>
          <p:nvSpPr>
            <p:cNvPr id="3633" name="Freeform: Shape 3632">
              <a:extLst>
                <a:ext uri="{FF2B5EF4-FFF2-40B4-BE49-F238E27FC236}">
                  <a16:creationId xmlns:a16="http://schemas.microsoft.com/office/drawing/2014/main" id="{D3F3E2C5-9291-4DFD-80D2-3DC90624E567}"/>
                </a:ext>
              </a:extLst>
            </p:cNvPr>
            <p:cNvSpPr/>
            <p:nvPr/>
          </p:nvSpPr>
          <p:spPr>
            <a:xfrm>
              <a:off x="7283224" y="4554066"/>
              <a:ext cx="89634" cy="94116"/>
            </a:xfrm>
            <a:custGeom>
              <a:avLst/>
              <a:gdLst>
                <a:gd name="connsiteX0" fmla="*/ 58710 w 89634"/>
                <a:gd name="connsiteY0" fmla="*/ 54453 h 94115"/>
                <a:gd name="connsiteX1" fmla="*/ 58710 w 89634"/>
                <a:gd name="connsiteY1" fmla="*/ 57590 h 94115"/>
                <a:gd name="connsiteX2" fmla="*/ 60503 w 89634"/>
                <a:gd name="connsiteY2" fmla="*/ 58486 h 94115"/>
                <a:gd name="connsiteX3" fmla="*/ 61847 w 89634"/>
                <a:gd name="connsiteY3" fmla="*/ 58038 h 94115"/>
                <a:gd name="connsiteX4" fmla="*/ 90530 w 89634"/>
                <a:gd name="connsiteY4" fmla="*/ 31148 h 94115"/>
                <a:gd name="connsiteX5" fmla="*/ 90530 w 89634"/>
                <a:gd name="connsiteY5" fmla="*/ 31148 h 94115"/>
                <a:gd name="connsiteX6" fmla="*/ 90979 w 89634"/>
                <a:gd name="connsiteY6" fmla="*/ 30699 h 94115"/>
                <a:gd name="connsiteX7" fmla="*/ 90979 w 89634"/>
                <a:gd name="connsiteY7" fmla="*/ 30251 h 94115"/>
                <a:gd name="connsiteX8" fmla="*/ 90979 w 89634"/>
                <a:gd name="connsiteY8" fmla="*/ 29803 h 94115"/>
                <a:gd name="connsiteX9" fmla="*/ 90979 w 89634"/>
                <a:gd name="connsiteY9" fmla="*/ 29355 h 94115"/>
                <a:gd name="connsiteX10" fmla="*/ 90979 w 89634"/>
                <a:gd name="connsiteY10" fmla="*/ 29355 h 94115"/>
                <a:gd name="connsiteX11" fmla="*/ 90979 w 89634"/>
                <a:gd name="connsiteY11" fmla="*/ 29355 h 94115"/>
                <a:gd name="connsiteX12" fmla="*/ 90082 w 89634"/>
                <a:gd name="connsiteY12" fmla="*/ 27563 h 94115"/>
                <a:gd name="connsiteX13" fmla="*/ 90082 w 89634"/>
                <a:gd name="connsiteY13" fmla="*/ 27563 h 94115"/>
                <a:gd name="connsiteX14" fmla="*/ 61399 w 89634"/>
                <a:gd name="connsiteY14" fmla="*/ 672 h 94115"/>
                <a:gd name="connsiteX15" fmla="*/ 58262 w 89634"/>
                <a:gd name="connsiteY15" fmla="*/ 672 h 94115"/>
                <a:gd name="connsiteX16" fmla="*/ 58262 w 89634"/>
                <a:gd name="connsiteY16" fmla="*/ 3809 h 94115"/>
                <a:gd name="connsiteX17" fmla="*/ 82911 w 89634"/>
                <a:gd name="connsiteY17" fmla="*/ 26666 h 94115"/>
                <a:gd name="connsiteX18" fmla="*/ 25546 w 89634"/>
                <a:gd name="connsiteY18" fmla="*/ 26666 h 94115"/>
                <a:gd name="connsiteX19" fmla="*/ 0 w 89634"/>
                <a:gd name="connsiteY19" fmla="*/ 53108 h 94115"/>
                <a:gd name="connsiteX20" fmla="*/ 0 w 89634"/>
                <a:gd name="connsiteY20" fmla="*/ 93892 h 94115"/>
                <a:gd name="connsiteX21" fmla="*/ 2241 w 89634"/>
                <a:gd name="connsiteY21" fmla="*/ 96133 h 94115"/>
                <a:gd name="connsiteX22" fmla="*/ 4482 w 89634"/>
                <a:gd name="connsiteY22" fmla="*/ 93892 h 94115"/>
                <a:gd name="connsiteX23" fmla="*/ 4482 w 89634"/>
                <a:gd name="connsiteY23" fmla="*/ 53108 h 94115"/>
                <a:gd name="connsiteX24" fmla="*/ 25546 w 89634"/>
                <a:gd name="connsiteY24" fmla="*/ 31148 h 94115"/>
                <a:gd name="connsiteX25" fmla="*/ 82911 w 89634"/>
                <a:gd name="connsiteY25" fmla="*/ 31148 h 94115"/>
                <a:gd name="connsiteX26" fmla="*/ 58710 w 89634"/>
                <a:gd name="connsiteY26" fmla="*/ 54453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9634" h="94115">
                  <a:moveTo>
                    <a:pt x="58710" y="54453"/>
                  </a:moveTo>
                  <a:cubicBezTo>
                    <a:pt x="57814" y="55349"/>
                    <a:pt x="57814" y="56694"/>
                    <a:pt x="58710" y="57590"/>
                  </a:cubicBezTo>
                  <a:cubicBezTo>
                    <a:pt x="59158" y="58038"/>
                    <a:pt x="59607" y="58486"/>
                    <a:pt x="60503" y="58486"/>
                  </a:cubicBezTo>
                  <a:cubicBezTo>
                    <a:pt x="60951" y="58486"/>
                    <a:pt x="61399" y="58486"/>
                    <a:pt x="61847" y="58038"/>
                  </a:cubicBezTo>
                  <a:lnTo>
                    <a:pt x="90530" y="31148"/>
                  </a:lnTo>
                  <a:cubicBezTo>
                    <a:pt x="90530" y="31148"/>
                    <a:pt x="90530" y="31148"/>
                    <a:pt x="90530" y="31148"/>
                  </a:cubicBezTo>
                  <a:cubicBezTo>
                    <a:pt x="90530" y="31148"/>
                    <a:pt x="90530" y="30699"/>
                    <a:pt x="90979" y="30699"/>
                  </a:cubicBezTo>
                  <a:cubicBezTo>
                    <a:pt x="90979" y="30699"/>
                    <a:pt x="90979" y="30699"/>
                    <a:pt x="90979" y="30251"/>
                  </a:cubicBezTo>
                  <a:cubicBezTo>
                    <a:pt x="90979" y="30251"/>
                    <a:pt x="90979" y="29803"/>
                    <a:pt x="90979" y="29803"/>
                  </a:cubicBezTo>
                  <a:cubicBezTo>
                    <a:pt x="90979" y="29803"/>
                    <a:pt x="90979" y="29803"/>
                    <a:pt x="90979" y="29355"/>
                  </a:cubicBezTo>
                  <a:cubicBezTo>
                    <a:pt x="90979" y="29355"/>
                    <a:pt x="90979" y="29355"/>
                    <a:pt x="90979" y="29355"/>
                  </a:cubicBezTo>
                  <a:cubicBezTo>
                    <a:pt x="90979" y="29355"/>
                    <a:pt x="90979" y="29355"/>
                    <a:pt x="90979" y="29355"/>
                  </a:cubicBezTo>
                  <a:cubicBezTo>
                    <a:pt x="90979" y="28907"/>
                    <a:pt x="90530" y="28011"/>
                    <a:pt x="90082" y="27563"/>
                  </a:cubicBezTo>
                  <a:cubicBezTo>
                    <a:pt x="90082" y="27563"/>
                    <a:pt x="90082" y="27563"/>
                    <a:pt x="90082" y="27563"/>
                  </a:cubicBezTo>
                  <a:lnTo>
                    <a:pt x="61399" y="672"/>
                  </a:lnTo>
                  <a:cubicBezTo>
                    <a:pt x="60503" y="-224"/>
                    <a:pt x="59158" y="-224"/>
                    <a:pt x="58262" y="672"/>
                  </a:cubicBezTo>
                  <a:cubicBezTo>
                    <a:pt x="57366" y="1568"/>
                    <a:pt x="57366" y="2913"/>
                    <a:pt x="58262" y="3809"/>
                  </a:cubicBezTo>
                  <a:lnTo>
                    <a:pt x="82911" y="26666"/>
                  </a:lnTo>
                  <a:lnTo>
                    <a:pt x="25546" y="26666"/>
                  </a:lnTo>
                  <a:cubicBezTo>
                    <a:pt x="11652" y="26666"/>
                    <a:pt x="0" y="38318"/>
                    <a:pt x="0" y="53108"/>
                  </a:cubicBezTo>
                  <a:lnTo>
                    <a:pt x="0" y="93892"/>
                  </a:lnTo>
                  <a:cubicBezTo>
                    <a:pt x="0" y="95236"/>
                    <a:pt x="896" y="96133"/>
                    <a:pt x="2241" y="96133"/>
                  </a:cubicBezTo>
                  <a:cubicBezTo>
                    <a:pt x="3585" y="96133"/>
                    <a:pt x="4482" y="95236"/>
                    <a:pt x="4482" y="93892"/>
                  </a:cubicBezTo>
                  <a:lnTo>
                    <a:pt x="4482" y="53108"/>
                  </a:lnTo>
                  <a:cubicBezTo>
                    <a:pt x="4482" y="41008"/>
                    <a:pt x="13893" y="31148"/>
                    <a:pt x="25546" y="31148"/>
                  </a:cubicBezTo>
                  <a:lnTo>
                    <a:pt x="82911" y="31148"/>
                  </a:lnTo>
                  <a:lnTo>
                    <a:pt x="58710" y="54453"/>
                  </a:lnTo>
                  <a:close/>
                </a:path>
              </a:pathLst>
            </a:custGeom>
            <a:solidFill>
              <a:srgbClr val="231F20"/>
            </a:solidFill>
            <a:ln w="4477" cap="flat">
              <a:noFill/>
              <a:prstDash val="solid"/>
              <a:miter/>
            </a:ln>
          </p:spPr>
          <p:txBody>
            <a:bodyPr rtlCol="0" anchor="ctr"/>
            <a:lstStyle/>
            <a:p>
              <a:endParaRPr lang="en-US"/>
            </a:p>
          </p:txBody>
        </p:sp>
      </p:grpSp>
      <p:sp>
        <p:nvSpPr>
          <p:cNvPr id="3634" name="Freeform: Shape 3633">
            <a:extLst>
              <a:ext uri="{FF2B5EF4-FFF2-40B4-BE49-F238E27FC236}">
                <a16:creationId xmlns:a16="http://schemas.microsoft.com/office/drawing/2014/main" id="{B81ADFA1-70B9-4CFD-AB07-AE529324785E}"/>
              </a:ext>
              <a:ext uri="{C183D7F6-B498-43B3-948B-1728B52AA6E4}">
                <adec:decorative xmlns:adec="http://schemas.microsoft.com/office/drawing/2017/decorative" val="1"/>
              </a:ext>
            </a:extLst>
          </p:cNvPr>
          <p:cNvSpPr>
            <a:spLocks noChangeAspect="1"/>
          </p:cNvSpPr>
          <p:nvPr/>
        </p:nvSpPr>
        <p:spPr>
          <a:xfrm>
            <a:off x="1638848" y="1707530"/>
            <a:ext cx="152378" cy="134451"/>
          </a:xfrm>
          <a:custGeom>
            <a:avLst/>
            <a:gdLst>
              <a:gd name="connsiteX0" fmla="*/ 152378 w 152377"/>
              <a:gd name="connsiteY0" fmla="*/ 28907 h 134451"/>
              <a:gd name="connsiteX1" fmla="*/ 152378 w 152377"/>
              <a:gd name="connsiteY1" fmla="*/ 28907 h 134451"/>
              <a:gd name="connsiteX2" fmla="*/ 152378 w 152377"/>
              <a:gd name="connsiteY2" fmla="*/ 28907 h 134451"/>
              <a:gd name="connsiteX3" fmla="*/ 152378 w 152377"/>
              <a:gd name="connsiteY3" fmla="*/ 28907 h 134451"/>
              <a:gd name="connsiteX4" fmla="*/ 152378 w 152377"/>
              <a:gd name="connsiteY4" fmla="*/ 28011 h 134451"/>
              <a:gd name="connsiteX5" fmla="*/ 152378 w 152377"/>
              <a:gd name="connsiteY5" fmla="*/ 28011 h 134451"/>
              <a:gd name="connsiteX6" fmla="*/ 151930 w 152377"/>
              <a:gd name="connsiteY6" fmla="*/ 27563 h 134451"/>
              <a:gd name="connsiteX7" fmla="*/ 151930 w 152377"/>
              <a:gd name="connsiteY7" fmla="*/ 27563 h 134451"/>
              <a:gd name="connsiteX8" fmla="*/ 123247 w 152377"/>
              <a:gd name="connsiteY8" fmla="*/ 672 h 134451"/>
              <a:gd name="connsiteX9" fmla="*/ 120110 w 152377"/>
              <a:gd name="connsiteY9" fmla="*/ 672 h 134451"/>
              <a:gd name="connsiteX10" fmla="*/ 120110 w 152377"/>
              <a:gd name="connsiteY10" fmla="*/ 3809 h 134451"/>
              <a:gd name="connsiteX11" fmla="*/ 144759 w 152377"/>
              <a:gd name="connsiteY11" fmla="*/ 26666 h 134451"/>
              <a:gd name="connsiteX12" fmla="*/ 58710 w 152377"/>
              <a:gd name="connsiteY12" fmla="*/ 26666 h 134451"/>
              <a:gd name="connsiteX13" fmla="*/ 0 w 152377"/>
              <a:gd name="connsiteY13" fmla="*/ 82687 h 134451"/>
              <a:gd name="connsiteX14" fmla="*/ 58710 w 152377"/>
              <a:gd name="connsiteY14" fmla="*/ 138709 h 134451"/>
              <a:gd name="connsiteX15" fmla="*/ 108009 w 152377"/>
              <a:gd name="connsiteY15" fmla="*/ 138709 h 134451"/>
              <a:gd name="connsiteX16" fmla="*/ 110250 w 152377"/>
              <a:gd name="connsiteY16" fmla="*/ 136468 h 134451"/>
              <a:gd name="connsiteX17" fmla="*/ 108009 w 152377"/>
              <a:gd name="connsiteY17" fmla="*/ 134227 h 134451"/>
              <a:gd name="connsiteX18" fmla="*/ 58710 w 152377"/>
              <a:gd name="connsiteY18" fmla="*/ 134227 h 134451"/>
              <a:gd name="connsiteX19" fmla="*/ 4482 w 152377"/>
              <a:gd name="connsiteY19" fmla="*/ 82687 h 134451"/>
              <a:gd name="connsiteX20" fmla="*/ 58710 w 152377"/>
              <a:gd name="connsiteY20" fmla="*/ 31148 h 134451"/>
              <a:gd name="connsiteX21" fmla="*/ 144759 w 152377"/>
              <a:gd name="connsiteY21" fmla="*/ 31148 h 134451"/>
              <a:gd name="connsiteX22" fmla="*/ 120110 w 152377"/>
              <a:gd name="connsiteY22" fmla="*/ 54004 h 134451"/>
              <a:gd name="connsiteX23" fmla="*/ 120110 w 152377"/>
              <a:gd name="connsiteY23" fmla="*/ 57142 h 134451"/>
              <a:gd name="connsiteX24" fmla="*/ 121902 w 152377"/>
              <a:gd name="connsiteY24" fmla="*/ 58038 h 134451"/>
              <a:gd name="connsiteX25" fmla="*/ 123247 w 152377"/>
              <a:gd name="connsiteY25" fmla="*/ 57590 h 134451"/>
              <a:gd name="connsiteX26" fmla="*/ 151930 w 152377"/>
              <a:gd name="connsiteY26" fmla="*/ 30699 h 134451"/>
              <a:gd name="connsiteX27" fmla="*/ 151930 w 152377"/>
              <a:gd name="connsiteY27" fmla="*/ 30699 h 134451"/>
              <a:gd name="connsiteX28" fmla="*/ 152378 w 152377"/>
              <a:gd name="connsiteY28" fmla="*/ 30251 h 134451"/>
              <a:gd name="connsiteX29" fmla="*/ 152378 w 152377"/>
              <a:gd name="connsiteY29" fmla="*/ 30251 h 134451"/>
              <a:gd name="connsiteX30" fmla="*/ 152378 w 152377"/>
              <a:gd name="connsiteY30" fmla="*/ 28907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377" h="134451">
                <a:moveTo>
                  <a:pt x="152378" y="28907"/>
                </a:moveTo>
                <a:lnTo>
                  <a:pt x="152378" y="28907"/>
                </a:lnTo>
                <a:lnTo>
                  <a:pt x="152378" y="28907"/>
                </a:lnTo>
                <a:cubicBezTo>
                  <a:pt x="152378" y="28907"/>
                  <a:pt x="152378" y="28907"/>
                  <a:pt x="152378" y="28907"/>
                </a:cubicBezTo>
                <a:cubicBezTo>
                  <a:pt x="152378" y="28459"/>
                  <a:pt x="152378" y="28459"/>
                  <a:pt x="152378" y="28011"/>
                </a:cubicBezTo>
                <a:cubicBezTo>
                  <a:pt x="152378" y="28011"/>
                  <a:pt x="152378" y="28011"/>
                  <a:pt x="152378" y="28011"/>
                </a:cubicBezTo>
                <a:cubicBezTo>
                  <a:pt x="152378" y="28011"/>
                  <a:pt x="152378" y="27563"/>
                  <a:pt x="151930" y="27563"/>
                </a:cubicBezTo>
                <a:cubicBezTo>
                  <a:pt x="151930" y="27563"/>
                  <a:pt x="151930" y="27563"/>
                  <a:pt x="151930" y="27563"/>
                </a:cubicBezTo>
                <a:lnTo>
                  <a:pt x="123247" y="672"/>
                </a:lnTo>
                <a:cubicBezTo>
                  <a:pt x="122350" y="-224"/>
                  <a:pt x="121006" y="-224"/>
                  <a:pt x="120110" y="672"/>
                </a:cubicBezTo>
                <a:cubicBezTo>
                  <a:pt x="119213" y="1568"/>
                  <a:pt x="119213" y="2913"/>
                  <a:pt x="120110" y="3809"/>
                </a:cubicBezTo>
                <a:lnTo>
                  <a:pt x="144759" y="26666"/>
                </a:lnTo>
                <a:lnTo>
                  <a:pt x="58710" y="26666"/>
                </a:lnTo>
                <a:cubicBezTo>
                  <a:pt x="26442" y="26666"/>
                  <a:pt x="0" y="51764"/>
                  <a:pt x="0" y="82687"/>
                </a:cubicBezTo>
                <a:cubicBezTo>
                  <a:pt x="0" y="113611"/>
                  <a:pt x="26442" y="138709"/>
                  <a:pt x="58710" y="138709"/>
                </a:cubicBezTo>
                <a:lnTo>
                  <a:pt x="108009" y="138709"/>
                </a:lnTo>
                <a:cubicBezTo>
                  <a:pt x="109354" y="138709"/>
                  <a:pt x="110250" y="137812"/>
                  <a:pt x="110250" y="136468"/>
                </a:cubicBezTo>
                <a:cubicBezTo>
                  <a:pt x="110250" y="135123"/>
                  <a:pt x="109354" y="134227"/>
                  <a:pt x="108009" y="134227"/>
                </a:cubicBezTo>
                <a:lnTo>
                  <a:pt x="58710" y="134227"/>
                </a:lnTo>
                <a:cubicBezTo>
                  <a:pt x="28683" y="134227"/>
                  <a:pt x="4482" y="110922"/>
                  <a:pt x="4482" y="82687"/>
                </a:cubicBezTo>
                <a:cubicBezTo>
                  <a:pt x="4482" y="54453"/>
                  <a:pt x="28683" y="31148"/>
                  <a:pt x="58710" y="31148"/>
                </a:cubicBezTo>
                <a:lnTo>
                  <a:pt x="144759" y="31148"/>
                </a:lnTo>
                <a:lnTo>
                  <a:pt x="120110" y="54004"/>
                </a:lnTo>
                <a:cubicBezTo>
                  <a:pt x="119213" y="54901"/>
                  <a:pt x="119213" y="56245"/>
                  <a:pt x="120110" y="57142"/>
                </a:cubicBezTo>
                <a:cubicBezTo>
                  <a:pt x="120558" y="57590"/>
                  <a:pt x="121006" y="58038"/>
                  <a:pt x="121902" y="58038"/>
                </a:cubicBezTo>
                <a:cubicBezTo>
                  <a:pt x="122350" y="58038"/>
                  <a:pt x="122799" y="58038"/>
                  <a:pt x="123247" y="57590"/>
                </a:cubicBezTo>
                <a:lnTo>
                  <a:pt x="151930" y="30699"/>
                </a:lnTo>
                <a:cubicBezTo>
                  <a:pt x="151930" y="30699"/>
                  <a:pt x="151930" y="30699"/>
                  <a:pt x="151930" y="30699"/>
                </a:cubicBezTo>
                <a:cubicBezTo>
                  <a:pt x="151930" y="30699"/>
                  <a:pt x="152378" y="30251"/>
                  <a:pt x="152378" y="30251"/>
                </a:cubicBezTo>
                <a:cubicBezTo>
                  <a:pt x="152378" y="30251"/>
                  <a:pt x="152378" y="30251"/>
                  <a:pt x="152378" y="30251"/>
                </a:cubicBezTo>
                <a:cubicBezTo>
                  <a:pt x="152378" y="29803"/>
                  <a:pt x="152378" y="29355"/>
                  <a:pt x="152378" y="28907"/>
                </a:cubicBezTo>
                <a:close/>
              </a:path>
            </a:pathLst>
          </a:custGeom>
          <a:solidFill>
            <a:srgbClr val="231F20"/>
          </a:solidFill>
          <a:ln w="4477" cap="flat">
            <a:noFill/>
            <a:prstDash val="solid"/>
            <a:miter/>
          </a:ln>
        </p:spPr>
        <p:txBody>
          <a:bodyPr rtlCol="0" anchor="ctr"/>
          <a:lstStyle/>
          <a:p>
            <a:endParaRPr lang="en-US"/>
          </a:p>
        </p:txBody>
      </p:sp>
      <p:sp>
        <p:nvSpPr>
          <p:cNvPr id="3635" name="Freeform: Shape 3634">
            <a:extLst>
              <a:ext uri="{FF2B5EF4-FFF2-40B4-BE49-F238E27FC236}">
                <a16:creationId xmlns:a16="http://schemas.microsoft.com/office/drawing/2014/main" id="{E6BA51F6-DE4B-4545-AE2B-6820F79E1969}"/>
              </a:ext>
              <a:ext uri="{C183D7F6-B498-43B3-948B-1728B52AA6E4}">
                <adec:decorative xmlns:adec="http://schemas.microsoft.com/office/drawing/2017/decorative" val="1"/>
              </a:ext>
            </a:extLst>
          </p:cNvPr>
          <p:cNvSpPr>
            <a:spLocks noChangeAspect="1"/>
          </p:cNvSpPr>
          <p:nvPr/>
        </p:nvSpPr>
        <p:spPr>
          <a:xfrm>
            <a:off x="1898787" y="1700808"/>
            <a:ext cx="152378" cy="165823"/>
          </a:xfrm>
          <a:custGeom>
            <a:avLst/>
            <a:gdLst>
              <a:gd name="connsiteX0" fmla="*/ 151930 w 152377"/>
              <a:gd name="connsiteY0" fmla="*/ 30251 h 165823"/>
              <a:gd name="connsiteX1" fmla="*/ 151930 w 152377"/>
              <a:gd name="connsiteY1" fmla="*/ 30251 h 165823"/>
              <a:gd name="connsiteX2" fmla="*/ 152378 w 152377"/>
              <a:gd name="connsiteY2" fmla="*/ 29355 h 165823"/>
              <a:gd name="connsiteX3" fmla="*/ 152378 w 152377"/>
              <a:gd name="connsiteY3" fmla="*/ 28459 h 165823"/>
              <a:gd name="connsiteX4" fmla="*/ 152378 w 152377"/>
              <a:gd name="connsiteY4" fmla="*/ 28459 h 165823"/>
              <a:gd name="connsiteX5" fmla="*/ 151930 w 152377"/>
              <a:gd name="connsiteY5" fmla="*/ 28011 h 165823"/>
              <a:gd name="connsiteX6" fmla="*/ 151930 w 152377"/>
              <a:gd name="connsiteY6" fmla="*/ 28011 h 165823"/>
              <a:gd name="connsiteX7" fmla="*/ 122799 w 152377"/>
              <a:gd name="connsiteY7" fmla="*/ 672 h 165823"/>
              <a:gd name="connsiteX8" fmla="*/ 119661 w 152377"/>
              <a:gd name="connsiteY8" fmla="*/ 672 h 165823"/>
              <a:gd name="connsiteX9" fmla="*/ 119661 w 152377"/>
              <a:gd name="connsiteY9" fmla="*/ 3809 h 165823"/>
              <a:gd name="connsiteX10" fmla="*/ 144311 w 152377"/>
              <a:gd name="connsiteY10" fmla="*/ 27114 h 165823"/>
              <a:gd name="connsiteX11" fmla="*/ 59607 w 152377"/>
              <a:gd name="connsiteY11" fmla="*/ 27114 h 165823"/>
              <a:gd name="connsiteX12" fmla="*/ 24649 w 152377"/>
              <a:gd name="connsiteY12" fmla="*/ 56245 h 165823"/>
              <a:gd name="connsiteX13" fmla="*/ 59607 w 152377"/>
              <a:gd name="connsiteY13" fmla="*/ 85376 h 165823"/>
              <a:gd name="connsiteX14" fmla="*/ 61847 w 152377"/>
              <a:gd name="connsiteY14" fmla="*/ 85376 h 165823"/>
              <a:gd name="connsiteX15" fmla="*/ 90530 w 152377"/>
              <a:gd name="connsiteY15" fmla="*/ 85376 h 165823"/>
              <a:gd name="connsiteX16" fmla="*/ 92771 w 152377"/>
              <a:gd name="connsiteY16" fmla="*/ 85376 h 165823"/>
              <a:gd name="connsiteX17" fmla="*/ 123247 w 152377"/>
              <a:gd name="connsiteY17" fmla="*/ 110026 h 165823"/>
              <a:gd name="connsiteX18" fmla="*/ 92771 w 152377"/>
              <a:gd name="connsiteY18" fmla="*/ 134675 h 165823"/>
              <a:gd name="connsiteX19" fmla="*/ 8067 w 152377"/>
              <a:gd name="connsiteY19" fmla="*/ 134675 h 165823"/>
              <a:gd name="connsiteX20" fmla="*/ 32268 w 152377"/>
              <a:gd name="connsiteY20" fmla="*/ 111818 h 165823"/>
              <a:gd name="connsiteX21" fmla="*/ 32268 w 152377"/>
              <a:gd name="connsiteY21" fmla="*/ 108681 h 165823"/>
              <a:gd name="connsiteX22" fmla="*/ 29131 w 152377"/>
              <a:gd name="connsiteY22" fmla="*/ 108681 h 165823"/>
              <a:gd name="connsiteX23" fmla="*/ 1344 w 152377"/>
              <a:gd name="connsiteY23" fmla="*/ 134675 h 165823"/>
              <a:gd name="connsiteX24" fmla="*/ 0 w 152377"/>
              <a:gd name="connsiteY24" fmla="*/ 136916 h 165823"/>
              <a:gd name="connsiteX25" fmla="*/ 0 w 152377"/>
              <a:gd name="connsiteY25" fmla="*/ 136916 h 165823"/>
              <a:gd name="connsiteX26" fmla="*/ 0 w 152377"/>
              <a:gd name="connsiteY26" fmla="*/ 136916 h 165823"/>
              <a:gd name="connsiteX27" fmla="*/ 896 w 152377"/>
              <a:gd name="connsiteY27" fmla="*/ 138709 h 165823"/>
              <a:gd name="connsiteX28" fmla="*/ 29579 w 152377"/>
              <a:gd name="connsiteY28" fmla="*/ 165599 h 165823"/>
              <a:gd name="connsiteX29" fmla="*/ 30924 w 152377"/>
              <a:gd name="connsiteY29" fmla="*/ 166047 h 165823"/>
              <a:gd name="connsiteX30" fmla="*/ 32716 w 152377"/>
              <a:gd name="connsiteY30" fmla="*/ 165151 h 165823"/>
              <a:gd name="connsiteX31" fmla="*/ 32716 w 152377"/>
              <a:gd name="connsiteY31" fmla="*/ 162014 h 165823"/>
              <a:gd name="connsiteX32" fmla="*/ 8067 w 152377"/>
              <a:gd name="connsiteY32" fmla="*/ 138709 h 165823"/>
              <a:gd name="connsiteX33" fmla="*/ 93219 w 152377"/>
              <a:gd name="connsiteY33" fmla="*/ 138709 h 165823"/>
              <a:gd name="connsiteX34" fmla="*/ 128177 w 152377"/>
              <a:gd name="connsiteY34" fmla="*/ 109578 h 165823"/>
              <a:gd name="connsiteX35" fmla="*/ 93219 w 152377"/>
              <a:gd name="connsiteY35" fmla="*/ 80447 h 165823"/>
              <a:gd name="connsiteX36" fmla="*/ 90978 w 152377"/>
              <a:gd name="connsiteY36" fmla="*/ 80447 h 165823"/>
              <a:gd name="connsiteX37" fmla="*/ 61847 w 152377"/>
              <a:gd name="connsiteY37" fmla="*/ 80447 h 165823"/>
              <a:gd name="connsiteX38" fmla="*/ 59607 w 152377"/>
              <a:gd name="connsiteY38" fmla="*/ 80447 h 165823"/>
              <a:gd name="connsiteX39" fmla="*/ 29131 w 152377"/>
              <a:gd name="connsiteY39" fmla="*/ 55797 h 165823"/>
              <a:gd name="connsiteX40" fmla="*/ 59607 w 152377"/>
              <a:gd name="connsiteY40" fmla="*/ 31148 h 165823"/>
              <a:gd name="connsiteX41" fmla="*/ 144311 w 152377"/>
              <a:gd name="connsiteY41" fmla="*/ 31148 h 165823"/>
              <a:gd name="connsiteX42" fmla="*/ 120110 w 152377"/>
              <a:gd name="connsiteY42" fmla="*/ 54004 h 165823"/>
              <a:gd name="connsiteX43" fmla="*/ 120110 w 152377"/>
              <a:gd name="connsiteY43" fmla="*/ 57142 h 165823"/>
              <a:gd name="connsiteX44" fmla="*/ 121902 w 152377"/>
              <a:gd name="connsiteY44" fmla="*/ 58038 h 165823"/>
              <a:gd name="connsiteX45" fmla="*/ 123247 w 152377"/>
              <a:gd name="connsiteY45" fmla="*/ 57590 h 165823"/>
              <a:gd name="connsiteX46" fmla="*/ 151930 w 152377"/>
              <a:gd name="connsiteY46" fmla="*/ 30699 h 165823"/>
              <a:gd name="connsiteX47" fmla="*/ 151930 w 152377"/>
              <a:gd name="connsiteY47" fmla="*/ 30699 h 165823"/>
              <a:gd name="connsiteX48" fmla="*/ 151930 w 152377"/>
              <a:gd name="connsiteY48" fmla="*/ 30251 h 16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2377" h="165823">
                <a:moveTo>
                  <a:pt x="151930" y="30251"/>
                </a:moveTo>
                <a:cubicBezTo>
                  <a:pt x="151930" y="30251"/>
                  <a:pt x="152378" y="30251"/>
                  <a:pt x="151930" y="30251"/>
                </a:cubicBezTo>
                <a:cubicBezTo>
                  <a:pt x="151930" y="29803"/>
                  <a:pt x="152378" y="29355"/>
                  <a:pt x="152378" y="29355"/>
                </a:cubicBezTo>
                <a:cubicBezTo>
                  <a:pt x="152378" y="28907"/>
                  <a:pt x="152378" y="28907"/>
                  <a:pt x="152378" y="28459"/>
                </a:cubicBezTo>
                <a:cubicBezTo>
                  <a:pt x="152378" y="28459"/>
                  <a:pt x="152378" y="28459"/>
                  <a:pt x="152378" y="28459"/>
                </a:cubicBezTo>
                <a:cubicBezTo>
                  <a:pt x="152378" y="28459"/>
                  <a:pt x="151930" y="28011"/>
                  <a:pt x="151930" y="28011"/>
                </a:cubicBezTo>
                <a:cubicBezTo>
                  <a:pt x="151930" y="28011"/>
                  <a:pt x="151930" y="28011"/>
                  <a:pt x="151930" y="28011"/>
                </a:cubicBezTo>
                <a:lnTo>
                  <a:pt x="122799" y="672"/>
                </a:lnTo>
                <a:cubicBezTo>
                  <a:pt x="121902" y="-224"/>
                  <a:pt x="120558" y="-224"/>
                  <a:pt x="119661" y="672"/>
                </a:cubicBezTo>
                <a:cubicBezTo>
                  <a:pt x="118765" y="1568"/>
                  <a:pt x="118765" y="2913"/>
                  <a:pt x="119661" y="3809"/>
                </a:cubicBezTo>
                <a:lnTo>
                  <a:pt x="144311" y="27114"/>
                </a:lnTo>
                <a:lnTo>
                  <a:pt x="59607" y="27114"/>
                </a:lnTo>
                <a:cubicBezTo>
                  <a:pt x="40335" y="27114"/>
                  <a:pt x="24649" y="40111"/>
                  <a:pt x="24649" y="56245"/>
                </a:cubicBezTo>
                <a:cubicBezTo>
                  <a:pt x="24649" y="72380"/>
                  <a:pt x="40335" y="85376"/>
                  <a:pt x="59607" y="85376"/>
                </a:cubicBezTo>
                <a:lnTo>
                  <a:pt x="61847" y="85376"/>
                </a:lnTo>
                <a:lnTo>
                  <a:pt x="90530" y="85376"/>
                </a:lnTo>
                <a:lnTo>
                  <a:pt x="92771" y="85376"/>
                </a:lnTo>
                <a:cubicBezTo>
                  <a:pt x="109802" y="85376"/>
                  <a:pt x="123247" y="96581"/>
                  <a:pt x="123247" y="110026"/>
                </a:cubicBezTo>
                <a:cubicBezTo>
                  <a:pt x="123247" y="123471"/>
                  <a:pt x="109353" y="134675"/>
                  <a:pt x="92771" y="134675"/>
                </a:cubicBezTo>
                <a:lnTo>
                  <a:pt x="8067" y="134675"/>
                </a:lnTo>
                <a:lnTo>
                  <a:pt x="32268" y="111818"/>
                </a:lnTo>
                <a:cubicBezTo>
                  <a:pt x="33165" y="110922"/>
                  <a:pt x="33165" y="109578"/>
                  <a:pt x="32268" y="108681"/>
                </a:cubicBezTo>
                <a:cubicBezTo>
                  <a:pt x="31372" y="107785"/>
                  <a:pt x="30027" y="107785"/>
                  <a:pt x="29131" y="108681"/>
                </a:cubicBezTo>
                <a:lnTo>
                  <a:pt x="1344" y="134675"/>
                </a:lnTo>
                <a:cubicBezTo>
                  <a:pt x="448" y="135123"/>
                  <a:pt x="0" y="136020"/>
                  <a:pt x="0" y="136916"/>
                </a:cubicBezTo>
                <a:cubicBezTo>
                  <a:pt x="0" y="136916"/>
                  <a:pt x="0" y="136916"/>
                  <a:pt x="0" y="136916"/>
                </a:cubicBezTo>
                <a:cubicBezTo>
                  <a:pt x="0" y="136916"/>
                  <a:pt x="0" y="136916"/>
                  <a:pt x="0" y="136916"/>
                </a:cubicBezTo>
                <a:cubicBezTo>
                  <a:pt x="0" y="137364"/>
                  <a:pt x="448" y="138260"/>
                  <a:pt x="896" y="138709"/>
                </a:cubicBezTo>
                <a:lnTo>
                  <a:pt x="29579" y="165599"/>
                </a:lnTo>
                <a:cubicBezTo>
                  <a:pt x="30027" y="166047"/>
                  <a:pt x="30476" y="166047"/>
                  <a:pt x="30924" y="166047"/>
                </a:cubicBezTo>
                <a:cubicBezTo>
                  <a:pt x="31372" y="166047"/>
                  <a:pt x="32268" y="165599"/>
                  <a:pt x="32716" y="165151"/>
                </a:cubicBezTo>
                <a:cubicBezTo>
                  <a:pt x="33613" y="164254"/>
                  <a:pt x="33613" y="162910"/>
                  <a:pt x="32716" y="162014"/>
                </a:cubicBezTo>
                <a:lnTo>
                  <a:pt x="8067" y="138709"/>
                </a:lnTo>
                <a:lnTo>
                  <a:pt x="93219" y="138709"/>
                </a:lnTo>
                <a:cubicBezTo>
                  <a:pt x="112491" y="138709"/>
                  <a:pt x="128177" y="125712"/>
                  <a:pt x="128177" y="109578"/>
                </a:cubicBezTo>
                <a:cubicBezTo>
                  <a:pt x="128177" y="93443"/>
                  <a:pt x="112491" y="80447"/>
                  <a:pt x="93219" y="80447"/>
                </a:cubicBezTo>
                <a:lnTo>
                  <a:pt x="90978" y="80447"/>
                </a:lnTo>
                <a:lnTo>
                  <a:pt x="61847" y="80447"/>
                </a:lnTo>
                <a:lnTo>
                  <a:pt x="59607" y="80447"/>
                </a:lnTo>
                <a:cubicBezTo>
                  <a:pt x="42576" y="80447"/>
                  <a:pt x="29131" y="69242"/>
                  <a:pt x="29131" y="55797"/>
                </a:cubicBezTo>
                <a:cubicBezTo>
                  <a:pt x="29131" y="42352"/>
                  <a:pt x="43024" y="31148"/>
                  <a:pt x="59607" y="31148"/>
                </a:cubicBezTo>
                <a:lnTo>
                  <a:pt x="144311" y="31148"/>
                </a:lnTo>
                <a:lnTo>
                  <a:pt x="120110" y="54004"/>
                </a:lnTo>
                <a:cubicBezTo>
                  <a:pt x="119213" y="54901"/>
                  <a:pt x="119213" y="56245"/>
                  <a:pt x="120110" y="57142"/>
                </a:cubicBezTo>
                <a:cubicBezTo>
                  <a:pt x="120558" y="57590"/>
                  <a:pt x="121006" y="58038"/>
                  <a:pt x="121902" y="58038"/>
                </a:cubicBezTo>
                <a:cubicBezTo>
                  <a:pt x="122350" y="58038"/>
                  <a:pt x="122799" y="58038"/>
                  <a:pt x="123247" y="57590"/>
                </a:cubicBezTo>
                <a:lnTo>
                  <a:pt x="151930" y="30699"/>
                </a:lnTo>
                <a:cubicBezTo>
                  <a:pt x="151930" y="30699"/>
                  <a:pt x="151930" y="30699"/>
                  <a:pt x="151930" y="30699"/>
                </a:cubicBezTo>
                <a:cubicBezTo>
                  <a:pt x="151930" y="30699"/>
                  <a:pt x="151930" y="30699"/>
                  <a:pt x="151930" y="30251"/>
                </a:cubicBezTo>
                <a:close/>
              </a:path>
            </a:pathLst>
          </a:custGeom>
          <a:solidFill>
            <a:srgbClr val="231F20"/>
          </a:solidFill>
          <a:ln w="4477" cap="flat">
            <a:noFill/>
            <a:prstDash val="solid"/>
            <a:miter/>
          </a:ln>
        </p:spPr>
        <p:txBody>
          <a:bodyPr rtlCol="0" anchor="ctr"/>
          <a:lstStyle/>
          <a:p>
            <a:endParaRPr lang="en-US"/>
          </a:p>
        </p:txBody>
      </p:sp>
      <p:sp>
        <p:nvSpPr>
          <p:cNvPr id="3636" name="Freeform: Shape 3635">
            <a:extLst>
              <a:ext uri="{FF2B5EF4-FFF2-40B4-BE49-F238E27FC236}">
                <a16:creationId xmlns:a16="http://schemas.microsoft.com/office/drawing/2014/main" id="{6E784B11-C291-403C-94FC-AA654E648571}"/>
              </a:ext>
              <a:ext uri="{C183D7F6-B498-43B3-948B-1728B52AA6E4}">
                <adec:decorative xmlns:adec="http://schemas.microsoft.com/office/drawing/2017/decorative" val="1"/>
              </a:ext>
            </a:extLst>
          </p:cNvPr>
          <p:cNvSpPr>
            <a:spLocks noChangeAspect="1"/>
          </p:cNvSpPr>
          <p:nvPr/>
        </p:nvSpPr>
        <p:spPr>
          <a:xfrm>
            <a:off x="2171274" y="1707082"/>
            <a:ext cx="152378" cy="134451"/>
          </a:xfrm>
          <a:custGeom>
            <a:avLst/>
            <a:gdLst>
              <a:gd name="connsiteX0" fmla="*/ 150137 w 152377"/>
              <a:gd name="connsiteY0" fmla="*/ 134675 h 134451"/>
              <a:gd name="connsiteX1" fmla="*/ 59607 w 152377"/>
              <a:gd name="connsiteY1" fmla="*/ 134675 h 134451"/>
              <a:gd name="connsiteX2" fmla="*/ 29131 w 152377"/>
              <a:gd name="connsiteY2" fmla="*/ 110026 h 134451"/>
              <a:gd name="connsiteX3" fmla="*/ 59607 w 152377"/>
              <a:gd name="connsiteY3" fmla="*/ 85377 h 134451"/>
              <a:gd name="connsiteX4" fmla="*/ 61847 w 152377"/>
              <a:gd name="connsiteY4" fmla="*/ 85377 h 134451"/>
              <a:gd name="connsiteX5" fmla="*/ 90530 w 152377"/>
              <a:gd name="connsiteY5" fmla="*/ 85377 h 134451"/>
              <a:gd name="connsiteX6" fmla="*/ 92771 w 152377"/>
              <a:gd name="connsiteY6" fmla="*/ 85377 h 134451"/>
              <a:gd name="connsiteX7" fmla="*/ 127729 w 152377"/>
              <a:gd name="connsiteY7" fmla="*/ 56246 h 134451"/>
              <a:gd name="connsiteX8" fmla="*/ 92771 w 152377"/>
              <a:gd name="connsiteY8" fmla="*/ 27114 h 134451"/>
              <a:gd name="connsiteX9" fmla="*/ 8067 w 152377"/>
              <a:gd name="connsiteY9" fmla="*/ 27114 h 134451"/>
              <a:gd name="connsiteX10" fmla="*/ 32716 w 152377"/>
              <a:gd name="connsiteY10" fmla="*/ 3810 h 134451"/>
              <a:gd name="connsiteX11" fmla="*/ 32716 w 152377"/>
              <a:gd name="connsiteY11" fmla="*/ 672 h 134451"/>
              <a:gd name="connsiteX12" fmla="*/ 29579 w 152377"/>
              <a:gd name="connsiteY12" fmla="*/ 672 h 134451"/>
              <a:gd name="connsiteX13" fmla="*/ 448 w 152377"/>
              <a:gd name="connsiteY13" fmla="*/ 28011 h 134451"/>
              <a:gd name="connsiteX14" fmla="*/ 448 w 152377"/>
              <a:gd name="connsiteY14" fmla="*/ 28011 h 134451"/>
              <a:gd name="connsiteX15" fmla="*/ 0 w 152377"/>
              <a:gd name="connsiteY15" fmla="*/ 28459 h 134451"/>
              <a:gd name="connsiteX16" fmla="*/ 0 w 152377"/>
              <a:gd name="connsiteY16" fmla="*/ 28459 h 134451"/>
              <a:gd name="connsiteX17" fmla="*/ 0 w 152377"/>
              <a:gd name="connsiteY17" fmla="*/ 29355 h 134451"/>
              <a:gd name="connsiteX18" fmla="*/ 0 w 152377"/>
              <a:gd name="connsiteY18" fmla="*/ 30252 h 134451"/>
              <a:gd name="connsiteX19" fmla="*/ 0 w 152377"/>
              <a:gd name="connsiteY19" fmla="*/ 30252 h 134451"/>
              <a:gd name="connsiteX20" fmla="*/ 448 w 152377"/>
              <a:gd name="connsiteY20" fmla="*/ 30700 h 134451"/>
              <a:gd name="connsiteX21" fmla="*/ 448 w 152377"/>
              <a:gd name="connsiteY21" fmla="*/ 30700 h 134451"/>
              <a:gd name="connsiteX22" fmla="*/ 29131 w 152377"/>
              <a:gd name="connsiteY22" fmla="*/ 57590 h 134451"/>
              <a:gd name="connsiteX23" fmla="*/ 30476 w 152377"/>
              <a:gd name="connsiteY23" fmla="*/ 58038 h 134451"/>
              <a:gd name="connsiteX24" fmla="*/ 32268 w 152377"/>
              <a:gd name="connsiteY24" fmla="*/ 57142 h 134451"/>
              <a:gd name="connsiteX25" fmla="*/ 32268 w 152377"/>
              <a:gd name="connsiteY25" fmla="*/ 54005 h 134451"/>
              <a:gd name="connsiteX26" fmla="*/ 8067 w 152377"/>
              <a:gd name="connsiteY26" fmla="*/ 31148 h 134451"/>
              <a:gd name="connsiteX27" fmla="*/ 92771 w 152377"/>
              <a:gd name="connsiteY27" fmla="*/ 31148 h 134451"/>
              <a:gd name="connsiteX28" fmla="*/ 123247 w 152377"/>
              <a:gd name="connsiteY28" fmla="*/ 55797 h 134451"/>
              <a:gd name="connsiteX29" fmla="*/ 92771 w 152377"/>
              <a:gd name="connsiteY29" fmla="*/ 80447 h 134451"/>
              <a:gd name="connsiteX30" fmla="*/ 90530 w 152377"/>
              <a:gd name="connsiteY30" fmla="*/ 80447 h 134451"/>
              <a:gd name="connsiteX31" fmla="*/ 61847 w 152377"/>
              <a:gd name="connsiteY31" fmla="*/ 80447 h 134451"/>
              <a:gd name="connsiteX32" fmla="*/ 59607 w 152377"/>
              <a:gd name="connsiteY32" fmla="*/ 80447 h 134451"/>
              <a:gd name="connsiteX33" fmla="*/ 24649 w 152377"/>
              <a:gd name="connsiteY33" fmla="*/ 109578 h 134451"/>
              <a:gd name="connsiteX34" fmla="*/ 59607 w 152377"/>
              <a:gd name="connsiteY34" fmla="*/ 138709 h 134451"/>
              <a:gd name="connsiteX35" fmla="*/ 150137 w 152377"/>
              <a:gd name="connsiteY35" fmla="*/ 138709 h 134451"/>
              <a:gd name="connsiteX36" fmla="*/ 152378 w 152377"/>
              <a:gd name="connsiteY36" fmla="*/ 136468 h 134451"/>
              <a:gd name="connsiteX37" fmla="*/ 150137 w 152377"/>
              <a:gd name="connsiteY37" fmla="*/ 134675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134451">
                <a:moveTo>
                  <a:pt x="150137" y="134675"/>
                </a:moveTo>
                <a:lnTo>
                  <a:pt x="59607" y="134675"/>
                </a:lnTo>
                <a:cubicBezTo>
                  <a:pt x="42576" y="134675"/>
                  <a:pt x="29131" y="123471"/>
                  <a:pt x="29131" y="110026"/>
                </a:cubicBezTo>
                <a:cubicBezTo>
                  <a:pt x="29131" y="96581"/>
                  <a:pt x="43024" y="85377"/>
                  <a:pt x="59607" y="85377"/>
                </a:cubicBezTo>
                <a:lnTo>
                  <a:pt x="61847" y="85377"/>
                </a:lnTo>
                <a:lnTo>
                  <a:pt x="90530" y="85377"/>
                </a:lnTo>
                <a:lnTo>
                  <a:pt x="92771" y="85377"/>
                </a:lnTo>
                <a:cubicBezTo>
                  <a:pt x="112043" y="85377"/>
                  <a:pt x="127729" y="72380"/>
                  <a:pt x="127729" y="56246"/>
                </a:cubicBezTo>
                <a:cubicBezTo>
                  <a:pt x="127729" y="40111"/>
                  <a:pt x="112043" y="27114"/>
                  <a:pt x="92771" y="27114"/>
                </a:cubicBezTo>
                <a:lnTo>
                  <a:pt x="8067" y="27114"/>
                </a:lnTo>
                <a:lnTo>
                  <a:pt x="32716" y="3810"/>
                </a:lnTo>
                <a:cubicBezTo>
                  <a:pt x="33613" y="2913"/>
                  <a:pt x="33613" y="1569"/>
                  <a:pt x="32716" y="672"/>
                </a:cubicBezTo>
                <a:cubicBezTo>
                  <a:pt x="31820" y="-224"/>
                  <a:pt x="30476" y="-224"/>
                  <a:pt x="29579" y="672"/>
                </a:cubicBezTo>
                <a:lnTo>
                  <a:pt x="448" y="28011"/>
                </a:lnTo>
                <a:cubicBezTo>
                  <a:pt x="448" y="28011"/>
                  <a:pt x="448" y="28011"/>
                  <a:pt x="448" y="28011"/>
                </a:cubicBezTo>
                <a:cubicBezTo>
                  <a:pt x="448" y="28011"/>
                  <a:pt x="0" y="28459"/>
                  <a:pt x="0" y="28459"/>
                </a:cubicBezTo>
                <a:cubicBezTo>
                  <a:pt x="0" y="28459"/>
                  <a:pt x="0" y="28459"/>
                  <a:pt x="0" y="28459"/>
                </a:cubicBezTo>
                <a:cubicBezTo>
                  <a:pt x="0" y="28907"/>
                  <a:pt x="0" y="28907"/>
                  <a:pt x="0" y="29355"/>
                </a:cubicBezTo>
                <a:cubicBezTo>
                  <a:pt x="0" y="29803"/>
                  <a:pt x="0" y="29803"/>
                  <a:pt x="0" y="30252"/>
                </a:cubicBezTo>
                <a:cubicBezTo>
                  <a:pt x="0" y="30252"/>
                  <a:pt x="0" y="30252"/>
                  <a:pt x="0" y="30252"/>
                </a:cubicBezTo>
                <a:cubicBezTo>
                  <a:pt x="0" y="30252"/>
                  <a:pt x="448" y="30700"/>
                  <a:pt x="448" y="30700"/>
                </a:cubicBezTo>
                <a:cubicBezTo>
                  <a:pt x="448" y="30700"/>
                  <a:pt x="448" y="30700"/>
                  <a:pt x="448" y="30700"/>
                </a:cubicBezTo>
                <a:lnTo>
                  <a:pt x="29131" y="57590"/>
                </a:lnTo>
                <a:cubicBezTo>
                  <a:pt x="29579" y="58038"/>
                  <a:pt x="30027" y="58038"/>
                  <a:pt x="30476" y="58038"/>
                </a:cubicBezTo>
                <a:cubicBezTo>
                  <a:pt x="30924" y="58038"/>
                  <a:pt x="31820" y="57590"/>
                  <a:pt x="32268" y="57142"/>
                </a:cubicBezTo>
                <a:cubicBezTo>
                  <a:pt x="33165" y="56246"/>
                  <a:pt x="33165" y="54901"/>
                  <a:pt x="32268" y="54005"/>
                </a:cubicBezTo>
                <a:lnTo>
                  <a:pt x="8067" y="31148"/>
                </a:lnTo>
                <a:lnTo>
                  <a:pt x="92771" y="31148"/>
                </a:lnTo>
                <a:cubicBezTo>
                  <a:pt x="109802" y="31148"/>
                  <a:pt x="123247" y="42352"/>
                  <a:pt x="123247" y="55797"/>
                </a:cubicBezTo>
                <a:cubicBezTo>
                  <a:pt x="123247" y="69242"/>
                  <a:pt x="109353" y="80447"/>
                  <a:pt x="92771" y="80447"/>
                </a:cubicBezTo>
                <a:lnTo>
                  <a:pt x="90530" y="80447"/>
                </a:lnTo>
                <a:lnTo>
                  <a:pt x="61847" y="80447"/>
                </a:lnTo>
                <a:lnTo>
                  <a:pt x="59607" y="80447"/>
                </a:lnTo>
                <a:cubicBezTo>
                  <a:pt x="40335" y="80447"/>
                  <a:pt x="24649" y="93444"/>
                  <a:pt x="24649" y="109578"/>
                </a:cubicBezTo>
                <a:cubicBezTo>
                  <a:pt x="24649" y="125712"/>
                  <a:pt x="40335" y="138709"/>
                  <a:pt x="59607" y="138709"/>
                </a:cubicBezTo>
                <a:lnTo>
                  <a:pt x="150137" y="138709"/>
                </a:lnTo>
                <a:cubicBezTo>
                  <a:pt x="151481" y="138709"/>
                  <a:pt x="152378" y="137813"/>
                  <a:pt x="152378" y="136468"/>
                </a:cubicBezTo>
                <a:cubicBezTo>
                  <a:pt x="152378" y="135123"/>
                  <a:pt x="151481" y="134675"/>
                  <a:pt x="150137" y="134675"/>
                </a:cubicBezTo>
                <a:close/>
              </a:path>
            </a:pathLst>
          </a:custGeom>
          <a:solidFill>
            <a:srgbClr val="231F20"/>
          </a:solidFill>
          <a:ln w="4477" cap="flat">
            <a:noFill/>
            <a:prstDash val="solid"/>
            <a:miter/>
          </a:ln>
        </p:spPr>
        <p:txBody>
          <a:bodyPr rtlCol="0" anchor="ctr"/>
          <a:lstStyle/>
          <a:p>
            <a:endParaRPr lang="en-US"/>
          </a:p>
        </p:txBody>
      </p:sp>
      <p:grpSp>
        <p:nvGrpSpPr>
          <p:cNvPr id="3637" name="Group 3636">
            <a:extLst>
              <a:ext uri="{FF2B5EF4-FFF2-40B4-BE49-F238E27FC236}">
                <a16:creationId xmlns:a16="http://schemas.microsoft.com/office/drawing/2014/main" id="{6D18B724-DFB2-4C65-B451-C83FD9405743}"/>
              </a:ext>
              <a:ext uri="{C183D7F6-B498-43B3-948B-1728B52AA6E4}">
                <adec:decorative xmlns:adec="http://schemas.microsoft.com/office/drawing/2017/decorative" val="1"/>
              </a:ext>
            </a:extLst>
          </p:cNvPr>
          <p:cNvGrpSpPr>
            <a:grpSpLocks noChangeAspect="1"/>
          </p:cNvGrpSpPr>
          <p:nvPr/>
        </p:nvGrpSpPr>
        <p:grpSpPr>
          <a:xfrm>
            <a:off x="2430918" y="1707306"/>
            <a:ext cx="145950" cy="148121"/>
            <a:chOff x="8332544" y="4553842"/>
            <a:chExt cx="145950" cy="148121"/>
          </a:xfrm>
        </p:grpSpPr>
        <p:sp>
          <p:nvSpPr>
            <p:cNvPr id="3638" name="Freeform: Shape 3637">
              <a:extLst>
                <a:ext uri="{FF2B5EF4-FFF2-40B4-BE49-F238E27FC236}">
                  <a16:creationId xmlns:a16="http://schemas.microsoft.com/office/drawing/2014/main" id="{A5A0D695-9724-4CCA-A9DD-C98FD0328179}"/>
                </a:ext>
              </a:extLst>
            </p:cNvPr>
            <p:cNvSpPr/>
            <p:nvPr/>
          </p:nvSpPr>
          <p:spPr>
            <a:xfrm>
              <a:off x="8332544" y="4553842"/>
              <a:ext cx="121006" cy="85152"/>
            </a:xfrm>
            <a:custGeom>
              <a:avLst/>
              <a:gdLst>
                <a:gd name="connsiteX0" fmla="*/ 27185 w 121005"/>
                <a:gd name="connsiteY0" fmla="*/ 85152 h 85152"/>
                <a:gd name="connsiteX1" fmla="*/ 28977 w 121005"/>
                <a:gd name="connsiteY1" fmla="*/ 84256 h 85152"/>
                <a:gd name="connsiteX2" fmla="*/ 53178 w 121005"/>
                <a:gd name="connsiteY2" fmla="*/ 54677 h 85152"/>
                <a:gd name="connsiteX3" fmla="*/ 52730 w 121005"/>
                <a:gd name="connsiteY3" fmla="*/ 51540 h 85152"/>
                <a:gd name="connsiteX4" fmla="*/ 49593 w 121005"/>
                <a:gd name="connsiteY4" fmla="*/ 51988 h 85152"/>
                <a:gd name="connsiteX5" fmla="*/ 28977 w 121005"/>
                <a:gd name="connsiteY5" fmla="*/ 76637 h 85152"/>
                <a:gd name="connsiteX6" fmla="*/ 28977 w 121005"/>
                <a:gd name="connsiteY6" fmla="*/ 20168 h 85152"/>
                <a:gd name="connsiteX7" fmla="*/ 41526 w 121005"/>
                <a:gd name="connsiteY7" fmla="*/ 4482 h 85152"/>
                <a:gd name="connsiteX8" fmla="*/ 106063 w 121005"/>
                <a:gd name="connsiteY8" fmla="*/ 4482 h 85152"/>
                <a:gd name="connsiteX9" fmla="*/ 118611 w 121005"/>
                <a:gd name="connsiteY9" fmla="*/ 20168 h 85152"/>
                <a:gd name="connsiteX10" fmla="*/ 118611 w 121005"/>
                <a:gd name="connsiteY10" fmla="*/ 45265 h 85152"/>
                <a:gd name="connsiteX11" fmla="*/ 120852 w 121005"/>
                <a:gd name="connsiteY11" fmla="*/ 47506 h 85152"/>
                <a:gd name="connsiteX12" fmla="*/ 123093 w 121005"/>
                <a:gd name="connsiteY12" fmla="*/ 45265 h 85152"/>
                <a:gd name="connsiteX13" fmla="*/ 123093 w 121005"/>
                <a:gd name="connsiteY13" fmla="*/ 20168 h 85152"/>
                <a:gd name="connsiteX14" fmla="*/ 106063 w 121005"/>
                <a:gd name="connsiteY14" fmla="*/ 0 h 85152"/>
                <a:gd name="connsiteX15" fmla="*/ 41526 w 121005"/>
                <a:gd name="connsiteY15" fmla="*/ 0 h 85152"/>
                <a:gd name="connsiteX16" fmla="*/ 24496 w 121005"/>
                <a:gd name="connsiteY16" fmla="*/ 20168 h 85152"/>
                <a:gd name="connsiteX17" fmla="*/ 24496 w 121005"/>
                <a:gd name="connsiteY17" fmla="*/ 77085 h 85152"/>
                <a:gd name="connsiteX18" fmla="*/ 3880 w 121005"/>
                <a:gd name="connsiteY18" fmla="*/ 52436 h 85152"/>
                <a:gd name="connsiteX19" fmla="*/ 743 w 121005"/>
                <a:gd name="connsiteY19" fmla="*/ 51988 h 85152"/>
                <a:gd name="connsiteX20" fmla="*/ 294 w 121005"/>
                <a:gd name="connsiteY20" fmla="*/ 55125 h 85152"/>
                <a:gd name="connsiteX21" fmla="*/ 24496 w 121005"/>
                <a:gd name="connsiteY21" fmla="*/ 84704 h 85152"/>
                <a:gd name="connsiteX22" fmla="*/ 27185 w 121005"/>
                <a:gd name="connsiteY22" fmla="*/ 85152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005" h="85152">
                  <a:moveTo>
                    <a:pt x="27185" y="85152"/>
                  </a:moveTo>
                  <a:cubicBezTo>
                    <a:pt x="27633" y="85152"/>
                    <a:pt x="28529" y="84704"/>
                    <a:pt x="28977" y="84256"/>
                  </a:cubicBezTo>
                  <a:lnTo>
                    <a:pt x="53178" y="54677"/>
                  </a:lnTo>
                  <a:cubicBezTo>
                    <a:pt x="54075" y="53780"/>
                    <a:pt x="53627" y="52436"/>
                    <a:pt x="52730" y="51540"/>
                  </a:cubicBezTo>
                  <a:cubicBezTo>
                    <a:pt x="51834" y="50643"/>
                    <a:pt x="50490" y="51091"/>
                    <a:pt x="49593" y="51988"/>
                  </a:cubicBezTo>
                  <a:lnTo>
                    <a:pt x="28977" y="76637"/>
                  </a:lnTo>
                  <a:lnTo>
                    <a:pt x="28977" y="20168"/>
                  </a:lnTo>
                  <a:cubicBezTo>
                    <a:pt x="28977" y="11652"/>
                    <a:pt x="34355" y="4482"/>
                    <a:pt x="41526" y="4482"/>
                  </a:cubicBezTo>
                  <a:lnTo>
                    <a:pt x="106063" y="4482"/>
                  </a:lnTo>
                  <a:cubicBezTo>
                    <a:pt x="112785" y="4482"/>
                    <a:pt x="118611" y="11652"/>
                    <a:pt x="118611" y="20168"/>
                  </a:cubicBezTo>
                  <a:lnTo>
                    <a:pt x="118611" y="45265"/>
                  </a:lnTo>
                  <a:cubicBezTo>
                    <a:pt x="118611" y="46610"/>
                    <a:pt x="119508" y="47506"/>
                    <a:pt x="120852" y="47506"/>
                  </a:cubicBezTo>
                  <a:cubicBezTo>
                    <a:pt x="122197" y="47506"/>
                    <a:pt x="123093" y="46610"/>
                    <a:pt x="123093" y="45265"/>
                  </a:cubicBezTo>
                  <a:lnTo>
                    <a:pt x="123093" y="20168"/>
                  </a:lnTo>
                  <a:cubicBezTo>
                    <a:pt x="123093" y="8963"/>
                    <a:pt x="115474" y="0"/>
                    <a:pt x="106063" y="0"/>
                  </a:cubicBezTo>
                  <a:lnTo>
                    <a:pt x="41526" y="0"/>
                  </a:lnTo>
                  <a:cubicBezTo>
                    <a:pt x="32115" y="0"/>
                    <a:pt x="24496" y="8963"/>
                    <a:pt x="24496" y="20168"/>
                  </a:cubicBezTo>
                  <a:lnTo>
                    <a:pt x="24496" y="77085"/>
                  </a:lnTo>
                  <a:lnTo>
                    <a:pt x="3880" y="52436"/>
                  </a:lnTo>
                  <a:cubicBezTo>
                    <a:pt x="2983" y="51540"/>
                    <a:pt x="1639" y="51540"/>
                    <a:pt x="743" y="51988"/>
                  </a:cubicBezTo>
                  <a:cubicBezTo>
                    <a:pt x="-154" y="52436"/>
                    <a:pt x="-154" y="54228"/>
                    <a:pt x="294" y="55125"/>
                  </a:cubicBezTo>
                  <a:lnTo>
                    <a:pt x="24496" y="84704"/>
                  </a:lnTo>
                  <a:cubicBezTo>
                    <a:pt x="25840" y="85152"/>
                    <a:pt x="26288" y="85152"/>
                    <a:pt x="27185" y="85152"/>
                  </a:cubicBezTo>
                  <a:close/>
                </a:path>
              </a:pathLst>
            </a:custGeom>
            <a:solidFill>
              <a:srgbClr val="231F20"/>
            </a:solidFill>
            <a:ln w="4477" cap="flat">
              <a:noFill/>
              <a:prstDash val="solid"/>
              <a:miter/>
            </a:ln>
          </p:spPr>
          <p:txBody>
            <a:bodyPr rtlCol="0" anchor="ctr"/>
            <a:lstStyle/>
            <a:p>
              <a:endParaRPr lang="en-US"/>
            </a:p>
          </p:txBody>
        </p:sp>
        <p:sp>
          <p:nvSpPr>
            <p:cNvPr id="3639" name="Freeform: Shape 3638">
              <a:extLst>
                <a:ext uri="{FF2B5EF4-FFF2-40B4-BE49-F238E27FC236}">
                  <a16:creationId xmlns:a16="http://schemas.microsoft.com/office/drawing/2014/main" id="{A876AFE0-80D7-4CB7-89F4-42783BB354F9}"/>
                </a:ext>
              </a:extLst>
            </p:cNvPr>
            <p:cNvSpPr/>
            <p:nvPr/>
          </p:nvSpPr>
          <p:spPr>
            <a:xfrm>
              <a:off x="8357488" y="4621292"/>
              <a:ext cx="121006" cy="80671"/>
            </a:xfrm>
            <a:custGeom>
              <a:avLst/>
              <a:gdLst>
                <a:gd name="connsiteX0" fmla="*/ 122350 w 121005"/>
                <a:gd name="connsiteY0" fmla="*/ 30251 h 80670"/>
                <a:gd name="connsiteX1" fmla="*/ 98149 w 121005"/>
                <a:gd name="connsiteY1" fmla="*/ 672 h 80670"/>
                <a:gd name="connsiteX2" fmla="*/ 94564 w 121005"/>
                <a:gd name="connsiteY2" fmla="*/ 672 h 80670"/>
                <a:gd name="connsiteX3" fmla="*/ 70363 w 121005"/>
                <a:gd name="connsiteY3" fmla="*/ 30251 h 80670"/>
                <a:gd name="connsiteX4" fmla="*/ 70811 w 121005"/>
                <a:gd name="connsiteY4" fmla="*/ 33389 h 80670"/>
                <a:gd name="connsiteX5" fmla="*/ 73948 w 121005"/>
                <a:gd name="connsiteY5" fmla="*/ 32940 h 80670"/>
                <a:gd name="connsiteX6" fmla="*/ 94116 w 121005"/>
                <a:gd name="connsiteY6" fmla="*/ 8291 h 80670"/>
                <a:gd name="connsiteX7" fmla="*/ 94116 w 121005"/>
                <a:gd name="connsiteY7" fmla="*/ 64761 h 80670"/>
                <a:gd name="connsiteX8" fmla="*/ 81567 w 121005"/>
                <a:gd name="connsiteY8" fmla="*/ 80447 h 80670"/>
                <a:gd name="connsiteX9" fmla="*/ 17030 w 121005"/>
                <a:gd name="connsiteY9" fmla="*/ 80447 h 80670"/>
                <a:gd name="connsiteX10" fmla="*/ 4482 w 121005"/>
                <a:gd name="connsiteY10" fmla="*/ 64761 h 80670"/>
                <a:gd name="connsiteX11" fmla="*/ 4482 w 121005"/>
                <a:gd name="connsiteY11" fmla="*/ 39663 h 80670"/>
                <a:gd name="connsiteX12" fmla="*/ 2241 w 121005"/>
                <a:gd name="connsiteY12" fmla="*/ 37422 h 80670"/>
                <a:gd name="connsiteX13" fmla="*/ 0 w 121005"/>
                <a:gd name="connsiteY13" fmla="*/ 39663 h 80670"/>
                <a:gd name="connsiteX14" fmla="*/ 0 w 121005"/>
                <a:gd name="connsiteY14" fmla="*/ 64761 h 80670"/>
                <a:gd name="connsiteX15" fmla="*/ 17030 w 121005"/>
                <a:gd name="connsiteY15" fmla="*/ 84928 h 80670"/>
                <a:gd name="connsiteX16" fmla="*/ 81567 w 121005"/>
                <a:gd name="connsiteY16" fmla="*/ 84928 h 80670"/>
                <a:gd name="connsiteX17" fmla="*/ 98597 w 121005"/>
                <a:gd name="connsiteY17" fmla="*/ 64761 h 80670"/>
                <a:gd name="connsiteX18" fmla="*/ 98597 w 121005"/>
                <a:gd name="connsiteY18" fmla="*/ 7843 h 80670"/>
                <a:gd name="connsiteX19" fmla="*/ 119213 w 121005"/>
                <a:gd name="connsiteY19" fmla="*/ 32492 h 80670"/>
                <a:gd name="connsiteX20" fmla="*/ 121006 w 121005"/>
                <a:gd name="connsiteY20" fmla="*/ 33389 h 80670"/>
                <a:gd name="connsiteX21" fmla="*/ 122350 w 121005"/>
                <a:gd name="connsiteY21" fmla="*/ 32940 h 80670"/>
                <a:gd name="connsiteX22" fmla="*/ 122350 w 121005"/>
                <a:gd name="connsiteY22" fmla="*/ 30251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005" h="80670">
                  <a:moveTo>
                    <a:pt x="122350" y="30251"/>
                  </a:moveTo>
                  <a:lnTo>
                    <a:pt x="98149" y="672"/>
                  </a:lnTo>
                  <a:cubicBezTo>
                    <a:pt x="97253" y="-224"/>
                    <a:pt x="95460" y="-224"/>
                    <a:pt x="94564" y="672"/>
                  </a:cubicBezTo>
                  <a:lnTo>
                    <a:pt x="70363" y="30251"/>
                  </a:lnTo>
                  <a:cubicBezTo>
                    <a:pt x="69466" y="31148"/>
                    <a:pt x="69915" y="32492"/>
                    <a:pt x="70811" y="33389"/>
                  </a:cubicBezTo>
                  <a:cubicBezTo>
                    <a:pt x="71707" y="34285"/>
                    <a:pt x="73052" y="33837"/>
                    <a:pt x="73948" y="32940"/>
                  </a:cubicBezTo>
                  <a:lnTo>
                    <a:pt x="94116" y="8291"/>
                  </a:lnTo>
                  <a:lnTo>
                    <a:pt x="94116" y="64761"/>
                  </a:lnTo>
                  <a:cubicBezTo>
                    <a:pt x="94116" y="73276"/>
                    <a:pt x="88738" y="80447"/>
                    <a:pt x="81567" y="80447"/>
                  </a:cubicBezTo>
                  <a:lnTo>
                    <a:pt x="17030" y="80447"/>
                  </a:lnTo>
                  <a:cubicBezTo>
                    <a:pt x="10308" y="80447"/>
                    <a:pt x="4482" y="73276"/>
                    <a:pt x="4482" y="64761"/>
                  </a:cubicBezTo>
                  <a:lnTo>
                    <a:pt x="4482" y="39663"/>
                  </a:lnTo>
                  <a:cubicBezTo>
                    <a:pt x="4482" y="38318"/>
                    <a:pt x="3585" y="37422"/>
                    <a:pt x="2241" y="37422"/>
                  </a:cubicBezTo>
                  <a:cubicBezTo>
                    <a:pt x="896" y="37422"/>
                    <a:pt x="0" y="38318"/>
                    <a:pt x="0" y="39663"/>
                  </a:cubicBezTo>
                  <a:lnTo>
                    <a:pt x="0" y="64761"/>
                  </a:lnTo>
                  <a:cubicBezTo>
                    <a:pt x="0" y="75965"/>
                    <a:pt x="7619" y="84928"/>
                    <a:pt x="17030" y="84928"/>
                  </a:cubicBezTo>
                  <a:lnTo>
                    <a:pt x="81567" y="84928"/>
                  </a:lnTo>
                  <a:cubicBezTo>
                    <a:pt x="90978" y="84928"/>
                    <a:pt x="98597" y="75965"/>
                    <a:pt x="98597" y="64761"/>
                  </a:cubicBezTo>
                  <a:lnTo>
                    <a:pt x="98597" y="7843"/>
                  </a:lnTo>
                  <a:lnTo>
                    <a:pt x="119213" y="32492"/>
                  </a:lnTo>
                  <a:cubicBezTo>
                    <a:pt x="119661" y="32940"/>
                    <a:pt x="120110" y="33389"/>
                    <a:pt x="121006" y="33389"/>
                  </a:cubicBezTo>
                  <a:cubicBezTo>
                    <a:pt x="121454" y="33389"/>
                    <a:pt x="121902" y="33389"/>
                    <a:pt x="122350" y="32940"/>
                  </a:cubicBezTo>
                  <a:cubicBezTo>
                    <a:pt x="123247" y="32492"/>
                    <a:pt x="123247" y="31148"/>
                    <a:pt x="122350" y="30251"/>
                  </a:cubicBezTo>
                  <a:close/>
                </a:path>
              </a:pathLst>
            </a:custGeom>
            <a:solidFill>
              <a:srgbClr val="231F20"/>
            </a:solidFill>
            <a:ln w="4477" cap="flat">
              <a:noFill/>
              <a:prstDash val="solid"/>
              <a:miter/>
            </a:ln>
          </p:spPr>
          <p:txBody>
            <a:bodyPr rtlCol="0" anchor="ctr"/>
            <a:lstStyle/>
            <a:p>
              <a:endParaRPr lang="en-US"/>
            </a:p>
          </p:txBody>
        </p:sp>
      </p:grpSp>
      <p:grpSp>
        <p:nvGrpSpPr>
          <p:cNvPr id="3640" name="Group 3639">
            <a:extLst>
              <a:ext uri="{FF2B5EF4-FFF2-40B4-BE49-F238E27FC236}">
                <a16:creationId xmlns:a16="http://schemas.microsoft.com/office/drawing/2014/main" id="{B91FA52D-4770-4853-B12C-28A4A9334FCE}"/>
              </a:ext>
              <a:ext uri="{C183D7F6-B498-43B3-948B-1728B52AA6E4}">
                <adec:decorative xmlns:adec="http://schemas.microsoft.com/office/drawing/2017/decorative" val="1"/>
              </a:ext>
            </a:extLst>
          </p:cNvPr>
          <p:cNvGrpSpPr>
            <a:grpSpLocks noChangeAspect="1"/>
          </p:cNvGrpSpPr>
          <p:nvPr/>
        </p:nvGrpSpPr>
        <p:grpSpPr>
          <a:xfrm>
            <a:off x="2689807" y="1707306"/>
            <a:ext cx="151706" cy="150809"/>
            <a:chOff x="8591433" y="4553842"/>
            <a:chExt cx="151706" cy="150809"/>
          </a:xfrm>
        </p:grpSpPr>
        <p:sp>
          <p:nvSpPr>
            <p:cNvPr id="3641" name="Freeform: Shape 3640">
              <a:extLst>
                <a:ext uri="{FF2B5EF4-FFF2-40B4-BE49-F238E27FC236}">
                  <a16:creationId xmlns:a16="http://schemas.microsoft.com/office/drawing/2014/main" id="{9B8FB829-1AA9-457A-876C-55E64CC0F4E7}"/>
                </a:ext>
              </a:extLst>
            </p:cNvPr>
            <p:cNvSpPr/>
            <p:nvPr/>
          </p:nvSpPr>
          <p:spPr>
            <a:xfrm>
              <a:off x="8684877" y="4646389"/>
              <a:ext cx="58262" cy="58262"/>
            </a:xfrm>
            <a:custGeom>
              <a:avLst/>
              <a:gdLst>
                <a:gd name="connsiteX0" fmla="*/ 56694 w 58262"/>
                <a:gd name="connsiteY0" fmla="*/ 15014 h 58262"/>
                <a:gd name="connsiteX1" fmla="*/ 54453 w 58262"/>
                <a:gd name="connsiteY1" fmla="*/ 17255 h 58262"/>
                <a:gd name="connsiteX2" fmla="*/ 54453 w 58262"/>
                <a:gd name="connsiteY2" fmla="*/ 52212 h 58262"/>
                <a:gd name="connsiteX3" fmla="*/ 3809 w 58262"/>
                <a:gd name="connsiteY3" fmla="*/ 672 h 58262"/>
                <a:gd name="connsiteX4" fmla="*/ 672 w 58262"/>
                <a:gd name="connsiteY4" fmla="*/ 672 h 58262"/>
                <a:gd name="connsiteX5" fmla="*/ 672 w 58262"/>
                <a:gd name="connsiteY5" fmla="*/ 3810 h 58262"/>
                <a:gd name="connsiteX6" fmla="*/ 51764 w 58262"/>
                <a:gd name="connsiteY6" fmla="*/ 55349 h 58262"/>
                <a:gd name="connsiteX7" fmla="*/ 16806 w 58262"/>
                <a:gd name="connsiteY7" fmla="*/ 55349 h 58262"/>
                <a:gd name="connsiteX8" fmla="*/ 14565 w 58262"/>
                <a:gd name="connsiteY8" fmla="*/ 57590 h 58262"/>
                <a:gd name="connsiteX9" fmla="*/ 16806 w 58262"/>
                <a:gd name="connsiteY9" fmla="*/ 59831 h 58262"/>
                <a:gd name="connsiteX10" fmla="*/ 57142 w 58262"/>
                <a:gd name="connsiteY10" fmla="*/ 59831 h 58262"/>
                <a:gd name="connsiteX11" fmla="*/ 59382 w 58262"/>
                <a:gd name="connsiteY11" fmla="*/ 57590 h 58262"/>
                <a:gd name="connsiteX12" fmla="*/ 59382 w 58262"/>
                <a:gd name="connsiteY12" fmla="*/ 17255 h 58262"/>
                <a:gd name="connsiteX13" fmla="*/ 56694 w 58262"/>
                <a:gd name="connsiteY13" fmla="*/ 1501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56694" y="15014"/>
                  </a:moveTo>
                  <a:cubicBezTo>
                    <a:pt x="55349" y="15014"/>
                    <a:pt x="54453" y="15910"/>
                    <a:pt x="54453" y="17255"/>
                  </a:cubicBezTo>
                  <a:lnTo>
                    <a:pt x="54453" y="52212"/>
                  </a:lnTo>
                  <a:lnTo>
                    <a:pt x="3809" y="672"/>
                  </a:lnTo>
                  <a:cubicBezTo>
                    <a:pt x="2913" y="-224"/>
                    <a:pt x="1569" y="-224"/>
                    <a:pt x="672" y="672"/>
                  </a:cubicBezTo>
                  <a:cubicBezTo>
                    <a:pt x="-224" y="1569"/>
                    <a:pt x="-224" y="2913"/>
                    <a:pt x="672" y="3810"/>
                  </a:cubicBezTo>
                  <a:lnTo>
                    <a:pt x="51764" y="55349"/>
                  </a:lnTo>
                  <a:lnTo>
                    <a:pt x="16806" y="55349"/>
                  </a:lnTo>
                  <a:cubicBezTo>
                    <a:pt x="15462" y="55349"/>
                    <a:pt x="14565" y="56246"/>
                    <a:pt x="14565" y="57590"/>
                  </a:cubicBezTo>
                  <a:cubicBezTo>
                    <a:pt x="14565" y="58934"/>
                    <a:pt x="15462" y="59831"/>
                    <a:pt x="16806" y="59831"/>
                  </a:cubicBezTo>
                  <a:lnTo>
                    <a:pt x="57142" y="59831"/>
                  </a:lnTo>
                  <a:cubicBezTo>
                    <a:pt x="58486" y="59831"/>
                    <a:pt x="59382" y="58934"/>
                    <a:pt x="59382" y="57590"/>
                  </a:cubicBezTo>
                  <a:lnTo>
                    <a:pt x="59382" y="17255"/>
                  </a:lnTo>
                  <a:cubicBezTo>
                    <a:pt x="58934" y="16358"/>
                    <a:pt x="58038" y="15014"/>
                    <a:pt x="56694" y="15014"/>
                  </a:cubicBezTo>
                  <a:close/>
                </a:path>
              </a:pathLst>
            </a:custGeom>
            <a:solidFill>
              <a:srgbClr val="231F20"/>
            </a:solidFill>
            <a:ln w="4477" cap="flat">
              <a:noFill/>
              <a:prstDash val="solid"/>
              <a:miter/>
            </a:ln>
          </p:spPr>
          <p:txBody>
            <a:bodyPr rtlCol="0" anchor="ctr"/>
            <a:lstStyle/>
            <a:p>
              <a:endParaRPr lang="en-US"/>
            </a:p>
          </p:txBody>
        </p:sp>
        <p:sp>
          <p:nvSpPr>
            <p:cNvPr id="3642" name="Freeform: Shape 3641">
              <a:extLst>
                <a:ext uri="{FF2B5EF4-FFF2-40B4-BE49-F238E27FC236}">
                  <a16:creationId xmlns:a16="http://schemas.microsoft.com/office/drawing/2014/main" id="{2C62D99D-2007-4912-8F6C-2A7BFF9AA41D}"/>
                </a:ext>
              </a:extLst>
            </p:cNvPr>
            <p:cNvSpPr/>
            <p:nvPr/>
          </p:nvSpPr>
          <p:spPr>
            <a:xfrm>
              <a:off x="8591765" y="4554290"/>
              <a:ext cx="58262" cy="58262"/>
            </a:xfrm>
            <a:custGeom>
              <a:avLst/>
              <a:gdLst>
                <a:gd name="connsiteX0" fmla="*/ 1909 w 58262"/>
                <a:gd name="connsiteY0" fmla="*/ 44369 h 58262"/>
                <a:gd name="connsiteX1" fmla="*/ 4150 w 58262"/>
                <a:gd name="connsiteY1" fmla="*/ 42128 h 58262"/>
                <a:gd name="connsiteX2" fmla="*/ 4150 w 58262"/>
                <a:gd name="connsiteY2" fmla="*/ 7619 h 58262"/>
                <a:gd name="connsiteX3" fmla="*/ 55242 w 58262"/>
                <a:gd name="connsiteY3" fmla="*/ 59159 h 58262"/>
                <a:gd name="connsiteX4" fmla="*/ 57034 w 58262"/>
                <a:gd name="connsiteY4" fmla="*/ 59607 h 58262"/>
                <a:gd name="connsiteX5" fmla="*/ 58827 w 58262"/>
                <a:gd name="connsiteY5" fmla="*/ 59159 h 58262"/>
                <a:gd name="connsiteX6" fmla="*/ 58827 w 58262"/>
                <a:gd name="connsiteY6" fmla="*/ 56021 h 58262"/>
                <a:gd name="connsiteX7" fmla="*/ 7735 w 58262"/>
                <a:gd name="connsiteY7" fmla="*/ 4482 h 58262"/>
                <a:gd name="connsiteX8" fmla="*/ 42693 w 58262"/>
                <a:gd name="connsiteY8" fmla="*/ 4482 h 58262"/>
                <a:gd name="connsiteX9" fmla="*/ 44934 w 58262"/>
                <a:gd name="connsiteY9" fmla="*/ 2241 h 58262"/>
                <a:gd name="connsiteX10" fmla="*/ 42693 w 58262"/>
                <a:gd name="connsiteY10" fmla="*/ 0 h 58262"/>
                <a:gd name="connsiteX11" fmla="*/ 2357 w 58262"/>
                <a:gd name="connsiteY11" fmla="*/ 0 h 58262"/>
                <a:gd name="connsiteX12" fmla="*/ 117 w 58262"/>
                <a:gd name="connsiteY12" fmla="*/ 2241 h 58262"/>
                <a:gd name="connsiteX13" fmla="*/ 117 w 58262"/>
                <a:gd name="connsiteY13" fmla="*/ 42576 h 58262"/>
                <a:gd name="connsiteX14" fmla="*/ 1909 w 58262"/>
                <a:gd name="connsiteY14" fmla="*/ 44369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58262">
                  <a:moveTo>
                    <a:pt x="1909" y="44369"/>
                  </a:moveTo>
                  <a:cubicBezTo>
                    <a:pt x="3254" y="44369"/>
                    <a:pt x="4150" y="43473"/>
                    <a:pt x="4150" y="42128"/>
                  </a:cubicBezTo>
                  <a:lnTo>
                    <a:pt x="4150" y="7619"/>
                  </a:lnTo>
                  <a:lnTo>
                    <a:pt x="55242" y="59159"/>
                  </a:lnTo>
                  <a:cubicBezTo>
                    <a:pt x="55690" y="59607"/>
                    <a:pt x="56138" y="59607"/>
                    <a:pt x="57034" y="59607"/>
                  </a:cubicBezTo>
                  <a:cubicBezTo>
                    <a:pt x="57482" y="59607"/>
                    <a:pt x="58379" y="59607"/>
                    <a:pt x="58827" y="59159"/>
                  </a:cubicBezTo>
                  <a:cubicBezTo>
                    <a:pt x="59723" y="58262"/>
                    <a:pt x="59723" y="56918"/>
                    <a:pt x="58827" y="56021"/>
                  </a:cubicBezTo>
                  <a:lnTo>
                    <a:pt x="7735" y="4482"/>
                  </a:lnTo>
                  <a:lnTo>
                    <a:pt x="42693" y="4482"/>
                  </a:lnTo>
                  <a:cubicBezTo>
                    <a:pt x="44037" y="4482"/>
                    <a:pt x="44934" y="3585"/>
                    <a:pt x="44934" y="2241"/>
                  </a:cubicBezTo>
                  <a:cubicBezTo>
                    <a:pt x="44934" y="896"/>
                    <a:pt x="44037" y="0"/>
                    <a:pt x="42693" y="0"/>
                  </a:cubicBezTo>
                  <a:lnTo>
                    <a:pt x="2357" y="0"/>
                  </a:lnTo>
                  <a:cubicBezTo>
                    <a:pt x="1013" y="0"/>
                    <a:pt x="117" y="896"/>
                    <a:pt x="117" y="2241"/>
                  </a:cubicBezTo>
                  <a:lnTo>
                    <a:pt x="117" y="42576"/>
                  </a:lnTo>
                  <a:cubicBezTo>
                    <a:pt x="-332" y="43473"/>
                    <a:pt x="565" y="44369"/>
                    <a:pt x="1909" y="44369"/>
                  </a:cubicBezTo>
                  <a:close/>
                </a:path>
              </a:pathLst>
            </a:custGeom>
            <a:solidFill>
              <a:srgbClr val="231F20"/>
            </a:solidFill>
            <a:ln w="4477" cap="flat">
              <a:noFill/>
              <a:prstDash val="solid"/>
              <a:miter/>
            </a:ln>
          </p:spPr>
          <p:txBody>
            <a:bodyPr rtlCol="0" anchor="ctr"/>
            <a:lstStyle/>
            <a:p>
              <a:endParaRPr lang="en-US"/>
            </a:p>
          </p:txBody>
        </p:sp>
        <p:sp>
          <p:nvSpPr>
            <p:cNvPr id="3643" name="Freeform: Shape 3642">
              <a:extLst>
                <a:ext uri="{FF2B5EF4-FFF2-40B4-BE49-F238E27FC236}">
                  <a16:creationId xmlns:a16="http://schemas.microsoft.com/office/drawing/2014/main" id="{9CABF117-9DDA-4023-9467-CAA7B550C97F}"/>
                </a:ext>
              </a:extLst>
            </p:cNvPr>
            <p:cNvSpPr/>
            <p:nvPr/>
          </p:nvSpPr>
          <p:spPr>
            <a:xfrm>
              <a:off x="8591433" y="4646389"/>
              <a:ext cx="58262" cy="58262"/>
            </a:xfrm>
            <a:custGeom>
              <a:avLst/>
              <a:gdLst>
                <a:gd name="connsiteX0" fmla="*/ 55573 w 58262"/>
                <a:gd name="connsiteY0" fmla="*/ 672 h 58262"/>
                <a:gd name="connsiteX1" fmla="*/ 4482 w 58262"/>
                <a:gd name="connsiteY1" fmla="*/ 52212 h 58262"/>
                <a:gd name="connsiteX2" fmla="*/ 4482 w 58262"/>
                <a:gd name="connsiteY2" fmla="*/ 17255 h 58262"/>
                <a:gd name="connsiteX3" fmla="*/ 2241 w 58262"/>
                <a:gd name="connsiteY3" fmla="*/ 15014 h 58262"/>
                <a:gd name="connsiteX4" fmla="*/ 0 w 58262"/>
                <a:gd name="connsiteY4" fmla="*/ 17255 h 58262"/>
                <a:gd name="connsiteX5" fmla="*/ 0 w 58262"/>
                <a:gd name="connsiteY5" fmla="*/ 57590 h 58262"/>
                <a:gd name="connsiteX6" fmla="*/ 2241 w 58262"/>
                <a:gd name="connsiteY6" fmla="*/ 59831 h 58262"/>
                <a:gd name="connsiteX7" fmla="*/ 42576 w 58262"/>
                <a:gd name="connsiteY7" fmla="*/ 59831 h 58262"/>
                <a:gd name="connsiteX8" fmla="*/ 44817 w 58262"/>
                <a:gd name="connsiteY8" fmla="*/ 57590 h 58262"/>
                <a:gd name="connsiteX9" fmla="*/ 42576 w 58262"/>
                <a:gd name="connsiteY9" fmla="*/ 55349 h 58262"/>
                <a:gd name="connsiteX10" fmla="*/ 7619 w 58262"/>
                <a:gd name="connsiteY10" fmla="*/ 55349 h 58262"/>
                <a:gd name="connsiteX11" fmla="*/ 58710 w 58262"/>
                <a:gd name="connsiteY11" fmla="*/ 3810 h 58262"/>
                <a:gd name="connsiteX12" fmla="*/ 58710 w 58262"/>
                <a:gd name="connsiteY12" fmla="*/ 672 h 58262"/>
                <a:gd name="connsiteX13" fmla="*/ 55573 w 58262"/>
                <a:gd name="connsiteY13" fmla="*/ 67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262" h="58262">
                  <a:moveTo>
                    <a:pt x="55573" y="672"/>
                  </a:moveTo>
                  <a:lnTo>
                    <a:pt x="4482" y="52212"/>
                  </a:lnTo>
                  <a:lnTo>
                    <a:pt x="4482" y="17255"/>
                  </a:lnTo>
                  <a:cubicBezTo>
                    <a:pt x="4482" y="15910"/>
                    <a:pt x="3585" y="15014"/>
                    <a:pt x="2241" y="15014"/>
                  </a:cubicBezTo>
                  <a:cubicBezTo>
                    <a:pt x="896" y="15014"/>
                    <a:pt x="0" y="15910"/>
                    <a:pt x="0" y="17255"/>
                  </a:cubicBezTo>
                  <a:lnTo>
                    <a:pt x="0" y="57590"/>
                  </a:lnTo>
                  <a:cubicBezTo>
                    <a:pt x="0" y="58934"/>
                    <a:pt x="896" y="59831"/>
                    <a:pt x="2241" y="59831"/>
                  </a:cubicBezTo>
                  <a:lnTo>
                    <a:pt x="42576" y="59831"/>
                  </a:lnTo>
                  <a:cubicBezTo>
                    <a:pt x="43921" y="59831"/>
                    <a:pt x="44817" y="58934"/>
                    <a:pt x="44817" y="57590"/>
                  </a:cubicBezTo>
                  <a:cubicBezTo>
                    <a:pt x="44817" y="56246"/>
                    <a:pt x="43921" y="55349"/>
                    <a:pt x="42576" y="55349"/>
                  </a:cubicBezTo>
                  <a:lnTo>
                    <a:pt x="7619" y="55349"/>
                  </a:lnTo>
                  <a:lnTo>
                    <a:pt x="58710" y="3810"/>
                  </a:lnTo>
                  <a:cubicBezTo>
                    <a:pt x="59607" y="2913"/>
                    <a:pt x="59607" y="1569"/>
                    <a:pt x="58710" y="672"/>
                  </a:cubicBezTo>
                  <a:cubicBezTo>
                    <a:pt x="57814" y="-224"/>
                    <a:pt x="56469" y="-224"/>
                    <a:pt x="55573" y="672"/>
                  </a:cubicBezTo>
                  <a:close/>
                </a:path>
              </a:pathLst>
            </a:custGeom>
            <a:solidFill>
              <a:srgbClr val="231F20"/>
            </a:solidFill>
            <a:ln w="4477" cap="flat">
              <a:noFill/>
              <a:prstDash val="solid"/>
              <a:miter/>
            </a:ln>
          </p:spPr>
          <p:txBody>
            <a:bodyPr rtlCol="0" anchor="ctr"/>
            <a:lstStyle/>
            <a:p>
              <a:endParaRPr lang="en-US"/>
            </a:p>
          </p:txBody>
        </p:sp>
        <p:sp>
          <p:nvSpPr>
            <p:cNvPr id="3644" name="Freeform: Shape 3643">
              <a:extLst>
                <a:ext uri="{FF2B5EF4-FFF2-40B4-BE49-F238E27FC236}">
                  <a16:creationId xmlns:a16="http://schemas.microsoft.com/office/drawing/2014/main" id="{43A61C37-6CC9-4CB6-860C-91E5BD930D1F}"/>
                </a:ext>
              </a:extLst>
            </p:cNvPr>
            <p:cNvSpPr/>
            <p:nvPr/>
          </p:nvSpPr>
          <p:spPr>
            <a:xfrm>
              <a:off x="8684428" y="4553842"/>
              <a:ext cx="58262" cy="58262"/>
            </a:xfrm>
            <a:custGeom>
              <a:avLst/>
              <a:gdLst>
                <a:gd name="connsiteX0" fmla="*/ 57142 w 58262"/>
                <a:gd name="connsiteY0" fmla="*/ 0 h 58262"/>
                <a:gd name="connsiteX1" fmla="*/ 16806 w 58262"/>
                <a:gd name="connsiteY1" fmla="*/ 0 h 58262"/>
                <a:gd name="connsiteX2" fmla="*/ 14566 w 58262"/>
                <a:gd name="connsiteY2" fmla="*/ 2241 h 58262"/>
                <a:gd name="connsiteX3" fmla="*/ 16806 w 58262"/>
                <a:gd name="connsiteY3" fmla="*/ 4482 h 58262"/>
                <a:gd name="connsiteX4" fmla="*/ 51764 w 58262"/>
                <a:gd name="connsiteY4" fmla="*/ 4482 h 58262"/>
                <a:gd name="connsiteX5" fmla="*/ 672 w 58262"/>
                <a:gd name="connsiteY5" fmla="*/ 56021 h 58262"/>
                <a:gd name="connsiteX6" fmla="*/ 672 w 58262"/>
                <a:gd name="connsiteY6" fmla="*/ 59159 h 58262"/>
                <a:gd name="connsiteX7" fmla="*/ 2465 w 58262"/>
                <a:gd name="connsiteY7" fmla="*/ 59607 h 58262"/>
                <a:gd name="connsiteX8" fmla="*/ 4258 w 58262"/>
                <a:gd name="connsiteY8" fmla="*/ 59159 h 58262"/>
                <a:gd name="connsiteX9" fmla="*/ 55349 w 58262"/>
                <a:gd name="connsiteY9" fmla="*/ 7619 h 58262"/>
                <a:gd name="connsiteX10" fmla="*/ 55349 w 58262"/>
                <a:gd name="connsiteY10" fmla="*/ 42576 h 58262"/>
                <a:gd name="connsiteX11" fmla="*/ 57590 w 58262"/>
                <a:gd name="connsiteY11" fmla="*/ 44817 h 58262"/>
                <a:gd name="connsiteX12" fmla="*/ 59831 w 58262"/>
                <a:gd name="connsiteY12" fmla="*/ 42576 h 58262"/>
                <a:gd name="connsiteX13" fmla="*/ 59831 w 58262"/>
                <a:gd name="connsiteY13" fmla="*/ 2241 h 58262"/>
                <a:gd name="connsiteX14" fmla="*/ 57142 w 58262"/>
                <a:gd name="connsiteY14" fmla="*/ 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58262">
                  <a:moveTo>
                    <a:pt x="57142" y="0"/>
                  </a:moveTo>
                  <a:lnTo>
                    <a:pt x="16806" y="0"/>
                  </a:lnTo>
                  <a:cubicBezTo>
                    <a:pt x="15462" y="0"/>
                    <a:pt x="14566" y="896"/>
                    <a:pt x="14566" y="2241"/>
                  </a:cubicBezTo>
                  <a:cubicBezTo>
                    <a:pt x="14566" y="3585"/>
                    <a:pt x="15462" y="4482"/>
                    <a:pt x="16806" y="4482"/>
                  </a:cubicBezTo>
                  <a:lnTo>
                    <a:pt x="51764" y="4482"/>
                  </a:lnTo>
                  <a:lnTo>
                    <a:pt x="672" y="56021"/>
                  </a:lnTo>
                  <a:cubicBezTo>
                    <a:pt x="-224" y="56918"/>
                    <a:pt x="-224" y="58262"/>
                    <a:pt x="672" y="59159"/>
                  </a:cubicBezTo>
                  <a:cubicBezTo>
                    <a:pt x="1120" y="59607"/>
                    <a:pt x="1569" y="59607"/>
                    <a:pt x="2465" y="59607"/>
                  </a:cubicBezTo>
                  <a:cubicBezTo>
                    <a:pt x="2913" y="59607"/>
                    <a:pt x="3809" y="59607"/>
                    <a:pt x="4258" y="59159"/>
                  </a:cubicBezTo>
                  <a:lnTo>
                    <a:pt x="55349" y="7619"/>
                  </a:lnTo>
                  <a:lnTo>
                    <a:pt x="55349" y="42576"/>
                  </a:lnTo>
                  <a:cubicBezTo>
                    <a:pt x="55349" y="43921"/>
                    <a:pt x="56245" y="44817"/>
                    <a:pt x="57590" y="44817"/>
                  </a:cubicBezTo>
                  <a:cubicBezTo>
                    <a:pt x="58934" y="44817"/>
                    <a:pt x="59831" y="43921"/>
                    <a:pt x="59831" y="42576"/>
                  </a:cubicBezTo>
                  <a:lnTo>
                    <a:pt x="59831" y="2241"/>
                  </a:lnTo>
                  <a:cubicBezTo>
                    <a:pt x="59383" y="1344"/>
                    <a:pt x="58486" y="0"/>
                    <a:pt x="57142" y="0"/>
                  </a:cubicBezTo>
                  <a:close/>
                </a:path>
              </a:pathLst>
            </a:custGeom>
            <a:solidFill>
              <a:srgbClr val="231F20"/>
            </a:solidFill>
            <a:ln w="4477" cap="flat">
              <a:noFill/>
              <a:prstDash val="solid"/>
              <a:miter/>
            </a:ln>
          </p:spPr>
          <p:txBody>
            <a:bodyPr rtlCol="0" anchor="ctr"/>
            <a:lstStyle/>
            <a:p>
              <a:endParaRPr lang="en-US"/>
            </a:p>
          </p:txBody>
        </p:sp>
      </p:grpSp>
      <p:grpSp>
        <p:nvGrpSpPr>
          <p:cNvPr id="3645" name="Group 3644">
            <a:extLst>
              <a:ext uri="{FF2B5EF4-FFF2-40B4-BE49-F238E27FC236}">
                <a16:creationId xmlns:a16="http://schemas.microsoft.com/office/drawing/2014/main" id="{92A38F24-76B3-447C-82E9-668E0A8E3734}"/>
              </a:ext>
              <a:ext uri="{C183D7F6-B498-43B3-948B-1728B52AA6E4}">
                <adec:decorative xmlns:adec="http://schemas.microsoft.com/office/drawing/2017/decorative" val="1"/>
              </a:ext>
            </a:extLst>
          </p:cNvPr>
          <p:cNvGrpSpPr>
            <a:grpSpLocks noChangeAspect="1"/>
          </p:cNvGrpSpPr>
          <p:nvPr/>
        </p:nvGrpSpPr>
        <p:grpSpPr>
          <a:xfrm>
            <a:off x="2945264" y="1708203"/>
            <a:ext cx="149241" cy="149913"/>
            <a:chOff x="8846890" y="4554739"/>
            <a:chExt cx="149241" cy="149913"/>
          </a:xfrm>
        </p:grpSpPr>
        <p:sp>
          <p:nvSpPr>
            <p:cNvPr id="3646" name="Freeform: Shape 3645">
              <a:extLst>
                <a:ext uri="{FF2B5EF4-FFF2-40B4-BE49-F238E27FC236}">
                  <a16:creationId xmlns:a16="http://schemas.microsoft.com/office/drawing/2014/main" id="{BB5F4675-4281-4AF2-BEB0-329037901B83}"/>
                </a:ext>
              </a:extLst>
            </p:cNvPr>
            <p:cNvSpPr/>
            <p:nvPr/>
          </p:nvSpPr>
          <p:spPr>
            <a:xfrm>
              <a:off x="8894172" y="4554739"/>
              <a:ext cx="58262" cy="62744"/>
            </a:xfrm>
            <a:custGeom>
              <a:avLst/>
              <a:gdLst>
                <a:gd name="connsiteX0" fmla="*/ 28011 w 58262"/>
                <a:gd name="connsiteY0" fmla="*/ 63192 h 62743"/>
                <a:gd name="connsiteX1" fmla="*/ 29355 w 58262"/>
                <a:gd name="connsiteY1" fmla="*/ 63640 h 62743"/>
                <a:gd name="connsiteX2" fmla="*/ 30699 w 58262"/>
                <a:gd name="connsiteY2" fmla="*/ 63192 h 62743"/>
                <a:gd name="connsiteX3" fmla="*/ 58038 w 58262"/>
                <a:gd name="connsiteY3" fmla="*/ 36750 h 62743"/>
                <a:gd name="connsiteX4" fmla="*/ 58038 w 58262"/>
                <a:gd name="connsiteY4" fmla="*/ 33613 h 62743"/>
                <a:gd name="connsiteX5" fmla="*/ 54901 w 58262"/>
                <a:gd name="connsiteY5" fmla="*/ 33613 h 62743"/>
                <a:gd name="connsiteX6" fmla="*/ 31596 w 58262"/>
                <a:gd name="connsiteY6" fmla="*/ 56469 h 62743"/>
                <a:gd name="connsiteX7" fmla="*/ 31596 w 58262"/>
                <a:gd name="connsiteY7" fmla="*/ 2241 h 62743"/>
                <a:gd name="connsiteX8" fmla="*/ 29355 w 58262"/>
                <a:gd name="connsiteY8" fmla="*/ 0 h 62743"/>
                <a:gd name="connsiteX9" fmla="*/ 27114 w 58262"/>
                <a:gd name="connsiteY9" fmla="*/ 2241 h 62743"/>
                <a:gd name="connsiteX10" fmla="*/ 27114 w 58262"/>
                <a:gd name="connsiteY10" fmla="*/ 56469 h 62743"/>
                <a:gd name="connsiteX11" fmla="*/ 3809 w 58262"/>
                <a:gd name="connsiteY11" fmla="*/ 33613 h 62743"/>
                <a:gd name="connsiteX12" fmla="*/ 672 w 58262"/>
                <a:gd name="connsiteY12" fmla="*/ 33613 h 62743"/>
                <a:gd name="connsiteX13" fmla="*/ 672 w 58262"/>
                <a:gd name="connsiteY13" fmla="*/ 36750 h 62743"/>
                <a:gd name="connsiteX14" fmla="*/ 28011 w 58262"/>
                <a:gd name="connsiteY14" fmla="*/ 6319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62743">
                  <a:moveTo>
                    <a:pt x="28011" y="63192"/>
                  </a:moveTo>
                  <a:cubicBezTo>
                    <a:pt x="28459" y="63640"/>
                    <a:pt x="28907" y="63640"/>
                    <a:pt x="29355" y="63640"/>
                  </a:cubicBezTo>
                  <a:cubicBezTo>
                    <a:pt x="29803" y="63640"/>
                    <a:pt x="30699" y="63640"/>
                    <a:pt x="30699" y="63192"/>
                  </a:cubicBezTo>
                  <a:lnTo>
                    <a:pt x="58038" y="36750"/>
                  </a:lnTo>
                  <a:cubicBezTo>
                    <a:pt x="58934" y="35854"/>
                    <a:pt x="58934" y="34509"/>
                    <a:pt x="58038" y="33613"/>
                  </a:cubicBezTo>
                  <a:cubicBezTo>
                    <a:pt x="57142" y="32716"/>
                    <a:pt x="55797" y="32716"/>
                    <a:pt x="54901" y="33613"/>
                  </a:cubicBezTo>
                  <a:lnTo>
                    <a:pt x="31596" y="56469"/>
                  </a:lnTo>
                  <a:lnTo>
                    <a:pt x="31596" y="2241"/>
                  </a:lnTo>
                  <a:cubicBezTo>
                    <a:pt x="31596" y="896"/>
                    <a:pt x="30699" y="0"/>
                    <a:pt x="29355" y="0"/>
                  </a:cubicBezTo>
                  <a:cubicBezTo>
                    <a:pt x="28011" y="0"/>
                    <a:pt x="27114" y="896"/>
                    <a:pt x="27114" y="2241"/>
                  </a:cubicBezTo>
                  <a:lnTo>
                    <a:pt x="27114" y="56469"/>
                  </a:lnTo>
                  <a:lnTo>
                    <a:pt x="3809" y="33613"/>
                  </a:lnTo>
                  <a:cubicBezTo>
                    <a:pt x="2913" y="32716"/>
                    <a:pt x="1568" y="32716"/>
                    <a:pt x="672" y="33613"/>
                  </a:cubicBezTo>
                  <a:cubicBezTo>
                    <a:pt x="-224" y="34509"/>
                    <a:pt x="-224" y="35854"/>
                    <a:pt x="672" y="36750"/>
                  </a:cubicBezTo>
                  <a:lnTo>
                    <a:pt x="28011" y="63192"/>
                  </a:lnTo>
                  <a:close/>
                </a:path>
              </a:pathLst>
            </a:custGeom>
            <a:solidFill>
              <a:srgbClr val="231F20"/>
            </a:solidFill>
            <a:ln w="4477" cap="flat">
              <a:noFill/>
              <a:prstDash val="solid"/>
              <a:miter/>
            </a:ln>
          </p:spPr>
          <p:txBody>
            <a:bodyPr rtlCol="0" anchor="ctr"/>
            <a:lstStyle/>
            <a:p>
              <a:endParaRPr lang="en-US"/>
            </a:p>
          </p:txBody>
        </p:sp>
        <p:sp>
          <p:nvSpPr>
            <p:cNvPr id="3647" name="Freeform: Shape 3646">
              <a:extLst>
                <a:ext uri="{FF2B5EF4-FFF2-40B4-BE49-F238E27FC236}">
                  <a16:creationId xmlns:a16="http://schemas.microsoft.com/office/drawing/2014/main" id="{D86E2294-AB8B-4B0A-83CE-B42CCEA5F31F}"/>
                </a:ext>
              </a:extLst>
            </p:cNvPr>
            <p:cNvSpPr/>
            <p:nvPr/>
          </p:nvSpPr>
          <p:spPr>
            <a:xfrm>
              <a:off x="8933387" y="4602469"/>
              <a:ext cx="62744" cy="53780"/>
            </a:xfrm>
            <a:custGeom>
              <a:avLst/>
              <a:gdLst>
                <a:gd name="connsiteX0" fmla="*/ 64088 w 62743"/>
                <a:gd name="connsiteY0" fmla="*/ 26218 h 53780"/>
                <a:gd name="connsiteX1" fmla="*/ 8067 w 62743"/>
                <a:gd name="connsiteY1" fmla="*/ 26218 h 53780"/>
                <a:gd name="connsiteX2" fmla="*/ 31372 w 62743"/>
                <a:gd name="connsiteY2" fmla="*/ 3810 h 53780"/>
                <a:gd name="connsiteX3" fmla="*/ 31372 w 62743"/>
                <a:gd name="connsiteY3" fmla="*/ 672 h 53780"/>
                <a:gd name="connsiteX4" fmla="*/ 28235 w 62743"/>
                <a:gd name="connsiteY4" fmla="*/ 672 h 53780"/>
                <a:gd name="connsiteX5" fmla="*/ 896 w 62743"/>
                <a:gd name="connsiteY5" fmla="*/ 27114 h 53780"/>
                <a:gd name="connsiteX6" fmla="*/ 0 w 62743"/>
                <a:gd name="connsiteY6" fmla="*/ 28907 h 53780"/>
                <a:gd name="connsiteX7" fmla="*/ 896 w 62743"/>
                <a:gd name="connsiteY7" fmla="*/ 30700 h 53780"/>
                <a:gd name="connsiteX8" fmla="*/ 28235 w 62743"/>
                <a:gd name="connsiteY8" fmla="*/ 57142 h 53780"/>
                <a:gd name="connsiteX9" fmla="*/ 29579 w 62743"/>
                <a:gd name="connsiteY9" fmla="*/ 57590 h 53780"/>
                <a:gd name="connsiteX10" fmla="*/ 31372 w 62743"/>
                <a:gd name="connsiteY10" fmla="*/ 56694 h 53780"/>
                <a:gd name="connsiteX11" fmla="*/ 31372 w 62743"/>
                <a:gd name="connsiteY11" fmla="*/ 53556 h 53780"/>
                <a:gd name="connsiteX12" fmla="*/ 8067 w 62743"/>
                <a:gd name="connsiteY12" fmla="*/ 31148 h 53780"/>
                <a:gd name="connsiteX13" fmla="*/ 64088 w 62743"/>
                <a:gd name="connsiteY13" fmla="*/ 31148 h 53780"/>
                <a:gd name="connsiteX14" fmla="*/ 66329 w 62743"/>
                <a:gd name="connsiteY14" fmla="*/ 28907 h 53780"/>
                <a:gd name="connsiteX15" fmla="*/ 64088 w 62743"/>
                <a:gd name="connsiteY15" fmla="*/ 26218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43" h="53780">
                  <a:moveTo>
                    <a:pt x="64088" y="26218"/>
                  </a:moveTo>
                  <a:lnTo>
                    <a:pt x="8067" y="26218"/>
                  </a:lnTo>
                  <a:lnTo>
                    <a:pt x="31372" y="3810"/>
                  </a:lnTo>
                  <a:cubicBezTo>
                    <a:pt x="32268" y="2913"/>
                    <a:pt x="32268" y="1569"/>
                    <a:pt x="31372" y="672"/>
                  </a:cubicBezTo>
                  <a:cubicBezTo>
                    <a:pt x="30476" y="-224"/>
                    <a:pt x="29131" y="-224"/>
                    <a:pt x="28235" y="672"/>
                  </a:cubicBezTo>
                  <a:lnTo>
                    <a:pt x="896" y="27114"/>
                  </a:lnTo>
                  <a:cubicBezTo>
                    <a:pt x="448" y="27563"/>
                    <a:pt x="0" y="28011"/>
                    <a:pt x="0" y="28907"/>
                  </a:cubicBezTo>
                  <a:cubicBezTo>
                    <a:pt x="0" y="29803"/>
                    <a:pt x="448" y="30251"/>
                    <a:pt x="896" y="30700"/>
                  </a:cubicBezTo>
                  <a:lnTo>
                    <a:pt x="28235" y="57142"/>
                  </a:lnTo>
                  <a:cubicBezTo>
                    <a:pt x="28683" y="57590"/>
                    <a:pt x="29131" y="57590"/>
                    <a:pt x="29579" y="57590"/>
                  </a:cubicBezTo>
                  <a:cubicBezTo>
                    <a:pt x="30027" y="57590"/>
                    <a:pt x="30924" y="57142"/>
                    <a:pt x="31372" y="56694"/>
                  </a:cubicBezTo>
                  <a:cubicBezTo>
                    <a:pt x="32268" y="55797"/>
                    <a:pt x="32268" y="54453"/>
                    <a:pt x="31372" y="53556"/>
                  </a:cubicBezTo>
                  <a:lnTo>
                    <a:pt x="8067" y="31148"/>
                  </a:lnTo>
                  <a:lnTo>
                    <a:pt x="64088" y="31148"/>
                  </a:lnTo>
                  <a:cubicBezTo>
                    <a:pt x="65433" y="31148"/>
                    <a:pt x="66329" y="30251"/>
                    <a:pt x="66329" y="28907"/>
                  </a:cubicBezTo>
                  <a:cubicBezTo>
                    <a:pt x="66329" y="27563"/>
                    <a:pt x="65433" y="26218"/>
                    <a:pt x="64088" y="26218"/>
                  </a:cubicBezTo>
                  <a:close/>
                </a:path>
              </a:pathLst>
            </a:custGeom>
            <a:solidFill>
              <a:srgbClr val="231F20"/>
            </a:solidFill>
            <a:ln w="4477" cap="flat">
              <a:noFill/>
              <a:prstDash val="solid"/>
              <a:miter/>
            </a:ln>
          </p:spPr>
          <p:txBody>
            <a:bodyPr rtlCol="0" anchor="ctr"/>
            <a:lstStyle/>
            <a:p>
              <a:endParaRPr lang="en-US"/>
            </a:p>
          </p:txBody>
        </p:sp>
        <p:sp>
          <p:nvSpPr>
            <p:cNvPr id="3648" name="Freeform: Shape 3647">
              <a:extLst>
                <a:ext uri="{FF2B5EF4-FFF2-40B4-BE49-F238E27FC236}">
                  <a16:creationId xmlns:a16="http://schemas.microsoft.com/office/drawing/2014/main" id="{4F7D4AFA-004A-40CB-B994-BAC365733ACE}"/>
                </a:ext>
              </a:extLst>
            </p:cNvPr>
            <p:cNvSpPr/>
            <p:nvPr/>
          </p:nvSpPr>
          <p:spPr>
            <a:xfrm>
              <a:off x="8894172" y="4641908"/>
              <a:ext cx="58262" cy="62744"/>
            </a:xfrm>
            <a:custGeom>
              <a:avLst/>
              <a:gdLst>
                <a:gd name="connsiteX0" fmla="*/ 31148 w 58262"/>
                <a:gd name="connsiteY0" fmla="*/ 672 h 62743"/>
                <a:gd name="connsiteX1" fmla="*/ 28011 w 58262"/>
                <a:gd name="connsiteY1" fmla="*/ 672 h 62743"/>
                <a:gd name="connsiteX2" fmla="*/ 672 w 58262"/>
                <a:gd name="connsiteY2" fmla="*/ 27114 h 62743"/>
                <a:gd name="connsiteX3" fmla="*/ 672 w 58262"/>
                <a:gd name="connsiteY3" fmla="*/ 30251 h 62743"/>
                <a:gd name="connsiteX4" fmla="*/ 3809 w 58262"/>
                <a:gd name="connsiteY4" fmla="*/ 30251 h 62743"/>
                <a:gd name="connsiteX5" fmla="*/ 27114 w 58262"/>
                <a:gd name="connsiteY5" fmla="*/ 7395 h 62743"/>
                <a:gd name="connsiteX6" fmla="*/ 27114 w 58262"/>
                <a:gd name="connsiteY6" fmla="*/ 61623 h 62743"/>
                <a:gd name="connsiteX7" fmla="*/ 29355 w 58262"/>
                <a:gd name="connsiteY7" fmla="*/ 63864 h 62743"/>
                <a:gd name="connsiteX8" fmla="*/ 31596 w 58262"/>
                <a:gd name="connsiteY8" fmla="*/ 61623 h 62743"/>
                <a:gd name="connsiteX9" fmla="*/ 31596 w 58262"/>
                <a:gd name="connsiteY9" fmla="*/ 7395 h 62743"/>
                <a:gd name="connsiteX10" fmla="*/ 54901 w 58262"/>
                <a:gd name="connsiteY10" fmla="*/ 30251 h 62743"/>
                <a:gd name="connsiteX11" fmla="*/ 56245 w 58262"/>
                <a:gd name="connsiteY11" fmla="*/ 30700 h 62743"/>
                <a:gd name="connsiteX12" fmla="*/ 58038 w 58262"/>
                <a:gd name="connsiteY12" fmla="*/ 29803 h 62743"/>
                <a:gd name="connsiteX13" fmla="*/ 58038 w 58262"/>
                <a:gd name="connsiteY13" fmla="*/ 26666 h 62743"/>
                <a:gd name="connsiteX14" fmla="*/ 31148 w 58262"/>
                <a:gd name="connsiteY14" fmla="*/ 672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62743">
                  <a:moveTo>
                    <a:pt x="31148" y="672"/>
                  </a:moveTo>
                  <a:cubicBezTo>
                    <a:pt x="30251" y="-224"/>
                    <a:pt x="28907" y="-224"/>
                    <a:pt x="28011" y="672"/>
                  </a:cubicBezTo>
                  <a:lnTo>
                    <a:pt x="672" y="27114"/>
                  </a:lnTo>
                  <a:cubicBezTo>
                    <a:pt x="-224" y="28011"/>
                    <a:pt x="-224" y="29355"/>
                    <a:pt x="672" y="30251"/>
                  </a:cubicBezTo>
                  <a:cubicBezTo>
                    <a:pt x="1568" y="31148"/>
                    <a:pt x="2913" y="31148"/>
                    <a:pt x="3809" y="30251"/>
                  </a:cubicBezTo>
                  <a:lnTo>
                    <a:pt x="27114" y="7395"/>
                  </a:lnTo>
                  <a:lnTo>
                    <a:pt x="27114" y="61623"/>
                  </a:lnTo>
                  <a:cubicBezTo>
                    <a:pt x="27114" y="62968"/>
                    <a:pt x="28011" y="63864"/>
                    <a:pt x="29355" y="63864"/>
                  </a:cubicBezTo>
                  <a:cubicBezTo>
                    <a:pt x="30699" y="63864"/>
                    <a:pt x="31596" y="62968"/>
                    <a:pt x="31596" y="61623"/>
                  </a:cubicBezTo>
                  <a:lnTo>
                    <a:pt x="31596" y="7395"/>
                  </a:lnTo>
                  <a:lnTo>
                    <a:pt x="54901" y="30251"/>
                  </a:lnTo>
                  <a:cubicBezTo>
                    <a:pt x="55349" y="30700"/>
                    <a:pt x="55797" y="30700"/>
                    <a:pt x="56245" y="30700"/>
                  </a:cubicBezTo>
                  <a:cubicBezTo>
                    <a:pt x="56694" y="30700"/>
                    <a:pt x="57590" y="30251"/>
                    <a:pt x="58038" y="29803"/>
                  </a:cubicBezTo>
                  <a:cubicBezTo>
                    <a:pt x="58934" y="28907"/>
                    <a:pt x="58934" y="27563"/>
                    <a:pt x="58038" y="26666"/>
                  </a:cubicBezTo>
                  <a:lnTo>
                    <a:pt x="31148" y="672"/>
                  </a:lnTo>
                  <a:close/>
                </a:path>
              </a:pathLst>
            </a:custGeom>
            <a:solidFill>
              <a:srgbClr val="231F20"/>
            </a:solidFill>
            <a:ln w="4477" cap="flat">
              <a:noFill/>
              <a:prstDash val="solid"/>
              <a:miter/>
            </a:ln>
          </p:spPr>
          <p:txBody>
            <a:bodyPr rtlCol="0" anchor="ctr"/>
            <a:lstStyle/>
            <a:p>
              <a:endParaRPr lang="en-US"/>
            </a:p>
          </p:txBody>
        </p:sp>
        <p:sp>
          <p:nvSpPr>
            <p:cNvPr id="3649" name="Freeform: Shape 3648">
              <a:extLst>
                <a:ext uri="{FF2B5EF4-FFF2-40B4-BE49-F238E27FC236}">
                  <a16:creationId xmlns:a16="http://schemas.microsoft.com/office/drawing/2014/main" id="{13E5989C-E5B8-4F3F-B567-9BC757D8B4E8}"/>
                </a:ext>
              </a:extLst>
            </p:cNvPr>
            <p:cNvSpPr/>
            <p:nvPr/>
          </p:nvSpPr>
          <p:spPr>
            <a:xfrm>
              <a:off x="8846890" y="4602021"/>
              <a:ext cx="62744" cy="53780"/>
            </a:xfrm>
            <a:custGeom>
              <a:avLst/>
              <a:gdLst>
                <a:gd name="connsiteX0" fmla="*/ 66329 w 62743"/>
                <a:gd name="connsiteY0" fmla="*/ 28907 h 53780"/>
                <a:gd name="connsiteX1" fmla="*/ 65433 w 62743"/>
                <a:gd name="connsiteY1" fmla="*/ 27114 h 53780"/>
                <a:gd name="connsiteX2" fmla="*/ 38094 w 62743"/>
                <a:gd name="connsiteY2" fmla="*/ 672 h 53780"/>
                <a:gd name="connsiteX3" fmla="*/ 34957 w 62743"/>
                <a:gd name="connsiteY3" fmla="*/ 672 h 53780"/>
                <a:gd name="connsiteX4" fmla="*/ 34957 w 62743"/>
                <a:gd name="connsiteY4" fmla="*/ 3809 h 53780"/>
                <a:gd name="connsiteX5" fmla="*/ 58262 w 62743"/>
                <a:gd name="connsiteY5" fmla="*/ 26218 h 53780"/>
                <a:gd name="connsiteX6" fmla="*/ 2241 w 62743"/>
                <a:gd name="connsiteY6" fmla="*/ 26218 h 53780"/>
                <a:gd name="connsiteX7" fmla="*/ 0 w 62743"/>
                <a:gd name="connsiteY7" fmla="*/ 28459 h 53780"/>
                <a:gd name="connsiteX8" fmla="*/ 2241 w 62743"/>
                <a:gd name="connsiteY8" fmla="*/ 30700 h 53780"/>
                <a:gd name="connsiteX9" fmla="*/ 58262 w 62743"/>
                <a:gd name="connsiteY9" fmla="*/ 30700 h 53780"/>
                <a:gd name="connsiteX10" fmla="*/ 34957 w 62743"/>
                <a:gd name="connsiteY10" fmla="*/ 53108 h 53780"/>
                <a:gd name="connsiteX11" fmla="*/ 34957 w 62743"/>
                <a:gd name="connsiteY11" fmla="*/ 56245 h 53780"/>
                <a:gd name="connsiteX12" fmla="*/ 36750 w 62743"/>
                <a:gd name="connsiteY12" fmla="*/ 57142 h 53780"/>
                <a:gd name="connsiteX13" fmla="*/ 38094 w 62743"/>
                <a:gd name="connsiteY13" fmla="*/ 56693 h 53780"/>
                <a:gd name="connsiteX14" fmla="*/ 65433 w 62743"/>
                <a:gd name="connsiteY14" fmla="*/ 30251 h 53780"/>
                <a:gd name="connsiteX15" fmla="*/ 66329 w 62743"/>
                <a:gd name="connsiteY15" fmla="*/ 2890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43" h="53780">
                  <a:moveTo>
                    <a:pt x="66329" y="28907"/>
                  </a:moveTo>
                  <a:cubicBezTo>
                    <a:pt x="66329" y="28459"/>
                    <a:pt x="65881" y="27562"/>
                    <a:pt x="65433" y="27114"/>
                  </a:cubicBezTo>
                  <a:lnTo>
                    <a:pt x="38094" y="672"/>
                  </a:lnTo>
                  <a:cubicBezTo>
                    <a:pt x="37198" y="-224"/>
                    <a:pt x="35854" y="-224"/>
                    <a:pt x="34957" y="672"/>
                  </a:cubicBezTo>
                  <a:cubicBezTo>
                    <a:pt x="34061" y="1568"/>
                    <a:pt x="34061" y="2913"/>
                    <a:pt x="34957" y="3809"/>
                  </a:cubicBezTo>
                  <a:lnTo>
                    <a:pt x="58262" y="26218"/>
                  </a:lnTo>
                  <a:lnTo>
                    <a:pt x="2241" y="26218"/>
                  </a:lnTo>
                  <a:cubicBezTo>
                    <a:pt x="896" y="26218"/>
                    <a:pt x="0" y="27114"/>
                    <a:pt x="0" y="28459"/>
                  </a:cubicBezTo>
                  <a:cubicBezTo>
                    <a:pt x="0" y="29803"/>
                    <a:pt x="896" y="30700"/>
                    <a:pt x="2241" y="30700"/>
                  </a:cubicBezTo>
                  <a:lnTo>
                    <a:pt x="58262" y="30700"/>
                  </a:lnTo>
                  <a:lnTo>
                    <a:pt x="34957" y="53108"/>
                  </a:lnTo>
                  <a:cubicBezTo>
                    <a:pt x="34061" y="54004"/>
                    <a:pt x="34061" y="55349"/>
                    <a:pt x="34957" y="56245"/>
                  </a:cubicBezTo>
                  <a:cubicBezTo>
                    <a:pt x="35405" y="56693"/>
                    <a:pt x="35854" y="57142"/>
                    <a:pt x="36750" y="57142"/>
                  </a:cubicBezTo>
                  <a:cubicBezTo>
                    <a:pt x="37198" y="57142"/>
                    <a:pt x="38094" y="57142"/>
                    <a:pt x="38094" y="56693"/>
                  </a:cubicBezTo>
                  <a:lnTo>
                    <a:pt x="65433" y="30251"/>
                  </a:lnTo>
                  <a:cubicBezTo>
                    <a:pt x="66329" y="29803"/>
                    <a:pt x="66329" y="29355"/>
                    <a:pt x="66329" y="28907"/>
                  </a:cubicBezTo>
                  <a:close/>
                </a:path>
              </a:pathLst>
            </a:custGeom>
            <a:solidFill>
              <a:srgbClr val="231F20"/>
            </a:solidFill>
            <a:ln w="4477" cap="flat">
              <a:noFill/>
              <a:prstDash val="solid"/>
              <a:miter/>
            </a:ln>
          </p:spPr>
          <p:txBody>
            <a:bodyPr rtlCol="0" anchor="ctr"/>
            <a:lstStyle/>
            <a:p>
              <a:endParaRPr lang="en-US"/>
            </a:p>
          </p:txBody>
        </p:sp>
      </p:grpSp>
      <p:sp>
        <p:nvSpPr>
          <p:cNvPr id="3650" name="Freeform: Shape 3649">
            <a:extLst>
              <a:ext uri="{FF2B5EF4-FFF2-40B4-BE49-F238E27FC236}">
                <a16:creationId xmlns:a16="http://schemas.microsoft.com/office/drawing/2014/main" id="{BBACB8DE-F78E-4023-A470-493D4E91F239}"/>
              </a:ext>
              <a:ext uri="{C183D7F6-B498-43B3-948B-1728B52AA6E4}">
                <adec:decorative xmlns:adec="http://schemas.microsoft.com/office/drawing/2017/decorative" val="1"/>
              </a:ext>
            </a:extLst>
          </p:cNvPr>
          <p:cNvSpPr>
            <a:spLocks noChangeAspect="1"/>
          </p:cNvSpPr>
          <p:nvPr/>
        </p:nvSpPr>
        <p:spPr>
          <a:xfrm>
            <a:off x="3205875" y="1708651"/>
            <a:ext cx="152378" cy="147896"/>
          </a:xfrm>
          <a:custGeom>
            <a:avLst/>
            <a:gdLst>
              <a:gd name="connsiteX0" fmla="*/ 151706 w 152377"/>
              <a:gd name="connsiteY0" fmla="*/ 120558 h 147896"/>
              <a:gd name="connsiteX1" fmla="*/ 148568 w 152377"/>
              <a:gd name="connsiteY1" fmla="*/ 120558 h 147896"/>
              <a:gd name="connsiteX2" fmla="*/ 125264 w 152377"/>
              <a:gd name="connsiteY2" fmla="*/ 143415 h 147896"/>
              <a:gd name="connsiteX3" fmla="*/ 125264 w 152377"/>
              <a:gd name="connsiteY3" fmla="*/ 103527 h 147896"/>
              <a:gd name="connsiteX4" fmla="*/ 111370 w 152377"/>
              <a:gd name="connsiteY4" fmla="*/ 82912 h 147896"/>
              <a:gd name="connsiteX5" fmla="*/ 82239 w 152377"/>
              <a:gd name="connsiteY5" fmla="*/ 68570 h 147896"/>
              <a:gd name="connsiteX6" fmla="*/ 115404 w 152377"/>
              <a:gd name="connsiteY6" fmla="*/ 52436 h 147896"/>
              <a:gd name="connsiteX7" fmla="*/ 125264 w 152377"/>
              <a:gd name="connsiteY7" fmla="*/ 38094 h 147896"/>
              <a:gd name="connsiteX8" fmla="*/ 125264 w 152377"/>
              <a:gd name="connsiteY8" fmla="*/ 3137 h 147896"/>
              <a:gd name="connsiteX9" fmla="*/ 123023 w 152377"/>
              <a:gd name="connsiteY9" fmla="*/ 896 h 147896"/>
              <a:gd name="connsiteX10" fmla="*/ 120782 w 152377"/>
              <a:gd name="connsiteY10" fmla="*/ 3137 h 147896"/>
              <a:gd name="connsiteX11" fmla="*/ 120782 w 152377"/>
              <a:gd name="connsiteY11" fmla="*/ 38094 h 147896"/>
              <a:gd name="connsiteX12" fmla="*/ 113611 w 152377"/>
              <a:gd name="connsiteY12" fmla="*/ 48402 h 147896"/>
              <a:gd name="connsiteX13" fmla="*/ 77309 w 152377"/>
              <a:gd name="connsiteY13" fmla="*/ 66329 h 147896"/>
              <a:gd name="connsiteX14" fmla="*/ 39215 w 152377"/>
              <a:gd name="connsiteY14" fmla="*/ 47506 h 147896"/>
              <a:gd name="connsiteX15" fmla="*/ 32044 w 152377"/>
              <a:gd name="connsiteY15" fmla="*/ 37198 h 147896"/>
              <a:gd name="connsiteX16" fmla="*/ 32044 w 152377"/>
              <a:gd name="connsiteY16" fmla="*/ 2241 h 147896"/>
              <a:gd name="connsiteX17" fmla="*/ 29803 w 152377"/>
              <a:gd name="connsiteY17" fmla="*/ 0 h 147896"/>
              <a:gd name="connsiteX18" fmla="*/ 27563 w 152377"/>
              <a:gd name="connsiteY18" fmla="*/ 2241 h 147896"/>
              <a:gd name="connsiteX19" fmla="*/ 27563 w 152377"/>
              <a:gd name="connsiteY19" fmla="*/ 37198 h 147896"/>
              <a:gd name="connsiteX20" fmla="*/ 37422 w 152377"/>
              <a:gd name="connsiteY20" fmla="*/ 51540 h 147896"/>
              <a:gd name="connsiteX21" fmla="*/ 72380 w 152377"/>
              <a:gd name="connsiteY21" fmla="*/ 68570 h 147896"/>
              <a:gd name="connsiteX22" fmla="*/ 41456 w 152377"/>
              <a:gd name="connsiteY22" fmla="*/ 83808 h 147896"/>
              <a:gd name="connsiteX23" fmla="*/ 27114 w 152377"/>
              <a:gd name="connsiteY23" fmla="*/ 104424 h 147896"/>
              <a:gd name="connsiteX24" fmla="*/ 27114 w 152377"/>
              <a:gd name="connsiteY24" fmla="*/ 143863 h 147896"/>
              <a:gd name="connsiteX25" fmla="*/ 3810 w 152377"/>
              <a:gd name="connsiteY25" fmla="*/ 121006 h 147896"/>
              <a:gd name="connsiteX26" fmla="*/ 672 w 152377"/>
              <a:gd name="connsiteY26" fmla="*/ 121006 h 147896"/>
              <a:gd name="connsiteX27" fmla="*/ 672 w 152377"/>
              <a:gd name="connsiteY27" fmla="*/ 124143 h 147896"/>
              <a:gd name="connsiteX28" fmla="*/ 28011 w 152377"/>
              <a:gd name="connsiteY28" fmla="*/ 150585 h 147896"/>
              <a:gd name="connsiteX29" fmla="*/ 29355 w 152377"/>
              <a:gd name="connsiteY29" fmla="*/ 151033 h 147896"/>
              <a:gd name="connsiteX30" fmla="*/ 30700 w 152377"/>
              <a:gd name="connsiteY30" fmla="*/ 150585 h 147896"/>
              <a:gd name="connsiteX31" fmla="*/ 58038 w 152377"/>
              <a:gd name="connsiteY31" fmla="*/ 124143 h 147896"/>
              <a:gd name="connsiteX32" fmla="*/ 58038 w 152377"/>
              <a:gd name="connsiteY32" fmla="*/ 121006 h 147896"/>
              <a:gd name="connsiteX33" fmla="*/ 54901 w 152377"/>
              <a:gd name="connsiteY33" fmla="*/ 121006 h 147896"/>
              <a:gd name="connsiteX34" fmla="*/ 31596 w 152377"/>
              <a:gd name="connsiteY34" fmla="*/ 143863 h 147896"/>
              <a:gd name="connsiteX35" fmla="*/ 31596 w 152377"/>
              <a:gd name="connsiteY35" fmla="*/ 104424 h 147896"/>
              <a:gd name="connsiteX36" fmla="*/ 43248 w 152377"/>
              <a:gd name="connsiteY36" fmla="*/ 87841 h 147896"/>
              <a:gd name="connsiteX37" fmla="*/ 77309 w 152377"/>
              <a:gd name="connsiteY37" fmla="*/ 71259 h 147896"/>
              <a:gd name="connsiteX38" fmla="*/ 110026 w 152377"/>
              <a:gd name="connsiteY38" fmla="*/ 87393 h 147896"/>
              <a:gd name="connsiteX39" fmla="*/ 121678 w 152377"/>
              <a:gd name="connsiteY39" fmla="*/ 103976 h 147896"/>
              <a:gd name="connsiteX40" fmla="*/ 121678 w 152377"/>
              <a:gd name="connsiteY40" fmla="*/ 143863 h 147896"/>
              <a:gd name="connsiteX41" fmla="*/ 98373 w 152377"/>
              <a:gd name="connsiteY41" fmla="*/ 121006 h 147896"/>
              <a:gd name="connsiteX42" fmla="*/ 95236 w 152377"/>
              <a:gd name="connsiteY42" fmla="*/ 121006 h 147896"/>
              <a:gd name="connsiteX43" fmla="*/ 95236 w 152377"/>
              <a:gd name="connsiteY43" fmla="*/ 124143 h 147896"/>
              <a:gd name="connsiteX44" fmla="*/ 122575 w 152377"/>
              <a:gd name="connsiteY44" fmla="*/ 150585 h 147896"/>
              <a:gd name="connsiteX45" fmla="*/ 123919 w 152377"/>
              <a:gd name="connsiteY45" fmla="*/ 151033 h 147896"/>
              <a:gd name="connsiteX46" fmla="*/ 125264 w 152377"/>
              <a:gd name="connsiteY46" fmla="*/ 150585 h 147896"/>
              <a:gd name="connsiteX47" fmla="*/ 152602 w 152377"/>
              <a:gd name="connsiteY47" fmla="*/ 124143 h 147896"/>
              <a:gd name="connsiteX48" fmla="*/ 151706 w 152377"/>
              <a:gd name="connsiteY48" fmla="*/ 12055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2377" h="147896">
                <a:moveTo>
                  <a:pt x="151706" y="120558"/>
                </a:moveTo>
                <a:cubicBezTo>
                  <a:pt x="150809" y="119662"/>
                  <a:pt x="149465" y="119662"/>
                  <a:pt x="148568" y="120558"/>
                </a:cubicBezTo>
                <a:lnTo>
                  <a:pt x="125264" y="143415"/>
                </a:lnTo>
                <a:lnTo>
                  <a:pt x="125264" y="103527"/>
                </a:lnTo>
                <a:cubicBezTo>
                  <a:pt x="125264" y="95012"/>
                  <a:pt x="119885" y="86945"/>
                  <a:pt x="111370" y="82912"/>
                </a:cubicBezTo>
                <a:lnTo>
                  <a:pt x="82239" y="68570"/>
                </a:lnTo>
                <a:lnTo>
                  <a:pt x="115404" y="52436"/>
                </a:lnTo>
                <a:cubicBezTo>
                  <a:pt x="121678" y="49747"/>
                  <a:pt x="125264" y="43921"/>
                  <a:pt x="125264" y="38094"/>
                </a:cubicBezTo>
                <a:lnTo>
                  <a:pt x="125264" y="3137"/>
                </a:lnTo>
                <a:cubicBezTo>
                  <a:pt x="125264" y="1793"/>
                  <a:pt x="124367" y="896"/>
                  <a:pt x="123023" y="896"/>
                </a:cubicBezTo>
                <a:cubicBezTo>
                  <a:pt x="121678" y="896"/>
                  <a:pt x="120782" y="1793"/>
                  <a:pt x="120782" y="3137"/>
                </a:cubicBezTo>
                <a:lnTo>
                  <a:pt x="120782" y="38094"/>
                </a:lnTo>
                <a:cubicBezTo>
                  <a:pt x="120782" y="42576"/>
                  <a:pt x="118093" y="46161"/>
                  <a:pt x="113611" y="48402"/>
                </a:cubicBezTo>
                <a:lnTo>
                  <a:pt x="77309" y="66329"/>
                </a:lnTo>
                <a:lnTo>
                  <a:pt x="39215" y="47506"/>
                </a:lnTo>
                <a:cubicBezTo>
                  <a:pt x="34733" y="45265"/>
                  <a:pt x="32044" y="41680"/>
                  <a:pt x="32044" y="37198"/>
                </a:cubicBezTo>
                <a:lnTo>
                  <a:pt x="32044" y="2241"/>
                </a:lnTo>
                <a:cubicBezTo>
                  <a:pt x="32044" y="896"/>
                  <a:pt x="31148" y="0"/>
                  <a:pt x="29803" y="0"/>
                </a:cubicBezTo>
                <a:cubicBezTo>
                  <a:pt x="28459" y="0"/>
                  <a:pt x="27563" y="896"/>
                  <a:pt x="27563" y="2241"/>
                </a:cubicBezTo>
                <a:lnTo>
                  <a:pt x="27563" y="37198"/>
                </a:lnTo>
                <a:cubicBezTo>
                  <a:pt x="27563" y="43024"/>
                  <a:pt x="31148" y="48851"/>
                  <a:pt x="37422" y="51540"/>
                </a:cubicBezTo>
                <a:lnTo>
                  <a:pt x="72380" y="68570"/>
                </a:lnTo>
                <a:lnTo>
                  <a:pt x="41456" y="83808"/>
                </a:lnTo>
                <a:cubicBezTo>
                  <a:pt x="32941" y="87841"/>
                  <a:pt x="27114" y="95909"/>
                  <a:pt x="27114" y="104424"/>
                </a:cubicBezTo>
                <a:lnTo>
                  <a:pt x="27114" y="143863"/>
                </a:lnTo>
                <a:lnTo>
                  <a:pt x="3810" y="121006"/>
                </a:lnTo>
                <a:cubicBezTo>
                  <a:pt x="2913" y="120110"/>
                  <a:pt x="1569" y="120110"/>
                  <a:pt x="672" y="121006"/>
                </a:cubicBezTo>
                <a:cubicBezTo>
                  <a:pt x="-224" y="121902"/>
                  <a:pt x="-224" y="123247"/>
                  <a:pt x="672" y="124143"/>
                </a:cubicBezTo>
                <a:lnTo>
                  <a:pt x="28011" y="150585"/>
                </a:lnTo>
                <a:cubicBezTo>
                  <a:pt x="28459" y="151033"/>
                  <a:pt x="28907" y="151033"/>
                  <a:pt x="29355" y="151033"/>
                </a:cubicBezTo>
                <a:cubicBezTo>
                  <a:pt x="29803" y="151033"/>
                  <a:pt x="30700" y="151033"/>
                  <a:pt x="30700" y="150585"/>
                </a:cubicBezTo>
                <a:lnTo>
                  <a:pt x="58038" y="124143"/>
                </a:lnTo>
                <a:cubicBezTo>
                  <a:pt x="58934" y="123247"/>
                  <a:pt x="58934" y="121902"/>
                  <a:pt x="58038" y="121006"/>
                </a:cubicBezTo>
                <a:cubicBezTo>
                  <a:pt x="57142" y="120110"/>
                  <a:pt x="55797" y="120110"/>
                  <a:pt x="54901" y="121006"/>
                </a:cubicBezTo>
                <a:lnTo>
                  <a:pt x="31596" y="143863"/>
                </a:lnTo>
                <a:lnTo>
                  <a:pt x="31596" y="104424"/>
                </a:lnTo>
                <a:cubicBezTo>
                  <a:pt x="31596" y="97701"/>
                  <a:pt x="36078" y="91427"/>
                  <a:pt x="43248" y="87841"/>
                </a:cubicBezTo>
                <a:lnTo>
                  <a:pt x="77309" y="71259"/>
                </a:lnTo>
                <a:lnTo>
                  <a:pt x="110026" y="87393"/>
                </a:lnTo>
                <a:cubicBezTo>
                  <a:pt x="117197" y="90530"/>
                  <a:pt x="121678" y="96805"/>
                  <a:pt x="121678" y="103976"/>
                </a:cubicBezTo>
                <a:lnTo>
                  <a:pt x="121678" y="143863"/>
                </a:lnTo>
                <a:lnTo>
                  <a:pt x="98373" y="121006"/>
                </a:lnTo>
                <a:cubicBezTo>
                  <a:pt x="97477" y="120110"/>
                  <a:pt x="96132" y="120110"/>
                  <a:pt x="95236" y="121006"/>
                </a:cubicBezTo>
                <a:cubicBezTo>
                  <a:pt x="94340" y="121902"/>
                  <a:pt x="94340" y="123247"/>
                  <a:pt x="95236" y="124143"/>
                </a:cubicBezTo>
                <a:lnTo>
                  <a:pt x="122575" y="150585"/>
                </a:lnTo>
                <a:cubicBezTo>
                  <a:pt x="123023" y="151033"/>
                  <a:pt x="123471" y="151033"/>
                  <a:pt x="123919" y="151033"/>
                </a:cubicBezTo>
                <a:cubicBezTo>
                  <a:pt x="124367" y="151033"/>
                  <a:pt x="125264" y="151033"/>
                  <a:pt x="125264" y="150585"/>
                </a:cubicBezTo>
                <a:lnTo>
                  <a:pt x="152602" y="124143"/>
                </a:lnTo>
                <a:cubicBezTo>
                  <a:pt x="152602" y="123247"/>
                  <a:pt x="152602" y="121454"/>
                  <a:pt x="151706" y="120558"/>
                </a:cubicBezTo>
                <a:close/>
              </a:path>
            </a:pathLst>
          </a:custGeom>
          <a:solidFill>
            <a:srgbClr val="231F20"/>
          </a:solidFill>
          <a:ln w="4477" cap="flat">
            <a:noFill/>
            <a:prstDash val="solid"/>
            <a:miter/>
          </a:ln>
        </p:spPr>
        <p:txBody>
          <a:bodyPr rtlCol="0" anchor="ctr"/>
          <a:lstStyle/>
          <a:p>
            <a:endParaRPr lang="en-US"/>
          </a:p>
        </p:txBody>
      </p:sp>
      <p:grpSp>
        <p:nvGrpSpPr>
          <p:cNvPr id="3651" name="Group 3650">
            <a:extLst>
              <a:ext uri="{FF2B5EF4-FFF2-40B4-BE49-F238E27FC236}">
                <a16:creationId xmlns:a16="http://schemas.microsoft.com/office/drawing/2014/main" id="{944B32B2-7BF0-4547-BD42-989427BD24F4}"/>
              </a:ext>
              <a:ext uri="{C183D7F6-B498-43B3-948B-1728B52AA6E4}">
                <adec:decorative xmlns:adec="http://schemas.microsoft.com/office/drawing/2017/decorative" val="1"/>
              </a:ext>
            </a:extLst>
          </p:cNvPr>
          <p:cNvGrpSpPr>
            <a:grpSpLocks noChangeAspect="1"/>
          </p:cNvGrpSpPr>
          <p:nvPr/>
        </p:nvGrpSpPr>
        <p:grpSpPr>
          <a:xfrm>
            <a:off x="3475561" y="1706858"/>
            <a:ext cx="150922" cy="151034"/>
            <a:chOff x="9377187" y="4553394"/>
            <a:chExt cx="150922" cy="151034"/>
          </a:xfrm>
        </p:grpSpPr>
        <p:sp>
          <p:nvSpPr>
            <p:cNvPr id="3652" name="Freeform: Shape 3651">
              <a:extLst>
                <a:ext uri="{FF2B5EF4-FFF2-40B4-BE49-F238E27FC236}">
                  <a16:creationId xmlns:a16="http://schemas.microsoft.com/office/drawing/2014/main" id="{1B636DB9-9FE2-4C25-AAF1-888611C27775}"/>
                </a:ext>
              </a:extLst>
            </p:cNvPr>
            <p:cNvSpPr/>
            <p:nvPr/>
          </p:nvSpPr>
          <p:spPr>
            <a:xfrm>
              <a:off x="9431528" y="4553394"/>
              <a:ext cx="40335" cy="62744"/>
            </a:xfrm>
            <a:custGeom>
              <a:avLst/>
              <a:gdLst>
                <a:gd name="connsiteX0" fmla="*/ 4258 w 40335"/>
                <a:gd name="connsiteY0" fmla="*/ 23305 h 62743"/>
                <a:gd name="connsiteX1" fmla="*/ 19944 w 40335"/>
                <a:gd name="connsiteY1" fmla="*/ 7171 h 62743"/>
                <a:gd name="connsiteX2" fmla="*/ 19944 w 40335"/>
                <a:gd name="connsiteY2" fmla="*/ 61848 h 62743"/>
                <a:gd name="connsiteX3" fmla="*/ 22184 w 40335"/>
                <a:gd name="connsiteY3" fmla="*/ 64089 h 62743"/>
                <a:gd name="connsiteX4" fmla="*/ 24425 w 40335"/>
                <a:gd name="connsiteY4" fmla="*/ 61848 h 62743"/>
                <a:gd name="connsiteX5" fmla="*/ 24425 w 40335"/>
                <a:gd name="connsiteY5" fmla="*/ 7171 h 62743"/>
                <a:gd name="connsiteX6" fmla="*/ 40111 w 40335"/>
                <a:gd name="connsiteY6" fmla="*/ 23305 h 62743"/>
                <a:gd name="connsiteX7" fmla="*/ 41904 w 40335"/>
                <a:gd name="connsiteY7" fmla="*/ 23753 h 62743"/>
                <a:gd name="connsiteX8" fmla="*/ 43697 w 40335"/>
                <a:gd name="connsiteY8" fmla="*/ 23305 h 62743"/>
                <a:gd name="connsiteX9" fmla="*/ 43697 w 40335"/>
                <a:gd name="connsiteY9" fmla="*/ 20168 h 62743"/>
                <a:gd name="connsiteX10" fmla="*/ 23977 w 40335"/>
                <a:gd name="connsiteY10" fmla="*/ 448 h 62743"/>
                <a:gd name="connsiteX11" fmla="*/ 23977 w 40335"/>
                <a:gd name="connsiteY11" fmla="*/ 448 h 62743"/>
                <a:gd name="connsiteX12" fmla="*/ 22184 w 40335"/>
                <a:gd name="connsiteY12" fmla="*/ 0 h 62743"/>
                <a:gd name="connsiteX13" fmla="*/ 20392 w 40335"/>
                <a:gd name="connsiteY13" fmla="*/ 448 h 62743"/>
                <a:gd name="connsiteX14" fmla="*/ 20392 w 40335"/>
                <a:gd name="connsiteY14" fmla="*/ 448 h 62743"/>
                <a:gd name="connsiteX15" fmla="*/ 672 w 40335"/>
                <a:gd name="connsiteY15" fmla="*/ 20168 h 62743"/>
                <a:gd name="connsiteX16" fmla="*/ 672 w 40335"/>
                <a:gd name="connsiteY16" fmla="*/ 23305 h 62743"/>
                <a:gd name="connsiteX17" fmla="*/ 4258 w 40335"/>
                <a:gd name="connsiteY17" fmla="*/ 23305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335" h="62743">
                  <a:moveTo>
                    <a:pt x="4258" y="23305"/>
                  </a:moveTo>
                  <a:lnTo>
                    <a:pt x="19944" y="7171"/>
                  </a:lnTo>
                  <a:lnTo>
                    <a:pt x="19944" y="61848"/>
                  </a:lnTo>
                  <a:cubicBezTo>
                    <a:pt x="19944" y="63192"/>
                    <a:pt x="20840" y="64089"/>
                    <a:pt x="22184" y="64089"/>
                  </a:cubicBezTo>
                  <a:cubicBezTo>
                    <a:pt x="23529" y="64089"/>
                    <a:pt x="24425" y="63192"/>
                    <a:pt x="24425" y="61848"/>
                  </a:cubicBezTo>
                  <a:lnTo>
                    <a:pt x="24425" y="7171"/>
                  </a:lnTo>
                  <a:lnTo>
                    <a:pt x="40111" y="23305"/>
                  </a:lnTo>
                  <a:cubicBezTo>
                    <a:pt x="40560" y="23753"/>
                    <a:pt x="41008" y="23753"/>
                    <a:pt x="41904" y="23753"/>
                  </a:cubicBezTo>
                  <a:cubicBezTo>
                    <a:pt x="42800" y="23753"/>
                    <a:pt x="43248" y="23753"/>
                    <a:pt x="43697" y="23305"/>
                  </a:cubicBezTo>
                  <a:cubicBezTo>
                    <a:pt x="44593" y="22409"/>
                    <a:pt x="44593" y="21064"/>
                    <a:pt x="43697" y="20168"/>
                  </a:cubicBezTo>
                  <a:lnTo>
                    <a:pt x="23977" y="448"/>
                  </a:lnTo>
                  <a:cubicBezTo>
                    <a:pt x="23977" y="448"/>
                    <a:pt x="23977" y="448"/>
                    <a:pt x="23977" y="448"/>
                  </a:cubicBezTo>
                  <a:cubicBezTo>
                    <a:pt x="23529" y="0"/>
                    <a:pt x="23081" y="0"/>
                    <a:pt x="22184" y="0"/>
                  </a:cubicBezTo>
                  <a:cubicBezTo>
                    <a:pt x="21288" y="0"/>
                    <a:pt x="20840" y="448"/>
                    <a:pt x="20392" y="448"/>
                  </a:cubicBezTo>
                  <a:cubicBezTo>
                    <a:pt x="20392" y="448"/>
                    <a:pt x="20392" y="448"/>
                    <a:pt x="20392" y="448"/>
                  </a:cubicBezTo>
                  <a:lnTo>
                    <a:pt x="672" y="20168"/>
                  </a:lnTo>
                  <a:cubicBezTo>
                    <a:pt x="-224" y="21064"/>
                    <a:pt x="-224" y="22409"/>
                    <a:pt x="672" y="23305"/>
                  </a:cubicBezTo>
                  <a:cubicBezTo>
                    <a:pt x="1569" y="24201"/>
                    <a:pt x="3361" y="24201"/>
                    <a:pt x="4258" y="23305"/>
                  </a:cubicBezTo>
                  <a:close/>
                </a:path>
              </a:pathLst>
            </a:custGeom>
            <a:solidFill>
              <a:srgbClr val="231F20"/>
            </a:solidFill>
            <a:ln w="4477" cap="flat">
              <a:noFill/>
              <a:prstDash val="solid"/>
              <a:miter/>
            </a:ln>
          </p:spPr>
          <p:txBody>
            <a:bodyPr rtlCol="0" anchor="ctr"/>
            <a:lstStyle/>
            <a:p>
              <a:endParaRPr lang="en-US"/>
            </a:p>
          </p:txBody>
        </p:sp>
        <p:sp>
          <p:nvSpPr>
            <p:cNvPr id="3653" name="Freeform: Shape 3652">
              <a:extLst>
                <a:ext uri="{FF2B5EF4-FFF2-40B4-BE49-F238E27FC236}">
                  <a16:creationId xmlns:a16="http://schemas.microsoft.com/office/drawing/2014/main" id="{9650A736-7AD6-4800-9EC3-9A0B78884162}"/>
                </a:ext>
              </a:extLst>
            </p:cNvPr>
            <p:cNvSpPr/>
            <p:nvPr/>
          </p:nvSpPr>
          <p:spPr>
            <a:xfrm>
              <a:off x="9465365" y="4607399"/>
              <a:ext cx="62744" cy="40335"/>
            </a:xfrm>
            <a:custGeom>
              <a:avLst/>
              <a:gdLst>
                <a:gd name="connsiteX0" fmla="*/ 64088 w 62743"/>
                <a:gd name="connsiteY0" fmla="*/ 23529 h 40335"/>
                <a:gd name="connsiteX1" fmla="*/ 64536 w 62743"/>
                <a:gd name="connsiteY1" fmla="*/ 23081 h 40335"/>
                <a:gd name="connsiteX2" fmla="*/ 64536 w 62743"/>
                <a:gd name="connsiteY2" fmla="*/ 21288 h 40335"/>
                <a:gd name="connsiteX3" fmla="*/ 64088 w 62743"/>
                <a:gd name="connsiteY3" fmla="*/ 20392 h 40335"/>
                <a:gd name="connsiteX4" fmla="*/ 64088 w 62743"/>
                <a:gd name="connsiteY4" fmla="*/ 20392 h 40335"/>
                <a:gd name="connsiteX5" fmla="*/ 64088 w 62743"/>
                <a:gd name="connsiteY5" fmla="*/ 20392 h 40335"/>
                <a:gd name="connsiteX6" fmla="*/ 64088 w 62743"/>
                <a:gd name="connsiteY6" fmla="*/ 20392 h 40335"/>
                <a:gd name="connsiteX7" fmla="*/ 44369 w 62743"/>
                <a:gd name="connsiteY7" fmla="*/ 672 h 40335"/>
                <a:gd name="connsiteX8" fmla="*/ 41232 w 62743"/>
                <a:gd name="connsiteY8" fmla="*/ 672 h 40335"/>
                <a:gd name="connsiteX9" fmla="*/ 41232 w 62743"/>
                <a:gd name="connsiteY9" fmla="*/ 3810 h 40335"/>
                <a:gd name="connsiteX10" fmla="*/ 56918 w 62743"/>
                <a:gd name="connsiteY10" fmla="*/ 19944 h 40335"/>
                <a:gd name="connsiteX11" fmla="*/ 2241 w 62743"/>
                <a:gd name="connsiteY11" fmla="*/ 19944 h 40335"/>
                <a:gd name="connsiteX12" fmla="*/ 0 w 62743"/>
                <a:gd name="connsiteY12" fmla="*/ 22184 h 40335"/>
                <a:gd name="connsiteX13" fmla="*/ 2241 w 62743"/>
                <a:gd name="connsiteY13" fmla="*/ 24425 h 40335"/>
                <a:gd name="connsiteX14" fmla="*/ 56918 w 62743"/>
                <a:gd name="connsiteY14" fmla="*/ 24425 h 40335"/>
                <a:gd name="connsiteX15" fmla="*/ 41232 w 62743"/>
                <a:gd name="connsiteY15" fmla="*/ 40560 h 40335"/>
                <a:gd name="connsiteX16" fmla="*/ 41232 w 62743"/>
                <a:gd name="connsiteY16" fmla="*/ 43697 h 40335"/>
                <a:gd name="connsiteX17" fmla="*/ 43024 w 62743"/>
                <a:gd name="connsiteY17" fmla="*/ 44145 h 40335"/>
                <a:gd name="connsiteX18" fmla="*/ 44817 w 62743"/>
                <a:gd name="connsiteY18" fmla="*/ 43697 h 40335"/>
                <a:gd name="connsiteX19" fmla="*/ 64088 w 62743"/>
                <a:gd name="connsiteY19" fmla="*/ 23529 h 40335"/>
                <a:gd name="connsiteX20" fmla="*/ 64088 w 62743"/>
                <a:gd name="connsiteY20" fmla="*/ 23529 h 40335"/>
                <a:gd name="connsiteX21" fmla="*/ 64088 w 62743"/>
                <a:gd name="connsiteY21" fmla="*/ 23529 h 40335"/>
                <a:gd name="connsiteX22" fmla="*/ 64088 w 62743"/>
                <a:gd name="connsiteY22" fmla="*/ 23529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743" h="40335">
                  <a:moveTo>
                    <a:pt x="64088" y="23529"/>
                  </a:moveTo>
                  <a:cubicBezTo>
                    <a:pt x="64088" y="23529"/>
                    <a:pt x="64536" y="23081"/>
                    <a:pt x="64536" y="23081"/>
                  </a:cubicBezTo>
                  <a:cubicBezTo>
                    <a:pt x="64985" y="22633"/>
                    <a:pt x="64985" y="21736"/>
                    <a:pt x="64536" y="21288"/>
                  </a:cubicBezTo>
                  <a:cubicBezTo>
                    <a:pt x="64536" y="20840"/>
                    <a:pt x="64088" y="20840"/>
                    <a:pt x="64088" y="20392"/>
                  </a:cubicBezTo>
                  <a:cubicBezTo>
                    <a:pt x="64088" y="20392"/>
                    <a:pt x="64088" y="20392"/>
                    <a:pt x="64088" y="20392"/>
                  </a:cubicBezTo>
                  <a:lnTo>
                    <a:pt x="64088" y="20392"/>
                  </a:lnTo>
                  <a:cubicBezTo>
                    <a:pt x="64088" y="20392"/>
                    <a:pt x="64088" y="20392"/>
                    <a:pt x="64088" y="20392"/>
                  </a:cubicBezTo>
                  <a:lnTo>
                    <a:pt x="44369" y="672"/>
                  </a:lnTo>
                  <a:cubicBezTo>
                    <a:pt x="43473" y="-224"/>
                    <a:pt x="42128" y="-224"/>
                    <a:pt x="41232" y="672"/>
                  </a:cubicBezTo>
                  <a:cubicBezTo>
                    <a:pt x="40335" y="1569"/>
                    <a:pt x="40335" y="2913"/>
                    <a:pt x="41232" y="3810"/>
                  </a:cubicBezTo>
                  <a:lnTo>
                    <a:pt x="56918" y="19944"/>
                  </a:lnTo>
                  <a:lnTo>
                    <a:pt x="2241" y="19944"/>
                  </a:lnTo>
                  <a:cubicBezTo>
                    <a:pt x="896" y="19944"/>
                    <a:pt x="0" y="20840"/>
                    <a:pt x="0" y="22184"/>
                  </a:cubicBezTo>
                  <a:cubicBezTo>
                    <a:pt x="0" y="23529"/>
                    <a:pt x="896" y="24425"/>
                    <a:pt x="2241" y="24425"/>
                  </a:cubicBezTo>
                  <a:lnTo>
                    <a:pt x="56918" y="24425"/>
                  </a:lnTo>
                  <a:lnTo>
                    <a:pt x="41232" y="40560"/>
                  </a:lnTo>
                  <a:cubicBezTo>
                    <a:pt x="40335" y="41456"/>
                    <a:pt x="40335" y="42800"/>
                    <a:pt x="41232" y="43697"/>
                  </a:cubicBezTo>
                  <a:cubicBezTo>
                    <a:pt x="41680" y="44145"/>
                    <a:pt x="42128" y="44145"/>
                    <a:pt x="43024" y="44145"/>
                  </a:cubicBezTo>
                  <a:cubicBezTo>
                    <a:pt x="43473" y="44145"/>
                    <a:pt x="44369" y="44145"/>
                    <a:pt x="44817" y="43697"/>
                  </a:cubicBezTo>
                  <a:lnTo>
                    <a:pt x="64088" y="23529"/>
                  </a:lnTo>
                  <a:lnTo>
                    <a:pt x="64088" y="23529"/>
                  </a:lnTo>
                  <a:lnTo>
                    <a:pt x="64088" y="23529"/>
                  </a:lnTo>
                  <a:cubicBezTo>
                    <a:pt x="63640" y="23529"/>
                    <a:pt x="63640" y="23529"/>
                    <a:pt x="64088" y="23529"/>
                  </a:cubicBezTo>
                  <a:close/>
                </a:path>
              </a:pathLst>
            </a:custGeom>
            <a:solidFill>
              <a:srgbClr val="231F20"/>
            </a:solidFill>
            <a:ln w="4477" cap="flat">
              <a:noFill/>
              <a:prstDash val="solid"/>
              <a:miter/>
            </a:ln>
          </p:spPr>
          <p:txBody>
            <a:bodyPr rtlCol="0" anchor="ctr"/>
            <a:lstStyle/>
            <a:p>
              <a:endParaRPr lang="en-US"/>
            </a:p>
          </p:txBody>
        </p:sp>
        <p:sp>
          <p:nvSpPr>
            <p:cNvPr id="3654" name="Freeform: Shape 3653">
              <a:extLst>
                <a:ext uri="{FF2B5EF4-FFF2-40B4-BE49-F238E27FC236}">
                  <a16:creationId xmlns:a16="http://schemas.microsoft.com/office/drawing/2014/main" id="{D1C502D4-AEBF-47E1-A0FB-5E8072FAAEF3}"/>
                </a:ext>
              </a:extLst>
            </p:cNvPr>
            <p:cNvSpPr/>
            <p:nvPr/>
          </p:nvSpPr>
          <p:spPr>
            <a:xfrm>
              <a:off x="9431976" y="4641684"/>
              <a:ext cx="40335" cy="62744"/>
            </a:xfrm>
            <a:custGeom>
              <a:avLst/>
              <a:gdLst>
                <a:gd name="connsiteX0" fmla="*/ 39663 w 40335"/>
                <a:gd name="connsiteY0" fmla="*/ 40784 h 62743"/>
                <a:gd name="connsiteX1" fmla="*/ 23977 w 40335"/>
                <a:gd name="connsiteY1" fmla="*/ 56918 h 62743"/>
                <a:gd name="connsiteX2" fmla="*/ 23977 w 40335"/>
                <a:gd name="connsiteY2" fmla="*/ 2241 h 62743"/>
                <a:gd name="connsiteX3" fmla="*/ 21736 w 40335"/>
                <a:gd name="connsiteY3" fmla="*/ 0 h 62743"/>
                <a:gd name="connsiteX4" fmla="*/ 19495 w 40335"/>
                <a:gd name="connsiteY4" fmla="*/ 2241 h 62743"/>
                <a:gd name="connsiteX5" fmla="*/ 19495 w 40335"/>
                <a:gd name="connsiteY5" fmla="*/ 56918 h 62743"/>
                <a:gd name="connsiteX6" fmla="*/ 3809 w 40335"/>
                <a:gd name="connsiteY6" fmla="*/ 40784 h 62743"/>
                <a:gd name="connsiteX7" fmla="*/ 672 w 40335"/>
                <a:gd name="connsiteY7" fmla="*/ 40784 h 62743"/>
                <a:gd name="connsiteX8" fmla="*/ 672 w 40335"/>
                <a:gd name="connsiteY8" fmla="*/ 43921 h 62743"/>
                <a:gd name="connsiteX9" fmla="*/ 20392 w 40335"/>
                <a:gd name="connsiteY9" fmla="*/ 63640 h 62743"/>
                <a:gd name="connsiteX10" fmla="*/ 20392 w 40335"/>
                <a:gd name="connsiteY10" fmla="*/ 63640 h 62743"/>
                <a:gd name="connsiteX11" fmla="*/ 21288 w 40335"/>
                <a:gd name="connsiteY11" fmla="*/ 64088 h 62743"/>
                <a:gd name="connsiteX12" fmla="*/ 22184 w 40335"/>
                <a:gd name="connsiteY12" fmla="*/ 64088 h 62743"/>
                <a:gd name="connsiteX13" fmla="*/ 23081 w 40335"/>
                <a:gd name="connsiteY13" fmla="*/ 64088 h 62743"/>
                <a:gd name="connsiteX14" fmla="*/ 23977 w 40335"/>
                <a:gd name="connsiteY14" fmla="*/ 63640 h 62743"/>
                <a:gd name="connsiteX15" fmla="*/ 23977 w 40335"/>
                <a:gd name="connsiteY15" fmla="*/ 63640 h 62743"/>
                <a:gd name="connsiteX16" fmla="*/ 43697 w 40335"/>
                <a:gd name="connsiteY16" fmla="*/ 43921 h 62743"/>
                <a:gd name="connsiteX17" fmla="*/ 43697 w 40335"/>
                <a:gd name="connsiteY17" fmla="*/ 40784 h 62743"/>
                <a:gd name="connsiteX18" fmla="*/ 39663 w 40335"/>
                <a:gd name="connsiteY18" fmla="*/ 4078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335" h="62743">
                  <a:moveTo>
                    <a:pt x="39663" y="40784"/>
                  </a:moveTo>
                  <a:lnTo>
                    <a:pt x="23977" y="56918"/>
                  </a:lnTo>
                  <a:lnTo>
                    <a:pt x="23977" y="2241"/>
                  </a:lnTo>
                  <a:cubicBezTo>
                    <a:pt x="23977" y="896"/>
                    <a:pt x="23081" y="0"/>
                    <a:pt x="21736" y="0"/>
                  </a:cubicBezTo>
                  <a:cubicBezTo>
                    <a:pt x="20392" y="0"/>
                    <a:pt x="19495" y="896"/>
                    <a:pt x="19495" y="2241"/>
                  </a:cubicBezTo>
                  <a:lnTo>
                    <a:pt x="19495" y="56918"/>
                  </a:lnTo>
                  <a:lnTo>
                    <a:pt x="3809" y="40784"/>
                  </a:lnTo>
                  <a:cubicBezTo>
                    <a:pt x="2913" y="39887"/>
                    <a:pt x="1568" y="39887"/>
                    <a:pt x="672" y="40784"/>
                  </a:cubicBezTo>
                  <a:cubicBezTo>
                    <a:pt x="-224" y="41680"/>
                    <a:pt x="-224" y="43025"/>
                    <a:pt x="672" y="43921"/>
                  </a:cubicBezTo>
                  <a:lnTo>
                    <a:pt x="20392" y="63640"/>
                  </a:lnTo>
                  <a:cubicBezTo>
                    <a:pt x="20392" y="63640"/>
                    <a:pt x="20392" y="63640"/>
                    <a:pt x="20392" y="63640"/>
                  </a:cubicBezTo>
                  <a:cubicBezTo>
                    <a:pt x="20392" y="63640"/>
                    <a:pt x="20840" y="64088"/>
                    <a:pt x="21288" y="64088"/>
                  </a:cubicBezTo>
                  <a:cubicBezTo>
                    <a:pt x="21736" y="64088"/>
                    <a:pt x="21736" y="64088"/>
                    <a:pt x="22184" y="64088"/>
                  </a:cubicBezTo>
                  <a:cubicBezTo>
                    <a:pt x="22632" y="64088"/>
                    <a:pt x="22632" y="64088"/>
                    <a:pt x="23081" y="64088"/>
                  </a:cubicBezTo>
                  <a:cubicBezTo>
                    <a:pt x="23529" y="64088"/>
                    <a:pt x="23529" y="63640"/>
                    <a:pt x="23977" y="63640"/>
                  </a:cubicBezTo>
                  <a:cubicBezTo>
                    <a:pt x="23977" y="63640"/>
                    <a:pt x="23977" y="63640"/>
                    <a:pt x="23977" y="63640"/>
                  </a:cubicBezTo>
                  <a:lnTo>
                    <a:pt x="43697" y="43921"/>
                  </a:lnTo>
                  <a:cubicBezTo>
                    <a:pt x="44593" y="43025"/>
                    <a:pt x="44593" y="41680"/>
                    <a:pt x="43697" y="40784"/>
                  </a:cubicBezTo>
                  <a:cubicBezTo>
                    <a:pt x="41904" y="39887"/>
                    <a:pt x="40559" y="39887"/>
                    <a:pt x="39663" y="40784"/>
                  </a:cubicBezTo>
                  <a:close/>
                </a:path>
              </a:pathLst>
            </a:custGeom>
            <a:solidFill>
              <a:srgbClr val="231F20"/>
            </a:solidFill>
            <a:ln w="4477" cap="flat">
              <a:noFill/>
              <a:prstDash val="solid"/>
              <a:miter/>
            </a:ln>
          </p:spPr>
          <p:txBody>
            <a:bodyPr rtlCol="0" anchor="ctr"/>
            <a:lstStyle/>
            <a:p>
              <a:endParaRPr lang="en-US"/>
            </a:p>
          </p:txBody>
        </p:sp>
        <p:sp>
          <p:nvSpPr>
            <p:cNvPr id="3655" name="Freeform: Shape 3654">
              <a:extLst>
                <a:ext uri="{FF2B5EF4-FFF2-40B4-BE49-F238E27FC236}">
                  <a16:creationId xmlns:a16="http://schemas.microsoft.com/office/drawing/2014/main" id="{6B5F2AF6-93A3-43A3-9B3F-97644E0FAFFF}"/>
                </a:ext>
              </a:extLst>
            </p:cNvPr>
            <p:cNvSpPr/>
            <p:nvPr/>
          </p:nvSpPr>
          <p:spPr>
            <a:xfrm>
              <a:off x="9377187" y="4607399"/>
              <a:ext cx="62744" cy="40335"/>
            </a:xfrm>
            <a:custGeom>
              <a:avLst/>
              <a:gdLst>
                <a:gd name="connsiteX0" fmla="*/ 7955 w 62743"/>
                <a:gd name="connsiteY0" fmla="*/ 24425 h 40335"/>
                <a:gd name="connsiteX1" fmla="*/ 62632 w 62743"/>
                <a:gd name="connsiteY1" fmla="*/ 24425 h 40335"/>
                <a:gd name="connsiteX2" fmla="*/ 64873 w 62743"/>
                <a:gd name="connsiteY2" fmla="*/ 22184 h 40335"/>
                <a:gd name="connsiteX3" fmla="*/ 62632 w 62743"/>
                <a:gd name="connsiteY3" fmla="*/ 19944 h 40335"/>
                <a:gd name="connsiteX4" fmla="*/ 7955 w 62743"/>
                <a:gd name="connsiteY4" fmla="*/ 19944 h 40335"/>
                <a:gd name="connsiteX5" fmla="*/ 23641 w 62743"/>
                <a:gd name="connsiteY5" fmla="*/ 3810 h 40335"/>
                <a:gd name="connsiteX6" fmla="*/ 23641 w 62743"/>
                <a:gd name="connsiteY6" fmla="*/ 672 h 40335"/>
                <a:gd name="connsiteX7" fmla="*/ 20504 w 62743"/>
                <a:gd name="connsiteY7" fmla="*/ 672 h 40335"/>
                <a:gd name="connsiteX8" fmla="*/ 784 w 62743"/>
                <a:gd name="connsiteY8" fmla="*/ 20392 h 40335"/>
                <a:gd name="connsiteX9" fmla="*/ 784 w 62743"/>
                <a:gd name="connsiteY9" fmla="*/ 20392 h 40335"/>
                <a:gd name="connsiteX10" fmla="*/ 336 w 62743"/>
                <a:gd name="connsiteY10" fmla="*/ 20840 h 40335"/>
                <a:gd name="connsiteX11" fmla="*/ 336 w 62743"/>
                <a:gd name="connsiteY11" fmla="*/ 22633 h 40335"/>
                <a:gd name="connsiteX12" fmla="*/ 784 w 62743"/>
                <a:gd name="connsiteY12" fmla="*/ 23081 h 40335"/>
                <a:gd name="connsiteX13" fmla="*/ 784 w 62743"/>
                <a:gd name="connsiteY13" fmla="*/ 23081 h 40335"/>
                <a:gd name="connsiteX14" fmla="*/ 20504 w 62743"/>
                <a:gd name="connsiteY14" fmla="*/ 42800 h 40335"/>
                <a:gd name="connsiteX15" fmla="*/ 22296 w 62743"/>
                <a:gd name="connsiteY15" fmla="*/ 43248 h 40335"/>
                <a:gd name="connsiteX16" fmla="*/ 24089 w 62743"/>
                <a:gd name="connsiteY16" fmla="*/ 42800 h 40335"/>
                <a:gd name="connsiteX17" fmla="*/ 24089 w 62743"/>
                <a:gd name="connsiteY17" fmla="*/ 39663 h 40335"/>
                <a:gd name="connsiteX18" fmla="*/ 7955 w 62743"/>
                <a:gd name="connsiteY18" fmla="*/ 24425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743" h="40335">
                  <a:moveTo>
                    <a:pt x="7955" y="24425"/>
                  </a:moveTo>
                  <a:lnTo>
                    <a:pt x="62632" y="24425"/>
                  </a:lnTo>
                  <a:cubicBezTo>
                    <a:pt x="63976" y="24425"/>
                    <a:pt x="64873" y="23529"/>
                    <a:pt x="64873" y="22184"/>
                  </a:cubicBezTo>
                  <a:cubicBezTo>
                    <a:pt x="64873" y="20840"/>
                    <a:pt x="63976" y="19944"/>
                    <a:pt x="62632" y="19944"/>
                  </a:cubicBezTo>
                  <a:lnTo>
                    <a:pt x="7955" y="19944"/>
                  </a:lnTo>
                  <a:lnTo>
                    <a:pt x="23641" y="3810"/>
                  </a:lnTo>
                  <a:cubicBezTo>
                    <a:pt x="24537" y="2913"/>
                    <a:pt x="24537" y="1569"/>
                    <a:pt x="23641" y="672"/>
                  </a:cubicBezTo>
                  <a:cubicBezTo>
                    <a:pt x="22745" y="-224"/>
                    <a:pt x="21400" y="-224"/>
                    <a:pt x="20504" y="672"/>
                  </a:cubicBezTo>
                  <a:lnTo>
                    <a:pt x="784" y="20392"/>
                  </a:lnTo>
                  <a:cubicBezTo>
                    <a:pt x="784" y="20392"/>
                    <a:pt x="784" y="20392"/>
                    <a:pt x="784" y="20392"/>
                  </a:cubicBezTo>
                  <a:cubicBezTo>
                    <a:pt x="784" y="20392"/>
                    <a:pt x="336" y="20840"/>
                    <a:pt x="336" y="20840"/>
                  </a:cubicBezTo>
                  <a:cubicBezTo>
                    <a:pt x="-112" y="21288"/>
                    <a:pt x="-112" y="22184"/>
                    <a:pt x="336" y="22633"/>
                  </a:cubicBezTo>
                  <a:cubicBezTo>
                    <a:pt x="336" y="23081"/>
                    <a:pt x="784" y="23081"/>
                    <a:pt x="784" y="23081"/>
                  </a:cubicBezTo>
                  <a:cubicBezTo>
                    <a:pt x="784" y="23081"/>
                    <a:pt x="784" y="23081"/>
                    <a:pt x="784" y="23081"/>
                  </a:cubicBezTo>
                  <a:lnTo>
                    <a:pt x="20504" y="42800"/>
                  </a:lnTo>
                  <a:cubicBezTo>
                    <a:pt x="20952" y="43248"/>
                    <a:pt x="21400" y="43248"/>
                    <a:pt x="22296" y="43248"/>
                  </a:cubicBezTo>
                  <a:cubicBezTo>
                    <a:pt x="22745" y="43248"/>
                    <a:pt x="23641" y="43248"/>
                    <a:pt x="24089" y="42800"/>
                  </a:cubicBezTo>
                  <a:cubicBezTo>
                    <a:pt x="24985" y="41904"/>
                    <a:pt x="24985" y="40560"/>
                    <a:pt x="24089" y="39663"/>
                  </a:cubicBezTo>
                  <a:lnTo>
                    <a:pt x="7955" y="24425"/>
                  </a:lnTo>
                  <a:close/>
                </a:path>
              </a:pathLst>
            </a:custGeom>
            <a:solidFill>
              <a:srgbClr val="231F20"/>
            </a:solidFill>
            <a:ln w="4477" cap="flat">
              <a:noFill/>
              <a:prstDash val="solid"/>
              <a:miter/>
            </a:ln>
          </p:spPr>
          <p:txBody>
            <a:bodyPr rtlCol="0" anchor="ctr"/>
            <a:lstStyle/>
            <a:p>
              <a:endParaRPr lang="en-US"/>
            </a:p>
          </p:txBody>
        </p:sp>
      </p:grpSp>
      <p:grpSp>
        <p:nvGrpSpPr>
          <p:cNvPr id="3656" name="Group 3655">
            <a:extLst>
              <a:ext uri="{FF2B5EF4-FFF2-40B4-BE49-F238E27FC236}">
                <a16:creationId xmlns:a16="http://schemas.microsoft.com/office/drawing/2014/main" id="{21B66E67-1EDE-40CF-9EF8-48C931F92233}"/>
              </a:ext>
              <a:ext uri="{C183D7F6-B498-43B3-948B-1728B52AA6E4}">
                <adec:decorative xmlns:adec="http://schemas.microsoft.com/office/drawing/2017/decorative" val="1"/>
              </a:ext>
            </a:extLst>
          </p:cNvPr>
          <p:cNvGrpSpPr>
            <a:grpSpLocks noChangeAspect="1"/>
          </p:cNvGrpSpPr>
          <p:nvPr/>
        </p:nvGrpSpPr>
        <p:grpSpPr>
          <a:xfrm>
            <a:off x="3736284" y="1706858"/>
            <a:ext cx="148793" cy="152826"/>
            <a:chOff x="9637910" y="4553394"/>
            <a:chExt cx="148793" cy="152826"/>
          </a:xfrm>
        </p:grpSpPr>
        <p:sp>
          <p:nvSpPr>
            <p:cNvPr id="3657" name="Freeform: Shape 3656">
              <a:extLst>
                <a:ext uri="{FF2B5EF4-FFF2-40B4-BE49-F238E27FC236}">
                  <a16:creationId xmlns:a16="http://schemas.microsoft.com/office/drawing/2014/main" id="{84B73EEC-D855-4018-9BBE-CB612628E494}"/>
                </a:ext>
              </a:extLst>
            </p:cNvPr>
            <p:cNvSpPr/>
            <p:nvPr/>
          </p:nvSpPr>
          <p:spPr>
            <a:xfrm>
              <a:off x="9637910" y="4553842"/>
              <a:ext cx="80671" cy="152378"/>
            </a:xfrm>
            <a:custGeom>
              <a:avLst/>
              <a:gdLst>
                <a:gd name="connsiteX0" fmla="*/ 79326 w 80670"/>
                <a:gd name="connsiteY0" fmla="*/ 147896 h 152377"/>
                <a:gd name="connsiteX1" fmla="*/ 4033 w 80670"/>
                <a:gd name="connsiteY1" fmla="*/ 76637 h 152377"/>
                <a:gd name="connsiteX2" fmla="*/ 26890 w 80670"/>
                <a:gd name="connsiteY2" fmla="*/ 25546 h 152377"/>
                <a:gd name="connsiteX3" fmla="*/ 46161 w 80670"/>
                <a:gd name="connsiteY3" fmla="*/ 8067 h 152377"/>
                <a:gd name="connsiteX4" fmla="*/ 46161 w 80670"/>
                <a:gd name="connsiteY4" fmla="*/ 37198 h 152377"/>
                <a:gd name="connsiteX5" fmla="*/ 48402 w 80670"/>
                <a:gd name="connsiteY5" fmla="*/ 39439 h 152377"/>
                <a:gd name="connsiteX6" fmla="*/ 50643 w 80670"/>
                <a:gd name="connsiteY6" fmla="*/ 37198 h 152377"/>
                <a:gd name="connsiteX7" fmla="*/ 50643 w 80670"/>
                <a:gd name="connsiteY7" fmla="*/ 2241 h 152377"/>
                <a:gd name="connsiteX8" fmla="*/ 48402 w 80670"/>
                <a:gd name="connsiteY8" fmla="*/ 0 h 152377"/>
                <a:gd name="connsiteX9" fmla="*/ 11652 w 80670"/>
                <a:gd name="connsiteY9" fmla="*/ 0 h 152377"/>
                <a:gd name="connsiteX10" fmla="*/ 9411 w 80670"/>
                <a:gd name="connsiteY10" fmla="*/ 2241 h 152377"/>
                <a:gd name="connsiteX11" fmla="*/ 11652 w 80670"/>
                <a:gd name="connsiteY11" fmla="*/ 4482 h 152377"/>
                <a:gd name="connsiteX12" fmla="*/ 43921 w 80670"/>
                <a:gd name="connsiteY12" fmla="*/ 4482 h 152377"/>
                <a:gd name="connsiteX13" fmla="*/ 24201 w 80670"/>
                <a:gd name="connsiteY13" fmla="*/ 22409 h 152377"/>
                <a:gd name="connsiteX14" fmla="*/ 0 w 80670"/>
                <a:gd name="connsiteY14" fmla="*/ 76637 h 152377"/>
                <a:gd name="connsiteX15" fmla="*/ 79774 w 80670"/>
                <a:gd name="connsiteY15" fmla="*/ 152378 h 152377"/>
                <a:gd name="connsiteX16" fmla="*/ 82015 w 80670"/>
                <a:gd name="connsiteY16" fmla="*/ 150137 h 152377"/>
                <a:gd name="connsiteX17" fmla="*/ 79326 w 80670"/>
                <a:gd name="connsiteY17"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670" h="152377">
                  <a:moveTo>
                    <a:pt x="79326" y="147896"/>
                  </a:moveTo>
                  <a:cubicBezTo>
                    <a:pt x="37646" y="147896"/>
                    <a:pt x="4033" y="116076"/>
                    <a:pt x="4033" y="76637"/>
                  </a:cubicBezTo>
                  <a:cubicBezTo>
                    <a:pt x="4033" y="57366"/>
                    <a:pt x="12101" y="38991"/>
                    <a:pt x="26890" y="25546"/>
                  </a:cubicBezTo>
                  <a:lnTo>
                    <a:pt x="46161" y="8067"/>
                  </a:lnTo>
                  <a:lnTo>
                    <a:pt x="46161" y="37198"/>
                  </a:lnTo>
                  <a:cubicBezTo>
                    <a:pt x="46161" y="38543"/>
                    <a:pt x="47058" y="39439"/>
                    <a:pt x="48402" y="39439"/>
                  </a:cubicBezTo>
                  <a:cubicBezTo>
                    <a:pt x="49747" y="39439"/>
                    <a:pt x="50643" y="38543"/>
                    <a:pt x="50643" y="37198"/>
                  </a:cubicBezTo>
                  <a:lnTo>
                    <a:pt x="50643" y="2241"/>
                  </a:lnTo>
                  <a:cubicBezTo>
                    <a:pt x="50643" y="896"/>
                    <a:pt x="49747" y="0"/>
                    <a:pt x="48402" y="0"/>
                  </a:cubicBezTo>
                  <a:lnTo>
                    <a:pt x="11652" y="0"/>
                  </a:lnTo>
                  <a:cubicBezTo>
                    <a:pt x="10308" y="0"/>
                    <a:pt x="9411" y="896"/>
                    <a:pt x="9411" y="2241"/>
                  </a:cubicBezTo>
                  <a:cubicBezTo>
                    <a:pt x="9411" y="3585"/>
                    <a:pt x="10308" y="4482"/>
                    <a:pt x="11652" y="4482"/>
                  </a:cubicBezTo>
                  <a:lnTo>
                    <a:pt x="43921" y="4482"/>
                  </a:lnTo>
                  <a:lnTo>
                    <a:pt x="24201" y="22409"/>
                  </a:lnTo>
                  <a:cubicBezTo>
                    <a:pt x="8515" y="36750"/>
                    <a:pt x="0" y="56021"/>
                    <a:pt x="0" y="76637"/>
                  </a:cubicBezTo>
                  <a:cubicBezTo>
                    <a:pt x="0" y="118317"/>
                    <a:pt x="35854" y="152378"/>
                    <a:pt x="79774" y="152378"/>
                  </a:cubicBezTo>
                  <a:cubicBezTo>
                    <a:pt x="81119" y="152378"/>
                    <a:pt x="82015" y="151482"/>
                    <a:pt x="82015" y="150137"/>
                  </a:cubicBezTo>
                  <a:cubicBezTo>
                    <a:pt x="81567" y="149241"/>
                    <a:pt x="80671" y="147896"/>
                    <a:pt x="79326" y="147896"/>
                  </a:cubicBezTo>
                  <a:close/>
                </a:path>
              </a:pathLst>
            </a:custGeom>
            <a:solidFill>
              <a:srgbClr val="231F20"/>
            </a:solidFill>
            <a:ln w="4477" cap="flat">
              <a:noFill/>
              <a:prstDash val="solid"/>
              <a:miter/>
            </a:ln>
          </p:spPr>
          <p:txBody>
            <a:bodyPr rtlCol="0" anchor="ctr"/>
            <a:lstStyle/>
            <a:p>
              <a:endParaRPr lang="en-US"/>
            </a:p>
          </p:txBody>
        </p:sp>
        <p:sp>
          <p:nvSpPr>
            <p:cNvPr id="3658" name="Freeform: Shape 3657">
              <a:extLst>
                <a:ext uri="{FF2B5EF4-FFF2-40B4-BE49-F238E27FC236}">
                  <a16:creationId xmlns:a16="http://schemas.microsoft.com/office/drawing/2014/main" id="{E078E81A-9D4D-4BC1-89F0-DCE61D07F6BF}"/>
                </a:ext>
              </a:extLst>
            </p:cNvPr>
            <p:cNvSpPr/>
            <p:nvPr/>
          </p:nvSpPr>
          <p:spPr>
            <a:xfrm>
              <a:off x="9714996" y="4553394"/>
              <a:ext cx="71707" cy="152378"/>
            </a:xfrm>
            <a:custGeom>
              <a:avLst/>
              <a:gdLst>
                <a:gd name="connsiteX0" fmla="*/ 64985 w 71707"/>
                <a:gd name="connsiteY0" fmla="*/ 148345 h 152377"/>
                <a:gd name="connsiteX1" fmla="*/ 31820 w 71707"/>
                <a:gd name="connsiteY1" fmla="*/ 148345 h 152377"/>
                <a:gd name="connsiteX2" fmla="*/ 52884 w 71707"/>
                <a:gd name="connsiteY2" fmla="*/ 127729 h 152377"/>
                <a:gd name="connsiteX3" fmla="*/ 74844 w 71707"/>
                <a:gd name="connsiteY3" fmla="*/ 74396 h 152377"/>
                <a:gd name="connsiteX4" fmla="*/ 2241 w 71707"/>
                <a:gd name="connsiteY4" fmla="*/ 0 h 152377"/>
                <a:gd name="connsiteX5" fmla="*/ 0 w 71707"/>
                <a:gd name="connsiteY5" fmla="*/ 2241 h 152377"/>
                <a:gd name="connsiteX6" fmla="*/ 2241 w 71707"/>
                <a:gd name="connsiteY6" fmla="*/ 4482 h 152377"/>
                <a:gd name="connsiteX7" fmla="*/ 70363 w 71707"/>
                <a:gd name="connsiteY7" fmla="*/ 74396 h 152377"/>
                <a:gd name="connsiteX8" fmla="*/ 49747 w 71707"/>
                <a:gd name="connsiteY8" fmla="*/ 124592 h 152377"/>
                <a:gd name="connsiteX9" fmla="*/ 30476 w 71707"/>
                <a:gd name="connsiteY9" fmla="*/ 143415 h 152377"/>
                <a:gd name="connsiteX10" fmla="*/ 30476 w 71707"/>
                <a:gd name="connsiteY10" fmla="*/ 114732 h 152377"/>
                <a:gd name="connsiteX11" fmla="*/ 28235 w 71707"/>
                <a:gd name="connsiteY11" fmla="*/ 112491 h 152377"/>
                <a:gd name="connsiteX12" fmla="*/ 25994 w 71707"/>
                <a:gd name="connsiteY12" fmla="*/ 114732 h 152377"/>
                <a:gd name="connsiteX13" fmla="*/ 25994 w 71707"/>
                <a:gd name="connsiteY13" fmla="*/ 150585 h 152377"/>
                <a:gd name="connsiteX14" fmla="*/ 28235 w 71707"/>
                <a:gd name="connsiteY14" fmla="*/ 152826 h 152377"/>
                <a:gd name="connsiteX15" fmla="*/ 64985 w 71707"/>
                <a:gd name="connsiteY15" fmla="*/ 152826 h 152377"/>
                <a:gd name="connsiteX16" fmla="*/ 67226 w 71707"/>
                <a:gd name="connsiteY16" fmla="*/ 150585 h 152377"/>
                <a:gd name="connsiteX17" fmla="*/ 64985 w 71707"/>
                <a:gd name="connsiteY17" fmla="*/ 14834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707" h="152377">
                  <a:moveTo>
                    <a:pt x="64985" y="148345"/>
                  </a:moveTo>
                  <a:lnTo>
                    <a:pt x="31820" y="148345"/>
                  </a:lnTo>
                  <a:lnTo>
                    <a:pt x="52884" y="127729"/>
                  </a:lnTo>
                  <a:cubicBezTo>
                    <a:pt x="67226" y="113835"/>
                    <a:pt x="74844" y="94564"/>
                    <a:pt x="74844" y="74396"/>
                  </a:cubicBezTo>
                  <a:cubicBezTo>
                    <a:pt x="74844" y="33613"/>
                    <a:pt x="42576" y="0"/>
                    <a:pt x="2241" y="0"/>
                  </a:cubicBezTo>
                  <a:cubicBezTo>
                    <a:pt x="896" y="0"/>
                    <a:pt x="0" y="896"/>
                    <a:pt x="0" y="2241"/>
                  </a:cubicBezTo>
                  <a:cubicBezTo>
                    <a:pt x="0" y="3586"/>
                    <a:pt x="896" y="4482"/>
                    <a:pt x="2241" y="4482"/>
                  </a:cubicBezTo>
                  <a:cubicBezTo>
                    <a:pt x="39887" y="4482"/>
                    <a:pt x="70363" y="35854"/>
                    <a:pt x="70363" y="74396"/>
                  </a:cubicBezTo>
                  <a:cubicBezTo>
                    <a:pt x="70363" y="93220"/>
                    <a:pt x="63192" y="111146"/>
                    <a:pt x="49747" y="124592"/>
                  </a:cubicBezTo>
                  <a:lnTo>
                    <a:pt x="30476" y="143415"/>
                  </a:lnTo>
                  <a:lnTo>
                    <a:pt x="30476" y="114732"/>
                  </a:lnTo>
                  <a:cubicBezTo>
                    <a:pt x="30476" y="113387"/>
                    <a:pt x="29579" y="112491"/>
                    <a:pt x="28235" y="112491"/>
                  </a:cubicBezTo>
                  <a:cubicBezTo>
                    <a:pt x="26890" y="112491"/>
                    <a:pt x="25994" y="113387"/>
                    <a:pt x="25994" y="114732"/>
                  </a:cubicBezTo>
                  <a:lnTo>
                    <a:pt x="25994" y="150585"/>
                  </a:lnTo>
                  <a:cubicBezTo>
                    <a:pt x="25994" y="151930"/>
                    <a:pt x="26890" y="152826"/>
                    <a:pt x="28235" y="152826"/>
                  </a:cubicBezTo>
                  <a:lnTo>
                    <a:pt x="64985" y="152826"/>
                  </a:lnTo>
                  <a:cubicBezTo>
                    <a:pt x="66329" y="152826"/>
                    <a:pt x="67226" y="151930"/>
                    <a:pt x="67226" y="150585"/>
                  </a:cubicBezTo>
                  <a:cubicBezTo>
                    <a:pt x="67226" y="149689"/>
                    <a:pt x="66329" y="148345"/>
                    <a:pt x="64985" y="148345"/>
                  </a:cubicBezTo>
                  <a:close/>
                </a:path>
              </a:pathLst>
            </a:custGeom>
            <a:solidFill>
              <a:srgbClr val="231F20"/>
            </a:solidFill>
            <a:ln w="4477" cap="flat">
              <a:noFill/>
              <a:prstDash val="solid"/>
              <a:miter/>
            </a:ln>
          </p:spPr>
          <p:txBody>
            <a:bodyPr rtlCol="0" anchor="ctr"/>
            <a:lstStyle/>
            <a:p>
              <a:endParaRPr lang="en-US"/>
            </a:p>
          </p:txBody>
        </p:sp>
        <p:sp>
          <p:nvSpPr>
            <p:cNvPr id="3659" name="Freeform: Shape 3658">
              <a:extLst>
                <a:ext uri="{FF2B5EF4-FFF2-40B4-BE49-F238E27FC236}">
                  <a16:creationId xmlns:a16="http://schemas.microsoft.com/office/drawing/2014/main" id="{1E692C1B-D333-4866-B81F-A0F6114C7275}"/>
                </a:ext>
              </a:extLst>
            </p:cNvPr>
            <p:cNvSpPr/>
            <p:nvPr/>
          </p:nvSpPr>
          <p:spPr>
            <a:xfrm>
              <a:off x="9684744" y="4609191"/>
              <a:ext cx="53780" cy="35854"/>
            </a:xfrm>
            <a:custGeom>
              <a:avLst/>
              <a:gdLst>
                <a:gd name="connsiteX0" fmla="*/ 672 w 53780"/>
                <a:gd name="connsiteY0" fmla="*/ 17703 h 35853"/>
                <a:gd name="connsiteX1" fmla="*/ 672 w 53780"/>
                <a:gd name="connsiteY1" fmla="*/ 20840 h 35853"/>
                <a:gd name="connsiteX2" fmla="*/ 18599 w 53780"/>
                <a:gd name="connsiteY2" fmla="*/ 38767 h 35853"/>
                <a:gd name="connsiteX3" fmla="*/ 20392 w 53780"/>
                <a:gd name="connsiteY3" fmla="*/ 39215 h 35853"/>
                <a:gd name="connsiteX4" fmla="*/ 22184 w 53780"/>
                <a:gd name="connsiteY4" fmla="*/ 38767 h 35853"/>
                <a:gd name="connsiteX5" fmla="*/ 57142 w 53780"/>
                <a:gd name="connsiteY5" fmla="*/ 3810 h 35853"/>
                <a:gd name="connsiteX6" fmla="*/ 57142 w 53780"/>
                <a:gd name="connsiteY6" fmla="*/ 672 h 35853"/>
                <a:gd name="connsiteX7" fmla="*/ 54005 w 53780"/>
                <a:gd name="connsiteY7" fmla="*/ 672 h 35853"/>
                <a:gd name="connsiteX8" fmla="*/ 20392 w 53780"/>
                <a:gd name="connsiteY8" fmla="*/ 34285 h 35853"/>
                <a:gd name="connsiteX9" fmla="*/ 4258 w 53780"/>
                <a:gd name="connsiteY9" fmla="*/ 18151 h 35853"/>
                <a:gd name="connsiteX10" fmla="*/ 672 w 53780"/>
                <a:gd name="connsiteY10" fmla="*/ 1770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80" h="35853">
                  <a:moveTo>
                    <a:pt x="672" y="17703"/>
                  </a:moveTo>
                  <a:cubicBezTo>
                    <a:pt x="-224" y="18599"/>
                    <a:pt x="-224" y="19944"/>
                    <a:pt x="672" y="20840"/>
                  </a:cubicBezTo>
                  <a:lnTo>
                    <a:pt x="18599" y="38767"/>
                  </a:lnTo>
                  <a:cubicBezTo>
                    <a:pt x="19047" y="39215"/>
                    <a:pt x="19495" y="39215"/>
                    <a:pt x="20392" y="39215"/>
                  </a:cubicBezTo>
                  <a:cubicBezTo>
                    <a:pt x="20840" y="39215"/>
                    <a:pt x="21736" y="38767"/>
                    <a:pt x="22184" y="38767"/>
                  </a:cubicBezTo>
                  <a:lnTo>
                    <a:pt x="57142" y="3810"/>
                  </a:lnTo>
                  <a:cubicBezTo>
                    <a:pt x="58038" y="2913"/>
                    <a:pt x="58038" y="1569"/>
                    <a:pt x="57142" y="672"/>
                  </a:cubicBezTo>
                  <a:cubicBezTo>
                    <a:pt x="56246" y="-224"/>
                    <a:pt x="54901" y="-224"/>
                    <a:pt x="54005" y="672"/>
                  </a:cubicBezTo>
                  <a:lnTo>
                    <a:pt x="20392" y="34285"/>
                  </a:lnTo>
                  <a:lnTo>
                    <a:pt x="4258" y="18151"/>
                  </a:lnTo>
                  <a:cubicBezTo>
                    <a:pt x="2913" y="16806"/>
                    <a:pt x="1569" y="16806"/>
                    <a:pt x="672" y="17703"/>
                  </a:cubicBezTo>
                  <a:close/>
                </a:path>
              </a:pathLst>
            </a:custGeom>
            <a:solidFill>
              <a:srgbClr val="231F20"/>
            </a:solidFill>
            <a:ln w="4477" cap="flat">
              <a:noFill/>
              <a:prstDash val="solid"/>
              <a:miter/>
            </a:ln>
          </p:spPr>
          <p:txBody>
            <a:bodyPr rtlCol="0" anchor="ctr"/>
            <a:lstStyle/>
            <a:p>
              <a:endParaRPr lang="en-US"/>
            </a:p>
          </p:txBody>
        </p:sp>
      </p:grpSp>
      <p:grpSp>
        <p:nvGrpSpPr>
          <p:cNvPr id="3660" name="Group 3659">
            <a:extLst>
              <a:ext uri="{FF2B5EF4-FFF2-40B4-BE49-F238E27FC236}">
                <a16:creationId xmlns:a16="http://schemas.microsoft.com/office/drawing/2014/main" id="{A4B51A24-58AA-4BBF-B319-97BBE4B37744}"/>
              </a:ext>
              <a:ext uri="{C183D7F6-B498-43B3-948B-1728B52AA6E4}">
                <adec:decorative xmlns:adec="http://schemas.microsoft.com/office/drawing/2017/decorative" val="1"/>
              </a:ext>
            </a:extLst>
          </p:cNvPr>
          <p:cNvGrpSpPr>
            <a:grpSpLocks noChangeAspect="1"/>
          </p:cNvGrpSpPr>
          <p:nvPr/>
        </p:nvGrpSpPr>
        <p:grpSpPr>
          <a:xfrm>
            <a:off x="4006083" y="1707306"/>
            <a:ext cx="152602" cy="150585"/>
            <a:chOff x="9907709" y="4553842"/>
            <a:chExt cx="152602" cy="150585"/>
          </a:xfrm>
        </p:grpSpPr>
        <p:sp>
          <p:nvSpPr>
            <p:cNvPr id="3661" name="Freeform: Shape 3660">
              <a:extLst>
                <a:ext uri="{FF2B5EF4-FFF2-40B4-BE49-F238E27FC236}">
                  <a16:creationId xmlns:a16="http://schemas.microsoft.com/office/drawing/2014/main" id="{3CE99178-E7D5-4C45-8A0E-75CB3575260B}"/>
                </a:ext>
              </a:extLst>
            </p:cNvPr>
            <p:cNvSpPr/>
            <p:nvPr/>
          </p:nvSpPr>
          <p:spPr>
            <a:xfrm>
              <a:off x="9907709" y="4561013"/>
              <a:ext cx="143414" cy="143414"/>
            </a:xfrm>
            <a:custGeom>
              <a:avLst/>
              <a:gdLst>
                <a:gd name="connsiteX0" fmla="*/ 143863 w 143414"/>
                <a:gd name="connsiteY0" fmla="*/ 51988 h 143414"/>
                <a:gd name="connsiteX1" fmla="*/ 141622 w 143414"/>
                <a:gd name="connsiteY1" fmla="*/ 54229 h 143414"/>
                <a:gd name="connsiteX2" fmla="*/ 141622 w 143414"/>
                <a:gd name="connsiteY2" fmla="*/ 131762 h 143414"/>
                <a:gd name="connsiteX3" fmla="*/ 132658 w 143414"/>
                <a:gd name="connsiteY3" fmla="*/ 140726 h 143414"/>
                <a:gd name="connsiteX4" fmla="*/ 13445 w 143414"/>
                <a:gd name="connsiteY4" fmla="*/ 140726 h 143414"/>
                <a:gd name="connsiteX5" fmla="*/ 4482 w 143414"/>
                <a:gd name="connsiteY5" fmla="*/ 131762 h 143414"/>
                <a:gd name="connsiteX6" fmla="*/ 4482 w 143414"/>
                <a:gd name="connsiteY6" fmla="*/ 13445 h 143414"/>
                <a:gd name="connsiteX7" fmla="*/ 13445 w 143414"/>
                <a:gd name="connsiteY7" fmla="*/ 4482 h 143414"/>
                <a:gd name="connsiteX8" fmla="*/ 91875 w 143414"/>
                <a:gd name="connsiteY8" fmla="*/ 4482 h 143414"/>
                <a:gd name="connsiteX9" fmla="*/ 94116 w 143414"/>
                <a:gd name="connsiteY9" fmla="*/ 2241 h 143414"/>
                <a:gd name="connsiteX10" fmla="*/ 91875 w 143414"/>
                <a:gd name="connsiteY10" fmla="*/ 0 h 143414"/>
                <a:gd name="connsiteX11" fmla="*/ 13445 w 143414"/>
                <a:gd name="connsiteY11" fmla="*/ 0 h 143414"/>
                <a:gd name="connsiteX12" fmla="*/ 0 w 143414"/>
                <a:gd name="connsiteY12" fmla="*/ 13445 h 143414"/>
                <a:gd name="connsiteX13" fmla="*/ 0 w 143414"/>
                <a:gd name="connsiteY13" fmla="*/ 131762 h 143414"/>
                <a:gd name="connsiteX14" fmla="*/ 13445 w 143414"/>
                <a:gd name="connsiteY14" fmla="*/ 145207 h 143414"/>
                <a:gd name="connsiteX15" fmla="*/ 132658 w 143414"/>
                <a:gd name="connsiteY15" fmla="*/ 145207 h 143414"/>
                <a:gd name="connsiteX16" fmla="*/ 146103 w 143414"/>
                <a:gd name="connsiteY16" fmla="*/ 131762 h 143414"/>
                <a:gd name="connsiteX17" fmla="*/ 146103 w 143414"/>
                <a:gd name="connsiteY17" fmla="*/ 54229 h 143414"/>
                <a:gd name="connsiteX18" fmla="*/ 143863 w 143414"/>
                <a:gd name="connsiteY18" fmla="*/ 5198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3414" h="143414">
                  <a:moveTo>
                    <a:pt x="143863" y="51988"/>
                  </a:moveTo>
                  <a:cubicBezTo>
                    <a:pt x="142518" y="51988"/>
                    <a:pt x="141622" y="52884"/>
                    <a:pt x="141622" y="54229"/>
                  </a:cubicBezTo>
                  <a:lnTo>
                    <a:pt x="141622" y="131762"/>
                  </a:lnTo>
                  <a:cubicBezTo>
                    <a:pt x="141622" y="136692"/>
                    <a:pt x="137588" y="140726"/>
                    <a:pt x="132658" y="140726"/>
                  </a:cubicBezTo>
                  <a:lnTo>
                    <a:pt x="13445" y="140726"/>
                  </a:lnTo>
                  <a:cubicBezTo>
                    <a:pt x="8515" y="140726"/>
                    <a:pt x="4482" y="136692"/>
                    <a:pt x="4482" y="131762"/>
                  </a:cubicBezTo>
                  <a:lnTo>
                    <a:pt x="4482" y="13445"/>
                  </a:lnTo>
                  <a:cubicBezTo>
                    <a:pt x="4482" y="8515"/>
                    <a:pt x="8515" y="4482"/>
                    <a:pt x="13445" y="4482"/>
                  </a:cubicBezTo>
                  <a:lnTo>
                    <a:pt x="91875" y="4482"/>
                  </a:lnTo>
                  <a:cubicBezTo>
                    <a:pt x="93219" y="4482"/>
                    <a:pt x="94116" y="3585"/>
                    <a:pt x="94116" y="2241"/>
                  </a:cubicBezTo>
                  <a:cubicBezTo>
                    <a:pt x="94116" y="896"/>
                    <a:pt x="93219" y="0"/>
                    <a:pt x="91875" y="0"/>
                  </a:cubicBezTo>
                  <a:lnTo>
                    <a:pt x="13445" y="0"/>
                  </a:lnTo>
                  <a:cubicBezTo>
                    <a:pt x="5826" y="0"/>
                    <a:pt x="0" y="5826"/>
                    <a:pt x="0" y="13445"/>
                  </a:cubicBezTo>
                  <a:lnTo>
                    <a:pt x="0" y="131762"/>
                  </a:lnTo>
                  <a:cubicBezTo>
                    <a:pt x="0" y="138933"/>
                    <a:pt x="5826" y="145207"/>
                    <a:pt x="13445" y="145207"/>
                  </a:cubicBezTo>
                  <a:lnTo>
                    <a:pt x="132658" y="145207"/>
                  </a:lnTo>
                  <a:cubicBezTo>
                    <a:pt x="140277" y="145207"/>
                    <a:pt x="146103" y="139381"/>
                    <a:pt x="146103" y="131762"/>
                  </a:cubicBezTo>
                  <a:lnTo>
                    <a:pt x="146103" y="54229"/>
                  </a:lnTo>
                  <a:cubicBezTo>
                    <a:pt x="146103" y="52884"/>
                    <a:pt x="145207" y="51988"/>
                    <a:pt x="143863" y="51988"/>
                  </a:cubicBezTo>
                  <a:close/>
                </a:path>
              </a:pathLst>
            </a:custGeom>
            <a:solidFill>
              <a:srgbClr val="231F20"/>
            </a:solidFill>
            <a:ln w="4477" cap="flat">
              <a:noFill/>
              <a:prstDash val="solid"/>
              <a:miter/>
            </a:ln>
          </p:spPr>
          <p:txBody>
            <a:bodyPr rtlCol="0" anchor="ctr"/>
            <a:lstStyle/>
            <a:p>
              <a:endParaRPr lang="en-US"/>
            </a:p>
          </p:txBody>
        </p:sp>
        <p:sp>
          <p:nvSpPr>
            <p:cNvPr id="3662" name="Freeform: Shape 3661">
              <a:extLst>
                <a:ext uri="{FF2B5EF4-FFF2-40B4-BE49-F238E27FC236}">
                  <a16:creationId xmlns:a16="http://schemas.microsoft.com/office/drawing/2014/main" id="{05714DB4-4C5C-45B5-9D2E-5A7FB2E7A811}"/>
                </a:ext>
              </a:extLst>
            </p:cNvPr>
            <p:cNvSpPr/>
            <p:nvPr/>
          </p:nvSpPr>
          <p:spPr>
            <a:xfrm>
              <a:off x="9988604" y="4553842"/>
              <a:ext cx="71707" cy="67226"/>
            </a:xfrm>
            <a:custGeom>
              <a:avLst/>
              <a:gdLst>
                <a:gd name="connsiteX0" fmla="*/ 69242 w 71707"/>
                <a:gd name="connsiteY0" fmla="*/ 0 h 67225"/>
                <a:gd name="connsiteX1" fmla="*/ 28907 w 71707"/>
                <a:gd name="connsiteY1" fmla="*/ 0 h 67225"/>
                <a:gd name="connsiteX2" fmla="*/ 26666 w 71707"/>
                <a:gd name="connsiteY2" fmla="*/ 2241 h 67225"/>
                <a:gd name="connsiteX3" fmla="*/ 28907 w 71707"/>
                <a:gd name="connsiteY3" fmla="*/ 4482 h 67225"/>
                <a:gd name="connsiteX4" fmla="*/ 63864 w 71707"/>
                <a:gd name="connsiteY4" fmla="*/ 4482 h 67225"/>
                <a:gd name="connsiteX5" fmla="*/ 672 w 71707"/>
                <a:gd name="connsiteY5" fmla="*/ 67226 h 67225"/>
                <a:gd name="connsiteX6" fmla="*/ 672 w 71707"/>
                <a:gd name="connsiteY6" fmla="*/ 70363 h 67225"/>
                <a:gd name="connsiteX7" fmla="*/ 2465 w 71707"/>
                <a:gd name="connsiteY7" fmla="*/ 70811 h 67225"/>
                <a:gd name="connsiteX8" fmla="*/ 4258 w 71707"/>
                <a:gd name="connsiteY8" fmla="*/ 70363 h 67225"/>
                <a:gd name="connsiteX9" fmla="*/ 67450 w 71707"/>
                <a:gd name="connsiteY9" fmla="*/ 7619 h 67225"/>
                <a:gd name="connsiteX10" fmla="*/ 67450 w 71707"/>
                <a:gd name="connsiteY10" fmla="*/ 42576 h 67225"/>
                <a:gd name="connsiteX11" fmla="*/ 69690 w 71707"/>
                <a:gd name="connsiteY11" fmla="*/ 44817 h 67225"/>
                <a:gd name="connsiteX12" fmla="*/ 71931 w 71707"/>
                <a:gd name="connsiteY12" fmla="*/ 42576 h 67225"/>
                <a:gd name="connsiteX13" fmla="*/ 71931 w 71707"/>
                <a:gd name="connsiteY13" fmla="*/ 2241 h 67225"/>
                <a:gd name="connsiteX14" fmla="*/ 69242 w 71707"/>
                <a:gd name="connsiteY14" fmla="*/ 0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707" h="67225">
                  <a:moveTo>
                    <a:pt x="69242" y="0"/>
                  </a:moveTo>
                  <a:lnTo>
                    <a:pt x="28907" y="0"/>
                  </a:lnTo>
                  <a:cubicBezTo>
                    <a:pt x="27562" y="0"/>
                    <a:pt x="26666" y="896"/>
                    <a:pt x="26666" y="2241"/>
                  </a:cubicBezTo>
                  <a:cubicBezTo>
                    <a:pt x="26666" y="3585"/>
                    <a:pt x="27562" y="4482"/>
                    <a:pt x="28907" y="4482"/>
                  </a:cubicBezTo>
                  <a:lnTo>
                    <a:pt x="63864" y="4482"/>
                  </a:lnTo>
                  <a:lnTo>
                    <a:pt x="672" y="67226"/>
                  </a:lnTo>
                  <a:cubicBezTo>
                    <a:pt x="-224" y="68122"/>
                    <a:pt x="-224" y="69466"/>
                    <a:pt x="672" y="70363"/>
                  </a:cubicBezTo>
                  <a:cubicBezTo>
                    <a:pt x="1120" y="70811"/>
                    <a:pt x="1568" y="70811"/>
                    <a:pt x="2465" y="70811"/>
                  </a:cubicBezTo>
                  <a:cubicBezTo>
                    <a:pt x="2913" y="70811"/>
                    <a:pt x="3809" y="70811"/>
                    <a:pt x="4258" y="70363"/>
                  </a:cubicBezTo>
                  <a:lnTo>
                    <a:pt x="67450" y="7619"/>
                  </a:lnTo>
                  <a:lnTo>
                    <a:pt x="67450" y="42576"/>
                  </a:lnTo>
                  <a:cubicBezTo>
                    <a:pt x="67450" y="43921"/>
                    <a:pt x="68346" y="44817"/>
                    <a:pt x="69690" y="44817"/>
                  </a:cubicBezTo>
                  <a:cubicBezTo>
                    <a:pt x="71035" y="44817"/>
                    <a:pt x="71931" y="43921"/>
                    <a:pt x="71931" y="42576"/>
                  </a:cubicBezTo>
                  <a:lnTo>
                    <a:pt x="71931" y="2241"/>
                  </a:lnTo>
                  <a:cubicBezTo>
                    <a:pt x="71483" y="1344"/>
                    <a:pt x="70587" y="0"/>
                    <a:pt x="69242" y="0"/>
                  </a:cubicBezTo>
                  <a:close/>
                </a:path>
              </a:pathLst>
            </a:custGeom>
            <a:solidFill>
              <a:srgbClr val="231F20"/>
            </a:solidFill>
            <a:ln w="4477" cap="flat">
              <a:noFill/>
              <a:prstDash val="solid"/>
              <a:miter/>
            </a:ln>
          </p:spPr>
          <p:txBody>
            <a:bodyPr rtlCol="0" anchor="ctr"/>
            <a:lstStyle/>
            <a:p>
              <a:endParaRPr lang="en-US"/>
            </a:p>
          </p:txBody>
        </p:sp>
      </p:grpSp>
      <p:grpSp>
        <p:nvGrpSpPr>
          <p:cNvPr id="3663" name="Group 3662">
            <a:extLst>
              <a:ext uri="{FF2B5EF4-FFF2-40B4-BE49-F238E27FC236}">
                <a16:creationId xmlns:a16="http://schemas.microsoft.com/office/drawing/2014/main" id="{1BAAE9A0-ED2C-4F56-8934-EEE9FC8A8DE2}"/>
              </a:ext>
              <a:ext uri="{C183D7F6-B498-43B3-948B-1728B52AA6E4}">
                <adec:decorative xmlns:adec="http://schemas.microsoft.com/office/drawing/2017/decorative" val="1"/>
              </a:ext>
            </a:extLst>
          </p:cNvPr>
          <p:cNvGrpSpPr>
            <a:grpSpLocks noChangeAspect="1"/>
          </p:cNvGrpSpPr>
          <p:nvPr/>
        </p:nvGrpSpPr>
        <p:grpSpPr>
          <a:xfrm>
            <a:off x="4536716" y="1720751"/>
            <a:ext cx="147896" cy="130194"/>
            <a:chOff x="10438342" y="4567287"/>
            <a:chExt cx="147896" cy="130194"/>
          </a:xfrm>
        </p:grpSpPr>
        <p:sp>
          <p:nvSpPr>
            <p:cNvPr id="3664" name="Freeform: Shape 3663">
              <a:extLst>
                <a:ext uri="{FF2B5EF4-FFF2-40B4-BE49-F238E27FC236}">
                  <a16:creationId xmlns:a16="http://schemas.microsoft.com/office/drawing/2014/main" id="{0AB78D78-8A78-4A2D-B6A3-21EA269A1316}"/>
                </a:ext>
              </a:extLst>
            </p:cNvPr>
            <p:cNvSpPr/>
            <p:nvPr/>
          </p:nvSpPr>
          <p:spPr>
            <a:xfrm>
              <a:off x="10438342" y="4567287"/>
              <a:ext cx="147896" cy="94116"/>
            </a:xfrm>
            <a:custGeom>
              <a:avLst/>
              <a:gdLst>
                <a:gd name="connsiteX0" fmla="*/ 135796 w 147896"/>
                <a:gd name="connsiteY0" fmla="*/ 0 h 94115"/>
                <a:gd name="connsiteX1" fmla="*/ 16134 w 147896"/>
                <a:gd name="connsiteY1" fmla="*/ 0 h 94115"/>
                <a:gd name="connsiteX2" fmla="*/ 0 w 147896"/>
                <a:gd name="connsiteY2" fmla="*/ 16134 h 94115"/>
                <a:gd name="connsiteX3" fmla="*/ 0 w 147896"/>
                <a:gd name="connsiteY3" fmla="*/ 79774 h 94115"/>
                <a:gd name="connsiteX4" fmla="*/ 16134 w 147896"/>
                <a:gd name="connsiteY4" fmla="*/ 95908 h 94115"/>
                <a:gd name="connsiteX5" fmla="*/ 47954 w 147896"/>
                <a:gd name="connsiteY5" fmla="*/ 95908 h 94115"/>
                <a:gd name="connsiteX6" fmla="*/ 50195 w 147896"/>
                <a:gd name="connsiteY6" fmla="*/ 93667 h 94115"/>
                <a:gd name="connsiteX7" fmla="*/ 47954 w 147896"/>
                <a:gd name="connsiteY7" fmla="*/ 91427 h 94115"/>
                <a:gd name="connsiteX8" fmla="*/ 16134 w 147896"/>
                <a:gd name="connsiteY8" fmla="*/ 91427 h 94115"/>
                <a:gd name="connsiteX9" fmla="*/ 4482 w 147896"/>
                <a:gd name="connsiteY9" fmla="*/ 79774 h 94115"/>
                <a:gd name="connsiteX10" fmla="*/ 4482 w 147896"/>
                <a:gd name="connsiteY10" fmla="*/ 16582 h 94115"/>
                <a:gd name="connsiteX11" fmla="*/ 16134 w 147896"/>
                <a:gd name="connsiteY11" fmla="*/ 4930 h 94115"/>
                <a:gd name="connsiteX12" fmla="*/ 135796 w 147896"/>
                <a:gd name="connsiteY12" fmla="*/ 4930 h 94115"/>
                <a:gd name="connsiteX13" fmla="*/ 147448 w 147896"/>
                <a:gd name="connsiteY13" fmla="*/ 16582 h 94115"/>
                <a:gd name="connsiteX14" fmla="*/ 147448 w 147896"/>
                <a:gd name="connsiteY14" fmla="*/ 79774 h 94115"/>
                <a:gd name="connsiteX15" fmla="*/ 135796 w 147896"/>
                <a:gd name="connsiteY15" fmla="*/ 91427 h 94115"/>
                <a:gd name="connsiteX16" fmla="*/ 103976 w 147896"/>
                <a:gd name="connsiteY16" fmla="*/ 91427 h 94115"/>
                <a:gd name="connsiteX17" fmla="*/ 101735 w 147896"/>
                <a:gd name="connsiteY17" fmla="*/ 93667 h 94115"/>
                <a:gd name="connsiteX18" fmla="*/ 103976 w 147896"/>
                <a:gd name="connsiteY18" fmla="*/ 95908 h 94115"/>
                <a:gd name="connsiteX19" fmla="*/ 135796 w 147896"/>
                <a:gd name="connsiteY19" fmla="*/ 95908 h 94115"/>
                <a:gd name="connsiteX20" fmla="*/ 151930 w 147896"/>
                <a:gd name="connsiteY20" fmla="*/ 79774 h 94115"/>
                <a:gd name="connsiteX21" fmla="*/ 151930 w 147896"/>
                <a:gd name="connsiteY21" fmla="*/ 16582 h 94115"/>
                <a:gd name="connsiteX22" fmla="*/ 135796 w 147896"/>
                <a:gd name="connsiteY22" fmla="*/ 0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896" h="94115">
                  <a:moveTo>
                    <a:pt x="135796" y="0"/>
                  </a:moveTo>
                  <a:lnTo>
                    <a:pt x="16134" y="0"/>
                  </a:lnTo>
                  <a:cubicBezTo>
                    <a:pt x="7171" y="0"/>
                    <a:pt x="0" y="7171"/>
                    <a:pt x="0" y="16134"/>
                  </a:cubicBezTo>
                  <a:lnTo>
                    <a:pt x="0" y="79774"/>
                  </a:lnTo>
                  <a:cubicBezTo>
                    <a:pt x="0" y="88738"/>
                    <a:pt x="7171" y="95908"/>
                    <a:pt x="16134" y="95908"/>
                  </a:cubicBezTo>
                  <a:lnTo>
                    <a:pt x="47954" y="95908"/>
                  </a:lnTo>
                  <a:cubicBezTo>
                    <a:pt x="49299" y="95908"/>
                    <a:pt x="50195" y="95012"/>
                    <a:pt x="50195" y="93667"/>
                  </a:cubicBezTo>
                  <a:cubicBezTo>
                    <a:pt x="50195" y="92323"/>
                    <a:pt x="49299" y="91427"/>
                    <a:pt x="47954" y="91427"/>
                  </a:cubicBezTo>
                  <a:lnTo>
                    <a:pt x="16134" y="91427"/>
                  </a:lnTo>
                  <a:cubicBezTo>
                    <a:pt x="9412" y="91427"/>
                    <a:pt x="4482" y="86049"/>
                    <a:pt x="4482" y="79774"/>
                  </a:cubicBezTo>
                  <a:lnTo>
                    <a:pt x="4482" y="16582"/>
                  </a:lnTo>
                  <a:cubicBezTo>
                    <a:pt x="4482" y="9860"/>
                    <a:pt x="9860" y="4930"/>
                    <a:pt x="16134" y="4930"/>
                  </a:cubicBezTo>
                  <a:lnTo>
                    <a:pt x="135796" y="4930"/>
                  </a:lnTo>
                  <a:cubicBezTo>
                    <a:pt x="142518" y="4930"/>
                    <a:pt x="147448" y="10308"/>
                    <a:pt x="147448" y="16582"/>
                  </a:cubicBezTo>
                  <a:lnTo>
                    <a:pt x="147448" y="79774"/>
                  </a:lnTo>
                  <a:cubicBezTo>
                    <a:pt x="147448" y="86497"/>
                    <a:pt x="142070" y="91427"/>
                    <a:pt x="135796" y="91427"/>
                  </a:cubicBezTo>
                  <a:lnTo>
                    <a:pt x="103976" y="91427"/>
                  </a:lnTo>
                  <a:cubicBezTo>
                    <a:pt x="102631" y="91427"/>
                    <a:pt x="101735" y="92323"/>
                    <a:pt x="101735" y="93667"/>
                  </a:cubicBezTo>
                  <a:cubicBezTo>
                    <a:pt x="101735" y="95012"/>
                    <a:pt x="102631" y="95908"/>
                    <a:pt x="103976" y="95908"/>
                  </a:cubicBezTo>
                  <a:lnTo>
                    <a:pt x="135796" y="95908"/>
                  </a:lnTo>
                  <a:cubicBezTo>
                    <a:pt x="144759" y="95908"/>
                    <a:pt x="151930" y="88738"/>
                    <a:pt x="151930" y="79774"/>
                  </a:cubicBezTo>
                  <a:lnTo>
                    <a:pt x="151930" y="16582"/>
                  </a:lnTo>
                  <a:cubicBezTo>
                    <a:pt x="151930" y="7619"/>
                    <a:pt x="144759" y="0"/>
                    <a:pt x="135796" y="0"/>
                  </a:cubicBezTo>
                  <a:close/>
                </a:path>
              </a:pathLst>
            </a:custGeom>
            <a:solidFill>
              <a:srgbClr val="231F20"/>
            </a:solidFill>
            <a:ln w="4477" cap="flat">
              <a:noFill/>
              <a:prstDash val="solid"/>
              <a:miter/>
            </a:ln>
          </p:spPr>
          <p:txBody>
            <a:bodyPr rtlCol="0" anchor="ctr"/>
            <a:lstStyle/>
            <a:p>
              <a:endParaRPr lang="en-US"/>
            </a:p>
          </p:txBody>
        </p:sp>
        <p:sp>
          <p:nvSpPr>
            <p:cNvPr id="3665" name="Freeform: Shape 3664">
              <a:extLst>
                <a:ext uri="{FF2B5EF4-FFF2-40B4-BE49-F238E27FC236}">
                  <a16:creationId xmlns:a16="http://schemas.microsoft.com/office/drawing/2014/main" id="{33929228-0225-4AE2-AD41-9363D2ED5C0D}"/>
                </a:ext>
              </a:extLst>
            </p:cNvPr>
            <p:cNvSpPr/>
            <p:nvPr/>
          </p:nvSpPr>
          <p:spPr>
            <a:xfrm>
              <a:off x="10485176" y="4594402"/>
              <a:ext cx="53780" cy="103079"/>
            </a:xfrm>
            <a:custGeom>
              <a:avLst/>
              <a:gdLst>
                <a:gd name="connsiteX0" fmla="*/ 55797 w 53780"/>
                <a:gd name="connsiteY0" fmla="*/ 31148 h 103079"/>
                <a:gd name="connsiteX1" fmla="*/ 57590 w 53780"/>
                <a:gd name="connsiteY1" fmla="*/ 30699 h 103079"/>
                <a:gd name="connsiteX2" fmla="*/ 57590 w 53780"/>
                <a:gd name="connsiteY2" fmla="*/ 27563 h 103079"/>
                <a:gd name="connsiteX3" fmla="*/ 30699 w 53780"/>
                <a:gd name="connsiteY3" fmla="*/ 672 h 103079"/>
                <a:gd name="connsiteX4" fmla="*/ 27563 w 53780"/>
                <a:gd name="connsiteY4" fmla="*/ 672 h 103079"/>
                <a:gd name="connsiteX5" fmla="*/ 672 w 53780"/>
                <a:gd name="connsiteY5" fmla="*/ 27563 h 103079"/>
                <a:gd name="connsiteX6" fmla="*/ 672 w 53780"/>
                <a:gd name="connsiteY6" fmla="*/ 30699 h 103079"/>
                <a:gd name="connsiteX7" fmla="*/ 3809 w 53780"/>
                <a:gd name="connsiteY7" fmla="*/ 30699 h 103079"/>
                <a:gd name="connsiteX8" fmla="*/ 26666 w 53780"/>
                <a:gd name="connsiteY8" fmla="*/ 7843 h 103079"/>
                <a:gd name="connsiteX9" fmla="*/ 26666 w 53780"/>
                <a:gd name="connsiteY9" fmla="*/ 101062 h 103079"/>
                <a:gd name="connsiteX10" fmla="*/ 28907 w 53780"/>
                <a:gd name="connsiteY10" fmla="*/ 103303 h 103079"/>
                <a:gd name="connsiteX11" fmla="*/ 31148 w 53780"/>
                <a:gd name="connsiteY11" fmla="*/ 101062 h 103079"/>
                <a:gd name="connsiteX12" fmla="*/ 31148 w 53780"/>
                <a:gd name="connsiteY12" fmla="*/ 7843 h 103079"/>
                <a:gd name="connsiteX13" fmla="*/ 54004 w 53780"/>
                <a:gd name="connsiteY13" fmla="*/ 30699 h 103079"/>
                <a:gd name="connsiteX14" fmla="*/ 55797 w 53780"/>
                <a:gd name="connsiteY14" fmla="*/ 31148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780" h="103079">
                  <a:moveTo>
                    <a:pt x="55797" y="31148"/>
                  </a:moveTo>
                  <a:cubicBezTo>
                    <a:pt x="56245" y="31148"/>
                    <a:pt x="57142" y="31148"/>
                    <a:pt x="57590" y="30699"/>
                  </a:cubicBezTo>
                  <a:cubicBezTo>
                    <a:pt x="58486" y="29803"/>
                    <a:pt x="58486" y="28459"/>
                    <a:pt x="57590" y="27563"/>
                  </a:cubicBezTo>
                  <a:lnTo>
                    <a:pt x="30699" y="672"/>
                  </a:lnTo>
                  <a:cubicBezTo>
                    <a:pt x="29803" y="-224"/>
                    <a:pt x="28459" y="-224"/>
                    <a:pt x="27563" y="672"/>
                  </a:cubicBezTo>
                  <a:lnTo>
                    <a:pt x="672" y="27563"/>
                  </a:lnTo>
                  <a:cubicBezTo>
                    <a:pt x="-224" y="28459"/>
                    <a:pt x="-224" y="29803"/>
                    <a:pt x="672" y="30699"/>
                  </a:cubicBezTo>
                  <a:cubicBezTo>
                    <a:pt x="1568" y="31596"/>
                    <a:pt x="2913" y="31596"/>
                    <a:pt x="3809" y="30699"/>
                  </a:cubicBezTo>
                  <a:lnTo>
                    <a:pt x="26666" y="7843"/>
                  </a:lnTo>
                  <a:lnTo>
                    <a:pt x="26666" y="101062"/>
                  </a:lnTo>
                  <a:cubicBezTo>
                    <a:pt x="26666" y="102407"/>
                    <a:pt x="27563" y="103303"/>
                    <a:pt x="28907" y="103303"/>
                  </a:cubicBezTo>
                  <a:cubicBezTo>
                    <a:pt x="30251" y="103303"/>
                    <a:pt x="31148" y="102407"/>
                    <a:pt x="31148" y="101062"/>
                  </a:cubicBezTo>
                  <a:lnTo>
                    <a:pt x="31148" y="7843"/>
                  </a:lnTo>
                  <a:lnTo>
                    <a:pt x="54004" y="30699"/>
                  </a:lnTo>
                  <a:cubicBezTo>
                    <a:pt x="54901" y="31148"/>
                    <a:pt x="55349" y="31148"/>
                    <a:pt x="55797" y="31148"/>
                  </a:cubicBezTo>
                  <a:close/>
                </a:path>
              </a:pathLst>
            </a:custGeom>
            <a:solidFill>
              <a:srgbClr val="231F20"/>
            </a:solidFill>
            <a:ln w="4477" cap="flat">
              <a:noFill/>
              <a:prstDash val="solid"/>
              <a:miter/>
            </a:ln>
          </p:spPr>
          <p:txBody>
            <a:bodyPr rtlCol="0" anchor="ctr"/>
            <a:lstStyle/>
            <a:p>
              <a:endParaRPr lang="en-US"/>
            </a:p>
          </p:txBody>
        </p:sp>
      </p:grpSp>
      <p:grpSp>
        <p:nvGrpSpPr>
          <p:cNvPr id="3666" name="Group 3665">
            <a:extLst>
              <a:ext uri="{FF2B5EF4-FFF2-40B4-BE49-F238E27FC236}">
                <a16:creationId xmlns:a16="http://schemas.microsoft.com/office/drawing/2014/main" id="{31117BEA-71B7-440B-BACD-35CBD13E0747}"/>
              </a:ext>
              <a:ext uri="{C183D7F6-B498-43B3-948B-1728B52AA6E4}">
                <adec:decorative xmlns:adec="http://schemas.microsoft.com/office/drawing/2017/decorative" val="1"/>
              </a:ext>
            </a:extLst>
          </p:cNvPr>
          <p:cNvGrpSpPr>
            <a:grpSpLocks noChangeAspect="1"/>
          </p:cNvGrpSpPr>
          <p:nvPr/>
        </p:nvGrpSpPr>
        <p:grpSpPr>
          <a:xfrm>
            <a:off x="4254369" y="1705514"/>
            <a:ext cx="147896" cy="128625"/>
            <a:chOff x="10155995" y="4552050"/>
            <a:chExt cx="147896" cy="128625"/>
          </a:xfrm>
        </p:grpSpPr>
        <p:sp>
          <p:nvSpPr>
            <p:cNvPr id="3667" name="Freeform: Shape 3666">
              <a:extLst>
                <a:ext uri="{FF2B5EF4-FFF2-40B4-BE49-F238E27FC236}">
                  <a16:creationId xmlns:a16="http://schemas.microsoft.com/office/drawing/2014/main" id="{5731A44A-DE72-4E90-885C-A97F18F8B60D}"/>
                </a:ext>
              </a:extLst>
            </p:cNvPr>
            <p:cNvSpPr/>
            <p:nvPr/>
          </p:nvSpPr>
          <p:spPr>
            <a:xfrm>
              <a:off x="10155995" y="4586559"/>
              <a:ext cx="147896" cy="94116"/>
            </a:xfrm>
            <a:custGeom>
              <a:avLst/>
              <a:gdLst>
                <a:gd name="connsiteX0" fmla="*/ 135796 w 147896"/>
                <a:gd name="connsiteY0" fmla="*/ 0 h 94115"/>
                <a:gd name="connsiteX1" fmla="*/ 103976 w 147896"/>
                <a:gd name="connsiteY1" fmla="*/ 0 h 94115"/>
                <a:gd name="connsiteX2" fmla="*/ 101735 w 147896"/>
                <a:gd name="connsiteY2" fmla="*/ 2241 h 94115"/>
                <a:gd name="connsiteX3" fmla="*/ 103976 w 147896"/>
                <a:gd name="connsiteY3" fmla="*/ 4482 h 94115"/>
                <a:gd name="connsiteX4" fmla="*/ 135796 w 147896"/>
                <a:gd name="connsiteY4" fmla="*/ 4482 h 94115"/>
                <a:gd name="connsiteX5" fmla="*/ 147448 w 147896"/>
                <a:gd name="connsiteY5" fmla="*/ 16134 h 94115"/>
                <a:gd name="connsiteX6" fmla="*/ 147448 w 147896"/>
                <a:gd name="connsiteY6" fmla="*/ 79326 h 94115"/>
                <a:gd name="connsiteX7" fmla="*/ 135796 w 147896"/>
                <a:gd name="connsiteY7" fmla="*/ 90979 h 94115"/>
                <a:gd name="connsiteX8" fmla="*/ 16134 w 147896"/>
                <a:gd name="connsiteY8" fmla="*/ 90979 h 94115"/>
                <a:gd name="connsiteX9" fmla="*/ 4482 w 147896"/>
                <a:gd name="connsiteY9" fmla="*/ 79326 h 94115"/>
                <a:gd name="connsiteX10" fmla="*/ 4482 w 147896"/>
                <a:gd name="connsiteY10" fmla="*/ 16134 h 94115"/>
                <a:gd name="connsiteX11" fmla="*/ 16134 w 147896"/>
                <a:gd name="connsiteY11" fmla="*/ 4482 h 94115"/>
                <a:gd name="connsiteX12" fmla="*/ 47954 w 147896"/>
                <a:gd name="connsiteY12" fmla="*/ 4482 h 94115"/>
                <a:gd name="connsiteX13" fmla="*/ 50195 w 147896"/>
                <a:gd name="connsiteY13" fmla="*/ 2241 h 94115"/>
                <a:gd name="connsiteX14" fmla="*/ 47954 w 147896"/>
                <a:gd name="connsiteY14" fmla="*/ 0 h 94115"/>
                <a:gd name="connsiteX15" fmla="*/ 16134 w 147896"/>
                <a:gd name="connsiteY15" fmla="*/ 0 h 94115"/>
                <a:gd name="connsiteX16" fmla="*/ 0 w 147896"/>
                <a:gd name="connsiteY16" fmla="*/ 16134 h 94115"/>
                <a:gd name="connsiteX17" fmla="*/ 0 w 147896"/>
                <a:gd name="connsiteY17" fmla="*/ 79326 h 94115"/>
                <a:gd name="connsiteX18" fmla="*/ 16134 w 147896"/>
                <a:gd name="connsiteY18" fmla="*/ 95460 h 94115"/>
                <a:gd name="connsiteX19" fmla="*/ 135796 w 147896"/>
                <a:gd name="connsiteY19" fmla="*/ 95460 h 94115"/>
                <a:gd name="connsiteX20" fmla="*/ 151930 w 147896"/>
                <a:gd name="connsiteY20" fmla="*/ 79326 h 94115"/>
                <a:gd name="connsiteX21" fmla="*/ 151930 w 147896"/>
                <a:gd name="connsiteY21" fmla="*/ 16134 h 94115"/>
                <a:gd name="connsiteX22" fmla="*/ 135796 w 147896"/>
                <a:gd name="connsiteY22" fmla="*/ 0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896" h="94115">
                  <a:moveTo>
                    <a:pt x="135796" y="0"/>
                  </a:moveTo>
                  <a:lnTo>
                    <a:pt x="103976" y="0"/>
                  </a:lnTo>
                  <a:cubicBezTo>
                    <a:pt x="102631" y="0"/>
                    <a:pt x="101735" y="896"/>
                    <a:pt x="101735" y="2241"/>
                  </a:cubicBezTo>
                  <a:cubicBezTo>
                    <a:pt x="101735" y="3585"/>
                    <a:pt x="102631" y="4482"/>
                    <a:pt x="103976" y="4482"/>
                  </a:cubicBezTo>
                  <a:lnTo>
                    <a:pt x="135796" y="4482"/>
                  </a:lnTo>
                  <a:cubicBezTo>
                    <a:pt x="142518" y="4482"/>
                    <a:pt x="147448" y="9860"/>
                    <a:pt x="147448" y="16134"/>
                  </a:cubicBezTo>
                  <a:lnTo>
                    <a:pt x="147448" y="79326"/>
                  </a:lnTo>
                  <a:cubicBezTo>
                    <a:pt x="147448" y="86049"/>
                    <a:pt x="142070" y="90979"/>
                    <a:pt x="135796" y="90979"/>
                  </a:cubicBezTo>
                  <a:lnTo>
                    <a:pt x="16134" y="90979"/>
                  </a:lnTo>
                  <a:cubicBezTo>
                    <a:pt x="9412" y="90979"/>
                    <a:pt x="4482" y="85600"/>
                    <a:pt x="4482" y="79326"/>
                  </a:cubicBezTo>
                  <a:lnTo>
                    <a:pt x="4482" y="16134"/>
                  </a:lnTo>
                  <a:cubicBezTo>
                    <a:pt x="4482" y="9411"/>
                    <a:pt x="9860" y="4482"/>
                    <a:pt x="16134" y="4482"/>
                  </a:cubicBezTo>
                  <a:lnTo>
                    <a:pt x="47954" y="4482"/>
                  </a:lnTo>
                  <a:cubicBezTo>
                    <a:pt x="49299" y="4482"/>
                    <a:pt x="50195" y="3585"/>
                    <a:pt x="50195" y="2241"/>
                  </a:cubicBezTo>
                  <a:cubicBezTo>
                    <a:pt x="50195" y="896"/>
                    <a:pt x="49299" y="0"/>
                    <a:pt x="47954" y="0"/>
                  </a:cubicBezTo>
                  <a:lnTo>
                    <a:pt x="16134" y="0"/>
                  </a:lnTo>
                  <a:cubicBezTo>
                    <a:pt x="7171" y="0"/>
                    <a:pt x="0" y="7171"/>
                    <a:pt x="0" y="16134"/>
                  </a:cubicBezTo>
                  <a:lnTo>
                    <a:pt x="0" y="79326"/>
                  </a:lnTo>
                  <a:cubicBezTo>
                    <a:pt x="0" y="88290"/>
                    <a:pt x="7171" y="95460"/>
                    <a:pt x="16134" y="95460"/>
                  </a:cubicBezTo>
                  <a:lnTo>
                    <a:pt x="135796" y="95460"/>
                  </a:lnTo>
                  <a:cubicBezTo>
                    <a:pt x="144759" y="95460"/>
                    <a:pt x="151930" y="88290"/>
                    <a:pt x="151930" y="79326"/>
                  </a:cubicBezTo>
                  <a:lnTo>
                    <a:pt x="151930" y="16134"/>
                  </a:lnTo>
                  <a:cubicBezTo>
                    <a:pt x="151930" y="7171"/>
                    <a:pt x="144759" y="0"/>
                    <a:pt x="135796" y="0"/>
                  </a:cubicBezTo>
                  <a:close/>
                </a:path>
              </a:pathLst>
            </a:custGeom>
            <a:solidFill>
              <a:srgbClr val="231F20"/>
            </a:solidFill>
            <a:ln w="4477" cap="flat">
              <a:noFill/>
              <a:prstDash val="solid"/>
              <a:miter/>
            </a:ln>
          </p:spPr>
          <p:txBody>
            <a:bodyPr rtlCol="0" anchor="ctr"/>
            <a:lstStyle/>
            <a:p>
              <a:endParaRPr lang="en-US"/>
            </a:p>
          </p:txBody>
        </p:sp>
        <p:sp>
          <p:nvSpPr>
            <p:cNvPr id="3668" name="Freeform: Shape 3667">
              <a:extLst>
                <a:ext uri="{FF2B5EF4-FFF2-40B4-BE49-F238E27FC236}">
                  <a16:creationId xmlns:a16="http://schemas.microsoft.com/office/drawing/2014/main" id="{32795D06-9B6C-4BA1-BD7C-56CD9F087303}"/>
                </a:ext>
              </a:extLst>
            </p:cNvPr>
            <p:cNvSpPr/>
            <p:nvPr/>
          </p:nvSpPr>
          <p:spPr>
            <a:xfrm>
              <a:off x="10202829" y="4552050"/>
              <a:ext cx="58262" cy="103079"/>
            </a:xfrm>
            <a:custGeom>
              <a:avLst/>
              <a:gdLst>
                <a:gd name="connsiteX0" fmla="*/ 672 w 58262"/>
                <a:gd name="connsiteY0" fmla="*/ 72604 h 103079"/>
                <a:gd name="connsiteX1" fmla="*/ 672 w 58262"/>
                <a:gd name="connsiteY1" fmla="*/ 75741 h 103079"/>
                <a:gd name="connsiteX2" fmla="*/ 27563 w 58262"/>
                <a:gd name="connsiteY2" fmla="*/ 102631 h 103079"/>
                <a:gd name="connsiteX3" fmla="*/ 29355 w 58262"/>
                <a:gd name="connsiteY3" fmla="*/ 103079 h 103079"/>
                <a:gd name="connsiteX4" fmla="*/ 31148 w 58262"/>
                <a:gd name="connsiteY4" fmla="*/ 102631 h 103079"/>
                <a:gd name="connsiteX5" fmla="*/ 58038 w 58262"/>
                <a:gd name="connsiteY5" fmla="*/ 75741 h 103079"/>
                <a:gd name="connsiteX6" fmla="*/ 58038 w 58262"/>
                <a:gd name="connsiteY6" fmla="*/ 72604 h 103079"/>
                <a:gd name="connsiteX7" fmla="*/ 54901 w 58262"/>
                <a:gd name="connsiteY7" fmla="*/ 72604 h 103079"/>
                <a:gd name="connsiteX8" fmla="*/ 32044 w 58262"/>
                <a:gd name="connsiteY8" fmla="*/ 95460 h 103079"/>
                <a:gd name="connsiteX9" fmla="*/ 32044 w 58262"/>
                <a:gd name="connsiteY9" fmla="*/ 2241 h 103079"/>
                <a:gd name="connsiteX10" fmla="*/ 29803 w 58262"/>
                <a:gd name="connsiteY10" fmla="*/ 0 h 103079"/>
                <a:gd name="connsiteX11" fmla="*/ 27563 w 58262"/>
                <a:gd name="connsiteY11" fmla="*/ 2241 h 103079"/>
                <a:gd name="connsiteX12" fmla="*/ 27563 w 58262"/>
                <a:gd name="connsiteY12" fmla="*/ 95460 h 103079"/>
                <a:gd name="connsiteX13" fmla="*/ 4706 w 58262"/>
                <a:gd name="connsiteY13" fmla="*/ 72604 h 103079"/>
                <a:gd name="connsiteX14" fmla="*/ 672 w 58262"/>
                <a:gd name="connsiteY14" fmla="*/ 72604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62" h="103079">
                  <a:moveTo>
                    <a:pt x="672" y="72604"/>
                  </a:moveTo>
                  <a:cubicBezTo>
                    <a:pt x="-224" y="73500"/>
                    <a:pt x="-224" y="74844"/>
                    <a:pt x="672" y="75741"/>
                  </a:cubicBezTo>
                  <a:lnTo>
                    <a:pt x="27563" y="102631"/>
                  </a:lnTo>
                  <a:cubicBezTo>
                    <a:pt x="28011" y="103079"/>
                    <a:pt x="28459" y="103079"/>
                    <a:pt x="29355" y="103079"/>
                  </a:cubicBezTo>
                  <a:cubicBezTo>
                    <a:pt x="30251" y="103079"/>
                    <a:pt x="30699" y="103079"/>
                    <a:pt x="31148" y="102631"/>
                  </a:cubicBezTo>
                  <a:lnTo>
                    <a:pt x="58038" y="75741"/>
                  </a:lnTo>
                  <a:cubicBezTo>
                    <a:pt x="58934" y="74844"/>
                    <a:pt x="58934" y="73500"/>
                    <a:pt x="58038" y="72604"/>
                  </a:cubicBezTo>
                  <a:cubicBezTo>
                    <a:pt x="57142" y="71707"/>
                    <a:pt x="55797" y="71707"/>
                    <a:pt x="54901" y="72604"/>
                  </a:cubicBezTo>
                  <a:lnTo>
                    <a:pt x="32044" y="95460"/>
                  </a:lnTo>
                  <a:lnTo>
                    <a:pt x="32044" y="2241"/>
                  </a:lnTo>
                  <a:cubicBezTo>
                    <a:pt x="32044" y="896"/>
                    <a:pt x="31148" y="0"/>
                    <a:pt x="29803" y="0"/>
                  </a:cubicBezTo>
                  <a:cubicBezTo>
                    <a:pt x="28459" y="0"/>
                    <a:pt x="27563" y="896"/>
                    <a:pt x="27563" y="2241"/>
                  </a:cubicBezTo>
                  <a:lnTo>
                    <a:pt x="27563" y="95460"/>
                  </a:lnTo>
                  <a:lnTo>
                    <a:pt x="4706" y="72604"/>
                  </a:lnTo>
                  <a:cubicBezTo>
                    <a:pt x="2913" y="72156"/>
                    <a:pt x="1568" y="72156"/>
                    <a:pt x="672" y="72604"/>
                  </a:cubicBezTo>
                  <a:close/>
                </a:path>
              </a:pathLst>
            </a:custGeom>
            <a:solidFill>
              <a:srgbClr val="231F20"/>
            </a:solidFill>
            <a:ln w="4477" cap="flat">
              <a:noFill/>
              <a:prstDash val="solid"/>
              <a:miter/>
            </a:ln>
          </p:spPr>
          <p:txBody>
            <a:bodyPr rtlCol="0" anchor="ctr"/>
            <a:lstStyle/>
            <a:p>
              <a:endParaRPr lang="en-US"/>
            </a:p>
          </p:txBody>
        </p:sp>
      </p:grpSp>
      <p:grpSp>
        <p:nvGrpSpPr>
          <p:cNvPr id="3669" name="Group 3668">
            <a:extLst>
              <a:ext uri="{FF2B5EF4-FFF2-40B4-BE49-F238E27FC236}">
                <a16:creationId xmlns:a16="http://schemas.microsoft.com/office/drawing/2014/main" id="{30C6434D-32C8-42CB-A28F-8A7B002EC9D4}"/>
              </a:ext>
              <a:ext uri="{C183D7F6-B498-43B3-948B-1728B52AA6E4}">
                <adec:decorative xmlns:adec="http://schemas.microsoft.com/office/drawing/2017/decorative" val="1"/>
              </a:ext>
            </a:extLst>
          </p:cNvPr>
          <p:cNvGrpSpPr>
            <a:grpSpLocks noChangeAspect="1"/>
          </p:cNvGrpSpPr>
          <p:nvPr/>
        </p:nvGrpSpPr>
        <p:grpSpPr>
          <a:xfrm>
            <a:off x="5056594" y="1707754"/>
            <a:ext cx="157755" cy="152378"/>
            <a:chOff x="10958220" y="4554290"/>
            <a:chExt cx="157755" cy="152378"/>
          </a:xfrm>
        </p:grpSpPr>
        <p:sp>
          <p:nvSpPr>
            <p:cNvPr id="3670" name="Freeform: Shape 3669">
              <a:extLst>
                <a:ext uri="{FF2B5EF4-FFF2-40B4-BE49-F238E27FC236}">
                  <a16:creationId xmlns:a16="http://schemas.microsoft.com/office/drawing/2014/main" id="{72BB3A38-DEE4-405F-92E1-9F95EF2D7865}"/>
                </a:ext>
              </a:extLst>
            </p:cNvPr>
            <p:cNvSpPr/>
            <p:nvPr/>
          </p:nvSpPr>
          <p:spPr>
            <a:xfrm>
              <a:off x="11012896" y="4601124"/>
              <a:ext cx="103079" cy="58262"/>
            </a:xfrm>
            <a:custGeom>
              <a:avLst/>
              <a:gdLst>
                <a:gd name="connsiteX0" fmla="*/ 99942 w 103079"/>
                <a:gd name="connsiteY0" fmla="*/ 26666 h 58262"/>
                <a:gd name="connsiteX1" fmla="*/ 7171 w 103079"/>
                <a:gd name="connsiteY1" fmla="*/ 26666 h 58262"/>
                <a:gd name="connsiteX2" fmla="*/ 30476 w 103079"/>
                <a:gd name="connsiteY2" fmla="*/ 3809 h 58262"/>
                <a:gd name="connsiteX3" fmla="*/ 30476 w 103079"/>
                <a:gd name="connsiteY3" fmla="*/ 672 h 58262"/>
                <a:gd name="connsiteX4" fmla="*/ 27338 w 103079"/>
                <a:gd name="connsiteY4" fmla="*/ 672 h 58262"/>
                <a:gd name="connsiteX5" fmla="*/ 448 w 103079"/>
                <a:gd name="connsiteY5" fmla="*/ 27563 h 58262"/>
                <a:gd name="connsiteX6" fmla="*/ 0 w 103079"/>
                <a:gd name="connsiteY6" fmla="*/ 29355 h 58262"/>
                <a:gd name="connsiteX7" fmla="*/ 448 w 103079"/>
                <a:gd name="connsiteY7" fmla="*/ 31148 h 58262"/>
                <a:gd name="connsiteX8" fmla="*/ 27338 w 103079"/>
                <a:gd name="connsiteY8" fmla="*/ 58038 h 58262"/>
                <a:gd name="connsiteX9" fmla="*/ 29131 w 103079"/>
                <a:gd name="connsiteY9" fmla="*/ 58486 h 58262"/>
                <a:gd name="connsiteX10" fmla="*/ 30924 w 103079"/>
                <a:gd name="connsiteY10" fmla="*/ 58038 h 58262"/>
                <a:gd name="connsiteX11" fmla="*/ 30924 w 103079"/>
                <a:gd name="connsiteY11" fmla="*/ 54901 h 58262"/>
                <a:gd name="connsiteX12" fmla="*/ 8067 w 103079"/>
                <a:gd name="connsiteY12" fmla="*/ 32044 h 58262"/>
                <a:gd name="connsiteX13" fmla="*/ 100838 w 103079"/>
                <a:gd name="connsiteY13" fmla="*/ 32044 h 58262"/>
                <a:gd name="connsiteX14" fmla="*/ 103079 w 103079"/>
                <a:gd name="connsiteY14" fmla="*/ 29803 h 58262"/>
                <a:gd name="connsiteX15" fmla="*/ 99942 w 103079"/>
                <a:gd name="connsiteY15" fmla="*/ 26666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79" h="58262">
                  <a:moveTo>
                    <a:pt x="99942" y="26666"/>
                  </a:moveTo>
                  <a:lnTo>
                    <a:pt x="7171" y="26666"/>
                  </a:lnTo>
                  <a:lnTo>
                    <a:pt x="30476" y="3809"/>
                  </a:lnTo>
                  <a:cubicBezTo>
                    <a:pt x="31372" y="2913"/>
                    <a:pt x="31372" y="1568"/>
                    <a:pt x="30476" y="672"/>
                  </a:cubicBezTo>
                  <a:cubicBezTo>
                    <a:pt x="29579" y="-224"/>
                    <a:pt x="28235" y="-224"/>
                    <a:pt x="27338" y="672"/>
                  </a:cubicBezTo>
                  <a:lnTo>
                    <a:pt x="448" y="27563"/>
                  </a:lnTo>
                  <a:cubicBezTo>
                    <a:pt x="0" y="28011"/>
                    <a:pt x="0" y="28459"/>
                    <a:pt x="0" y="29355"/>
                  </a:cubicBezTo>
                  <a:cubicBezTo>
                    <a:pt x="0" y="30251"/>
                    <a:pt x="448" y="30699"/>
                    <a:pt x="448" y="31148"/>
                  </a:cubicBezTo>
                  <a:lnTo>
                    <a:pt x="27338" y="58038"/>
                  </a:lnTo>
                  <a:cubicBezTo>
                    <a:pt x="27787" y="58486"/>
                    <a:pt x="28235" y="58486"/>
                    <a:pt x="29131" y="58486"/>
                  </a:cubicBezTo>
                  <a:cubicBezTo>
                    <a:pt x="29579" y="58486"/>
                    <a:pt x="30476" y="58486"/>
                    <a:pt x="30924" y="58038"/>
                  </a:cubicBezTo>
                  <a:cubicBezTo>
                    <a:pt x="31820" y="57142"/>
                    <a:pt x="31820" y="55797"/>
                    <a:pt x="30924" y="54901"/>
                  </a:cubicBezTo>
                  <a:lnTo>
                    <a:pt x="8067" y="32044"/>
                  </a:lnTo>
                  <a:lnTo>
                    <a:pt x="100838" y="32044"/>
                  </a:lnTo>
                  <a:cubicBezTo>
                    <a:pt x="102183" y="32044"/>
                    <a:pt x="103079" y="31148"/>
                    <a:pt x="103079" y="29803"/>
                  </a:cubicBezTo>
                  <a:cubicBezTo>
                    <a:pt x="102183" y="28011"/>
                    <a:pt x="101286" y="26666"/>
                    <a:pt x="99942" y="26666"/>
                  </a:cubicBezTo>
                  <a:close/>
                </a:path>
              </a:pathLst>
            </a:custGeom>
            <a:solidFill>
              <a:srgbClr val="231F20"/>
            </a:solidFill>
            <a:ln w="4477" cap="flat">
              <a:noFill/>
              <a:prstDash val="solid"/>
              <a:miter/>
            </a:ln>
          </p:spPr>
          <p:txBody>
            <a:bodyPr rtlCol="0" anchor="ctr"/>
            <a:lstStyle/>
            <a:p>
              <a:endParaRPr lang="en-US"/>
            </a:p>
          </p:txBody>
        </p:sp>
        <p:sp>
          <p:nvSpPr>
            <p:cNvPr id="3671" name="Freeform: Shape 3670">
              <a:extLst>
                <a:ext uri="{FF2B5EF4-FFF2-40B4-BE49-F238E27FC236}">
                  <a16:creationId xmlns:a16="http://schemas.microsoft.com/office/drawing/2014/main" id="{C2A04204-84E7-4FE3-A2F9-69E333C507E3}"/>
                </a:ext>
              </a:extLst>
            </p:cNvPr>
            <p:cNvSpPr/>
            <p:nvPr/>
          </p:nvSpPr>
          <p:spPr>
            <a:xfrm>
              <a:off x="10958220" y="4554290"/>
              <a:ext cx="152378" cy="152378"/>
            </a:xfrm>
            <a:custGeom>
              <a:avLst/>
              <a:gdLst>
                <a:gd name="connsiteX0" fmla="*/ 150585 w 152377"/>
                <a:gd name="connsiteY0" fmla="*/ 95909 h 152377"/>
                <a:gd name="connsiteX1" fmla="*/ 148344 w 152377"/>
                <a:gd name="connsiteY1" fmla="*/ 98149 h 152377"/>
                <a:gd name="connsiteX2" fmla="*/ 148344 w 152377"/>
                <a:gd name="connsiteY2" fmla="*/ 138933 h 152377"/>
                <a:gd name="connsiteX3" fmla="*/ 139381 w 152377"/>
                <a:gd name="connsiteY3" fmla="*/ 147896 h 152377"/>
                <a:gd name="connsiteX4" fmla="*/ 13445 w 152377"/>
                <a:gd name="connsiteY4" fmla="*/ 147896 h 152377"/>
                <a:gd name="connsiteX5" fmla="*/ 4482 w 152377"/>
                <a:gd name="connsiteY5" fmla="*/ 138933 h 152377"/>
                <a:gd name="connsiteX6" fmla="*/ 4482 w 152377"/>
                <a:gd name="connsiteY6" fmla="*/ 13445 h 152377"/>
                <a:gd name="connsiteX7" fmla="*/ 13445 w 152377"/>
                <a:gd name="connsiteY7" fmla="*/ 4482 h 152377"/>
                <a:gd name="connsiteX8" fmla="*/ 139381 w 152377"/>
                <a:gd name="connsiteY8" fmla="*/ 4482 h 152377"/>
                <a:gd name="connsiteX9" fmla="*/ 148344 w 152377"/>
                <a:gd name="connsiteY9" fmla="*/ 13445 h 152377"/>
                <a:gd name="connsiteX10" fmla="*/ 148344 w 152377"/>
                <a:gd name="connsiteY10" fmla="*/ 54229 h 152377"/>
                <a:gd name="connsiteX11" fmla="*/ 150585 w 152377"/>
                <a:gd name="connsiteY11" fmla="*/ 56470 h 152377"/>
                <a:gd name="connsiteX12" fmla="*/ 152826 w 152377"/>
                <a:gd name="connsiteY12" fmla="*/ 54229 h 152377"/>
                <a:gd name="connsiteX13" fmla="*/ 152826 w 152377"/>
                <a:gd name="connsiteY13" fmla="*/ 13445 h 152377"/>
                <a:gd name="connsiteX14" fmla="*/ 139381 w 152377"/>
                <a:gd name="connsiteY14" fmla="*/ 0 h 152377"/>
                <a:gd name="connsiteX15" fmla="*/ 13445 w 152377"/>
                <a:gd name="connsiteY15" fmla="*/ 0 h 152377"/>
                <a:gd name="connsiteX16" fmla="*/ 0 w 152377"/>
                <a:gd name="connsiteY16" fmla="*/ 13445 h 152377"/>
                <a:gd name="connsiteX17" fmla="*/ 0 w 152377"/>
                <a:gd name="connsiteY17" fmla="*/ 138933 h 152377"/>
                <a:gd name="connsiteX18" fmla="*/ 13445 w 152377"/>
                <a:gd name="connsiteY18" fmla="*/ 152378 h 152377"/>
                <a:gd name="connsiteX19" fmla="*/ 139381 w 152377"/>
                <a:gd name="connsiteY19" fmla="*/ 152378 h 152377"/>
                <a:gd name="connsiteX20" fmla="*/ 152826 w 152377"/>
                <a:gd name="connsiteY20" fmla="*/ 138933 h 152377"/>
                <a:gd name="connsiteX21" fmla="*/ 152826 w 152377"/>
                <a:gd name="connsiteY21" fmla="*/ 98149 h 152377"/>
                <a:gd name="connsiteX22" fmla="*/ 150585 w 152377"/>
                <a:gd name="connsiteY22" fmla="*/ 95909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77" h="152377">
                  <a:moveTo>
                    <a:pt x="150585" y="95909"/>
                  </a:moveTo>
                  <a:cubicBezTo>
                    <a:pt x="149241" y="95909"/>
                    <a:pt x="148344" y="96805"/>
                    <a:pt x="148344" y="98149"/>
                  </a:cubicBezTo>
                  <a:lnTo>
                    <a:pt x="148344" y="138933"/>
                  </a:lnTo>
                  <a:cubicBezTo>
                    <a:pt x="148344" y="143863"/>
                    <a:pt x="144311" y="147896"/>
                    <a:pt x="139381" y="147896"/>
                  </a:cubicBezTo>
                  <a:lnTo>
                    <a:pt x="13445" y="147896"/>
                  </a:lnTo>
                  <a:cubicBezTo>
                    <a:pt x="8515" y="147896"/>
                    <a:pt x="4482" y="143863"/>
                    <a:pt x="4482" y="138933"/>
                  </a:cubicBezTo>
                  <a:lnTo>
                    <a:pt x="4482" y="13445"/>
                  </a:lnTo>
                  <a:cubicBezTo>
                    <a:pt x="4482" y="8515"/>
                    <a:pt x="8515" y="4482"/>
                    <a:pt x="13445" y="4482"/>
                  </a:cubicBezTo>
                  <a:lnTo>
                    <a:pt x="139381" y="4482"/>
                  </a:lnTo>
                  <a:cubicBezTo>
                    <a:pt x="144311" y="4482"/>
                    <a:pt x="148344" y="8515"/>
                    <a:pt x="148344" y="13445"/>
                  </a:cubicBezTo>
                  <a:lnTo>
                    <a:pt x="148344" y="54229"/>
                  </a:lnTo>
                  <a:cubicBezTo>
                    <a:pt x="148344" y="55573"/>
                    <a:pt x="149241" y="56470"/>
                    <a:pt x="150585" y="56470"/>
                  </a:cubicBezTo>
                  <a:cubicBezTo>
                    <a:pt x="151930" y="56470"/>
                    <a:pt x="152826" y="55573"/>
                    <a:pt x="152826" y="54229"/>
                  </a:cubicBezTo>
                  <a:lnTo>
                    <a:pt x="152826" y="13445"/>
                  </a:lnTo>
                  <a:cubicBezTo>
                    <a:pt x="152826" y="6274"/>
                    <a:pt x="147000" y="0"/>
                    <a:pt x="139381" y="0"/>
                  </a:cubicBezTo>
                  <a:lnTo>
                    <a:pt x="13445" y="0"/>
                  </a:lnTo>
                  <a:cubicBezTo>
                    <a:pt x="6274" y="0"/>
                    <a:pt x="0" y="5826"/>
                    <a:pt x="0" y="13445"/>
                  </a:cubicBezTo>
                  <a:lnTo>
                    <a:pt x="0" y="138933"/>
                  </a:lnTo>
                  <a:cubicBezTo>
                    <a:pt x="0" y="146104"/>
                    <a:pt x="5826" y="152378"/>
                    <a:pt x="13445" y="152378"/>
                  </a:cubicBezTo>
                  <a:lnTo>
                    <a:pt x="139381" y="152378"/>
                  </a:lnTo>
                  <a:cubicBezTo>
                    <a:pt x="146552" y="152378"/>
                    <a:pt x="152826" y="146552"/>
                    <a:pt x="152826" y="138933"/>
                  </a:cubicBezTo>
                  <a:lnTo>
                    <a:pt x="152826" y="98149"/>
                  </a:lnTo>
                  <a:cubicBezTo>
                    <a:pt x="152826" y="96805"/>
                    <a:pt x="151930" y="95909"/>
                    <a:pt x="150585" y="95909"/>
                  </a:cubicBezTo>
                  <a:close/>
                </a:path>
              </a:pathLst>
            </a:custGeom>
            <a:solidFill>
              <a:srgbClr val="231F20"/>
            </a:solidFill>
            <a:ln w="4477" cap="flat">
              <a:noFill/>
              <a:prstDash val="solid"/>
              <a:miter/>
            </a:ln>
          </p:spPr>
          <p:txBody>
            <a:bodyPr rtlCol="0" anchor="ctr"/>
            <a:lstStyle/>
            <a:p>
              <a:endParaRPr lang="en-US"/>
            </a:p>
          </p:txBody>
        </p:sp>
      </p:grpSp>
      <p:grpSp>
        <p:nvGrpSpPr>
          <p:cNvPr id="3672" name="Group 3671">
            <a:extLst>
              <a:ext uri="{FF2B5EF4-FFF2-40B4-BE49-F238E27FC236}">
                <a16:creationId xmlns:a16="http://schemas.microsoft.com/office/drawing/2014/main" id="{5EB0807E-7230-4D34-A573-1989522DBE8E}"/>
              </a:ext>
              <a:ext uri="{C183D7F6-B498-43B3-948B-1728B52AA6E4}">
                <adec:decorative xmlns:adec="http://schemas.microsoft.com/office/drawing/2017/decorative" val="1"/>
              </a:ext>
            </a:extLst>
          </p:cNvPr>
          <p:cNvGrpSpPr>
            <a:grpSpLocks noChangeAspect="1"/>
          </p:cNvGrpSpPr>
          <p:nvPr/>
        </p:nvGrpSpPr>
        <p:grpSpPr>
          <a:xfrm>
            <a:off x="4793070" y="1707306"/>
            <a:ext cx="155515" cy="152378"/>
            <a:chOff x="10694696" y="4553842"/>
            <a:chExt cx="155515" cy="152378"/>
          </a:xfrm>
        </p:grpSpPr>
        <p:sp>
          <p:nvSpPr>
            <p:cNvPr id="3673" name="Freeform: Shape 3672">
              <a:extLst>
                <a:ext uri="{FF2B5EF4-FFF2-40B4-BE49-F238E27FC236}">
                  <a16:creationId xmlns:a16="http://schemas.microsoft.com/office/drawing/2014/main" id="{4B5CDEDC-DA6A-4639-9D0B-DDFE927ACBD6}"/>
                </a:ext>
              </a:extLst>
            </p:cNvPr>
            <p:cNvSpPr/>
            <p:nvPr/>
          </p:nvSpPr>
          <p:spPr>
            <a:xfrm>
              <a:off x="10694696" y="4600676"/>
              <a:ext cx="98597" cy="58262"/>
            </a:xfrm>
            <a:custGeom>
              <a:avLst/>
              <a:gdLst>
                <a:gd name="connsiteX0" fmla="*/ 71259 w 98597"/>
                <a:gd name="connsiteY0" fmla="*/ 54901 h 58262"/>
                <a:gd name="connsiteX1" fmla="*/ 71259 w 98597"/>
                <a:gd name="connsiteY1" fmla="*/ 58038 h 58262"/>
                <a:gd name="connsiteX2" fmla="*/ 73052 w 98597"/>
                <a:gd name="connsiteY2" fmla="*/ 58486 h 58262"/>
                <a:gd name="connsiteX3" fmla="*/ 74844 w 98597"/>
                <a:gd name="connsiteY3" fmla="*/ 58038 h 58262"/>
                <a:gd name="connsiteX4" fmla="*/ 101735 w 98597"/>
                <a:gd name="connsiteY4" fmla="*/ 31148 h 58262"/>
                <a:gd name="connsiteX5" fmla="*/ 102183 w 98597"/>
                <a:gd name="connsiteY5" fmla="*/ 29355 h 58262"/>
                <a:gd name="connsiteX6" fmla="*/ 101735 w 98597"/>
                <a:gd name="connsiteY6" fmla="*/ 27563 h 58262"/>
                <a:gd name="connsiteX7" fmla="*/ 74844 w 98597"/>
                <a:gd name="connsiteY7" fmla="*/ 672 h 58262"/>
                <a:gd name="connsiteX8" fmla="*/ 71707 w 98597"/>
                <a:gd name="connsiteY8" fmla="*/ 672 h 58262"/>
                <a:gd name="connsiteX9" fmla="*/ 71707 w 98597"/>
                <a:gd name="connsiteY9" fmla="*/ 3810 h 58262"/>
                <a:gd name="connsiteX10" fmla="*/ 95012 w 98597"/>
                <a:gd name="connsiteY10" fmla="*/ 26666 h 58262"/>
                <a:gd name="connsiteX11" fmla="*/ 2241 w 98597"/>
                <a:gd name="connsiteY11" fmla="*/ 26666 h 58262"/>
                <a:gd name="connsiteX12" fmla="*/ 0 w 98597"/>
                <a:gd name="connsiteY12" fmla="*/ 28907 h 58262"/>
                <a:gd name="connsiteX13" fmla="*/ 2241 w 98597"/>
                <a:gd name="connsiteY13" fmla="*/ 31148 h 58262"/>
                <a:gd name="connsiteX14" fmla="*/ 94116 w 98597"/>
                <a:gd name="connsiteY14" fmla="*/ 31148 h 58262"/>
                <a:gd name="connsiteX15" fmla="*/ 71259 w 98597"/>
                <a:gd name="connsiteY15" fmla="*/ 54901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597" h="58262">
                  <a:moveTo>
                    <a:pt x="71259" y="54901"/>
                  </a:moveTo>
                  <a:cubicBezTo>
                    <a:pt x="70363" y="55797"/>
                    <a:pt x="70363" y="57142"/>
                    <a:pt x="71259" y="58038"/>
                  </a:cubicBezTo>
                  <a:cubicBezTo>
                    <a:pt x="71707" y="58486"/>
                    <a:pt x="72155" y="58486"/>
                    <a:pt x="73052" y="58486"/>
                  </a:cubicBezTo>
                  <a:cubicBezTo>
                    <a:pt x="73500" y="58486"/>
                    <a:pt x="74396" y="58486"/>
                    <a:pt x="74844" y="58038"/>
                  </a:cubicBezTo>
                  <a:lnTo>
                    <a:pt x="101735" y="31148"/>
                  </a:lnTo>
                  <a:cubicBezTo>
                    <a:pt x="102183" y="30700"/>
                    <a:pt x="102183" y="30252"/>
                    <a:pt x="102183" y="29355"/>
                  </a:cubicBezTo>
                  <a:cubicBezTo>
                    <a:pt x="102183" y="28459"/>
                    <a:pt x="101735" y="28011"/>
                    <a:pt x="101735" y="27563"/>
                  </a:cubicBezTo>
                  <a:lnTo>
                    <a:pt x="74844" y="672"/>
                  </a:lnTo>
                  <a:cubicBezTo>
                    <a:pt x="73948" y="-224"/>
                    <a:pt x="72604" y="-224"/>
                    <a:pt x="71707" y="672"/>
                  </a:cubicBezTo>
                  <a:cubicBezTo>
                    <a:pt x="70811" y="1569"/>
                    <a:pt x="70811" y="2913"/>
                    <a:pt x="71707" y="3810"/>
                  </a:cubicBezTo>
                  <a:lnTo>
                    <a:pt x="95012" y="26666"/>
                  </a:lnTo>
                  <a:lnTo>
                    <a:pt x="2241" y="26666"/>
                  </a:lnTo>
                  <a:cubicBezTo>
                    <a:pt x="896" y="26666"/>
                    <a:pt x="0" y="27563"/>
                    <a:pt x="0" y="28907"/>
                  </a:cubicBezTo>
                  <a:cubicBezTo>
                    <a:pt x="0" y="30252"/>
                    <a:pt x="896" y="31148"/>
                    <a:pt x="2241" y="31148"/>
                  </a:cubicBezTo>
                  <a:lnTo>
                    <a:pt x="94116" y="31148"/>
                  </a:lnTo>
                  <a:lnTo>
                    <a:pt x="71259" y="54901"/>
                  </a:lnTo>
                  <a:close/>
                </a:path>
              </a:pathLst>
            </a:custGeom>
            <a:solidFill>
              <a:srgbClr val="231F20"/>
            </a:solidFill>
            <a:ln w="4477" cap="flat">
              <a:noFill/>
              <a:prstDash val="solid"/>
              <a:miter/>
            </a:ln>
          </p:spPr>
          <p:txBody>
            <a:bodyPr rtlCol="0" anchor="ctr"/>
            <a:lstStyle/>
            <a:p>
              <a:endParaRPr lang="en-US"/>
            </a:p>
          </p:txBody>
        </p:sp>
        <p:sp>
          <p:nvSpPr>
            <p:cNvPr id="3674" name="Freeform: Shape 3673">
              <a:extLst>
                <a:ext uri="{FF2B5EF4-FFF2-40B4-BE49-F238E27FC236}">
                  <a16:creationId xmlns:a16="http://schemas.microsoft.com/office/drawing/2014/main" id="{231F47B3-44ED-46B4-ABF0-C0CB00DCDDE5}"/>
                </a:ext>
              </a:extLst>
            </p:cNvPr>
            <p:cNvSpPr/>
            <p:nvPr/>
          </p:nvSpPr>
          <p:spPr>
            <a:xfrm>
              <a:off x="10697833" y="4553842"/>
              <a:ext cx="152378" cy="152378"/>
            </a:xfrm>
            <a:custGeom>
              <a:avLst/>
              <a:gdLst>
                <a:gd name="connsiteX0" fmla="*/ 139381 w 152377"/>
                <a:gd name="connsiteY0" fmla="*/ 0 h 152377"/>
                <a:gd name="connsiteX1" fmla="*/ 13445 w 152377"/>
                <a:gd name="connsiteY1" fmla="*/ 0 h 152377"/>
                <a:gd name="connsiteX2" fmla="*/ 0 w 152377"/>
                <a:gd name="connsiteY2" fmla="*/ 13445 h 152377"/>
                <a:gd name="connsiteX3" fmla="*/ 0 w 152377"/>
                <a:gd name="connsiteY3" fmla="*/ 54228 h 152377"/>
                <a:gd name="connsiteX4" fmla="*/ 2241 w 152377"/>
                <a:gd name="connsiteY4" fmla="*/ 56469 h 152377"/>
                <a:gd name="connsiteX5" fmla="*/ 4482 w 152377"/>
                <a:gd name="connsiteY5" fmla="*/ 54228 h 152377"/>
                <a:gd name="connsiteX6" fmla="*/ 4482 w 152377"/>
                <a:gd name="connsiteY6" fmla="*/ 13445 h 152377"/>
                <a:gd name="connsiteX7" fmla="*/ 13445 w 152377"/>
                <a:gd name="connsiteY7" fmla="*/ 4482 h 152377"/>
                <a:gd name="connsiteX8" fmla="*/ 139381 w 152377"/>
                <a:gd name="connsiteY8" fmla="*/ 4482 h 152377"/>
                <a:gd name="connsiteX9" fmla="*/ 148344 w 152377"/>
                <a:gd name="connsiteY9" fmla="*/ 13445 h 152377"/>
                <a:gd name="connsiteX10" fmla="*/ 148344 w 152377"/>
                <a:gd name="connsiteY10" fmla="*/ 139381 h 152377"/>
                <a:gd name="connsiteX11" fmla="*/ 139381 w 152377"/>
                <a:gd name="connsiteY11" fmla="*/ 148344 h 152377"/>
                <a:gd name="connsiteX12" fmla="*/ 13445 w 152377"/>
                <a:gd name="connsiteY12" fmla="*/ 148344 h 152377"/>
                <a:gd name="connsiteX13" fmla="*/ 4482 w 152377"/>
                <a:gd name="connsiteY13" fmla="*/ 139381 h 152377"/>
                <a:gd name="connsiteX14" fmla="*/ 4482 w 152377"/>
                <a:gd name="connsiteY14" fmla="*/ 98597 h 152377"/>
                <a:gd name="connsiteX15" fmla="*/ 2241 w 152377"/>
                <a:gd name="connsiteY15" fmla="*/ 96357 h 152377"/>
                <a:gd name="connsiteX16" fmla="*/ 0 w 152377"/>
                <a:gd name="connsiteY16" fmla="*/ 98597 h 152377"/>
                <a:gd name="connsiteX17" fmla="*/ 0 w 152377"/>
                <a:gd name="connsiteY17" fmla="*/ 139381 h 152377"/>
                <a:gd name="connsiteX18" fmla="*/ 13445 w 152377"/>
                <a:gd name="connsiteY18" fmla="*/ 152826 h 152377"/>
                <a:gd name="connsiteX19" fmla="*/ 139381 w 152377"/>
                <a:gd name="connsiteY19" fmla="*/ 152826 h 152377"/>
                <a:gd name="connsiteX20" fmla="*/ 152826 w 152377"/>
                <a:gd name="connsiteY20" fmla="*/ 139381 h 152377"/>
                <a:gd name="connsiteX21" fmla="*/ 152826 w 152377"/>
                <a:gd name="connsiteY21" fmla="*/ 13445 h 152377"/>
                <a:gd name="connsiteX22" fmla="*/ 139381 w 152377"/>
                <a:gd name="connsiteY22" fmla="*/ 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77" h="152377">
                  <a:moveTo>
                    <a:pt x="139381" y="0"/>
                  </a:moveTo>
                  <a:lnTo>
                    <a:pt x="13445" y="0"/>
                  </a:lnTo>
                  <a:cubicBezTo>
                    <a:pt x="6274" y="0"/>
                    <a:pt x="0" y="5826"/>
                    <a:pt x="0" y="13445"/>
                  </a:cubicBezTo>
                  <a:lnTo>
                    <a:pt x="0" y="54228"/>
                  </a:lnTo>
                  <a:cubicBezTo>
                    <a:pt x="0" y="55573"/>
                    <a:pt x="896" y="56469"/>
                    <a:pt x="2241" y="56469"/>
                  </a:cubicBezTo>
                  <a:cubicBezTo>
                    <a:pt x="3585" y="56469"/>
                    <a:pt x="4482" y="55573"/>
                    <a:pt x="4482" y="54228"/>
                  </a:cubicBezTo>
                  <a:lnTo>
                    <a:pt x="4482" y="13445"/>
                  </a:lnTo>
                  <a:cubicBezTo>
                    <a:pt x="4482" y="8515"/>
                    <a:pt x="8515" y="4482"/>
                    <a:pt x="13445" y="4482"/>
                  </a:cubicBezTo>
                  <a:lnTo>
                    <a:pt x="139381" y="4482"/>
                  </a:lnTo>
                  <a:cubicBezTo>
                    <a:pt x="144311" y="4482"/>
                    <a:pt x="148344" y="8515"/>
                    <a:pt x="148344" y="13445"/>
                  </a:cubicBezTo>
                  <a:lnTo>
                    <a:pt x="148344" y="139381"/>
                  </a:lnTo>
                  <a:cubicBezTo>
                    <a:pt x="148344" y="144311"/>
                    <a:pt x="144311" y="148344"/>
                    <a:pt x="139381" y="148344"/>
                  </a:cubicBezTo>
                  <a:lnTo>
                    <a:pt x="13445" y="148344"/>
                  </a:lnTo>
                  <a:cubicBezTo>
                    <a:pt x="8515" y="148344"/>
                    <a:pt x="4482" y="144311"/>
                    <a:pt x="4482" y="139381"/>
                  </a:cubicBezTo>
                  <a:lnTo>
                    <a:pt x="4482" y="98597"/>
                  </a:lnTo>
                  <a:cubicBezTo>
                    <a:pt x="4482" y="97253"/>
                    <a:pt x="3585" y="96357"/>
                    <a:pt x="2241" y="96357"/>
                  </a:cubicBezTo>
                  <a:cubicBezTo>
                    <a:pt x="896" y="96357"/>
                    <a:pt x="0" y="97253"/>
                    <a:pt x="0" y="98597"/>
                  </a:cubicBezTo>
                  <a:lnTo>
                    <a:pt x="0" y="139381"/>
                  </a:lnTo>
                  <a:cubicBezTo>
                    <a:pt x="0" y="146552"/>
                    <a:pt x="5826" y="152826"/>
                    <a:pt x="13445" y="152826"/>
                  </a:cubicBezTo>
                  <a:lnTo>
                    <a:pt x="139381" y="152826"/>
                  </a:lnTo>
                  <a:cubicBezTo>
                    <a:pt x="146552" y="152826"/>
                    <a:pt x="152826" y="147000"/>
                    <a:pt x="152826" y="139381"/>
                  </a:cubicBezTo>
                  <a:lnTo>
                    <a:pt x="152826" y="13445"/>
                  </a:lnTo>
                  <a:cubicBezTo>
                    <a:pt x="152378" y="6274"/>
                    <a:pt x="146552" y="0"/>
                    <a:pt x="139381" y="0"/>
                  </a:cubicBezTo>
                  <a:close/>
                </a:path>
              </a:pathLst>
            </a:custGeom>
            <a:solidFill>
              <a:srgbClr val="231F20"/>
            </a:solidFill>
            <a:ln w="4477" cap="flat">
              <a:noFill/>
              <a:prstDash val="solid"/>
              <a:miter/>
            </a:ln>
          </p:spPr>
          <p:txBody>
            <a:bodyPr rtlCol="0" anchor="ctr"/>
            <a:lstStyle/>
            <a:p>
              <a:endParaRPr lang="en-US"/>
            </a:p>
          </p:txBody>
        </p:sp>
      </p:grpSp>
      <p:grpSp>
        <p:nvGrpSpPr>
          <p:cNvPr id="3675" name="Group 3674">
            <a:extLst>
              <a:ext uri="{FF2B5EF4-FFF2-40B4-BE49-F238E27FC236}">
                <a16:creationId xmlns:a16="http://schemas.microsoft.com/office/drawing/2014/main" id="{E5399D0F-89F2-4DF5-9C01-F5B5652B3125}"/>
              </a:ext>
              <a:ext uri="{C183D7F6-B498-43B3-948B-1728B52AA6E4}">
                <adec:decorative xmlns:adec="http://schemas.microsoft.com/office/drawing/2017/decorative" val="1"/>
              </a:ext>
            </a:extLst>
          </p:cNvPr>
          <p:cNvGrpSpPr>
            <a:grpSpLocks noChangeAspect="1"/>
          </p:cNvGrpSpPr>
          <p:nvPr/>
        </p:nvGrpSpPr>
        <p:grpSpPr>
          <a:xfrm>
            <a:off x="5315412" y="1707754"/>
            <a:ext cx="152378" cy="147896"/>
            <a:chOff x="11217038" y="4554290"/>
            <a:chExt cx="152378" cy="147896"/>
          </a:xfrm>
        </p:grpSpPr>
        <p:sp>
          <p:nvSpPr>
            <p:cNvPr id="3676" name="Freeform: Shape 3675">
              <a:extLst>
                <a:ext uri="{FF2B5EF4-FFF2-40B4-BE49-F238E27FC236}">
                  <a16:creationId xmlns:a16="http://schemas.microsoft.com/office/drawing/2014/main" id="{53D83CA0-3A0B-406D-A924-CBDF491FDA33}"/>
                </a:ext>
              </a:extLst>
            </p:cNvPr>
            <p:cNvSpPr/>
            <p:nvPr/>
          </p:nvSpPr>
          <p:spPr>
            <a:xfrm>
              <a:off x="11217038" y="4554290"/>
              <a:ext cx="44817" cy="147896"/>
            </a:xfrm>
            <a:custGeom>
              <a:avLst/>
              <a:gdLst>
                <a:gd name="connsiteX0" fmla="*/ 26218 w 44817"/>
                <a:gd name="connsiteY0" fmla="*/ 448 h 147896"/>
                <a:gd name="connsiteX1" fmla="*/ 26218 w 44817"/>
                <a:gd name="connsiteY1" fmla="*/ 448 h 147896"/>
                <a:gd name="connsiteX2" fmla="*/ 26218 w 44817"/>
                <a:gd name="connsiteY2" fmla="*/ 448 h 147896"/>
                <a:gd name="connsiteX3" fmla="*/ 26218 w 44817"/>
                <a:gd name="connsiteY3" fmla="*/ 448 h 147896"/>
                <a:gd name="connsiteX4" fmla="*/ 26218 w 44817"/>
                <a:gd name="connsiteY4" fmla="*/ 448 h 147896"/>
                <a:gd name="connsiteX5" fmla="*/ 25321 w 44817"/>
                <a:gd name="connsiteY5" fmla="*/ 0 h 147896"/>
                <a:gd name="connsiteX6" fmla="*/ 25321 w 44817"/>
                <a:gd name="connsiteY6" fmla="*/ 0 h 147896"/>
                <a:gd name="connsiteX7" fmla="*/ 25321 w 44817"/>
                <a:gd name="connsiteY7" fmla="*/ 0 h 147896"/>
                <a:gd name="connsiteX8" fmla="*/ 25321 w 44817"/>
                <a:gd name="connsiteY8" fmla="*/ 0 h 147896"/>
                <a:gd name="connsiteX9" fmla="*/ 24873 w 44817"/>
                <a:gd name="connsiteY9" fmla="*/ 0 h 147896"/>
                <a:gd name="connsiteX10" fmla="*/ 24425 w 44817"/>
                <a:gd name="connsiteY10" fmla="*/ 0 h 147896"/>
                <a:gd name="connsiteX11" fmla="*/ 24425 w 44817"/>
                <a:gd name="connsiteY11" fmla="*/ 0 h 147896"/>
                <a:gd name="connsiteX12" fmla="*/ 24425 w 44817"/>
                <a:gd name="connsiteY12" fmla="*/ 0 h 147896"/>
                <a:gd name="connsiteX13" fmla="*/ 23977 w 44817"/>
                <a:gd name="connsiteY13" fmla="*/ 0 h 147896"/>
                <a:gd name="connsiteX14" fmla="*/ 23529 w 44817"/>
                <a:gd name="connsiteY14" fmla="*/ 0 h 147896"/>
                <a:gd name="connsiteX15" fmla="*/ 23529 w 44817"/>
                <a:gd name="connsiteY15" fmla="*/ 0 h 147896"/>
                <a:gd name="connsiteX16" fmla="*/ 23529 w 44817"/>
                <a:gd name="connsiteY16" fmla="*/ 0 h 147896"/>
                <a:gd name="connsiteX17" fmla="*/ 23529 w 44817"/>
                <a:gd name="connsiteY17" fmla="*/ 0 h 147896"/>
                <a:gd name="connsiteX18" fmla="*/ 23081 w 44817"/>
                <a:gd name="connsiteY18" fmla="*/ 448 h 147896"/>
                <a:gd name="connsiteX19" fmla="*/ 22633 w 44817"/>
                <a:gd name="connsiteY19" fmla="*/ 448 h 147896"/>
                <a:gd name="connsiteX20" fmla="*/ 22633 w 44817"/>
                <a:gd name="connsiteY20" fmla="*/ 448 h 147896"/>
                <a:gd name="connsiteX21" fmla="*/ 22633 w 44817"/>
                <a:gd name="connsiteY21" fmla="*/ 448 h 147896"/>
                <a:gd name="connsiteX22" fmla="*/ 22633 w 44817"/>
                <a:gd name="connsiteY22" fmla="*/ 448 h 147896"/>
                <a:gd name="connsiteX23" fmla="*/ 672 w 44817"/>
                <a:gd name="connsiteY23" fmla="*/ 22857 h 147896"/>
                <a:gd name="connsiteX24" fmla="*/ 672 w 44817"/>
                <a:gd name="connsiteY24" fmla="*/ 25994 h 147896"/>
                <a:gd name="connsiteX25" fmla="*/ 2017 w 44817"/>
                <a:gd name="connsiteY25" fmla="*/ 26442 h 147896"/>
                <a:gd name="connsiteX26" fmla="*/ 3810 w 44817"/>
                <a:gd name="connsiteY26" fmla="*/ 25546 h 147896"/>
                <a:gd name="connsiteX27" fmla="*/ 21736 w 44817"/>
                <a:gd name="connsiteY27" fmla="*/ 7171 h 147896"/>
                <a:gd name="connsiteX28" fmla="*/ 21736 w 44817"/>
                <a:gd name="connsiteY28" fmla="*/ 149689 h 147896"/>
                <a:gd name="connsiteX29" fmla="*/ 23977 w 44817"/>
                <a:gd name="connsiteY29" fmla="*/ 151930 h 147896"/>
                <a:gd name="connsiteX30" fmla="*/ 26218 w 44817"/>
                <a:gd name="connsiteY30" fmla="*/ 149689 h 147896"/>
                <a:gd name="connsiteX31" fmla="*/ 26218 w 44817"/>
                <a:gd name="connsiteY31" fmla="*/ 7619 h 147896"/>
                <a:gd name="connsiteX32" fmla="*/ 44145 w 44817"/>
                <a:gd name="connsiteY32" fmla="*/ 25994 h 147896"/>
                <a:gd name="connsiteX33" fmla="*/ 45938 w 44817"/>
                <a:gd name="connsiteY33" fmla="*/ 26890 h 147896"/>
                <a:gd name="connsiteX34" fmla="*/ 47282 w 44817"/>
                <a:gd name="connsiteY34" fmla="*/ 26442 h 147896"/>
                <a:gd name="connsiteX35" fmla="*/ 47282 w 44817"/>
                <a:gd name="connsiteY35" fmla="*/ 23305 h 147896"/>
                <a:gd name="connsiteX36" fmla="*/ 26218 w 44817"/>
                <a:gd name="connsiteY36" fmla="*/ 448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817" h="147896">
                  <a:moveTo>
                    <a:pt x="26218" y="448"/>
                  </a:moveTo>
                  <a:cubicBezTo>
                    <a:pt x="26218" y="448"/>
                    <a:pt x="26218" y="448"/>
                    <a:pt x="26218" y="448"/>
                  </a:cubicBezTo>
                  <a:cubicBezTo>
                    <a:pt x="26218" y="448"/>
                    <a:pt x="26218" y="448"/>
                    <a:pt x="26218" y="448"/>
                  </a:cubicBezTo>
                  <a:cubicBezTo>
                    <a:pt x="26218" y="448"/>
                    <a:pt x="26218" y="448"/>
                    <a:pt x="26218" y="448"/>
                  </a:cubicBezTo>
                  <a:cubicBezTo>
                    <a:pt x="26218" y="448"/>
                    <a:pt x="26218" y="448"/>
                    <a:pt x="26218" y="448"/>
                  </a:cubicBezTo>
                  <a:cubicBezTo>
                    <a:pt x="25770" y="0"/>
                    <a:pt x="25770" y="0"/>
                    <a:pt x="25321" y="0"/>
                  </a:cubicBezTo>
                  <a:cubicBezTo>
                    <a:pt x="25321" y="0"/>
                    <a:pt x="25321" y="0"/>
                    <a:pt x="25321" y="0"/>
                  </a:cubicBezTo>
                  <a:cubicBezTo>
                    <a:pt x="25321" y="0"/>
                    <a:pt x="25321" y="0"/>
                    <a:pt x="25321" y="0"/>
                  </a:cubicBezTo>
                  <a:cubicBezTo>
                    <a:pt x="25321" y="0"/>
                    <a:pt x="25321" y="0"/>
                    <a:pt x="25321" y="0"/>
                  </a:cubicBezTo>
                  <a:cubicBezTo>
                    <a:pt x="25321" y="0"/>
                    <a:pt x="24873" y="0"/>
                    <a:pt x="24873" y="0"/>
                  </a:cubicBezTo>
                  <a:cubicBezTo>
                    <a:pt x="24873" y="0"/>
                    <a:pt x="24425" y="0"/>
                    <a:pt x="24425" y="0"/>
                  </a:cubicBezTo>
                  <a:cubicBezTo>
                    <a:pt x="24425" y="0"/>
                    <a:pt x="24425" y="0"/>
                    <a:pt x="24425" y="0"/>
                  </a:cubicBezTo>
                  <a:cubicBezTo>
                    <a:pt x="24425" y="0"/>
                    <a:pt x="24425" y="0"/>
                    <a:pt x="24425" y="0"/>
                  </a:cubicBezTo>
                  <a:cubicBezTo>
                    <a:pt x="24425" y="0"/>
                    <a:pt x="23977" y="0"/>
                    <a:pt x="23977" y="0"/>
                  </a:cubicBezTo>
                  <a:cubicBezTo>
                    <a:pt x="23977" y="0"/>
                    <a:pt x="23529" y="0"/>
                    <a:pt x="23529" y="0"/>
                  </a:cubicBezTo>
                  <a:cubicBezTo>
                    <a:pt x="23529" y="0"/>
                    <a:pt x="23529" y="0"/>
                    <a:pt x="23529" y="0"/>
                  </a:cubicBezTo>
                  <a:cubicBezTo>
                    <a:pt x="23529" y="0"/>
                    <a:pt x="23529" y="0"/>
                    <a:pt x="23529" y="0"/>
                  </a:cubicBezTo>
                  <a:cubicBezTo>
                    <a:pt x="23529" y="0"/>
                    <a:pt x="23529" y="0"/>
                    <a:pt x="23529" y="0"/>
                  </a:cubicBezTo>
                  <a:cubicBezTo>
                    <a:pt x="23529" y="0"/>
                    <a:pt x="23081" y="0"/>
                    <a:pt x="23081" y="448"/>
                  </a:cubicBezTo>
                  <a:cubicBezTo>
                    <a:pt x="23081" y="448"/>
                    <a:pt x="23081" y="448"/>
                    <a:pt x="22633" y="448"/>
                  </a:cubicBezTo>
                  <a:cubicBezTo>
                    <a:pt x="22633" y="448"/>
                    <a:pt x="22633" y="448"/>
                    <a:pt x="22633" y="448"/>
                  </a:cubicBezTo>
                  <a:cubicBezTo>
                    <a:pt x="22633" y="448"/>
                    <a:pt x="22633" y="448"/>
                    <a:pt x="22633" y="448"/>
                  </a:cubicBezTo>
                  <a:cubicBezTo>
                    <a:pt x="22633" y="448"/>
                    <a:pt x="22633" y="448"/>
                    <a:pt x="22633" y="448"/>
                  </a:cubicBezTo>
                  <a:lnTo>
                    <a:pt x="672" y="22857"/>
                  </a:lnTo>
                  <a:cubicBezTo>
                    <a:pt x="-224" y="23753"/>
                    <a:pt x="-224" y="25098"/>
                    <a:pt x="672" y="25994"/>
                  </a:cubicBezTo>
                  <a:cubicBezTo>
                    <a:pt x="1121" y="26442"/>
                    <a:pt x="1569" y="26442"/>
                    <a:pt x="2017" y="26442"/>
                  </a:cubicBezTo>
                  <a:cubicBezTo>
                    <a:pt x="2465" y="26442"/>
                    <a:pt x="3362" y="25994"/>
                    <a:pt x="3810" y="25546"/>
                  </a:cubicBezTo>
                  <a:lnTo>
                    <a:pt x="21736" y="7171"/>
                  </a:lnTo>
                  <a:lnTo>
                    <a:pt x="21736" y="149689"/>
                  </a:lnTo>
                  <a:cubicBezTo>
                    <a:pt x="21736" y="151033"/>
                    <a:pt x="22633" y="151930"/>
                    <a:pt x="23977" y="151930"/>
                  </a:cubicBezTo>
                  <a:cubicBezTo>
                    <a:pt x="25321" y="151930"/>
                    <a:pt x="26218" y="151033"/>
                    <a:pt x="26218" y="149689"/>
                  </a:cubicBezTo>
                  <a:lnTo>
                    <a:pt x="26218" y="7619"/>
                  </a:lnTo>
                  <a:lnTo>
                    <a:pt x="44145" y="25994"/>
                  </a:lnTo>
                  <a:cubicBezTo>
                    <a:pt x="44593" y="26442"/>
                    <a:pt x="45041" y="26890"/>
                    <a:pt x="45938" y="26890"/>
                  </a:cubicBezTo>
                  <a:cubicBezTo>
                    <a:pt x="46386" y="26890"/>
                    <a:pt x="47282" y="26890"/>
                    <a:pt x="47282" y="26442"/>
                  </a:cubicBezTo>
                  <a:cubicBezTo>
                    <a:pt x="48179" y="25546"/>
                    <a:pt x="48179" y="24201"/>
                    <a:pt x="47282" y="23305"/>
                  </a:cubicBezTo>
                  <a:lnTo>
                    <a:pt x="26218" y="448"/>
                  </a:lnTo>
                  <a:close/>
                </a:path>
              </a:pathLst>
            </a:custGeom>
            <a:solidFill>
              <a:srgbClr val="231F20"/>
            </a:solidFill>
            <a:ln w="4477" cap="flat">
              <a:noFill/>
              <a:prstDash val="solid"/>
              <a:miter/>
            </a:ln>
          </p:spPr>
          <p:txBody>
            <a:bodyPr rtlCol="0" anchor="ctr"/>
            <a:lstStyle/>
            <a:p>
              <a:endParaRPr lang="en-US"/>
            </a:p>
          </p:txBody>
        </p:sp>
        <p:sp>
          <p:nvSpPr>
            <p:cNvPr id="3677" name="Freeform: Shape 3676">
              <a:extLst>
                <a:ext uri="{FF2B5EF4-FFF2-40B4-BE49-F238E27FC236}">
                  <a16:creationId xmlns:a16="http://schemas.microsoft.com/office/drawing/2014/main" id="{EE73D0B0-16BD-49B4-8BF7-E4D5575976A0}"/>
                </a:ext>
              </a:extLst>
            </p:cNvPr>
            <p:cNvSpPr/>
            <p:nvPr/>
          </p:nvSpPr>
          <p:spPr>
            <a:xfrm>
              <a:off x="11270818" y="4599107"/>
              <a:ext cx="44817" cy="103079"/>
            </a:xfrm>
            <a:custGeom>
              <a:avLst/>
              <a:gdLst>
                <a:gd name="connsiteX0" fmla="*/ 26218 w 44817"/>
                <a:gd name="connsiteY0" fmla="*/ 448 h 103079"/>
                <a:gd name="connsiteX1" fmla="*/ 26218 w 44817"/>
                <a:gd name="connsiteY1" fmla="*/ 448 h 103079"/>
                <a:gd name="connsiteX2" fmla="*/ 26218 w 44817"/>
                <a:gd name="connsiteY2" fmla="*/ 448 h 103079"/>
                <a:gd name="connsiteX3" fmla="*/ 26218 w 44817"/>
                <a:gd name="connsiteY3" fmla="*/ 448 h 103079"/>
                <a:gd name="connsiteX4" fmla="*/ 26218 w 44817"/>
                <a:gd name="connsiteY4" fmla="*/ 448 h 103079"/>
                <a:gd name="connsiteX5" fmla="*/ 25321 w 44817"/>
                <a:gd name="connsiteY5" fmla="*/ 0 h 103079"/>
                <a:gd name="connsiteX6" fmla="*/ 24873 w 44817"/>
                <a:gd name="connsiteY6" fmla="*/ 0 h 103079"/>
                <a:gd name="connsiteX7" fmla="*/ 24425 w 44817"/>
                <a:gd name="connsiteY7" fmla="*/ 0 h 103079"/>
                <a:gd name="connsiteX8" fmla="*/ 24425 w 44817"/>
                <a:gd name="connsiteY8" fmla="*/ 0 h 103079"/>
                <a:gd name="connsiteX9" fmla="*/ 24425 w 44817"/>
                <a:gd name="connsiteY9" fmla="*/ 0 h 103079"/>
                <a:gd name="connsiteX10" fmla="*/ 23977 w 44817"/>
                <a:gd name="connsiteY10" fmla="*/ 0 h 103079"/>
                <a:gd name="connsiteX11" fmla="*/ 23529 w 44817"/>
                <a:gd name="connsiteY11" fmla="*/ 0 h 103079"/>
                <a:gd name="connsiteX12" fmla="*/ 23529 w 44817"/>
                <a:gd name="connsiteY12" fmla="*/ 0 h 103079"/>
                <a:gd name="connsiteX13" fmla="*/ 23529 w 44817"/>
                <a:gd name="connsiteY13" fmla="*/ 0 h 103079"/>
                <a:gd name="connsiteX14" fmla="*/ 23081 w 44817"/>
                <a:gd name="connsiteY14" fmla="*/ 448 h 103079"/>
                <a:gd name="connsiteX15" fmla="*/ 22633 w 44817"/>
                <a:gd name="connsiteY15" fmla="*/ 448 h 103079"/>
                <a:gd name="connsiteX16" fmla="*/ 22633 w 44817"/>
                <a:gd name="connsiteY16" fmla="*/ 448 h 103079"/>
                <a:gd name="connsiteX17" fmla="*/ 22633 w 44817"/>
                <a:gd name="connsiteY17" fmla="*/ 448 h 103079"/>
                <a:gd name="connsiteX18" fmla="*/ 22633 w 44817"/>
                <a:gd name="connsiteY18" fmla="*/ 448 h 103079"/>
                <a:gd name="connsiteX19" fmla="*/ 672 w 44817"/>
                <a:gd name="connsiteY19" fmla="*/ 22857 h 103079"/>
                <a:gd name="connsiteX20" fmla="*/ 672 w 44817"/>
                <a:gd name="connsiteY20" fmla="*/ 25994 h 103079"/>
                <a:gd name="connsiteX21" fmla="*/ 2017 w 44817"/>
                <a:gd name="connsiteY21" fmla="*/ 26442 h 103079"/>
                <a:gd name="connsiteX22" fmla="*/ 3810 w 44817"/>
                <a:gd name="connsiteY22" fmla="*/ 25546 h 103079"/>
                <a:gd name="connsiteX23" fmla="*/ 21736 w 44817"/>
                <a:gd name="connsiteY23" fmla="*/ 7171 h 103079"/>
                <a:gd name="connsiteX24" fmla="*/ 21736 w 44817"/>
                <a:gd name="connsiteY24" fmla="*/ 104872 h 103079"/>
                <a:gd name="connsiteX25" fmla="*/ 23977 w 44817"/>
                <a:gd name="connsiteY25" fmla="*/ 107113 h 103079"/>
                <a:gd name="connsiteX26" fmla="*/ 26218 w 44817"/>
                <a:gd name="connsiteY26" fmla="*/ 104872 h 103079"/>
                <a:gd name="connsiteX27" fmla="*/ 26218 w 44817"/>
                <a:gd name="connsiteY27" fmla="*/ 7619 h 103079"/>
                <a:gd name="connsiteX28" fmla="*/ 44145 w 44817"/>
                <a:gd name="connsiteY28" fmla="*/ 25994 h 103079"/>
                <a:gd name="connsiteX29" fmla="*/ 45938 w 44817"/>
                <a:gd name="connsiteY29" fmla="*/ 26890 h 103079"/>
                <a:gd name="connsiteX30" fmla="*/ 47282 w 44817"/>
                <a:gd name="connsiteY30" fmla="*/ 26442 h 103079"/>
                <a:gd name="connsiteX31" fmla="*/ 47282 w 44817"/>
                <a:gd name="connsiteY31" fmla="*/ 23305 h 103079"/>
                <a:gd name="connsiteX32" fmla="*/ 26218 w 44817"/>
                <a:gd name="connsiteY32" fmla="*/ 448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817" h="103079">
                  <a:moveTo>
                    <a:pt x="26218" y="448"/>
                  </a:moveTo>
                  <a:cubicBezTo>
                    <a:pt x="26218" y="448"/>
                    <a:pt x="26218" y="448"/>
                    <a:pt x="26218" y="448"/>
                  </a:cubicBezTo>
                  <a:cubicBezTo>
                    <a:pt x="26218" y="448"/>
                    <a:pt x="26218" y="448"/>
                    <a:pt x="26218" y="448"/>
                  </a:cubicBezTo>
                  <a:cubicBezTo>
                    <a:pt x="26218" y="448"/>
                    <a:pt x="26218" y="448"/>
                    <a:pt x="26218" y="448"/>
                  </a:cubicBezTo>
                  <a:cubicBezTo>
                    <a:pt x="26218" y="448"/>
                    <a:pt x="26218" y="448"/>
                    <a:pt x="26218" y="448"/>
                  </a:cubicBezTo>
                  <a:cubicBezTo>
                    <a:pt x="25770" y="0"/>
                    <a:pt x="25770" y="0"/>
                    <a:pt x="25321" y="0"/>
                  </a:cubicBezTo>
                  <a:cubicBezTo>
                    <a:pt x="25321" y="0"/>
                    <a:pt x="24873" y="0"/>
                    <a:pt x="24873" y="0"/>
                  </a:cubicBezTo>
                  <a:cubicBezTo>
                    <a:pt x="24873" y="0"/>
                    <a:pt x="24425" y="0"/>
                    <a:pt x="24425" y="0"/>
                  </a:cubicBezTo>
                  <a:cubicBezTo>
                    <a:pt x="24425" y="0"/>
                    <a:pt x="24425" y="0"/>
                    <a:pt x="24425" y="0"/>
                  </a:cubicBezTo>
                  <a:cubicBezTo>
                    <a:pt x="24425" y="0"/>
                    <a:pt x="24425" y="0"/>
                    <a:pt x="24425" y="0"/>
                  </a:cubicBezTo>
                  <a:cubicBezTo>
                    <a:pt x="24425" y="0"/>
                    <a:pt x="23977" y="0"/>
                    <a:pt x="23977" y="0"/>
                  </a:cubicBezTo>
                  <a:cubicBezTo>
                    <a:pt x="23977" y="0"/>
                    <a:pt x="23529" y="0"/>
                    <a:pt x="23529" y="0"/>
                  </a:cubicBezTo>
                  <a:cubicBezTo>
                    <a:pt x="23529" y="0"/>
                    <a:pt x="23529" y="0"/>
                    <a:pt x="23529" y="0"/>
                  </a:cubicBezTo>
                  <a:lnTo>
                    <a:pt x="23529" y="0"/>
                  </a:lnTo>
                  <a:cubicBezTo>
                    <a:pt x="23529" y="0"/>
                    <a:pt x="23081" y="0"/>
                    <a:pt x="23081" y="448"/>
                  </a:cubicBezTo>
                  <a:cubicBezTo>
                    <a:pt x="23081" y="448"/>
                    <a:pt x="23081" y="448"/>
                    <a:pt x="22633" y="448"/>
                  </a:cubicBezTo>
                  <a:cubicBezTo>
                    <a:pt x="22633" y="448"/>
                    <a:pt x="22633" y="448"/>
                    <a:pt x="22633" y="448"/>
                  </a:cubicBezTo>
                  <a:cubicBezTo>
                    <a:pt x="22633" y="448"/>
                    <a:pt x="22633" y="448"/>
                    <a:pt x="22633" y="448"/>
                  </a:cubicBezTo>
                  <a:cubicBezTo>
                    <a:pt x="22633" y="448"/>
                    <a:pt x="22633" y="448"/>
                    <a:pt x="22633" y="448"/>
                  </a:cubicBezTo>
                  <a:lnTo>
                    <a:pt x="672" y="22857"/>
                  </a:lnTo>
                  <a:cubicBezTo>
                    <a:pt x="-224" y="23753"/>
                    <a:pt x="-224" y="25098"/>
                    <a:pt x="672" y="25994"/>
                  </a:cubicBezTo>
                  <a:cubicBezTo>
                    <a:pt x="1121" y="26442"/>
                    <a:pt x="1569" y="26442"/>
                    <a:pt x="2017" y="26442"/>
                  </a:cubicBezTo>
                  <a:cubicBezTo>
                    <a:pt x="2465" y="26442"/>
                    <a:pt x="3362" y="25994"/>
                    <a:pt x="3810" y="25546"/>
                  </a:cubicBezTo>
                  <a:lnTo>
                    <a:pt x="21736" y="7171"/>
                  </a:lnTo>
                  <a:lnTo>
                    <a:pt x="21736" y="104872"/>
                  </a:lnTo>
                  <a:cubicBezTo>
                    <a:pt x="21736" y="106216"/>
                    <a:pt x="22633" y="107113"/>
                    <a:pt x="23977" y="107113"/>
                  </a:cubicBezTo>
                  <a:cubicBezTo>
                    <a:pt x="25321" y="107113"/>
                    <a:pt x="26218" y="106216"/>
                    <a:pt x="26218" y="104872"/>
                  </a:cubicBezTo>
                  <a:lnTo>
                    <a:pt x="26218" y="7619"/>
                  </a:lnTo>
                  <a:lnTo>
                    <a:pt x="44145" y="25994"/>
                  </a:lnTo>
                  <a:cubicBezTo>
                    <a:pt x="44593" y="26442"/>
                    <a:pt x="45041" y="26890"/>
                    <a:pt x="45938" y="26890"/>
                  </a:cubicBezTo>
                  <a:cubicBezTo>
                    <a:pt x="46386" y="26890"/>
                    <a:pt x="47282" y="26890"/>
                    <a:pt x="47282" y="26442"/>
                  </a:cubicBezTo>
                  <a:cubicBezTo>
                    <a:pt x="48179" y="25546"/>
                    <a:pt x="48179" y="24201"/>
                    <a:pt x="47282" y="23305"/>
                  </a:cubicBezTo>
                  <a:lnTo>
                    <a:pt x="26218" y="448"/>
                  </a:lnTo>
                  <a:close/>
                </a:path>
              </a:pathLst>
            </a:custGeom>
            <a:solidFill>
              <a:srgbClr val="231F20"/>
            </a:solidFill>
            <a:ln w="4477" cap="flat">
              <a:noFill/>
              <a:prstDash val="solid"/>
              <a:miter/>
            </a:ln>
          </p:spPr>
          <p:txBody>
            <a:bodyPr rtlCol="0" anchor="ctr"/>
            <a:lstStyle/>
            <a:p>
              <a:endParaRPr lang="en-US"/>
            </a:p>
          </p:txBody>
        </p:sp>
        <p:sp>
          <p:nvSpPr>
            <p:cNvPr id="3678" name="Freeform: Shape 3677">
              <a:extLst>
                <a:ext uri="{FF2B5EF4-FFF2-40B4-BE49-F238E27FC236}">
                  <a16:creationId xmlns:a16="http://schemas.microsoft.com/office/drawing/2014/main" id="{384C8746-0EB2-48D2-B13D-2A42706AF29A}"/>
                </a:ext>
              </a:extLst>
            </p:cNvPr>
            <p:cNvSpPr/>
            <p:nvPr/>
          </p:nvSpPr>
          <p:spPr>
            <a:xfrm>
              <a:off x="11324599" y="4648406"/>
              <a:ext cx="44817" cy="53780"/>
            </a:xfrm>
            <a:custGeom>
              <a:avLst/>
              <a:gdLst>
                <a:gd name="connsiteX0" fmla="*/ 48179 w 44817"/>
                <a:gd name="connsiteY0" fmla="*/ 22857 h 53780"/>
                <a:gd name="connsiteX1" fmla="*/ 26218 w 44817"/>
                <a:gd name="connsiteY1" fmla="*/ 448 h 53780"/>
                <a:gd name="connsiteX2" fmla="*/ 26218 w 44817"/>
                <a:gd name="connsiteY2" fmla="*/ 448 h 53780"/>
                <a:gd name="connsiteX3" fmla="*/ 26218 w 44817"/>
                <a:gd name="connsiteY3" fmla="*/ 448 h 53780"/>
                <a:gd name="connsiteX4" fmla="*/ 26218 w 44817"/>
                <a:gd name="connsiteY4" fmla="*/ 448 h 53780"/>
                <a:gd name="connsiteX5" fmla="*/ 25770 w 44817"/>
                <a:gd name="connsiteY5" fmla="*/ 448 h 53780"/>
                <a:gd name="connsiteX6" fmla="*/ 25321 w 44817"/>
                <a:gd name="connsiteY6" fmla="*/ 0 h 53780"/>
                <a:gd name="connsiteX7" fmla="*/ 24873 w 44817"/>
                <a:gd name="connsiteY7" fmla="*/ 0 h 53780"/>
                <a:gd name="connsiteX8" fmla="*/ 24425 w 44817"/>
                <a:gd name="connsiteY8" fmla="*/ 0 h 53780"/>
                <a:gd name="connsiteX9" fmla="*/ 24425 w 44817"/>
                <a:gd name="connsiteY9" fmla="*/ 0 h 53780"/>
                <a:gd name="connsiteX10" fmla="*/ 24425 w 44817"/>
                <a:gd name="connsiteY10" fmla="*/ 0 h 53780"/>
                <a:gd name="connsiteX11" fmla="*/ 23977 w 44817"/>
                <a:gd name="connsiteY11" fmla="*/ 0 h 53780"/>
                <a:gd name="connsiteX12" fmla="*/ 23529 w 44817"/>
                <a:gd name="connsiteY12" fmla="*/ 0 h 53780"/>
                <a:gd name="connsiteX13" fmla="*/ 23529 w 44817"/>
                <a:gd name="connsiteY13" fmla="*/ 0 h 53780"/>
                <a:gd name="connsiteX14" fmla="*/ 23529 w 44817"/>
                <a:gd name="connsiteY14" fmla="*/ 0 h 53780"/>
                <a:gd name="connsiteX15" fmla="*/ 23081 w 44817"/>
                <a:gd name="connsiteY15" fmla="*/ 448 h 53780"/>
                <a:gd name="connsiteX16" fmla="*/ 22633 w 44817"/>
                <a:gd name="connsiteY16" fmla="*/ 448 h 53780"/>
                <a:gd name="connsiteX17" fmla="*/ 22633 w 44817"/>
                <a:gd name="connsiteY17" fmla="*/ 448 h 53780"/>
                <a:gd name="connsiteX18" fmla="*/ 22633 w 44817"/>
                <a:gd name="connsiteY18" fmla="*/ 448 h 53780"/>
                <a:gd name="connsiteX19" fmla="*/ 22633 w 44817"/>
                <a:gd name="connsiteY19" fmla="*/ 448 h 53780"/>
                <a:gd name="connsiteX20" fmla="*/ 672 w 44817"/>
                <a:gd name="connsiteY20" fmla="*/ 22857 h 53780"/>
                <a:gd name="connsiteX21" fmla="*/ 672 w 44817"/>
                <a:gd name="connsiteY21" fmla="*/ 25994 h 53780"/>
                <a:gd name="connsiteX22" fmla="*/ 2017 w 44817"/>
                <a:gd name="connsiteY22" fmla="*/ 26442 h 53780"/>
                <a:gd name="connsiteX23" fmla="*/ 3810 w 44817"/>
                <a:gd name="connsiteY23" fmla="*/ 25546 h 53780"/>
                <a:gd name="connsiteX24" fmla="*/ 21736 w 44817"/>
                <a:gd name="connsiteY24" fmla="*/ 7171 h 53780"/>
                <a:gd name="connsiteX25" fmla="*/ 21736 w 44817"/>
                <a:gd name="connsiteY25" fmla="*/ 55573 h 53780"/>
                <a:gd name="connsiteX26" fmla="*/ 23977 w 44817"/>
                <a:gd name="connsiteY26" fmla="*/ 57814 h 53780"/>
                <a:gd name="connsiteX27" fmla="*/ 26218 w 44817"/>
                <a:gd name="connsiteY27" fmla="*/ 55573 h 53780"/>
                <a:gd name="connsiteX28" fmla="*/ 26218 w 44817"/>
                <a:gd name="connsiteY28" fmla="*/ 7619 h 53780"/>
                <a:gd name="connsiteX29" fmla="*/ 44145 w 44817"/>
                <a:gd name="connsiteY29" fmla="*/ 25994 h 53780"/>
                <a:gd name="connsiteX30" fmla="*/ 45938 w 44817"/>
                <a:gd name="connsiteY30" fmla="*/ 26890 h 53780"/>
                <a:gd name="connsiteX31" fmla="*/ 47282 w 44817"/>
                <a:gd name="connsiteY31" fmla="*/ 26442 h 53780"/>
                <a:gd name="connsiteX32" fmla="*/ 48179 w 44817"/>
                <a:gd name="connsiteY32" fmla="*/ 2285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817" h="53780">
                  <a:moveTo>
                    <a:pt x="48179" y="22857"/>
                  </a:moveTo>
                  <a:lnTo>
                    <a:pt x="26218" y="448"/>
                  </a:lnTo>
                  <a:cubicBezTo>
                    <a:pt x="26218" y="448"/>
                    <a:pt x="26218" y="448"/>
                    <a:pt x="26218" y="448"/>
                  </a:cubicBezTo>
                  <a:cubicBezTo>
                    <a:pt x="26218" y="448"/>
                    <a:pt x="26218" y="448"/>
                    <a:pt x="26218" y="448"/>
                  </a:cubicBezTo>
                  <a:cubicBezTo>
                    <a:pt x="26218" y="448"/>
                    <a:pt x="26218" y="448"/>
                    <a:pt x="26218" y="448"/>
                  </a:cubicBezTo>
                  <a:cubicBezTo>
                    <a:pt x="26218" y="448"/>
                    <a:pt x="26218" y="448"/>
                    <a:pt x="25770" y="448"/>
                  </a:cubicBezTo>
                  <a:cubicBezTo>
                    <a:pt x="25770" y="448"/>
                    <a:pt x="25321" y="0"/>
                    <a:pt x="25321" y="0"/>
                  </a:cubicBezTo>
                  <a:cubicBezTo>
                    <a:pt x="25321" y="0"/>
                    <a:pt x="24873" y="0"/>
                    <a:pt x="24873" y="0"/>
                  </a:cubicBezTo>
                  <a:cubicBezTo>
                    <a:pt x="24873" y="0"/>
                    <a:pt x="24425" y="0"/>
                    <a:pt x="24425" y="0"/>
                  </a:cubicBezTo>
                  <a:cubicBezTo>
                    <a:pt x="24425" y="0"/>
                    <a:pt x="24425" y="0"/>
                    <a:pt x="24425" y="0"/>
                  </a:cubicBezTo>
                  <a:cubicBezTo>
                    <a:pt x="24425" y="0"/>
                    <a:pt x="24425" y="0"/>
                    <a:pt x="24425" y="0"/>
                  </a:cubicBezTo>
                  <a:cubicBezTo>
                    <a:pt x="24425" y="0"/>
                    <a:pt x="23977" y="0"/>
                    <a:pt x="23977" y="0"/>
                  </a:cubicBezTo>
                  <a:cubicBezTo>
                    <a:pt x="23977" y="0"/>
                    <a:pt x="23529" y="0"/>
                    <a:pt x="23529" y="0"/>
                  </a:cubicBezTo>
                  <a:cubicBezTo>
                    <a:pt x="23529" y="0"/>
                    <a:pt x="23529" y="0"/>
                    <a:pt x="23529" y="0"/>
                  </a:cubicBezTo>
                  <a:cubicBezTo>
                    <a:pt x="23529" y="0"/>
                    <a:pt x="23529" y="0"/>
                    <a:pt x="23529" y="0"/>
                  </a:cubicBezTo>
                  <a:cubicBezTo>
                    <a:pt x="23529" y="0"/>
                    <a:pt x="23081" y="0"/>
                    <a:pt x="23081" y="448"/>
                  </a:cubicBezTo>
                  <a:cubicBezTo>
                    <a:pt x="23081" y="448"/>
                    <a:pt x="23081" y="448"/>
                    <a:pt x="22633" y="448"/>
                  </a:cubicBezTo>
                  <a:cubicBezTo>
                    <a:pt x="22633" y="448"/>
                    <a:pt x="22633" y="448"/>
                    <a:pt x="22633" y="448"/>
                  </a:cubicBezTo>
                  <a:cubicBezTo>
                    <a:pt x="22633" y="448"/>
                    <a:pt x="22633" y="448"/>
                    <a:pt x="22633" y="448"/>
                  </a:cubicBezTo>
                  <a:cubicBezTo>
                    <a:pt x="22633" y="448"/>
                    <a:pt x="22633" y="448"/>
                    <a:pt x="22633" y="448"/>
                  </a:cubicBezTo>
                  <a:lnTo>
                    <a:pt x="672" y="22857"/>
                  </a:lnTo>
                  <a:cubicBezTo>
                    <a:pt x="-224" y="23753"/>
                    <a:pt x="-224" y="25098"/>
                    <a:pt x="672" y="25994"/>
                  </a:cubicBezTo>
                  <a:cubicBezTo>
                    <a:pt x="1121" y="26442"/>
                    <a:pt x="1569" y="26442"/>
                    <a:pt x="2017" y="26442"/>
                  </a:cubicBezTo>
                  <a:cubicBezTo>
                    <a:pt x="2465" y="26442"/>
                    <a:pt x="3362" y="25994"/>
                    <a:pt x="3810" y="25546"/>
                  </a:cubicBezTo>
                  <a:lnTo>
                    <a:pt x="21736" y="7171"/>
                  </a:lnTo>
                  <a:lnTo>
                    <a:pt x="21736" y="55573"/>
                  </a:lnTo>
                  <a:cubicBezTo>
                    <a:pt x="21736" y="56918"/>
                    <a:pt x="22633" y="57814"/>
                    <a:pt x="23977" y="57814"/>
                  </a:cubicBezTo>
                  <a:cubicBezTo>
                    <a:pt x="25321" y="57814"/>
                    <a:pt x="26218" y="56918"/>
                    <a:pt x="26218" y="55573"/>
                  </a:cubicBezTo>
                  <a:lnTo>
                    <a:pt x="26218" y="7619"/>
                  </a:lnTo>
                  <a:lnTo>
                    <a:pt x="44145" y="25994"/>
                  </a:lnTo>
                  <a:cubicBezTo>
                    <a:pt x="44593" y="26442"/>
                    <a:pt x="45041" y="26890"/>
                    <a:pt x="45938" y="26890"/>
                  </a:cubicBezTo>
                  <a:cubicBezTo>
                    <a:pt x="46386" y="26890"/>
                    <a:pt x="47282" y="26890"/>
                    <a:pt x="47282" y="26442"/>
                  </a:cubicBezTo>
                  <a:cubicBezTo>
                    <a:pt x="49075" y="25098"/>
                    <a:pt x="49075" y="23753"/>
                    <a:pt x="48179" y="22857"/>
                  </a:cubicBezTo>
                  <a:close/>
                </a:path>
              </a:pathLst>
            </a:custGeom>
            <a:solidFill>
              <a:srgbClr val="231F20"/>
            </a:solidFill>
            <a:ln w="4477" cap="flat">
              <a:noFill/>
              <a:prstDash val="solid"/>
              <a:miter/>
            </a:ln>
          </p:spPr>
          <p:txBody>
            <a:bodyPr rtlCol="0" anchor="ctr"/>
            <a:lstStyle/>
            <a:p>
              <a:endParaRPr lang="en-US"/>
            </a:p>
          </p:txBody>
        </p:sp>
      </p:grpSp>
      <p:grpSp>
        <p:nvGrpSpPr>
          <p:cNvPr id="3679" name="Group 3678">
            <a:extLst>
              <a:ext uri="{FF2B5EF4-FFF2-40B4-BE49-F238E27FC236}">
                <a16:creationId xmlns:a16="http://schemas.microsoft.com/office/drawing/2014/main" id="{97207037-4B91-431B-8D7E-7417933B2DAB}"/>
              </a:ext>
              <a:ext uri="{C183D7F6-B498-43B3-948B-1728B52AA6E4}">
                <adec:decorative xmlns:adec="http://schemas.microsoft.com/office/drawing/2017/decorative" val="1"/>
              </a:ext>
            </a:extLst>
          </p:cNvPr>
          <p:cNvGrpSpPr>
            <a:grpSpLocks noChangeAspect="1"/>
          </p:cNvGrpSpPr>
          <p:nvPr/>
        </p:nvGrpSpPr>
        <p:grpSpPr>
          <a:xfrm>
            <a:off x="5578712" y="1708203"/>
            <a:ext cx="150137" cy="148120"/>
            <a:chOff x="11480338" y="4554739"/>
            <a:chExt cx="150137" cy="148120"/>
          </a:xfrm>
        </p:grpSpPr>
        <p:sp>
          <p:nvSpPr>
            <p:cNvPr id="3680" name="Freeform: Shape 3679">
              <a:extLst>
                <a:ext uri="{FF2B5EF4-FFF2-40B4-BE49-F238E27FC236}">
                  <a16:creationId xmlns:a16="http://schemas.microsoft.com/office/drawing/2014/main" id="{29CE7CE7-EC4B-4154-BF57-F73FC2EE7F0F}"/>
                </a:ext>
              </a:extLst>
            </p:cNvPr>
            <p:cNvSpPr/>
            <p:nvPr/>
          </p:nvSpPr>
          <p:spPr>
            <a:xfrm>
              <a:off x="11581176" y="4613225"/>
              <a:ext cx="49299" cy="89634"/>
            </a:xfrm>
            <a:custGeom>
              <a:avLst/>
              <a:gdLst>
                <a:gd name="connsiteX0" fmla="*/ 51091 w 49298"/>
                <a:gd name="connsiteY0" fmla="*/ 24873 h 89634"/>
                <a:gd name="connsiteX1" fmla="*/ 51540 w 49298"/>
                <a:gd name="connsiteY1" fmla="*/ 24425 h 89634"/>
                <a:gd name="connsiteX2" fmla="*/ 51540 w 49298"/>
                <a:gd name="connsiteY2" fmla="*/ 24425 h 89634"/>
                <a:gd name="connsiteX3" fmla="*/ 51540 w 49298"/>
                <a:gd name="connsiteY3" fmla="*/ 23977 h 89634"/>
                <a:gd name="connsiteX4" fmla="*/ 51540 w 49298"/>
                <a:gd name="connsiteY4" fmla="*/ 23529 h 89634"/>
                <a:gd name="connsiteX5" fmla="*/ 51540 w 49298"/>
                <a:gd name="connsiteY5" fmla="*/ 23529 h 89634"/>
                <a:gd name="connsiteX6" fmla="*/ 51540 w 49298"/>
                <a:gd name="connsiteY6" fmla="*/ 23529 h 89634"/>
                <a:gd name="connsiteX7" fmla="*/ 51540 w 49298"/>
                <a:gd name="connsiteY7" fmla="*/ 23081 h 89634"/>
                <a:gd name="connsiteX8" fmla="*/ 51540 w 49298"/>
                <a:gd name="connsiteY8" fmla="*/ 22633 h 89634"/>
                <a:gd name="connsiteX9" fmla="*/ 51540 w 49298"/>
                <a:gd name="connsiteY9" fmla="*/ 22633 h 89634"/>
                <a:gd name="connsiteX10" fmla="*/ 51091 w 49298"/>
                <a:gd name="connsiteY10" fmla="*/ 22184 h 89634"/>
                <a:gd name="connsiteX11" fmla="*/ 51091 w 49298"/>
                <a:gd name="connsiteY11" fmla="*/ 22184 h 89634"/>
                <a:gd name="connsiteX12" fmla="*/ 29579 w 49298"/>
                <a:gd name="connsiteY12" fmla="*/ 672 h 89634"/>
                <a:gd name="connsiteX13" fmla="*/ 26442 w 49298"/>
                <a:gd name="connsiteY13" fmla="*/ 672 h 89634"/>
                <a:gd name="connsiteX14" fmla="*/ 26442 w 49298"/>
                <a:gd name="connsiteY14" fmla="*/ 3809 h 89634"/>
                <a:gd name="connsiteX15" fmla="*/ 43920 w 49298"/>
                <a:gd name="connsiteY15" fmla="*/ 21736 h 89634"/>
                <a:gd name="connsiteX16" fmla="*/ 15686 w 49298"/>
                <a:gd name="connsiteY16" fmla="*/ 21736 h 89634"/>
                <a:gd name="connsiteX17" fmla="*/ 0 w 49298"/>
                <a:gd name="connsiteY17" fmla="*/ 37870 h 89634"/>
                <a:gd name="connsiteX18" fmla="*/ 0 w 49298"/>
                <a:gd name="connsiteY18" fmla="*/ 91651 h 89634"/>
                <a:gd name="connsiteX19" fmla="*/ 2241 w 49298"/>
                <a:gd name="connsiteY19" fmla="*/ 93892 h 89634"/>
                <a:gd name="connsiteX20" fmla="*/ 4482 w 49298"/>
                <a:gd name="connsiteY20" fmla="*/ 91651 h 89634"/>
                <a:gd name="connsiteX21" fmla="*/ 4482 w 49298"/>
                <a:gd name="connsiteY21" fmla="*/ 37870 h 89634"/>
                <a:gd name="connsiteX22" fmla="*/ 15686 w 49298"/>
                <a:gd name="connsiteY22" fmla="*/ 26218 h 89634"/>
                <a:gd name="connsiteX23" fmla="*/ 43920 w 49298"/>
                <a:gd name="connsiteY23" fmla="*/ 26218 h 89634"/>
                <a:gd name="connsiteX24" fmla="*/ 26442 w 49298"/>
                <a:gd name="connsiteY24" fmla="*/ 44145 h 89634"/>
                <a:gd name="connsiteX25" fmla="*/ 26442 w 49298"/>
                <a:gd name="connsiteY25" fmla="*/ 47282 h 89634"/>
                <a:gd name="connsiteX26" fmla="*/ 28234 w 49298"/>
                <a:gd name="connsiteY26" fmla="*/ 47730 h 89634"/>
                <a:gd name="connsiteX27" fmla="*/ 30027 w 49298"/>
                <a:gd name="connsiteY27" fmla="*/ 47282 h 89634"/>
                <a:gd name="connsiteX28" fmla="*/ 51091 w 49298"/>
                <a:gd name="connsiteY28" fmla="*/ 24873 h 89634"/>
                <a:gd name="connsiteX29" fmla="*/ 51091 w 49298"/>
                <a:gd name="connsiteY29" fmla="*/ 24873 h 89634"/>
                <a:gd name="connsiteX30" fmla="*/ 51091 w 49298"/>
                <a:gd name="connsiteY30" fmla="*/ 24873 h 89634"/>
                <a:gd name="connsiteX31" fmla="*/ 51091 w 49298"/>
                <a:gd name="connsiteY31" fmla="*/ 24873 h 89634"/>
                <a:gd name="connsiteX32" fmla="*/ 51091 w 49298"/>
                <a:gd name="connsiteY32" fmla="*/ 24873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298" h="89634">
                  <a:moveTo>
                    <a:pt x="51091" y="24873"/>
                  </a:moveTo>
                  <a:cubicBezTo>
                    <a:pt x="51091" y="24873"/>
                    <a:pt x="51540" y="24425"/>
                    <a:pt x="51540" y="24425"/>
                  </a:cubicBezTo>
                  <a:cubicBezTo>
                    <a:pt x="51540" y="24425"/>
                    <a:pt x="51540" y="24425"/>
                    <a:pt x="51540" y="24425"/>
                  </a:cubicBezTo>
                  <a:cubicBezTo>
                    <a:pt x="51540" y="24425"/>
                    <a:pt x="51540" y="23977"/>
                    <a:pt x="51540" y="23977"/>
                  </a:cubicBezTo>
                  <a:cubicBezTo>
                    <a:pt x="51540" y="23977"/>
                    <a:pt x="51540" y="23529"/>
                    <a:pt x="51540" y="23529"/>
                  </a:cubicBezTo>
                  <a:cubicBezTo>
                    <a:pt x="51540" y="23529"/>
                    <a:pt x="51540" y="23529"/>
                    <a:pt x="51540" y="23529"/>
                  </a:cubicBezTo>
                  <a:cubicBezTo>
                    <a:pt x="51540" y="23529"/>
                    <a:pt x="51540" y="23529"/>
                    <a:pt x="51540" y="23529"/>
                  </a:cubicBezTo>
                  <a:cubicBezTo>
                    <a:pt x="51540" y="23529"/>
                    <a:pt x="51540" y="23081"/>
                    <a:pt x="51540" y="23081"/>
                  </a:cubicBezTo>
                  <a:cubicBezTo>
                    <a:pt x="51540" y="23081"/>
                    <a:pt x="51540" y="22633"/>
                    <a:pt x="51540" y="22633"/>
                  </a:cubicBezTo>
                  <a:cubicBezTo>
                    <a:pt x="51540" y="22633"/>
                    <a:pt x="51540" y="22633"/>
                    <a:pt x="51540" y="22633"/>
                  </a:cubicBezTo>
                  <a:cubicBezTo>
                    <a:pt x="51540" y="22633"/>
                    <a:pt x="51540" y="22184"/>
                    <a:pt x="51091" y="22184"/>
                  </a:cubicBezTo>
                  <a:cubicBezTo>
                    <a:pt x="51091" y="22184"/>
                    <a:pt x="51091" y="22184"/>
                    <a:pt x="51091" y="22184"/>
                  </a:cubicBezTo>
                  <a:lnTo>
                    <a:pt x="29579" y="672"/>
                  </a:lnTo>
                  <a:cubicBezTo>
                    <a:pt x="28682" y="-224"/>
                    <a:pt x="27338" y="-224"/>
                    <a:pt x="26442" y="672"/>
                  </a:cubicBezTo>
                  <a:cubicBezTo>
                    <a:pt x="25545" y="1568"/>
                    <a:pt x="25545" y="2913"/>
                    <a:pt x="26442" y="3809"/>
                  </a:cubicBezTo>
                  <a:lnTo>
                    <a:pt x="43920" y="21736"/>
                  </a:lnTo>
                  <a:lnTo>
                    <a:pt x="15686" y="21736"/>
                  </a:lnTo>
                  <a:cubicBezTo>
                    <a:pt x="7171" y="21736"/>
                    <a:pt x="0" y="28907"/>
                    <a:pt x="0" y="37870"/>
                  </a:cubicBezTo>
                  <a:lnTo>
                    <a:pt x="0" y="91651"/>
                  </a:lnTo>
                  <a:cubicBezTo>
                    <a:pt x="0" y="92995"/>
                    <a:pt x="896" y="93892"/>
                    <a:pt x="2241" y="93892"/>
                  </a:cubicBezTo>
                  <a:cubicBezTo>
                    <a:pt x="3585" y="93892"/>
                    <a:pt x="4482" y="92995"/>
                    <a:pt x="4482" y="91651"/>
                  </a:cubicBezTo>
                  <a:lnTo>
                    <a:pt x="4482" y="37870"/>
                  </a:lnTo>
                  <a:cubicBezTo>
                    <a:pt x="4482" y="31596"/>
                    <a:pt x="9411" y="26218"/>
                    <a:pt x="15686" y="26218"/>
                  </a:cubicBezTo>
                  <a:lnTo>
                    <a:pt x="43920" y="26218"/>
                  </a:lnTo>
                  <a:lnTo>
                    <a:pt x="26442" y="44145"/>
                  </a:lnTo>
                  <a:cubicBezTo>
                    <a:pt x="25545" y="45041"/>
                    <a:pt x="25545" y="46386"/>
                    <a:pt x="26442" y="47282"/>
                  </a:cubicBezTo>
                  <a:cubicBezTo>
                    <a:pt x="26890" y="47730"/>
                    <a:pt x="27338" y="47730"/>
                    <a:pt x="28234" y="47730"/>
                  </a:cubicBezTo>
                  <a:cubicBezTo>
                    <a:pt x="28682" y="47730"/>
                    <a:pt x="29579" y="47282"/>
                    <a:pt x="30027" y="47282"/>
                  </a:cubicBezTo>
                  <a:lnTo>
                    <a:pt x="51091" y="24873"/>
                  </a:lnTo>
                  <a:cubicBezTo>
                    <a:pt x="50643" y="25321"/>
                    <a:pt x="50643" y="25321"/>
                    <a:pt x="51091" y="24873"/>
                  </a:cubicBezTo>
                  <a:cubicBezTo>
                    <a:pt x="50643" y="25321"/>
                    <a:pt x="50643" y="25321"/>
                    <a:pt x="51091" y="24873"/>
                  </a:cubicBezTo>
                  <a:lnTo>
                    <a:pt x="51091" y="24873"/>
                  </a:lnTo>
                  <a:cubicBezTo>
                    <a:pt x="51091" y="25321"/>
                    <a:pt x="51091" y="24873"/>
                    <a:pt x="51091" y="24873"/>
                  </a:cubicBezTo>
                  <a:close/>
                </a:path>
              </a:pathLst>
            </a:custGeom>
            <a:solidFill>
              <a:srgbClr val="231F20"/>
            </a:solidFill>
            <a:ln w="4477" cap="flat">
              <a:noFill/>
              <a:prstDash val="solid"/>
              <a:miter/>
            </a:ln>
          </p:spPr>
          <p:txBody>
            <a:bodyPr rtlCol="0" anchor="ctr"/>
            <a:lstStyle/>
            <a:p>
              <a:endParaRPr lang="en-US"/>
            </a:p>
          </p:txBody>
        </p:sp>
        <p:sp>
          <p:nvSpPr>
            <p:cNvPr id="3681" name="Freeform: Shape 3680">
              <a:extLst>
                <a:ext uri="{FF2B5EF4-FFF2-40B4-BE49-F238E27FC236}">
                  <a16:creationId xmlns:a16="http://schemas.microsoft.com/office/drawing/2014/main" id="{83E84211-C915-4FEE-80C0-681381768AEB}"/>
                </a:ext>
              </a:extLst>
            </p:cNvPr>
            <p:cNvSpPr/>
            <p:nvPr/>
          </p:nvSpPr>
          <p:spPr>
            <a:xfrm>
              <a:off x="11530757" y="4554739"/>
              <a:ext cx="49299" cy="147896"/>
            </a:xfrm>
            <a:custGeom>
              <a:avLst/>
              <a:gdLst>
                <a:gd name="connsiteX0" fmla="*/ 50419 w 49298"/>
                <a:gd name="connsiteY0" fmla="*/ 24201 h 147896"/>
                <a:gd name="connsiteX1" fmla="*/ 27114 w 49298"/>
                <a:gd name="connsiteY1" fmla="*/ 448 h 147896"/>
                <a:gd name="connsiteX2" fmla="*/ 27114 w 49298"/>
                <a:gd name="connsiteY2" fmla="*/ 448 h 147896"/>
                <a:gd name="connsiteX3" fmla="*/ 27114 w 49298"/>
                <a:gd name="connsiteY3" fmla="*/ 448 h 147896"/>
                <a:gd name="connsiteX4" fmla="*/ 27114 w 49298"/>
                <a:gd name="connsiteY4" fmla="*/ 448 h 147896"/>
                <a:gd name="connsiteX5" fmla="*/ 27114 w 49298"/>
                <a:gd name="connsiteY5" fmla="*/ 448 h 147896"/>
                <a:gd name="connsiteX6" fmla="*/ 26666 w 49298"/>
                <a:gd name="connsiteY6" fmla="*/ 0 h 147896"/>
                <a:gd name="connsiteX7" fmla="*/ 26666 w 49298"/>
                <a:gd name="connsiteY7" fmla="*/ 0 h 147896"/>
                <a:gd name="connsiteX8" fmla="*/ 26218 w 49298"/>
                <a:gd name="connsiteY8" fmla="*/ 0 h 147896"/>
                <a:gd name="connsiteX9" fmla="*/ 25770 w 49298"/>
                <a:gd name="connsiteY9" fmla="*/ 0 h 147896"/>
                <a:gd name="connsiteX10" fmla="*/ 25770 w 49298"/>
                <a:gd name="connsiteY10" fmla="*/ 0 h 147896"/>
                <a:gd name="connsiteX11" fmla="*/ 25770 w 49298"/>
                <a:gd name="connsiteY11" fmla="*/ 0 h 147896"/>
                <a:gd name="connsiteX12" fmla="*/ 25321 w 49298"/>
                <a:gd name="connsiteY12" fmla="*/ 0 h 147896"/>
                <a:gd name="connsiteX13" fmla="*/ 24873 w 49298"/>
                <a:gd name="connsiteY13" fmla="*/ 0 h 147896"/>
                <a:gd name="connsiteX14" fmla="*/ 24873 w 49298"/>
                <a:gd name="connsiteY14" fmla="*/ 0 h 147896"/>
                <a:gd name="connsiteX15" fmla="*/ 24425 w 49298"/>
                <a:gd name="connsiteY15" fmla="*/ 448 h 147896"/>
                <a:gd name="connsiteX16" fmla="*/ 23977 w 49298"/>
                <a:gd name="connsiteY16" fmla="*/ 448 h 147896"/>
                <a:gd name="connsiteX17" fmla="*/ 23977 w 49298"/>
                <a:gd name="connsiteY17" fmla="*/ 448 h 147896"/>
                <a:gd name="connsiteX18" fmla="*/ 23977 w 49298"/>
                <a:gd name="connsiteY18" fmla="*/ 448 h 147896"/>
                <a:gd name="connsiteX19" fmla="*/ 23977 w 49298"/>
                <a:gd name="connsiteY19" fmla="*/ 448 h 147896"/>
                <a:gd name="connsiteX20" fmla="*/ 672 w 49298"/>
                <a:gd name="connsiteY20" fmla="*/ 24201 h 147896"/>
                <a:gd name="connsiteX21" fmla="*/ 672 w 49298"/>
                <a:gd name="connsiteY21" fmla="*/ 27338 h 147896"/>
                <a:gd name="connsiteX22" fmla="*/ 2017 w 49298"/>
                <a:gd name="connsiteY22" fmla="*/ 27786 h 147896"/>
                <a:gd name="connsiteX23" fmla="*/ 3810 w 49298"/>
                <a:gd name="connsiteY23" fmla="*/ 27338 h 147896"/>
                <a:gd name="connsiteX24" fmla="*/ 23081 w 49298"/>
                <a:gd name="connsiteY24" fmla="*/ 7619 h 147896"/>
                <a:gd name="connsiteX25" fmla="*/ 23081 w 49298"/>
                <a:gd name="connsiteY25" fmla="*/ 149241 h 147896"/>
                <a:gd name="connsiteX26" fmla="*/ 25321 w 49298"/>
                <a:gd name="connsiteY26" fmla="*/ 151482 h 147896"/>
                <a:gd name="connsiteX27" fmla="*/ 27562 w 49298"/>
                <a:gd name="connsiteY27" fmla="*/ 149241 h 147896"/>
                <a:gd name="connsiteX28" fmla="*/ 27562 w 49298"/>
                <a:gd name="connsiteY28" fmla="*/ 7619 h 147896"/>
                <a:gd name="connsiteX29" fmla="*/ 46834 w 49298"/>
                <a:gd name="connsiteY29" fmla="*/ 27338 h 147896"/>
                <a:gd name="connsiteX30" fmla="*/ 48627 w 49298"/>
                <a:gd name="connsiteY30" fmla="*/ 27786 h 147896"/>
                <a:gd name="connsiteX31" fmla="*/ 50419 w 49298"/>
                <a:gd name="connsiteY31" fmla="*/ 27338 h 147896"/>
                <a:gd name="connsiteX32" fmla="*/ 50419 w 49298"/>
                <a:gd name="connsiteY32" fmla="*/ 2420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298" h="147896">
                  <a:moveTo>
                    <a:pt x="50419" y="24201"/>
                  </a:moveTo>
                  <a:lnTo>
                    <a:pt x="27114" y="448"/>
                  </a:lnTo>
                  <a:cubicBezTo>
                    <a:pt x="27114" y="448"/>
                    <a:pt x="27114" y="448"/>
                    <a:pt x="27114" y="448"/>
                  </a:cubicBezTo>
                  <a:cubicBezTo>
                    <a:pt x="27114" y="448"/>
                    <a:pt x="27114" y="448"/>
                    <a:pt x="27114" y="448"/>
                  </a:cubicBezTo>
                  <a:cubicBezTo>
                    <a:pt x="27114" y="448"/>
                    <a:pt x="27114" y="448"/>
                    <a:pt x="27114" y="448"/>
                  </a:cubicBezTo>
                  <a:cubicBezTo>
                    <a:pt x="27114" y="448"/>
                    <a:pt x="27114" y="448"/>
                    <a:pt x="27114" y="448"/>
                  </a:cubicBezTo>
                  <a:cubicBezTo>
                    <a:pt x="27114" y="448"/>
                    <a:pt x="26666" y="0"/>
                    <a:pt x="26666" y="0"/>
                  </a:cubicBezTo>
                  <a:cubicBezTo>
                    <a:pt x="26666" y="0"/>
                    <a:pt x="26666" y="0"/>
                    <a:pt x="26666" y="0"/>
                  </a:cubicBezTo>
                  <a:cubicBezTo>
                    <a:pt x="26666" y="0"/>
                    <a:pt x="26218" y="0"/>
                    <a:pt x="26218" y="0"/>
                  </a:cubicBezTo>
                  <a:cubicBezTo>
                    <a:pt x="26218" y="0"/>
                    <a:pt x="25770" y="0"/>
                    <a:pt x="25770" y="0"/>
                  </a:cubicBezTo>
                  <a:cubicBezTo>
                    <a:pt x="25770" y="0"/>
                    <a:pt x="25770" y="0"/>
                    <a:pt x="25770" y="0"/>
                  </a:cubicBezTo>
                  <a:cubicBezTo>
                    <a:pt x="25770" y="0"/>
                    <a:pt x="25770" y="0"/>
                    <a:pt x="25770" y="0"/>
                  </a:cubicBezTo>
                  <a:cubicBezTo>
                    <a:pt x="25770" y="0"/>
                    <a:pt x="25321" y="0"/>
                    <a:pt x="25321" y="0"/>
                  </a:cubicBezTo>
                  <a:cubicBezTo>
                    <a:pt x="25321" y="0"/>
                    <a:pt x="24873" y="0"/>
                    <a:pt x="24873" y="0"/>
                  </a:cubicBezTo>
                  <a:cubicBezTo>
                    <a:pt x="24873" y="0"/>
                    <a:pt x="24873" y="0"/>
                    <a:pt x="24873" y="0"/>
                  </a:cubicBezTo>
                  <a:cubicBezTo>
                    <a:pt x="24873" y="0"/>
                    <a:pt x="24425" y="0"/>
                    <a:pt x="24425" y="448"/>
                  </a:cubicBezTo>
                  <a:cubicBezTo>
                    <a:pt x="24425" y="448"/>
                    <a:pt x="24425" y="448"/>
                    <a:pt x="23977" y="448"/>
                  </a:cubicBezTo>
                  <a:cubicBezTo>
                    <a:pt x="23977" y="448"/>
                    <a:pt x="23977" y="448"/>
                    <a:pt x="23977" y="448"/>
                  </a:cubicBezTo>
                  <a:cubicBezTo>
                    <a:pt x="23977" y="448"/>
                    <a:pt x="23977" y="448"/>
                    <a:pt x="23977" y="448"/>
                  </a:cubicBezTo>
                  <a:cubicBezTo>
                    <a:pt x="23977" y="448"/>
                    <a:pt x="23977" y="448"/>
                    <a:pt x="23977" y="448"/>
                  </a:cubicBezTo>
                  <a:lnTo>
                    <a:pt x="672" y="24201"/>
                  </a:lnTo>
                  <a:cubicBezTo>
                    <a:pt x="-224" y="25097"/>
                    <a:pt x="-224" y="26442"/>
                    <a:pt x="672" y="27338"/>
                  </a:cubicBezTo>
                  <a:cubicBezTo>
                    <a:pt x="1121" y="27786"/>
                    <a:pt x="1569" y="27786"/>
                    <a:pt x="2017" y="27786"/>
                  </a:cubicBezTo>
                  <a:cubicBezTo>
                    <a:pt x="2465" y="27786"/>
                    <a:pt x="3362" y="27338"/>
                    <a:pt x="3810" y="27338"/>
                  </a:cubicBezTo>
                  <a:lnTo>
                    <a:pt x="23081" y="7619"/>
                  </a:lnTo>
                  <a:lnTo>
                    <a:pt x="23081" y="149241"/>
                  </a:lnTo>
                  <a:cubicBezTo>
                    <a:pt x="23081" y="150585"/>
                    <a:pt x="23977" y="151482"/>
                    <a:pt x="25321" y="151482"/>
                  </a:cubicBezTo>
                  <a:cubicBezTo>
                    <a:pt x="26666" y="151482"/>
                    <a:pt x="27562" y="150585"/>
                    <a:pt x="27562" y="149241"/>
                  </a:cubicBezTo>
                  <a:lnTo>
                    <a:pt x="27562" y="7619"/>
                  </a:lnTo>
                  <a:lnTo>
                    <a:pt x="46834" y="27338"/>
                  </a:lnTo>
                  <a:cubicBezTo>
                    <a:pt x="47282" y="27786"/>
                    <a:pt x="47730" y="27786"/>
                    <a:pt x="48627" y="27786"/>
                  </a:cubicBezTo>
                  <a:cubicBezTo>
                    <a:pt x="49075" y="27786"/>
                    <a:pt x="49971" y="27786"/>
                    <a:pt x="50419" y="27338"/>
                  </a:cubicBezTo>
                  <a:cubicBezTo>
                    <a:pt x="51316" y="26442"/>
                    <a:pt x="51316" y="25097"/>
                    <a:pt x="50419" y="24201"/>
                  </a:cubicBezTo>
                  <a:close/>
                </a:path>
              </a:pathLst>
            </a:custGeom>
            <a:solidFill>
              <a:srgbClr val="231F20"/>
            </a:solidFill>
            <a:ln w="4477" cap="flat">
              <a:noFill/>
              <a:prstDash val="solid"/>
              <a:miter/>
            </a:ln>
          </p:spPr>
          <p:txBody>
            <a:bodyPr rtlCol="0" anchor="ctr"/>
            <a:lstStyle/>
            <a:p>
              <a:endParaRPr lang="en-US"/>
            </a:p>
          </p:txBody>
        </p:sp>
        <p:sp>
          <p:nvSpPr>
            <p:cNvPr id="3682" name="Freeform: Shape 3681">
              <a:extLst>
                <a:ext uri="{FF2B5EF4-FFF2-40B4-BE49-F238E27FC236}">
                  <a16:creationId xmlns:a16="http://schemas.microsoft.com/office/drawing/2014/main" id="{3E254AFF-EE30-47C3-AFF5-81EA4B6C8C3C}"/>
                </a:ext>
              </a:extLst>
            </p:cNvPr>
            <p:cNvSpPr/>
            <p:nvPr/>
          </p:nvSpPr>
          <p:spPr>
            <a:xfrm>
              <a:off x="11480338" y="4612777"/>
              <a:ext cx="49299" cy="89634"/>
            </a:xfrm>
            <a:custGeom>
              <a:avLst/>
              <a:gdLst>
                <a:gd name="connsiteX0" fmla="*/ 35854 w 49298"/>
                <a:gd name="connsiteY0" fmla="*/ 21736 h 89634"/>
                <a:gd name="connsiteX1" fmla="*/ 7619 w 49298"/>
                <a:gd name="connsiteY1" fmla="*/ 21736 h 89634"/>
                <a:gd name="connsiteX2" fmla="*/ 25097 w 49298"/>
                <a:gd name="connsiteY2" fmla="*/ 3810 h 89634"/>
                <a:gd name="connsiteX3" fmla="*/ 25097 w 49298"/>
                <a:gd name="connsiteY3" fmla="*/ 672 h 89634"/>
                <a:gd name="connsiteX4" fmla="*/ 21960 w 49298"/>
                <a:gd name="connsiteY4" fmla="*/ 672 h 89634"/>
                <a:gd name="connsiteX5" fmla="*/ 448 w 49298"/>
                <a:gd name="connsiteY5" fmla="*/ 22184 h 89634"/>
                <a:gd name="connsiteX6" fmla="*/ 448 w 49298"/>
                <a:gd name="connsiteY6" fmla="*/ 22633 h 89634"/>
                <a:gd name="connsiteX7" fmla="*/ 0 w 49298"/>
                <a:gd name="connsiteY7" fmla="*/ 23081 h 89634"/>
                <a:gd name="connsiteX8" fmla="*/ 0 w 49298"/>
                <a:gd name="connsiteY8" fmla="*/ 23081 h 89634"/>
                <a:gd name="connsiteX9" fmla="*/ 0 w 49298"/>
                <a:gd name="connsiteY9" fmla="*/ 23529 h 89634"/>
                <a:gd name="connsiteX10" fmla="*/ 0 w 49298"/>
                <a:gd name="connsiteY10" fmla="*/ 23977 h 89634"/>
                <a:gd name="connsiteX11" fmla="*/ 0 w 49298"/>
                <a:gd name="connsiteY11" fmla="*/ 23977 h 89634"/>
                <a:gd name="connsiteX12" fmla="*/ 0 w 49298"/>
                <a:gd name="connsiteY12" fmla="*/ 23977 h 89634"/>
                <a:gd name="connsiteX13" fmla="*/ 0 w 49298"/>
                <a:gd name="connsiteY13" fmla="*/ 24425 h 89634"/>
                <a:gd name="connsiteX14" fmla="*/ 0 w 49298"/>
                <a:gd name="connsiteY14" fmla="*/ 24874 h 89634"/>
                <a:gd name="connsiteX15" fmla="*/ 0 w 49298"/>
                <a:gd name="connsiteY15" fmla="*/ 24874 h 89634"/>
                <a:gd name="connsiteX16" fmla="*/ 448 w 49298"/>
                <a:gd name="connsiteY16" fmla="*/ 25322 h 89634"/>
                <a:gd name="connsiteX17" fmla="*/ 448 w 49298"/>
                <a:gd name="connsiteY17" fmla="*/ 25770 h 89634"/>
                <a:gd name="connsiteX18" fmla="*/ 21960 w 49298"/>
                <a:gd name="connsiteY18" fmla="*/ 47282 h 89634"/>
                <a:gd name="connsiteX19" fmla="*/ 23753 w 49298"/>
                <a:gd name="connsiteY19" fmla="*/ 47730 h 89634"/>
                <a:gd name="connsiteX20" fmla="*/ 25545 w 49298"/>
                <a:gd name="connsiteY20" fmla="*/ 47282 h 89634"/>
                <a:gd name="connsiteX21" fmla="*/ 25545 w 49298"/>
                <a:gd name="connsiteY21" fmla="*/ 44145 h 89634"/>
                <a:gd name="connsiteX22" fmla="*/ 8067 w 49298"/>
                <a:gd name="connsiteY22" fmla="*/ 26218 h 89634"/>
                <a:gd name="connsiteX23" fmla="*/ 36302 w 49298"/>
                <a:gd name="connsiteY23" fmla="*/ 26218 h 89634"/>
                <a:gd name="connsiteX24" fmla="*/ 47506 w 49298"/>
                <a:gd name="connsiteY24" fmla="*/ 37870 h 89634"/>
                <a:gd name="connsiteX25" fmla="*/ 47506 w 49298"/>
                <a:gd name="connsiteY25" fmla="*/ 91651 h 89634"/>
                <a:gd name="connsiteX26" fmla="*/ 49747 w 49298"/>
                <a:gd name="connsiteY26" fmla="*/ 93892 h 89634"/>
                <a:gd name="connsiteX27" fmla="*/ 51988 w 49298"/>
                <a:gd name="connsiteY27" fmla="*/ 91651 h 89634"/>
                <a:gd name="connsiteX28" fmla="*/ 51988 w 49298"/>
                <a:gd name="connsiteY28" fmla="*/ 37870 h 89634"/>
                <a:gd name="connsiteX29" fmla="*/ 35854 w 49298"/>
                <a:gd name="connsiteY29" fmla="*/ 21736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298" h="89634">
                  <a:moveTo>
                    <a:pt x="35854" y="21736"/>
                  </a:moveTo>
                  <a:lnTo>
                    <a:pt x="7619" y="21736"/>
                  </a:lnTo>
                  <a:lnTo>
                    <a:pt x="25097" y="3810"/>
                  </a:lnTo>
                  <a:cubicBezTo>
                    <a:pt x="25994" y="2913"/>
                    <a:pt x="25994" y="1569"/>
                    <a:pt x="25097" y="672"/>
                  </a:cubicBezTo>
                  <a:cubicBezTo>
                    <a:pt x="24201" y="-224"/>
                    <a:pt x="22857" y="-224"/>
                    <a:pt x="21960" y="672"/>
                  </a:cubicBezTo>
                  <a:lnTo>
                    <a:pt x="448" y="22184"/>
                  </a:lnTo>
                  <a:cubicBezTo>
                    <a:pt x="448" y="22184"/>
                    <a:pt x="448" y="22184"/>
                    <a:pt x="448" y="22633"/>
                  </a:cubicBezTo>
                  <a:cubicBezTo>
                    <a:pt x="448" y="22633"/>
                    <a:pt x="0" y="23081"/>
                    <a:pt x="0" y="23081"/>
                  </a:cubicBezTo>
                  <a:cubicBezTo>
                    <a:pt x="0" y="23081"/>
                    <a:pt x="0" y="23081"/>
                    <a:pt x="0" y="23081"/>
                  </a:cubicBezTo>
                  <a:cubicBezTo>
                    <a:pt x="0" y="23081"/>
                    <a:pt x="0" y="23529"/>
                    <a:pt x="0" y="23529"/>
                  </a:cubicBezTo>
                  <a:cubicBezTo>
                    <a:pt x="0" y="23529"/>
                    <a:pt x="0" y="23977"/>
                    <a:pt x="0" y="23977"/>
                  </a:cubicBezTo>
                  <a:cubicBezTo>
                    <a:pt x="0" y="23977"/>
                    <a:pt x="0" y="23977"/>
                    <a:pt x="0" y="23977"/>
                  </a:cubicBezTo>
                  <a:cubicBezTo>
                    <a:pt x="0" y="23977"/>
                    <a:pt x="0" y="23977"/>
                    <a:pt x="0" y="23977"/>
                  </a:cubicBezTo>
                  <a:cubicBezTo>
                    <a:pt x="0" y="23977"/>
                    <a:pt x="0" y="24425"/>
                    <a:pt x="0" y="24425"/>
                  </a:cubicBezTo>
                  <a:cubicBezTo>
                    <a:pt x="0" y="24425"/>
                    <a:pt x="0" y="24874"/>
                    <a:pt x="0" y="24874"/>
                  </a:cubicBezTo>
                  <a:cubicBezTo>
                    <a:pt x="0" y="24874"/>
                    <a:pt x="0" y="24874"/>
                    <a:pt x="0" y="24874"/>
                  </a:cubicBezTo>
                  <a:cubicBezTo>
                    <a:pt x="0" y="24874"/>
                    <a:pt x="0" y="25322"/>
                    <a:pt x="448" y="25322"/>
                  </a:cubicBezTo>
                  <a:cubicBezTo>
                    <a:pt x="448" y="25322"/>
                    <a:pt x="448" y="25322"/>
                    <a:pt x="448" y="25770"/>
                  </a:cubicBezTo>
                  <a:lnTo>
                    <a:pt x="21960" y="47282"/>
                  </a:lnTo>
                  <a:cubicBezTo>
                    <a:pt x="22409" y="47730"/>
                    <a:pt x="22857" y="47730"/>
                    <a:pt x="23753" y="47730"/>
                  </a:cubicBezTo>
                  <a:cubicBezTo>
                    <a:pt x="24201" y="47730"/>
                    <a:pt x="25097" y="47730"/>
                    <a:pt x="25545" y="47282"/>
                  </a:cubicBezTo>
                  <a:cubicBezTo>
                    <a:pt x="26442" y="46386"/>
                    <a:pt x="26442" y="45041"/>
                    <a:pt x="25545" y="44145"/>
                  </a:cubicBezTo>
                  <a:lnTo>
                    <a:pt x="8067" y="26218"/>
                  </a:lnTo>
                  <a:lnTo>
                    <a:pt x="36302" y="26218"/>
                  </a:lnTo>
                  <a:cubicBezTo>
                    <a:pt x="42576" y="26218"/>
                    <a:pt x="47506" y="31148"/>
                    <a:pt x="47506" y="37870"/>
                  </a:cubicBezTo>
                  <a:lnTo>
                    <a:pt x="47506" y="91651"/>
                  </a:lnTo>
                  <a:cubicBezTo>
                    <a:pt x="47506" y="92995"/>
                    <a:pt x="48402" y="93892"/>
                    <a:pt x="49747" y="93892"/>
                  </a:cubicBezTo>
                  <a:cubicBezTo>
                    <a:pt x="51091" y="93892"/>
                    <a:pt x="51988" y="92995"/>
                    <a:pt x="51988" y="91651"/>
                  </a:cubicBezTo>
                  <a:lnTo>
                    <a:pt x="51988" y="37870"/>
                  </a:lnTo>
                  <a:cubicBezTo>
                    <a:pt x="51540" y="28907"/>
                    <a:pt x="44368" y="21736"/>
                    <a:pt x="35854" y="21736"/>
                  </a:cubicBezTo>
                  <a:close/>
                </a:path>
              </a:pathLst>
            </a:custGeom>
            <a:solidFill>
              <a:srgbClr val="231F20"/>
            </a:solidFill>
            <a:ln w="4477" cap="flat">
              <a:noFill/>
              <a:prstDash val="solid"/>
              <a:miter/>
            </a:ln>
          </p:spPr>
          <p:txBody>
            <a:bodyPr rtlCol="0" anchor="ctr"/>
            <a:lstStyle/>
            <a:p>
              <a:endParaRPr lang="en-US"/>
            </a:p>
          </p:txBody>
        </p:sp>
      </p:grpSp>
      <p:sp>
        <p:nvSpPr>
          <p:cNvPr id="3683" name="Freeform: Shape 3682">
            <a:extLst>
              <a:ext uri="{FF2B5EF4-FFF2-40B4-BE49-F238E27FC236}">
                <a16:creationId xmlns:a16="http://schemas.microsoft.com/office/drawing/2014/main" id="{C8759F8C-BF28-4115-AB8C-7AB0CC87F179}"/>
              </a:ext>
              <a:ext uri="{C183D7F6-B498-43B3-948B-1728B52AA6E4}">
                <adec:decorative xmlns:adec="http://schemas.microsoft.com/office/drawing/2017/decorative" val="1"/>
              </a:ext>
            </a:extLst>
          </p:cNvPr>
          <p:cNvSpPr>
            <a:spLocks noChangeAspect="1"/>
          </p:cNvSpPr>
          <p:nvPr/>
        </p:nvSpPr>
        <p:spPr>
          <a:xfrm>
            <a:off x="578477" y="1707306"/>
            <a:ext cx="147896" cy="152378"/>
          </a:xfrm>
          <a:custGeom>
            <a:avLst/>
            <a:gdLst>
              <a:gd name="connsiteX0" fmla="*/ 118317 w 147896"/>
              <a:gd name="connsiteY0" fmla="*/ 46610 h 152377"/>
              <a:gd name="connsiteX1" fmla="*/ 120558 w 147896"/>
              <a:gd name="connsiteY1" fmla="*/ 48850 h 152377"/>
              <a:gd name="connsiteX2" fmla="*/ 150137 w 147896"/>
              <a:gd name="connsiteY2" fmla="*/ 48850 h 152377"/>
              <a:gd name="connsiteX3" fmla="*/ 150137 w 147896"/>
              <a:gd name="connsiteY3" fmla="*/ 48850 h 152377"/>
              <a:gd name="connsiteX4" fmla="*/ 151033 w 147896"/>
              <a:gd name="connsiteY4" fmla="*/ 48850 h 152377"/>
              <a:gd name="connsiteX5" fmla="*/ 152378 w 147896"/>
              <a:gd name="connsiteY5" fmla="*/ 47506 h 152377"/>
              <a:gd name="connsiteX6" fmla="*/ 152378 w 147896"/>
              <a:gd name="connsiteY6" fmla="*/ 46610 h 152377"/>
              <a:gd name="connsiteX7" fmla="*/ 152378 w 147896"/>
              <a:gd name="connsiteY7" fmla="*/ 17030 h 152377"/>
              <a:gd name="connsiteX8" fmla="*/ 150137 w 147896"/>
              <a:gd name="connsiteY8" fmla="*/ 14790 h 152377"/>
              <a:gd name="connsiteX9" fmla="*/ 147896 w 147896"/>
              <a:gd name="connsiteY9" fmla="*/ 17030 h 152377"/>
              <a:gd name="connsiteX10" fmla="*/ 147896 w 147896"/>
              <a:gd name="connsiteY10" fmla="*/ 41232 h 152377"/>
              <a:gd name="connsiteX11" fmla="*/ 129521 w 147896"/>
              <a:gd name="connsiteY11" fmla="*/ 22857 h 152377"/>
              <a:gd name="connsiteX12" fmla="*/ 76189 w 147896"/>
              <a:gd name="connsiteY12" fmla="*/ 0 h 152377"/>
              <a:gd name="connsiteX13" fmla="*/ 22857 w 147896"/>
              <a:gd name="connsiteY13" fmla="*/ 22857 h 152377"/>
              <a:gd name="connsiteX14" fmla="*/ 0 w 147896"/>
              <a:gd name="connsiteY14" fmla="*/ 76189 h 152377"/>
              <a:gd name="connsiteX15" fmla="*/ 76189 w 147896"/>
              <a:gd name="connsiteY15" fmla="*/ 152378 h 152377"/>
              <a:gd name="connsiteX16" fmla="*/ 152378 w 147896"/>
              <a:gd name="connsiteY16" fmla="*/ 76189 h 152377"/>
              <a:gd name="connsiteX17" fmla="*/ 150137 w 147896"/>
              <a:gd name="connsiteY17" fmla="*/ 73948 h 152377"/>
              <a:gd name="connsiteX18" fmla="*/ 147896 w 147896"/>
              <a:gd name="connsiteY18" fmla="*/ 76189 h 152377"/>
              <a:gd name="connsiteX19" fmla="*/ 76189 w 147896"/>
              <a:gd name="connsiteY19" fmla="*/ 147896 h 152377"/>
              <a:gd name="connsiteX20" fmla="*/ 4482 w 147896"/>
              <a:gd name="connsiteY20" fmla="*/ 76189 h 152377"/>
              <a:gd name="connsiteX21" fmla="*/ 25994 w 147896"/>
              <a:gd name="connsiteY21" fmla="*/ 25994 h 152377"/>
              <a:gd name="connsiteX22" fmla="*/ 76189 w 147896"/>
              <a:gd name="connsiteY22" fmla="*/ 4482 h 152377"/>
              <a:gd name="connsiteX23" fmla="*/ 126384 w 147896"/>
              <a:gd name="connsiteY23" fmla="*/ 25994 h 152377"/>
              <a:gd name="connsiteX24" fmla="*/ 144759 w 147896"/>
              <a:gd name="connsiteY24" fmla="*/ 44369 h 152377"/>
              <a:gd name="connsiteX25" fmla="*/ 120558 w 147896"/>
              <a:gd name="connsiteY25" fmla="*/ 44369 h 152377"/>
              <a:gd name="connsiteX26" fmla="*/ 118317 w 147896"/>
              <a:gd name="connsiteY26" fmla="*/ 4661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7896" h="152377">
                <a:moveTo>
                  <a:pt x="118317" y="46610"/>
                </a:moveTo>
                <a:cubicBezTo>
                  <a:pt x="118317" y="47954"/>
                  <a:pt x="119213" y="48850"/>
                  <a:pt x="120558" y="48850"/>
                </a:cubicBezTo>
                <a:lnTo>
                  <a:pt x="150137" y="48850"/>
                </a:lnTo>
                <a:lnTo>
                  <a:pt x="150137" y="48850"/>
                </a:lnTo>
                <a:cubicBezTo>
                  <a:pt x="150585" y="48850"/>
                  <a:pt x="150585" y="48850"/>
                  <a:pt x="151033" y="48850"/>
                </a:cubicBezTo>
                <a:cubicBezTo>
                  <a:pt x="151482" y="48402"/>
                  <a:pt x="151930" y="48402"/>
                  <a:pt x="152378" y="47506"/>
                </a:cubicBezTo>
                <a:cubicBezTo>
                  <a:pt x="152378" y="47058"/>
                  <a:pt x="152378" y="47058"/>
                  <a:pt x="152378" y="46610"/>
                </a:cubicBezTo>
                <a:lnTo>
                  <a:pt x="152378" y="17030"/>
                </a:lnTo>
                <a:cubicBezTo>
                  <a:pt x="152378" y="15686"/>
                  <a:pt x="151482" y="14790"/>
                  <a:pt x="150137" y="14790"/>
                </a:cubicBezTo>
                <a:cubicBezTo>
                  <a:pt x="148792" y="14790"/>
                  <a:pt x="147896" y="15686"/>
                  <a:pt x="147896" y="17030"/>
                </a:cubicBezTo>
                <a:lnTo>
                  <a:pt x="147896" y="41232"/>
                </a:lnTo>
                <a:lnTo>
                  <a:pt x="129521" y="22857"/>
                </a:lnTo>
                <a:cubicBezTo>
                  <a:pt x="114732" y="8067"/>
                  <a:pt x="95908" y="0"/>
                  <a:pt x="76189" y="0"/>
                </a:cubicBezTo>
                <a:cubicBezTo>
                  <a:pt x="56469" y="0"/>
                  <a:pt x="37646" y="8067"/>
                  <a:pt x="22857" y="22857"/>
                </a:cubicBezTo>
                <a:cubicBezTo>
                  <a:pt x="8067" y="37646"/>
                  <a:pt x="0" y="56469"/>
                  <a:pt x="0" y="76189"/>
                </a:cubicBezTo>
                <a:cubicBezTo>
                  <a:pt x="0" y="118317"/>
                  <a:pt x="34061" y="152378"/>
                  <a:pt x="76189" y="152378"/>
                </a:cubicBezTo>
                <a:cubicBezTo>
                  <a:pt x="118317" y="152378"/>
                  <a:pt x="152378" y="118317"/>
                  <a:pt x="152378" y="76189"/>
                </a:cubicBezTo>
                <a:cubicBezTo>
                  <a:pt x="152378" y="74844"/>
                  <a:pt x="151482" y="73948"/>
                  <a:pt x="150137" y="73948"/>
                </a:cubicBezTo>
                <a:cubicBezTo>
                  <a:pt x="148792" y="73948"/>
                  <a:pt x="147896" y="74844"/>
                  <a:pt x="147896" y="76189"/>
                </a:cubicBezTo>
                <a:cubicBezTo>
                  <a:pt x="147896" y="115628"/>
                  <a:pt x="115628" y="147896"/>
                  <a:pt x="76189" y="147896"/>
                </a:cubicBezTo>
                <a:cubicBezTo>
                  <a:pt x="36750" y="147896"/>
                  <a:pt x="4482" y="115628"/>
                  <a:pt x="4482" y="76189"/>
                </a:cubicBezTo>
                <a:cubicBezTo>
                  <a:pt x="4482" y="57814"/>
                  <a:pt x="12101" y="39887"/>
                  <a:pt x="25994" y="25994"/>
                </a:cubicBezTo>
                <a:cubicBezTo>
                  <a:pt x="39887" y="12101"/>
                  <a:pt x="57814" y="4482"/>
                  <a:pt x="76189" y="4482"/>
                </a:cubicBezTo>
                <a:cubicBezTo>
                  <a:pt x="94564" y="4482"/>
                  <a:pt x="112491" y="12101"/>
                  <a:pt x="126384" y="25994"/>
                </a:cubicBezTo>
                <a:lnTo>
                  <a:pt x="144759" y="44369"/>
                </a:lnTo>
                <a:lnTo>
                  <a:pt x="120558" y="44369"/>
                </a:lnTo>
                <a:cubicBezTo>
                  <a:pt x="119213" y="44369"/>
                  <a:pt x="118317" y="45713"/>
                  <a:pt x="118317" y="46610"/>
                </a:cubicBezTo>
                <a:close/>
              </a:path>
            </a:pathLst>
          </a:custGeom>
          <a:solidFill>
            <a:srgbClr val="231F20"/>
          </a:solidFill>
          <a:ln w="4477" cap="flat">
            <a:noFill/>
            <a:prstDash val="solid"/>
            <a:miter/>
          </a:ln>
        </p:spPr>
        <p:txBody>
          <a:bodyPr rtlCol="0" anchor="ctr"/>
          <a:lstStyle/>
          <a:p>
            <a:endParaRPr lang="en-US"/>
          </a:p>
        </p:txBody>
      </p:sp>
      <p:grpSp>
        <p:nvGrpSpPr>
          <p:cNvPr id="3684" name="Group 3683">
            <a:extLst>
              <a:ext uri="{FF2B5EF4-FFF2-40B4-BE49-F238E27FC236}">
                <a16:creationId xmlns:a16="http://schemas.microsoft.com/office/drawing/2014/main" id="{21A3C001-370B-43A0-B463-F7B2B3E8487F}"/>
              </a:ext>
              <a:ext uri="{C183D7F6-B498-43B3-948B-1728B52AA6E4}">
                <adec:decorative xmlns:adec="http://schemas.microsoft.com/office/drawing/2017/decorative" val="1"/>
              </a:ext>
            </a:extLst>
          </p:cNvPr>
          <p:cNvGrpSpPr>
            <a:grpSpLocks noChangeAspect="1"/>
          </p:cNvGrpSpPr>
          <p:nvPr/>
        </p:nvGrpSpPr>
        <p:grpSpPr>
          <a:xfrm>
            <a:off x="837968" y="1707306"/>
            <a:ext cx="152826" cy="150586"/>
            <a:chOff x="6739594" y="4553842"/>
            <a:chExt cx="152826" cy="150586"/>
          </a:xfrm>
        </p:grpSpPr>
        <p:sp>
          <p:nvSpPr>
            <p:cNvPr id="3685" name="Freeform: Shape 3684">
              <a:extLst>
                <a:ext uri="{FF2B5EF4-FFF2-40B4-BE49-F238E27FC236}">
                  <a16:creationId xmlns:a16="http://schemas.microsoft.com/office/drawing/2014/main" id="{EBD35766-9660-4B1A-A043-657C3E1BD64D}"/>
                </a:ext>
              </a:extLst>
            </p:cNvPr>
            <p:cNvSpPr/>
            <p:nvPr/>
          </p:nvSpPr>
          <p:spPr>
            <a:xfrm>
              <a:off x="6740042" y="4553842"/>
              <a:ext cx="152378" cy="76189"/>
            </a:xfrm>
            <a:custGeom>
              <a:avLst/>
              <a:gdLst>
                <a:gd name="connsiteX0" fmla="*/ 0 w 152377"/>
                <a:gd name="connsiteY0" fmla="*/ 47506 h 76188"/>
                <a:gd name="connsiteX1" fmla="*/ 0 w 152377"/>
                <a:gd name="connsiteY1" fmla="*/ 47506 h 76188"/>
                <a:gd name="connsiteX2" fmla="*/ 0 w 152377"/>
                <a:gd name="connsiteY2" fmla="*/ 47954 h 76188"/>
                <a:gd name="connsiteX3" fmla="*/ 448 w 152377"/>
                <a:gd name="connsiteY3" fmla="*/ 48402 h 76188"/>
                <a:gd name="connsiteX4" fmla="*/ 448 w 152377"/>
                <a:gd name="connsiteY4" fmla="*/ 48402 h 76188"/>
                <a:gd name="connsiteX5" fmla="*/ 896 w 152377"/>
                <a:gd name="connsiteY5" fmla="*/ 48402 h 76188"/>
                <a:gd name="connsiteX6" fmla="*/ 1345 w 152377"/>
                <a:gd name="connsiteY6" fmla="*/ 48850 h 76188"/>
                <a:gd name="connsiteX7" fmla="*/ 1793 w 152377"/>
                <a:gd name="connsiteY7" fmla="*/ 48850 h 76188"/>
                <a:gd name="connsiteX8" fmla="*/ 2241 w 152377"/>
                <a:gd name="connsiteY8" fmla="*/ 48850 h 76188"/>
                <a:gd name="connsiteX9" fmla="*/ 31820 w 152377"/>
                <a:gd name="connsiteY9" fmla="*/ 48850 h 76188"/>
                <a:gd name="connsiteX10" fmla="*/ 34061 w 152377"/>
                <a:gd name="connsiteY10" fmla="*/ 46610 h 76188"/>
                <a:gd name="connsiteX11" fmla="*/ 31820 w 152377"/>
                <a:gd name="connsiteY11" fmla="*/ 44369 h 76188"/>
                <a:gd name="connsiteX12" fmla="*/ 7619 w 152377"/>
                <a:gd name="connsiteY12" fmla="*/ 44369 h 76188"/>
                <a:gd name="connsiteX13" fmla="*/ 25098 w 152377"/>
                <a:gd name="connsiteY13" fmla="*/ 26442 h 76188"/>
                <a:gd name="connsiteX14" fmla="*/ 76637 w 152377"/>
                <a:gd name="connsiteY14" fmla="*/ 4482 h 76188"/>
                <a:gd name="connsiteX15" fmla="*/ 148344 w 152377"/>
                <a:gd name="connsiteY15" fmla="*/ 76189 h 76188"/>
                <a:gd name="connsiteX16" fmla="*/ 150585 w 152377"/>
                <a:gd name="connsiteY16" fmla="*/ 78430 h 76188"/>
                <a:gd name="connsiteX17" fmla="*/ 152826 w 152377"/>
                <a:gd name="connsiteY17" fmla="*/ 76189 h 76188"/>
                <a:gd name="connsiteX18" fmla="*/ 76637 w 152377"/>
                <a:gd name="connsiteY18" fmla="*/ 0 h 76188"/>
                <a:gd name="connsiteX19" fmla="*/ 21960 w 152377"/>
                <a:gd name="connsiteY19" fmla="*/ 23305 h 76188"/>
                <a:gd name="connsiteX20" fmla="*/ 4930 w 152377"/>
                <a:gd name="connsiteY20" fmla="*/ 41232 h 76188"/>
                <a:gd name="connsiteX21" fmla="*/ 4930 w 152377"/>
                <a:gd name="connsiteY21" fmla="*/ 17030 h 76188"/>
                <a:gd name="connsiteX22" fmla="*/ 2689 w 152377"/>
                <a:gd name="connsiteY22" fmla="*/ 14790 h 76188"/>
                <a:gd name="connsiteX23" fmla="*/ 448 w 152377"/>
                <a:gd name="connsiteY23" fmla="*/ 17030 h 76188"/>
                <a:gd name="connsiteX24" fmla="*/ 448 w 152377"/>
                <a:gd name="connsiteY24" fmla="*/ 46610 h 76188"/>
                <a:gd name="connsiteX25" fmla="*/ 448 w 152377"/>
                <a:gd name="connsiteY25" fmla="*/ 46610 h 76188"/>
                <a:gd name="connsiteX26" fmla="*/ 0 w 152377"/>
                <a:gd name="connsiteY26" fmla="*/ 47506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377" h="76188">
                  <a:moveTo>
                    <a:pt x="0" y="47506"/>
                  </a:moveTo>
                  <a:cubicBezTo>
                    <a:pt x="0" y="47506"/>
                    <a:pt x="0" y="47506"/>
                    <a:pt x="0" y="47506"/>
                  </a:cubicBezTo>
                  <a:cubicBezTo>
                    <a:pt x="0" y="47954"/>
                    <a:pt x="0" y="47954"/>
                    <a:pt x="0" y="47954"/>
                  </a:cubicBezTo>
                  <a:cubicBezTo>
                    <a:pt x="0" y="47954"/>
                    <a:pt x="0" y="48402"/>
                    <a:pt x="448" y="48402"/>
                  </a:cubicBezTo>
                  <a:cubicBezTo>
                    <a:pt x="448" y="48402"/>
                    <a:pt x="448" y="48402"/>
                    <a:pt x="448" y="48402"/>
                  </a:cubicBezTo>
                  <a:cubicBezTo>
                    <a:pt x="448" y="48402"/>
                    <a:pt x="448" y="48402"/>
                    <a:pt x="896" y="48402"/>
                  </a:cubicBezTo>
                  <a:cubicBezTo>
                    <a:pt x="896" y="48402"/>
                    <a:pt x="1345" y="48402"/>
                    <a:pt x="1345" y="48850"/>
                  </a:cubicBezTo>
                  <a:cubicBezTo>
                    <a:pt x="1345" y="48850"/>
                    <a:pt x="1793" y="48850"/>
                    <a:pt x="1793" y="48850"/>
                  </a:cubicBezTo>
                  <a:cubicBezTo>
                    <a:pt x="1793" y="48850"/>
                    <a:pt x="1793" y="48850"/>
                    <a:pt x="2241" y="48850"/>
                  </a:cubicBezTo>
                  <a:lnTo>
                    <a:pt x="31820" y="48850"/>
                  </a:lnTo>
                  <a:cubicBezTo>
                    <a:pt x="33165" y="48850"/>
                    <a:pt x="34061" y="47954"/>
                    <a:pt x="34061" y="46610"/>
                  </a:cubicBezTo>
                  <a:cubicBezTo>
                    <a:pt x="34061" y="45265"/>
                    <a:pt x="33165" y="44369"/>
                    <a:pt x="31820" y="44369"/>
                  </a:cubicBezTo>
                  <a:lnTo>
                    <a:pt x="7619" y="44369"/>
                  </a:lnTo>
                  <a:lnTo>
                    <a:pt x="25098" y="26442"/>
                  </a:lnTo>
                  <a:cubicBezTo>
                    <a:pt x="38543" y="12549"/>
                    <a:pt x="56918" y="4482"/>
                    <a:pt x="76637" y="4482"/>
                  </a:cubicBezTo>
                  <a:cubicBezTo>
                    <a:pt x="116076" y="4482"/>
                    <a:pt x="148344" y="36750"/>
                    <a:pt x="148344" y="76189"/>
                  </a:cubicBezTo>
                  <a:cubicBezTo>
                    <a:pt x="148344" y="77533"/>
                    <a:pt x="149241" y="78430"/>
                    <a:pt x="150585" y="78430"/>
                  </a:cubicBezTo>
                  <a:cubicBezTo>
                    <a:pt x="151930" y="78430"/>
                    <a:pt x="152826" y="77533"/>
                    <a:pt x="152826" y="76189"/>
                  </a:cubicBezTo>
                  <a:cubicBezTo>
                    <a:pt x="152826" y="34061"/>
                    <a:pt x="118765" y="0"/>
                    <a:pt x="76637" y="0"/>
                  </a:cubicBezTo>
                  <a:cubicBezTo>
                    <a:pt x="56021" y="0"/>
                    <a:pt x="36302" y="8067"/>
                    <a:pt x="21960" y="23305"/>
                  </a:cubicBezTo>
                  <a:lnTo>
                    <a:pt x="4930" y="41232"/>
                  </a:lnTo>
                  <a:lnTo>
                    <a:pt x="4930" y="17030"/>
                  </a:lnTo>
                  <a:cubicBezTo>
                    <a:pt x="4930" y="15686"/>
                    <a:pt x="4034" y="14790"/>
                    <a:pt x="2689" y="14790"/>
                  </a:cubicBezTo>
                  <a:cubicBezTo>
                    <a:pt x="1345" y="14790"/>
                    <a:pt x="448" y="15686"/>
                    <a:pt x="448" y="17030"/>
                  </a:cubicBezTo>
                  <a:lnTo>
                    <a:pt x="448" y="46610"/>
                  </a:lnTo>
                  <a:cubicBezTo>
                    <a:pt x="448" y="46610"/>
                    <a:pt x="448" y="46610"/>
                    <a:pt x="448" y="46610"/>
                  </a:cubicBezTo>
                  <a:cubicBezTo>
                    <a:pt x="0" y="47058"/>
                    <a:pt x="0" y="47058"/>
                    <a:pt x="0" y="47506"/>
                  </a:cubicBezTo>
                  <a:close/>
                </a:path>
              </a:pathLst>
            </a:custGeom>
            <a:solidFill>
              <a:srgbClr val="231F20"/>
            </a:solidFill>
            <a:ln w="4477" cap="flat">
              <a:noFill/>
              <a:prstDash val="solid"/>
              <a:miter/>
            </a:ln>
          </p:spPr>
          <p:txBody>
            <a:bodyPr rtlCol="0" anchor="ctr"/>
            <a:lstStyle/>
            <a:p>
              <a:endParaRPr lang="en-US"/>
            </a:p>
          </p:txBody>
        </p:sp>
        <p:sp>
          <p:nvSpPr>
            <p:cNvPr id="3686" name="Freeform: Shape 3685">
              <a:extLst>
                <a:ext uri="{FF2B5EF4-FFF2-40B4-BE49-F238E27FC236}">
                  <a16:creationId xmlns:a16="http://schemas.microsoft.com/office/drawing/2014/main" id="{739B7C16-EDA9-4932-8EB8-830E62B49DD2}"/>
                </a:ext>
              </a:extLst>
            </p:cNvPr>
            <p:cNvSpPr/>
            <p:nvPr/>
          </p:nvSpPr>
          <p:spPr>
            <a:xfrm>
              <a:off x="6739594" y="4628239"/>
              <a:ext cx="152378" cy="76189"/>
            </a:xfrm>
            <a:custGeom>
              <a:avLst/>
              <a:gdLst>
                <a:gd name="connsiteX0" fmla="*/ 152826 w 152377"/>
                <a:gd name="connsiteY0" fmla="*/ 30924 h 76188"/>
                <a:gd name="connsiteX1" fmla="*/ 152826 w 152377"/>
                <a:gd name="connsiteY1" fmla="*/ 30924 h 76188"/>
                <a:gd name="connsiteX2" fmla="*/ 152826 w 152377"/>
                <a:gd name="connsiteY2" fmla="*/ 30476 h 76188"/>
                <a:gd name="connsiteX3" fmla="*/ 152378 w 152377"/>
                <a:gd name="connsiteY3" fmla="*/ 30027 h 76188"/>
                <a:gd name="connsiteX4" fmla="*/ 152378 w 152377"/>
                <a:gd name="connsiteY4" fmla="*/ 30027 h 76188"/>
                <a:gd name="connsiteX5" fmla="*/ 151930 w 152377"/>
                <a:gd name="connsiteY5" fmla="*/ 30027 h 76188"/>
                <a:gd name="connsiteX6" fmla="*/ 151482 w 152377"/>
                <a:gd name="connsiteY6" fmla="*/ 29579 h 76188"/>
                <a:gd name="connsiteX7" fmla="*/ 151033 w 152377"/>
                <a:gd name="connsiteY7" fmla="*/ 29579 h 76188"/>
                <a:gd name="connsiteX8" fmla="*/ 150585 w 152377"/>
                <a:gd name="connsiteY8" fmla="*/ 29579 h 76188"/>
                <a:gd name="connsiteX9" fmla="*/ 121006 w 152377"/>
                <a:gd name="connsiteY9" fmla="*/ 29579 h 76188"/>
                <a:gd name="connsiteX10" fmla="*/ 118765 w 152377"/>
                <a:gd name="connsiteY10" fmla="*/ 31820 h 76188"/>
                <a:gd name="connsiteX11" fmla="*/ 121006 w 152377"/>
                <a:gd name="connsiteY11" fmla="*/ 34061 h 76188"/>
                <a:gd name="connsiteX12" fmla="*/ 145207 w 152377"/>
                <a:gd name="connsiteY12" fmla="*/ 34061 h 76188"/>
                <a:gd name="connsiteX13" fmla="*/ 127729 w 152377"/>
                <a:gd name="connsiteY13" fmla="*/ 51988 h 76188"/>
                <a:gd name="connsiteX14" fmla="*/ 76189 w 152377"/>
                <a:gd name="connsiteY14" fmla="*/ 73948 h 76188"/>
                <a:gd name="connsiteX15" fmla="*/ 4482 w 152377"/>
                <a:gd name="connsiteY15" fmla="*/ 2241 h 76188"/>
                <a:gd name="connsiteX16" fmla="*/ 2241 w 152377"/>
                <a:gd name="connsiteY16" fmla="*/ 0 h 76188"/>
                <a:gd name="connsiteX17" fmla="*/ 0 w 152377"/>
                <a:gd name="connsiteY17" fmla="*/ 2241 h 76188"/>
                <a:gd name="connsiteX18" fmla="*/ 76189 w 152377"/>
                <a:gd name="connsiteY18" fmla="*/ 78430 h 76188"/>
                <a:gd name="connsiteX19" fmla="*/ 130866 w 152377"/>
                <a:gd name="connsiteY19" fmla="*/ 55125 h 76188"/>
                <a:gd name="connsiteX20" fmla="*/ 147896 w 152377"/>
                <a:gd name="connsiteY20" fmla="*/ 37198 h 76188"/>
                <a:gd name="connsiteX21" fmla="*/ 147896 w 152377"/>
                <a:gd name="connsiteY21" fmla="*/ 61399 h 76188"/>
                <a:gd name="connsiteX22" fmla="*/ 150137 w 152377"/>
                <a:gd name="connsiteY22" fmla="*/ 63640 h 76188"/>
                <a:gd name="connsiteX23" fmla="*/ 152378 w 152377"/>
                <a:gd name="connsiteY23" fmla="*/ 61399 h 76188"/>
                <a:gd name="connsiteX24" fmla="*/ 152378 w 152377"/>
                <a:gd name="connsiteY24" fmla="*/ 31820 h 76188"/>
                <a:gd name="connsiteX25" fmla="*/ 152378 w 152377"/>
                <a:gd name="connsiteY25" fmla="*/ 31820 h 76188"/>
                <a:gd name="connsiteX26" fmla="*/ 152826 w 152377"/>
                <a:gd name="connsiteY26" fmla="*/ 30924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377" h="76188">
                  <a:moveTo>
                    <a:pt x="152826" y="30924"/>
                  </a:moveTo>
                  <a:cubicBezTo>
                    <a:pt x="152826" y="30924"/>
                    <a:pt x="152826" y="30924"/>
                    <a:pt x="152826" y="30924"/>
                  </a:cubicBezTo>
                  <a:cubicBezTo>
                    <a:pt x="152826" y="30476"/>
                    <a:pt x="152826" y="30476"/>
                    <a:pt x="152826" y="30476"/>
                  </a:cubicBezTo>
                  <a:cubicBezTo>
                    <a:pt x="152826" y="30476"/>
                    <a:pt x="152826" y="30027"/>
                    <a:pt x="152378" y="30027"/>
                  </a:cubicBezTo>
                  <a:cubicBezTo>
                    <a:pt x="152378" y="30027"/>
                    <a:pt x="152378" y="30027"/>
                    <a:pt x="152378" y="30027"/>
                  </a:cubicBezTo>
                  <a:cubicBezTo>
                    <a:pt x="152378" y="30027"/>
                    <a:pt x="152378" y="30027"/>
                    <a:pt x="151930" y="30027"/>
                  </a:cubicBezTo>
                  <a:cubicBezTo>
                    <a:pt x="151930" y="30027"/>
                    <a:pt x="151482" y="30027"/>
                    <a:pt x="151482" y="29579"/>
                  </a:cubicBezTo>
                  <a:cubicBezTo>
                    <a:pt x="151482" y="29579"/>
                    <a:pt x="151033" y="29579"/>
                    <a:pt x="151033" y="29579"/>
                  </a:cubicBezTo>
                  <a:cubicBezTo>
                    <a:pt x="151033" y="29579"/>
                    <a:pt x="151033" y="29579"/>
                    <a:pt x="150585" y="29579"/>
                  </a:cubicBezTo>
                  <a:lnTo>
                    <a:pt x="121006" y="29579"/>
                  </a:lnTo>
                  <a:cubicBezTo>
                    <a:pt x="119661" y="29579"/>
                    <a:pt x="118765" y="30476"/>
                    <a:pt x="118765" y="31820"/>
                  </a:cubicBezTo>
                  <a:cubicBezTo>
                    <a:pt x="118765" y="33165"/>
                    <a:pt x="119661" y="34061"/>
                    <a:pt x="121006" y="34061"/>
                  </a:cubicBezTo>
                  <a:lnTo>
                    <a:pt x="145207" y="34061"/>
                  </a:lnTo>
                  <a:lnTo>
                    <a:pt x="127729" y="51988"/>
                  </a:lnTo>
                  <a:cubicBezTo>
                    <a:pt x="114283" y="65881"/>
                    <a:pt x="95908" y="73948"/>
                    <a:pt x="76189" y="73948"/>
                  </a:cubicBezTo>
                  <a:cubicBezTo>
                    <a:pt x="36750" y="73948"/>
                    <a:pt x="4482" y="41680"/>
                    <a:pt x="4482" y="2241"/>
                  </a:cubicBezTo>
                  <a:cubicBezTo>
                    <a:pt x="4482" y="896"/>
                    <a:pt x="3585" y="0"/>
                    <a:pt x="2241" y="0"/>
                  </a:cubicBezTo>
                  <a:cubicBezTo>
                    <a:pt x="896" y="0"/>
                    <a:pt x="0" y="896"/>
                    <a:pt x="0" y="2241"/>
                  </a:cubicBezTo>
                  <a:cubicBezTo>
                    <a:pt x="0" y="44369"/>
                    <a:pt x="34061" y="78430"/>
                    <a:pt x="76189" y="78430"/>
                  </a:cubicBezTo>
                  <a:cubicBezTo>
                    <a:pt x="96805" y="78430"/>
                    <a:pt x="116524" y="70363"/>
                    <a:pt x="130866" y="55125"/>
                  </a:cubicBezTo>
                  <a:lnTo>
                    <a:pt x="147896" y="37198"/>
                  </a:lnTo>
                  <a:lnTo>
                    <a:pt x="147896" y="61399"/>
                  </a:lnTo>
                  <a:cubicBezTo>
                    <a:pt x="147896" y="62744"/>
                    <a:pt x="148792" y="63640"/>
                    <a:pt x="150137" y="63640"/>
                  </a:cubicBezTo>
                  <a:cubicBezTo>
                    <a:pt x="151482" y="63640"/>
                    <a:pt x="152378" y="62744"/>
                    <a:pt x="152378" y="61399"/>
                  </a:cubicBezTo>
                  <a:lnTo>
                    <a:pt x="152378" y="31820"/>
                  </a:lnTo>
                  <a:cubicBezTo>
                    <a:pt x="152378" y="31820"/>
                    <a:pt x="152378" y="31820"/>
                    <a:pt x="152378" y="31820"/>
                  </a:cubicBezTo>
                  <a:cubicBezTo>
                    <a:pt x="152826" y="31372"/>
                    <a:pt x="152826" y="30924"/>
                    <a:pt x="152826" y="30924"/>
                  </a:cubicBezTo>
                  <a:close/>
                </a:path>
              </a:pathLst>
            </a:custGeom>
            <a:solidFill>
              <a:srgbClr val="231F20"/>
            </a:solidFill>
            <a:ln w="4477" cap="flat">
              <a:noFill/>
              <a:prstDash val="solid"/>
              <a:miter/>
            </a:ln>
          </p:spPr>
          <p:txBody>
            <a:bodyPr rtlCol="0" anchor="ctr"/>
            <a:lstStyle/>
            <a:p>
              <a:endParaRPr lang="en-US"/>
            </a:p>
          </p:txBody>
        </p:sp>
      </p:grpSp>
      <p:sp>
        <p:nvSpPr>
          <p:cNvPr id="3687" name="Freeform: Shape 3686">
            <a:extLst>
              <a:ext uri="{FF2B5EF4-FFF2-40B4-BE49-F238E27FC236}">
                <a16:creationId xmlns:a16="http://schemas.microsoft.com/office/drawing/2014/main" id="{B70F4687-A98B-4A08-A9BC-C7F3244A410F}"/>
              </a:ext>
              <a:ext uri="{C183D7F6-B498-43B3-948B-1728B52AA6E4}">
                <adec:decorative xmlns:adec="http://schemas.microsoft.com/office/drawing/2017/decorative" val="1"/>
              </a:ext>
            </a:extLst>
          </p:cNvPr>
          <p:cNvSpPr>
            <a:spLocks noChangeAspect="1"/>
          </p:cNvSpPr>
          <p:nvPr/>
        </p:nvSpPr>
        <p:spPr>
          <a:xfrm>
            <a:off x="2689359" y="2053742"/>
            <a:ext cx="147896" cy="152378"/>
          </a:xfrm>
          <a:custGeom>
            <a:avLst/>
            <a:gdLst>
              <a:gd name="connsiteX0" fmla="*/ 150137 w 147896"/>
              <a:gd name="connsiteY0" fmla="*/ 150585 h 152377"/>
              <a:gd name="connsiteX1" fmla="*/ 130418 w 147896"/>
              <a:gd name="connsiteY1" fmla="*/ 150585 h 152377"/>
              <a:gd name="connsiteX2" fmla="*/ 130418 w 147896"/>
              <a:gd name="connsiteY2" fmla="*/ 105768 h 152377"/>
              <a:gd name="connsiteX3" fmla="*/ 132658 w 147896"/>
              <a:gd name="connsiteY3" fmla="*/ 105768 h 152377"/>
              <a:gd name="connsiteX4" fmla="*/ 135796 w 147896"/>
              <a:gd name="connsiteY4" fmla="*/ 102631 h 152377"/>
              <a:gd name="connsiteX5" fmla="*/ 135796 w 147896"/>
              <a:gd name="connsiteY5" fmla="*/ 93668 h 152377"/>
              <a:gd name="connsiteX6" fmla="*/ 132658 w 147896"/>
              <a:gd name="connsiteY6" fmla="*/ 90530 h 152377"/>
              <a:gd name="connsiteX7" fmla="*/ 127729 w 147896"/>
              <a:gd name="connsiteY7" fmla="*/ 90530 h 152377"/>
              <a:gd name="connsiteX8" fmla="*/ 127729 w 147896"/>
              <a:gd name="connsiteY8" fmla="*/ 40335 h 152377"/>
              <a:gd name="connsiteX9" fmla="*/ 135796 w 147896"/>
              <a:gd name="connsiteY9" fmla="*/ 30027 h 152377"/>
              <a:gd name="connsiteX10" fmla="*/ 135796 w 147896"/>
              <a:gd name="connsiteY10" fmla="*/ 18823 h 152377"/>
              <a:gd name="connsiteX11" fmla="*/ 138036 w 147896"/>
              <a:gd name="connsiteY11" fmla="*/ 18823 h 152377"/>
              <a:gd name="connsiteX12" fmla="*/ 141174 w 147896"/>
              <a:gd name="connsiteY12" fmla="*/ 15686 h 152377"/>
              <a:gd name="connsiteX13" fmla="*/ 141174 w 147896"/>
              <a:gd name="connsiteY13" fmla="*/ 3137 h 152377"/>
              <a:gd name="connsiteX14" fmla="*/ 138036 w 147896"/>
              <a:gd name="connsiteY14" fmla="*/ 0 h 152377"/>
              <a:gd name="connsiteX15" fmla="*/ 14341 w 147896"/>
              <a:gd name="connsiteY15" fmla="*/ 0 h 152377"/>
              <a:gd name="connsiteX16" fmla="*/ 11204 w 147896"/>
              <a:gd name="connsiteY16" fmla="*/ 3137 h 152377"/>
              <a:gd name="connsiteX17" fmla="*/ 11204 w 147896"/>
              <a:gd name="connsiteY17" fmla="*/ 15686 h 152377"/>
              <a:gd name="connsiteX18" fmla="*/ 14341 w 147896"/>
              <a:gd name="connsiteY18" fmla="*/ 18823 h 152377"/>
              <a:gd name="connsiteX19" fmla="*/ 16582 w 147896"/>
              <a:gd name="connsiteY19" fmla="*/ 18823 h 152377"/>
              <a:gd name="connsiteX20" fmla="*/ 16582 w 147896"/>
              <a:gd name="connsiteY20" fmla="*/ 30027 h 152377"/>
              <a:gd name="connsiteX21" fmla="*/ 24649 w 147896"/>
              <a:gd name="connsiteY21" fmla="*/ 40335 h 152377"/>
              <a:gd name="connsiteX22" fmla="*/ 24649 w 147896"/>
              <a:gd name="connsiteY22" fmla="*/ 90530 h 152377"/>
              <a:gd name="connsiteX23" fmla="*/ 19719 w 147896"/>
              <a:gd name="connsiteY23" fmla="*/ 90530 h 152377"/>
              <a:gd name="connsiteX24" fmla="*/ 16582 w 147896"/>
              <a:gd name="connsiteY24" fmla="*/ 93668 h 152377"/>
              <a:gd name="connsiteX25" fmla="*/ 16582 w 147896"/>
              <a:gd name="connsiteY25" fmla="*/ 102631 h 152377"/>
              <a:gd name="connsiteX26" fmla="*/ 19719 w 147896"/>
              <a:gd name="connsiteY26" fmla="*/ 105768 h 152377"/>
              <a:gd name="connsiteX27" fmla="*/ 21960 w 147896"/>
              <a:gd name="connsiteY27" fmla="*/ 105768 h 152377"/>
              <a:gd name="connsiteX28" fmla="*/ 21960 w 147896"/>
              <a:gd name="connsiteY28" fmla="*/ 150585 h 152377"/>
              <a:gd name="connsiteX29" fmla="*/ 2241 w 147896"/>
              <a:gd name="connsiteY29" fmla="*/ 150585 h 152377"/>
              <a:gd name="connsiteX30" fmla="*/ 0 w 147896"/>
              <a:gd name="connsiteY30" fmla="*/ 152826 h 152377"/>
              <a:gd name="connsiteX31" fmla="*/ 2241 w 147896"/>
              <a:gd name="connsiteY31" fmla="*/ 155067 h 152377"/>
              <a:gd name="connsiteX32" fmla="*/ 24201 w 147896"/>
              <a:gd name="connsiteY32" fmla="*/ 155067 h 152377"/>
              <a:gd name="connsiteX33" fmla="*/ 127729 w 147896"/>
              <a:gd name="connsiteY33" fmla="*/ 155067 h 152377"/>
              <a:gd name="connsiteX34" fmla="*/ 149689 w 147896"/>
              <a:gd name="connsiteY34" fmla="*/ 155067 h 152377"/>
              <a:gd name="connsiteX35" fmla="*/ 151930 w 147896"/>
              <a:gd name="connsiteY35" fmla="*/ 152826 h 152377"/>
              <a:gd name="connsiteX36" fmla="*/ 150137 w 147896"/>
              <a:gd name="connsiteY36" fmla="*/ 150585 h 152377"/>
              <a:gd name="connsiteX37" fmla="*/ 131762 w 147896"/>
              <a:gd name="connsiteY37" fmla="*/ 30027 h 152377"/>
              <a:gd name="connsiteX38" fmla="*/ 125936 w 147896"/>
              <a:gd name="connsiteY38" fmla="*/ 35854 h 152377"/>
              <a:gd name="connsiteX39" fmla="*/ 120110 w 147896"/>
              <a:gd name="connsiteY39" fmla="*/ 30027 h 152377"/>
              <a:gd name="connsiteX40" fmla="*/ 120110 w 147896"/>
              <a:gd name="connsiteY40" fmla="*/ 18823 h 152377"/>
              <a:gd name="connsiteX41" fmla="*/ 132210 w 147896"/>
              <a:gd name="connsiteY41" fmla="*/ 18823 h 152377"/>
              <a:gd name="connsiteX42" fmla="*/ 132210 w 147896"/>
              <a:gd name="connsiteY42" fmla="*/ 30027 h 152377"/>
              <a:gd name="connsiteX43" fmla="*/ 115180 w 147896"/>
              <a:gd name="connsiteY43" fmla="*/ 30027 h 152377"/>
              <a:gd name="connsiteX44" fmla="*/ 109353 w 147896"/>
              <a:gd name="connsiteY44" fmla="*/ 35854 h 152377"/>
              <a:gd name="connsiteX45" fmla="*/ 103527 w 147896"/>
              <a:gd name="connsiteY45" fmla="*/ 30027 h 152377"/>
              <a:gd name="connsiteX46" fmla="*/ 103527 w 147896"/>
              <a:gd name="connsiteY46" fmla="*/ 18823 h 152377"/>
              <a:gd name="connsiteX47" fmla="*/ 115628 w 147896"/>
              <a:gd name="connsiteY47" fmla="*/ 18823 h 152377"/>
              <a:gd name="connsiteX48" fmla="*/ 115628 w 147896"/>
              <a:gd name="connsiteY48" fmla="*/ 30027 h 152377"/>
              <a:gd name="connsiteX49" fmla="*/ 99046 w 147896"/>
              <a:gd name="connsiteY49" fmla="*/ 30027 h 152377"/>
              <a:gd name="connsiteX50" fmla="*/ 93219 w 147896"/>
              <a:gd name="connsiteY50" fmla="*/ 35854 h 152377"/>
              <a:gd name="connsiteX51" fmla="*/ 87393 w 147896"/>
              <a:gd name="connsiteY51" fmla="*/ 30027 h 152377"/>
              <a:gd name="connsiteX52" fmla="*/ 87393 w 147896"/>
              <a:gd name="connsiteY52" fmla="*/ 18823 h 152377"/>
              <a:gd name="connsiteX53" fmla="*/ 99494 w 147896"/>
              <a:gd name="connsiteY53" fmla="*/ 18823 h 152377"/>
              <a:gd name="connsiteX54" fmla="*/ 99494 w 147896"/>
              <a:gd name="connsiteY54" fmla="*/ 30027 h 152377"/>
              <a:gd name="connsiteX55" fmla="*/ 82463 w 147896"/>
              <a:gd name="connsiteY55" fmla="*/ 30027 h 152377"/>
              <a:gd name="connsiteX56" fmla="*/ 76637 w 147896"/>
              <a:gd name="connsiteY56" fmla="*/ 35854 h 152377"/>
              <a:gd name="connsiteX57" fmla="*/ 70811 w 147896"/>
              <a:gd name="connsiteY57" fmla="*/ 30027 h 152377"/>
              <a:gd name="connsiteX58" fmla="*/ 70811 w 147896"/>
              <a:gd name="connsiteY58" fmla="*/ 18823 h 152377"/>
              <a:gd name="connsiteX59" fmla="*/ 82911 w 147896"/>
              <a:gd name="connsiteY59" fmla="*/ 18823 h 152377"/>
              <a:gd name="connsiteX60" fmla="*/ 82911 w 147896"/>
              <a:gd name="connsiteY60" fmla="*/ 30027 h 152377"/>
              <a:gd name="connsiteX61" fmla="*/ 66329 w 147896"/>
              <a:gd name="connsiteY61" fmla="*/ 30027 h 152377"/>
              <a:gd name="connsiteX62" fmla="*/ 60503 w 147896"/>
              <a:gd name="connsiteY62" fmla="*/ 35854 h 152377"/>
              <a:gd name="connsiteX63" fmla="*/ 54677 w 147896"/>
              <a:gd name="connsiteY63" fmla="*/ 30027 h 152377"/>
              <a:gd name="connsiteX64" fmla="*/ 54677 w 147896"/>
              <a:gd name="connsiteY64" fmla="*/ 18823 h 152377"/>
              <a:gd name="connsiteX65" fmla="*/ 66777 w 147896"/>
              <a:gd name="connsiteY65" fmla="*/ 18823 h 152377"/>
              <a:gd name="connsiteX66" fmla="*/ 66777 w 147896"/>
              <a:gd name="connsiteY66" fmla="*/ 30027 h 152377"/>
              <a:gd name="connsiteX67" fmla="*/ 49747 w 147896"/>
              <a:gd name="connsiteY67" fmla="*/ 30027 h 152377"/>
              <a:gd name="connsiteX68" fmla="*/ 43921 w 147896"/>
              <a:gd name="connsiteY68" fmla="*/ 35854 h 152377"/>
              <a:gd name="connsiteX69" fmla="*/ 38094 w 147896"/>
              <a:gd name="connsiteY69" fmla="*/ 30027 h 152377"/>
              <a:gd name="connsiteX70" fmla="*/ 38094 w 147896"/>
              <a:gd name="connsiteY70" fmla="*/ 18823 h 152377"/>
              <a:gd name="connsiteX71" fmla="*/ 50195 w 147896"/>
              <a:gd name="connsiteY71" fmla="*/ 18823 h 152377"/>
              <a:gd name="connsiteX72" fmla="*/ 50195 w 147896"/>
              <a:gd name="connsiteY72" fmla="*/ 30027 h 152377"/>
              <a:gd name="connsiteX73" fmla="*/ 16134 w 147896"/>
              <a:gd name="connsiteY73" fmla="*/ 4482 h 152377"/>
              <a:gd name="connsiteX74" fmla="*/ 137140 w 147896"/>
              <a:gd name="connsiteY74" fmla="*/ 4482 h 152377"/>
              <a:gd name="connsiteX75" fmla="*/ 137140 w 147896"/>
              <a:gd name="connsiteY75" fmla="*/ 14342 h 152377"/>
              <a:gd name="connsiteX76" fmla="*/ 134003 w 147896"/>
              <a:gd name="connsiteY76" fmla="*/ 14342 h 152377"/>
              <a:gd name="connsiteX77" fmla="*/ 117421 w 147896"/>
              <a:gd name="connsiteY77" fmla="*/ 14342 h 152377"/>
              <a:gd name="connsiteX78" fmla="*/ 100838 w 147896"/>
              <a:gd name="connsiteY78" fmla="*/ 14342 h 152377"/>
              <a:gd name="connsiteX79" fmla="*/ 84256 w 147896"/>
              <a:gd name="connsiteY79" fmla="*/ 14342 h 152377"/>
              <a:gd name="connsiteX80" fmla="*/ 67674 w 147896"/>
              <a:gd name="connsiteY80" fmla="*/ 14342 h 152377"/>
              <a:gd name="connsiteX81" fmla="*/ 51091 w 147896"/>
              <a:gd name="connsiteY81" fmla="*/ 14342 h 152377"/>
              <a:gd name="connsiteX82" fmla="*/ 34509 w 147896"/>
              <a:gd name="connsiteY82" fmla="*/ 14342 h 152377"/>
              <a:gd name="connsiteX83" fmla="*/ 17927 w 147896"/>
              <a:gd name="connsiteY83" fmla="*/ 14342 h 152377"/>
              <a:gd name="connsiteX84" fmla="*/ 14790 w 147896"/>
              <a:gd name="connsiteY84" fmla="*/ 14342 h 152377"/>
              <a:gd name="connsiteX85" fmla="*/ 14790 w 147896"/>
              <a:gd name="connsiteY85" fmla="*/ 4482 h 152377"/>
              <a:gd name="connsiteX86" fmla="*/ 21512 w 147896"/>
              <a:gd name="connsiteY86" fmla="*/ 30027 h 152377"/>
              <a:gd name="connsiteX87" fmla="*/ 21512 w 147896"/>
              <a:gd name="connsiteY87" fmla="*/ 18823 h 152377"/>
              <a:gd name="connsiteX88" fmla="*/ 33613 w 147896"/>
              <a:gd name="connsiteY88" fmla="*/ 18823 h 152377"/>
              <a:gd name="connsiteX89" fmla="*/ 33613 w 147896"/>
              <a:gd name="connsiteY89" fmla="*/ 30027 h 152377"/>
              <a:gd name="connsiteX90" fmla="*/ 27786 w 147896"/>
              <a:gd name="connsiteY90" fmla="*/ 35854 h 152377"/>
              <a:gd name="connsiteX91" fmla="*/ 21512 w 147896"/>
              <a:gd name="connsiteY91" fmla="*/ 30027 h 152377"/>
              <a:gd name="connsiteX92" fmla="*/ 30027 w 147896"/>
              <a:gd name="connsiteY92" fmla="*/ 40335 h 152377"/>
              <a:gd name="connsiteX93" fmla="*/ 35854 w 147896"/>
              <a:gd name="connsiteY93" fmla="*/ 36750 h 152377"/>
              <a:gd name="connsiteX94" fmla="*/ 43921 w 147896"/>
              <a:gd name="connsiteY94" fmla="*/ 40783 h 152377"/>
              <a:gd name="connsiteX95" fmla="*/ 51988 w 147896"/>
              <a:gd name="connsiteY95" fmla="*/ 36750 h 152377"/>
              <a:gd name="connsiteX96" fmla="*/ 60055 w 147896"/>
              <a:gd name="connsiteY96" fmla="*/ 40783 h 152377"/>
              <a:gd name="connsiteX97" fmla="*/ 68122 w 147896"/>
              <a:gd name="connsiteY97" fmla="*/ 36750 h 152377"/>
              <a:gd name="connsiteX98" fmla="*/ 76189 w 147896"/>
              <a:gd name="connsiteY98" fmla="*/ 40783 h 152377"/>
              <a:gd name="connsiteX99" fmla="*/ 84256 w 147896"/>
              <a:gd name="connsiteY99" fmla="*/ 36750 h 152377"/>
              <a:gd name="connsiteX100" fmla="*/ 92323 w 147896"/>
              <a:gd name="connsiteY100" fmla="*/ 40783 h 152377"/>
              <a:gd name="connsiteX101" fmla="*/ 100390 w 147896"/>
              <a:gd name="connsiteY101" fmla="*/ 36750 h 152377"/>
              <a:gd name="connsiteX102" fmla="*/ 108457 w 147896"/>
              <a:gd name="connsiteY102" fmla="*/ 40783 h 152377"/>
              <a:gd name="connsiteX103" fmla="*/ 116524 w 147896"/>
              <a:gd name="connsiteY103" fmla="*/ 36750 h 152377"/>
              <a:gd name="connsiteX104" fmla="*/ 122350 w 147896"/>
              <a:gd name="connsiteY104" fmla="*/ 40335 h 152377"/>
              <a:gd name="connsiteX105" fmla="*/ 122350 w 147896"/>
              <a:gd name="connsiteY105" fmla="*/ 90530 h 152377"/>
              <a:gd name="connsiteX106" fmla="*/ 28683 w 147896"/>
              <a:gd name="connsiteY106" fmla="*/ 90530 h 152377"/>
              <a:gd name="connsiteX107" fmla="*/ 28683 w 147896"/>
              <a:gd name="connsiteY107" fmla="*/ 40335 h 152377"/>
              <a:gd name="connsiteX108" fmla="*/ 21512 w 147896"/>
              <a:gd name="connsiteY108" fmla="*/ 95012 h 152377"/>
              <a:gd name="connsiteX109" fmla="*/ 131762 w 147896"/>
              <a:gd name="connsiteY109" fmla="*/ 95012 h 152377"/>
              <a:gd name="connsiteX110" fmla="*/ 131762 w 147896"/>
              <a:gd name="connsiteY110" fmla="*/ 101286 h 152377"/>
              <a:gd name="connsiteX111" fmla="*/ 128625 w 147896"/>
              <a:gd name="connsiteY111" fmla="*/ 101286 h 152377"/>
              <a:gd name="connsiteX112" fmla="*/ 25098 w 147896"/>
              <a:gd name="connsiteY112" fmla="*/ 101286 h 152377"/>
              <a:gd name="connsiteX113" fmla="*/ 21960 w 147896"/>
              <a:gd name="connsiteY113" fmla="*/ 101286 h 152377"/>
              <a:gd name="connsiteX114" fmla="*/ 21960 w 147896"/>
              <a:gd name="connsiteY114" fmla="*/ 95012 h 152377"/>
              <a:gd name="connsiteX115" fmla="*/ 63640 w 147896"/>
              <a:gd name="connsiteY115" fmla="*/ 106216 h 152377"/>
              <a:gd name="connsiteX116" fmla="*/ 63640 w 147896"/>
              <a:gd name="connsiteY116" fmla="*/ 151033 h 152377"/>
              <a:gd name="connsiteX117" fmla="*/ 46161 w 147896"/>
              <a:gd name="connsiteY117" fmla="*/ 151033 h 152377"/>
              <a:gd name="connsiteX118" fmla="*/ 46161 w 147896"/>
              <a:gd name="connsiteY118" fmla="*/ 106216 h 152377"/>
              <a:gd name="connsiteX119" fmla="*/ 63640 w 147896"/>
              <a:gd name="connsiteY119" fmla="*/ 106216 h 152377"/>
              <a:gd name="connsiteX120" fmla="*/ 68122 w 147896"/>
              <a:gd name="connsiteY120" fmla="*/ 106216 h 152377"/>
              <a:gd name="connsiteX121" fmla="*/ 86497 w 147896"/>
              <a:gd name="connsiteY121" fmla="*/ 106216 h 152377"/>
              <a:gd name="connsiteX122" fmla="*/ 86497 w 147896"/>
              <a:gd name="connsiteY122" fmla="*/ 151033 h 152377"/>
              <a:gd name="connsiteX123" fmla="*/ 68122 w 147896"/>
              <a:gd name="connsiteY123" fmla="*/ 151033 h 152377"/>
              <a:gd name="connsiteX124" fmla="*/ 68122 w 147896"/>
              <a:gd name="connsiteY124" fmla="*/ 106216 h 152377"/>
              <a:gd name="connsiteX125" fmla="*/ 90978 w 147896"/>
              <a:gd name="connsiteY125" fmla="*/ 106216 h 152377"/>
              <a:gd name="connsiteX126" fmla="*/ 108457 w 147896"/>
              <a:gd name="connsiteY126" fmla="*/ 106216 h 152377"/>
              <a:gd name="connsiteX127" fmla="*/ 108457 w 147896"/>
              <a:gd name="connsiteY127" fmla="*/ 151033 h 152377"/>
              <a:gd name="connsiteX128" fmla="*/ 90978 w 147896"/>
              <a:gd name="connsiteY128" fmla="*/ 151033 h 152377"/>
              <a:gd name="connsiteX129" fmla="*/ 90978 w 147896"/>
              <a:gd name="connsiteY129" fmla="*/ 106216 h 152377"/>
              <a:gd name="connsiteX130" fmla="*/ 27338 w 147896"/>
              <a:gd name="connsiteY130" fmla="*/ 106216 h 152377"/>
              <a:gd name="connsiteX131" fmla="*/ 42128 w 147896"/>
              <a:gd name="connsiteY131" fmla="*/ 106216 h 152377"/>
              <a:gd name="connsiteX132" fmla="*/ 42128 w 147896"/>
              <a:gd name="connsiteY132" fmla="*/ 151033 h 152377"/>
              <a:gd name="connsiteX133" fmla="*/ 27338 w 147896"/>
              <a:gd name="connsiteY133" fmla="*/ 151033 h 152377"/>
              <a:gd name="connsiteX134" fmla="*/ 27338 w 147896"/>
              <a:gd name="connsiteY134" fmla="*/ 106216 h 152377"/>
              <a:gd name="connsiteX135" fmla="*/ 113387 w 147896"/>
              <a:gd name="connsiteY135" fmla="*/ 150585 h 152377"/>
              <a:gd name="connsiteX136" fmla="*/ 113387 w 147896"/>
              <a:gd name="connsiteY136" fmla="*/ 105768 h 152377"/>
              <a:gd name="connsiteX137" fmla="*/ 126384 w 147896"/>
              <a:gd name="connsiteY137" fmla="*/ 105768 h 152377"/>
              <a:gd name="connsiteX138" fmla="*/ 126384 w 147896"/>
              <a:gd name="connsiteY138" fmla="*/ 150585 h 152377"/>
              <a:gd name="connsiteX139" fmla="*/ 113387 w 147896"/>
              <a:gd name="connsiteY139" fmla="*/ 15058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47896" h="152377">
                <a:moveTo>
                  <a:pt x="150137" y="150585"/>
                </a:moveTo>
                <a:lnTo>
                  <a:pt x="130418" y="150585"/>
                </a:lnTo>
                <a:lnTo>
                  <a:pt x="130418" y="105768"/>
                </a:lnTo>
                <a:lnTo>
                  <a:pt x="132658" y="105768"/>
                </a:lnTo>
                <a:cubicBezTo>
                  <a:pt x="134451" y="105768"/>
                  <a:pt x="135796" y="104424"/>
                  <a:pt x="135796" y="102631"/>
                </a:cubicBezTo>
                <a:lnTo>
                  <a:pt x="135796" y="93668"/>
                </a:lnTo>
                <a:cubicBezTo>
                  <a:pt x="135796" y="91875"/>
                  <a:pt x="134451" y="90530"/>
                  <a:pt x="132658" y="90530"/>
                </a:cubicBezTo>
                <a:lnTo>
                  <a:pt x="127729" y="90530"/>
                </a:lnTo>
                <a:lnTo>
                  <a:pt x="127729" y="40335"/>
                </a:lnTo>
                <a:cubicBezTo>
                  <a:pt x="132210" y="39439"/>
                  <a:pt x="135796" y="34957"/>
                  <a:pt x="135796" y="30027"/>
                </a:cubicBezTo>
                <a:lnTo>
                  <a:pt x="135796" y="18823"/>
                </a:lnTo>
                <a:lnTo>
                  <a:pt x="138036" y="18823"/>
                </a:lnTo>
                <a:cubicBezTo>
                  <a:pt x="139829" y="18823"/>
                  <a:pt x="141174" y="17479"/>
                  <a:pt x="141174" y="15686"/>
                </a:cubicBezTo>
                <a:lnTo>
                  <a:pt x="141174" y="3137"/>
                </a:lnTo>
                <a:cubicBezTo>
                  <a:pt x="141174" y="1344"/>
                  <a:pt x="139829" y="0"/>
                  <a:pt x="138036" y="0"/>
                </a:cubicBezTo>
                <a:lnTo>
                  <a:pt x="14341" y="0"/>
                </a:lnTo>
                <a:cubicBezTo>
                  <a:pt x="12549" y="0"/>
                  <a:pt x="11204" y="1344"/>
                  <a:pt x="11204" y="3137"/>
                </a:cubicBezTo>
                <a:lnTo>
                  <a:pt x="11204" y="15686"/>
                </a:lnTo>
                <a:cubicBezTo>
                  <a:pt x="11204" y="17479"/>
                  <a:pt x="12549" y="18823"/>
                  <a:pt x="14341" y="18823"/>
                </a:cubicBezTo>
                <a:lnTo>
                  <a:pt x="16582" y="18823"/>
                </a:lnTo>
                <a:lnTo>
                  <a:pt x="16582" y="30027"/>
                </a:lnTo>
                <a:cubicBezTo>
                  <a:pt x="16582" y="34957"/>
                  <a:pt x="20168" y="38991"/>
                  <a:pt x="24649" y="40335"/>
                </a:cubicBezTo>
                <a:lnTo>
                  <a:pt x="24649" y="90530"/>
                </a:lnTo>
                <a:lnTo>
                  <a:pt x="19719" y="90530"/>
                </a:lnTo>
                <a:cubicBezTo>
                  <a:pt x="17927" y="90530"/>
                  <a:pt x="16582" y="91875"/>
                  <a:pt x="16582" y="93668"/>
                </a:cubicBezTo>
                <a:lnTo>
                  <a:pt x="16582" y="102631"/>
                </a:lnTo>
                <a:cubicBezTo>
                  <a:pt x="16582" y="104424"/>
                  <a:pt x="17927" y="105768"/>
                  <a:pt x="19719" y="105768"/>
                </a:cubicBezTo>
                <a:lnTo>
                  <a:pt x="21960" y="105768"/>
                </a:lnTo>
                <a:lnTo>
                  <a:pt x="21960" y="150585"/>
                </a:lnTo>
                <a:lnTo>
                  <a:pt x="2241" y="150585"/>
                </a:lnTo>
                <a:cubicBezTo>
                  <a:pt x="896" y="150585"/>
                  <a:pt x="0" y="151482"/>
                  <a:pt x="0" y="152826"/>
                </a:cubicBezTo>
                <a:cubicBezTo>
                  <a:pt x="0" y="154171"/>
                  <a:pt x="896" y="155067"/>
                  <a:pt x="2241" y="155067"/>
                </a:cubicBezTo>
                <a:lnTo>
                  <a:pt x="24201" y="155067"/>
                </a:lnTo>
                <a:lnTo>
                  <a:pt x="127729" y="155067"/>
                </a:lnTo>
                <a:lnTo>
                  <a:pt x="149689" y="155067"/>
                </a:lnTo>
                <a:cubicBezTo>
                  <a:pt x="151033" y="155067"/>
                  <a:pt x="151930" y="154171"/>
                  <a:pt x="151930" y="152826"/>
                </a:cubicBezTo>
                <a:cubicBezTo>
                  <a:pt x="152378" y="151482"/>
                  <a:pt x="151481" y="150585"/>
                  <a:pt x="150137" y="150585"/>
                </a:cubicBezTo>
                <a:close/>
                <a:moveTo>
                  <a:pt x="131762" y="30027"/>
                </a:moveTo>
                <a:cubicBezTo>
                  <a:pt x="131762" y="33165"/>
                  <a:pt x="129073" y="35854"/>
                  <a:pt x="125936" y="35854"/>
                </a:cubicBezTo>
                <a:cubicBezTo>
                  <a:pt x="122799" y="35854"/>
                  <a:pt x="120110" y="33165"/>
                  <a:pt x="120110" y="30027"/>
                </a:cubicBezTo>
                <a:lnTo>
                  <a:pt x="120110" y="18823"/>
                </a:lnTo>
                <a:lnTo>
                  <a:pt x="132210" y="18823"/>
                </a:lnTo>
                <a:lnTo>
                  <a:pt x="132210" y="30027"/>
                </a:lnTo>
                <a:close/>
                <a:moveTo>
                  <a:pt x="115180" y="30027"/>
                </a:moveTo>
                <a:cubicBezTo>
                  <a:pt x="115180" y="33165"/>
                  <a:pt x="112491" y="35854"/>
                  <a:pt x="109353" y="35854"/>
                </a:cubicBezTo>
                <a:cubicBezTo>
                  <a:pt x="106216" y="35854"/>
                  <a:pt x="103527" y="33165"/>
                  <a:pt x="103527" y="30027"/>
                </a:cubicBezTo>
                <a:lnTo>
                  <a:pt x="103527" y="18823"/>
                </a:lnTo>
                <a:lnTo>
                  <a:pt x="115628" y="18823"/>
                </a:lnTo>
                <a:lnTo>
                  <a:pt x="115628" y="30027"/>
                </a:lnTo>
                <a:close/>
                <a:moveTo>
                  <a:pt x="99046" y="30027"/>
                </a:moveTo>
                <a:cubicBezTo>
                  <a:pt x="99046" y="33165"/>
                  <a:pt x="96357" y="35854"/>
                  <a:pt x="93219" y="35854"/>
                </a:cubicBezTo>
                <a:cubicBezTo>
                  <a:pt x="90082" y="35854"/>
                  <a:pt x="87393" y="33165"/>
                  <a:pt x="87393" y="30027"/>
                </a:cubicBezTo>
                <a:lnTo>
                  <a:pt x="87393" y="18823"/>
                </a:lnTo>
                <a:lnTo>
                  <a:pt x="99494" y="18823"/>
                </a:lnTo>
                <a:lnTo>
                  <a:pt x="99494" y="30027"/>
                </a:lnTo>
                <a:close/>
                <a:moveTo>
                  <a:pt x="82463" y="30027"/>
                </a:moveTo>
                <a:cubicBezTo>
                  <a:pt x="82463" y="33165"/>
                  <a:pt x="79774" y="35854"/>
                  <a:pt x="76637" y="35854"/>
                </a:cubicBezTo>
                <a:cubicBezTo>
                  <a:pt x="73500" y="35854"/>
                  <a:pt x="70811" y="33165"/>
                  <a:pt x="70811" y="30027"/>
                </a:cubicBezTo>
                <a:lnTo>
                  <a:pt x="70811" y="18823"/>
                </a:lnTo>
                <a:lnTo>
                  <a:pt x="82911" y="18823"/>
                </a:lnTo>
                <a:lnTo>
                  <a:pt x="82911" y="30027"/>
                </a:lnTo>
                <a:close/>
                <a:moveTo>
                  <a:pt x="66329" y="30027"/>
                </a:moveTo>
                <a:cubicBezTo>
                  <a:pt x="66329" y="33165"/>
                  <a:pt x="63640" y="35854"/>
                  <a:pt x="60503" y="35854"/>
                </a:cubicBezTo>
                <a:cubicBezTo>
                  <a:pt x="57366" y="35854"/>
                  <a:pt x="54677" y="33165"/>
                  <a:pt x="54677" y="30027"/>
                </a:cubicBezTo>
                <a:lnTo>
                  <a:pt x="54677" y="18823"/>
                </a:lnTo>
                <a:lnTo>
                  <a:pt x="66777" y="18823"/>
                </a:lnTo>
                <a:lnTo>
                  <a:pt x="66777" y="30027"/>
                </a:lnTo>
                <a:close/>
                <a:moveTo>
                  <a:pt x="49747" y="30027"/>
                </a:moveTo>
                <a:cubicBezTo>
                  <a:pt x="49747" y="33165"/>
                  <a:pt x="47058" y="35854"/>
                  <a:pt x="43921" y="35854"/>
                </a:cubicBezTo>
                <a:cubicBezTo>
                  <a:pt x="40784" y="35854"/>
                  <a:pt x="38094" y="33165"/>
                  <a:pt x="38094" y="30027"/>
                </a:cubicBezTo>
                <a:lnTo>
                  <a:pt x="38094" y="18823"/>
                </a:lnTo>
                <a:lnTo>
                  <a:pt x="50195" y="18823"/>
                </a:lnTo>
                <a:lnTo>
                  <a:pt x="50195" y="30027"/>
                </a:lnTo>
                <a:close/>
                <a:moveTo>
                  <a:pt x="16134" y="4482"/>
                </a:moveTo>
                <a:lnTo>
                  <a:pt x="137140" y="4482"/>
                </a:lnTo>
                <a:lnTo>
                  <a:pt x="137140" y="14342"/>
                </a:lnTo>
                <a:lnTo>
                  <a:pt x="134003" y="14342"/>
                </a:lnTo>
                <a:lnTo>
                  <a:pt x="117421" y="14342"/>
                </a:lnTo>
                <a:lnTo>
                  <a:pt x="100838" y="14342"/>
                </a:lnTo>
                <a:lnTo>
                  <a:pt x="84256" y="14342"/>
                </a:lnTo>
                <a:lnTo>
                  <a:pt x="67674" y="14342"/>
                </a:lnTo>
                <a:lnTo>
                  <a:pt x="51091" y="14342"/>
                </a:lnTo>
                <a:lnTo>
                  <a:pt x="34509" y="14342"/>
                </a:lnTo>
                <a:lnTo>
                  <a:pt x="17927" y="14342"/>
                </a:lnTo>
                <a:lnTo>
                  <a:pt x="14790" y="14342"/>
                </a:lnTo>
                <a:lnTo>
                  <a:pt x="14790" y="4482"/>
                </a:lnTo>
                <a:close/>
                <a:moveTo>
                  <a:pt x="21512" y="30027"/>
                </a:moveTo>
                <a:lnTo>
                  <a:pt x="21512" y="18823"/>
                </a:lnTo>
                <a:lnTo>
                  <a:pt x="33613" y="18823"/>
                </a:lnTo>
                <a:lnTo>
                  <a:pt x="33613" y="30027"/>
                </a:lnTo>
                <a:cubicBezTo>
                  <a:pt x="33613" y="33165"/>
                  <a:pt x="30924" y="35854"/>
                  <a:pt x="27786" y="35854"/>
                </a:cubicBezTo>
                <a:cubicBezTo>
                  <a:pt x="24201" y="36302"/>
                  <a:pt x="21512" y="33613"/>
                  <a:pt x="21512" y="30027"/>
                </a:cubicBezTo>
                <a:close/>
                <a:moveTo>
                  <a:pt x="30027" y="40335"/>
                </a:moveTo>
                <a:cubicBezTo>
                  <a:pt x="32268" y="39887"/>
                  <a:pt x="34509" y="38543"/>
                  <a:pt x="35854" y="36750"/>
                </a:cubicBezTo>
                <a:cubicBezTo>
                  <a:pt x="37646" y="38991"/>
                  <a:pt x="40784" y="40783"/>
                  <a:pt x="43921" y="40783"/>
                </a:cubicBezTo>
                <a:cubicBezTo>
                  <a:pt x="47058" y="40783"/>
                  <a:pt x="50195" y="38991"/>
                  <a:pt x="51988" y="36750"/>
                </a:cubicBezTo>
                <a:cubicBezTo>
                  <a:pt x="53780" y="38991"/>
                  <a:pt x="56918" y="40783"/>
                  <a:pt x="60055" y="40783"/>
                </a:cubicBezTo>
                <a:cubicBezTo>
                  <a:pt x="63192" y="40783"/>
                  <a:pt x="66329" y="38991"/>
                  <a:pt x="68122" y="36750"/>
                </a:cubicBezTo>
                <a:cubicBezTo>
                  <a:pt x="69915" y="38991"/>
                  <a:pt x="73052" y="40783"/>
                  <a:pt x="76189" y="40783"/>
                </a:cubicBezTo>
                <a:cubicBezTo>
                  <a:pt x="79326" y="40783"/>
                  <a:pt x="82463" y="38991"/>
                  <a:pt x="84256" y="36750"/>
                </a:cubicBezTo>
                <a:cubicBezTo>
                  <a:pt x="86049" y="38991"/>
                  <a:pt x="89186" y="40783"/>
                  <a:pt x="92323" y="40783"/>
                </a:cubicBezTo>
                <a:cubicBezTo>
                  <a:pt x="95460" y="40783"/>
                  <a:pt x="98597" y="38991"/>
                  <a:pt x="100390" y="36750"/>
                </a:cubicBezTo>
                <a:cubicBezTo>
                  <a:pt x="102183" y="38991"/>
                  <a:pt x="105320" y="40783"/>
                  <a:pt x="108457" y="40783"/>
                </a:cubicBezTo>
                <a:cubicBezTo>
                  <a:pt x="111594" y="40783"/>
                  <a:pt x="114732" y="38991"/>
                  <a:pt x="116524" y="36750"/>
                </a:cubicBezTo>
                <a:cubicBezTo>
                  <a:pt x="117869" y="38543"/>
                  <a:pt x="120110" y="39887"/>
                  <a:pt x="122350" y="40335"/>
                </a:cubicBezTo>
                <a:lnTo>
                  <a:pt x="122350" y="90530"/>
                </a:lnTo>
                <a:lnTo>
                  <a:pt x="28683" y="90530"/>
                </a:lnTo>
                <a:lnTo>
                  <a:pt x="28683" y="40335"/>
                </a:lnTo>
                <a:close/>
                <a:moveTo>
                  <a:pt x="21512" y="95012"/>
                </a:moveTo>
                <a:lnTo>
                  <a:pt x="131762" y="95012"/>
                </a:lnTo>
                <a:lnTo>
                  <a:pt x="131762" y="101286"/>
                </a:lnTo>
                <a:lnTo>
                  <a:pt x="128625" y="101286"/>
                </a:lnTo>
                <a:lnTo>
                  <a:pt x="25098" y="101286"/>
                </a:lnTo>
                <a:lnTo>
                  <a:pt x="21960" y="101286"/>
                </a:lnTo>
                <a:lnTo>
                  <a:pt x="21960" y="95012"/>
                </a:lnTo>
                <a:close/>
                <a:moveTo>
                  <a:pt x="63640" y="106216"/>
                </a:moveTo>
                <a:lnTo>
                  <a:pt x="63640" y="151033"/>
                </a:lnTo>
                <a:lnTo>
                  <a:pt x="46161" y="151033"/>
                </a:lnTo>
                <a:lnTo>
                  <a:pt x="46161" y="106216"/>
                </a:lnTo>
                <a:lnTo>
                  <a:pt x="63640" y="106216"/>
                </a:lnTo>
                <a:close/>
                <a:moveTo>
                  <a:pt x="68122" y="106216"/>
                </a:moveTo>
                <a:lnTo>
                  <a:pt x="86497" y="106216"/>
                </a:lnTo>
                <a:lnTo>
                  <a:pt x="86497" y="151033"/>
                </a:lnTo>
                <a:lnTo>
                  <a:pt x="68122" y="151033"/>
                </a:lnTo>
                <a:lnTo>
                  <a:pt x="68122" y="106216"/>
                </a:lnTo>
                <a:close/>
                <a:moveTo>
                  <a:pt x="90978" y="106216"/>
                </a:moveTo>
                <a:lnTo>
                  <a:pt x="108457" y="106216"/>
                </a:lnTo>
                <a:lnTo>
                  <a:pt x="108457" y="151033"/>
                </a:lnTo>
                <a:lnTo>
                  <a:pt x="90978" y="151033"/>
                </a:lnTo>
                <a:lnTo>
                  <a:pt x="90978" y="106216"/>
                </a:lnTo>
                <a:close/>
                <a:moveTo>
                  <a:pt x="27338" y="106216"/>
                </a:moveTo>
                <a:lnTo>
                  <a:pt x="42128" y="106216"/>
                </a:lnTo>
                <a:lnTo>
                  <a:pt x="42128" y="151033"/>
                </a:lnTo>
                <a:lnTo>
                  <a:pt x="27338" y="151033"/>
                </a:lnTo>
                <a:lnTo>
                  <a:pt x="27338" y="106216"/>
                </a:lnTo>
                <a:close/>
                <a:moveTo>
                  <a:pt x="113387" y="150585"/>
                </a:moveTo>
                <a:lnTo>
                  <a:pt x="113387" y="105768"/>
                </a:lnTo>
                <a:lnTo>
                  <a:pt x="126384" y="105768"/>
                </a:lnTo>
                <a:lnTo>
                  <a:pt x="126384" y="150585"/>
                </a:lnTo>
                <a:lnTo>
                  <a:pt x="113387" y="150585"/>
                </a:lnTo>
                <a:close/>
              </a:path>
            </a:pathLst>
          </a:custGeom>
          <a:solidFill>
            <a:srgbClr val="231F20"/>
          </a:solidFill>
          <a:ln w="4477" cap="flat">
            <a:noFill/>
            <a:prstDash val="solid"/>
            <a:miter/>
          </a:ln>
        </p:spPr>
        <p:txBody>
          <a:bodyPr rtlCol="0" anchor="ctr"/>
          <a:lstStyle/>
          <a:p>
            <a:endParaRPr lang="en-US"/>
          </a:p>
        </p:txBody>
      </p:sp>
      <p:sp>
        <p:nvSpPr>
          <p:cNvPr id="3688" name="Freeform: Shape 3687">
            <a:extLst>
              <a:ext uri="{FF2B5EF4-FFF2-40B4-BE49-F238E27FC236}">
                <a16:creationId xmlns:a16="http://schemas.microsoft.com/office/drawing/2014/main" id="{3F78F2FD-FBA9-4BBF-BC7A-ECE36FAA2121}"/>
              </a:ext>
              <a:ext uri="{C183D7F6-B498-43B3-948B-1728B52AA6E4}">
                <adec:decorative xmlns:adec="http://schemas.microsoft.com/office/drawing/2017/decorative" val="1"/>
              </a:ext>
            </a:extLst>
          </p:cNvPr>
          <p:cNvSpPr>
            <a:spLocks noChangeAspect="1"/>
          </p:cNvSpPr>
          <p:nvPr/>
        </p:nvSpPr>
        <p:spPr>
          <a:xfrm>
            <a:off x="2429420" y="2056431"/>
            <a:ext cx="147896" cy="152378"/>
          </a:xfrm>
          <a:custGeom>
            <a:avLst/>
            <a:gdLst>
              <a:gd name="connsiteX0" fmla="*/ 148792 w 147896"/>
              <a:gd name="connsiteY0" fmla="*/ 58262 h 152377"/>
              <a:gd name="connsiteX1" fmla="*/ 151930 w 147896"/>
              <a:gd name="connsiteY1" fmla="*/ 55125 h 152377"/>
              <a:gd name="connsiteX2" fmla="*/ 151930 w 147896"/>
              <a:gd name="connsiteY2" fmla="*/ 39439 h 152377"/>
              <a:gd name="connsiteX3" fmla="*/ 148792 w 147896"/>
              <a:gd name="connsiteY3" fmla="*/ 36302 h 152377"/>
              <a:gd name="connsiteX4" fmla="*/ 125039 w 147896"/>
              <a:gd name="connsiteY4" fmla="*/ 36302 h 152377"/>
              <a:gd name="connsiteX5" fmla="*/ 125039 w 147896"/>
              <a:gd name="connsiteY5" fmla="*/ 17927 h 152377"/>
              <a:gd name="connsiteX6" fmla="*/ 129521 w 147896"/>
              <a:gd name="connsiteY6" fmla="*/ 17927 h 152377"/>
              <a:gd name="connsiteX7" fmla="*/ 132658 w 147896"/>
              <a:gd name="connsiteY7" fmla="*/ 14790 h 152377"/>
              <a:gd name="connsiteX8" fmla="*/ 132658 w 147896"/>
              <a:gd name="connsiteY8" fmla="*/ 3137 h 152377"/>
              <a:gd name="connsiteX9" fmla="*/ 129521 w 147896"/>
              <a:gd name="connsiteY9" fmla="*/ 0 h 152377"/>
              <a:gd name="connsiteX10" fmla="*/ 22409 w 147896"/>
              <a:gd name="connsiteY10" fmla="*/ 0 h 152377"/>
              <a:gd name="connsiteX11" fmla="*/ 19271 w 147896"/>
              <a:gd name="connsiteY11" fmla="*/ 3137 h 152377"/>
              <a:gd name="connsiteX12" fmla="*/ 19271 w 147896"/>
              <a:gd name="connsiteY12" fmla="*/ 14790 h 152377"/>
              <a:gd name="connsiteX13" fmla="*/ 22409 w 147896"/>
              <a:gd name="connsiteY13" fmla="*/ 17927 h 152377"/>
              <a:gd name="connsiteX14" fmla="*/ 26890 w 147896"/>
              <a:gd name="connsiteY14" fmla="*/ 17927 h 152377"/>
              <a:gd name="connsiteX15" fmla="*/ 26890 w 147896"/>
              <a:gd name="connsiteY15" fmla="*/ 36302 h 152377"/>
              <a:gd name="connsiteX16" fmla="*/ 3137 w 147896"/>
              <a:gd name="connsiteY16" fmla="*/ 36302 h 152377"/>
              <a:gd name="connsiteX17" fmla="*/ 0 w 147896"/>
              <a:gd name="connsiteY17" fmla="*/ 39439 h 152377"/>
              <a:gd name="connsiteX18" fmla="*/ 0 w 147896"/>
              <a:gd name="connsiteY18" fmla="*/ 55125 h 152377"/>
              <a:gd name="connsiteX19" fmla="*/ 3137 w 147896"/>
              <a:gd name="connsiteY19" fmla="*/ 58262 h 152377"/>
              <a:gd name="connsiteX20" fmla="*/ 13445 w 147896"/>
              <a:gd name="connsiteY20" fmla="*/ 58262 h 152377"/>
              <a:gd name="connsiteX21" fmla="*/ 13445 w 147896"/>
              <a:gd name="connsiteY21" fmla="*/ 147896 h 152377"/>
              <a:gd name="connsiteX22" fmla="*/ 2689 w 147896"/>
              <a:gd name="connsiteY22" fmla="*/ 147896 h 152377"/>
              <a:gd name="connsiteX23" fmla="*/ 448 w 147896"/>
              <a:gd name="connsiteY23" fmla="*/ 150137 h 152377"/>
              <a:gd name="connsiteX24" fmla="*/ 2689 w 147896"/>
              <a:gd name="connsiteY24" fmla="*/ 152378 h 152377"/>
              <a:gd name="connsiteX25" fmla="*/ 77085 w 147896"/>
              <a:gd name="connsiteY25" fmla="*/ 152378 h 152377"/>
              <a:gd name="connsiteX26" fmla="*/ 115628 w 147896"/>
              <a:gd name="connsiteY26" fmla="*/ 152378 h 152377"/>
              <a:gd name="connsiteX27" fmla="*/ 149689 w 147896"/>
              <a:gd name="connsiteY27" fmla="*/ 152378 h 152377"/>
              <a:gd name="connsiteX28" fmla="*/ 151930 w 147896"/>
              <a:gd name="connsiteY28" fmla="*/ 150137 h 152377"/>
              <a:gd name="connsiteX29" fmla="*/ 149689 w 147896"/>
              <a:gd name="connsiteY29" fmla="*/ 147896 h 152377"/>
              <a:gd name="connsiteX30" fmla="*/ 138933 w 147896"/>
              <a:gd name="connsiteY30" fmla="*/ 147896 h 152377"/>
              <a:gd name="connsiteX31" fmla="*/ 138933 w 147896"/>
              <a:gd name="connsiteY31" fmla="*/ 58262 h 152377"/>
              <a:gd name="connsiteX32" fmla="*/ 148792 w 147896"/>
              <a:gd name="connsiteY32" fmla="*/ 58262 h 152377"/>
              <a:gd name="connsiteX33" fmla="*/ 23753 w 147896"/>
              <a:gd name="connsiteY33" fmla="*/ 4482 h 152377"/>
              <a:gd name="connsiteX34" fmla="*/ 128177 w 147896"/>
              <a:gd name="connsiteY34" fmla="*/ 4482 h 152377"/>
              <a:gd name="connsiteX35" fmla="*/ 128177 w 147896"/>
              <a:gd name="connsiteY35" fmla="*/ 13445 h 152377"/>
              <a:gd name="connsiteX36" fmla="*/ 23753 w 147896"/>
              <a:gd name="connsiteY36" fmla="*/ 13445 h 152377"/>
              <a:gd name="connsiteX37" fmla="*/ 23753 w 147896"/>
              <a:gd name="connsiteY37" fmla="*/ 4482 h 152377"/>
              <a:gd name="connsiteX38" fmla="*/ 30924 w 147896"/>
              <a:gd name="connsiteY38" fmla="*/ 17927 h 152377"/>
              <a:gd name="connsiteX39" fmla="*/ 120558 w 147896"/>
              <a:gd name="connsiteY39" fmla="*/ 17927 h 152377"/>
              <a:gd name="connsiteX40" fmla="*/ 120558 w 147896"/>
              <a:gd name="connsiteY40" fmla="*/ 36302 h 152377"/>
              <a:gd name="connsiteX41" fmla="*/ 30924 w 147896"/>
              <a:gd name="connsiteY41" fmla="*/ 36302 h 152377"/>
              <a:gd name="connsiteX42" fmla="*/ 30924 w 147896"/>
              <a:gd name="connsiteY42" fmla="*/ 17927 h 152377"/>
              <a:gd name="connsiteX43" fmla="*/ 4034 w 147896"/>
              <a:gd name="connsiteY43" fmla="*/ 40784 h 152377"/>
              <a:gd name="connsiteX44" fmla="*/ 147448 w 147896"/>
              <a:gd name="connsiteY44" fmla="*/ 40784 h 152377"/>
              <a:gd name="connsiteX45" fmla="*/ 147448 w 147896"/>
              <a:gd name="connsiteY45" fmla="*/ 53780 h 152377"/>
              <a:gd name="connsiteX46" fmla="*/ 4034 w 147896"/>
              <a:gd name="connsiteY46" fmla="*/ 53780 h 152377"/>
              <a:gd name="connsiteX47" fmla="*/ 4034 w 147896"/>
              <a:gd name="connsiteY47" fmla="*/ 40784 h 152377"/>
              <a:gd name="connsiteX48" fmla="*/ 77982 w 147896"/>
              <a:gd name="connsiteY48" fmla="*/ 147896 h 152377"/>
              <a:gd name="connsiteX49" fmla="*/ 77982 w 147896"/>
              <a:gd name="connsiteY49" fmla="*/ 78430 h 152377"/>
              <a:gd name="connsiteX50" fmla="*/ 113835 w 147896"/>
              <a:gd name="connsiteY50" fmla="*/ 78430 h 152377"/>
              <a:gd name="connsiteX51" fmla="*/ 113835 w 147896"/>
              <a:gd name="connsiteY51" fmla="*/ 147896 h 152377"/>
              <a:gd name="connsiteX52" fmla="*/ 77982 w 147896"/>
              <a:gd name="connsiteY52" fmla="*/ 147896 h 152377"/>
              <a:gd name="connsiteX53" fmla="*/ 134003 w 147896"/>
              <a:gd name="connsiteY53" fmla="*/ 147896 h 152377"/>
              <a:gd name="connsiteX54" fmla="*/ 118317 w 147896"/>
              <a:gd name="connsiteY54" fmla="*/ 147896 h 152377"/>
              <a:gd name="connsiteX55" fmla="*/ 118317 w 147896"/>
              <a:gd name="connsiteY55" fmla="*/ 77085 h 152377"/>
              <a:gd name="connsiteX56" fmla="*/ 115180 w 147896"/>
              <a:gd name="connsiteY56" fmla="*/ 73948 h 152377"/>
              <a:gd name="connsiteX57" fmla="*/ 76637 w 147896"/>
              <a:gd name="connsiteY57" fmla="*/ 73948 h 152377"/>
              <a:gd name="connsiteX58" fmla="*/ 73500 w 147896"/>
              <a:gd name="connsiteY58" fmla="*/ 77085 h 152377"/>
              <a:gd name="connsiteX59" fmla="*/ 73500 w 147896"/>
              <a:gd name="connsiteY59" fmla="*/ 147896 h 152377"/>
              <a:gd name="connsiteX60" fmla="*/ 17479 w 147896"/>
              <a:gd name="connsiteY60" fmla="*/ 147896 h 152377"/>
              <a:gd name="connsiteX61" fmla="*/ 17479 w 147896"/>
              <a:gd name="connsiteY61" fmla="*/ 58262 h 152377"/>
              <a:gd name="connsiteX62" fmla="*/ 134003 w 147896"/>
              <a:gd name="connsiteY62" fmla="*/ 58262 h 152377"/>
              <a:gd name="connsiteX63" fmla="*/ 134003 w 147896"/>
              <a:gd name="connsiteY63"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47896" h="152377">
                <a:moveTo>
                  <a:pt x="148792" y="58262"/>
                </a:moveTo>
                <a:cubicBezTo>
                  <a:pt x="150585" y="58262"/>
                  <a:pt x="151930" y="56918"/>
                  <a:pt x="151930" y="55125"/>
                </a:cubicBezTo>
                <a:lnTo>
                  <a:pt x="151930" y="39439"/>
                </a:lnTo>
                <a:cubicBezTo>
                  <a:pt x="151930" y="37646"/>
                  <a:pt x="150585" y="36302"/>
                  <a:pt x="148792" y="36302"/>
                </a:cubicBezTo>
                <a:lnTo>
                  <a:pt x="125039" y="36302"/>
                </a:lnTo>
                <a:lnTo>
                  <a:pt x="125039" y="17927"/>
                </a:lnTo>
                <a:lnTo>
                  <a:pt x="129521" y="17927"/>
                </a:lnTo>
                <a:cubicBezTo>
                  <a:pt x="131314" y="17927"/>
                  <a:pt x="132658" y="16582"/>
                  <a:pt x="132658" y="14790"/>
                </a:cubicBezTo>
                <a:lnTo>
                  <a:pt x="132658" y="3137"/>
                </a:lnTo>
                <a:cubicBezTo>
                  <a:pt x="132658" y="1345"/>
                  <a:pt x="131314" y="0"/>
                  <a:pt x="129521" y="0"/>
                </a:cubicBezTo>
                <a:lnTo>
                  <a:pt x="22409" y="0"/>
                </a:lnTo>
                <a:cubicBezTo>
                  <a:pt x="20616" y="0"/>
                  <a:pt x="19271" y="1345"/>
                  <a:pt x="19271" y="3137"/>
                </a:cubicBezTo>
                <a:lnTo>
                  <a:pt x="19271" y="14790"/>
                </a:lnTo>
                <a:cubicBezTo>
                  <a:pt x="19271" y="16582"/>
                  <a:pt x="20616" y="17927"/>
                  <a:pt x="22409" y="17927"/>
                </a:cubicBezTo>
                <a:lnTo>
                  <a:pt x="26890" y="17927"/>
                </a:lnTo>
                <a:lnTo>
                  <a:pt x="26890" y="36302"/>
                </a:lnTo>
                <a:lnTo>
                  <a:pt x="3137" y="36302"/>
                </a:lnTo>
                <a:cubicBezTo>
                  <a:pt x="1344" y="36302"/>
                  <a:pt x="0" y="37646"/>
                  <a:pt x="0" y="39439"/>
                </a:cubicBezTo>
                <a:lnTo>
                  <a:pt x="0" y="55125"/>
                </a:lnTo>
                <a:cubicBezTo>
                  <a:pt x="0" y="56918"/>
                  <a:pt x="1344" y="58262"/>
                  <a:pt x="3137" y="58262"/>
                </a:cubicBezTo>
                <a:lnTo>
                  <a:pt x="13445" y="58262"/>
                </a:lnTo>
                <a:lnTo>
                  <a:pt x="13445" y="147896"/>
                </a:lnTo>
                <a:lnTo>
                  <a:pt x="2689" y="147896"/>
                </a:lnTo>
                <a:cubicBezTo>
                  <a:pt x="1344" y="147896"/>
                  <a:pt x="448" y="148793"/>
                  <a:pt x="448" y="150137"/>
                </a:cubicBezTo>
                <a:cubicBezTo>
                  <a:pt x="448" y="151482"/>
                  <a:pt x="1344" y="152378"/>
                  <a:pt x="2689" y="152378"/>
                </a:cubicBezTo>
                <a:lnTo>
                  <a:pt x="77085" y="152378"/>
                </a:lnTo>
                <a:lnTo>
                  <a:pt x="115628" y="152378"/>
                </a:lnTo>
                <a:lnTo>
                  <a:pt x="149689" y="152378"/>
                </a:lnTo>
                <a:cubicBezTo>
                  <a:pt x="151033" y="152378"/>
                  <a:pt x="151930" y="151482"/>
                  <a:pt x="151930" y="150137"/>
                </a:cubicBezTo>
                <a:cubicBezTo>
                  <a:pt x="151930" y="148793"/>
                  <a:pt x="151033" y="147896"/>
                  <a:pt x="149689" y="147896"/>
                </a:cubicBezTo>
                <a:lnTo>
                  <a:pt x="138933" y="147896"/>
                </a:lnTo>
                <a:lnTo>
                  <a:pt x="138933" y="58262"/>
                </a:lnTo>
                <a:lnTo>
                  <a:pt x="148792" y="58262"/>
                </a:lnTo>
                <a:close/>
                <a:moveTo>
                  <a:pt x="23753" y="4482"/>
                </a:moveTo>
                <a:lnTo>
                  <a:pt x="128177" y="4482"/>
                </a:lnTo>
                <a:lnTo>
                  <a:pt x="128177" y="13445"/>
                </a:lnTo>
                <a:lnTo>
                  <a:pt x="23753" y="13445"/>
                </a:lnTo>
                <a:lnTo>
                  <a:pt x="23753" y="4482"/>
                </a:lnTo>
                <a:close/>
                <a:moveTo>
                  <a:pt x="30924" y="17927"/>
                </a:moveTo>
                <a:lnTo>
                  <a:pt x="120558" y="17927"/>
                </a:lnTo>
                <a:lnTo>
                  <a:pt x="120558" y="36302"/>
                </a:lnTo>
                <a:lnTo>
                  <a:pt x="30924" y="36302"/>
                </a:lnTo>
                <a:lnTo>
                  <a:pt x="30924" y="17927"/>
                </a:lnTo>
                <a:close/>
                <a:moveTo>
                  <a:pt x="4034" y="40784"/>
                </a:moveTo>
                <a:lnTo>
                  <a:pt x="147448" y="40784"/>
                </a:lnTo>
                <a:lnTo>
                  <a:pt x="147448" y="53780"/>
                </a:lnTo>
                <a:lnTo>
                  <a:pt x="4034" y="53780"/>
                </a:lnTo>
                <a:lnTo>
                  <a:pt x="4034" y="40784"/>
                </a:lnTo>
                <a:close/>
                <a:moveTo>
                  <a:pt x="77982" y="147896"/>
                </a:moveTo>
                <a:lnTo>
                  <a:pt x="77982" y="78430"/>
                </a:lnTo>
                <a:lnTo>
                  <a:pt x="113835" y="78430"/>
                </a:lnTo>
                <a:lnTo>
                  <a:pt x="113835" y="147896"/>
                </a:lnTo>
                <a:lnTo>
                  <a:pt x="77982" y="147896"/>
                </a:lnTo>
                <a:close/>
                <a:moveTo>
                  <a:pt x="134003" y="147896"/>
                </a:moveTo>
                <a:lnTo>
                  <a:pt x="118317" y="147896"/>
                </a:lnTo>
                <a:lnTo>
                  <a:pt x="118317" y="77085"/>
                </a:lnTo>
                <a:cubicBezTo>
                  <a:pt x="118317" y="75293"/>
                  <a:pt x="116972" y="73948"/>
                  <a:pt x="115180" y="73948"/>
                </a:cubicBezTo>
                <a:lnTo>
                  <a:pt x="76637" y="73948"/>
                </a:lnTo>
                <a:cubicBezTo>
                  <a:pt x="74844" y="73948"/>
                  <a:pt x="73500" y="75293"/>
                  <a:pt x="73500" y="77085"/>
                </a:cubicBezTo>
                <a:lnTo>
                  <a:pt x="73500" y="147896"/>
                </a:lnTo>
                <a:lnTo>
                  <a:pt x="17479" y="147896"/>
                </a:lnTo>
                <a:lnTo>
                  <a:pt x="17479" y="58262"/>
                </a:lnTo>
                <a:lnTo>
                  <a:pt x="134003" y="58262"/>
                </a:lnTo>
                <a:lnTo>
                  <a:pt x="134003" y="147896"/>
                </a:lnTo>
                <a:close/>
              </a:path>
            </a:pathLst>
          </a:custGeom>
          <a:solidFill>
            <a:srgbClr val="231F20"/>
          </a:solidFill>
          <a:ln w="4477" cap="flat">
            <a:noFill/>
            <a:prstDash val="solid"/>
            <a:miter/>
          </a:ln>
        </p:spPr>
        <p:txBody>
          <a:bodyPr rtlCol="0" anchor="ctr"/>
          <a:lstStyle/>
          <a:p>
            <a:endParaRPr lang="en-US"/>
          </a:p>
        </p:txBody>
      </p:sp>
      <p:sp>
        <p:nvSpPr>
          <p:cNvPr id="3689" name="Freeform: Shape 3688">
            <a:extLst>
              <a:ext uri="{FF2B5EF4-FFF2-40B4-BE49-F238E27FC236}">
                <a16:creationId xmlns:a16="http://schemas.microsoft.com/office/drawing/2014/main" id="{9D13DE5B-E16A-4574-806E-2616C577F5E3}"/>
              </a:ext>
              <a:ext uri="{C183D7F6-B498-43B3-948B-1728B52AA6E4}">
                <adec:decorative xmlns:adec="http://schemas.microsoft.com/office/drawing/2017/decorative" val="1"/>
              </a:ext>
            </a:extLst>
          </p:cNvPr>
          <p:cNvSpPr>
            <a:spLocks noChangeAspect="1"/>
          </p:cNvSpPr>
          <p:nvPr/>
        </p:nvSpPr>
        <p:spPr>
          <a:xfrm>
            <a:off x="3480827" y="2056431"/>
            <a:ext cx="138933" cy="152378"/>
          </a:xfrm>
          <a:custGeom>
            <a:avLst/>
            <a:gdLst>
              <a:gd name="connsiteX0" fmla="*/ 140277 w 138932"/>
              <a:gd name="connsiteY0" fmla="*/ 147896 h 152377"/>
              <a:gd name="connsiteX1" fmla="*/ 132210 w 138932"/>
              <a:gd name="connsiteY1" fmla="*/ 147896 h 152377"/>
              <a:gd name="connsiteX2" fmla="*/ 132210 w 138932"/>
              <a:gd name="connsiteY2" fmla="*/ 80671 h 152377"/>
              <a:gd name="connsiteX3" fmla="*/ 127729 w 138932"/>
              <a:gd name="connsiteY3" fmla="*/ 76189 h 152377"/>
              <a:gd name="connsiteX4" fmla="*/ 127280 w 138932"/>
              <a:gd name="connsiteY4" fmla="*/ 76189 h 152377"/>
              <a:gd name="connsiteX5" fmla="*/ 127280 w 138932"/>
              <a:gd name="connsiteY5" fmla="*/ 65433 h 152377"/>
              <a:gd name="connsiteX6" fmla="*/ 122798 w 138932"/>
              <a:gd name="connsiteY6" fmla="*/ 60951 h 152377"/>
              <a:gd name="connsiteX7" fmla="*/ 106664 w 138932"/>
              <a:gd name="connsiteY7" fmla="*/ 60951 h 152377"/>
              <a:gd name="connsiteX8" fmla="*/ 106664 w 138932"/>
              <a:gd name="connsiteY8" fmla="*/ 55573 h 152377"/>
              <a:gd name="connsiteX9" fmla="*/ 73500 w 138932"/>
              <a:gd name="connsiteY9" fmla="*/ 20168 h 152377"/>
              <a:gd name="connsiteX10" fmla="*/ 73500 w 138932"/>
              <a:gd name="connsiteY10" fmla="*/ 2241 h 152377"/>
              <a:gd name="connsiteX11" fmla="*/ 71259 w 138932"/>
              <a:gd name="connsiteY11" fmla="*/ 0 h 152377"/>
              <a:gd name="connsiteX12" fmla="*/ 69018 w 138932"/>
              <a:gd name="connsiteY12" fmla="*/ 2241 h 152377"/>
              <a:gd name="connsiteX13" fmla="*/ 69018 w 138932"/>
              <a:gd name="connsiteY13" fmla="*/ 20168 h 152377"/>
              <a:gd name="connsiteX14" fmla="*/ 35854 w 138932"/>
              <a:gd name="connsiteY14" fmla="*/ 55573 h 152377"/>
              <a:gd name="connsiteX15" fmla="*/ 35854 w 138932"/>
              <a:gd name="connsiteY15" fmla="*/ 60951 h 152377"/>
              <a:gd name="connsiteX16" fmla="*/ 19719 w 138932"/>
              <a:gd name="connsiteY16" fmla="*/ 60951 h 152377"/>
              <a:gd name="connsiteX17" fmla="*/ 15238 w 138932"/>
              <a:gd name="connsiteY17" fmla="*/ 65433 h 152377"/>
              <a:gd name="connsiteX18" fmla="*/ 15238 w 138932"/>
              <a:gd name="connsiteY18" fmla="*/ 76189 h 152377"/>
              <a:gd name="connsiteX19" fmla="*/ 14790 w 138932"/>
              <a:gd name="connsiteY19" fmla="*/ 76189 h 152377"/>
              <a:gd name="connsiteX20" fmla="*/ 10308 w 138932"/>
              <a:gd name="connsiteY20" fmla="*/ 80671 h 152377"/>
              <a:gd name="connsiteX21" fmla="*/ 10308 w 138932"/>
              <a:gd name="connsiteY21" fmla="*/ 147896 h 152377"/>
              <a:gd name="connsiteX22" fmla="*/ 2241 w 138932"/>
              <a:gd name="connsiteY22" fmla="*/ 147896 h 152377"/>
              <a:gd name="connsiteX23" fmla="*/ 0 w 138932"/>
              <a:gd name="connsiteY23" fmla="*/ 150137 h 152377"/>
              <a:gd name="connsiteX24" fmla="*/ 2241 w 138932"/>
              <a:gd name="connsiteY24" fmla="*/ 152378 h 152377"/>
              <a:gd name="connsiteX25" fmla="*/ 14790 w 138932"/>
              <a:gd name="connsiteY25" fmla="*/ 152378 h 152377"/>
              <a:gd name="connsiteX26" fmla="*/ 22857 w 138932"/>
              <a:gd name="connsiteY26" fmla="*/ 152378 h 152377"/>
              <a:gd name="connsiteX27" fmla="*/ 48402 w 138932"/>
              <a:gd name="connsiteY27" fmla="*/ 152378 h 152377"/>
              <a:gd name="connsiteX28" fmla="*/ 58710 w 138932"/>
              <a:gd name="connsiteY28" fmla="*/ 152378 h 152377"/>
              <a:gd name="connsiteX29" fmla="*/ 84256 w 138932"/>
              <a:gd name="connsiteY29" fmla="*/ 152378 h 152377"/>
              <a:gd name="connsiteX30" fmla="*/ 94564 w 138932"/>
              <a:gd name="connsiteY30" fmla="*/ 152378 h 152377"/>
              <a:gd name="connsiteX31" fmla="*/ 120110 w 138932"/>
              <a:gd name="connsiteY31" fmla="*/ 152378 h 152377"/>
              <a:gd name="connsiteX32" fmla="*/ 128177 w 138932"/>
              <a:gd name="connsiteY32" fmla="*/ 152378 h 152377"/>
              <a:gd name="connsiteX33" fmla="*/ 140725 w 138932"/>
              <a:gd name="connsiteY33" fmla="*/ 152378 h 152377"/>
              <a:gd name="connsiteX34" fmla="*/ 142966 w 138932"/>
              <a:gd name="connsiteY34" fmla="*/ 150137 h 152377"/>
              <a:gd name="connsiteX35" fmla="*/ 140277 w 138932"/>
              <a:gd name="connsiteY35" fmla="*/ 147896 h 152377"/>
              <a:gd name="connsiteX36" fmla="*/ 40335 w 138932"/>
              <a:gd name="connsiteY36" fmla="*/ 55573 h 152377"/>
              <a:gd name="connsiteX37" fmla="*/ 71259 w 138932"/>
              <a:gd name="connsiteY37" fmla="*/ 24649 h 152377"/>
              <a:gd name="connsiteX38" fmla="*/ 102183 w 138932"/>
              <a:gd name="connsiteY38" fmla="*/ 55573 h 152377"/>
              <a:gd name="connsiteX39" fmla="*/ 102183 w 138932"/>
              <a:gd name="connsiteY39" fmla="*/ 60951 h 152377"/>
              <a:gd name="connsiteX40" fmla="*/ 39887 w 138932"/>
              <a:gd name="connsiteY40" fmla="*/ 60951 h 152377"/>
              <a:gd name="connsiteX41" fmla="*/ 39887 w 138932"/>
              <a:gd name="connsiteY41" fmla="*/ 55573 h 152377"/>
              <a:gd name="connsiteX42" fmla="*/ 19719 w 138932"/>
              <a:gd name="connsiteY42" fmla="*/ 65433 h 152377"/>
              <a:gd name="connsiteX43" fmla="*/ 122798 w 138932"/>
              <a:gd name="connsiteY43" fmla="*/ 65433 h 152377"/>
              <a:gd name="connsiteX44" fmla="*/ 122798 w 138932"/>
              <a:gd name="connsiteY44" fmla="*/ 76189 h 152377"/>
              <a:gd name="connsiteX45" fmla="*/ 19719 w 138932"/>
              <a:gd name="connsiteY45" fmla="*/ 76189 h 152377"/>
              <a:gd name="connsiteX46" fmla="*/ 19719 w 138932"/>
              <a:gd name="connsiteY46" fmla="*/ 65433 h 152377"/>
              <a:gd name="connsiteX47" fmla="*/ 24649 w 138932"/>
              <a:gd name="connsiteY47" fmla="*/ 147896 h 152377"/>
              <a:gd name="connsiteX48" fmla="*/ 24649 w 138932"/>
              <a:gd name="connsiteY48" fmla="*/ 116973 h 152377"/>
              <a:gd name="connsiteX49" fmla="*/ 35405 w 138932"/>
              <a:gd name="connsiteY49" fmla="*/ 106216 h 152377"/>
              <a:gd name="connsiteX50" fmla="*/ 46161 w 138932"/>
              <a:gd name="connsiteY50" fmla="*/ 116973 h 152377"/>
              <a:gd name="connsiteX51" fmla="*/ 46161 w 138932"/>
              <a:gd name="connsiteY51" fmla="*/ 147896 h 152377"/>
              <a:gd name="connsiteX52" fmla="*/ 24649 w 138932"/>
              <a:gd name="connsiteY52" fmla="*/ 147896 h 152377"/>
              <a:gd name="connsiteX53" fmla="*/ 60503 w 138932"/>
              <a:gd name="connsiteY53" fmla="*/ 147896 h 152377"/>
              <a:gd name="connsiteX54" fmla="*/ 60503 w 138932"/>
              <a:gd name="connsiteY54" fmla="*/ 116973 h 152377"/>
              <a:gd name="connsiteX55" fmla="*/ 71259 w 138932"/>
              <a:gd name="connsiteY55" fmla="*/ 106216 h 152377"/>
              <a:gd name="connsiteX56" fmla="*/ 82015 w 138932"/>
              <a:gd name="connsiteY56" fmla="*/ 116973 h 152377"/>
              <a:gd name="connsiteX57" fmla="*/ 82015 w 138932"/>
              <a:gd name="connsiteY57" fmla="*/ 147896 h 152377"/>
              <a:gd name="connsiteX58" fmla="*/ 60503 w 138932"/>
              <a:gd name="connsiteY58" fmla="*/ 147896 h 152377"/>
              <a:gd name="connsiteX59" fmla="*/ 96357 w 138932"/>
              <a:gd name="connsiteY59" fmla="*/ 147896 h 152377"/>
              <a:gd name="connsiteX60" fmla="*/ 96357 w 138932"/>
              <a:gd name="connsiteY60" fmla="*/ 116973 h 152377"/>
              <a:gd name="connsiteX61" fmla="*/ 107113 w 138932"/>
              <a:gd name="connsiteY61" fmla="*/ 106216 h 152377"/>
              <a:gd name="connsiteX62" fmla="*/ 117869 w 138932"/>
              <a:gd name="connsiteY62" fmla="*/ 116973 h 152377"/>
              <a:gd name="connsiteX63" fmla="*/ 117869 w 138932"/>
              <a:gd name="connsiteY63" fmla="*/ 147896 h 152377"/>
              <a:gd name="connsiteX64" fmla="*/ 96357 w 138932"/>
              <a:gd name="connsiteY64" fmla="*/ 147896 h 152377"/>
              <a:gd name="connsiteX65" fmla="*/ 122350 w 138932"/>
              <a:gd name="connsiteY65" fmla="*/ 147896 h 152377"/>
              <a:gd name="connsiteX66" fmla="*/ 122350 w 138932"/>
              <a:gd name="connsiteY66" fmla="*/ 116973 h 152377"/>
              <a:gd name="connsiteX67" fmla="*/ 107113 w 138932"/>
              <a:gd name="connsiteY67" fmla="*/ 101735 h 152377"/>
              <a:gd name="connsiteX68" fmla="*/ 91875 w 138932"/>
              <a:gd name="connsiteY68" fmla="*/ 116973 h 152377"/>
              <a:gd name="connsiteX69" fmla="*/ 91875 w 138932"/>
              <a:gd name="connsiteY69" fmla="*/ 147896 h 152377"/>
              <a:gd name="connsiteX70" fmla="*/ 86049 w 138932"/>
              <a:gd name="connsiteY70" fmla="*/ 147896 h 152377"/>
              <a:gd name="connsiteX71" fmla="*/ 86049 w 138932"/>
              <a:gd name="connsiteY71" fmla="*/ 116973 h 152377"/>
              <a:gd name="connsiteX72" fmla="*/ 70811 w 138932"/>
              <a:gd name="connsiteY72" fmla="*/ 101735 h 152377"/>
              <a:gd name="connsiteX73" fmla="*/ 55573 w 138932"/>
              <a:gd name="connsiteY73" fmla="*/ 116973 h 152377"/>
              <a:gd name="connsiteX74" fmla="*/ 55573 w 138932"/>
              <a:gd name="connsiteY74" fmla="*/ 147896 h 152377"/>
              <a:gd name="connsiteX75" fmla="*/ 49747 w 138932"/>
              <a:gd name="connsiteY75" fmla="*/ 147896 h 152377"/>
              <a:gd name="connsiteX76" fmla="*/ 49747 w 138932"/>
              <a:gd name="connsiteY76" fmla="*/ 116973 h 152377"/>
              <a:gd name="connsiteX77" fmla="*/ 34509 w 138932"/>
              <a:gd name="connsiteY77" fmla="*/ 101735 h 152377"/>
              <a:gd name="connsiteX78" fmla="*/ 19271 w 138932"/>
              <a:gd name="connsiteY78" fmla="*/ 116973 h 152377"/>
              <a:gd name="connsiteX79" fmla="*/ 19271 w 138932"/>
              <a:gd name="connsiteY79" fmla="*/ 147896 h 152377"/>
              <a:gd name="connsiteX80" fmla="*/ 13445 w 138932"/>
              <a:gd name="connsiteY80" fmla="*/ 147896 h 152377"/>
              <a:gd name="connsiteX81" fmla="*/ 13445 w 138932"/>
              <a:gd name="connsiteY81" fmla="*/ 80671 h 152377"/>
              <a:gd name="connsiteX82" fmla="*/ 18375 w 138932"/>
              <a:gd name="connsiteY82" fmla="*/ 80671 h 152377"/>
              <a:gd name="connsiteX83" fmla="*/ 121454 w 138932"/>
              <a:gd name="connsiteY83" fmla="*/ 80671 h 152377"/>
              <a:gd name="connsiteX84" fmla="*/ 126384 w 138932"/>
              <a:gd name="connsiteY84" fmla="*/ 80671 h 152377"/>
              <a:gd name="connsiteX85" fmla="*/ 126384 w 138932"/>
              <a:gd name="connsiteY85" fmla="*/ 147896 h 152377"/>
              <a:gd name="connsiteX86" fmla="*/ 122350 w 138932"/>
              <a:gd name="connsiteY86"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38932" h="152377">
                <a:moveTo>
                  <a:pt x="140277" y="147896"/>
                </a:moveTo>
                <a:lnTo>
                  <a:pt x="132210" y="147896"/>
                </a:lnTo>
                <a:lnTo>
                  <a:pt x="132210" y="80671"/>
                </a:lnTo>
                <a:cubicBezTo>
                  <a:pt x="132210" y="77982"/>
                  <a:pt x="130417" y="76189"/>
                  <a:pt x="127729" y="76189"/>
                </a:cubicBezTo>
                <a:lnTo>
                  <a:pt x="127280" y="76189"/>
                </a:lnTo>
                <a:lnTo>
                  <a:pt x="127280" y="65433"/>
                </a:lnTo>
                <a:cubicBezTo>
                  <a:pt x="127280" y="62744"/>
                  <a:pt x="125488" y="60951"/>
                  <a:pt x="122798" y="60951"/>
                </a:cubicBezTo>
                <a:lnTo>
                  <a:pt x="106664" y="60951"/>
                </a:lnTo>
                <a:lnTo>
                  <a:pt x="106664" y="55573"/>
                </a:lnTo>
                <a:cubicBezTo>
                  <a:pt x="106664" y="36750"/>
                  <a:pt x="91875" y="21512"/>
                  <a:pt x="73500" y="20168"/>
                </a:cubicBezTo>
                <a:lnTo>
                  <a:pt x="73500" y="2241"/>
                </a:lnTo>
                <a:cubicBezTo>
                  <a:pt x="73500" y="896"/>
                  <a:pt x="72604" y="0"/>
                  <a:pt x="71259" y="0"/>
                </a:cubicBezTo>
                <a:cubicBezTo>
                  <a:pt x="69914" y="0"/>
                  <a:pt x="69018" y="896"/>
                  <a:pt x="69018" y="2241"/>
                </a:cubicBezTo>
                <a:lnTo>
                  <a:pt x="69018" y="20168"/>
                </a:lnTo>
                <a:cubicBezTo>
                  <a:pt x="50643" y="21512"/>
                  <a:pt x="35854" y="36750"/>
                  <a:pt x="35854" y="55573"/>
                </a:cubicBezTo>
                <a:lnTo>
                  <a:pt x="35854" y="60951"/>
                </a:lnTo>
                <a:lnTo>
                  <a:pt x="19719" y="60951"/>
                </a:lnTo>
                <a:cubicBezTo>
                  <a:pt x="17030" y="60951"/>
                  <a:pt x="15238" y="62744"/>
                  <a:pt x="15238" y="65433"/>
                </a:cubicBezTo>
                <a:lnTo>
                  <a:pt x="15238" y="76189"/>
                </a:lnTo>
                <a:lnTo>
                  <a:pt x="14790" y="76189"/>
                </a:lnTo>
                <a:cubicBezTo>
                  <a:pt x="12101" y="76189"/>
                  <a:pt x="10308" y="77982"/>
                  <a:pt x="10308" y="80671"/>
                </a:cubicBezTo>
                <a:lnTo>
                  <a:pt x="10308" y="147896"/>
                </a:lnTo>
                <a:lnTo>
                  <a:pt x="2241" y="147896"/>
                </a:lnTo>
                <a:cubicBezTo>
                  <a:pt x="896" y="147896"/>
                  <a:pt x="0" y="148793"/>
                  <a:pt x="0" y="150137"/>
                </a:cubicBezTo>
                <a:cubicBezTo>
                  <a:pt x="0" y="151482"/>
                  <a:pt x="896" y="152378"/>
                  <a:pt x="2241" y="152378"/>
                </a:cubicBezTo>
                <a:lnTo>
                  <a:pt x="14790" y="152378"/>
                </a:lnTo>
                <a:lnTo>
                  <a:pt x="22857" y="152378"/>
                </a:lnTo>
                <a:lnTo>
                  <a:pt x="48402" y="152378"/>
                </a:lnTo>
                <a:lnTo>
                  <a:pt x="58710" y="152378"/>
                </a:lnTo>
                <a:lnTo>
                  <a:pt x="84256" y="152378"/>
                </a:lnTo>
                <a:lnTo>
                  <a:pt x="94564" y="152378"/>
                </a:lnTo>
                <a:lnTo>
                  <a:pt x="120110" y="152378"/>
                </a:lnTo>
                <a:lnTo>
                  <a:pt x="128177" y="152378"/>
                </a:lnTo>
                <a:lnTo>
                  <a:pt x="140725" y="152378"/>
                </a:lnTo>
                <a:cubicBezTo>
                  <a:pt x="142070" y="152378"/>
                  <a:pt x="142966" y="151482"/>
                  <a:pt x="142966" y="150137"/>
                </a:cubicBezTo>
                <a:cubicBezTo>
                  <a:pt x="142518" y="148793"/>
                  <a:pt x="141622" y="147896"/>
                  <a:pt x="140277" y="147896"/>
                </a:cubicBezTo>
                <a:close/>
                <a:moveTo>
                  <a:pt x="40335" y="55573"/>
                </a:moveTo>
                <a:cubicBezTo>
                  <a:pt x="40335" y="38543"/>
                  <a:pt x="54228" y="24649"/>
                  <a:pt x="71259" y="24649"/>
                </a:cubicBezTo>
                <a:cubicBezTo>
                  <a:pt x="88290" y="24649"/>
                  <a:pt x="102183" y="38543"/>
                  <a:pt x="102183" y="55573"/>
                </a:cubicBezTo>
                <a:lnTo>
                  <a:pt x="102183" y="60951"/>
                </a:lnTo>
                <a:lnTo>
                  <a:pt x="39887" y="60951"/>
                </a:lnTo>
                <a:lnTo>
                  <a:pt x="39887" y="55573"/>
                </a:lnTo>
                <a:close/>
                <a:moveTo>
                  <a:pt x="19719" y="65433"/>
                </a:moveTo>
                <a:lnTo>
                  <a:pt x="122798" y="65433"/>
                </a:lnTo>
                <a:lnTo>
                  <a:pt x="122798" y="76189"/>
                </a:lnTo>
                <a:lnTo>
                  <a:pt x="19719" y="76189"/>
                </a:lnTo>
                <a:lnTo>
                  <a:pt x="19719" y="65433"/>
                </a:lnTo>
                <a:close/>
                <a:moveTo>
                  <a:pt x="24649" y="147896"/>
                </a:moveTo>
                <a:lnTo>
                  <a:pt x="24649" y="116973"/>
                </a:lnTo>
                <a:cubicBezTo>
                  <a:pt x="24649" y="111146"/>
                  <a:pt x="29579" y="106216"/>
                  <a:pt x="35405" y="106216"/>
                </a:cubicBezTo>
                <a:cubicBezTo>
                  <a:pt x="41232" y="106216"/>
                  <a:pt x="46161" y="111146"/>
                  <a:pt x="46161" y="116973"/>
                </a:cubicBezTo>
                <a:lnTo>
                  <a:pt x="46161" y="147896"/>
                </a:lnTo>
                <a:lnTo>
                  <a:pt x="24649" y="147896"/>
                </a:lnTo>
                <a:close/>
                <a:moveTo>
                  <a:pt x="60503" y="147896"/>
                </a:moveTo>
                <a:lnTo>
                  <a:pt x="60503" y="116973"/>
                </a:lnTo>
                <a:cubicBezTo>
                  <a:pt x="60503" y="111146"/>
                  <a:pt x="65433" y="106216"/>
                  <a:pt x="71259" y="106216"/>
                </a:cubicBezTo>
                <a:cubicBezTo>
                  <a:pt x="77085" y="106216"/>
                  <a:pt x="82015" y="111146"/>
                  <a:pt x="82015" y="116973"/>
                </a:cubicBezTo>
                <a:lnTo>
                  <a:pt x="82015" y="147896"/>
                </a:lnTo>
                <a:lnTo>
                  <a:pt x="60503" y="147896"/>
                </a:lnTo>
                <a:close/>
                <a:moveTo>
                  <a:pt x="96357" y="147896"/>
                </a:moveTo>
                <a:lnTo>
                  <a:pt x="96357" y="116973"/>
                </a:lnTo>
                <a:cubicBezTo>
                  <a:pt x="96357" y="111146"/>
                  <a:pt x="101286" y="106216"/>
                  <a:pt x="107113" y="106216"/>
                </a:cubicBezTo>
                <a:cubicBezTo>
                  <a:pt x="112939" y="106216"/>
                  <a:pt x="117869" y="111146"/>
                  <a:pt x="117869" y="116973"/>
                </a:cubicBezTo>
                <a:lnTo>
                  <a:pt x="117869" y="147896"/>
                </a:lnTo>
                <a:lnTo>
                  <a:pt x="96357" y="147896"/>
                </a:lnTo>
                <a:close/>
                <a:moveTo>
                  <a:pt x="122350" y="147896"/>
                </a:moveTo>
                <a:lnTo>
                  <a:pt x="122350" y="116973"/>
                </a:lnTo>
                <a:cubicBezTo>
                  <a:pt x="122350" y="108457"/>
                  <a:pt x="115628" y="101735"/>
                  <a:pt x="107113" y="101735"/>
                </a:cubicBezTo>
                <a:cubicBezTo>
                  <a:pt x="98597" y="101735"/>
                  <a:pt x="91875" y="108457"/>
                  <a:pt x="91875" y="116973"/>
                </a:cubicBezTo>
                <a:lnTo>
                  <a:pt x="91875" y="147896"/>
                </a:lnTo>
                <a:lnTo>
                  <a:pt x="86049" y="147896"/>
                </a:lnTo>
                <a:lnTo>
                  <a:pt x="86049" y="116973"/>
                </a:lnTo>
                <a:cubicBezTo>
                  <a:pt x="86049" y="108457"/>
                  <a:pt x="79326" y="101735"/>
                  <a:pt x="70811" y="101735"/>
                </a:cubicBezTo>
                <a:cubicBezTo>
                  <a:pt x="62295" y="101735"/>
                  <a:pt x="55573" y="108457"/>
                  <a:pt x="55573" y="116973"/>
                </a:cubicBezTo>
                <a:lnTo>
                  <a:pt x="55573" y="147896"/>
                </a:lnTo>
                <a:lnTo>
                  <a:pt x="49747" y="147896"/>
                </a:lnTo>
                <a:lnTo>
                  <a:pt x="49747" y="116973"/>
                </a:lnTo>
                <a:cubicBezTo>
                  <a:pt x="49747" y="108457"/>
                  <a:pt x="43024" y="101735"/>
                  <a:pt x="34509" y="101735"/>
                </a:cubicBezTo>
                <a:cubicBezTo>
                  <a:pt x="25994" y="101735"/>
                  <a:pt x="19271" y="108457"/>
                  <a:pt x="19271" y="116973"/>
                </a:cubicBezTo>
                <a:lnTo>
                  <a:pt x="19271" y="147896"/>
                </a:lnTo>
                <a:lnTo>
                  <a:pt x="13445" y="147896"/>
                </a:lnTo>
                <a:lnTo>
                  <a:pt x="13445" y="80671"/>
                </a:lnTo>
                <a:lnTo>
                  <a:pt x="18375" y="80671"/>
                </a:lnTo>
                <a:lnTo>
                  <a:pt x="121454" y="80671"/>
                </a:lnTo>
                <a:lnTo>
                  <a:pt x="126384" y="80671"/>
                </a:lnTo>
                <a:lnTo>
                  <a:pt x="126384" y="147896"/>
                </a:lnTo>
                <a:lnTo>
                  <a:pt x="122350" y="147896"/>
                </a:lnTo>
                <a:close/>
              </a:path>
            </a:pathLst>
          </a:custGeom>
          <a:solidFill>
            <a:srgbClr val="231F20"/>
          </a:solidFill>
          <a:ln w="4477" cap="flat">
            <a:noFill/>
            <a:prstDash val="solid"/>
            <a:miter/>
          </a:ln>
        </p:spPr>
        <p:txBody>
          <a:bodyPr rtlCol="0" anchor="ctr"/>
          <a:lstStyle/>
          <a:p>
            <a:endParaRPr lang="en-US"/>
          </a:p>
        </p:txBody>
      </p:sp>
      <p:grpSp>
        <p:nvGrpSpPr>
          <p:cNvPr id="3690" name="Group 3689">
            <a:extLst>
              <a:ext uri="{FF2B5EF4-FFF2-40B4-BE49-F238E27FC236}">
                <a16:creationId xmlns:a16="http://schemas.microsoft.com/office/drawing/2014/main" id="{5B2E59F6-C0A5-46DD-8956-15E14553F192}"/>
              </a:ext>
              <a:ext uri="{C183D7F6-B498-43B3-948B-1728B52AA6E4}">
                <adec:decorative xmlns:adec="http://schemas.microsoft.com/office/drawing/2017/decorative" val="1"/>
              </a:ext>
            </a:extLst>
          </p:cNvPr>
          <p:cNvGrpSpPr>
            <a:grpSpLocks noChangeAspect="1"/>
          </p:cNvGrpSpPr>
          <p:nvPr/>
        </p:nvGrpSpPr>
        <p:grpSpPr>
          <a:xfrm>
            <a:off x="1675598" y="2754680"/>
            <a:ext cx="67226" cy="152378"/>
            <a:chOff x="7577224" y="5601216"/>
            <a:chExt cx="67226" cy="152378"/>
          </a:xfrm>
        </p:grpSpPr>
        <p:sp>
          <p:nvSpPr>
            <p:cNvPr id="3691" name="Freeform: Shape 3690">
              <a:extLst>
                <a:ext uri="{FF2B5EF4-FFF2-40B4-BE49-F238E27FC236}">
                  <a16:creationId xmlns:a16="http://schemas.microsoft.com/office/drawing/2014/main" id="{7A9F3906-9830-40AC-AE98-5E33D7B6DE21}"/>
                </a:ext>
              </a:extLst>
            </p:cNvPr>
            <p:cNvSpPr/>
            <p:nvPr/>
          </p:nvSpPr>
          <p:spPr>
            <a:xfrm>
              <a:off x="7577224" y="5601216"/>
              <a:ext cx="67226" cy="152378"/>
            </a:xfrm>
            <a:custGeom>
              <a:avLst/>
              <a:gdLst>
                <a:gd name="connsiteX0" fmla="*/ 56021 w 67225"/>
                <a:gd name="connsiteY0" fmla="*/ 0 h 152377"/>
                <a:gd name="connsiteX1" fmla="*/ 14790 w 67225"/>
                <a:gd name="connsiteY1" fmla="*/ 0 h 152377"/>
                <a:gd name="connsiteX2" fmla="*/ 0 w 67225"/>
                <a:gd name="connsiteY2" fmla="*/ 14790 h 152377"/>
                <a:gd name="connsiteX3" fmla="*/ 0 w 67225"/>
                <a:gd name="connsiteY3" fmla="*/ 36750 h 152377"/>
                <a:gd name="connsiteX4" fmla="*/ 17030 w 67225"/>
                <a:gd name="connsiteY4" fmla="*/ 57814 h 152377"/>
                <a:gd name="connsiteX5" fmla="*/ 17030 w 67225"/>
                <a:gd name="connsiteY5" fmla="*/ 137140 h 152377"/>
                <a:gd name="connsiteX6" fmla="*/ 17479 w 67225"/>
                <a:gd name="connsiteY6" fmla="*/ 138485 h 152377"/>
                <a:gd name="connsiteX7" fmla="*/ 28235 w 67225"/>
                <a:gd name="connsiteY7" fmla="*/ 151481 h 152377"/>
                <a:gd name="connsiteX8" fmla="*/ 30027 w 67225"/>
                <a:gd name="connsiteY8" fmla="*/ 152378 h 152377"/>
                <a:gd name="connsiteX9" fmla="*/ 31372 w 67225"/>
                <a:gd name="connsiteY9" fmla="*/ 151930 h 152377"/>
                <a:gd name="connsiteX10" fmla="*/ 47506 w 67225"/>
                <a:gd name="connsiteY10" fmla="*/ 138485 h 152377"/>
                <a:gd name="connsiteX11" fmla="*/ 48402 w 67225"/>
                <a:gd name="connsiteY11" fmla="*/ 136692 h 152377"/>
                <a:gd name="connsiteX12" fmla="*/ 48402 w 67225"/>
                <a:gd name="connsiteY12" fmla="*/ 123247 h 152377"/>
                <a:gd name="connsiteX13" fmla="*/ 46162 w 67225"/>
                <a:gd name="connsiteY13" fmla="*/ 121006 h 152377"/>
                <a:gd name="connsiteX14" fmla="*/ 34957 w 67225"/>
                <a:gd name="connsiteY14" fmla="*/ 121006 h 152377"/>
                <a:gd name="connsiteX15" fmla="*/ 34957 w 67225"/>
                <a:gd name="connsiteY15" fmla="*/ 112043 h 152377"/>
                <a:gd name="connsiteX16" fmla="*/ 46162 w 67225"/>
                <a:gd name="connsiteY16" fmla="*/ 112043 h 152377"/>
                <a:gd name="connsiteX17" fmla="*/ 48402 w 67225"/>
                <a:gd name="connsiteY17" fmla="*/ 109802 h 152377"/>
                <a:gd name="connsiteX18" fmla="*/ 48402 w 67225"/>
                <a:gd name="connsiteY18" fmla="*/ 58262 h 152377"/>
                <a:gd name="connsiteX19" fmla="*/ 49747 w 67225"/>
                <a:gd name="connsiteY19" fmla="*/ 58262 h 152377"/>
                <a:gd name="connsiteX20" fmla="*/ 71259 w 67225"/>
                <a:gd name="connsiteY20" fmla="*/ 36750 h 152377"/>
                <a:gd name="connsiteX21" fmla="*/ 71259 w 67225"/>
                <a:gd name="connsiteY21" fmla="*/ 14790 h 152377"/>
                <a:gd name="connsiteX22" fmla="*/ 56021 w 67225"/>
                <a:gd name="connsiteY22" fmla="*/ 0 h 152377"/>
                <a:gd name="connsiteX23" fmla="*/ 43921 w 67225"/>
                <a:gd name="connsiteY23" fmla="*/ 107561 h 152377"/>
                <a:gd name="connsiteX24" fmla="*/ 32716 w 67225"/>
                <a:gd name="connsiteY24" fmla="*/ 107561 h 152377"/>
                <a:gd name="connsiteX25" fmla="*/ 30476 w 67225"/>
                <a:gd name="connsiteY25" fmla="*/ 109802 h 152377"/>
                <a:gd name="connsiteX26" fmla="*/ 30476 w 67225"/>
                <a:gd name="connsiteY26" fmla="*/ 123247 h 152377"/>
                <a:gd name="connsiteX27" fmla="*/ 32716 w 67225"/>
                <a:gd name="connsiteY27" fmla="*/ 125488 h 152377"/>
                <a:gd name="connsiteX28" fmla="*/ 43921 w 67225"/>
                <a:gd name="connsiteY28" fmla="*/ 125488 h 152377"/>
                <a:gd name="connsiteX29" fmla="*/ 43921 w 67225"/>
                <a:gd name="connsiteY29" fmla="*/ 135795 h 152377"/>
                <a:gd name="connsiteX30" fmla="*/ 30476 w 67225"/>
                <a:gd name="connsiteY30" fmla="*/ 147000 h 152377"/>
                <a:gd name="connsiteX31" fmla="*/ 21512 w 67225"/>
                <a:gd name="connsiteY31" fmla="*/ 136692 h 152377"/>
                <a:gd name="connsiteX32" fmla="*/ 21512 w 67225"/>
                <a:gd name="connsiteY32" fmla="*/ 58262 h 152377"/>
                <a:gd name="connsiteX33" fmla="*/ 43921 w 67225"/>
                <a:gd name="connsiteY33" fmla="*/ 58262 h 152377"/>
                <a:gd name="connsiteX34" fmla="*/ 43921 w 67225"/>
                <a:gd name="connsiteY34" fmla="*/ 107561 h 152377"/>
                <a:gd name="connsiteX35" fmla="*/ 66777 w 67225"/>
                <a:gd name="connsiteY35" fmla="*/ 36750 h 152377"/>
                <a:gd name="connsiteX36" fmla="*/ 49747 w 67225"/>
                <a:gd name="connsiteY36" fmla="*/ 53780 h 152377"/>
                <a:gd name="connsiteX37" fmla="*/ 46162 w 67225"/>
                <a:gd name="connsiteY37" fmla="*/ 53780 h 152377"/>
                <a:gd name="connsiteX38" fmla="*/ 21064 w 67225"/>
                <a:gd name="connsiteY38" fmla="*/ 53780 h 152377"/>
                <a:gd name="connsiteX39" fmla="*/ 4034 w 67225"/>
                <a:gd name="connsiteY39" fmla="*/ 36750 h 152377"/>
                <a:gd name="connsiteX40" fmla="*/ 4034 w 67225"/>
                <a:gd name="connsiteY40" fmla="*/ 14790 h 152377"/>
                <a:gd name="connsiteX41" fmla="*/ 14342 w 67225"/>
                <a:gd name="connsiteY41" fmla="*/ 4482 h 152377"/>
                <a:gd name="connsiteX42" fmla="*/ 55573 w 67225"/>
                <a:gd name="connsiteY42" fmla="*/ 4482 h 152377"/>
                <a:gd name="connsiteX43" fmla="*/ 65881 w 67225"/>
                <a:gd name="connsiteY43" fmla="*/ 14790 h 152377"/>
                <a:gd name="connsiteX44" fmla="*/ 65881 w 67225"/>
                <a:gd name="connsiteY44" fmla="*/ 3675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7225" h="152377">
                  <a:moveTo>
                    <a:pt x="56021" y="0"/>
                  </a:moveTo>
                  <a:lnTo>
                    <a:pt x="14790" y="0"/>
                  </a:lnTo>
                  <a:cubicBezTo>
                    <a:pt x="6723" y="0"/>
                    <a:pt x="0" y="6723"/>
                    <a:pt x="0" y="14790"/>
                  </a:cubicBezTo>
                  <a:lnTo>
                    <a:pt x="0" y="36750"/>
                  </a:lnTo>
                  <a:cubicBezTo>
                    <a:pt x="0" y="47058"/>
                    <a:pt x="7171" y="55573"/>
                    <a:pt x="17030" y="57814"/>
                  </a:cubicBezTo>
                  <a:lnTo>
                    <a:pt x="17030" y="137140"/>
                  </a:lnTo>
                  <a:cubicBezTo>
                    <a:pt x="17030" y="137588"/>
                    <a:pt x="17030" y="138036"/>
                    <a:pt x="17479" y="138485"/>
                  </a:cubicBezTo>
                  <a:lnTo>
                    <a:pt x="28235" y="151481"/>
                  </a:lnTo>
                  <a:cubicBezTo>
                    <a:pt x="28683" y="151930"/>
                    <a:pt x="29131" y="152378"/>
                    <a:pt x="30027" y="152378"/>
                  </a:cubicBezTo>
                  <a:cubicBezTo>
                    <a:pt x="30476" y="152378"/>
                    <a:pt x="30924" y="152378"/>
                    <a:pt x="31372" y="151930"/>
                  </a:cubicBezTo>
                  <a:lnTo>
                    <a:pt x="47506" y="138485"/>
                  </a:lnTo>
                  <a:cubicBezTo>
                    <a:pt x="47954" y="138036"/>
                    <a:pt x="48402" y="137588"/>
                    <a:pt x="48402" y="136692"/>
                  </a:cubicBezTo>
                  <a:lnTo>
                    <a:pt x="48402" y="123247"/>
                  </a:lnTo>
                  <a:cubicBezTo>
                    <a:pt x="48402" y="121902"/>
                    <a:pt x="47506" y="121006"/>
                    <a:pt x="46162" y="121006"/>
                  </a:cubicBezTo>
                  <a:lnTo>
                    <a:pt x="34957" y="121006"/>
                  </a:lnTo>
                  <a:lnTo>
                    <a:pt x="34957" y="112043"/>
                  </a:lnTo>
                  <a:lnTo>
                    <a:pt x="46162" y="112043"/>
                  </a:lnTo>
                  <a:cubicBezTo>
                    <a:pt x="47506" y="112043"/>
                    <a:pt x="48402" y="111146"/>
                    <a:pt x="48402" y="109802"/>
                  </a:cubicBezTo>
                  <a:lnTo>
                    <a:pt x="48402" y="58262"/>
                  </a:lnTo>
                  <a:lnTo>
                    <a:pt x="49747" y="58262"/>
                  </a:lnTo>
                  <a:cubicBezTo>
                    <a:pt x="61399" y="58262"/>
                    <a:pt x="71259" y="48851"/>
                    <a:pt x="71259" y="36750"/>
                  </a:cubicBezTo>
                  <a:lnTo>
                    <a:pt x="71259" y="14790"/>
                  </a:lnTo>
                  <a:cubicBezTo>
                    <a:pt x="71259" y="6723"/>
                    <a:pt x="64536" y="0"/>
                    <a:pt x="56021" y="0"/>
                  </a:cubicBezTo>
                  <a:close/>
                  <a:moveTo>
                    <a:pt x="43921" y="107561"/>
                  </a:moveTo>
                  <a:lnTo>
                    <a:pt x="32716" y="107561"/>
                  </a:lnTo>
                  <a:cubicBezTo>
                    <a:pt x="31372" y="107561"/>
                    <a:pt x="30476" y="108457"/>
                    <a:pt x="30476" y="109802"/>
                  </a:cubicBezTo>
                  <a:lnTo>
                    <a:pt x="30476" y="123247"/>
                  </a:lnTo>
                  <a:cubicBezTo>
                    <a:pt x="30476" y="124591"/>
                    <a:pt x="31372" y="125488"/>
                    <a:pt x="32716" y="125488"/>
                  </a:cubicBezTo>
                  <a:lnTo>
                    <a:pt x="43921" y="125488"/>
                  </a:lnTo>
                  <a:lnTo>
                    <a:pt x="43921" y="135795"/>
                  </a:lnTo>
                  <a:lnTo>
                    <a:pt x="30476" y="147000"/>
                  </a:lnTo>
                  <a:lnTo>
                    <a:pt x="21512" y="136692"/>
                  </a:lnTo>
                  <a:lnTo>
                    <a:pt x="21512" y="58262"/>
                  </a:lnTo>
                  <a:lnTo>
                    <a:pt x="43921" y="58262"/>
                  </a:lnTo>
                  <a:lnTo>
                    <a:pt x="43921" y="107561"/>
                  </a:lnTo>
                  <a:close/>
                  <a:moveTo>
                    <a:pt x="66777" y="36750"/>
                  </a:moveTo>
                  <a:cubicBezTo>
                    <a:pt x="66777" y="46161"/>
                    <a:pt x="59159" y="53780"/>
                    <a:pt x="49747" y="53780"/>
                  </a:cubicBezTo>
                  <a:lnTo>
                    <a:pt x="46162" y="53780"/>
                  </a:lnTo>
                  <a:lnTo>
                    <a:pt x="21064" y="53780"/>
                  </a:lnTo>
                  <a:cubicBezTo>
                    <a:pt x="11652" y="53780"/>
                    <a:pt x="4034" y="46161"/>
                    <a:pt x="4034" y="36750"/>
                  </a:cubicBezTo>
                  <a:lnTo>
                    <a:pt x="4034" y="14790"/>
                  </a:lnTo>
                  <a:cubicBezTo>
                    <a:pt x="4034" y="8963"/>
                    <a:pt x="8963" y="4482"/>
                    <a:pt x="14342" y="4482"/>
                  </a:cubicBezTo>
                  <a:lnTo>
                    <a:pt x="55573" y="4482"/>
                  </a:lnTo>
                  <a:cubicBezTo>
                    <a:pt x="61399" y="4482"/>
                    <a:pt x="65881" y="9411"/>
                    <a:pt x="65881" y="14790"/>
                  </a:cubicBezTo>
                  <a:lnTo>
                    <a:pt x="65881" y="36750"/>
                  </a:lnTo>
                  <a:close/>
                </a:path>
              </a:pathLst>
            </a:custGeom>
            <a:solidFill>
              <a:srgbClr val="231F20"/>
            </a:solidFill>
            <a:ln w="4477" cap="flat">
              <a:noFill/>
              <a:prstDash val="solid"/>
              <a:miter/>
            </a:ln>
          </p:spPr>
          <p:txBody>
            <a:bodyPr rtlCol="0" anchor="ctr"/>
            <a:lstStyle/>
            <a:p>
              <a:endParaRPr lang="en-US"/>
            </a:p>
          </p:txBody>
        </p:sp>
        <p:sp>
          <p:nvSpPr>
            <p:cNvPr id="3692" name="Freeform: Shape 3691">
              <a:extLst>
                <a:ext uri="{FF2B5EF4-FFF2-40B4-BE49-F238E27FC236}">
                  <a16:creationId xmlns:a16="http://schemas.microsoft.com/office/drawing/2014/main" id="{F19DD4EF-7185-4FCB-BCBD-5C3C1247730B}"/>
                </a:ext>
              </a:extLst>
            </p:cNvPr>
            <p:cNvSpPr/>
            <p:nvPr/>
          </p:nvSpPr>
          <p:spPr>
            <a:xfrm>
              <a:off x="7597168" y="5616454"/>
              <a:ext cx="26890" cy="8963"/>
            </a:xfrm>
            <a:custGeom>
              <a:avLst/>
              <a:gdLst>
                <a:gd name="connsiteX0" fmla="*/ 15462 w 26890"/>
                <a:gd name="connsiteY0" fmla="*/ 0 h 8963"/>
                <a:gd name="connsiteX1" fmla="*/ 672 w 26890"/>
                <a:gd name="connsiteY1" fmla="*/ 6274 h 8963"/>
                <a:gd name="connsiteX2" fmla="*/ 672 w 26890"/>
                <a:gd name="connsiteY2" fmla="*/ 9412 h 8963"/>
                <a:gd name="connsiteX3" fmla="*/ 2465 w 26890"/>
                <a:gd name="connsiteY3" fmla="*/ 9860 h 8963"/>
                <a:gd name="connsiteX4" fmla="*/ 4258 w 26890"/>
                <a:gd name="connsiteY4" fmla="*/ 9412 h 8963"/>
                <a:gd name="connsiteX5" fmla="*/ 27562 w 26890"/>
                <a:gd name="connsiteY5" fmla="*/ 9412 h 8963"/>
                <a:gd name="connsiteX6" fmla="*/ 30700 w 26890"/>
                <a:gd name="connsiteY6" fmla="*/ 9412 h 8963"/>
                <a:gd name="connsiteX7" fmla="*/ 30700 w 26890"/>
                <a:gd name="connsiteY7" fmla="*/ 6274 h 8963"/>
                <a:gd name="connsiteX8" fmla="*/ 15462 w 26890"/>
                <a:gd name="connsiteY8" fmla="*/ 0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90" h="8963">
                  <a:moveTo>
                    <a:pt x="15462" y="0"/>
                  </a:moveTo>
                  <a:cubicBezTo>
                    <a:pt x="9636" y="0"/>
                    <a:pt x="4706" y="2241"/>
                    <a:pt x="672" y="6274"/>
                  </a:cubicBezTo>
                  <a:cubicBezTo>
                    <a:pt x="-224" y="7171"/>
                    <a:pt x="-224" y="8515"/>
                    <a:pt x="672" y="9412"/>
                  </a:cubicBezTo>
                  <a:cubicBezTo>
                    <a:pt x="1120" y="9860"/>
                    <a:pt x="1569" y="9860"/>
                    <a:pt x="2465" y="9860"/>
                  </a:cubicBezTo>
                  <a:cubicBezTo>
                    <a:pt x="3361" y="9860"/>
                    <a:pt x="3809" y="9860"/>
                    <a:pt x="4258" y="9412"/>
                  </a:cubicBezTo>
                  <a:cubicBezTo>
                    <a:pt x="10532" y="3137"/>
                    <a:pt x="21288" y="3137"/>
                    <a:pt x="27562" y="9412"/>
                  </a:cubicBezTo>
                  <a:cubicBezTo>
                    <a:pt x="28459" y="10308"/>
                    <a:pt x="29803" y="10308"/>
                    <a:pt x="30700" y="9412"/>
                  </a:cubicBezTo>
                  <a:cubicBezTo>
                    <a:pt x="31596" y="8515"/>
                    <a:pt x="31596" y="7171"/>
                    <a:pt x="30700" y="6274"/>
                  </a:cubicBezTo>
                  <a:cubicBezTo>
                    <a:pt x="26666" y="2241"/>
                    <a:pt x="21288" y="0"/>
                    <a:pt x="15462" y="0"/>
                  </a:cubicBezTo>
                  <a:close/>
                </a:path>
              </a:pathLst>
            </a:custGeom>
            <a:solidFill>
              <a:srgbClr val="231F20"/>
            </a:solidFill>
            <a:ln w="4477" cap="flat">
              <a:noFill/>
              <a:prstDash val="solid"/>
              <a:miter/>
            </a:ln>
          </p:spPr>
          <p:txBody>
            <a:bodyPr rtlCol="0" anchor="ctr"/>
            <a:lstStyle/>
            <a:p>
              <a:endParaRPr lang="en-US"/>
            </a:p>
          </p:txBody>
        </p:sp>
      </p:grpSp>
      <p:sp>
        <p:nvSpPr>
          <p:cNvPr id="3693" name="Freeform: Shape 3692">
            <a:extLst>
              <a:ext uri="{FF2B5EF4-FFF2-40B4-BE49-F238E27FC236}">
                <a16:creationId xmlns:a16="http://schemas.microsoft.com/office/drawing/2014/main" id="{07983D6D-BED8-4E23-8865-41E57C25717D}"/>
              </a:ext>
              <a:ext uri="{C183D7F6-B498-43B3-948B-1728B52AA6E4}">
                <adec:decorative xmlns:adec="http://schemas.microsoft.com/office/drawing/2017/decorative" val="1"/>
              </a:ext>
            </a:extLst>
          </p:cNvPr>
          <p:cNvSpPr>
            <a:spLocks noChangeAspect="1"/>
          </p:cNvSpPr>
          <p:nvPr/>
        </p:nvSpPr>
        <p:spPr>
          <a:xfrm>
            <a:off x="2183375" y="2758714"/>
            <a:ext cx="116524" cy="143414"/>
          </a:xfrm>
          <a:custGeom>
            <a:avLst/>
            <a:gdLst>
              <a:gd name="connsiteX0" fmla="*/ 104424 w 116524"/>
              <a:gd name="connsiteY0" fmla="*/ 57814 h 143414"/>
              <a:gd name="connsiteX1" fmla="*/ 104424 w 116524"/>
              <a:gd name="connsiteY1" fmla="*/ 33165 h 143414"/>
              <a:gd name="connsiteX2" fmla="*/ 118765 w 116524"/>
              <a:gd name="connsiteY2" fmla="*/ 17030 h 143414"/>
              <a:gd name="connsiteX3" fmla="*/ 102183 w 116524"/>
              <a:gd name="connsiteY3" fmla="*/ 448 h 143414"/>
              <a:gd name="connsiteX4" fmla="*/ 85600 w 116524"/>
              <a:gd name="connsiteY4" fmla="*/ 17030 h 143414"/>
              <a:gd name="connsiteX5" fmla="*/ 99942 w 116524"/>
              <a:gd name="connsiteY5" fmla="*/ 33165 h 143414"/>
              <a:gd name="connsiteX6" fmla="*/ 99942 w 116524"/>
              <a:gd name="connsiteY6" fmla="*/ 57814 h 143414"/>
              <a:gd name="connsiteX7" fmla="*/ 86049 w 116524"/>
              <a:gd name="connsiteY7" fmla="*/ 71708 h 143414"/>
              <a:gd name="connsiteX8" fmla="*/ 75741 w 116524"/>
              <a:gd name="connsiteY8" fmla="*/ 71708 h 143414"/>
              <a:gd name="connsiteX9" fmla="*/ 61847 w 116524"/>
              <a:gd name="connsiteY9" fmla="*/ 57814 h 143414"/>
              <a:gd name="connsiteX10" fmla="*/ 61847 w 116524"/>
              <a:gd name="connsiteY10" fmla="*/ 33165 h 143414"/>
              <a:gd name="connsiteX11" fmla="*/ 76189 w 116524"/>
              <a:gd name="connsiteY11" fmla="*/ 17030 h 143414"/>
              <a:gd name="connsiteX12" fmla="*/ 59607 w 116524"/>
              <a:gd name="connsiteY12" fmla="*/ 448 h 143414"/>
              <a:gd name="connsiteX13" fmla="*/ 43024 w 116524"/>
              <a:gd name="connsiteY13" fmla="*/ 17030 h 143414"/>
              <a:gd name="connsiteX14" fmla="*/ 57366 w 116524"/>
              <a:gd name="connsiteY14" fmla="*/ 33165 h 143414"/>
              <a:gd name="connsiteX15" fmla="*/ 57366 w 116524"/>
              <a:gd name="connsiteY15" fmla="*/ 57814 h 143414"/>
              <a:gd name="connsiteX16" fmla="*/ 43472 w 116524"/>
              <a:gd name="connsiteY16" fmla="*/ 71708 h 143414"/>
              <a:gd name="connsiteX17" fmla="*/ 18823 w 116524"/>
              <a:gd name="connsiteY17" fmla="*/ 71708 h 143414"/>
              <a:gd name="connsiteX18" fmla="*/ 18823 w 116524"/>
              <a:gd name="connsiteY18" fmla="*/ 32716 h 143414"/>
              <a:gd name="connsiteX19" fmla="*/ 33165 w 116524"/>
              <a:gd name="connsiteY19" fmla="*/ 16582 h 143414"/>
              <a:gd name="connsiteX20" fmla="*/ 16582 w 116524"/>
              <a:gd name="connsiteY20" fmla="*/ 0 h 143414"/>
              <a:gd name="connsiteX21" fmla="*/ 0 w 116524"/>
              <a:gd name="connsiteY21" fmla="*/ 16582 h 143414"/>
              <a:gd name="connsiteX22" fmla="*/ 14341 w 116524"/>
              <a:gd name="connsiteY22" fmla="*/ 32716 h 143414"/>
              <a:gd name="connsiteX23" fmla="*/ 14341 w 116524"/>
              <a:gd name="connsiteY23" fmla="*/ 114732 h 143414"/>
              <a:gd name="connsiteX24" fmla="*/ 0 w 116524"/>
              <a:gd name="connsiteY24" fmla="*/ 130866 h 143414"/>
              <a:gd name="connsiteX25" fmla="*/ 16582 w 116524"/>
              <a:gd name="connsiteY25" fmla="*/ 147448 h 143414"/>
              <a:gd name="connsiteX26" fmla="*/ 33165 w 116524"/>
              <a:gd name="connsiteY26" fmla="*/ 130866 h 143414"/>
              <a:gd name="connsiteX27" fmla="*/ 18823 w 116524"/>
              <a:gd name="connsiteY27" fmla="*/ 114732 h 143414"/>
              <a:gd name="connsiteX28" fmla="*/ 18823 w 116524"/>
              <a:gd name="connsiteY28" fmla="*/ 75741 h 143414"/>
              <a:gd name="connsiteX29" fmla="*/ 43472 w 116524"/>
              <a:gd name="connsiteY29" fmla="*/ 75741 h 143414"/>
              <a:gd name="connsiteX30" fmla="*/ 57366 w 116524"/>
              <a:gd name="connsiteY30" fmla="*/ 89634 h 143414"/>
              <a:gd name="connsiteX31" fmla="*/ 57366 w 116524"/>
              <a:gd name="connsiteY31" fmla="*/ 114284 h 143414"/>
              <a:gd name="connsiteX32" fmla="*/ 43024 w 116524"/>
              <a:gd name="connsiteY32" fmla="*/ 130418 h 143414"/>
              <a:gd name="connsiteX33" fmla="*/ 59607 w 116524"/>
              <a:gd name="connsiteY33" fmla="*/ 147000 h 143414"/>
              <a:gd name="connsiteX34" fmla="*/ 76189 w 116524"/>
              <a:gd name="connsiteY34" fmla="*/ 130418 h 143414"/>
              <a:gd name="connsiteX35" fmla="*/ 61847 w 116524"/>
              <a:gd name="connsiteY35" fmla="*/ 114284 h 143414"/>
              <a:gd name="connsiteX36" fmla="*/ 61847 w 116524"/>
              <a:gd name="connsiteY36" fmla="*/ 89634 h 143414"/>
              <a:gd name="connsiteX37" fmla="*/ 75741 w 116524"/>
              <a:gd name="connsiteY37" fmla="*/ 75741 h 143414"/>
              <a:gd name="connsiteX38" fmla="*/ 86049 w 116524"/>
              <a:gd name="connsiteY38" fmla="*/ 75741 h 143414"/>
              <a:gd name="connsiteX39" fmla="*/ 102183 w 116524"/>
              <a:gd name="connsiteY39" fmla="*/ 90082 h 143414"/>
              <a:gd name="connsiteX40" fmla="*/ 118765 w 116524"/>
              <a:gd name="connsiteY40" fmla="*/ 73500 h 143414"/>
              <a:gd name="connsiteX41" fmla="*/ 104424 w 116524"/>
              <a:gd name="connsiteY41" fmla="*/ 57814 h 143414"/>
              <a:gd name="connsiteX42" fmla="*/ 4034 w 116524"/>
              <a:gd name="connsiteY42" fmla="*/ 16582 h 143414"/>
              <a:gd name="connsiteX43" fmla="*/ 16134 w 116524"/>
              <a:gd name="connsiteY43" fmla="*/ 4482 h 143414"/>
              <a:gd name="connsiteX44" fmla="*/ 28235 w 116524"/>
              <a:gd name="connsiteY44" fmla="*/ 16582 h 143414"/>
              <a:gd name="connsiteX45" fmla="*/ 16134 w 116524"/>
              <a:gd name="connsiteY45" fmla="*/ 28683 h 143414"/>
              <a:gd name="connsiteX46" fmla="*/ 4034 w 116524"/>
              <a:gd name="connsiteY46" fmla="*/ 16582 h 143414"/>
              <a:gd name="connsiteX47" fmla="*/ 28235 w 116524"/>
              <a:gd name="connsiteY47" fmla="*/ 131314 h 143414"/>
              <a:gd name="connsiteX48" fmla="*/ 16134 w 116524"/>
              <a:gd name="connsiteY48" fmla="*/ 143415 h 143414"/>
              <a:gd name="connsiteX49" fmla="*/ 4034 w 116524"/>
              <a:gd name="connsiteY49" fmla="*/ 131314 h 143414"/>
              <a:gd name="connsiteX50" fmla="*/ 16134 w 116524"/>
              <a:gd name="connsiteY50" fmla="*/ 119213 h 143414"/>
              <a:gd name="connsiteX51" fmla="*/ 28235 w 116524"/>
              <a:gd name="connsiteY51" fmla="*/ 131314 h 143414"/>
              <a:gd name="connsiteX52" fmla="*/ 90082 w 116524"/>
              <a:gd name="connsiteY52" fmla="*/ 16582 h 143414"/>
              <a:gd name="connsiteX53" fmla="*/ 102183 w 116524"/>
              <a:gd name="connsiteY53" fmla="*/ 4482 h 143414"/>
              <a:gd name="connsiteX54" fmla="*/ 114283 w 116524"/>
              <a:gd name="connsiteY54" fmla="*/ 16582 h 143414"/>
              <a:gd name="connsiteX55" fmla="*/ 102183 w 116524"/>
              <a:gd name="connsiteY55" fmla="*/ 28683 h 143414"/>
              <a:gd name="connsiteX56" fmla="*/ 90082 w 116524"/>
              <a:gd name="connsiteY56" fmla="*/ 16582 h 143414"/>
              <a:gd name="connsiteX57" fmla="*/ 47058 w 116524"/>
              <a:gd name="connsiteY57" fmla="*/ 16582 h 143414"/>
              <a:gd name="connsiteX58" fmla="*/ 59158 w 116524"/>
              <a:gd name="connsiteY58" fmla="*/ 4482 h 143414"/>
              <a:gd name="connsiteX59" fmla="*/ 71259 w 116524"/>
              <a:gd name="connsiteY59" fmla="*/ 16582 h 143414"/>
              <a:gd name="connsiteX60" fmla="*/ 59158 w 116524"/>
              <a:gd name="connsiteY60" fmla="*/ 28683 h 143414"/>
              <a:gd name="connsiteX61" fmla="*/ 47058 w 116524"/>
              <a:gd name="connsiteY61" fmla="*/ 16582 h 143414"/>
              <a:gd name="connsiteX62" fmla="*/ 71259 w 116524"/>
              <a:gd name="connsiteY62" fmla="*/ 131314 h 143414"/>
              <a:gd name="connsiteX63" fmla="*/ 59158 w 116524"/>
              <a:gd name="connsiteY63" fmla="*/ 143415 h 143414"/>
              <a:gd name="connsiteX64" fmla="*/ 47058 w 116524"/>
              <a:gd name="connsiteY64" fmla="*/ 131314 h 143414"/>
              <a:gd name="connsiteX65" fmla="*/ 59158 w 116524"/>
              <a:gd name="connsiteY65" fmla="*/ 119213 h 143414"/>
              <a:gd name="connsiteX66" fmla="*/ 71259 w 116524"/>
              <a:gd name="connsiteY66" fmla="*/ 131314 h 143414"/>
              <a:gd name="connsiteX67" fmla="*/ 59158 w 116524"/>
              <a:gd name="connsiteY67" fmla="*/ 86049 h 143414"/>
              <a:gd name="connsiteX68" fmla="*/ 47058 w 116524"/>
              <a:gd name="connsiteY68" fmla="*/ 73948 h 143414"/>
              <a:gd name="connsiteX69" fmla="*/ 59158 w 116524"/>
              <a:gd name="connsiteY69" fmla="*/ 61847 h 143414"/>
              <a:gd name="connsiteX70" fmla="*/ 71259 w 116524"/>
              <a:gd name="connsiteY70" fmla="*/ 73948 h 143414"/>
              <a:gd name="connsiteX71" fmla="*/ 59158 w 116524"/>
              <a:gd name="connsiteY71" fmla="*/ 86049 h 143414"/>
              <a:gd name="connsiteX72" fmla="*/ 102183 w 116524"/>
              <a:gd name="connsiteY72" fmla="*/ 86049 h 143414"/>
              <a:gd name="connsiteX73" fmla="*/ 90082 w 116524"/>
              <a:gd name="connsiteY73" fmla="*/ 73948 h 143414"/>
              <a:gd name="connsiteX74" fmla="*/ 102183 w 116524"/>
              <a:gd name="connsiteY74" fmla="*/ 61847 h 143414"/>
              <a:gd name="connsiteX75" fmla="*/ 114283 w 116524"/>
              <a:gd name="connsiteY75" fmla="*/ 73948 h 143414"/>
              <a:gd name="connsiteX76" fmla="*/ 102183 w 116524"/>
              <a:gd name="connsiteY76" fmla="*/ 86049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6524" h="143414">
                <a:moveTo>
                  <a:pt x="104424" y="57814"/>
                </a:moveTo>
                <a:lnTo>
                  <a:pt x="104424" y="33165"/>
                </a:lnTo>
                <a:cubicBezTo>
                  <a:pt x="112491" y="32268"/>
                  <a:pt x="118765" y="25098"/>
                  <a:pt x="118765" y="17030"/>
                </a:cubicBezTo>
                <a:cubicBezTo>
                  <a:pt x="118765" y="8067"/>
                  <a:pt x="111146" y="448"/>
                  <a:pt x="102183" y="448"/>
                </a:cubicBezTo>
                <a:cubicBezTo>
                  <a:pt x="93219" y="448"/>
                  <a:pt x="85600" y="8067"/>
                  <a:pt x="85600" y="17030"/>
                </a:cubicBezTo>
                <a:cubicBezTo>
                  <a:pt x="85600" y="25546"/>
                  <a:pt x="91875" y="32268"/>
                  <a:pt x="99942" y="33165"/>
                </a:cubicBezTo>
                <a:lnTo>
                  <a:pt x="99942" y="57814"/>
                </a:lnTo>
                <a:cubicBezTo>
                  <a:pt x="92771" y="58710"/>
                  <a:pt x="86945" y="64536"/>
                  <a:pt x="86049" y="71708"/>
                </a:cubicBezTo>
                <a:lnTo>
                  <a:pt x="75741" y="71708"/>
                </a:lnTo>
                <a:cubicBezTo>
                  <a:pt x="74844" y="64536"/>
                  <a:pt x="69018" y="58710"/>
                  <a:pt x="61847" y="57814"/>
                </a:cubicBezTo>
                <a:lnTo>
                  <a:pt x="61847" y="33165"/>
                </a:lnTo>
                <a:cubicBezTo>
                  <a:pt x="69914" y="32268"/>
                  <a:pt x="76189" y="25098"/>
                  <a:pt x="76189" y="17030"/>
                </a:cubicBezTo>
                <a:cubicBezTo>
                  <a:pt x="76189" y="8067"/>
                  <a:pt x="68570" y="448"/>
                  <a:pt x="59607" y="448"/>
                </a:cubicBezTo>
                <a:cubicBezTo>
                  <a:pt x="50643" y="448"/>
                  <a:pt x="43024" y="8067"/>
                  <a:pt x="43024" y="17030"/>
                </a:cubicBezTo>
                <a:cubicBezTo>
                  <a:pt x="43024" y="25546"/>
                  <a:pt x="49299" y="32268"/>
                  <a:pt x="57366" y="33165"/>
                </a:cubicBezTo>
                <a:lnTo>
                  <a:pt x="57366" y="57814"/>
                </a:lnTo>
                <a:cubicBezTo>
                  <a:pt x="50195" y="58710"/>
                  <a:pt x="44369" y="64536"/>
                  <a:pt x="43472" y="71708"/>
                </a:cubicBezTo>
                <a:lnTo>
                  <a:pt x="18823" y="71708"/>
                </a:lnTo>
                <a:lnTo>
                  <a:pt x="18823" y="32716"/>
                </a:lnTo>
                <a:cubicBezTo>
                  <a:pt x="26890" y="31820"/>
                  <a:pt x="33165" y="24649"/>
                  <a:pt x="33165" y="16582"/>
                </a:cubicBezTo>
                <a:cubicBezTo>
                  <a:pt x="33165" y="7619"/>
                  <a:pt x="25546" y="0"/>
                  <a:pt x="16582" y="0"/>
                </a:cubicBezTo>
                <a:cubicBezTo>
                  <a:pt x="7619" y="0"/>
                  <a:pt x="0" y="7619"/>
                  <a:pt x="0" y="16582"/>
                </a:cubicBezTo>
                <a:cubicBezTo>
                  <a:pt x="0" y="25098"/>
                  <a:pt x="6274" y="31820"/>
                  <a:pt x="14341" y="32716"/>
                </a:cubicBezTo>
                <a:lnTo>
                  <a:pt x="14341" y="114732"/>
                </a:lnTo>
                <a:cubicBezTo>
                  <a:pt x="6274" y="115628"/>
                  <a:pt x="0" y="122798"/>
                  <a:pt x="0" y="130866"/>
                </a:cubicBezTo>
                <a:cubicBezTo>
                  <a:pt x="0" y="139829"/>
                  <a:pt x="7619" y="147448"/>
                  <a:pt x="16582" y="147448"/>
                </a:cubicBezTo>
                <a:cubicBezTo>
                  <a:pt x="25546" y="147448"/>
                  <a:pt x="33165" y="139829"/>
                  <a:pt x="33165" y="130866"/>
                </a:cubicBezTo>
                <a:cubicBezTo>
                  <a:pt x="33165" y="122350"/>
                  <a:pt x="26890" y="115628"/>
                  <a:pt x="18823" y="114732"/>
                </a:cubicBezTo>
                <a:lnTo>
                  <a:pt x="18823" y="75741"/>
                </a:lnTo>
                <a:lnTo>
                  <a:pt x="43472" y="75741"/>
                </a:lnTo>
                <a:cubicBezTo>
                  <a:pt x="44369" y="82912"/>
                  <a:pt x="50195" y="88738"/>
                  <a:pt x="57366" y="89634"/>
                </a:cubicBezTo>
                <a:lnTo>
                  <a:pt x="57366" y="114284"/>
                </a:lnTo>
                <a:cubicBezTo>
                  <a:pt x="49299" y="115180"/>
                  <a:pt x="43024" y="122350"/>
                  <a:pt x="43024" y="130418"/>
                </a:cubicBezTo>
                <a:cubicBezTo>
                  <a:pt x="43024" y="139381"/>
                  <a:pt x="50643" y="147000"/>
                  <a:pt x="59607" y="147000"/>
                </a:cubicBezTo>
                <a:cubicBezTo>
                  <a:pt x="68570" y="147000"/>
                  <a:pt x="76189" y="139381"/>
                  <a:pt x="76189" y="130418"/>
                </a:cubicBezTo>
                <a:cubicBezTo>
                  <a:pt x="76189" y="121902"/>
                  <a:pt x="69914" y="115180"/>
                  <a:pt x="61847" y="114284"/>
                </a:cubicBezTo>
                <a:lnTo>
                  <a:pt x="61847" y="89634"/>
                </a:lnTo>
                <a:cubicBezTo>
                  <a:pt x="69018" y="88738"/>
                  <a:pt x="74844" y="82912"/>
                  <a:pt x="75741" y="75741"/>
                </a:cubicBezTo>
                <a:lnTo>
                  <a:pt x="86049" y="75741"/>
                </a:lnTo>
                <a:cubicBezTo>
                  <a:pt x="86945" y="83808"/>
                  <a:pt x="94116" y="90082"/>
                  <a:pt x="102183" y="90082"/>
                </a:cubicBezTo>
                <a:cubicBezTo>
                  <a:pt x="111146" y="90082"/>
                  <a:pt x="118765" y="82463"/>
                  <a:pt x="118765" y="73500"/>
                </a:cubicBezTo>
                <a:cubicBezTo>
                  <a:pt x="118765" y="65433"/>
                  <a:pt x="112491" y="58710"/>
                  <a:pt x="104424" y="57814"/>
                </a:cubicBezTo>
                <a:close/>
                <a:moveTo>
                  <a:pt x="4034" y="16582"/>
                </a:moveTo>
                <a:cubicBezTo>
                  <a:pt x="4034" y="9860"/>
                  <a:pt x="9411" y="4482"/>
                  <a:pt x="16134" y="4482"/>
                </a:cubicBezTo>
                <a:cubicBezTo>
                  <a:pt x="22857" y="4482"/>
                  <a:pt x="28235" y="9860"/>
                  <a:pt x="28235" y="16582"/>
                </a:cubicBezTo>
                <a:cubicBezTo>
                  <a:pt x="28235" y="23305"/>
                  <a:pt x="22857" y="28683"/>
                  <a:pt x="16134" y="28683"/>
                </a:cubicBezTo>
                <a:cubicBezTo>
                  <a:pt x="9411" y="28683"/>
                  <a:pt x="4034" y="23305"/>
                  <a:pt x="4034" y="16582"/>
                </a:cubicBezTo>
                <a:close/>
                <a:moveTo>
                  <a:pt x="28235" y="131314"/>
                </a:moveTo>
                <a:cubicBezTo>
                  <a:pt x="28235" y="138036"/>
                  <a:pt x="22857" y="143415"/>
                  <a:pt x="16134" y="143415"/>
                </a:cubicBezTo>
                <a:cubicBezTo>
                  <a:pt x="9411" y="143415"/>
                  <a:pt x="4034" y="138036"/>
                  <a:pt x="4034" y="131314"/>
                </a:cubicBezTo>
                <a:cubicBezTo>
                  <a:pt x="4034" y="124591"/>
                  <a:pt x="9411" y="119213"/>
                  <a:pt x="16134" y="119213"/>
                </a:cubicBezTo>
                <a:cubicBezTo>
                  <a:pt x="22857" y="119213"/>
                  <a:pt x="28235" y="124591"/>
                  <a:pt x="28235" y="131314"/>
                </a:cubicBezTo>
                <a:close/>
                <a:moveTo>
                  <a:pt x="90082" y="16582"/>
                </a:moveTo>
                <a:cubicBezTo>
                  <a:pt x="90082" y="9860"/>
                  <a:pt x="95460" y="4482"/>
                  <a:pt x="102183" y="4482"/>
                </a:cubicBezTo>
                <a:cubicBezTo>
                  <a:pt x="108905" y="4482"/>
                  <a:pt x="114283" y="9860"/>
                  <a:pt x="114283" y="16582"/>
                </a:cubicBezTo>
                <a:cubicBezTo>
                  <a:pt x="114283" y="23305"/>
                  <a:pt x="108905" y="28683"/>
                  <a:pt x="102183" y="28683"/>
                </a:cubicBezTo>
                <a:cubicBezTo>
                  <a:pt x="95460" y="28683"/>
                  <a:pt x="90082" y="23305"/>
                  <a:pt x="90082" y="16582"/>
                </a:cubicBezTo>
                <a:close/>
                <a:moveTo>
                  <a:pt x="47058" y="16582"/>
                </a:moveTo>
                <a:cubicBezTo>
                  <a:pt x="47058" y="9860"/>
                  <a:pt x="52436" y="4482"/>
                  <a:pt x="59158" y="4482"/>
                </a:cubicBezTo>
                <a:cubicBezTo>
                  <a:pt x="65881" y="4482"/>
                  <a:pt x="71259" y="9860"/>
                  <a:pt x="71259" y="16582"/>
                </a:cubicBezTo>
                <a:cubicBezTo>
                  <a:pt x="71259" y="23305"/>
                  <a:pt x="65881" y="28683"/>
                  <a:pt x="59158" y="28683"/>
                </a:cubicBezTo>
                <a:cubicBezTo>
                  <a:pt x="52436" y="28683"/>
                  <a:pt x="47058" y="23305"/>
                  <a:pt x="47058" y="16582"/>
                </a:cubicBezTo>
                <a:close/>
                <a:moveTo>
                  <a:pt x="71259" y="131314"/>
                </a:moveTo>
                <a:cubicBezTo>
                  <a:pt x="71259" y="138036"/>
                  <a:pt x="65881" y="143415"/>
                  <a:pt x="59158" y="143415"/>
                </a:cubicBezTo>
                <a:cubicBezTo>
                  <a:pt x="52436" y="143415"/>
                  <a:pt x="47058" y="138036"/>
                  <a:pt x="47058" y="131314"/>
                </a:cubicBezTo>
                <a:cubicBezTo>
                  <a:pt x="47058" y="124591"/>
                  <a:pt x="52436" y="119213"/>
                  <a:pt x="59158" y="119213"/>
                </a:cubicBezTo>
                <a:cubicBezTo>
                  <a:pt x="65881" y="119213"/>
                  <a:pt x="71259" y="124591"/>
                  <a:pt x="71259" y="131314"/>
                </a:cubicBezTo>
                <a:close/>
                <a:moveTo>
                  <a:pt x="59158" y="86049"/>
                </a:moveTo>
                <a:cubicBezTo>
                  <a:pt x="52436" y="86049"/>
                  <a:pt x="47058" y="80671"/>
                  <a:pt x="47058" y="73948"/>
                </a:cubicBezTo>
                <a:cubicBezTo>
                  <a:pt x="47058" y="67226"/>
                  <a:pt x="52436" y="61847"/>
                  <a:pt x="59158" y="61847"/>
                </a:cubicBezTo>
                <a:cubicBezTo>
                  <a:pt x="65881" y="61847"/>
                  <a:pt x="71259" y="67226"/>
                  <a:pt x="71259" y="73948"/>
                </a:cubicBezTo>
                <a:cubicBezTo>
                  <a:pt x="71259" y="80671"/>
                  <a:pt x="65881" y="86049"/>
                  <a:pt x="59158" y="86049"/>
                </a:cubicBezTo>
                <a:close/>
                <a:moveTo>
                  <a:pt x="102183" y="86049"/>
                </a:moveTo>
                <a:cubicBezTo>
                  <a:pt x="95460" y="86049"/>
                  <a:pt x="90082" y="80671"/>
                  <a:pt x="90082" y="73948"/>
                </a:cubicBezTo>
                <a:cubicBezTo>
                  <a:pt x="90082" y="67226"/>
                  <a:pt x="95460" y="61847"/>
                  <a:pt x="102183" y="61847"/>
                </a:cubicBezTo>
                <a:cubicBezTo>
                  <a:pt x="108905" y="61847"/>
                  <a:pt x="114283" y="67226"/>
                  <a:pt x="114283" y="73948"/>
                </a:cubicBezTo>
                <a:cubicBezTo>
                  <a:pt x="114283" y="80671"/>
                  <a:pt x="108905" y="86049"/>
                  <a:pt x="102183" y="86049"/>
                </a:cubicBezTo>
                <a:close/>
              </a:path>
            </a:pathLst>
          </a:custGeom>
          <a:solidFill>
            <a:srgbClr val="231F20"/>
          </a:solidFill>
          <a:ln w="4477" cap="flat">
            <a:noFill/>
            <a:prstDash val="solid"/>
            <a:miter/>
          </a:ln>
        </p:spPr>
        <p:txBody>
          <a:bodyPr rtlCol="0" anchor="ctr"/>
          <a:lstStyle/>
          <a:p>
            <a:endParaRPr lang="en-US"/>
          </a:p>
        </p:txBody>
      </p:sp>
      <p:grpSp>
        <p:nvGrpSpPr>
          <p:cNvPr id="3694" name="Group 3693">
            <a:extLst>
              <a:ext uri="{FF2B5EF4-FFF2-40B4-BE49-F238E27FC236}">
                <a16:creationId xmlns:a16="http://schemas.microsoft.com/office/drawing/2014/main" id="{EE6AAF07-6705-42C1-A4CB-BCEF548BD250}"/>
              </a:ext>
              <a:ext uri="{C183D7F6-B498-43B3-948B-1728B52AA6E4}">
                <adec:decorative xmlns:adec="http://schemas.microsoft.com/office/drawing/2017/decorative" val="1"/>
              </a:ext>
            </a:extLst>
          </p:cNvPr>
          <p:cNvGrpSpPr>
            <a:grpSpLocks noChangeAspect="1"/>
          </p:cNvGrpSpPr>
          <p:nvPr/>
        </p:nvGrpSpPr>
        <p:grpSpPr>
          <a:xfrm>
            <a:off x="578477" y="2752440"/>
            <a:ext cx="125488" cy="152378"/>
            <a:chOff x="6480103" y="5598976"/>
            <a:chExt cx="125488" cy="152378"/>
          </a:xfrm>
        </p:grpSpPr>
        <p:sp>
          <p:nvSpPr>
            <p:cNvPr id="3695" name="Freeform: Shape 3694">
              <a:extLst>
                <a:ext uri="{FF2B5EF4-FFF2-40B4-BE49-F238E27FC236}">
                  <a16:creationId xmlns:a16="http://schemas.microsoft.com/office/drawing/2014/main" id="{7D11D790-E990-4FBD-9A3F-150F409CBE2E}"/>
                </a:ext>
              </a:extLst>
            </p:cNvPr>
            <p:cNvSpPr/>
            <p:nvPr/>
          </p:nvSpPr>
          <p:spPr>
            <a:xfrm>
              <a:off x="6506994" y="5616006"/>
              <a:ext cx="58262" cy="40335"/>
            </a:xfrm>
            <a:custGeom>
              <a:avLst/>
              <a:gdLst>
                <a:gd name="connsiteX0" fmla="*/ 56918 w 58262"/>
                <a:gd name="connsiteY0" fmla="*/ 0 h 40335"/>
                <a:gd name="connsiteX1" fmla="*/ 2241 w 58262"/>
                <a:gd name="connsiteY1" fmla="*/ 0 h 40335"/>
                <a:gd name="connsiteX2" fmla="*/ 0 w 58262"/>
                <a:gd name="connsiteY2" fmla="*/ 2241 h 40335"/>
                <a:gd name="connsiteX3" fmla="*/ 0 w 58262"/>
                <a:gd name="connsiteY3" fmla="*/ 41232 h 40335"/>
                <a:gd name="connsiteX4" fmla="*/ 2241 w 58262"/>
                <a:gd name="connsiteY4" fmla="*/ 43473 h 40335"/>
                <a:gd name="connsiteX5" fmla="*/ 56469 w 58262"/>
                <a:gd name="connsiteY5" fmla="*/ 43473 h 40335"/>
                <a:gd name="connsiteX6" fmla="*/ 58710 w 58262"/>
                <a:gd name="connsiteY6" fmla="*/ 41232 h 40335"/>
                <a:gd name="connsiteX7" fmla="*/ 58710 w 58262"/>
                <a:gd name="connsiteY7" fmla="*/ 2241 h 40335"/>
                <a:gd name="connsiteX8" fmla="*/ 56918 w 58262"/>
                <a:gd name="connsiteY8" fmla="*/ 0 h 40335"/>
                <a:gd name="connsiteX9" fmla="*/ 17927 w 58262"/>
                <a:gd name="connsiteY9" fmla="*/ 28235 h 40335"/>
                <a:gd name="connsiteX10" fmla="*/ 26890 w 58262"/>
                <a:gd name="connsiteY10" fmla="*/ 38543 h 40335"/>
                <a:gd name="connsiteX11" fmla="*/ 12549 w 58262"/>
                <a:gd name="connsiteY11" fmla="*/ 38543 h 40335"/>
                <a:gd name="connsiteX12" fmla="*/ 17927 w 58262"/>
                <a:gd name="connsiteY12" fmla="*/ 28235 h 40335"/>
                <a:gd name="connsiteX13" fmla="*/ 33165 w 58262"/>
                <a:gd name="connsiteY13" fmla="*/ 38543 h 40335"/>
                <a:gd name="connsiteX14" fmla="*/ 21960 w 58262"/>
                <a:gd name="connsiteY14" fmla="*/ 25546 h 40335"/>
                <a:gd name="connsiteX15" fmla="*/ 29579 w 58262"/>
                <a:gd name="connsiteY15" fmla="*/ 23753 h 40335"/>
                <a:gd name="connsiteX16" fmla="*/ 46610 w 58262"/>
                <a:gd name="connsiteY16" fmla="*/ 38543 h 40335"/>
                <a:gd name="connsiteX17" fmla="*/ 33165 w 58262"/>
                <a:gd name="connsiteY17" fmla="*/ 38543 h 40335"/>
                <a:gd name="connsiteX18" fmla="*/ 54677 w 58262"/>
                <a:gd name="connsiteY18" fmla="*/ 38543 h 40335"/>
                <a:gd name="connsiteX19" fmla="*/ 51091 w 58262"/>
                <a:gd name="connsiteY19" fmla="*/ 38543 h 40335"/>
                <a:gd name="connsiteX20" fmla="*/ 29579 w 58262"/>
                <a:gd name="connsiteY20" fmla="*/ 19271 h 40335"/>
                <a:gd name="connsiteX21" fmla="*/ 18823 w 58262"/>
                <a:gd name="connsiteY21" fmla="*/ 22409 h 40335"/>
                <a:gd name="connsiteX22" fmla="*/ 14341 w 58262"/>
                <a:gd name="connsiteY22" fmla="*/ 17478 h 40335"/>
                <a:gd name="connsiteX23" fmla="*/ 11204 w 58262"/>
                <a:gd name="connsiteY23" fmla="*/ 17478 h 40335"/>
                <a:gd name="connsiteX24" fmla="*/ 11204 w 58262"/>
                <a:gd name="connsiteY24" fmla="*/ 20616 h 40335"/>
                <a:gd name="connsiteX25" fmla="*/ 15238 w 58262"/>
                <a:gd name="connsiteY25" fmla="*/ 25546 h 40335"/>
                <a:gd name="connsiteX26" fmla="*/ 8067 w 58262"/>
                <a:gd name="connsiteY26" fmla="*/ 39439 h 40335"/>
                <a:gd name="connsiteX27" fmla="*/ 4482 w 58262"/>
                <a:gd name="connsiteY27" fmla="*/ 39439 h 40335"/>
                <a:gd name="connsiteX28" fmla="*/ 4482 w 58262"/>
                <a:gd name="connsiteY28" fmla="*/ 4930 h 40335"/>
                <a:gd name="connsiteX29" fmla="*/ 54229 w 58262"/>
                <a:gd name="connsiteY29" fmla="*/ 4930 h 40335"/>
                <a:gd name="connsiteX30" fmla="*/ 54229 w 58262"/>
                <a:gd name="connsiteY30" fmla="*/ 38543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62" h="40335">
                  <a:moveTo>
                    <a:pt x="56918" y="0"/>
                  </a:moveTo>
                  <a:lnTo>
                    <a:pt x="2241" y="0"/>
                  </a:lnTo>
                  <a:cubicBezTo>
                    <a:pt x="896" y="0"/>
                    <a:pt x="0" y="896"/>
                    <a:pt x="0" y="2241"/>
                  </a:cubicBezTo>
                  <a:lnTo>
                    <a:pt x="0" y="41232"/>
                  </a:lnTo>
                  <a:cubicBezTo>
                    <a:pt x="0" y="42576"/>
                    <a:pt x="896" y="43473"/>
                    <a:pt x="2241" y="43473"/>
                  </a:cubicBezTo>
                  <a:lnTo>
                    <a:pt x="56469" y="43473"/>
                  </a:lnTo>
                  <a:cubicBezTo>
                    <a:pt x="57814" y="43473"/>
                    <a:pt x="58710" y="42576"/>
                    <a:pt x="58710" y="41232"/>
                  </a:cubicBezTo>
                  <a:lnTo>
                    <a:pt x="58710" y="2241"/>
                  </a:lnTo>
                  <a:cubicBezTo>
                    <a:pt x="59158" y="896"/>
                    <a:pt x="57814" y="0"/>
                    <a:pt x="56918" y="0"/>
                  </a:cubicBezTo>
                  <a:close/>
                  <a:moveTo>
                    <a:pt x="17927" y="28235"/>
                  </a:moveTo>
                  <a:lnTo>
                    <a:pt x="26890" y="38543"/>
                  </a:lnTo>
                  <a:lnTo>
                    <a:pt x="12549" y="38543"/>
                  </a:lnTo>
                  <a:cubicBezTo>
                    <a:pt x="12997" y="34509"/>
                    <a:pt x="15238" y="30924"/>
                    <a:pt x="17927" y="28235"/>
                  </a:cubicBezTo>
                  <a:close/>
                  <a:moveTo>
                    <a:pt x="33165" y="38543"/>
                  </a:moveTo>
                  <a:lnTo>
                    <a:pt x="21960" y="25546"/>
                  </a:lnTo>
                  <a:cubicBezTo>
                    <a:pt x="24201" y="24201"/>
                    <a:pt x="26890" y="23753"/>
                    <a:pt x="29579" y="23753"/>
                  </a:cubicBezTo>
                  <a:cubicBezTo>
                    <a:pt x="38094" y="23753"/>
                    <a:pt x="45265" y="30476"/>
                    <a:pt x="46610" y="38543"/>
                  </a:cubicBezTo>
                  <a:lnTo>
                    <a:pt x="33165" y="38543"/>
                  </a:lnTo>
                  <a:close/>
                  <a:moveTo>
                    <a:pt x="54677" y="38543"/>
                  </a:moveTo>
                  <a:lnTo>
                    <a:pt x="51091" y="38543"/>
                  </a:lnTo>
                  <a:cubicBezTo>
                    <a:pt x="49747" y="27787"/>
                    <a:pt x="40783" y="19271"/>
                    <a:pt x="29579" y="19271"/>
                  </a:cubicBezTo>
                  <a:cubicBezTo>
                    <a:pt x="25546" y="19271"/>
                    <a:pt x="21960" y="20616"/>
                    <a:pt x="18823" y="22409"/>
                  </a:cubicBezTo>
                  <a:lnTo>
                    <a:pt x="14341" y="17478"/>
                  </a:lnTo>
                  <a:cubicBezTo>
                    <a:pt x="13445" y="16582"/>
                    <a:pt x="12101" y="16582"/>
                    <a:pt x="11204" y="17478"/>
                  </a:cubicBezTo>
                  <a:cubicBezTo>
                    <a:pt x="10308" y="18375"/>
                    <a:pt x="10308" y="19719"/>
                    <a:pt x="11204" y="20616"/>
                  </a:cubicBezTo>
                  <a:lnTo>
                    <a:pt x="15238" y="25546"/>
                  </a:lnTo>
                  <a:cubicBezTo>
                    <a:pt x="11204" y="29131"/>
                    <a:pt x="8963" y="34061"/>
                    <a:pt x="8067" y="39439"/>
                  </a:cubicBezTo>
                  <a:lnTo>
                    <a:pt x="4482" y="39439"/>
                  </a:lnTo>
                  <a:lnTo>
                    <a:pt x="4482" y="4930"/>
                  </a:lnTo>
                  <a:lnTo>
                    <a:pt x="54229" y="4930"/>
                  </a:lnTo>
                  <a:lnTo>
                    <a:pt x="54229" y="38543"/>
                  </a:lnTo>
                  <a:close/>
                </a:path>
              </a:pathLst>
            </a:custGeom>
            <a:solidFill>
              <a:srgbClr val="231F20"/>
            </a:solidFill>
            <a:ln w="4477" cap="flat">
              <a:noFill/>
              <a:prstDash val="solid"/>
              <a:miter/>
            </a:ln>
          </p:spPr>
          <p:txBody>
            <a:bodyPr rtlCol="0" anchor="ctr"/>
            <a:lstStyle/>
            <a:p>
              <a:endParaRPr lang="en-US"/>
            </a:p>
          </p:txBody>
        </p:sp>
        <p:sp>
          <p:nvSpPr>
            <p:cNvPr id="3696" name="Freeform: Shape 3695">
              <a:extLst>
                <a:ext uri="{FF2B5EF4-FFF2-40B4-BE49-F238E27FC236}">
                  <a16:creationId xmlns:a16="http://schemas.microsoft.com/office/drawing/2014/main" id="{F13FFCCB-DF76-4981-A252-C7EF999CF04F}"/>
                </a:ext>
              </a:extLst>
            </p:cNvPr>
            <p:cNvSpPr/>
            <p:nvPr/>
          </p:nvSpPr>
          <p:spPr>
            <a:xfrm>
              <a:off x="6526713" y="5680430"/>
              <a:ext cx="17927" cy="31372"/>
            </a:xfrm>
            <a:custGeom>
              <a:avLst/>
              <a:gdLst>
                <a:gd name="connsiteX0" fmla="*/ 8515 w 17926"/>
                <a:gd name="connsiteY0" fmla="*/ 1009 h 31371"/>
                <a:gd name="connsiteX1" fmla="*/ 0 w 17926"/>
                <a:gd name="connsiteY1" fmla="*/ 21624 h 31371"/>
                <a:gd name="connsiteX2" fmla="*/ 10756 w 17926"/>
                <a:gd name="connsiteY2" fmla="*/ 32380 h 31371"/>
                <a:gd name="connsiteX3" fmla="*/ 21512 w 17926"/>
                <a:gd name="connsiteY3" fmla="*/ 21624 h 31371"/>
                <a:gd name="connsiteX4" fmla="*/ 12997 w 17926"/>
                <a:gd name="connsiteY4" fmla="*/ 1009 h 31371"/>
                <a:gd name="connsiteX5" fmla="*/ 8515 w 17926"/>
                <a:gd name="connsiteY5" fmla="*/ 1009 h 31371"/>
                <a:gd name="connsiteX6" fmla="*/ 10308 w 17926"/>
                <a:gd name="connsiteY6" fmla="*/ 27450 h 31371"/>
                <a:gd name="connsiteX7" fmla="*/ 4034 w 17926"/>
                <a:gd name="connsiteY7" fmla="*/ 21176 h 31371"/>
                <a:gd name="connsiteX8" fmla="*/ 10308 w 17926"/>
                <a:gd name="connsiteY8" fmla="*/ 6386 h 31371"/>
                <a:gd name="connsiteX9" fmla="*/ 16582 w 17926"/>
                <a:gd name="connsiteY9" fmla="*/ 21176 h 31371"/>
                <a:gd name="connsiteX10" fmla="*/ 10308 w 17926"/>
                <a:gd name="connsiteY10" fmla="*/ 2745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26" h="31371">
                  <a:moveTo>
                    <a:pt x="8515" y="1009"/>
                  </a:moveTo>
                  <a:cubicBezTo>
                    <a:pt x="7171" y="3697"/>
                    <a:pt x="0" y="16695"/>
                    <a:pt x="0" y="21624"/>
                  </a:cubicBezTo>
                  <a:cubicBezTo>
                    <a:pt x="0" y="27450"/>
                    <a:pt x="4930" y="32380"/>
                    <a:pt x="10756" y="32380"/>
                  </a:cubicBezTo>
                  <a:cubicBezTo>
                    <a:pt x="16582" y="32380"/>
                    <a:pt x="21512" y="27450"/>
                    <a:pt x="21512" y="21624"/>
                  </a:cubicBezTo>
                  <a:cubicBezTo>
                    <a:pt x="21512" y="16695"/>
                    <a:pt x="14341" y="3697"/>
                    <a:pt x="12997" y="1009"/>
                  </a:cubicBezTo>
                  <a:cubicBezTo>
                    <a:pt x="11652" y="-336"/>
                    <a:pt x="8963" y="-336"/>
                    <a:pt x="8515" y="1009"/>
                  </a:cubicBezTo>
                  <a:close/>
                  <a:moveTo>
                    <a:pt x="10308" y="27450"/>
                  </a:moveTo>
                  <a:cubicBezTo>
                    <a:pt x="7171" y="27450"/>
                    <a:pt x="4034" y="24761"/>
                    <a:pt x="4034" y="21176"/>
                  </a:cubicBezTo>
                  <a:cubicBezTo>
                    <a:pt x="4034" y="18935"/>
                    <a:pt x="7171" y="12213"/>
                    <a:pt x="10308" y="6386"/>
                  </a:cubicBezTo>
                  <a:cubicBezTo>
                    <a:pt x="13445" y="12213"/>
                    <a:pt x="16582" y="18935"/>
                    <a:pt x="16582" y="21176"/>
                  </a:cubicBezTo>
                  <a:cubicBezTo>
                    <a:pt x="16582" y="24761"/>
                    <a:pt x="13445" y="27450"/>
                    <a:pt x="10308" y="27450"/>
                  </a:cubicBezTo>
                  <a:close/>
                </a:path>
              </a:pathLst>
            </a:custGeom>
            <a:solidFill>
              <a:srgbClr val="231F20"/>
            </a:solidFill>
            <a:ln w="4477" cap="flat">
              <a:noFill/>
              <a:prstDash val="solid"/>
              <a:miter/>
            </a:ln>
          </p:spPr>
          <p:txBody>
            <a:bodyPr rtlCol="0" anchor="ctr"/>
            <a:lstStyle/>
            <a:p>
              <a:endParaRPr lang="en-US"/>
            </a:p>
          </p:txBody>
        </p:sp>
        <p:sp>
          <p:nvSpPr>
            <p:cNvPr id="3697" name="Freeform: Shape 3696">
              <a:extLst>
                <a:ext uri="{FF2B5EF4-FFF2-40B4-BE49-F238E27FC236}">
                  <a16:creationId xmlns:a16="http://schemas.microsoft.com/office/drawing/2014/main" id="{8CB75C51-66A0-42CB-A27D-4312D7E7375B}"/>
                </a:ext>
              </a:extLst>
            </p:cNvPr>
            <p:cNvSpPr/>
            <p:nvPr/>
          </p:nvSpPr>
          <p:spPr>
            <a:xfrm>
              <a:off x="6480103" y="5598976"/>
              <a:ext cx="125488" cy="152378"/>
            </a:xfrm>
            <a:custGeom>
              <a:avLst/>
              <a:gdLst>
                <a:gd name="connsiteX0" fmla="*/ 120110 w 125487"/>
                <a:gd name="connsiteY0" fmla="*/ 27786 h 152377"/>
                <a:gd name="connsiteX1" fmla="*/ 99494 w 125487"/>
                <a:gd name="connsiteY1" fmla="*/ 27786 h 152377"/>
                <a:gd name="connsiteX2" fmla="*/ 99494 w 125487"/>
                <a:gd name="connsiteY2" fmla="*/ 2241 h 152377"/>
                <a:gd name="connsiteX3" fmla="*/ 97253 w 125487"/>
                <a:gd name="connsiteY3" fmla="*/ 0 h 152377"/>
                <a:gd name="connsiteX4" fmla="*/ 15686 w 125487"/>
                <a:gd name="connsiteY4" fmla="*/ 0 h 152377"/>
                <a:gd name="connsiteX5" fmla="*/ 13445 w 125487"/>
                <a:gd name="connsiteY5" fmla="*/ 2241 h 152377"/>
                <a:gd name="connsiteX6" fmla="*/ 13445 w 125487"/>
                <a:gd name="connsiteY6" fmla="*/ 136244 h 152377"/>
                <a:gd name="connsiteX7" fmla="*/ 2241 w 125487"/>
                <a:gd name="connsiteY7" fmla="*/ 136244 h 152377"/>
                <a:gd name="connsiteX8" fmla="*/ 0 w 125487"/>
                <a:gd name="connsiteY8" fmla="*/ 138485 h 152377"/>
                <a:gd name="connsiteX9" fmla="*/ 0 w 125487"/>
                <a:gd name="connsiteY9" fmla="*/ 152378 h 152377"/>
                <a:gd name="connsiteX10" fmla="*/ 2241 w 125487"/>
                <a:gd name="connsiteY10" fmla="*/ 154619 h 152377"/>
                <a:gd name="connsiteX11" fmla="*/ 111594 w 125487"/>
                <a:gd name="connsiteY11" fmla="*/ 154619 h 152377"/>
                <a:gd name="connsiteX12" fmla="*/ 113835 w 125487"/>
                <a:gd name="connsiteY12" fmla="*/ 152378 h 152377"/>
                <a:gd name="connsiteX13" fmla="*/ 113835 w 125487"/>
                <a:gd name="connsiteY13" fmla="*/ 138485 h 152377"/>
                <a:gd name="connsiteX14" fmla="*/ 111594 w 125487"/>
                <a:gd name="connsiteY14" fmla="*/ 136244 h 152377"/>
                <a:gd name="connsiteX15" fmla="*/ 99494 w 125487"/>
                <a:gd name="connsiteY15" fmla="*/ 136244 h 152377"/>
                <a:gd name="connsiteX16" fmla="*/ 99494 w 125487"/>
                <a:gd name="connsiteY16" fmla="*/ 87841 h 152377"/>
                <a:gd name="connsiteX17" fmla="*/ 108905 w 125487"/>
                <a:gd name="connsiteY17" fmla="*/ 87841 h 152377"/>
                <a:gd name="connsiteX18" fmla="*/ 112043 w 125487"/>
                <a:gd name="connsiteY18" fmla="*/ 90978 h 152377"/>
                <a:gd name="connsiteX19" fmla="*/ 112043 w 125487"/>
                <a:gd name="connsiteY19" fmla="*/ 107561 h 152377"/>
                <a:gd name="connsiteX20" fmla="*/ 119661 w 125487"/>
                <a:gd name="connsiteY20" fmla="*/ 115180 h 152377"/>
                <a:gd name="connsiteX21" fmla="*/ 127280 w 125487"/>
                <a:gd name="connsiteY21" fmla="*/ 107561 h 152377"/>
                <a:gd name="connsiteX22" fmla="*/ 127280 w 125487"/>
                <a:gd name="connsiteY22" fmla="*/ 35405 h 152377"/>
                <a:gd name="connsiteX23" fmla="*/ 120110 w 125487"/>
                <a:gd name="connsiteY23" fmla="*/ 27786 h 152377"/>
                <a:gd name="connsiteX24" fmla="*/ 123247 w 125487"/>
                <a:gd name="connsiteY24" fmla="*/ 35854 h 152377"/>
                <a:gd name="connsiteX25" fmla="*/ 123247 w 125487"/>
                <a:gd name="connsiteY25" fmla="*/ 50195 h 152377"/>
                <a:gd name="connsiteX26" fmla="*/ 120110 w 125487"/>
                <a:gd name="connsiteY26" fmla="*/ 50195 h 152377"/>
                <a:gd name="connsiteX27" fmla="*/ 116972 w 125487"/>
                <a:gd name="connsiteY27" fmla="*/ 47058 h 152377"/>
                <a:gd name="connsiteX28" fmla="*/ 116972 w 125487"/>
                <a:gd name="connsiteY28" fmla="*/ 32716 h 152377"/>
                <a:gd name="connsiteX29" fmla="*/ 120110 w 125487"/>
                <a:gd name="connsiteY29" fmla="*/ 32716 h 152377"/>
                <a:gd name="connsiteX30" fmla="*/ 123247 w 125487"/>
                <a:gd name="connsiteY30" fmla="*/ 35854 h 152377"/>
                <a:gd name="connsiteX31" fmla="*/ 109354 w 125487"/>
                <a:gd name="connsiteY31" fmla="*/ 150137 h 152377"/>
                <a:gd name="connsiteX32" fmla="*/ 4482 w 125487"/>
                <a:gd name="connsiteY32" fmla="*/ 150137 h 152377"/>
                <a:gd name="connsiteX33" fmla="*/ 4482 w 125487"/>
                <a:gd name="connsiteY33" fmla="*/ 140726 h 152377"/>
                <a:gd name="connsiteX34" fmla="*/ 15686 w 125487"/>
                <a:gd name="connsiteY34" fmla="*/ 140726 h 152377"/>
                <a:gd name="connsiteX35" fmla="*/ 97253 w 125487"/>
                <a:gd name="connsiteY35" fmla="*/ 140726 h 152377"/>
                <a:gd name="connsiteX36" fmla="*/ 109354 w 125487"/>
                <a:gd name="connsiteY36" fmla="*/ 140726 h 152377"/>
                <a:gd name="connsiteX37" fmla="*/ 109354 w 125487"/>
                <a:gd name="connsiteY37" fmla="*/ 150137 h 152377"/>
                <a:gd name="connsiteX38" fmla="*/ 17927 w 125487"/>
                <a:gd name="connsiteY38" fmla="*/ 136244 h 152377"/>
                <a:gd name="connsiteX39" fmla="*/ 17927 w 125487"/>
                <a:gd name="connsiteY39" fmla="*/ 4482 h 152377"/>
                <a:gd name="connsiteX40" fmla="*/ 95012 w 125487"/>
                <a:gd name="connsiteY40" fmla="*/ 4482 h 152377"/>
                <a:gd name="connsiteX41" fmla="*/ 95012 w 125487"/>
                <a:gd name="connsiteY41" fmla="*/ 136244 h 152377"/>
                <a:gd name="connsiteX42" fmla="*/ 17927 w 125487"/>
                <a:gd name="connsiteY42" fmla="*/ 136244 h 152377"/>
                <a:gd name="connsiteX43" fmla="*/ 120110 w 125487"/>
                <a:gd name="connsiteY43" fmla="*/ 111146 h 152377"/>
                <a:gd name="connsiteX44" fmla="*/ 116972 w 125487"/>
                <a:gd name="connsiteY44" fmla="*/ 108009 h 152377"/>
                <a:gd name="connsiteX45" fmla="*/ 116972 w 125487"/>
                <a:gd name="connsiteY45" fmla="*/ 91427 h 152377"/>
                <a:gd name="connsiteX46" fmla="*/ 109354 w 125487"/>
                <a:gd name="connsiteY46" fmla="*/ 83808 h 152377"/>
                <a:gd name="connsiteX47" fmla="*/ 99942 w 125487"/>
                <a:gd name="connsiteY47" fmla="*/ 83808 h 152377"/>
                <a:gd name="connsiteX48" fmla="*/ 99942 w 125487"/>
                <a:gd name="connsiteY48" fmla="*/ 32716 h 152377"/>
                <a:gd name="connsiteX49" fmla="*/ 112491 w 125487"/>
                <a:gd name="connsiteY49" fmla="*/ 32716 h 152377"/>
                <a:gd name="connsiteX50" fmla="*/ 112491 w 125487"/>
                <a:gd name="connsiteY50" fmla="*/ 47058 h 152377"/>
                <a:gd name="connsiteX51" fmla="*/ 120110 w 125487"/>
                <a:gd name="connsiteY51" fmla="*/ 54677 h 152377"/>
                <a:gd name="connsiteX52" fmla="*/ 123247 w 125487"/>
                <a:gd name="connsiteY52" fmla="*/ 54677 h 152377"/>
                <a:gd name="connsiteX53" fmla="*/ 123247 w 125487"/>
                <a:gd name="connsiteY53" fmla="*/ 108009 h 152377"/>
                <a:gd name="connsiteX54" fmla="*/ 120110 w 125487"/>
                <a:gd name="connsiteY54" fmla="*/ 11114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25487" h="152377">
                  <a:moveTo>
                    <a:pt x="120110" y="27786"/>
                  </a:moveTo>
                  <a:lnTo>
                    <a:pt x="99494" y="27786"/>
                  </a:lnTo>
                  <a:lnTo>
                    <a:pt x="99494" y="2241"/>
                  </a:lnTo>
                  <a:cubicBezTo>
                    <a:pt x="99494" y="896"/>
                    <a:pt x="98597" y="0"/>
                    <a:pt x="97253" y="0"/>
                  </a:cubicBezTo>
                  <a:lnTo>
                    <a:pt x="15686" y="0"/>
                  </a:lnTo>
                  <a:cubicBezTo>
                    <a:pt x="14341" y="0"/>
                    <a:pt x="13445" y="896"/>
                    <a:pt x="13445" y="2241"/>
                  </a:cubicBezTo>
                  <a:lnTo>
                    <a:pt x="13445" y="136244"/>
                  </a:lnTo>
                  <a:lnTo>
                    <a:pt x="2241" y="136244"/>
                  </a:lnTo>
                  <a:cubicBezTo>
                    <a:pt x="896" y="136244"/>
                    <a:pt x="0" y="137140"/>
                    <a:pt x="0" y="138485"/>
                  </a:cubicBezTo>
                  <a:lnTo>
                    <a:pt x="0" y="152378"/>
                  </a:lnTo>
                  <a:cubicBezTo>
                    <a:pt x="0" y="153722"/>
                    <a:pt x="896" y="154619"/>
                    <a:pt x="2241" y="154619"/>
                  </a:cubicBezTo>
                  <a:lnTo>
                    <a:pt x="111594" y="154619"/>
                  </a:lnTo>
                  <a:cubicBezTo>
                    <a:pt x="112939" y="154619"/>
                    <a:pt x="113835" y="153722"/>
                    <a:pt x="113835" y="152378"/>
                  </a:cubicBezTo>
                  <a:lnTo>
                    <a:pt x="113835" y="138485"/>
                  </a:lnTo>
                  <a:cubicBezTo>
                    <a:pt x="113835" y="137140"/>
                    <a:pt x="112939" y="136244"/>
                    <a:pt x="111594" y="136244"/>
                  </a:cubicBezTo>
                  <a:lnTo>
                    <a:pt x="99494" y="136244"/>
                  </a:lnTo>
                  <a:lnTo>
                    <a:pt x="99494" y="87841"/>
                  </a:lnTo>
                  <a:lnTo>
                    <a:pt x="108905" y="87841"/>
                  </a:lnTo>
                  <a:cubicBezTo>
                    <a:pt x="110698" y="87841"/>
                    <a:pt x="112043" y="89186"/>
                    <a:pt x="112043" y="90978"/>
                  </a:cubicBezTo>
                  <a:lnTo>
                    <a:pt x="112043" y="107561"/>
                  </a:lnTo>
                  <a:cubicBezTo>
                    <a:pt x="112043" y="112043"/>
                    <a:pt x="115628" y="115180"/>
                    <a:pt x="119661" y="115180"/>
                  </a:cubicBezTo>
                  <a:cubicBezTo>
                    <a:pt x="124143" y="115180"/>
                    <a:pt x="127280" y="111595"/>
                    <a:pt x="127280" y="107561"/>
                  </a:cubicBezTo>
                  <a:lnTo>
                    <a:pt x="127280" y="35405"/>
                  </a:lnTo>
                  <a:cubicBezTo>
                    <a:pt x="127729" y="31372"/>
                    <a:pt x="124143" y="27786"/>
                    <a:pt x="120110" y="27786"/>
                  </a:cubicBezTo>
                  <a:close/>
                  <a:moveTo>
                    <a:pt x="123247" y="35854"/>
                  </a:moveTo>
                  <a:lnTo>
                    <a:pt x="123247" y="50195"/>
                  </a:lnTo>
                  <a:lnTo>
                    <a:pt x="120110" y="50195"/>
                  </a:lnTo>
                  <a:cubicBezTo>
                    <a:pt x="118317" y="50195"/>
                    <a:pt x="116972" y="48851"/>
                    <a:pt x="116972" y="47058"/>
                  </a:cubicBezTo>
                  <a:lnTo>
                    <a:pt x="116972" y="32716"/>
                  </a:lnTo>
                  <a:lnTo>
                    <a:pt x="120110" y="32716"/>
                  </a:lnTo>
                  <a:cubicBezTo>
                    <a:pt x="121902" y="32268"/>
                    <a:pt x="123247" y="34061"/>
                    <a:pt x="123247" y="35854"/>
                  </a:cubicBezTo>
                  <a:close/>
                  <a:moveTo>
                    <a:pt x="109354" y="150137"/>
                  </a:moveTo>
                  <a:lnTo>
                    <a:pt x="4482" y="150137"/>
                  </a:lnTo>
                  <a:lnTo>
                    <a:pt x="4482" y="140726"/>
                  </a:lnTo>
                  <a:lnTo>
                    <a:pt x="15686" y="140726"/>
                  </a:lnTo>
                  <a:lnTo>
                    <a:pt x="97253" y="140726"/>
                  </a:lnTo>
                  <a:lnTo>
                    <a:pt x="109354" y="140726"/>
                  </a:lnTo>
                  <a:lnTo>
                    <a:pt x="109354" y="150137"/>
                  </a:lnTo>
                  <a:close/>
                  <a:moveTo>
                    <a:pt x="17927" y="136244"/>
                  </a:moveTo>
                  <a:lnTo>
                    <a:pt x="17927" y="4482"/>
                  </a:lnTo>
                  <a:lnTo>
                    <a:pt x="95012" y="4482"/>
                  </a:lnTo>
                  <a:lnTo>
                    <a:pt x="95012" y="136244"/>
                  </a:lnTo>
                  <a:lnTo>
                    <a:pt x="17927" y="136244"/>
                  </a:lnTo>
                  <a:close/>
                  <a:moveTo>
                    <a:pt x="120110" y="111146"/>
                  </a:moveTo>
                  <a:cubicBezTo>
                    <a:pt x="118317" y="111146"/>
                    <a:pt x="116972" y="109802"/>
                    <a:pt x="116972" y="108009"/>
                  </a:cubicBezTo>
                  <a:lnTo>
                    <a:pt x="116972" y="91427"/>
                  </a:lnTo>
                  <a:cubicBezTo>
                    <a:pt x="116972" y="86945"/>
                    <a:pt x="113387" y="83808"/>
                    <a:pt x="109354" y="83808"/>
                  </a:cubicBezTo>
                  <a:lnTo>
                    <a:pt x="99942" y="83808"/>
                  </a:lnTo>
                  <a:lnTo>
                    <a:pt x="99942" y="32716"/>
                  </a:lnTo>
                  <a:lnTo>
                    <a:pt x="112491" y="32716"/>
                  </a:lnTo>
                  <a:lnTo>
                    <a:pt x="112491" y="47058"/>
                  </a:lnTo>
                  <a:cubicBezTo>
                    <a:pt x="112491" y="51540"/>
                    <a:pt x="116076" y="54677"/>
                    <a:pt x="120110" y="54677"/>
                  </a:cubicBezTo>
                  <a:lnTo>
                    <a:pt x="123247" y="54677"/>
                  </a:lnTo>
                  <a:lnTo>
                    <a:pt x="123247" y="108009"/>
                  </a:lnTo>
                  <a:cubicBezTo>
                    <a:pt x="123247" y="109802"/>
                    <a:pt x="121902" y="111146"/>
                    <a:pt x="120110" y="111146"/>
                  </a:cubicBezTo>
                  <a:close/>
                </a:path>
              </a:pathLst>
            </a:custGeom>
            <a:solidFill>
              <a:srgbClr val="231F20"/>
            </a:solidFill>
            <a:ln w="4477" cap="flat">
              <a:noFill/>
              <a:prstDash val="solid"/>
              <a:miter/>
            </a:ln>
          </p:spPr>
          <p:txBody>
            <a:bodyPr rtlCol="0" anchor="ctr"/>
            <a:lstStyle/>
            <a:p>
              <a:endParaRPr lang="en-US"/>
            </a:p>
          </p:txBody>
        </p:sp>
      </p:grpSp>
      <p:grpSp>
        <p:nvGrpSpPr>
          <p:cNvPr id="3698" name="Group 3697">
            <a:extLst>
              <a:ext uri="{FF2B5EF4-FFF2-40B4-BE49-F238E27FC236}">
                <a16:creationId xmlns:a16="http://schemas.microsoft.com/office/drawing/2014/main" id="{C0F0D47E-1FC4-4948-A6C1-500296A5EBE1}"/>
              </a:ext>
              <a:ext uri="{C183D7F6-B498-43B3-948B-1728B52AA6E4}">
                <adec:decorative xmlns:adec="http://schemas.microsoft.com/office/drawing/2017/decorative" val="1"/>
              </a:ext>
            </a:extLst>
          </p:cNvPr>
          <p:cNvGrpSpPr>
            <a:grpSpLocks noChangeAspect="1"/>
          </p:cNvGrpSpPr>
          <p:nvPr/>
        </p:nvGrpSpPr>
        <p:grpSpPr>
          <a:xfrm>
            <a:off x="838416" y="2757369"/>
            <a:ext cx="156860" cy="147896"/>
            <a:chOff x="6740042" y="5603905"/>
            <a:chExt cx="156860" cy="147896"/>
          </a:xfrm>
        </p:grpSpPr>
        <p:sp>
          <p:nvSpPr>
            <p:cNvPr id="3699" name="Freeform: Shape 3698">
              <a:extLst>
                <a:ext uri="{FF2B5EF4-FFF2-40B4-BE49-F238E27FC236}">
                  <a16:creationId xmlns:a16="http://schemas.microsoft.com/office/drawing/2014/main" id="{C8DF68C4-6997-440F-8C4D-3F957D8761E8}"/>
                </a:ext>
              </a:extLst>
            </p:cNvPr>
            <p:cNvSpPr/>
            <p:nvPr/>
          </p:nvSpPr>
          <p:spPr>
            <a:xfrm>
              <a:off x="6766484" y="5620039"/>
              <a:ext cx="53780" cy="40335"/>
            </a:xfrm>
            <a:custGeom>
              <a:avLst/>
              <a:gdLst>
                <a:gd name="connsiteX0" fmla="*/ 54677 w 53780"/>
                <a:gd name="connsiteY0" fmla="*/ 0 h 40335"/>
                <a:gd name="connsiteX1" fmla="*/ 2241 w 53780"/>
                <a:gd name="connsiteY1" fmla="*/ 0 h 40335"/>
                <a:gd name="connsiteX2" fmla="*/ 0 w 53780"/>
                <a:gd name="connsiteY2" fmla="*/ 2241 h 40335"/>
                <a:gd name="connsiteX3" fmla="*/ 0 w 53780"/>
                <a:gd name="connsiteY3" fmla="*/ 39887 h 40335"/>
                <a:gd name="connsiteX4" fmla="*/ 2241 w 53780"/>
                <a:gd name="connsiteY4" fmla="*/ 42128 h 40335"/>
                <a:gd name="connsiteX5" fmla="*/ 55125 w 53780"/>
                <a:gd name="connsiteY5" fmla="*/ 42128 h 40335"/>
                <a:gd name="connsiteX6" fmla="*/ 57366 w 53780"/>
                <a:gd name="connsiteY6" fmla="*/ 39887 h 40335"/>
                <a:gd name="connsiteX7" fmla="*/ 57366 w 53780"/>
                <a:gd name="connsiteY7" fmla="*/ 2241 h 40335"/>
                <a:gd name="connsiteX8" fmla="*/ 54677 w 53780"/>
                <a:gd name="connsiteY8" fmla="*/ 0 h 40335"/>
                <a:gd name="connsiteX9" fmla="*/ 17030 w 53780"/>
                <a:gd name="connsiteY9" fmla="*/ 27787 h 40335"/>
                <a:gd name="connsiteX10" fmla="*/ 25546 w 53780"/>
                <a:gd name="connsiteY10" fmla="*/ 37646 h 40335"/>
                <a:gd name="connsiteX11" fmla="*/ 11652 w 53780"/>
                <a:gd name="connsiteY11" fmla="*/ 37646 h 40335"/>
                <a:gd name="connsiteX12" fmla="*/ 17030 w 53780"/>
                <a:gd name="connsiteY12" fmla="*/ 27787 h 40335"/>
                <a:gd name="connsiteX13" fmla="*/ 31820 w 53780"/>
                <a:gd name="connsiteY13" fmla="*/ 37646 h 40335"/>
                <a:gd name="connsiteX14" fmla="*/ 21064 w 53780"/>
                <a:gd name="connsiteY14" fmla="*/ 25097 h 40335"/>
                <a:gd name="connsiteX15" fmla="*/ 28683 w 53780"/>
                <a:gd name="connsiteY15" fmla="*/ 23305 h 40335"/>
                <a:gd name="connsiteX16" fmla="*/ 45265 w 53780"/>
                <a:gd name="connsiteY16" fmla="*/ 37646 h 40335"/>
                <a:gd name="connsiteX17" fmla="*/ 31820 w 53780"/>
                <a:gd name="connsiteY17" fmla="*/ 37646 h 40335"/>
                <a:gd name="connsiteX18" fmla="*/ 52436 w 53780"/>
                <a:gd name="connsiteY18" fmla="*/ 37646 h 40335"/>
                <a:gd name="connsiteX19" fmla="*/ 49299 w 53780"/>
                <a:gd name="connsiteY19" fmla="*/ 37646 h 40335"/>
                <a:gd name="connsiteX20" fmla="*/ 28235 w 53780"/>
                <a:gd name="connsiteY20" fmla="*/ 18823 h 40335"/>
                <a:gd name="connsiteX21" fmla="*/ 17927 w 53780"/>
                <a:gd name="connsiteY21" fmla="*/ 21512 h 40335"/>
                <a:gd name="connsiteX22" fmla="*/ 13893 w 53780"/>
                <a:gd name="connsiteY22" fmla="*/ 16582 h 40335"/>
                <a:gd name="connsiteX23" fmla="*/ 10756 w 53780"/>
                <a:gd name="connsiteY23" fmla="*/ 16582 h 40335"/>
                <a:gd name="connsiteX24" fmla="*/ 10756 w 53780"/>
                <a:gd name="connsiteY24" fmla="*/ 19720 h 40335"/>
                <a:gd name="connsiteX25" fmla="*/ 14790 w 53780"/>
                <a:gd name="connsiteY25" fmla="*/ 24201 h 40335"/>
                <a:gd name="connsiteX26" fmla="*/ 8067 w 53780"/>
                <a:gd name="connsiteY26" fmla="*/ 37646 h 40335"/>
                <a:gd name="connsiteX27" fmla="*/ 4930 w 53780"/>
                <a:gd name="connsiteY27" fmla="*/ 37646 h 40335"/>
                <a:gd name="connsiteX28" fmla="*/ 4930 w 53780"/>
                <a:gd name="connsiteY28" fmla="*/ 4482 h 40335"/>
                <a:gd name="connsiteX29" fmla="*/ 53332 w 53780"/>
                <a:gd name="connsiteY29" fmla="*/ 4482 h 40335"/>
                <a:gd name="connsiteX30" fmla="*/ 53332 w 53780"/>
                <a:gd name="connsiteY30" fmla="*/ 37646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780" h="40335">
                  <a:moveTo>
                    <a:pt x="54677" y="0"/>
                  </a:moveTo>
                  <a:lnTo>
                    <a:pt x="2241" y="0"/>
                  </a:lnTo>
                  <a:cubicBezTo>
                    <a:pt x="896" y="0"/>
                    <a:pt x="0" y="896"/>
                    <a:pt x="0" y="2241"/>
                  </a:cubicBezTo>
                  <a:lnTo>
                    <a:pt x="0" y="39887"/>
                  </a:lnTo>
                  <a:cubicBezTo>
                    <a:pt x="0" y="41232"/>
                    <a:pt x="896" y="42128"/>
                    <a:pt x="2241" y="42128"/>
                  </a:cubicBezTo>
                  <a:lnTo>
                    <a:pt x="55125" y="42128"/>
                  </a:lnTo>
                  <a:cubicBezTo>
                    <a:pt x="56469" y="42128"/>
                    <a:pt x="57366" y="41232"/>
                    <a:pt x="57366" y="39887"/>
                  </a:cubicBezTo>
                  <a:lnTo>
                    <a:pt x="57366" y="2241"/>
                  </a:lnTo>
                  <a:cubicBezTo>
                    <a:pt x="56918" y="896"/>
                    <a:pt x="56021" y="0"/>
                    <a:pt x="54677" y="0"/>
                  </a:cubicBezTo>
                  <a:close/>
                  <a:moveTo>
                    <a:pt x="17030" y="27787"/>
                  </a:moveTo>
                  <a:lnTo>
                    <a:pt x="25546" y="37646"/>
                  </a:lnTo>
                  <a:lnTo>
                    <a:pt x="11652" y="37646"/>
                  </a:lnTo>
                  <a:cubicBezTo>
                    <a:pt x="12549" y="33613"/>
                    <a:pt x="14341" y="30028"/>
                    <a:pt x="17030" y="27787"/>
                  </a:cubicBezTo>
                  <a:close/>
                  <a:moveTo>
                    <a:pt x="31820" y="37646"/>
                  </a:moveTo>
                  <a:lnTo>
                    <a:pt x="21064" y="25097"/>
                  </a:lnTo>
                  <a:cubicBezTo>
                    <a:pt x="23305" y="23753"/>
                    <a:pt x="25994" y="23305"/>
                    <a:pt x="28683" y="23305"/>
                  </a:cubicBezTo>
                  <a:cubicBezTo>
                    <a:pt x="37198" y="23305"/>
                    <a:pt x="43921" y="29579"/>
                    <a:pt x="45265" y="37646"/>
                  </a:cubicBezTo>
                  <a:lnTo>
                    <a:pt x="31820" y="37646"/>
                  </a:lnTo>
                  <a:close/>
                  <a:moveTo>
                    <a:pt x="52436" y="37646"/>
                  </a:moveTo>
                  <a:lnTo>
                    <a:pt x="49299" y="37646"/>
                  </a:lnTo>
                  <a:cubicBezTo>
                    <a:pt x="47954" y="26890"/>
                    <a:pt x="39439" y="18823"/>
                    <a:pt x="28235" y="18823"/>
                  </a:cubicBezTo>
                  <a:cubicBezTo>
                    <a:pt x="24201" y="18823"/>
                    <a:pt x="21064" y="19720"/>
                    <a:pt x="17927" y="21512"/>
                  </a:cubicBezTo>
                  <a:lnTo>
                    <a:pt x="13893" y="16582"/>
                  </a:lnTo>
                  <a:cubicBezTo>
                    <a:pt x="12997" y="15686"/>
                    <a:pt x="11652" y="15686"/>
                    <a:pt x="10756" y="16582"/>
                  </a:cubicBezTo>
                  <a:cubicBezTo>
                    <a:pt x="9860" y="17479"/>
                    <a:pt x="9860" y="18823"/>
                    <a:pt x="10756" y="19720"/>
                  </a:cubicBezTo>
                  <a:lnTo>
                    <a:pt x="14790" y="24201"/>
                  </a:lnTo>
                  <a:cubicBezTo>
                    <a:pt x="11204" y="27787"/>
                    <a:pt x="8515" y="32269"/>
                    <a:pt x="8067" y="37646"/>
                  </a:cubicBezTo>
                  <a:lnTo>
                    <a:pt x="4930" y="37646"/>
                  </a:lnTo>
                  <a:lnTo>
                    <a:pt x="4930" y="4482"/>
                  </a:lnTo>
                  <a:lnTo>
                    <a:pt x="53332" y="4482"/>
                  </a:lnTo>
                  <a:lnTo>
                    <a:pt x="53332" y="37646"/>
                  </a:lnTo>
                  <a:close/>
                </a:path>
              </a:pathLst>
            </a:custGeom>
            <a:solidFill>
              <a:srgbClr val="231F20"/>
            </a:solidFill>
            <a:ln w="4477" cap="flat">
              <a:noFill/>
              <a:prstDash val="solid"/>
              <a:miter/>
            </a:ln>
          </p:spPr>
          <p:txBody>
            <a:bodyPr rtlCol="0" anchor="ctr"/>
            <a:lstStyle/>
            <a:p>
              <a:endParaRPr lang="en-US"/>
            </a:p>
          </p:txBody>
        </p:sp>
        <p:sp>
          <p:nvSpPr>
            <p:cNvPr id="3700" name="Freeform: Shape 3699">
              <a:extLst>
                <a:ext uri="{FF2B5EF4-FFF2-40B4-BE49-F238E27FC236}">
                  <a16:creationId xmlns:a16="http://schemas.microsoft.com/office/drawing/2014/main" id="{172F92A8-A6DC-40CA-B973-46E44ACECE2C}"/>
                </a:ext>
              </a:extLst>
            </p:cNvPr>
            <p:cNvSpPr/>
            <p:nvPr/>
          </p:nvSpPr>
          <p:spPr>
            <a:xfrm>
              <a:off x="6780209" y="5669786"/>
              <a:ext cx="26890" cy="53780"/>
            </a:xfrm>
            <a:custGeom>
              <a:avLst/>
              <a:gdLst>
                <a:gd name="connsiteX0" fmla="*/ 30195 w 26890"/>
                <a:gd name="connsiteY0" fmla="*/ 897 h 53780"/>
                <a:gd name="connsiteX1" fmla="*/ 28403 w 26890"/>
                <a:gd name="connsiteY1" fmla="*/ 0 h 53780"/>
                <a:gd name="connsiteX2" fmla="*/ 15406 w 26890"/>
                <a:gd name="connsiteY2" fmla="*/ 0 h 53780"/>
                <a:gd name="connsiteX3" fmla="*/ 13613 w 26890"/>
                <a:gd name="connsiteY3" fmla="*/ 1345 h 53780"/>
                <a:gd name="connsiteX4" fmla="*/ 616 w 26890"/>
                <a:gd name="connsiteY4" fmla="*/ 27787 h 53780"/>
                <a:gd name="connsiteX5" fmla="*/ 616 w 26890"/>
                <a:gd name="connsiteY5" fmla="*/ 30028 h 53780"/>
                <a:gd name="connsiteX6" fmla="*/ 2409 w 26890"/>
                <a:gd name="connsiteY6" fmla="*/ 30924 h 53780"/>
                <a:gd name="connsiteX7" fmla="*/ 6891 w 26890"/>
                <a:gd name="connsiteY7" fmla="*/ 30924 h 53780"/>
                <a:gd name="connsiteX8" fmla="*/ 168 w 26890"/>
                <a:gd name="connsiteY8" fmla="*/ 54229 h 53780"/>
                <a:gd name="connsiteX9" fmla="*/ 1513 w 26890"/>
                <a:gd name="connsiteY9" fmla="*/ 56918 h 53780"/>
                <a:gd name="connsiteX10" fmla="*/ 2409 w 26890"/>
                <a:gd name="connsiteY10" fmla="*/ 56918 h 53780"/>
                <a:gd name="connsiteX11" fmla="*/ 4202 w 26890"/>
                <a:gd name="connsiteY11" fmla="*/ 56021 h 53780"/>
                <a:gd name="connsiteX12" fmla="*/ 30644 w 26890"/>
                <a:gd name="connsiteY12" fmla="*/ 16583 h 53780"/>
                <a:gd name="connsiteX13" fmla="*/ 30644 w 26890"/>
                <a:gd name="connsiteY13" fmla="*/ 14342 h 53780"/>
                <a:gd name="connsiteX14" fmla="*/ 28851 w 26890"/>
                <a:gd name="connsiteY14" fmla="*/ 12997 h 53780"/>
                <a:gd name="connsiteX15" fmla="*/ 25714 w 26890"/>
                <a:gd name="connsiteY15" fmla="*/ 12997 h 53780"/>
                <a:gd name="connsiteX16" fmla="*/ 30644 w 26890"/>
                <a:gd name="connsiteY16" fmla="*/ 3138 h 53780"/>
                <a:gd name="connsiteX17" fmla="*/ 30195 w 26890"/>
                <a:gd name="connsiteY17" fmla="*/ 897 h 53780"/>
                <a:gd name="connsiteX18" fmla="*/ 19888 w 26890"/>
                <a:gd name="connsiteY18" fmla="*/ 16583 h 53780"/>
                <a:gd name="connsiteX19" fmla="*/ 21680 w 26890"/>
                <a:gd name="connsiteY19" fmla="*/ 17479 h 53780"/>
                <a:gd name="connsiteX20" fmla="*/ 24369 w 26890"/>
                <a:gd name="connsiteY20" fmla="*/ 17479 h 53780"/>
                <a:gd name="connsiteX21" fmla="*/ 8235 w 26890"/>
                <a:gd name="connsiteY21" fmla="*/ 41680 h 53780"/>
                <a:gd name="connsiteX22" fmla="*/ 11820 w 26890"/>
                <a:gd name="connsiteY22" fmla="*/ 29131 h 53780"/>
                <a:gd name="connsiteX23" fmla="*/ 11372 w 26890"/>
                <a:gd name="connsiteY23" fmla="*/ 27339 h 53780"/>
                <a:gd name="connsiteX24" fmla="*/ 9580 w 26890"/>
                <a:gd name="connsiteY24" fmla="*/ 26442 h 53780"/>
                <a:gd name="connsiteX25" fmla="*/ 5546 w 26890"/>
                <a:gd name="connsiteY25" fmla="*/ 26442 h 53780"/>
                <a:gd name="connsiteX26" fmla="*/ 16750 w 26890"/>
                <a:gd name="connsiteY26" fmla="*/ 4482 h 53780"/>
                <a:gd name="connsiteX27" fmla="*/ 24817 w 26890"/>
                <a:gd name="connsiteY27" fmla="*/ 4482 h 53780"/>
                <a:gd name="connsiteX28" fmla="*/ 19888 w 26890"/>
                <a:gd name="connsiteY28" fmla="*/ 14342 h 53780"/>
                <a:gd name="connsiteX29" fmla="*/ 19888 w 26890"/>
                <a:gd name="connsiteY29" fmla="*/ 16583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890" h="53780">
                  <a:moveTo>
                    <a:pt x="30195" y="897"/>
                  </a:moveTo>
                  <a:cubicBezTo>
                    <a:pt x="29747" y="449"/>
                    <a:pt x="28851" y="0"/>
                    <a:pt x="28403" y="0"/>
                  </a:cubicBezTo>
                  <a:lnTo>
                    <a:pt x="15406" y="0"/>
                  </a:lnTo>
                  <a:cubicBezTo>
                    <a:pt x="14510" y="0"/>
                    <a:pt x="13613" y="449"/>
                    <a:pt x="13613" y="1345"/>
                  </a:cubicBezTo>
                  <a:lnTo>
                    <a:pt x="616" y="27787"/>
                  </a:lnTo>
                  <a:cubicBezTo>
                    <a:pt x="168" y="28683"/>
                    <a:pt x="168" y="29131"/>
                    <a:pt x="616" y="30028"/>
                  </a:cubicBezTo>
                  <a:cubicBezTo>
                    <a:pt x="1064" y="30476"/>
                    <a:pt x="1513" y="30924"/>
                    <a:pt x="2409" y="30924"/>
                  </a:cubicBezTo>
                  <a:lnTo>
                    <a:pt x="6891" y="30924"/>
                  </a:lnTo>
                  <a:lnTo>
                    <a:pt x="168" y="54229"/>
                  </a:lnTo>
                  <a:cubicBezTo>
                    <a:pt x="-280" y="55125"/>
                    <a:pt x="168" y="56470"/>
                    <a:pt x="1513" y="56918"/>
                  </a:cubicBezTo>
                  <a:cubicBezTo>
                    <a:pt x="1961" y="56918"/>
                    <a:pt x="1961" y="56918"/>
                    <a:pt x="2409" y="56918"/>
                  </a:cubicBezTo>
                  <a:cubicBezTo>
                    <a:pt x="3305" y="56918"/>
                    <a:pt x="3753" y="56470"/>
                    <a:pt x="4202" y="56021"/>
                  </a:cubicBezTo>
                  <a:lnTo>
                    <a:pt x="30644" y="16583"/>
                  </a:lnTo>
                  <a:cubicBezTo>
                    <a:pt x="31092" y="15686"/>
                    <a:pt x="31092" y="14790"/>
                    <a:pt x="30644" y="14342"/>
                  </a:cubicBezTo>
                  <a:cubicBezTo>
                    <a:pt x="30195" y="13894"/>
                    <a:pt x="29299" y="12997"/>
                    <a:pt x="28851" y="12997"/>
                  </a:cubicBezTo>
                  <a:lnTo>
                    <a:pt x="25714" y="12997"/>
                  </a:lnTo>
                  <a:lnTo>
                    <a:pt x="30644" y="3138"/>
                  </a:lnTo>
                  <a:cubicBezTo>
                    <a:pt x="30644" y="2241"/>
                    <a:pt x="30644" y="1793"/>
                    <a:pt x="30195" y="897"/>
                  </a:cubicBezTo>
                  <a:close/>
                  <a:moveTo>
                    <a:pt x="19888" y="16583"/>
                  </a:moveTo>
                  <a:cubicBezTo>
                    <a:pt x="20336" y="17031"/>
                    <a:pt x="21232" y="17479"/>
                    <a:pt x="21680" y="17479"/>
                  </a:cubicBezTo>
                  <a:lnTo>
                    <a:pt x="24369" y="17479"/>
                  </a:lnTo>
                  <a:lnTo>
                    <a:pt x="8235" y="41680"/>
                  </a:lnTo>
                  <a:lnTo>
                    <a:pt x="11820" y="29131"/>
                  </a:lnTo>
                  <a:cubicBezTo>
                    <a:pt x="11820" y="28683"/>
                    <a:pt x="11820" y="27787"/>
                    <a:pt x="11372" y="27339"/>
                  </a:cubicBezTo>
                  <a:cubicBezTo>
                    <a:pt x="10924" y="26890"/>
                    <a:pt x="10476" y="26442"/>
                    <a:pt x="9580" y="26442"/>
                  </a:cubicBezTo>
                  <a:lnTo>
                    <a:pt x="5546" y="26442"/>
                  </a:lnTo>
                  <a:lnTo>
                    <a:pt x="16750" y="4482"/>
                  </a:lnTo>
                  <a:lnTo>
                    <a:pt x="24817" y="4482"/>
                  </a:lnTo>
                  <a:lnTo>
                    <a:pt x="19888" y="14342"/>
                  </a:lnTo>
                  <a:cubicBezTo>
                    <a:pt x="19439" y="15238"/>
                    <a:pt x="19439" y="16135"/>
                    <a:pt x="19888" y="16583"/>
                  </a:cubicBezTo>
                  <a:close/>
                </a:path>
              </a:pathLst>
            </a:custGeom>
            <a:solidFill>
              <a:srgbClr val="231F20"/>
            </a:solidFill>
            <a:ln w="4477" cap="flat">
              <a:noFill/>
              <a:prstDash val="solid"/>
              <a:miter/>
            </a:ln>
          </p:spPr>
          <p:txBody>
            <a:bodyPr rtlCol="0" anchor="ctr"/>
            <a:lstStyle/>
            <a:p>
              <a:endParaRPr lang="en-US"/>
            </a:p>
          </p:txBody>
        </p:sp>
        <p:sp>
          <p:nvSpPr>
            <p:cNvPr id="3701" name="Freeform: Shape 3700">
              <a:extLst>
                <a:ext uri="{FF2B5EF4-FFF2-40B4-BE49-F238E27FC236}">
                  <a16:creationId xmlns:a16="http://schemas.microsoft.com/office/drawing/2014/main" id="{CA982F5E-CA24-44A4-86DB-165E9CD58C1A}"/>
                </a:ext>
              </a:extLst>
            </p:cNvPr>
            <p:cNvSpPr/>
            <p:nvPr/>
          </p:nvSpPr>
          <p:spPr>
            <a:xfrm>
              <a:off x="6740042" y="5603905"/>
              <a:ext cx="156860" cy="147896"/>
            </a:xfrm>
            <a:custGeom>
              <a:avLst/>
              <a:gdLst>
                <a:gd name="connsiteX0" fmla="*/ 152378 w 156859"/>
                <a:gd name="connsiteY0" fmla="*/ 91427 h 147896"/>
                <a:gd name="connsiteX1" fmla="*/ 148344 w 156859"/>
                <a:gd name="connsiteY1" fmla="*/ 91427 h 147896"/>
                <a:gd name="connsiteX2" fmla="*/ 148344 w 156859"/>
                <a:gd name="connsiteY2" fmla="*/ 74844 h 147896"/>
                <a:gd name="connsiteX3" fmla="*/ 138036 w 156859"/>
                <a:gd name="connsiteY3" fmla="*/ 64537 h 147896"/>
                <a:gd name="connsiteX4" fmla="*/ 132658 w 156859"/>
                <a:gd name="connsiteY4" fmla="*/ 64537 h 147896"/>
                <a:gd name="connsiteX5" fmla="*/ 122350 w 156859"/>
                <a:gd name="connsiteY5" fmla="*/ 74844 h 147896"/>
                <a:gd name="connsiteX6" fmla="*/ 122350 w 156859"/>
                <a:gd name="connsiteY6" fmla="*/ 112491 h 147896"/>
                <a:gd name="connsiteX7" fmla="*/ 116524 w 156859"/>
                <a:gd name="connsiteY7" fmla="*/ 118317 h 147896"/>
                <a:gd name="connsiteX8" fmla="*/ 110698 w 156859"/>
                <a:gd name="connsiteY8" fmla="*/ 112491 h 147896"/>
                <a:gd name="connsiteX9" fmla="*/ 110698 w 156859"/>
                <a:gd name="connsiteY9" fmla="*/ 74844 h 147896"/>
                <a:gd name="connsiteX10" fmla="*/ 100390 w 156859"/>
                <a:gd name="connsiteY10" fmla="*/ 64537 h 147896"/>
                <a:gd name="connsiteX11" fmla="*/ 97701 w 156859"/>
                <a:gd name="connsiteY11" fmla="*/ 64537 h 147896"/>
                <a:gd name="connsiteX12" fmla="*/ 96805 w 156859"/>
                <a:gd name="connsiteY12" fmla="*/ 64537 h 147896"/>
                <a:gd name="connsiteX13" fmla="*/ 96805 w 156859"/>
                <a:gd name="connsiteY13" fmla="*/ 2241 h 147896"/>
                <a:gd name="connsiteX14" fmla="*/ 94564 w 156859"/>
                <a:gd name="connsiteY14" fmla="*/ 0 h 147896"/>
                <a:gd name="connsiteX15" fmla="*/ 15238 w 156859"/>
                <a:gd name="connsiteY15" fmla="*/ 0 h 147896"/>
                <a:gd name="connsiteX16" fmla="*/ 12997 w 156859"/>
                <a:gd name="connsiteY16" fmla="*/ 2241 h 147896"/>
                <a:gd name="connsiteX17" fmla="*/ 12997 w 156859"/>
                <a:gd name="connsiteY17" fmla="*/ 131762 h 147896"/>
                <a:gd name="connsiteX18" fmla="*/ 2241 w 156859"/>
                <a:gd name="connsiteY18" fmla="*/ 131762 h 147896"/>
                <a:gd name="connsiteX19" fmla="*/ 0 w 156859"/>
                <a:gd name="connsiteY19" fmla="*/ 134003 h 147896"/>
                <a:gd name="connsiteX20" fmla="*/ 0 w 156859"/>
                <a:gd name="connsiteY20" fmla="*/ 147448 h 147896"/>
                <a:gd name="connsiteX21" fmla="*/ 2241 w 156859"/>
                <a:gd name="connsiteY21" fmla="*/ 149689 h 147896"/>
                <a:gd name="connsiteX22" fmla="*/ 108457 w 156859"/>
                <a:gd name="connsiteY22" fmla="*/ 149689 h 147896"/>
                <a:gd name="connsiteX23" fmla="*/ 110698 w 156859"/>
                <a:gd name="connsiteY23" fmla="*/ 147448 h 147896"/>
                <a:gd name="connsiteX24" fmla="*/ 110698 w 156859"/>
                <a:gd name="connsiteY24" fmla="*/ 134003 h 147896"/>
                <a:gd name="connsiteX25" fmla="*/ 108457 w 156859"/>
                <a:gd name="connsiteY25" fmla="*/ 131762 h 147896"/>
                <a:gd name="connsiteX26" fmla="*/ 96805 w 156859"/>
                <a:gd name="connsiteY26" fmla="*/ 131762 h 147896"/>
                <a:gd name="connsiteX27" fmla="*/ 96805 w 156859"/>
                <a:gd name="connsiteY27" fmla="*/ 68570 h 147896"/>
                <a:gd name="connsiteX28" fmla="*/ 97701 w 156859"/>
                <a:gd name="connsiteY28" fmla="*/ 68570 h 147896"/>
                <a:gd name="connsiteX29" fmla="*/ 100390 w 156859"/>
                <a:gd name="connsiteY29" fmla="*/ 68570 h 147896"/>
                <a:gd name="connsiteX30" fmla="*/ 106216 w 156859"/>
                <a:gd name="connsiteY30" fmla="*/ 74396 h 147896"/>
                <a:gd name="connsiteX31" fmla="*/ 106216 w 156859"/>
                <a:gd name="connsiteY31" fmla="*/ 112043 h 147896"/>
                <a:gd name="connsiteX32" fmla="*/ 116524 w 156859"/>
                <a:gd name="connsiteY32" fmla="*/ 122351 h 147896"/>
                <a:gd name="connsiteX33" fmla="*/ 126832 w 156859"/>
                <a:gd name="connsiteY33" fmla="*/ 112043 h 147896"/>
                <a:gd name="connsiteX34" fmla="*/ 126832 w 156859"/>
                <a:gd name="connsiteY34" fmla="*/ 74396 h 147896"/>
                <a:gd name="connsiteX35" fmla="*/ 132658 w 156859"/>
                <a:gd name="connsiteY35" fmla="*/ 68570 h 147896"/>
                <a:gd name="connsiteX36" fmla="*/ 138036 w 156859"/>
                <a:gd name="connsiteY36" fmla="*/ 68570 h 147896"/>
                <a:gd name="connsiteX37" fmla="*/ 143863 w 156859"/>
                <a:gd name="connsiteY37" fmla="*/ 74396 h 147896"/>
                <a:gd name="connsiteX38" fmla="*/ 143863 w 156859"/>
                <a:gd name="connsiteY38" fmla="*/ 90979 h 147896"/>
                <a:gd name="connsiteX39" fmla="*/ 139829 w 156859"/>
                <a:gd name="connsiteY39" fmla="*/ 90979 h 147896"/>
                <a:gd name="connsiteX40" fmla="*/ 133107 w 156859"/>
                <a:gd name="connsiteY40" fmla="*/ 97701 h 147896"/>
                <a:gd name="connsiteX41" fmla="*/ 133107 w 156859"/>
                <a:gd name="connsiteY41" fmla="*/ 109354 h 147896"/>
                <a:gd name="connsiteX42" fmla="*/ 135347 w 156859"/>
                <a:gd name="connsiteY42" fmla="*/ 111595 h 147896"/>
                <a:gd name="connsiteX43" fmla="*/ 138485 w 156859"/>
                <a:gd name="connsiteY43" fmla="*/ 111595 h 147896"/>
                <a:gd name="connsiteX44" fmla="*/ 138485 w 156859"/>
                <a:gd name="connsiteY44" fmla="*/ 120110 h 147896"/>
                <a:gd name="connsiteX45" fmla="*/ 140725 w 156859"/>
                <a:gd name="connsiteY45" fmla="*/ 122351 h 147896"/>
                <a:gd name="connsiteX46" fmla="*/ 142966 w 156859"/>
                <a:gd name="connsiteY46" fmla="*/ 120110 h 147896"/>
                <a:gd name="connsiteX47" fmla="*/ 142966 w 156859"/>
                <a:gd name="connsiteY47" fmla="*/ 111595 h 147896"/>
                <a:gd name="connsiteX48" fmla="*/ 149241 w 156859"/>
                <a:gd name="connsiteY48" fmla="*/ 111595 h 147896"/>
                <a:gd name="connsiteX49" fmla="*/ 149241 w 156859"/>
                <a:gd name="connsiteY49" fmla="*/ 120110 h 147896"/>
                <a:gd name="connsiteX50" fmla="*/ 151482 w 156859"/>
                <a:gd name="connsiteY50" fmla="*/ 122351 h 147896"/>
                <a:gd name="connsiteX51" fmla="*/ 153722 w 156859"/>
                <a:gd name="connsiteY51" fmla="*/ 120110 h 147896"/>
                <a:gd name="connsiteX52" fmla="*/ 153722 w 156859"/>
                <a:gd name="connsiteY52" fmla="*/ 111595 h 147896"/>
                <a:gd name="connsiteX53" fmla="*/ 156860 w 156859"/>
                <a:gd name="connsiteY53" fmla="*/ 111595 h 147896"/>
                <a:gd name="connsiteX54" fmla="*/ 159100 w 156859"/>
                <a:gd name="connsiteY54" fmla="*/ 109354 h 147896"/>
                <a:gd name="connsiteX55" fmla="*/ 159100 w 156859"/>
                <a:gd name="connsiteY55" fmla="*/ 97701 h 147896"/>
                <a:gd name="connsiteX56" fmla="*/ 152378 w 156859"/>
                <a:gd name="connsiteY56" fmla="*/ 91427 h 147896"/>
                <a:gd name="connsiteX57" fmla="*/ 106216 w 156859"/>
                <a:gd name="connsiteY57" fmla="*/ 145207 h 147896"/>
                <a:gd name="connsiteX58" fmla="*/ 4482 w 156859"/>
                <a:gd name="connsiteY58" fmla="*/ 145207 h 147896"/>
                <a:gd name="connsiteX59" fmla="*/ 4482 w 156859"/>
                <a:gd name="connsiteY59" fmla="*/ 136244 h 147896"/>
                <a:gd name="connsiteX60" fmla="*/ 15238 w 156859"/>
                <a:gd name="connsiteY60" fmla="*/ 136244 h 147896"/>
                <a:gd name="connsiteX61" fmla="*/ 94116 w 156859"/>
                <a:gd name="connsiteY61" fmla="*/ 136244 h 147896"/>
                <a:gd name="connsiteX62" fmla="*/ 105768 w 156859"/>
                <a:gd name="connsiteY62" fmla="*/ 136244 h 147896"/>
                <a:gd name="connsiteX63" fmla="*/ 105768 w 156859"/>
                <a:gd name="connsiteY63" fmla="*/ 145207 h 147896"/>
                <a:gd name="connsiteX64" fmla="*/ 17479 w 156859"/>
                <a:gd name="connsiteY64" fmla="*/ 131762 h 147896"/>
                <a:gd name="connsiteX65" fmla="*/ 17479 w 156859"/>
                <a:gd name="connsiteY65" fmla="*/ 4482 h 147896"/>
                <a:gd name="connsiteX66" fmla="*/ 91875 w 156859"/>
                <a:gd name="connsiteY66" fmla="*/ 4482 h 147896"/>
                <a:gd name="connsiteX67" fmla="*/ 91875 w 156859"/>
                <a:gd name="connsiteY67" fmla="*/ 131762 h 147896"/>
                <a:gd name="connsiteX68" fmla="*/ 17479 w 156859"/>
                <a:gd name="connsiteY68" fmla="*/ 131762 h 147896"/>
                <a:gd name="connsiteX69" fmla="*/ 154619 w 156859"/>
                <a:gd name="connsiteY69" fmla="*/ 107561 h 147896"/>
                <a:gd name="connsiteX70" fmla="*/ 137588 w 156859"/>
                <a:gd name="connsiteY70" fmla="*/ 107561 h 147896"/>
                <a:gd name="connsiteX71" fmla="*/ 137588 w 156859"/>
                <a:gd name="connsiteY71" fmla="*/ 98149 h 147896"/>
                <a:gd name="connsiteX72" fmla="*/ 139829 w 156859"/>
                <a:gd name="connsiteY72" fmla="*/ 95909 h 147896"/>
                <a:gd name="connsiteX73" fmla="*/ 152378 w 156859"/>
                <a:gd name="connsiteY73" fmla="*/ 95909 h 147896"/>
                <a:gd name="connsiteX74" fmla="*/ 154619 w 156859"/>
                <a:gd name="connsiteY74" fmla="*/ 98149 h 147896"/>
                <a:gd name="connsiteX75" fmla="*/ 154619 w 156859"/>
                <a:gd name="connsiteY75" fmla="*/ 10756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6859" h="147896">
                  <a:moveTo>
                    <a:pt x="152378" y="91427"/>
                  </a:moveTo>
                  <a:lnTo>
                    <a:pt x="148344" y="91427"/>
                  </a:lnTo>
                  <a:lnTo>
                    <a:pt x="148344" y="74844"/>
                  </a:lnTo>
                  <a:cubicBezTo>
                    <a:pt x="148344" y="69018"/>
                    <a:pt x="143863" y="64537"/>
                    <a:pt x="138036" y="64537"/>
                  </a:cubicBezTo>
                  <a:lnTo>
                    <a:pt x="132658" y="64537"/>
                  </a:lnTo>
                  <a:cubicBezTo>
                    <a:pt x="126832" y="64537"/>
                    <a:pt x="122350" y="69018"/>
                    <a:pt x="122350" y="74844"/>
                  </a:cubicBezTo>
                  <a:lnTo>
                    <a:pt x="122350" y="112491"/>
                  </a:lnTo>
                  <a:cubicBezTo>
                    <a:pt x="122350" y="115628"/>
                    <a:pt x="119661" y="118317"/>
                    <a:pt x="116524" y="118317"/>
                  </a:cubicBezTo>
                  <a:cubicBezTo>
                    <a:pt x="113387" y="118317"/>
                    <a:pt x="110698" y="115628"/>
                    <a:pt x="110698" y="112491"/>
                  </a:cubicBezTo>
                  <a:lnTo>
                    <a:pt x="110698" y="74844"/>
                  </a:lnTo>
                  <a:cubicBezTo>
                    <a:pt x="110698" y="69018"/>
                    <a:pt x="106216" y="64537"/>
                    <a:pt x="100390" y="64537"/>
                  </a:cubicBezTo>
                  <a:lnTo>
                    <a:pt x="97701" y="64537"/>
                  </a:lnTo>
                  <a:cubicBezTo>
                    <a:pt x="97253" y="64537"/>
                    <a:pt x="97253" y="64537"/>
                    <a:pt x="96805" y="64537"/>
                  </a:cubicBezTo>
                  <a:lnTo>
                    <a:pt x="96805" y="2241"/>
                  </a:lnTo>
                  <a:cubicBezTo>
                    <a:pt x="96805" y="896"/>
                    <a:pt x="95908" y="0"/>
                    <a:pt x="94564" y="0"/>
                  </a:cubicBezTo>
                  <a:lnTo>
                    <a:pt x="15238" y="0"/>
                  </a:lnTo>
                  <a:cubicBezTo>
                    <a:pt x="13893" y="0"/>
                    <a:pt x="12997" y="896"/>
                    <a:pt x="12997" y="2241"/>
                  </a:cubicBezTo>
                  <a:lnTo>
                    <a:pt x="12997" y="131762"/>
                  </a:lnTo>
                  <a:lnTo>
                    <a:pt x="2241" y="131762"/>
                  </a:lnTo>
                  <a:cubicBezTo>
                    <a:pt x="896" y="131762"/>
                    <a:pt x="0" y="132658"/>
                    <a:pt x="0" y="134003"/>
                  </a:cubicBezTo>
                  <a:lnTo>
                    <a:pt x="0" y="147448"/>
                  </a:lnTo>
                  <a:cubicBezTo>
                    <a:pt x="0" y="148792"/>
                    <a:pt x="896" y="149689"/>
                    <a:pt x="2241" y="149689"/>
                  </a:cubicBezTo>
                  <a:lnTo>
                    <a:pt x="108457" y="149689"/>
                  </a:lnTo>
                  <a:cubicBezTo>
                    <a:pt x="109802" y="149689"/>
                    <a:pt x="110698" y="148792"/>
                    <a:pt x="110698" y="147448"/>
                  </a:cubicBezTo>
                  <a:lnTo>
                    <a:pt x="110698" y="134003"/>
                  </a:lnTo>
                  <a:cubicBezTo>
                    <a:pt x="110698" y="132658"/>
                    <a:pt x="109802" y="131762"/>
                    <a:pt x="108457" y="131762"/>
                  </a:cubicBezTo>
                  <a:lnTo>
                    <a:pt x="96805" y="131762"/>
                  </a:lnTo>
                  <a:lnTo>
                    <a:pt x="96805" y="68570"/>
                  </a:lnTo>
                  <a:cubicBezTo>
                    <a:pt x="97253" y="68570"/>
                    <a:pt x="97253" y="68570"/>
                    <a:pt x="97701" y="68570"/>
                  </a:cubicBezTo>
                  <a:lnTo>
                    <a:pt x="100390" y="68570"/>
                  </a:lnTo>
                  <a:cubicBezTo>
                    <a:pt x="103527" y="68570"/>
                    <a:pt x="106216" y="71259"/>
                    <a:pt x="106216" y="74396"/>
                  </a:cubicBezTo>
                  <a:lnTo>
                    <a:pt x="106216" y="112043"/>
                  </a:lnTo>
                  <a:cubicBezTo>
                    <a:pt x="106216" y="117869"/>
                    <a:pt x="110698" y="122351"/>
                    <a:pt x="116524" y="122351"/>
                  </a:cubicBezTo>
                  <a:cubicBezTo>
                    <a:pt x="122350" y="122351"/>
                    <a:pt x="126832" y="117869"/>
                    <a:pt x="126832" y="112043"/>
                  </a:cubicBezTo>
                  <a:lnTo>
                    <a:pt x="126832" y="74396"/>
                  </a:lnTo>
                  <a:cubicBezTo>
                    <a:pt x="126832" y="71259"/>
                    <a:pt x="129521" y="68570"/>
                    <a:pt x="132658" y="68570"/>
                  </a:cubicBezTo>
                  <a:lnTo>
                    <a:pt x="138036" y="68570"/>
                  </a:lnTo>
                  <a:cubicBezTo>
                    <a:pt x="141174" y="68570"/>
                    <a:pt x="143863" y="71259"/>
                    <a:pt x="143863" y="74396"/>
                  </a:cubicBezTo>
                  <a:lnTo>
                    <a:pt x="143863" y="90979"/>
                  </a:lnTo>
                  <a:lnTo>
                    <a:pt x="139829" y="90979"/>
                  </a:lnTo>
                  <a:cubicBezTo>
                    <a:pt x="136244" y="90979"/>
                    <a:pt x="133107" y="94116"/>
                    <a:pt x="133107" y="97701"/>
                  </a:cubicBezTo>
                  <a:lnTo>
                    <a:pt x="133107" y="109354"/>
                  </a:lnTo>
                  <a:cubicBezTo>
                    <a:pt x="133107" y="110698"/>
                    <a:pt x="134003" y="111595"/>
                    <a:pt x="135347" y="111595"/>
                  </a:cubicBezTo>
                  <a:lnTo>
                    <a:pt x="138485" y="111595"/>
                  </a:lnTo>
                  <a:lnTo>
                    <a:pt x="138485" y="120110"/>
                  </a:lnTo>
                  <a:cubicBezTo>
                    <a:pt x="138485" y="121454"/>
                    <a:pt x="139381" y="122351"/>
                    <a:pt x="140725" y="122351"/>
                  </a:cubicBezTo>
                  <a:cubicBezTo>
                    <a:pt x="142070" y="122351"/>
                    <a:pt x="142966" y="121454"/>
                    <a:pt x="142966" y="120110"/>
                  </a:cubicBezTo>
                  <a:lnTo>
                    <a:pt x="142966" y="111595"/>
                  </a:lnTo>
                  <a:lnTo>
                    <a:pt x="149241" y="111595"/>
                  </a:lnTo>
                  <a:lnTo>
                    <a:pt x="149241" y="120110"/>
                  </a:lnTo>
                  <a:cubicBezTo>
                    <a:pt x="149241" y="121454"/>
                    <a:pt x="150137" y="122351"/>
                    <a:pt x="151482" y="122351"/>
                  </a:cubicBezTo>
                  <a:cubicBezTo>
                    <a:pt x="152826" y="122351"/>
                    <a:pt x="153722" y="121454"/>
                    <a:pt x="153722" y="120110"/>
                  </a:cubicBezTo>
                  <a:lnTo>
                    <a:pt x="153722" y="111595"/>
                  </a:lnTo>
                  <a:lnTo>
                    <a:pt x="156860" y="111595"/>
                  </a:lnTo>
                  <a:cubicBezTo>
                    <a:pt x="158204" y="111595"/>
                    <a:pt x="159100" y="110698"/>
                    <a:pt x="159100" y="109354"/>
                  </a:cubicBezTo>
                  <a:lnTo>
                    <a:pt x="159100" y="97701"/>
                  </a:lnTo>
                  <a:cubicBezTo>
                    <a:pt x="159100" y="94116"/>
                    <a:pt x="155963" y="91427"/>
                    <a:pt x="152378" y="91427"/>
                  </a:cubicBezTo>
                  <a:close/>
                  <a:moveTo>
                    <a:pt x="106216" y="145207"/>
                  </a:moveTo>
                  <a:lnTo>
                    <a:pt x="4482" y="145207"/>
                  </a:lnTo>
                  <a:lnTo>
                    <a:pt x="4482" y="136244"/>
                  </a:lnTo>
                  <a:lnTo>
                    <a:pt x="15238" y="136244"/>
                  </a:lnTo>
                  <a:lnTo>
                    <a:pt x="94116" y="136244"/>
                  </a:lnTo>
                  <a:lnTo>
                    <a:pt x="105768" y="136244"/>
                  </a:lnTo>
                  <a:lnTo>
                    <a:pt x="105768" y="145207"/>
                  </a:lnTo>
                  <a:close/>
                  <a:moveTo>
                    <a:pt x="17479" y="131762"/>
                  </a:moveTo>
                  <a:lnTo>
                    <a:pt x="17479" y="4482"/>
                  </a:lnTo>
                  <a:lnTo>
                    <a:pt x="91875" y="4482"/>
                  </a:lnTo>
                  <a:lnTo>
                    <a:pt x="91875" y="131762"/>
                  </a:lnTo>
                  <a:lnTo>
                    <a:pt x="17479" y="131762"/>
                  </a:lnTo>
                  <a:close/>
                  <a:moveTo>
                    <a:pt x="154619" y="107561"/>
                  </a:moveTo>
                  <a:lnTo>
                    <a:pt x="137588" y="107561"/>
                  </a:lnTo>
                  <a:lnTo>
                    <a:pt x="137588" y="98149"/>
                  </a:lnTo>
                  <a:cubicBezTo>
                    <a:pt x="137588" y="96805"/>
                    <a:pt x="138485" y="95909"/>
                    <a:pt x="139829" y="95909"/>
                  </a:cubicBezTo>
                  <a:lnTo>
                    <a:pt x="152378" y="95909"/>
                  </a:lnTo>
                  <a:cubicBezTo>
                    <a:pt x="153722" y="95909"/>
                    <a:pt x="154619" y="96805"/>
                    <a:pt x="154619" y="98149"/>
                  </a:cubicBezTo>
                  <a:lnTo>
                    <a:pt x="154619" y="107561"/>
                  </a:lnTo>
                  <a:close/>
                </a:path>
              </a:pathLst>
            </a:custGeom>
            <a:solidFill>
              <a:srgbClr val="231F20"/>
            </a:solidFill>
            <a:ln w="4477" cap="flat">
              <a:noFill/>
              <a:prstDash val="solid"/>
              <a:miter/>
            </a:ln>
          </p:spPr>
          <p:txBody>
            <a:bodyPr rtlCol="0" anchor="ctr"/>
            <a:lstStyle/>
            <a:p>
              <a:endParaRPr lang="en-US"/>
            </a:p>
          </p:txBody>
        </p:sp>
      </p:grpSp>
      <p:sp>
        <p:nvSpPr>
          <p:cNvPr id="3702" name="Freeform: Shape 3701">
            <a:extLst>
              <a:ext uri="{FF2B5EF4-FFF2-40B4-BE49-F238E27FC236}">
                <a16:creationId xmlns:a16="http://schemas.microsoft.com/office/drawing/2014/main" id="{4E89A3B4-A621-4BEE-95D4-6830E3EF1E99}"/>
              </a:ext>
              <a:ext uri="{C183D7F6-B498-43B3-948B-1728B52AA6E4}">
                <adec:decorative xmlns:adec="http://schemas.microsoft.com/office/drawing/2017/decorative" val="1"/>
              </a:ext>
            </a:extLst>
          </p:cNvPr>
          <p:cNvSpPr>
            <a:spLocks noChangeAspect="1"/>
          </p:cNvSpPr>
          <p:nvPr/>
        </p:nvSpPr>
        <p:spPr>
          <a:xfrm>
            <a:off x="4001153" y="2075254"/>
            <a:ext cx="161341" cy="129969"/>
          </a:xfrm>
          <a:custGeom>
            <a:avLst/>
            <a:gdLst>
              <a:gd name="connsiteX0" fmla="*/ 159997 w 161341"/>
              <a:gd name="connsiteY0" fmla="*/ 129073 h 129969"/>
              <a:gd name="connsiteX1" fmla="*/ 147896 w 161341"/>
              <a:gd name="connsiteY1" fmla="*/ 129073 h 129969"/>
              <a:gd name="connsiteX2" fmla="*/ 147896 w 161341"/>
              <a:gd name="connsiteY2" fmla="*/ 45265 h 129969"/>
              <a:gd name="connsiteX3" fmla="*/ 145655 w 161341"/>
              <a:gd name="connsiteY3" fmla="*/ 43025 h 129969"/>
              <a:gd name="connsiteX4" fmla="*/ 133555 w 161341"/>
              <a:gd name="connsiteY4" fmla="*/ 43025 h 129969"/>
              <a:gd name="connsiteX5" fmla="*/ 133555 w 161341"/>
              <a:gd name="connsiteY5" fmla="*/ 30924 h 129969"/>
              <a:gd name="connsiteX6" fmla="*/ 131314 w 161341"/>
              <a:gd name="connsiteY6" fmla="*/ 28683 h 129969"/>
              <a:gd name="connsiteX7" fmla="*/ 83360 w 161341"/>
              <a:gd name="connsiteY7" fmla="*/ 28683 h 129969"/>
              <a:gd name="connsiteX8" fmla="*/ 83360 w 161341"/>
              <a:gd name="connsiteY8" fmla="*/ 18823 h 129969"/>
              <a:gd name="connsiteX9" fmla="*/ 102631 w 161341"/>
              <a:gd name="connsiteY9" fmla="*/ 18823 h 129969"/>
              <a:gd name="connsiteX10" fmla="*/ 104872 w 161341"/>
              <a:gd name="connsiteY10" fmla="*/ 16582 h 129969"/>
              <a:gd name="connsiteX11" fmla="*/ 104872 w 161341"/>
              <a:gd name="connsiteY11" fmla="*/ 2241 h 129969"/>
              <a:gd name="connsiteX12" fmla="*/ 102631 w 161341"/>
              <a:gd name="connsiteY12" fmla="*/ 0 h 129969"/>
              <a:gd name="connsiteX13" fmla="*/ 81119 w 161341"/>
              <a:gd name="connsiteY13" fmla="*/ 0 h 129969"/>
              <a:gd name="connsiteX14" fmla="*/ 78878 w 161341"/>
              <a:gd name="connsiteY14" fmla="*/ 2241 h 129969"/>
              <a:gd name="connsiteX15" fmla="*/ 78878 w 161341"/>
              <a:gd name="connsiteY15" fmla="*/ 28683 h 129969"/>
              <a:gd name="connsiteX16" fmla="*/ 30924 w 161341"/>
              <a:gd name="connsiteY16" fmla="*/ 28683 h 129969"/>
              <a:gd name="connsiteX17" fmla="*/ 28683 w 161341"/>
              <a:gd name="connsiteY17" fmla="*/ 30924 h 129969"/>
              <a:gd name="connsiteX18" fmla="*/ 28683 w 161341"/>
              <a:gd name="connsiteY18" fmla="*/ 43025 h 129969"/>
              <a:gd name="connsiteX19" fmla="*/ 16582 w 161341"/>
              <a:gd name="connsiteY19" fmla="*/ 43025 h 129969"/>
              <a:gd name="connsiteX20" fmla="*/ 14342 w 161341"/>
              <a:gd name="connsiteY20" fmla="*/ 45265 h 129969"/>
              <a:gd name="connsiteX21" fmla="*/ 14342 w 161341"/>
              <a:gd name="connsiteY21" fmla="*/ 129073 h 129969"/>
              <a:gd name="connsiteX22" fmla="*/ 2241 w 161341"/>
              <a:gd name="connsiteY22" fmla="*/ 129073 h 129969"/>
              <a:gd name="connsiteX23" fmla="*/ 0 w 161341"/>
              <a:gd name="connsiteY23" fmla="*/ 131314 h 129969"/>
              <a:gd name="connsiteX24" fmla="*/ 2241 w 161341"/>
              <a:gd name="connsiteY24" fmla="*/ 133555 h 129969"/>
              <a:gd name="connsiteX25" fmla="*/ 16582 w 161341"/>
              <a:gd name="connsiteY25" fmla="*/ 133555 h 129969"/>
              <a:gd name="connsiteX26" fmla="*/ 30924 w 161341"/>
              <a:gd name="connsiteY26" fmla="*/ 133555 h 129969"/>
              <a:gd name="connsiteX27" fmla="*/ 45265 w 161341"/>
              <a:gd name="connsiteY27" fmla="*/ 133555 h 129969"/>
              <a:gd name="connsiteX28" fmla="*/ 73948 w 161341"/>
              <a:gd name="connsiteY28" fmla="*/ 133555 h 129969"/>
              <a:gd name="connsiteX29" fmla="*/ 88290 w 161341"/>
              <a:gd name="connsiteY29" fmla="*/ 133555 h 129969"/>
              <a:gd name="connsiteX30" fmla="*/ 116973 w 161341"/>
              <a:gd name="connsiteY30" fmla="*/ 133555 h 129969"/>
              <a:gd name="connsiteX31" fmla="*/ 131314 w 161341"/>
              <a:gd name="connsiteY31" fmla="*/ 133555 h 129969"/>
              <a:gd name="connsiteX32" fmla="*/ 145655 w 161341"/>
              <a:gd name="connsiteY32" fmla="*/ 133555 h 129969"/>
              <a:gd name="connsiteX33" fmla="*/ 159997 w 161341"/>
              <a:gd name="connsiteY33" fmla="*/ 133555 h 129969"/>
              <a:gd name="connsiteX34" fmla="*/ 162238 w 161341"/>
              <a:gd name="connsiteY34" fmla="*/ 131314 h 129969"/>
              <a:gd name="connsiteX35" fmla="*/ 159997 w 161341"/>
              <a:gd name="connsiteY35" fmla="*/ 129073 h 129969"/>
              <a:gd name="connsiteX36" fmla="*/ 83360 w 161341"/>
              <a:gd name="connsiteY36" fmla="*/ 14342 h 129969"/>
              <a:gd name="connsiteX37" fmla="*/ 83360 w 161341"/>
              <a:gd name="connsiteY37" fmla="*/ 4482 h 129969"/>
              <a:gd name="connsiteX38" fmla="*/ 100390 w 161341"/>
              <a:gd name="connsiteY38" fmla="*/ 4482 h 129969"/>
              <a:gd name="connsiteX39" fmla="*/ 100390 w 161341"/>
              <a:gd name="connsiteY39" fmla="*/ 14342 h 129969"/>
              <a:gd name="connsiteX40" fmla="*/ 83360 w 161341"/>
              <a:gd name="connsiteY40" fmla="*/ 14342 h 129969"/>
              <a:gd name="connsiteX41" fmla="*/ 33165 w 161341"/>
              <a:gd name="connsiteY41" fmla="*/ 33165 h 129969"/>
              <a:gd name="connsiteX42" fmla="*/ 129073 w 161341"/>
              <a:gd name="connsiteY42" fmla="*/ 33165 h 129969"/>
              <a:gd name="connsiteX43" fmla="*/ 129073 w 161341"/>
              <a:gd name="connsiteY43" fmla="*/ 43025 h 129969"/>
              <a:gd name="connsiteX44" fmla="*/ 33165 w 161341"/>
              <a:gd name="connsiteY44" fmla="*/ 43025 h 129969"/>
              <a:gd name="connsiteX45" fmla="*/ 33165 w 161341"/>
              <a:gd name="connsiteY45" fmla="*/ 33165 h 129969"/>
              <a:gd name="connsiteX46" fmla="*/ 33165 w 161341"/>
              <a:gd name="connsiteY46" fmla="*/ 129073 h 129969"/>
              <a:gd name="connsiteX47" fmla="*/ 33165 w 161341"/>
              <a:gd name="connsiteY47" fmla="*/ 61847 h 129969"/>
              <a:gd name="connsiteX48" fmla="*/ 43025 w 161341"/>
              <a:gd name="connsiteY48" fmla="*/ 61847 h 129969"/>
              <a:gd name="connsiteX49" fmla="*/ 43025 w 161341"/>
              <a:gd name="connsiteY49" fmla="*/ 129073 h 129969"/>
              <a:gd name="connsiteX50" fmla="*/ 33165 w 161341"/>
              <a:gd name="connsiteY50" fmla="*/ 129073 h 129969"/>
              <a:gd name="connsiteX51" fmla="*/ 76189 w 161341"/>
              <a:gd name="connsiteY51" fmla="*/ 129073 h 129969"/>
              <a:gd name="connsiteX52" fmla="*/ 76189 w 161341"/>
              <a:gd name="connsiteY52" fmla="*/ 61847 h 129969"/>
              <a:gd name="connsiteX53" fmla="*/ 86049 w 161341"/>
              <a:gd name="connsiteY53" fmla="*/ 61847 h 129969"/>
              <a:gd name="connsiteX54" fmla="*/ 86049 w 161341"/>
              <a:gd name="connsiteY54" fmla="*/ 129073 h 129969"/>
              <a:gd name="connsiteX55" fmla="*/ 76189 w 161341"/>
              <a:gd name="connsiteY55" fmla="*/ 129073 h 129969"/>
              <a:gd name="connsiteX56" fmla="*/ 119213 w 161341"/>
              <a:gd name="connsiteY56" fmla="*/ 129073 h 129969"/>
              <a:gd name="connsiteX57" fmla="*/ 119213 w 161341"/>
              <a:gd name="connsiteY57" fmla="*/ 61847 h 129969"/>
              <a:gd name="connsiteX58" fmla="*/ 129073 w 161341"/>
              <a:gd name="connsiteY58" fmla="*/ 61847 h 129969"/>
              <a:gd name="connsiteX59" fmla="*/ 129073 w 161341"/>
              <a:gd name="connsiteY59" fmla="*/ 129073 h 129969"/>
              <a:gd name="connsiteX60" fmla="*/ 119213 w 161341"/>
              <a:gd name="connsiteY60" fmla="*/ 129073 h 129969"/>
              <a:gd name="connsiteX61" fmla="*/ 133555 w 161341"/>
              <a:gd name="connsiteY61" fmla="*/ 129073 h 129969"/>
              <a:gd name="connsiteX62" fmla="*/ 133555 w 161341"/>
              <a:gd name="connsiteY62" fmla="*/ 59607 h 129969"/>
              <a:gd name="connsiteX63" fmla="*/ 131314 w 161341"/>
              <a:gd name="connsiteY63" fmla="*/ 57366 h 129969"/>
              <a:gd name="connsiteX64" fmla="*/ 116973 w 161341"/>
              <a:gd name="connsiteY64" fmla="*/ 57366 h 129969"/>
              <a:gd name="connsiteX65" fmla="*/ 114732 w 161341"/>
              <a:gd name="connsiteY65" fmla="*/ 59607 h 129969"/>
              <a:gd name="connsiteX66" fmla="*/ 114732 w 161341"/>
              <a:gd name="connsiteY66" fmla="*/ 129073 h 129969"/>
              <a:gd name="connsiteX67" fmla="*/ 90530 w 161341"/>
              <a:gd name="connsiteY67" fmla="*/ 129073 h 129969"/>
              <a:gd name="connsiteX68" fmla="*/ 90530 w 161341"/>
              <a:gd name="connsiteY68" fmla="*/ 59607 h 129969"/>
              <a:gd name="connsiteX69" fmla="*/ 88290 w 161341"/>
              <a:gd name="connsiteY69" fmla="*/ 57366 h 129969"/>
              <a:gd name="connsiteX70" fmla="*/ 73948 w 161341"/>
              <a:gd name="connsiteY70" fmla="*/ 57366 h 129969"/>
              <a:gd name="connsiteX71" fmla="*/ 71707 w 161341"/>
              <a:gd name="connsiteY71" fmla="*/ 59607 h 129969"/>
              <a:gd name="connsiteX72" fmla="*/ 71707 w 161341"/>
              <a:gd name="connsiteY72" fmla="*/ 129073 h 129969"/>
              <a:gd name="connsiteX73" fmla="*/ 47506 w 161341"/>
              <a:gd name="connsiteY73" fmla="*/ 129073 h 129969"/>
              <a:gd name="connsiteX74" fmla="*/ 47506 w 161341"/>
              <a:gd name="connsiteY74" fmla="*/ 59607 h 129969"/>
              <a:gd name="connsiteX75" fmla="*/ 45265 w 161341"/>
              <a:gd name="connsiteY75" fmla="*/ 57366 h 129969"/>
              <a:gd name="connsiteX76" fmla="*/ 30924 w 161341"/>
              <a:gd name="connsiteY76" fmla="*/ 57366 h 129969"/>
              <a:gd name="connsiteX77" fmla="*/ 28683 w 161341"/>
              <a:gd name="connsiteY77" fmla="*/ 59607 h 129969"/>
              <a:gd name="connsiteX78" fmla="*/ 28683 w 161341"/>
              <a:gd name="connsiteY78" fmla="*/ 129073 h 129969"/>
              <a:gd name="connsiteX79" fmla="*/ 18823 w 161341"/>
              <a:gd name="connsiteY79" fmla="*/ 129073 h 129969"/>
              <a:gd name="connsiteX80" fmla="*/ 18823 w 161341"/>
              <a:gd name="connsiteY80" fmla="*/ 47506 h 129969"/>
              <a:gd name="connsiteX81" fmla="*/ 30924 w 161341"/>
              <a:gd name="connsiteY81" fmla="*/ 47506 h 129969"/>
              <a:gd name="connsiteX82" fmla="*/ 131314 w 161341"/>
              <a:gd name="connsiteY82" fmla="*/ 47506 h 129969"/>
              <a:gd name="connsiteX83" fmla="*/ 143414 w 161341"/>
              <a:gd name="connsiteY83" fmla="*/ 47506 h 129969"/>
              <a:gd name="connsiteX84" fmla="*/ 143414 w 161341"/>
              <a:gd name="connsiteY84" fmla="*/ 129073 h 129969"/>
              <a:gd name="connsiteX85" fmla="*/ 133555 w 161341"/>
              <a:gd name="connsiteY85" fmla="*/ 129073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1341" h="129969">
                <a:moveTo>
                  <a:pt x="159997" y="129073"/>
                </a:moveTo>
                <a:lnTo>
                  <a:pt x="147896" y="129073"/>
                </a:lnTo>
                <a:lnTo>
                  <a:pt x="147896" y="45265"/>
                </a:lnTo>
                <a:cubicBezTo>
                  <a:pt x="147896" y="43921"/>
                  <a:pt x="147000" y="43025"/>
                  <a:pt x="145655" y="43025"/>
                </a:cubicBezTo>
                <a:lnTo>
                  <a:pt x="133555" y="43025"/>
                </a:lnTo>
                <a:lnTo>
                  <a:pt x="133555" y="30924"/>
                </a:lnTo>
                <a:cubicBezTo>
                  <a:pt x="133555" y="29579"/>
                  <a:pt x="132659" y="28683"/>
                  <a:pt x="131314" y="28683"/>
                </a:cubicBezTo>
                <a:lnTo>
                  <a:pt x="83360" y="28683"/>
                </a:lnTo>
                <a:lnTo>
                  <a:pt x="83360" y="18823"/>
                </a:lnTo>
                <a:lnTo>
                  <a:pt x="102631" y="18823"/>
                </a:lnTo>
                <a:cubicBezTo>
                  <a:pt x="103976" y="18823"/>
                  <a:pt x="104872" y="17927"/>
                  <a:pt x="104872" y="16582"/>
                </a:cubicBezTo>
                <a:lnTo>
                  <a:pt x="104872" y="2241"/>
                </a:lnTo>
                <a:cubicBezTo>
                  <a:pt x="104872" y="896"/>
                  <a:pt x="103976" y="0"/>
                  <a:pt x="102631" y="0"/>
                </a:cubicBezTo>
                <a:lnTo>
                  <a:pt x="81119" y="0"/>
                </a:lnTo>
                <a:cubicBezTo>
                  <a:pt x="79774" y="0"/>
                  <a:pt x="78878" y="896"/>
                  <a:pt x="78878" y="2241"/>
                </a:cubicBezTo>
                <a:lnTo>
                  <a:pt x="78878" y="28683"/>
                </a:lnTo>
                <a:lnTo>
                  <a:pt x="30924" y="28683"/>
                </a:lnTo>
                <a:cubicBezTo>
                  <a:pt x="29579" y="28683"/>
                  <a:pt x="28683" y="29579"/>
                  <a:pt x="28683" y="30924"/>
                </a:cubicBezTo>
                <a:lnTo>
                  <a:pt x="28683" y="43025"/>
                </a:lnTo>
                <a:lnTo>
                  <a:pt x="16582" y="43025"/>
                </a:lnTo>
                <a:cubicBezTo>
                  <a:pt x="15238" y="43025"/>
                  <a:pt x="14342" y="43921"/>
                  <a:pt x="14342" y="45265"/>
                </a:cubicBezTo>
                <a:lnTo>
                  <a:pt x="14342" y="129073"/>
                </a:lnTo>
                <a:lnTo>
                  <a:pt x="2241" y="129073"/>
                </a:lnTo>
                <a:cubicBezTo>
                  <a:pt x="896" y="129073"/>
                  <a:pt x="0" y="129969"/>
                  <a:pt x="0" y="131314"/>
                </a:cubicBezTo>
                <a:cubicBezTo>
                  <a:pt x="0" y="132659"/>
                  <a:pt x="896" y="133555"/>
                  <a:pt x="2241" y="133555"/>
                </a:cubicBezTo>
                <a:lnTo>
                  <a:pt x="16582" y="133555"/>
                </a:lnTo>
                <a:lnTo>
                  <a:pt x="30924" y="133555"/>
                </a:lnTo>
                <a:lnTo>
                  <a:pt x="45265" y="133555"/>
                </a:lnTo>
                <a:lnTo>
                  <a:pt x="73948" y="133555"/>
                </a:lnTo>
                <a:lnTo>
                  <a:pt x="88290" y="133555"/>
                </a:lnTo>
                <a:lnTo>
                  <a:pt x="116973" y="133555"/>
                </a:lnTo>
                <a:lnTo>
                  <a:pt x="131314" y="133555"/>
                </a:lnTo>
                <a:lnTo>
                  <a:pt x="145655" y="133555"/>
                </a:lnTo>
                <a:lnTo>
                  <a:pt x="159997" y="133555"/>
                </a:lnTo>
                <a:cubicBezTo>
                  <a:pt x="161341" y="133555"/>
                  <a:pt x="162238" y="132659"/>
                  <a:pt x="162238" y="131314"/>
                </a:cubicBezTo>
                <a:cubicBezTo>
                  <a:pt x="162238" y="129969"/>
                  <a:pt x="161341" y="129073"/>
                  <a:pt x="159997" y="129073"/>
                </a:cubicBezTo>
                <a:close/>
                <a:moveTo>
                  <a:pt x="83360" y="14342"/>
                </a:moveTo>
                <a:lnTo>
                  <a:pt x="83360" y="4482"/>
                </a:lnTo>
                <a:lnTo>
                  <a:pt x="100390" y="4482"/>
                </a:lnTo>
                <a:lnTo>
                  <a:pt x="100390" y="14342"/>
                </a:lnTo>
                <a:lnTo>
                  <a:pt x="83360" y="14342"/>
                </a:lnTo>
                <a:close/>
                <a:moveTo>
                  <a:pt x="33165" y="33165"/>
                </a:moveTo>
                <a:lnTo>
                  <a:pt x="129073" y="33165"/>
                </a:lnTo>
                <a:lnTo>
                  <a:pt x="129073" y="43025"/>
                </a:lnTo>
                <a:lnTo>
                  <a:pt x="33165" y="43025"/>
                </a:lnTo>
                <a:lnTo>
                  <a:pt x="33165" y="33165"/>
                </a:lnTo>
                <a:close/>
                <a:moveTo>
                  <a:pt x="33165" y="129073"/>
                </a:moveTo>
                <a:lnTo>
                  <a:pt x="33165" y="61847"/>
                </a:lnTo>
                <a:lnTo>
                  <a:pt x="43025" y="61847"/>
                </a:lnTo>
                <a:lnTo>
                  <a:pt x="43025" y="129073"/>
                </a:lnTo>
                <a:lnTo>
                  <a:pt x="33165" y="129073"/>
                </a:lnTo>
                <a:close/>
                <a:moveTo>
                  <a:pt x="76189" y="129073"/>
                </a:moveTo>
                <a:lnTo>
                  <a:pt x="76189" y="61847"/>
                </a:lnTo>
                <a:lnTo>
                  <a:pt x="86049" y="61847"/>
                </a:lnTo>
                <a:lnTo>
                  <a:pt x="86049" y="129073"/>
                </a:lnTo>
                <a:lnTo>
                  <a:pt x="76189" y="129073"/>
                </a:lnTo>
                <a:close/>
                <a:moveTo>
                  <a:pt x="119213" y="129073"/>
                </a:moveTo>
                <a:lnTo>
                  <a:pt x="119213" y="61847"/>
                </a:lnTo>
                <a:lnTo>
                  <a:pt x="129073" y="61847"/>
                </a:lnTo>
                <a:lnTo>
                  <a:pt x="129073" y="129073"/>
                </a:lnTo>
                <a:lnTo>
                  <a:pt x="119213" y="129073"/>
                </a:lnTo>
                <a:close/>
                <a:moveTo>
                  <a:pt x="133555" y="129073"/>
                </a:moveTo>
                <a:lnTo>
                  <a:pt x="133555" y="59607"/>
                </a:lnTo>
                <a:cubicBezTo>
                  <a:pt x="133555" y="58262"/>
                  <a:pt x="132659" y="57366"/>
                  <a:pt x="131314" y="57366"/>
                </a:cubicBezTo>
                <a:lnTo>
                  <a:pt x="116973" y="57366"/>
                </a:lnTo>
                <a:cubicBezTo>
                  <a:pt x="115628" y="57366"/>
                  <a:pt x="114732" y="58262"/>
                  <a:pt x="114732" y="59607"/>
                </a:cubicBezTo>
                <a:lnTo>
                  <a:pt x="114732" y="129073"/>
                </a:lnTo>
                <a:lnTo>
                  <a:pt x="90530" y="129073"/>
                </a:lnTo>
                <a:lnTo>
                  <a:pt x="90530" y="59607"/>
                </a:lnTo>
                <a:cubicBezTo>
                  <a:pt x="90530" y="58262"/>
                  <a:pt x="89634" y="57366"/>
                  <a:pt x="88290" y="57366"/>
                </a:cubicBezTo>
                <a:lnTo>
                  <a:pt x="73948" y="57366"/>
                </a:lnTo>
                <a:cubicBezTo>
                  <a:pt x="72604" y="57366"/>
                  <a:pt x="71707" y="58262"/>
                  <a:pt x="71707" y="59607"/>
                </a:cubicBezTo>
                <a:lnTo>
                  <a:pt x="71707" y="129073"/>
                </a:lnTo>
                <a:lnTo>
                  <a:pt x="47506" y="129073"/>
                </a:lnTo>
                <a:lnTo>
                  <a:pt x="47506" y="59607"/>
                </a:lnTo>
                <a:cubicBezTo>
                  <a:pt x="47506" y="58262"/>
                  <a:pt x="46610" y="57366"/>
                  <a:pt x="45265" y="57366"/>
                </a:cubicBezTo>
                <a:lnTo>
                  <a:pt x="30924" y="57366"/>
                </a:lnTo>
                <a:cubicBezTo>
                  <a:pt x="29579" y="57366"/>
                  <a:pt x="28683" y="58262"/>
                  <a:pt x="28683" y="59607"/>
                </a:cubicBezTo>
                <a:lnTo>
                  <a:pt x="28683" y="129073"/>
                </a:lnTo>
                <a:lnTo>
                  <a:pt x="18823" y="129073"/>
                </a:lnTo>
                <a:lnTo>
                  <a:pt x="18823" y="47506"/>
                </a:lnTo>
                <a:lnTo>
                  <a:pt x="30924" y="47506"/>
                </a:lnTo>
                <a:lnTo>
                  <a:pt x="131314" y="47506"/>
                </a:lnTo>
                <a:lnTo>
                  <a:pt x="143414" y="47506"/>
                </a:lnTo>
                <a:lnTo>
                  <a:pt x="143414" y="129073"/>
                </a:lnTo>
                <a:lnTo>
                  <a:pt x="133555" y="129073"/>
                </a:lnTo>
                <a:close/>
              </a:path>
            </a:pathLst>
          </a:custGeom>
          <a:solidFill>
            <a:srgbClr val="231F20"/>
          </a:solidFill>
          <a:ln w="4477" cap="flat">
            <a:noFill/>
            <a:prstDash val="solid"/>
            <a:miter/>
          </a:ln>
        </p:spPr>
        <p:txBody>
          <a:bodyPr rtlCol="0" anchor="ctr"/>
          <a:lstStyle/>
          <a:p>
            <a:endParaRPr lang="en-US"/>
          </a:p>
        </p:txBody>
      </p:sp>
      <p:sp>
        <p:nvSpPr>
          <p:cNvPr id="3703" name="Freeform: Shape 3702">
            <a:extLst>
              <a:ext uri="{FF2B5EF4-FFF2-40B4-BE49-F238E27FC236}">
                <a16:creationId xmlns:a16="http://schemas.microsoft.com/office/drawing/2014/main" id="{A6C4791A-F256-4281-9E2A-F027FFDC0F56}"/>
              </a:ext>
              <a:ext uri="{C183D7F6-B498-43B3-948B-1728B52AA6E4}">
                <adec:decorative xmlns:adec="http://schemas.microsoft.com/office/drawing/2017/decorative" val="1"/>
              </a:ext>
            </a:extLst>
          </p:cNvPr>
          <p:cNvSpPr>
            <a:spLocks noChangeAspect="1"/>
          </p:cNvSpPr>
          <p:nvPr/>
        </p:nvSpPr>
        <p:spPr>
          <a:xfrm>
            <a:off x="4547024" y="2399729"/>
            <a:ext cx="129969" cy="161341"/>
          </a:xfrm>
          <a:custGeom>
            <a:avLst/>
            <a:gdLst>
              <a:gd name="connsiteX0" fmla="*/ 119661 w 129969"/>
              <a:gd name="connsiteY0" fmla="*/ 28683 h 161341"/>
              <a:gd name="connsiteX1" fmla="*/ 104872 w 129969"/>
              <a:gd name="connsiteY1" fmla="*/ 28683 h 161341"/>
              <a:gd name="connsiteX2" fmla="*/ 104872 w 129969"/>
              <a:gd name="connsiteY2" fmla="*/ 2241 h 161341"/>
              <a:gd name="connsiteX3" fmla="*/ 102631 w 129969"/>
              <a:gd name="connsiteY3" fmla="*/ 0 h 161341"/>
              <a:gd name="connsiteX4" fmla="*/ 100390 w 129969"/>
              <a:gd name="connsiteY4" fmla="*/ 2241 h 161341"/>
              <a:gd name="connsiteX5" fmla="*/ 100390 w 129969"/>
              <a:gd name="connsiteY5" fmla="*/ 28683 h 161341"/>
              <a:gd name="connsiteX6" fmla="*/ 61848 w 129969"/>
              <a:gd name="connsiteY6" fmla="*/ 28683 h 161341"/>
              <a:gd name="connsiteX7" fmla="*/ 61848 w 129969"/>
              <a:gd name="connsiteY7" fmla="*/ 2241 h 161341"/>
              <a:gd name="connsiteX8" fmla="*/ 59607 w 129969"/>
              <a:gd name="connsiteY8" fmla="*/ 0 h 161341"/>
              <a:gd name="connsiteX9" fmla="*/ 57366 w 129969"/>
              <a:gd name="connsiteY9" fmla="*/ 2241 h 161341"/>
              <a:gd name="connsiteX10" fmla="*/ 57366 w 129969"/>
              <a:gd name="connsiteY10" fmla="*/ 28683 h 161341"/>
              <a:gd name="connsiteX11" fmla="*/ 42576 w 129969"/>
              <a:gd name="connsiteY11" fmla="*/ 28683 h 161341"/>
              <a:gd name="connsiteX12" fmla="*/ 28683 w 129969"/>
              <a:gd name="connsiteY12" fmla="*/ 42576 h 161341"/>
              <a:gd name="connsiteX13" fmla="*/ 28683 w 129969"/>
              <a:gd name="connsiteY13" fmla="*/ 47954 h 161341"/>
              <a:gd name="connsiteX14" fmla="*/ 42576 w 129969"/>
              <a:gd name="connsiteY14" fmla="*/ 61847 h 161341"/>
              <a:gd name="connsiteX15" fmla="*/ 43025 w 129969"/>
              <a:gd name="connsiteY15" fmla="*/ 61847 h 161341"/>
              <a:gd name="connsiteX16" fmla="*/ 43025 w 129969"/>
              <a:gd name="connsiteY16" fmla="*/ 81119 h 161341"/>
              <a:gd name="connsiteX17" fmla="*/ 78878 w 129969"/>
              <a:gd name="connsiteY17" fmla="*/ 119213 h 161341"/>
              <a:gd name="connsiteX18" fmla="*/ 78878 w 129969"/>
              <a:gd name="connsiteY18" fmla="*/ 131762 h 161341"/>
              <a:gd name="connsiteX19" fmla="*/ 71259 w 129969"/>
              <a:gd name="connsiteY19" fmla="*/ 150585 h 161341"/>
              <a:gd name="connsiteX20" fmla="*/ 52436 w 129969"/>
              <a:gd name="connsiteY20" fmla="*/ 158204 h 161341"/>
              <a:gd name="connsiteX21" fmla="*/ 30924 w 129969"/>
              <a:gd name="connsiteY21" fmla="*/ 158204 h 161341"/>
              <a:gd name="connsiteX22" fmla="*/ 4482 w 129969"/>
              <a:gd name="connsiteY22" fmla="*/ 131762 h 161341"/>
              <a:gd name="connsiteX23" fmla="*/ 4482 w 129969"/>
              <a:gd name="connsiteY23" fmla="*/ 117421 h 161341"/>
              <a:gd name="connsiteX24" fmla="*/ 2241 w 129969"/>
              <a:gd name="connsiteY24" fmla="*/ 115180 h 161341"/>
              <a:gd name="connsiteX25" fmla="*/ 0 w 129969"/>
              <a:gd name="connsiteY25" fmla="*/ 117421 h 161341"/>
              <a:gd name="connsiteX26" fmla="*/ 0 w 129969"/>
              <a:gd name="connsiteY26" fmla="*/ 131762 h 161341"/>
              <a:gd name="connsiteX27" fmla="*/ 30924 w 129969"/>
              <a:gd name="connsiteY27" fmla="*/ 162686 h 161341"/>
              <a:gd name="connsiteX28" fmla="*/ 52436 w 129969"/>
              <a:gd name="connsiteY28" fmla="*/ 162686 h 161341"/>
              <a:gd name="connsiteX29" fmla="*/ 52436 w 129969"/>
              <a:gd name="connsiteY29" fmla="*/ 162686 h 161341"/>
              <a:gd name="connsiteX30" fmla="*/ 74396 w 129969"/>
              <a:gd name="connsiteY30" fmla="*/ 153722 h 161341"/>
              <a:gd name="connsiteX31" fmla="*/ 83360 w 129969"/>
              <a:gd name="connsiteY31" fmla="*/ 131762 h 161341"/>
              <a:gd name="connsiteX32" fmla="*/ 83360 w 129969"/>
              <a:gd name="connsiteY32" fmla="*/ 119213 h 161341"/>
              <a:gd name="connsiteX33" fmla="*/ 119213 w 129969"/>
              <a:gd name="connsiteY33" fmla="*/ 81119 h 161341"/>
              <a:gd name="connsiteX34" fmla="*/ 119213 w 129969"/>
              <a:gd name="connsiteY34" fmla="*/ 61847 h 161341"/>
              <a:gd name="connsiteX35" fmla="*/ 119661 w 129969"/>
              <a:gd name="connsiteY35" fmla="*/ 61847 h 161341"/>
              <a:gd name="connsiteX36" fmla="*/ 133555 w 129969"/>
              <a:gd name="connsiteY36" fmla="*/ 47954 h 161341"/>
              <a:gd name="connsiteX37" fmla="*/ 133555 w 129969"/>
              <a:gd name="connsiteY37" fmla="*/ 42576 h 161341"/>
              <a:gd name="connsiteX38" fmla="*/ 119661 w 129969"/>
              <a:gd name="connsiteY38" fmla="*/ 28683 h 161341"/>
              <a:gd name="connsiteX39" fmla="*/ 114732 w 129969"/>
              <a:gd name="connsiteY39" fmla="*/ 81119 h 161341"/>
              <a:gd name="connsiteX40" fmla="*/ 81119 w 129969"/>
              <a:gd name="connsiteY40" fmla="*/ 114731 h 161341"/>
              <a:gd name="connsiteX41" fmla="*/ 47506 w 129969"/>
              <a:gd name="connsiteY41" fmla="*/ 81119 h 161341"/>
              <a:gd name="connsiteX42" fmla="*/ 47506 w 129969"/>
              <a:gd name="connsiteY42" fmla="*/ 61847 h 161341"/>
              <a:gd name="connsiteX43" fmla="*/ 114732 w 129969"/>
              <a:gd name="connsiteY43" fmla="*/ 61847 h 161341"/>
              <a:gd name="connsiteX44" fmla="*/ 114732 w 129969"/>
              <a:gd name="connsiteY44" fmla="*/ 81119 h 161341"/>
              <a:gd name="connsiteX45" fmla="*/ 129073 w 129969"/>
              <a:gd name="connsiteY45" fmla="*/ 47954 h 161341"/>
              <a:gd name="connsiteX46" fmla="*/ 119661 w 129969"/>
              <a:gd name="connsiteY46" fmla="*/ 57366 h 161341"/>
              <a:gd name="connsiteX47" fmla="*/ 116973 w 129969"/>
              <a:gd name="connsiteY47" fmla="*/ 57366 h 161341"/>
              <a:gd name="connsiteX48" fmla="*/ 45265 w 129969"/>
              <a:gd name="connsiteY48" fmla="*/ 57366 h 161341"/>
              <a:gd name="connsiteX49" fmla="*/ 42576 w 129969"/>
              <a:gd name="connsiteY49" fmla="*/ 57366 h 161341"/>
              <a:gd name="connsiteX50" fmla="*/ 33165 w 129969"/>
              <a:gd name="connsiteY50" fmla="*/ 47954 h 161341"/>
              <a:gd name="connsiteX51" fmla="*/ 33165 w 129969"/>
              <a:gd name="connsiteY51" fmla="*/ 42576 h 161341"/>
              <a:gd name="connsiteX52" fmla="*/ 42576 w 129969"/>
              <a:gd name="connsiteY52" fmla="*/ 33164 h 161341"/>
              <a:gd name="connsiteX53" fmla="*/ 57366 w 129969"/>
              <a:gd name="connsiteY53" fmla="*/ 33164 h 161341"/>
              <a:gd name="connsiteX54" fmla="*/ 57366 w 129969"/>
              <a:gd name="connsiteY54" fmla="*/ 45265 h 161341"/>
              <a:gd name="connsiteX55" fmla="*/ 59607 w 129969"/>
              <a:gd name="connsiteY55" fmla="*/ 47506 h 161341"/>
              <a:gd name="connsiteX56" fmla="*/ 61848 w 129969"/>
              <a:gd name="connsiteY56" fmla="*/ 45265 h 161341"/>
              <a:gd name="connsiteX57" fmla="*/ 61848 w 129969"/>
              <a:gd name="connsiteY57" fmla="*/ 33164 h 161341"/>
              <a:gd name="connsiteX58" fmla="*/ 100390 w 129969"/>
              <a:gd name="connsiteY58" fmla="*/ 33164 h 161341"/>
              <a:gd name="connsiteX59" fmla="*/ 100390 w 129969"/>
              <a:gd name="connsiteY59" fmla="*/ 45265 h 161341"/>
              <a:gd name="connsiteX60" fmla="*/ 102631 w 129969"/>
              <a:gd name="connsiteY60" fmla="*/ 47506 h 161341"/>
              <a:gd name="connsiteX61" fmla="*/ 104872 w 129969"/>
              <a:gd name="connsiteY61" fmla="*/ 45265 h 161341"/>
              <a:gd name="connsiteX62" fmla="*/ 104872 w 129969"/>
              <a:gd name="connsiteY62" fmla="*/ 33164 h 161341"/>
              <a:gd name="connsiteX63" fmla="*/ 119661 w 129969"/>
              <a:gd name="connsiteY63" fmla="*/ 33164 h 161341"/>
              <a:gd name="connsiteX64" fmla="*/ 129073 w 129969"/>
              <a:gd name="connsiteY64" fmla="*/ 42576 h 161341"/>
              <a:gd name="connsiteX65" fmla="*/ 129073 w 129969"/>
              <a:gd name="connsiteY65" fmla="*/ 47954 h 16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9969" h="161341">
                <a:moveTo>
                  <a:pt x="119661" y="28683"/>
                </a:moveTo>
                <a:lnTo>
                  <a:pt x="104872" y="28683"/>
                </a:lnTo>
                <a:lnTo>
                  <a:pt x="104872" y="2241"/>
                </a:lnTo>
                <a:cubicBezTo>
                  <a:pt x="104872" y="896"/>
                  <a:pt x="103976" y="0"/>
                  <a:pt x="102631" y="0"/>
                </a:cubicBezTo>
                <a:cubicBezTo>
                  <a:pt x="101287" y="0"/>
                  <a:pt x="100390" y="896"/>
                  <a:pt x="100390" y="2241"/>
                </a:cubicBezTo>
                <a:lnTo>
                  <a:pt x="100390" y="28683"/>
                </a:lnTo>
                <a:lnTo>
                  <a:pt x="61848" y="28683"/>
                </a:lnTo>
                <a:lnTo>
                  <a:pt x="61848" y="2241"/>
                </a:lnTo>
                <a:cubicBezTo>
                  <a:pt x="61848" y="896"/>
                  <a:pt x="60951" y="0"/>
                  <a:pt x="59607" y="0"/>
                </a:cubicBezTo>
                <a:cubicBezTo>
                  <a:pt x="58262" y="0"/>
                  <a:pt x="57366" y="896"/>
                  <a:pt x="57366" y="2241"/>
                </a:cubicBezTo>
                <a:lnTo>
                  <a:pt x="57366" y="28683"/>
                </a:lnTo>
                <a:lnTo>
                  <a:pt x="42576" y="28683"/>
                </a:lnTo>
                <a:cubicBezTo>
                  <a:pt x="34957" y="28683"/>
                  <a:pt x="28683" y="34957"/>
                  <a:pt x="28683" y="42576"/>
                </a:cubicBezTo>
                <a:lnTo>
                  <a:pt x="28683" y="47954"/>
                </a:lnTo>
                <a:cubicBezTo>
                  <a:pt x="28683" y="55573"/>
                  <a:pt x="34957" y="61847"/>
                  <a:pt x="42576" y="61847"/>
                </a:cubicBezTo>
                <a:lnTo>
                  <a:pt x="43025" y="61847"/>
                </a:lnTo>
                <a:lnTo>
                  <a:pt x="43025" y="81119"/>
                </a:lnTo>
                <a:cubicBezTo>
                  <a:pt x="43025" y="101286"/>
                  <a:pt x="58710" y="117869"/>
                  <a:pt x="78878" y="119213"/>
                </a:cubicBezTo>
                <a:lnTo>
                  <a:pt x="78878" y="131762"/>
                </a:lnTo>
                <a:cubicBezTo>
                  <a:pt x="78878" y="138933"/>
                  <a:pt x="76189" y="145655"/>
                  <a:pt x="71259" y="150585"/>
                </a:cubicBezTo>
                <a:cubicBezTo>
                  <a:pt x="66329" y="155515"/>
                  <a:pt x="59607" y="158204"/>
                  <a:pt x="52436" y="158204"/>
                </a:cubicBezTo>
                <a:lnTo>
                  <a:pt x="30924" y="158204"/>
                </a:lnTo>
                <a:cubicBezTo>
                  <a:pt x="16582" y="158204"/>
                  <a:pt x="4482" y="146103"/>
                  <a:pt x="4482" y="131762"/>
                </a:cubicBezTo>
                <a:lnTo>
                  <a:pt x="4482" y="117421"/>
                </a:lnTo>
                <a:cubicBezTo>
                  <a:pt x="4482" y="116076"/>
                  <a:pt x="3586" y="115180"/>
                  <a:pt x="2241" y="115180"/>
                </a:cubicBezTo>
                <a:cubicBezTo>
                  <a:pt x="896" y="115180"/>
                  <a:pt x="0" y="116076"/>
                  <a:pt x="0" y="117421"/>
                </a:cubicBezTo>
                <a:lnTo>
                  <a:pt x="0" y="131762"/>
                </a:lnTo>
                <a:cubicBezTo>
                  <a:pt x="0" y="148793"/>
                  <a:pt x="13893" y="162686"/>
                  <a:pt x="30924" y="162686"/>
                </a:cubicBezTo>
                <a:lnTo>
                  <a:pt x="52436" y="162686"/>
                </a:lnTo>
                <a:cubicBezTo>
                  <a:pt x="52436" y="162686"/>
                  <a:pt x="52436" y="162686"/>
                  <a:pt x="52436" y="162686"/>
                </a:cubicBezTo>
                <a:cubicBezTo>
                  <a:pt x="60503" y="162686"/>
                  <a:pt x="68570" y="159549"/>
                  <a:pt x="74396" y="153722"/>
                </a:cubicBezTo>
                <a:cubicBezTo>
                  <a:pt x="80223" y="147896"/>
                  <a:pt x="83360" y="140277"/>
                  <a:pt x="83360" y="131762"/>
                </a:cubicBezTo>
                <a:lnTo>
                  <a:pt x="83360" y="119213"/>
                </a:lnTo>
                <a:cubicBezTo>
                  <a:pt x="103527" y="117869"/>
                  <a:pt x="119213" y="101286"/>
                  <a:pt x="119213" y="81119"/>
                </a:cubicBezTo>
                <a:lnTo>
                  <a:pt x="119213" y="61847"/>
                </a:lnTo>
                <a:lnTo>
                  <a:pt x="119661" y="61847"/>
                </a:lnTo>
                <a:cubicBezTo>
                  <a:pt x="127280" y="61847"/>
                  <a:pt x="133555" y="55573"/>
                  <a:pt x="133555" y="47954"/>
                </a:cubicBezTo>
                <a:lnTo>
                  <a:pt x="133555" y="42576"/>
                </a:lnTo>
                <a:cubicBezTo>
                  <a:pt x="133555" y="34509"/>
                  <a:pt x="127280" y="28683"/>
                  <a:pt x="119661" y="28683"/>
                </a:cubicBezTo>
                <a:close/>
                <a:moveTo>
                  <a:pt x="114732" y="81119"/>
                </a:moveTo>
                <a:cubicBezTo>
                  <a:pt x="114732" y="99494"/>
                  <a:pt x="99494" y="114731"/>
                  <a:pt x="81119" y="114731"/>
                </a:cubicBezTo>
                <a:cubicBezTo>
                  <a:pt x="62744" y="114731"/>
                  <a:pt x="47506" y="99494"/>
                  <a:pt x="47506" y="81119"/>
                </a:cubicBezTo>
                <a:lnTo>
                  <a:pt x="47506" y="61847"/>
                </a:lnTo>
                <a:lnTo>
                  <a:pt x="114732" y="61847"/>
                </a:lnTo>
                <a:lnTo>
                  <a:pt x="114732" y="81119"/>
                </a:lnTo>
                <a:close/>
                <a:moveTo>
                  <a:pt x="129073" y="47954"/>
                </a:moveTo>
                <a:cubicBezTo>
                  <a:pt x="129073" y="52884"/>
                  <a:pt x="125040" y="57366"/>
                  <a:pt x="119661" y="57366"/>
                </a:cubicBezTo>
                <a:lnTo>
                  <a:pt x="116973" y="57366"/>
                </a:lnTo>
                <a:lnTo>
                  <a:pt x="45265" y="57366"/>
                </a:lnTo>
                <a:lnTo>
                  <a:pt x="42576" y="57366"/>
                </a:lnTo>
                <a:cubicBezTo>
                  <a:pt x="37646" y="57366"/>
                  <a:pt x="33165" y="53332"/>
                  <a:pt x="33165" y="47954"/>
                </a:cubicBezTo>
                <a:lnTo>
                  <a:pt x="33165" y="42576"/>
                </a:lnTo>
                <a:cubicBezTo>
                  <a:pt x="33165" y="37646"/>
                  <a:pt x="37198" y="33164"/>
                  <a:pt x="42576" y="33164"/>
                </a:cubicBezTo>
                <a:lnTo>
                  <a:pt x="57366" y="33164"/>
                </a:lnTo>
                <a:lnTo>
                  <a:pt x="57366" y="45265"/>
                </a:lnTo>
                <a:cubicBezTo>
                  <a:pt x="57366" y="46610"/>
                  <a:pt x="58262" y="47506"/>
                  <a:pt x="59607" y="47506"/>
                </a:cubicBezTo>
                <a:cubicBezTo>
                  <a:pt x="60951" y="47506"/>
                  <a:pt x="61848" y="46610"/>
                  <a:pt x="61848" y="45265"/>
                </a:cubicBezTo>
                <a:lnTo>
                  <a:pt x="61848" y="33164"/>
                </a:lnTo>
                <a:lnTo>
                  <a:pt x="100390" y="33164"/>
                </a:lnTo>
                <a:lnTo>
                  <a:pt x="100390" y="45265"/>
                </a:lnTo>
                <a:cubicBezTo>
                  <a:pt x="100390" y="46610"/>
                  <a:pt x="101287" y="47506"/>
                  <a:pt x="102631" y="47506"/>
                </a:cubicBezTo>
                <a:cubicBezTo>
                  <a:pt x="103976" y="47506"/>
                  <a:pt x="104872" y="46610"/>
                  <a:pt x="104872" y="45265"/>
                </a:cubicBezTo>
                <a:lnTo>
                  <a:pt x="104872" y="33164"/>
                </a:lnTo>
                <a:lnTo>
                  <a:pt x="119661" y="33164"/>
                </a:lnTo>
                <a:cubicBezTo>
                  <a:pt x="124592" y="33164"/>
                  <a:pt x="129073" y="37198"/>
                  <a:pt x="129073" y="42576"/>
                </a:cubicBezTo>
                <a:lnTo>
                  <a:pt x="129073" y="47954"/>
                </a:lnTo>
                <a:close/>
              </a:path>
            </a:pathLst>
          </a:custGeom>
          <a:solidFill>
            <a:srgbClr val="231F20"/>
          </a:solidFill>
          <a:ln w="4477" cap="flat">
            <a:noFill/>
            <a:prstDash val="solid"/>
            <a:miter/>
          </a:ln>
        </p:spPr>
        <p:txBody>
          <a:bodyPr rtlCol="0" anchor="ctr"/>
          <a:lstStyle/>
          <a:p>
            <a:endParaRPr lang="en-US"/>
          </a:p>
        </p:txBody>
      </p:sp>
      <p:sp>
        <p:nvSpPr>
          <p:cNvPr id="3704" name="Freeform: Shape 3703">
            <a:extLst>
              <a:ext uri="{FF2B5EF4-FFF2-40B4-BE49-F238E27FC236}">
                <a16:creationId xmlns:a16="http://schemas.microsoft.com/office/drawing/2014/main" id="{10646880-FD22-443F-856A-7F44477EEA20}"/>
              </a:ext>
              <a:ext uri="{C183D7F6-B498-43B3-948B-1728B52AA6E4}">
                <adec:decorative xmlns:adec="http://schemas.microsoft.com/office/drawing/2017/decorative" val="1"/>
              </a:ext>
            </a:extLst>
          </p:cNvPr>
          <p:cNvSpPr>
            <a:spLocks noChangeAspect="1"/>
          </p:cNvSpPr>
          <p:nvPr/>
        </p:nvSpPr>
        <p:spPr>
          <a:xfrm>
            <a:off x="4818167" y="2409141"/>
            <a:ext cx="103079" cy="147896"/>
          </a:xfrm>
          <a:custGeom>
            <a:avLst/>
            <a:gdLst>
              <a:gd name="connsiteX0" fmla="*/ 90979 w 103079"/>
              <a:gd name="connsiteY0" fmla="*/ 28683 h 147896"/>
              <a:gd name="connsiteX1" fmla="*/ 76189 w 103079"/>
              <a:gd name="connsiteY1" fmla="*/ 28683 h 147896"/>
              <a:gd name="connsiteX2" fmla="*/ 76189 w 103079"/>
              <a:gd name="connsiteY2" fmla="*/ 2241 h 147896"/>
              <a:gd name="connsiteX3" fmla="*/ 73948 w 103079"/>
              <a:gd name="connsiteY3" fmla="*/ 0 h 147896"/>
              <a:gd name="connsiteX4" fmla="*/ 71707 w 103079"/>
              <a:gd name="connsiteY4" fmla="*/ 2241 h 147896"/>
              <a:gd name="connsiteX5" fmla="*/ 71707 w 103079"/>
              <a:gd name="connsiteY5" fmla="*/ 28683 h 147896"/>
              <a:gd name="connsiteX6" fmla="*/ 33165 w 103079"/>
              <a:gd name="connsiteY6" fmla="*/ 28683 h 147896"/>
              <a:gd name="connsiteX7" fmla="*/ 33165 w 103079"/>
              <a:gd name="connsiteY7" fmla="*/ 2241 h 147896"/>
              <a:gd name="connsiteX8" fmla="*/ 30924 w 103079"/>
              <a:gd name="connsiteY8" fmla="*/ 0 h 147896"/>
              <a:gd name="connsiteX9" fmla="*/ 28683 w 103079"/>
              <a:gd name="connsiteY9" fmla="*/ 2241 h 147896"/>
              <a:gd name="connsiteX10" fmla="*/ 28683 w 103079"/>
              <a:gd name="connsiteY10" fmla="*/ 28683 h 147896"/>
              <a:gd name="connsiteX11" fmla="*/ 13893 w 103079"/>
              <a:gd name="connsiteY11" fmla="*/ 28683 h 147896"/>
              <a:gd name="connsiteX12" fmla="*/ 0 w 103079"/>
              <a:gd name="connsiteY12" fmla="*/ 42576 h 147896"/>
              <a:gd name="connsiteX13" fmla="*/ 0 w 103079"/>
              <a:gd name="connsiteY13" fmla="*/ 47954 h 147896"/>
              <a:gd name="connsiteX14" fmla="*/ 13893 w 103079"/>
              <a:gd name="connsiteY14" fmla="*/ 61847 h 147896"/>
              <a:gd name="connsiteX15" fmla="*/ 14342 w 103079"/>
              <a:gd name="connsiteY15" fmla="*/ 61847 h 147896"/>
              <a:gd name="connsiteX16" fmla="*/ 14342 w 103079"/>
              <a:gd name="connsiteY16" fmla="*/ 81119 h 147896"/>
              <a:gd name="connsiteX17" fmla="*/ 50195 w 103079"/>
              <a:gd name="connsiteY17" fmla="*/ 119213 h 147896"/>
              <a:gd name="connsiteX18" fmla="*/ 50195 w 103079"/>
              <a:gd name="connsiteY18" fmla="*/ 145655 h 147896"/>
              <a:gd name="connsiteX19" fmla="*/ 52436 w 103079"/>
              <a:gd name="connsiteY19" fmla="*/ 147896 h 147896"/>
              <a:gd name="connsiteX20" fmla="*/ 54677 w 103079"/>
              <a:gd name="connsiteY20" fmla="*/ 145655 h 147896"/>
              <a:gd name="connsiteX21" fmla="*/ 54677 w 103079"/>
              <a:gd name="connsiteY21" fmla="*/ 119213 h 147896"/>
              <a:gd name="connsiteX22" fmla="*/ 90530 w 103079"/>
              <a:gd name="connsiteY22" fmla="*/ 81119 h 147896"/>
              <a:gd name="connsiteX23" fmla="*/ 90530 w 103079"/>
              <a:gd name="connsiteY23" fmla="*/ 61847 h 147896"/>
              <a:gd name="connsiteX24" fmla="*/ 90979 w 103079"/>
              <a:gd name="connsiteY24" fmla="*/ 61847 h 147896"/>
              <a:gd name="connsiteX25" fmla="*/ 104872 w 103079"/>
              <a:gd name="connsiteY25" fmla="*/ 47954 h 147896"/>
              <a:gd name="connsiteX26" fmla="*/ 104872 w 103079"/>
              <a:gd name="connsiteY26" fmla="*/ 42576 h 147896"/>
              <a:gd name="connsiteX27" fmla="*/ 90979 w 103079"/>
              <a:gd name="connsiteY27" fmla="*/ 28683 h 147896"/>
              <a:gd name="connsiteX28" fmla="*/ 86049 w 103079"/>
              <a:gd name="connsiteY28" fmla="*/ 81119 h 147896"/>
              <a:gd name="connsiteX29" fmla="*/ 52436 w 103079"/>
              <a:gd name="connsiteY29" fmla="*/ 114732 h 147896"/>
              <a:gd name="connsiteX30" fmla="*/ 18823 w 103079"/>
              <a:gd name="connsiteY30" fmla="*/ 81119 h 147896"/>
              <a:gd name="connsiteX31" fmla="*/ 18823 w 103079"/>
              <a:gd name="connsiteY31" fmla="*/ 61847 h 147896"/>
              <a:gd name="connsiteX32" fmla="*/ 86049 w 103079"/>
              <a:gd name="connsiteY32" fmla="*/ 61847 h 147896"/>
              <a:gd name="connsiteX33" fmla="*/ 86049 w 103079"/>
              <a:gd name="connsiteY33" fmla="*/ 81119 h 147896"/>
              <a:gd name="connsiteX34" fmla="*/ 100390 w 103079"/>
              <a:gd name="connsiteY34" fmla="*/ 47954 h 147896"/>
              <a:gd name="connsiteX35" fmla="*/ 90979 w 103079"/>
              <a:gd name="connsiteY35" fmla="*/ 57366 h 147896"/>
              <a:gd name="connsiteX36" fmla="*/ 90530 w 103079"/>
              <a:gd name="connsiteY36" fmla="*/ 57366 h 147896"/>
              <a:gd name="connsiteX37" fmla="*/ 14342 w 103079"/>
              <a:gd name="connsiteY37" fmla="*/ 57366 h 147896"/>
              <a:gd name="connsiteX38" fmla="*/ 13893 w 103079"/>
              <a:gd name="connsiteY38" fmla="*/ 57366 h 147896"/>
              <a:gd name="connsiteX39" fmla="*/ 4482 w 103079"/>
              <a:gd name="connsiteY39" fmla="*/ 47954 h 147896"/>
              <a:gd name="connsiteX40" fmla="*/ 4482 w 103079"/>
              <a:gd name="connsiteY40" fmla="*/ 42576 h 147896"/>
              <a:gd name="connsiteX41" fmla="*/ 13893 w 103079"/>
              <a:gd name="connsiteY41" fmla="*/ 33165 h 147896"/>
              <a:gd name="connsiteX42" fmla="*/ 28683 w 103079"/>
              <a:gd name="connsiteY42" fmla="*/ 33165 h 147896"/>
              <a:gd name="connsiteX43" fmla="*/ 28683 w 103079"/>
              <a:gd name="connsiteY43" fmla="*/ 45265 h 147896"/>
              <a:gd name="connsiteX44" fmla="*/ 30924 w 103079"/>
              <a:gd name="connsiteY44" fmla="*/ 47506 h 147896"/>
              <a:gd name="connsiteX45" fmla="*/ 33165 w 103079"/>
              <a:gd name="connsiteY45" fmla="*/ 45265 h 147896"/>
              <a:gd name="connsiteX46" fmla="*/ 33165 w 103079"/>
              <a:gd name="connsiteY46" fmla="*/ 33165 h 147896"/>
              <a:gd name="connsiteX47" fmla="*/ 71707 w 103079"/>
              <a:gd name="connsiteY47" fmla="*/ 33165 h 147896"/>
              <a:gd name="connsiteX48" fmla="*/ 71707 w 103079"/>
              <a:gd name="connsiteY48" fmla="*/ 45265 h 147896"/>
              <a:gd name="connsiteX49" fmla="*/ 73948 w 103079"/>
              <a:gd name="connsiteY49" fmla="*/ 47506 h 147896"/>
              <a:gd name="connsiteX50" fmla="*/ 76189 w 103079"/>
              <a:gd name="connsiteY50" fmla="*/ 45265 h 147896"/>
              <a:gd name="connsiteX51" fmla="*/ 76189 w 103079"/>
              <a:gd name="connsiteY51" fmla="*/ 33165 h 147896"/>
              <a:gd name="connsiteX52" fmla="*/ 90979 w 103079"/>
              <a:gd name="connsiteY52" fmla="*/ 33165 h 147896"/>
              <a:gd name="connsiteX53" fmla="*/ 100390 w 103079"/>
              <a:gd name="connsiteY53" fmla="*/ 42576 h 147896"/>
              <a:gd name="connsiteX54" fmla="*/ 100390 w 103079"/>
              <a:gd name="connsiteY54" fmla="*/ 4795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3079" h="147896">
                <a:moveTo>
                  <a:pt x="90979" y="28683"/>
                </a:moveTo>
                <a:lnTo>
                  <a:pt x="76189" y="28683"/>
                </a:lnTo>
                <a:lnTo>
                  <a:pt x="76189" y="2241"/>
                </a:lnTo>
                <a:cubicBezTo>
                  <a:pt x="76189" y="896"/>
                  <a:pt x="75293" y="0"/>
                  <a:pt x="73948" y="0"/>
                </a:cubicBezTo>
                <a:cubicBezTo>
                  <a:pt x="72604" y="0"/>
                  <a:pt x="71707" y="896"/>
                  <a:pt x="71707" y="2241"/>
                </a:cubicBezTo>
                <a:lnTo>
                  <a:pt x="71707" y="28683"/>
                </a:lnTo>
                <a:lnTo>
                  <a:pt x="33165" y="28683"/>
                </a:lnTo>
                <a:lnTo>
                  <a:pt x="33165" y="2241"/>
                </a:lnTo>
                <a:cubicBezTo>
                  <a:pt x="33165" y="896"/>
                  <a:pt x="32268" y="0"/>
                  <a:pt x="30924" y="0"/>
                </a:cubicBezTo>
                <a:cubicBezTo>
                  <a:pt x="29579" y="0"/>
                  <a:pt x="28683" y="896"/>
                  <a:pt x="28683" y="2241"/>
                </a:cubicBezTo>
                <a:lnTo>
                  <a:pt x="28683" y="28683"/>
                </a:lnTo>
                <a:lnTo>
                  <a:pt x="13893" y="28683"/>
                </a:lnTo>
                <a:cubicBezTo>
                  <a:pt x="6274" y="28683"/>
                  <a:pt x="0" y="34957"/>
                  <a:pt x="0" y="42576"/>
                </a:cubicBezTo>
                <a:lnTo>
                  <a:pt x="0" y="47954"/>
                </a:lnTo>
                <a:cubicBezTo>
                  <a:pt x="0" y="55573"/>
                  <a:pt x="6274" y="61847"/>
                  <a:pt x="13893" y="61847"/>
                </a:cubicBezTo>
                <a:lnTo>
                  <a:pt x="14342" y="61847"/>
                </a:lnTo>
                <a:lnTo>
                  <a:pt x="14342" y="81119"/>
                </a:lnTo>
                <a:cubicBezTo>
                  <a:pt x="14342" y="101287"/>
                  <a:pt x="30027" y="117869"/>
                  <a:pt x="50195" y="119213"/>
                </a:cubicBezTo>
                <a:lnTo>
                  <a:pt x="50195" y="145655"/>
                </a:lnTo>
                <a:cubicBezTo>
                  <a:pt x="50195" y="147000"/>
                  <a:pt x="51092" y="147896"/>
                  <a:pt x="52436" y="147896"/>
                </a:cubicBezTo>
                <a:cubicBezTo>
                  <a:pt x="53780" y="147896"/>
                  <a:pt x="54677" y="147000"/>
                  <a:pt x="54677" y="145655"/>
                </a:cubicBezTo>
                <a:lnTo>
                  <a:pt x="54677" y="119213"/>
                </a:lnTo>
                <a:cubicBezTo>
                  <a:pt x="74844" y="117869"/>
                  <a:pt x="90530" y="101287"/>
                  <a:pt x="90530" y="81119"/>
                </a:cubicBezTo>
                <a:lnTo>
                  <a:pt x="90530" y="61847"/>
                </a:lnTo>
                <a:lnTo>
                  <a:pt x="90979" y="61847"/>
                </a:lnTo>
                <a:cubicBezTo>
                  <a:pt x="98597" y="61847"/>
                  <a:pt x="104872" y="55573"/>
                  <a:pt x="104872" y="47954"/>
                </a:cubicBezTo>
                <a:lnTo>
                  <a:pt x="104872" y="42576"/>
                </a:lnTo>
                <a:cubicBezTo>
                  <a:pt x="104872" y="34957"/>
                  <a:pt x="98597" y="28683"/>
                  <a:pt x="90979" y="28683"/>
                </a:cubicBezTo>
                <a:close/>
                <a:moveTo>
                  <a:pt x="86049" y="81119"/>
                </a:moveTo>
                <a:cubicBezTo>
                  <a:pt x="86049" y="99494"/>
                  <a:pt x="70811" y="114732"/>
                  <a:pt x="52436" y="114732"/>
                </a:cubicBezTo>
                <a:cubicBezTo>
                  <a:pt x="34061" y="114732"/>
                  <a:pt x="18823" y="99494"/>
                  <a:pt x="18823" y="81119"/>
                </a:cubicBezTo>
                <a:lnTo>
                  <a:pt x="18823" y="61847"/>
                </a:lnTo>
                <a:lnTo>
                  <a:pt x="86049" y="61847"/>
                </a:lnTo>
                <a:lnTo>
                  <a:pt x="86049" y="81119"/>
                </a:lnTo>
                <a:close/>
                <a:moveTo>
                  <a:pt x="100390" y="47954"/>
                </a:moveTo>
                <a:cubicBezTo>
                  <a:pt x="100390" y="52884"/>
                  <a:pt x="96357" y="57366"/>
                  <a:pt x="90979" y="57366"/>
                </a:cubicBezTo>
                <a:lnTo>
                  <a:pt x="90530" y="57366"/>
                </a:lnTo>
                <a:lnTo>
                  <a:pt x="14342" y="57366"/>
                </a:lnTo>
                <a:lnTo>
                  <a:pt x="13893" y="57366"/>
                </a:lnTo>
                <a:cubicBezTo>
                  <a:pt x="8963" y="57366"/>
                  <a:pt x="4482" y="53332"/>
                  <a:pt x="4482" y="47954"/>
                </a:cubicBezTo>
                <a:lnTo>
                  <a:pt x="4482" y="42576"/>
                </a:lnTo>
                <a:cubicBezTo>
                  <a:pt x="4482" y="37646"/>
                  <a:pt x="8515" y="33165"/>
                  <a:pt x="13893" y="33165"/>
                </a:cubicBezTo>
                <a:lnTo>
                  <a:pt x="28683" y="33165"/>
                </a:lnTo>
                <a:lnTo>
                  <a:pt x="28683" y="45265"/>
                </a:lnTo>
                <a:cubicBezTo>
                  <a:pt x="28683" y="46610"/>
                  <a:pt x="29579" y="47506"/>
                  <a:pt x="30924" y="47506"/>
                </a:cubicBezTo>
                <a:cubicBezTo>
                  <a:pt x="32268" y="47506"/>
                  <a:pt x="33165" y="46610"/>
                  <a:pt x="33165" y="45265"/>
                </a:cubicBezTo>
                <a:lnTo>
                  <a:pt x="33165" y="33165"/>
                </a:lnTo>
                <a:lnTo>
                  <a:pt x="71707" y="33165"/>
                </a:lnTo>
                <a:lnTo>
                  <a:pt x="71707" y="45265"/>
                </a:lnTo>
                <a:cubicBezTo>
                  <a:pt x="71707" y="46610"/>
                  <a:pt x="72604" y="47506"/>
                  <a:pt x="73948" y="47506"/>
                </a:cubicBezTo>
                <a:cubicBezTo>
                  <a:pt x="75293" y="47506"/>
                  <a:pt x="76189" y="46610"/>
                  <a:pt x="76189" y="45265"/>
                </a:cubicBezTo>
                <a:lnTo>
                  <a:pt x="76189" y="33165"/>
                </a:lnTo>
                <a:lnTo>
                  <a:pt x="90979" y="33165"/>
                </a:lnTo>
                <a:cubicBezTo>
                  <a:pt x="95909" y="33165"/>
                  <a:pt x="100390" y="37198"/>
                  <a:pt x="100390" y="42576"/>
                </a:cubicBezTo>
                <a:lnTo>
                  <a:pt x="100390" y="47954"/>
                </a:lnTo>
                <a:close/>
              </a:path>
            </a:pathLst>
          </a:custGeom>
          <a:solidFill>
            <a:srgbClr val="231F20"/>
          </a:solidFill>
          <a:ln w="4477" cap="flat">
            <a:noFill/>
            <a:prstDash val="solid"/>
            <a:miter/>
          </a:ln>
        </p:spPr>
        <p:txBody>
          <a:bodyPr rtlCol="0" anchor="ctr"/>
          <a:lstStyle/>
          <a:p>
            <a:endParaRPr lang="en-US"/>
          </a:p>
        </p:txBody>
      </p:sp>
      <p:grpSp>
        <p:nvGrpSpPr>
          <p:cNvPr id="3705" name="Group 3704">
            <a:extLst>
              <a:ext uri="{FF2B5EF4-FFF2-40B4-BE49-F238E27FC236}">
                <a16:creationId xmlns:a16="http://schemas.microsoft.com/office/drawing/2014/main" id="{FA6A4273-37DD-47FA-A81D-6E094F98CCA3}"/>
              </a:ext>
              <a:ext uri="{C183D7F6-B498-43B3-948B-1728B52AA6E4}">
                <adec:decorative xmlns:adec="http://schemas.microsoft.com/office/drawing/2017/decorative" val="1"/>
              </a:ext>
            </a:extLst>
          </p:cNvPr>
          <p:cNvGrpSpPr>
            <a:grpSpLocks noChangeAspect="1"/>
          </p:cNvGrpSpPr>
          <p:nvPr/>
        </p:nvGrpSpPr>
        <p:grpSpPr>
          <a:xfrm>
            <a:off x="5066453" y="2412278"/>
            <a:ext cx="129969" cy="129969"/>
            <a:chOff x="10968079" y="5258814"/>
            <a:chExt cx="129969" cy="129969"/>
          </a:xfrm>
        </p:grpSpPr>
        <p:sp>
          <p:nvSpPr>
            <p:cNvPr id="3706" name="Freeform: Shape 3705">
              <a:extLst>
                <a:ext uri="{FF2B5EF4-FFF2-40B4-BE49-F238E27FC236}">
                  <a16:creationId xmlns:a16="http://schemas.microsoft.com/office/drawing/2014/main" id="{8B1F24C5-7B30-4918-A464-B93193B8D0C2}"/>
                </a:ext>
              </a:extLst>
            </p:cNvPr>
            <p:cNvSpPr/>
            <p:nvPr/>
          </p:nvSpPr>
          <p:spPr>
            <a:xfrm>
              <a:off x="10968079" y="5258814"/>
              <a:ext cx="129969" cy="129969"/>
            </a:xfrm>
            <a:custGeom>
              <a:avLst/>
              <a:gdLst>
                <a:gd name="connsiteX0" fmla="*/ 61847 w 129969"/>
                <a:gd name="connsiteY0" fmla="*/ 133555 h 129969"/>
                <a:gd name="connsiteX1" fmla="*/ 59159 w 129969"/>
                <a:gd name="connsiteY1" fmla="*/ 133107 h 129969"/>
                <a:gd name="connsiteX2" fmla="*/ 0 w 129969"/>
                <a:gd name="connsiteY2" fmla="*/ 66777 h 129969"/>
                <a:gd name="connsiteX3" fmla="*/ 59159 w 129969"/>
                <a:gd name="connsiteY3" fmla="*/ 448 h 129969"/>
                <a:gd name="connsiteX4" fmla="*/ 61847 w 129969"/>
                <a:gd name="connsiteY4" fmla="*/ 0 h 129969"/>
                <a:gd name="connsiteX5" fmla="*/ 61847 w 129969"/>
                <a:gd name="connsiteY5" fmla="*/ 23753 h 129969"/>
                <a:gd name="connsiteX6" fmla="*/ 66777 w 129969"/>
                <a:gd name="connsiteY6" fmla="*/ 28683 h 129969"/>
                <a:gd name="connsiteX7" fmla="*/ 71707 w 129969"/>
                <a:gd name="connsiteY7" fmla="*/ 23753 h 129969"/>
                <a:gd name="connsiteX8" fmla="*/ 71707 w 129969"/>
                <a:gd name="connsiteY8" fmla="*/ 0 h 129969"/>
                <a:gd name="connsiteX9" fmla="*/ 74396 w 129969"/>
                <a:gd name="connsiteY9" fmla="*/ 448 h 129969"/>
                <a:gd name="connsiteX10" fmla="*/ 133555 w 129969"/>
                <a:gd name="connsiteY10" fmla="*/ 66777 h 129969"/>
                <a:gd name="connsiteX11" fmla="*/ 74396 w 129969"/>
                <a:gd name="connsiteY11" fmla="*/ 133107 h 129969"/>
                <a:gd name="connsiteX12" fmla="*/ 71707 w 129969"/>
                <a:gd name="connsiteY12" fmla="*/ 133555 h 129969"/>
                <a:gd name="connsiteX13" fmla="*/ 71707 w 129969"/>
                <a:gd name="connsiteY13" fmla="*/ 109802 h 129969"/>
                <a:gd name="connsiteX14" fmla="*/ 66777 w 129969"/>
                <a:gd name="connsiteY14" fmla="*/ 104872 h 129969"/>
                <a:gd name="connsiteX15" fmla="*/ 61847 w 129969"/>
                <a:gd name="connsiteY15" fmla="*/ 109802 h 129969"/>
                <a:gd name="connsiteX16" fmla="*/ 61847 w 129969"/>
                <a:gd name="connsiteY16" fmla="*/ 133555 h 129969"/>
                <a:gd name="connsiteX17" fmla="*/ 66777 w 129969"/>
                <a:gd name="connsiteY17" fmla="*/ 100838 h 129969"/>
                <a:gd name="connsiteX18" fmla="*/ 76189 w 129969"/>
                <a:gd name="connsiteY18" fmla="*/ 110250 h 129969"/>
                <a:gd name="connsiteX19" fmla="*/ 76189 w 129969"/>
                <a:gd name="connsiteY19" fmla="*/ 128625 h 129969"/>
                <a:gd name="connsiteX20" fmla="*/ 129073 w 129969"/>
                <a:gd name="connsiteY20" fmla="*/ 67226 h 129969"/>
                <a:gd name="connsiteX21" fmla="*/ 76189 w 129969"/>
                <a:gd name="connsiteY21" fmla="*/ 5826 h 129969"/>
                <a:gd name="connsiteX22" fmla="*/ 76189 w 129969"/>
                <a:gd name="connsiteY22" fmla="*/ 24201 h 129969"/>
                <a:gd name="connsiteX23" fmla="*/ 66777 w 129969"/>
                <a:gd name="connsiteY23" fmla="*/ 33613 h 129969"/>
                <a:gd name="connsiteX24" fmla="*/ 57366 w 129969"/>
                <a:gd name="connsiteY24" fmla="*/ 24201 h 129969"/>
                <a:gd name="connsiteX25" fmla="*/ 57366 w 129969"/>
                <a:gd name="connsiteY25" fmla="*/ 5826 h 129969"/>
                <a:gd name="connsiteX26" fmla="*/ 4482 w 129969"/>
                <a:gd name="connsiteY26" fmla="*/ 67226 h 129969"/>
                <a:gd name="connsiteX27" fmla="*/ 57366 w 129969"/>
                <a:gd name="connsiteY27" fmla="*/ 128625 h 129969"/>
                <a:gd name="connsiteX28" fmla="*/ 57366 w 129969"/>
                <a:gd name="connsiteY28" fmla="*/ 110250 h 129969"/>
                <a:gd name="connsiteX29" fmla="*/ 66777 w 129969"/>
                <a:gd name="connsiteY29" fmla="*/ 100838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9969" h="129969">
                  <a:moveTo>
                    <a:pt x="61847" y="133555"/>
                  </a:moveTo>
                  <a:lnTo>
                    <a:pt x="59159" y="133107"/>
                  </a:lnTo>
                  <a:cubicBezTo>
                    <a:pt x="25097" y="129521"/>
                    <a:pt x="0" y="100838"/>
                    <a:pt x="0" y="66777"/>
                  </a:cubicBezTo>
                  <a:cubicBezTo>
                    <a:pt x="0" y="32716"/>
                    <a:pt x="25546" y="4034"/>
                    <a:pt x="59159" y="448"/>
                  </a:cubicBezTo>
                  <a:lnTo>
                    <a:pt x="61847" y="0"/>
                  </a:lnTo>
                  <a:lnTo>
                    <a:pt x="61847" y="23753"/>
                  </a:lnTo>
                  <a:cubicBezTo>
                    <a:pt x="61847" y="26442"/>
                    <a:pt x="64088" y="28683"/>
                    <a:pt x="66777" y="28683"/>
                  </a:cubicBezTo>
                  <a:cubicBezTo>
                    <a:pt x="69466" y="28683"/>
                    <a:pt x="71707" y="26442"/>
                    <a:pt x="71707" y="23753"/>
                  </a:cubicBezTo>
                  <a:lnTo>
                    <a:pt x="71707" y="0"/>
                  </a:lnTo>
                  <a:lnTo>
                    <a:pt x="74396" y="448"/>
                  </a:lnTo>
                  <a:cubicBezTo>
                    <a:pt x="108457" y="4034"/>
                    <a:pt x="133555" y="32716"/>
                    <a:pt x="133555" y="66777"/>
                  </a:cubicBezTo>
                  <a:cubicBezTo>
                    <a:pt x="133555" y="100838"/>
                    <a:pt x="108009" y="129521"/>
                    <a:pt x="74396" y="133107"/>
                  </a:cubicBezTo>
                  <a:lnTo>
                    <a:pt x="71707" y="133555"/>
                  </a:lnTo>
                  <a:lnTo>
                    <a:pt x="71707" y="109802"/>
                  </a:lnTo>
                  <a:cubicBezTo>
                    <a:pt x="71707" y="107113"/>
                    <a:pt x="69466" y="104872"/>
                    <a:pt x="66777" y="104872"/>
                  </a:cubicBezTo>
                  <a:cubicBezTo>
                    <a:pt x="64088" y="104872"/>
                    <a:pt x="61847" y="107113"/>
                    <a:pt x="61847" y="109802"/>
                  </a:cubicBezTo>
                  <a:lnTo>
                    <a:pt x="61847" y="133555"/>
                  </a:lnTo>
                  <a:close/>
                  <a:moveTo>
                    <a:pt x="66777" y="100838"/>
                  </a:moveTo>
                  <a:cubicBezTo>
                    <a:pt x="72155" y="100838"/>
                    <a:pt x="76189" y="104872"/>
                    <a:pt x="76189" y="110250"/>
                  </a:cubicBezTo>
                  <a:lnTo>
                    <a:pt x="76189" y="128625"/>
                  </a:lnTo>
                  <a:cubicBezTo>
                    <a:pt x="106665" y="124143"/>
                    <a:pt x="129073" y="98149"/>
                    <a:pt x="129073" y="67226"/>
                  </a:cubicBezTo>
                  <a:cubicBezTo>
                    <a:pt x="129073" y="36302"/>
                    <a:pt x="106665" y="10308"/>
                    <a:pt x="76189" y="5826"/>
                  </a:cubicBezTo>
                  <a:lnTo>
                    <a:pt x="76189" y="24201"/>
                  </a:lnTo>
                  <a:cubicBezTo>
                    <a:pt x="76189" y="29579"/>
                    <a:pt x="72155" y="33613"/>
                    <a:pt x="66777" y="33613"/>
                  </a:cubicBezTo>
                  <a:cubicBezTo>
                    <a:pt x="61399" y="33613"/>
                    <a:pt x="57366" y="29579"/>
                    <a:pt x="57366" y="24201"/>
                  </a:cubicBezTo>
                  <a:lnTo>
                    <a:pt x="57366" y="5826"/>
                  </a:lnTo>
                  <a:cubicBezTo>
                    <a:pt x="26890" y="10308"/>
                    <a:pt x="4482" y="36302"/>
                    <a:pt x="4482" y="67226"/>
                  </a:cubicBezTo>
                  <a:cubicBezTo>
                    <a:pt x="4482" y="98149"/>
                    <a:pt x="26890" y="124143"/>
                    <a:pt x="57366" y="128625"/>
                  </a:cubicBezTo>
                  <a:lnTo>
                    <a:pt x="57366" y="110250"/>
                  </a:lnTo>
                  <a:cubicBezTo>
                    <a:pt x="57366" y="104872"/>
                    <a:pt x="61847" y="100838"/>
                    <a:pt x="66777" y="100838"/>
                  </a:cubicBezTo>
                  <a:close/>
                </a:path>
              </a:pathLst>
            </a:custGeom>
            <a:solidFill>
              <a:srgbClr val="231F20"/>
            </a:solidFill>
            <a:ln w="4477" cap="flat">
              <a:noFill/>
              <a:prstDash val="solid"/>
              <a:miter/>
            </a:ln>
          </p:spPr>
          <p:txBody>
            <a:bodyPr rtlCol="0" anchor="ctr"/>
            <a:lstStyle/>
            <a:p>
              <a:endParaRPr lang="en-US"/>
            </a:p>
          </p:txBody>
        </p:sp>
        <p:sp>
          <p:nvSpPr>
            <p:cNvPr id="3707" name="Freeform: Shape 3706">
              <a:extLst>
                <a:ext uri="{FF2B5EF4-FFF2-40B4-BE49-F238E27FC236}">
                  <a16:creationId xmlns:a16="http://schemas.microsoft.com/office/drawing/2014/main" id="{55D6E6CA-37AB-4979-8C82-53DCA7D63C41}"/>
                </a:ext>
              </a:extLst>
            </p:cNvPr>
            <p:cNvSpPr/>
            <p:nvPr/>
          </p:nvSpPr>
          <p:spPr>
            <a:xfrm>
              <a:off x="10989592" y="5309457"/>
              <a:ext cx="31372" cy="31372"/>
            </a:xfrm>
            <a:custGeom>
              <a:avLst/>
              <a:gdLst>
                <a:gd name="connsiteX0" fmla="*/ 16582 w 31371"/>
                <a:gd name="connsiteY0" fmla="*/ 33165 h 31371"/>
                <a:gd name="connsiteX1" fmla="*/ 0 w 31371"/>
                <a:gd name="connsiteY1" fmla="*/ 16582 h 31371"/>
                <a:gd name="connsiteX2" fmla="*/ 16582 w 31371"/>
                <a:gd name="connsiteY2" fmla="*/ 0 h 31371"/>
                <a:gd name="connsiteX3" fmla="*/ 33165 w 31371"/>
                <a:gd name="connsiteY3" fmla="*/ 16582 h 31371"/>
                <a:gd name="connsiteX4" fmla="*/ 16582 w 31371"/>
                <a:gd name="connsiteY4" fmla="*/ 33165 h 31371"/>
                <a:gd name="connsiteX5" fmla="*/ 16582 w 31371"/>
                <a:gd name="connsiteY5" fmla="*/ 4482 h 31371"/>
                <a:gd name="connsiteX6" fmla="*/ 4482 w 31371"/>
                <a:gd name="connsiteY6" fmla="*/ 16582 h 31371"/>
                <a:gd name="connsiteX7" fmla="*/ 16582 w 31371"/>
                <a:gd name="connsiteY7" fmla="*/ 28683 h 31371"/>
                <a:gd name="connsiteX8" fmla="*/ 28683 w 31371"/>
                <a:gd name="connsiteY8" fmla="*/ 16582 h 31371"/>
                <a:gd name="connsiteX9" fmla="*/ 16582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6582" y="33165"/>
                  </a:moveTo>
                  <a:cubicBezTo>
                    <a:pt x="7619" y="33165"/>
                    <a:pt x="0" y="25546"/>
                    <a:pt x="0" y="16582"/>
                  </a:cubicBezTo>
                  <a:cubicBezTo>
                    <a:pt x="0" y="7619"/>
                    <a:pt x="7619" y="0"/>
                    <a:pt x="16582" y="0"/>
                  </a:cubicBezTo>
                  <a:cubicBezTo>
                    <a:pt x="25546" y="0"/>
                    <a:pt x="33165" y="7619"/>
                    <a:pt x="33165" y="16582"/>
                  </a:cubicBezTo>
                  <a:cubicBezTo>
                    <a:pt x="33165" y="25546"/>
                    <a:pt x="25546" y="33165"/>
                    <a:pt x="16582" y="33165"/>
                  </a:cubicBezTo>
                  <a:close/>
                  <a:moveTo>
                    <a:pt x="16582" y="4482"/>
                  </a:moveTo>
                  <a:cubicBezTo>
                    <a:pt x="9860" y="4482"/>
                    <a:pt x="4482" y="9860"/>
                    <a:pt x="4482" y="16582"/>
                  </a:cubicBezTo>
                  <a:cubicBezTo>
                    <a:pt x="4482" y="23305"/>
                    <a:pt x="9860" y="28683"/>
                    <a:pt x="16582" y="28683"/>
                  </a:cubicBezTo>
                  <a:cubicBezTo>
                    <a:pt x="23305" y="28683"/>
                    <a:pt x="28683" y="23305"/>
                    <a:pt x="28683" y="16582"/>
                  </a:cubicBezTo>
                  <a:cubicBezTo>
                    <a:pt x="28683" y="9860"/>
                    <a:pt x="23305" y="4482"/>
                    <a:pt x="16582" y="4482"/>
                  </a:cubicBezTo>
                  <a:close/>
                </a:path>
              </a:pathLst>
            </a:custGeom>
            <a:solidFill>
              <a:srgbClr val="231F20"/>
            </a:solidFill>
            <a:ln w="4477" cap="flat">
              <a:noFill/>
              <a:prstDash val="solid"/>
              <a:miter/>
            </a:ln>
          </p:spPr>
          <p:txBody>
            <a:bodyPr rtlCol="0" anchor="ctr"/>
            <a:lstStyle/>
            <a:p>
              <a:endParaRPr lang="en-US"/>
            </a:p>
          </p:txBody>
        </p:sp>
        <p:sp>
          <p:nvSpPr>
            <p:cNvPr id="3708" name="Freeform: Shape 3707">
              <a:extLst>
                <a:ext uri="{FF2B5EF4-FFF2-40B4-BE49-F238E27FC236}">
                  <a16:creationId xmlns:a16="http://schemas.microsoft.com/office/drawing/2014/main" id="{FC47B4CE-5E2C-4BFD-9EFF-0DB4CD221049}"/>
                </a:ext>
              </a:extLst>
            </p:cNvPr>
            <p:cNvSpPr/>
            <p:nvPr/>
          </p:nvSpPr>
          <p:spPr>
            <a:xfrm>
              <a:off x="11050095" y="5309457"/>
              <a:ext cx="31372" cy="31372"/>
            </a:xfrm>
            <a:custGeom>
              <a:avLst/>
              <a:gdLst>
                <a:gd name="connsiteX0" fmla="*/ 16582 w 31371"/>
                <a:gd name="connsiteY0" fmla="*/ 33165 h 31371"/>
                <a:gd name="connsiteX1" fmla="*/ 0 w 31371"/>
                <a:gd name="connsiteY1" fmla="*/ 16582 h 31371"/>
                <a:gd name="connsiteX2" fmla="*/ 16582 w 31371"/>
                <a:gd name="connsiteY2" fmla="*/ 0 h 31371"/>
                <a:gd name="connsiteX3" fmla="*/ 33164 w 31371"/>
                <a:gd name="connsiteY3" fmla="*/ 16582 h 31371"/>
                <a:gd name="connsiteX4" fmla="*/ 16582 w 31371"/>
                <a:gd name="connsiteY4" fmla="*/ 33165 h 31371"/>
                <a:gd name="connsiteX5" fmla="*/ 16582 w 31371"/>
                <a:gd name="connsiteY5" fmla="*/ 4482 h 31371"/>
                <a:gd name="connsiteX6" fmla="*/ 4482 w 31371"/>
                <a:gd name="connsiteY6" fmla="*/ 16582 h 31371"/>
                <a:gd name="connsiteX7" fmla="*/ 16582 w 31371"/>
                <a:gd name="connsiteY7" fmla="*/ 28683 h 31371"/>
                <a:gd name="connsiteX8" fmla="*/ 28683 w 31371"/>
                <a:gd name="connsiteY8" fmla="*/ 16582 h 31371"/>
                <a:gd name="connsiteX9" fmla="*/ 16582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6582" y="33165"/>
                  </a:moveTo>
                  <a:cubicBezTo>
                    <a:pt x="7619" y="33165"/>
                    <a:pt x="0" y="25546"/>
                    <a:pt x="0" y="16582"/>
                  </a:cubicBezTo>
                  <a:cubicBezTo>
                    <a:pt x="0" y="7619"/>
                    <a:pt x="7619" y="0"/>
                    <a:pt x="16582" y="0"/>
                  </a:cubicBezTo>
                  <a:cubicBezTo>
                    <a:pt x="25546" y="0"/>
                    <a:pt x="33164" y="7619"/>
                    <a:pt x="33164" y="16582"/>
                  </a:cubicBezTo>
                  <a:cubicBezTo>
                    <a:pt x="33164" y="25546"/>
                    <a:pt x="25546" y="33165"/>
                    <a:pt x="16582" y="33165"/>
                  </a:cubicBezTo>
                  <a:close/>
                  <a:moveTo>
                    <a:pt x="16582" y="4482"/>
                  </a:moveTo>
                  <a:cubicBezTo>
                    <a:pt x="9860" y="4482"/>
                    <a:pt x="4482" y="9860"/>
                    <a:pt x="4482" y="16582"/>
                  </a:cubicBezTo>
                  <a:cubicBezTo>
                    <a:pt x="4482" y="23305"/>
                    <a:pt x="9860" y="28683"/>
                    <a:pt x="16582" y="28683"/>
                  </a:cubicBezTo>
                  <a:cubicBezTo>
                    <a:pt x="23305" y="28683"/>
                    <a:pt x="28683" y="23305"/>
                    <a:pt x="28683" y="16582"/>
                  </a:cubicBezTo>
                  <a:cubicBezTo>
                    <a:pt x="28683" y="9860"/>
                    <a:pt x="22857" y="4482"/>
                    <a:pt x="16582" y="4482"/>
                  </a:cubicBezTo>
                  <a:close/>
                </a:path>
              </a:pathLst>
            </a:custGeom>
            <a:solidFill>
              <a:srgbClr val="231F20"/>
            </a:solidFill>
            <a:ln w="4477" cap="flat">
              <a:noFill/>
              <a:prstDash val="solid"/>
              <a:miter/>
            </a:ln>
          </p:spPr>
          <p:txBody>
            <a:bodyPr rtlCol="0" anchor="ctr"/>
            <a:lstStyle/>
            <a:p>
              <a:endParaRPr lang="en-US"/>
            </a:p>
          </p:txBody>
        </p:sp>
      </p:grpSp>
      <p:grpSp>
        <p:nvGrpSpPr>
          <p:cNvPr id="3709" name="Group 3708">
            <a:extLst>
              <a:ext uri="{FF2B5EF4-FFF2-40B4-BE49-F238E27FC236}">
                <a16:creationId xmlns:a16="http://schemas.microsoft.com/office/drawing/2014/main" id="{F5CD782E-66FD-4657-AF64-8BB3C28C71DD}"/>
              </a:ext>
              <a:ext uri="{C183D7F6-B498-43B3-948B-1728B52AA6E4}">
                <adec:decorative xmlns:adec="http://schemas.microsoft.com/office/drawing/2017/decorative" val="1"/>
              </a:ext>
            </a:extLst>
          </p:cNvPr>
          <p:cNvGrpSpPr>
            <a:grpSpLocks noChangeAspect="1"/>
          </p:cNvGrpSpPr>
          <p:nvPr/>
        </p:nvGrpSpPr>
        <p:grpSpPr>
          <a:xfrm>
            <a:off x="5571990" y="2406452"/>
            <a:ext cx="152377" cy="150137"/>
            <a:chOff x="11473616" y="5252988"/>
            <a:chExt cx="152377" cy="150137"/>
          </a:xfrm>
        </p:grpSpPr>
        <p:sp>
          <p:nvSpPr>
            <p:cNvPr id="3710" name="Freeform: Shape 3709">
              <a:extLst>
                <a:ext uri="{FF2B5EF4-FFF2-40B4-BE49-F238E27FC236}">
                  <a16:creationId xmlns:a16="http://schemas.microsoft.com/office/drawing/2014/main" id="{35FB7388-3115-4E99-A734-3FB57C2FD464}"/>
                </a:ext>
              </a:extLst>
            </p:cNvPr>
            <p:cNvSpPr/>
            <p:nvPr/>
          </p:nvSpPr>
          <p:spPr>
            <a:xfrm>
              <a:off x="11473616" y="5268674"/>
              <a:ext cx="134451" cy="134451"/>
            </a:xfrm>
            <a:custGeom>
              <a:avLst/>
              <a:gdLst>
                <a:gd name="connsiteX0" fmla="*/ 138036 w 134451"/>
                <a:gd name="connsiteY0" fmla="*/ 27787 h 134451"/>
                <a:gd name="connsiteX1" fmla="*/ 110250 w 134451"/>
                <a:gd name="connsiteY1" fmla="*/ 0 h 134451"/>
                <a:gd name="connsiteX2" fmla="*/ 82911 w 134451"/>
                <a:gd name="connsiteY2" fmla="*/ 23753 h 134451"/>
                <a:gd name="connsiteX3" fmla="*/ 6723 w 134451"/>
                <a:gd name="connsiteY3" fmla="*/ 23753 h 134451"/>
                <a:gd name="connsiteX4" fmla="*/ 0 w 134451"/>
                <a:gd name="connsiteY4" fmla="*/ 30476 h 134451"/>
                <a:gd name="connsiteX5" fmla="*/ 0 w 134451"/>
                <a:gd name="connsiteY5" fmla="*/ 75293 h 134451"/>
                <a:gd name="connsiteX6" fmla="*/ 6723 w 134451"/>
                <a:gd name="connsiteY6" fmla="*/ 82015 h 134451"/>
                <a:gd name="connsiteX7" fmla="*/ 53780 w 134451"/>
                <a:gd name="connsiteY7" fmla="*/ 82015 h 134451"/>
                <a:gd name="connsiteX8" fmla="*/ 53780 w 134451"/>
                <a:gd name="connsiteY8" fmla="*/ 131314 h 134451"/>
                <a:gd name="connsiteX9" fmla="*/ 29131 w 134451"/>
                <a:gd name="connsiteY9" fmla="*/ 131314 h 134451"/>
                <a:gd name="connsiteX10" fmla="*/ 26890 w 134451"/>
                <a:gd name="connsiteY10" fmla="*/ 133555 h 134451"/>
                <a:gd name="connsiteX11" fmla="*/ 29131 w 134451"/>
                <a:gd name="connsiteY11" fmla="*/ 135796 h 134451"/>
                <a:gd name="connsiteX12" fmla="*/ 82911 w 134451"/>
                <a:gd name="connsiteY12" fmla="*/ 135796 h 134451"/>
                <a:gd name="connsiteX13" fmla="*/ 85152 w 134451"/>
                <a:gd name="connsiteY13" fmla="*/ 133555 h 134451"/>
                <a:gd name="connsiteX14" fmla="*/ 82911 w 134451"/>
                <a:gd name="connsiteY14" fmla="*/ 131314 h 134451"/>
                <a:gd name="connsiteX15" fmla="*/ 58262 w 134451"/>
                <a:gd name="connsiteY15" fmla="*/ 131314 h 134451"/>
                <a:gd name="connsiteX16" fmla="*/ 58262 w 134451"/>
                <a:gd name="connsiteY16" fmla="*/ 82015 h 134451"/>
                <a:gd name="connsiteX17" fmla="*/ 105320 w 134451"/>
                <a:gd name="connsiteY17" fmla="*/ 82015 h 134451"/>
                <a:gd name="connsiteX18" fmla="*/ 112043 w 134451"/>
                <a:gd name="connsiteY18" fmla="*/ 75293 h 134451"/>
                <a:gd name="connsiteX19" fmla="*/ 112043 w 134451"/>
                <a:gd name="connsiteY19" fmla="*/ 55573 h 134451"/>
                <a:gd name="connsiteX20" fmla="*/ 138036 w 134451"/>
                <a:gd name="connsiteY20" fmla="*/ 27787 h 134451"/>
                <a:gd name="connsiteX21" fmla="*/ 107561 w 134451"/>
                <a:gd name="connsiteY21" fmla="*/ 50643 h 134451"/>
                <a:gd name="connsiteX22" fmla="*/ 85152 w 134451"/>
                <a:gd name="connsiteY22" fmla="*/ 50643 h 134451"/>
                <a:gd name="connsiteX23" fmla="*/ 85152 w 134451"/>
                <a:gd name="connsiteY23" fmla="*/ 28235 h 134451"/>
                <a:gd name="connsiteX24" fmla="*/ 105320 w 134451"/>
                <a:gd name="connsiteY24" fmla="*/ 28235 h 134451"/>
                <a:gd name="connsiteX25" fmla="*/ 107561 w 134451"/>
                <a:gd name="connsiteY25" fmla="*/ 30476 h 134451"/>
                <a:gd name="connsiteX26" fmla="*/ 107561 w 134451"/>
                <a:gd name="connsiteY26" fmla="*/ 50643 h 134451"/>
                <a:gd name="connsiteX27" fmla="*/ 53780 w 134451"/>
                <a:gd name="connsiteY27" fmla="*/ 55125 h 134451"/>
                <a:gd name="connsiteX28" fmla="*/ 53780 w 134451"/>
                <a:gd name="connsiteY28" fmla="*/ 77533 h 134451"/>
                <a:gd name="connsiteX29" fmla="*/ 31372 w 134451"/>
                <a:gd name="connsiteY29" fmla="*/ 77533 h 134451"/>
                <a:gd name="connsiteX30" fmla="*/ 31372 w 134451"/>
                <a:gd name="connsiteY30" fmla="*/ 55125 h 134451"/>
                <a:gd name="connsiteX31" fmla="*/ 53780 w 134451"/>
                <a:gd name="connsiteY31" fmla="*/ 55125 h 134451"/>
                <a:gd name="connsiteX32" fmla="*/ 31372 w 134451"/>
                <a:gd name="connsiteY32" fmla="*/ 50643 h 134451"/>
                <a:gd name="connsiteX33" fmla="*/ 31372 w 134451"/>
                <a:gd name="connsiteY33" fmla="*/ 28235 h 134451"/>
                <a:gd name="connsiteX34" fmla="*/ 53780 w 134451"/>
                <a:gd name="connsiteY34" fmla="*/ 28235 h 134451"/>
                <a:gd name="connsiteX35" fmla="*/ 53780 w 134451"/>
                <a:gd name="connsiteY35" fmla="*/ 50643 h 134451"/>
                <a:gd name="connsiteX36" fmla="*/ 31372 w 134451"/>
                <a:gd name="connsiteY36" fmla="*/ 50643 h 134451"/>
                <a:gd name="connsiteX37" fmla="*/ 58262 w 134451"/>
                <a:gd name="connsiteY37" fmla="*/ 55125 h 134451"/>
                <a:gd name="connsiteX38" fmla="*/ 80671 w 134451"/>
                <a:gd name="connsiteY38" fmla="*/ 55125 h 134451"/>
                <a:gd name="connsiteX39" fmla="*/ 80671 w 134451"/>
                <a:gd name="connsiteY39" fmla="*/ 77533 h 134451"/>
                <a:gd name="connsiteX40" fmla="*/ 58262 w 134451"/>
                <a:gd name="connsiteY40" fmla="*/ 77533 h 134451"/>
                <a:gd name="connsiteX41" fmla="*/ 58262 w 134451"/>
                <a:gd name="connsiteY41" fmla="*/ 55125 h 134451"/>
                <a:gd name="connsiteX42" fmla="*/ 58262 w 134451"/>
                <a:gd name="connsiteY42" fmla="*/ 50643 h 134451"/>
                <a:gd name="connsiteX43" fmla="*/ 58262 w 134451"/>
                <a:gd name="connsiteY43" fmla="*/ 28235 h 134451"/>
                <a:gd name="connsiteX44" fmla="*/ 80671 w 134451"/>
                <a:gd name="connsiteY44" fmla="*/ 28235 h 134451"/>
                <a:gd name="connsiteX45" fmla="*/ 80671 w 134451"/>
                <a:gd name="connsiteY45" fmla="*/ 50643 h 134451"/>
                <a:gd name="connsiteX46" fmla="*/ 58262 w 134451"/>
                <a:gd name="connsiteY46" fmla="*/ 50643 h 134451"/>
                <a:gd name="connsiteX47" fmla="*/ 6723 w 134451"/>
                <a:gd name="connsiteY47" fmla="*/ 28235 h 134451"/>
                <a:gd name="connsiteX48" fmla="*/ 26890 w 134451"/>
                <a:gd name="connsiteY48" fmla="*/ 28235 h 134451"/>
                <a:gd name="connsiteX49" fmla="*/ 26890 w 134451"/>
                <a:gd name="connsiteY49" fmla="*/ 50643 h 134451"/>
                <a:gd name="connsiteX50" fmla="*/ 4482 w 134451"/>
                <a:gd name="connsiteY50" fmla="*/ 50643 h 134451"/>
                <a:gd name="connsiteX51" fmla="*/ 4482 w 134451"/>
                <a:gd name="connsiteY51" fmla="*/ 30476 h 134451"/>
                <a:gd name="connsiteX52" fmla="*/ 6723 w 134451"/>
                <a:gd name="connsiteY52" fmla="*/ 28235 h 134451"/>
                <a:gd name="connsiteX53" fmla="*/ 4482 w 134451"/>
                <a:gd name="connsiteY53" fmla="*/ 75293 h 134451"/>
                <a:gd name="connsiteX54" fmla="*/ 4482 w 134451"/>
                <a:gd name="connsiteY54" fmla="*/ 55125 h 134451"/>
                <a:gd name="connsiteX55" fmla="*/ 26890 w 134451"/>
                <a:gd name="connsiteY55" fmla="*/ 55125 h 134451"/>
                <a:gd name="connsiteX56" fmla="*/ 26890 w 134451"/>
                <a:gd name="connsiteY56" fmla="*/ 77533 h 134451"/>
                <a:gd name="connsiteX57" fmla="*/ 6723 w 134451"/>
                <a:gd name="connsiteY57" fmla="*/ 77533 h 134451"/>
                <a:gd name="connsiteX58" fmla="*/ 4482 w 134451"/>
                <a:gd name="connsiteY58" fmla="*/ 75293 h 134451"/>
                <a:gd name="connsiteX59" fmla="*/ 105320 w 134451"/>
                <a:gd name="connsiteY59" fmla="*/ 77533 h 134451"/>
                <a:gd name="connsiteX60" fmla="*/ 85152 w 134451"/>
                <a:gd name="connsiteY60" fmla="*/ 77533 h 134451"/>
                <a:gd name="connsiteX61" fmla="*/ 85152 w 134451"/>
                <a:gd name="connsiteY61" fmla="*/ 55125 h 134451"/>
                <a:gd name="connsiteX62" fmla="*/ 107561 w 134451"/>
                <a:gd name="connsiteY62" fmla="*/ 55125 h 134451"/>
                <a:gd name="connsiteX63" fmla="*/ 107561 w 134451"/>
                <a:gd name="connsiteY63" fmla="*/ 75293 h 134451"/>
                <a:gd name="connsiteX64" fmla="*/ 105320 w 134451"/>
                <a:gd name="connsiteY64" fmla="*/ 77533 h 134451"/>
                <a:gd name="connsiteX65" fmla="*/ 112043 w 134451"/>
                <a:gd name="connsiteY65" fmla="*/ 51091 h 134451"/>
                <a:gd name="connsiteX66" fmla="*/ 112043 w 134451"/>
                <a:gd name="connsiteY66" fmla="*/ 30476 h 134451"/>
                <a:gd name="connsiteX67" fmla="*/ 105320 w 134451"/>
                <a:gd name="connsiteY67" fmla="*/ 23753 h 134451"/>
                <a:gd name="connsiteX68" fmla="*/ 87393 w 134451"/>
                <a:gd name="connsiteY68" fmla="*/ 23753 h 134451"/>
                <a:gd name="connsiteX69" fmla="*/ 110250 w 134451"/>
                <a:gd name="connsiteY69" fmla="*/ 4482 h 134451"/>
                <a:gd name="connsiteX70" fmla="*/ 133554 w 134451"/>
                <a:gd name="connsiteY70" fmla="*/ 27787 h 134451"/>
                <a:gd name="connsiteX71" fmla="*/ 112043 w 134451"/>
                <a:gd name="connsiteY71" fmla="*/ 51091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4451" h="134451">
                  <a:moveTo>
                    <a:pt x="138036" y="27787"/>
                  </a:moveTo>
                  <a:cubicBezTo>
                    <a:pt x="138036" y="12549"/>
                    <a:pt x="125488" y="0"/>
                    <a:pt x="110250" y="0"/>
                  </a:cubicBezTo>
                  <a:cubicBezTo>
                    <a:pt x="96357" y="0"/>
                    <a:pt x="84704" y="10308"/>
                    <a:pt x="82911" y="23753"/>
                  </a:cubicBezTo>
                  <a:lnTo>
                    <a:pt x="6723" y="23753"/>
                  </a:lnTo>
                  <a:cubicBezTo>
                    <a:pt x="3137" y="23753"/>
                    <a:pt x="0" y="26890"/>
                    <a:pt x="0" y="30476"/>
                  </a:cubicBezTo>
                  <a:lnTo>
                    <a:pt x="0" y="75293"/>
                  </a:lnTo>
                  <a:cubicBezTo>
                    <a:pt x="0" y="78878"/>
                    <a:pt x="3137" y="82015"/>
                    <a:pt x="6723" y="82015"/>
                  </a:cubicBezTo>
                  <a:lnTo>
                    <a:pt x="53780" y="82015"/>
                  </a:lnTo>
                  <a:lnTo>
                    <a:pt x="53780" y="131314"/>
                  </a:lnTo>
                  <a:lnTo>
                    <a:pt x="29131" y="131314"/>
                  </a:lnTo>
                  <a:cubicBezTo>
                    <a:pt x="27786" y="131314"/>
                    <a:pt x="26890" y="132210"/>
                    <a:pt x="26890" y="133555"/>
                  </a:cubicBezTo>
                  <a:cubicBezTo>
                    <a:pt x="26890" y="134899"/>
                    <a:pt x="27786" y="135796"/>
                    <a:pt x="29131" y="135796"/>
                  </a:cubicBezTo>
                  <a:lnTo>
                    <a:pt x="82911" y="135796"/>
                  </a:lnTo>
                  <a:cubicBezTo>
                    <a:pt x="84256" y="135796"/>
                    <a:pt x="85152" y="134899"/>
                    <a:pt x="85152" y="133555"/>
                  </a:cubicBezTo>
                  <a:cubicBezTo>
                    <a:pt x="85152" y="132210"/>
                    <a:pt x="84256" y="131314"/>
                    <a:pt x="82911" y="131314"/>
                  </a:cubicBezTo>
                  <a:lnTo>
                    <a:pt x="58262" y="131314"/>
                  </a:lnTo>
                  <a:lnTo>
                    <a:pt x="58262" y="82015"/>
                  </a:lnTo>
                  <a:lnTo>
                    <a:pt x="105320" y="82015"/>
                  </a:lnTo>
                  <a:cubicBezTo>
                    <a:pt x="108905" y="82015"/>
                    <a:pt x="112043" y="78878"/>
                    <a:pt x="112043" y="75293"/>
                  </a:cubicBezTo>
                  <a:lnTo>
                    <a:pt x="112043" y="55573"/>
                  </a:lnTo>
                  <a:cubicBezTo>
                    <a:pt x="126384" y="54677"/>
                    <a:pt x="138036" y="42576"/>
                    <a:pt x="138036" y="27787"/>
                  </a:cubicBezTo>
                  <a:close/>
                  <a:moveTo>
                    <a:pt x="107561" y="50643"/>
                  </a:moveTo>
                  <a:lnTo>
                    <a:pt x="85152" y="50643"/>
                  </a:lnTo>
                  <a:lnTo>
                    <a:pt x="85152" y="28235"/>
                  </a:lnTo>
                  <a:lnTo>
                    <a:pt x="105320" y="28235"/>
                  </a:lnTo>
                  <a:cubicBezTo>
                    <a:pt x="106664" y="28235"/>
                    <a:pt x="107561" y="29131"/>
                    <a:pt x="107561" y="30476"/>
                  </a:cubicBezTo>
                  <a:lnTo>
                    <a:pt x="107561" y="50643"/>
                  </a:lnTo>
                  <a:close/>
                  <a:moveTo>
                    <a:pt x="53780" y="55125"/>
                  </a:moveTo>
                  <a:lnTo>
                    <a:pt x="53780" y="77533"/>
                  </a:lnTo>
                  <a:lnTo>
                    <a:pt x="31372" y="77533"/>
                  </a:lnTo>
                  <a:lnTo>
                    <a:pt x="31372" y="55125"/>
                  </a:lnTo>
                  <a:lnTo>
                    <a:pt x="53780" y="55125"/>
                  </a:lnTo>
                  <a:close/>
                  <a:moveTo>
                    <a:pt x="31372" y="50643"/>
                  </a:moveTo>
                  <a:lnTo>
                    <a:pt x="31372" y="28235"/>
                  </a:lnTo>
                  <a:lnTo>
                    <a:pt x="53780" y="28235"/>
                  </a:lnTo>
                  <a:lnTo>
                    <a:pt x="53780" y="50643"/>
                  </a:lnTo>
                  <a:lnTo>
                    <a:pt x="31372" y="50643"/>
                  </a:lnTo>
                  <a:close/>
                  <a:moveTo>
                    <a:pt x="58262" y="55125"/>
                  </a:moveTo>
                  <a:lnTo>
                    <a:pt x="80671" y="55125"/>
                  </a:lnTo>
                  <a:lnTo>
                    <a:pt x="80671" y="77533"/>
                  </a:lnTo>
                  <a:lnTo>
                    <a:pt x="58262" y="77533"/>
                  </a:lnTo>
                  <a:lnTo>
                    <a:pt x="58262" y="55125"/>
                  </a:lnTo>
                  <a:close/>
                  <a:moveTo>
                    <a:pt x="58262" y="50643"/>
                  </a:moveTo>
                  <a:lnTo>
                    <a:pt x="58262" y="28235"/>
                  </a:lnTo>
                  <a:lnTo>
                    <a:pt x="80671" y="28235"/>
                  </a:lnTo>
                  <a:lnTo>
                    <a:pt x="80671" y="50643"/>
                  </a:lnTo>
                  <a:lnTo>
                    <a:pt x="58262" y="50643"/>
                  </a:lnTo>
                  <a:close/>
                  <a:moveTo>
                    <a:pt x="6723" y="28235"/>
                  </a:moveTo>
                  <a:lnTo>
                    <a:pt x="26890" y="28235"/>
                  </a:lnTo>
                  <a:lnTo>
                    <a:pt x="26890" y="50643"/>
                  </a:lnTo>
                  <a:lnTo>
                    <a:pt x="4482" y="50643"/>
                  </a:lnTo>
                  <a:lnTo>
                    <a:pt x="4482" y="30476"/>
                  </a:lnTo>
                  <a:cubicBezTo>
                    <a:pt x="4482" y="29579"/>
                    <a:pt x="5378" y="28235"/>
                    <a:pt x="6723" y="28235"/>
                  </a:cubicBezTo>
                  <a:close/>
                  <a:moveTo>
                    <a:pt x="4482" y="75293"/>
                  </a:moveTo>
                  <a:lnTo>
                    <a:pt x="4482" y="55125"/>
                  </a:lnTo>
                  <a:lnTo>
                    <a:pt x="26890" y="55125"/>
                  </a:lnTo>
                  <a:lnTo>
                    <a:pt x="26890" y="77533"/>
                  </a:lnTo>
                  <a:lnTo>
                    <a:pt x="6723" y="77533"/>
                  </a:lnTo>
                  <a:cubicBezTo>
                    <a:pt x="5378" y="77533"/>
                    <a:pt x="4482" y="76637"/>
                    <a:pt x="4482" y="75293"/>
                  </a:cubicBezTo>
                  <a:close/>
                  <a:moveTo>
                    <a:pt x="105320" y="77533"/>
                  </a:moveTo>
                  <a:lnTo>
                    <a:pt x="85152" y="77533"/>
                  </a:lnTo>
                  <a:lnTo>
                    <a:pt x="85152" y="55125"/>
                  </a:lnTo>
                  <a:lnTo>
                    <a:pt x="107561" y="55125"/>
                  </a:lnTo>
                  <a:lnTo>
                    <a:pt x="107561" y="75293"/>
                  </a:lnTo>
                  <a:cubicBezTo>
                    <a:pt x="107561" y="76637"/>
                    <a:pt x="106216" y="77533"/>
                    <a:pt x="105320" y="77533"/>
                  </a:cubicBezTo>
                  <a:close/>
                  <a:moveTo>
                    <a:pt x="112043" y="51091"/>
                  </a:moveTo>
                  <a:lnTo>
                    <a:pt x="112043" y="30476"/>
                  </a:lnTo>
                  <a:cubicBezTo>
                    <a:pt x="112043" y="26890"/>
                    <a:pt x="108905" y="23753"/>
                    <a:pt x="105320" y="23753"/>
                  </a:cubicBezTo>
                  <a:lnTo>
                    <a:pt x="87393" y="23753"/>
                  </a:lnTo>
                  <a:cubicBezTo>
                    <a:pt x="89185" y="12549"/>
                    <a:pt x="99046" y="4482"/>
                    <a:pt x="110250" y="4482"/>
                  </a:cubicBezTo>
                  <a:cubicBezTo>
                    <a:pt x="123247" y="4482"/>
                    <a:pt x="133554" y="14790"/>
                    <a:pt x="133554" y="27787"/>
                  </a:cubicBezTo>
                  <a:cubicBezTo>
                    <a:pt x="133554" y="40335"/>
                    <a:pt x="124143" y="50195"/>
                    <a:pt x="112043" y="51091"/>
                  </a:cubicBezTo>
                  <a:close/>
                </a:path>
              </a:pathLst>
            </a:custGeom>
            <a:solidFill>
              <a:srgbClr val="231F20"/>
            </a:solidFill>
            <a:ln w="4477" cap="flat">
              <a:noFill/>
              <a:prstDash val="solid"/>
              <a:miter/>
            </a:ln>
          </p:spPr>
          <p:txBody>
            <a:bodyPr rtlCol="0" anchor="ctr"/>
            <a:lstStyle/>
            <a:p>
              <a:endParaRPr lang="en-US"/>
            </a:p>
          </p:txBody>
        </p:sp>
        <p:sp>
          <p:nvSpPr>
            <p:cNvPr id="3711" name="Freeform: Shape 3710">
              <a:extLst>
                <a:ext uri="{FF2B5EF4-FFF2-40B4-BE49-F238E27FC236}">
                  <a16:creationId xmlns:a16="http://schemas.microsoft.com/office/drawing/2014/main" id="{DEFD7112-4E96-428C-A56F-26773DCE318E}"/>
                </a:ext>
              </a:extLst>
            </p:cNvPr>
            <p:cNvSpPr/>
            <p:nvPr/>
          </p:nvSpPr>
          <p:spPr>
            <a:xfrm>
              <a:off x="11581625" y="5252988"/>
              <a:ext cx="4482" cy="8963"/>
            </a:xfrm>
            <a:custGeom>
              <a:avLst/>
              <a:gdLst>
                <a:gd name="connsiteX0" fmla="*/ 2241 w 4481"/>
                <a:gd name="connsiteY0" fmla="*/ 10756 h 8963"/>
                <a:gd name="connsiteX1" fmla="*/ 4482 w 4481"/>
                <a:gd name="connsiteY1" fmla="*/ 8515 h 8963"/>
                <a:gd name="connsiteX2" fmla="*/ 4482 w 4481"/>
                <a:gd name="connsiteY2" fmla="*/ 2241 h 8963"/>
                <a:gd name="connsiteX3" fmla="*/ 2241 w 4481"/>
                <a:gd name="connsiteY3" fmla="*/ 0 h 8963"/>
                <a:gd name="connsiteX4" fmla="*/ 0 w 4481"/>
                <a:gd name="connsiteY4" fmla="*/ 2241 h 8963"/>
                <a:gd name="connsiteX5" fmla="*/ 0 w 4481"/>
                <a:gd name="connsiteY5" fmla="*/ 8515 h 8963"/>
                <a:gd name="connsiteX6" fmla="*/ 2241 w 4481"/>
                <a:gd name="connsiteY6" fmla="*/ 10756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8963">
                  <a:moveTo>
                    <a:pt x="2241" y="10756"/>
                  </a:moveTo>
                  <a:cubicBezTo>
                    <a:pt x="3585" y="10756"/>
                    <a:pt x="4482" y="9860"/>
                    <a:pt x="4482" y="8515"/>
                  </a:cubicBezTo>
                  <a:lnTo>
                    <a:pt x="4482" y="2241"/>
                  </a:lnTo>
                  <a:cubicBezTo>
                    <a:pt x="4482" y="896"/>
                    <a:pt x="3585" y="0"/>
                    <a:pt x="2241" y="0"/>
                  </a:cubicBezTo>
                  <a:cubicBezTo>
                    <a:pt x="896" y="0"/>
                    <a:pt x="0" y="896"/>
                    <a:pt x="0" y="2241"/>
                  </a:cubicBezTo>
                  <a:lnTo>
                    <a:pt x="0" y="8515"/>
                  </a:lnTo>
                  <a:cubicBezTo>
                    <a:pt x="0" y="9860"/>
                    <a:pt x="896" y="10756"/>
                    <a:pt x="2241" y="10756"/>
                  </a:cubicBezTo>
                  <a:close/>
                </a:path>
              </a:pathLst>
            </a:custGeom>
            <a:solidFill>
              <a:srgbClr val="231F20"/>
            </a:solidFill>
            <a:ln w="4477" cap="flat">
              <a:noFill/>
              <a:prstDash val="solid"/>
              <a:miter/>
            </a:ln>
          </p:spPr>
          <p:txBody>
            <a:bodyPr rtlCol="0" anchor="ctr"/>
            <a:lstStyle/>
            <a:p>
              <a:endParaRPr lang="en-US"/>
            </a:p>
          </p:txBody>
        </p:sp>
        <p:sp>
          <p:nvSpPr>
            <p:cNvPr id="3712" name="Freeform: Shape 3711">
              <a:extLst>
                <a:ext uri="{FF2B5EF4-FFF2-40B4-BE49-F238E27FC236}">
                  <a16:creationId xmlns:a16="http://schemas.microsoft.com/office/drawing/2014/main" id="{733858C5-4BE3-42BF-9FFB-17FF58F20A0B}"/>
                </a:ext>
              </a:extLst>
            </p:cNvPr>
            <p:cNvSpPr/>
            <p:nvPr/>
          </p:nvSpPr>
          <p:spPr>
            <a:xfrm>
              <a:off x="11552717" y="5264864"/>
              <a:ext cx="8963" cy="4482"/>
            </a:xfrm>
            <a:custGeom>
              <a:avLst/>
              <a:gdLst>
                <a:gd name="connsiteX0" fmla="*/ 4706 w 8963"/>
                <a:gd name="connsiteY0" fmla="*/ 8291 h 4481"/>
                <a:gd name="connsiteX1" fmla="*/ 6499 w 8963"/>
                <a:gd name="connsiteY1" fmla="*/ 8739 h 4481"/>
                <a:gd name="connsiteX2" fmla="*/ 8291 w 8963"/>
                <a:gd name="connsiteY2" fmla="*/ 8291 h 4481"/>
                <a:gd name="connsiteX3" fmla="*/ 8291 w 8963"/>
                <a:gd name="connsiteY3" fmla="*/ 5154 h 4481"/>
                <a:gd name="connsiteX4" fmla="*/ 3810 w 8963"/>
                <a:gd name="connsiteY4" fmla="*/ 672 h 4481"/>
                <a:gd name="connsiteX5" fmla="*/ 672 w 8963"/>
                <a:gd name="connsiteY5" fmla="*/ 672 h 4481"/>
                <a:gd name="connsiteX6" fmla="*/ 672 w 8963"/>
                <a:gd name="connsiteY6" fmla="*/ 3810 h 4481"/>
                <a:gd name="connsiteX7" fmla="*/ 4706 w 8963"/>
                <a:gd name="connsiteY7" fmla="*/ 829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4706" y="8291"/>
                  </a:moveTo>
                  <a:cubicBezTo>
                    <a:pt x="5154" y="8739"/>
                    <a:pt x="5602" y="8739"/>
                    <a:pt x="6499" y="8739"/>
                  </a:cubicBezTo>
                  <a:cubicBezTo>
                    <a:pt x="7395" y="8739"/>
                    <a:pt x="7843" y="8739"/>
                    <a:pt x="8291" y="8291"/>
                  </a:cubicBezTo>
                  <a:cubicBezTo>
                    <a:pt x="9187" y="7395"/>
                    <a:pt x="9187" y="6050"/>
                    <a:pt x="8291" y="5154"/>
                  </a:cubicBezTo>
                  <a:lnTo>
                    <a:pt x="3810" y="672"/>
                  </a:lnTo>
                  <a:cubicBezTo>
                    <a:pt x="2913" y="-224"/>
                    <a:pt x="1569" y="-224"/>
                    <a:pt x="672" y="672"/>
                  </a:cubicBezTo>
                  <a:cubicBezTo>
                    <a:pt x="-224" y="1569"/>
                    <a:pt x="-224" y="2913"/>
                    <a:pt x="672" y="3810"/>
                  </a:cubicBezTo>
                  <a:lnTo>
                    <a:pt x="4706" y="8291"/>
                  </a:lnTo>
                  <a:close/>
                </a:path>
              </a:pathLst>
            </a:custGeom>
            <a:solidFill>
              <a:srgbClr val="231F20"/>
            </a:solidFill>
            <a:ln w="4477" cap="flat">
              <a:noFill/>
              <a:prstDash val="solid"/>
              <a:miter/>
            </a:ln>
          </p:spPr>
          <p:txBody>
            <a:bodyPr rtlCol="0" anchor="ctr"/>
            <a:lstStyle/>
            <a:p>
              <a:endParaRPr lang="en-US"/>
            </a:p>
          </p:txBody>
        </p:sp>
        <p:sp>
          <p:nvSpPr>
            <p:cNvPr id="3713" name="Freeform: Shape 3712">
              <a:extLst>
                <a:ext uri="{FF2B5EF4-FFF2-40B4-BE49-F238E27FC236}">
                  <a16:creationId xmlns:a16="http://schemas.microsoft.com/office/drawing/2014/main" id="{7B0FABF5-BA9E-4A37-A2C8-168A7274D1BE}"/>
                </a:ext>
              </a:extLst>
            </p:cNvPr>
            <p:cNvSpPr/>
            <p:nvPr/>
          </p:nvSpPr>
          <p:spPr>
            <a:xfrm>
              <a:off x="11606498" y="5319093"/>
              <a:ext cx="8963" cy="4482"/>
            </a:xfrm>
            <a:custGeom>
              <a:avLst/>
              <a:gdLst>
                <a:gd name="connsiteX0" fmla="*/ 3810 w 8963"/>
                <a:gd name="connsiteY0" fmla="*/ 672 h 4481"/>
                <a:gd name="connsiteX1" fmla="*/ 672 w 8963"/>
                <a:gd name="connsiteY1" fmla="*/ 672 h 4481"/>
                <a:gd name="connsiteX2" fmla="*/ 672 w 8963"/>
                <a:gd name="connsiteY2" fmla="*/ 3809 h 4481"/>
                <a:gd name="connsiteX3" fmla="*/ 5154 w 8963"/>
                <a:gd name="connsiteY3" fmla="*/ 8291 h 4481"/>
                <a:gd name="connsiteX4" fmla="*/ 6947 w 8963"/>
                <a:gd name="connsiteY4" fmla="*/ 8739 h 4481"/>
                <a:gd name="connsiteX5" fmla="*/ 8739 w 8963"/>
                <a:gd name="connsiteY5" fmla="*/ 8291 h 4481"/>
                <a:gd name="connsiteX6" fmla="*/ 8739 w 8963"/>
                <a:gd name="connsiteY6" fmla="*/ 5154 h 4481"/>
                <a:gd name="connsiteX7" fmla="*/ 3810 w 8963"/>
                <a:gd name="connsiteY7" fmla="*/ 67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3810" y="672"/>
                  </a:moveTo>
                  <a:cubicBezTo>
                    <a:pt x="2913" y="-224"/>
                    <a:pt x="1569" y="-224"/>
                    <a:pt x="672" y="672"/>
                  </a:cubicBezTo>
                  <a:cubicBezTo>
                    <a:pt x="-224" y="1568"/>
                    <a:pt x="-224" y="2913"/>
                    <a:pt x="672" y="3809"/>
                  </a:cubicBezTo>
                  <a:lnTo>
                    <a:pt x="5154" y="8291"/>
                  </a:lnTo>
                  <a:cubicBezTo>
                    <a:pt x="5602" y="8739"/>
                    <a:pt x="6050" y="8739"/>
                    <a:pt x="6947" y="8739"/>
                  </a:cubicBezTo>
                  <a:cubicBezTo>
                    <a:pt x="7843" y="8739"/>
                    <a:pt x="8291" y="8739"/>
                    <a:pt x="8739" y="8291"/>
                  </a:cubicBezTo>
                  <a:cubicBezTo>
                    <a:pt x="9635" y="7395"/>
                    <a:pt x="9635" y="6050"/>
                    <a:pt x="8739" y="5154"/>
                  </a:cubicBezTo>
                  <a:lnTo>
                    <a:pt x="3810" y="672"/>
                  </a:lnTo>
                  <a:close/>
                </a:path>
              </a:pathLst>
            </a:custGeom>
            <a:solidFill>
              <a:srgbClr val="231F20"/>
            </a:solidFill>
            <a:ln w="4477" cap="flat">
              <a:noFill/>
              <a:prstDash val="solid"/>
              <a:miter/>
            </a:ln>
          </p:spPr>
          <p:txBody>
            <a:bodyPr rtlCol="0" anchor="ctr"/>
            <a:lstStyle/>
            <a:p>
              <a:endParaRPr lang="en-US"/>
            </a:p>
          </p:txBody>
        </p:sp>
        <p:sp>
          <p:nvSpPr>
            <p:cNvPr id="3714" name="Freeform: Shape 3713">
              <a:extLst>
                <a:ext uri="{FF2B5EF4-FFF2-40B4-BE49-F238E27FC236}">
                  <a16:creationId xmlns:a16="http://schemas.microsoft.com/office/drawing/2014/main" id="{FFFC0AF8-087E-4677-B12C-EFE364E70515}"/>
                </a:ext>
              </a:extLst>
            </p:cNvPr>
            <p:cNvSpPr/>
            <p:nvPr/>
          </p:nvSpPr>
          <p:spPr>
            <a:xfrm>
              <a:off x="11606498" y="5264864"/>
              <a:ext cx="8963" cy="4482"/>
            </a:xfrm>
            <a:custGeom>
              <a:avLst/>
              <a:gdLst>
                <a:gd name="connsiteX0" fmla="*/ 5154 w 8963"/>
                <a:gd name="connsiteY0" fmla="*/ 672 h 4481"/>
                <a:gd name="connsiteX1" fmla="*/ 672 w 8963"/>
                <a:gd name="connsiteY1" fmla="*/ 5154 h 4481"/>
                <a:gd name="connsiteX2" fmla="*/ 672 w 8963"/>
                <a:gd name="connsiteY2" fmla="*/ 8291 h 4481"/>
                <a:gd name="connsiteX3" fmla="*/ 2465 w 8963"/>
                <a:gd name="connsiteY3" fmla="*/ 8739 h 4481"/>
                <a:gd name="connsiteX4" fmla="*/ 4258 w 8963"/>
                <a:gd name="connsiteY4" fmla="*/ 8291 h 4481"/>
                <a:gd name="connsiteX5" fmla="*/ 8739 w 8963"/>
                <a:gd name="connsiteY5" fmla="*/ 3810 h 4481"/>
                <a:gd name="connsiteX6" fmla="*/ 8739 w 8963"/>
                <a:gd name="connsiteY6" fmla="*/ 672 h 4481"/>
                <a:gd name="connsiteX7" fmla="*/ 5154 w 8963"/>
                <a:gd name="connsiteY7" fmla="*/ 67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4481">
                  <a:moveTo>
                    <a:pt x="5154" y="672"/>
                  </a:moveTo>
                  <a:lnTo>
                    <a:pt x="672" y="5154"/>
                  </a:lnTo>
                  <a:cubicBezTo>
                    <a:pt x="-224" y="6050"/>
                    <a:pt x="-224" y="7395"/>
                    <a:pt x="672" y="8291"/>
                  </a:cubicBezTo>
                  <a:cubicBezTo>
                    <a:pt x="1120" y="8739"/>
                    <a:pt x="1569" y="8739"/>
                    <a:pt x="2465" y="8739"/>
                  </a:cubicBezTo>
                  <a:cubicBezTo>
                    <a:pt x="3361" y="8739"/>
                    <a:pt x="3810" y="8739"/>
                    <a:pt x="4258" y="8291"/>
                  </a:cubicBezTo>
                  <a:lnTo>
                    <a:pt x="8739" y="3810"/>
                  </a:lnTo>
                  <a:cubicBezTo>
                    <a:pt x="9635" y="2913"/>
                    <a:pt x="9635" y="1569"/>
                    <a:pt x="8739" y="672"/>
                  </a:cubicBezTo>
                  <a:cubicBezTo>
                    <a:pt x="7843" y="-224"/>
                    <a:pt x="6050" y="-224"/>
                    <a:pt x="5154" y="672"/>
                  </a:cubicBezTo>
                  <a:close/>
                </a:path>
              </a:pathLst>
            </a:custGeom>
            <a:solidFill>
              <a:srgbClr val="231F20"/>
            </a:solidFill>
            <a:ln w="4477" cap="flat">
              <a:noFill/>
              <a:prstDash val="solid"/>
              <a:miter/>
            </a:ln>
          </p:spPr>
          <p:txBody>
            <a:bodyPr rtlCol="0" anchor="ctr"/>
            <a:lstStyle/>
            <a:p>
              <a:endParaRPr lang="en-US"/>
            </a:p>
          </p:txBody>
        </p:sp>
        <p:sp>
          <p:nvSpPr>
            <p:cNvPr id="3715" name="Freeform: Shape 3714">
              <a:extLst>
                <a:ext uri="{FF2B5EF4-FFF2-40B4-BE49-F238E27FC236}">
                  <a16:creationId xmlns:a16="http://schemas.microsoft.com/office/drawing/2014/main" id="{F3765259-E905-4AE1-826D-C09EB0572CE7}"/>
                </a:ext>
              </a:extLst>
            </p:cNvPr>
            <p:cNvSpPr/>
            <p:nvPr/>
          </p:nvSpPr>
          <p:spPr>
            <a:xfrm>
              <a:off x="11617030" y="5294220"/>
              <a:ext cx="8963" cy="4482"/>
            </a:xfrm>
            <a:custGeom>
              <a:avLst/>
              <a:gdLst>
                <a:gd name="connsiteX0" fmla="*/ 8515 w 8963"/>
                <a:gd name="connsiteY0" fmla="*/ 0 h 4481"/>
                <a:gd name="connsiteX1" fmla="*/ 2241 w 8963"/>
                <a:gd name="connsiteY1" fmla="*/ 0 h 4481"/>
                <a:gd name="connsiteX2" fmla="*/ 0 w 8963"/>
                <a:gd name="connsiteY2" fmla="*/ 2241 h 4481"/>
                <a:gd name="connsiteX3" fmla="*/ 2241 w 8963"/>
                <a:gd name="connsiteY3" fmla="*/ 4482 h 4481"/>
                <a:gd name="connsiteX4" fmla="*/ 8515 w 8963"/>
                <a:gd name="connsiteY4" fmla="*/ 4482 h 4481"/>
                <a:gd name="connsiteX5" fmla="*/ 10756 w 8963"/>
                <a:gd name="connsiteY5" fmla="*/ 2241 h 4481"/>
                <a:gd name="connsiteX6" fmla="*/ 8515 w 8963"/>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3" h="4481">
                  <a:moveTo>
                    <a:pt x="8515" y="0"/>
                  </a:moveTo>
                  <a:lnTo>
                    <a:pt x="2241" y="0"/>
                  </a:lnTo>
                  <a:cubicBezTo>
                    <a:pt x="896" y="0"/>
                    <a:pt x="0" y="896"/>
                    <a:pt x="0" y="2241"/>
                  </a:cubicBezTo>
                  <a:cubicBezTo>
                    <a:pt x="0" y="3585"/>
                    <a:pt x="896" y="4482"/>
                    <a:pt x="2241" y="4482"/>
                  </a:cubicBezTo>
                  <a:lnTo>
                    <a:pt x="8515" y="4482"/>
                  </a:lnTo>
                  <a:cubicBezTo>
                    <a:pt x="9860" y="4482"/>
                    <a:pt x="10756" y="3585"/>
                    <a:pt x="10756" y="2241"/>
                  </a:cubicBezTo>
                  <a:cubicBezTo>
                    <a:pt x="10756" y="896"/>
                    <a:pt x="9860" y="0"/>
                    <a:pt x="8515" y="0"/>
                  </a:cubicBezTo>
                  <a:close/>
                </a:path>
              </a:pathLst>
            </a:custGeom>
            <a:solidFill>
              <a:srgbClr val="231F20"/>
            </a:solidFill>
            <a:ln w="4477" cap="flat">
              <a:noFill/>
              <a:prstDash val="solid"/>
              <a:miter/>
            </a:ln>
          </p:spPr>
          <p:txBody>
            <a:bodyPr rtlCol="0" anchor="ctr"/>
            <a:lstStyle/>
            <a:p>
              <a:endParaRPr lang="en-US"/>
            </a:p>
          </p:txBody>
        </p:sp>
      </p:grpSp>
      <p:grpSp>
        <p:nvGrpSpPr>
          <p:cNvPr id="3716" name="Group 3715">
            <a:extLst>
              <a:ext uri="{FF2B5EF4-FFF2-40B4-BE49-F238E27FC236}">
                <a16:creationId xmlns:a16="http://schemas.microsoft.com/office/drawing/2014/main" id="{E87F4162-F254-4780-98CF-49F678458C77}"/>
              </a:ext>
              <a:ext uri="{C183D7F6-B498-43B3-948B-1728B52AA6E4}">
                <adec:decorative xmlns:adec="http://schemas.microsoft.com/office/drawing/2017/decorative" val="1"/>
              </a:ext>
            </a:extLst>
          </p:cNvPr>
          <p:cNvGrpSpPr>
            <a:grpSpLocks noChangeAspect="1"/>
          </p:cNvGrpSpPr>
          <p:nvPr/>
        </p:nvGrpSpPr>
        <p:grpSpPr>
          <a:xfrm>
            <a:off x="1121436" y="2763420"/>
            <a:ext cx="112043" cy="138933"/>
            <a:chOff x="7023062" y="5609956"/>
            <a:chExt cx="112043" cy="138933"/>
          </a:xfrm>
        </p:grpSpPr>
        <p:sp>
          <p:nvSpPr>
            <p:cNvPr id="3717" name="Freeform: Shape 3716">
              <a:extLst>
                <a:ext uri="{FF2B5EF4-FFF2-40B4-BE49-F238E27FC236}">
                  <a16:creationId xmlns:a16="http://schemas.microsoft.com/office/drawing/2014/main" id="{DDE75AF1-4B59-46C3-8E09-9A7A1A16ADD9}"/>
                </a:ext>
              </a:extLst>
            </p:cNvPr>
            <p:cNvSpPr/>
            <p:nvPr/>
          </p:nvSpPr>
          <p:spPr>
            <a:xfrm>
              <a:off x="7023062" y="5609956"/>
              <a:ext cx="112043" cy="138933"/>
            </a:xfrm>
            <a:custGeom>
              <a:avLst/>
              <a:gdLst>
                <a:gd name="connsiteX0" fmla="*/ 100614 w 112042"/>
                <a:gd name="connsiteY0" fmla="*/ 5154 h 138932"/>
                <a:gd name="connsiteX1" fmla="*/ 47282 w 112042"/>
                <a:gd name="connsiteY1" fmla="*/ 5154 h 138932"/>
                <a:gd name="connsiteX2" fmla="*/ 45489 w 112042"/>
                <a:gd name="connsiteY2" fmla="*/ 6050 h 138932"/>
                <a:gd name="connsiteX3" fmla="*/ 40559 w 112042"/>
                <a:gd name="connsiteY3" fmla="*/ 10980 h 138932"/>
                <a:gd name="connsiteX4" fmla="*/ 30251 w 112042"/>
                <a:gd name="connsiteY4" fmla="*/ 672 h 138932"/>
                <a:gd name="connsiteX5" fmla="*/ 27114 w 112042"/>
                <a:gd name="connsiteY5" fmla="*/ 672 h 138932"/>
                <a:gd name="connsiteX6" fmla="*/ 672 w 112042"/>
                <a:gd name="connsiteY6" fmla="*/ 27114 h 138932"/>
                <a:gd name="connsiteX7" fmla="*/ 672 w 112042"/>
                <a:gd name="connsiteY7" fmla="*/ 30251 h 138932"/>
                <a:gd name="connsiteX8" fmla="*/ 10980 w 112042"/>
                <a:gd name="connsiteY8" fmla="*/ 41456 h 138932"/>
                <a:gd name="connsiteX9" fmla="*/ 6498 w 112042"/>
                <a:gd name="connsiteY9" fmla="*/ 46385 h 138932"/>
                <a:gd name="connsiteX10" fmla="*/ 6050 w 112042"/>
                <a:gd name="connsiteY10" fmla="*/ 47730 h 138932"/>
                <a:gd name="connsiteX11" fmla="*/ 6050 w 112042"/>
                <a:gd name="connsiteY11" fmla="*/ 127953 h 138932"/>
                <a:gd name="connsiteX12" fmla="*/ 21288 w 112042"/>
                <a:gd name="connsiteY12" fmla="*/ 143191 h 138932"/>
                <a:gd name="connsiteX13" fmla="*/ 101062 w 112042"/>
                <a:gd name="connsiteY13" fmla="*/ 143191 h 138932"/>
                <a:gd name="connsiteX14" fmla="*/ 116300 w 112042"/>
                <a:gd name="connsiteY14" fmla="*/ 127953 h 138932"/>
                <a:gd name="connsiteX15" fmla="*/ 116300 w 112042"/>
                <a:gd name="connsiteY15" fmla="*/ 20392 h 138932"/>
                <a:gd name="connsiteX16" fmla="*/ 100614 w 112042"/>
                <a:gd name="connsiteY16" fmla="*/ 5154 h 138932"/>
                <a:gd name="connsiteX17" fmla="*/ 5602 w 112042"/>
                <a:gd name="connsiteY17" fmla="*/ 28907 h 138932"/>
                <a:gd name="connsiteX18" fmla="*/ 28907 w 112042"/>
                <a:gd name="connsiteY18" fmla="*/ 5602 h 138932"/>
                <a:gd name="connsiteX19" fmla="*/ 37422 w 112042"/>
                <a:gd name="connsiteY19" fmla="*/ 14117 h 138932"/>
                <a:gd name="connsiteX20" fmla="*/ 13669 w 112042"/>
                <a:gd name="connsiteY20" fmla="*/ 38319 h 138932"/>
                <a:gd name="connsiteX21" fmla="*/ 5602 w 112042"/>
                <a:gd name="connsiteY21" fmla="*/ 28907 h 138932"/>
                <a:gd name="connsiteX22" fmla="*/ 111818 w 112042"/>
                <a:gd name="connsiteY22" fmla="*/ 127953 h 138932"/>
                <a:gd name="connsiteX23" fmla="*/ 101062 w 112042"/>
                <a:gd name="connsiteY23" fmla="*/ 138709 h 138932"/>
                <a:gd name="connsiteX24" fmla="*/ 21288 w 112042"/>
                <a:gd name="connsiteY24" fmla="*/ 138709 h 138932"/>
                <a:gd name="connsiteX25" fmla="*/ 10532 w 112042"/>
                <a:gd name="connsiteY25" fmla="*/ 127953 h 138932"/>
                <a:gd name="connsiteX26" fmla="*/ 10532 w 112042"/>
                <a:gd name="connsiteY26" fmla="*/ 48626 h 138932"/>
                <a:gd name="connsiteX27" fmla="*/ 48627 w 112042"/>
                <a:gd name="connsiteY27" fmla="*/ 9188 h 138932"/>
                <a:gd name="connsiteX28" fmla="*/ 101062 w 112042"/>
                <a:gd name="connsiteY28" fmla="*/ 9188 h 138932"/>
                <a:gd name="connsiteX29" fmla="*/ 111818 w 112042"/>
                <a:gd name="connsiteY29" fmla="*/ 19944 h 138932"/>
                <a:gd name="connsiteX30" fmla="*/ 111818 w 112042"/>
                <a:gd name="connsiteY30" fmla="*/ 127953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2042" h="138932">
                  <a:moveTo>
                    <a:pt x="100614" y="5154"/>
                  </a:moveTo>
                  <a:lnTo>
                    <a:pt x="47282" y="5154"/>
                  </a:lnTo>
                  <a:cubicBezTo>
                    <a:pt x="46834" y="5154"/>
                    <a:pt x="45937" y="5602"/>
                    <a:pt x="45489" y="6050"/>
                  </a:cubicBezTo>
                  <a:lnTo>
                    <a:pt x="40559" y="10980"/>
                  </a:lnTo>
                  <a:lnTo>
                    <a:pt x="30251" y="672"/>
                  </a:lnTo>
                  <a:cubicBezTo>
                    <a:pt x="29355" y="-224"/>
                    <a:pt x="28011" y="-224"/>
                    <a:pt x="27114" y="672"/>
                  </a:cubicBezTo>
                  <a:lnTo>
                    <a:pt x="672" y="27114"/>
                  </a:lnTo>
                  <a:cubicBezTo>
                    <a:pt x="-224" y="28011"/>
                    <a:pt x="-224" y="29355"/>
                    <a:pt x="672" y="30251"/>
                  </a:cubicBezTo>
                  <a:lnTo>
                    <a:pt x="10980" y="41456"/>
                  </a:lnTo>
                  <a:lnTo>
                    <a:pt x="6498" y="46385"/>
                  </a:lnTo>
                  <a:cubicBezTo>
                    <a:pt x="6050" y="46834"/>
                    <a:pt x="6050" y="47282"/>
                    <a:pt x="6050" y="47730"/>
                  </a:cubicBezTo>
                  <a:lnTo>
                    <a:pt x="6050" y="127953"/>
                  </a:lnTo>
                  <a:cubicBezTo>
                    <a:pt x="6050" y="136468"/>
                    <a:pt x="12773" y="143191"/>
                    <a:pt x="21288" y="143191"/>
                  </a:cubicBezTo>
                  <a:lnTo>
                    <a:pt x="101062" y="143191"/>
                  </a:lnTo>
                  <a:cubicBezTo>
                    <a:pt x="109578" y="143191"/>
                    <a:pt x="116300" y="136468"/>
                    <a:pt x="116300" y="127953"/>
                  </a:cubicBezTo>
                  <a:lnTo>
                    <a:pt x="116300" y="20392"/>
                  </a:lnTo>
                  <a:cubicBezTo>
                    <a:pt x="116300" y="11877"/>
                    <a:pt x="109129" y="5154"/>
                    <a:pt x="100614" y="5154"/>
                  </a:cubicBezTo>
                  <a:close/>
                  <a:moveTo>
                    <a:pt x="5602" y="28907"/>
                  </a:moveTo>
                  <a:lnTo>
                    <a:pt x="28907" y="5602"/>
                  </a:lnTo>
                  <a:lnTo>
                    <a:pt x="37422" y="14117"/>
                  </a:lnTo>
                  <a:lnTo>
                    <a:pt x="13669" y="38319"/>
                  </a:lnTo>
                  <a:lnTo>
                    <a:pt x="5602" y="28907"/>
                  </a:lnTo>
                  <a:close/>
                  <a:moveTo>
                    <a:pt x="111818" y="127953"/>
                  </a:moveTo>
                  <a:cubicBezTo>
                    <a:pt x="111818" y="133779"/>
                    <a:pt x="106889" y="138709"/>
                    <a:pt x="101062" y="138709"/>
                  </a:cubicBezTo>
                  <a:lnTo>
                    <a:pt x="21288" y="138709"/>
                  </a:lnTo>
                  <a:cubicBezTo>
                    <a:pt x="15462" y="138709"/>
                    <a:pt x="10532" y="133779"/>
                    <a:pt x="10532" y="127953"/>
                  </a:cubicBezTo>
                  <a:lnTo>
                    <a:pt x="10532" y="48626"/>
                  </a:lnTo>
                  <a:lnTo>
                    <a:pt x="48627" y="9188"/>
                  </a:lnTo>
                  <a:lnTo>
                    <a:pt x="101062" y="9188"/>
                  </a:lnTo>
                  <a:cubicBezTo>
                    <a:pt x="106889" y="9188"/>
                    <a:pt x="111818" y="14117"/>
                    <a:pt x="111818" y="19944"/>
                  </a:cubicBezTo>
                  <a:lnTo>
                    <a:pt x="111818" y="127953"/>
                  </a:lnTo>
                  <a:close/>
                </a:path>
              </a:pathLst>
            </a:custGeom>
            <a:solidFill>
              <a:srgbClr val="231F20"/>
            </a:solidFill>
            <a:ln w="4477" cap="flat">
              <a:noFill/>
              <a:prstDash val="solid"/>
              <a:miter/>
            </a:ln>
          </p:spPr>
          <p:txBody>
            <a:bodyPr rtlCol="0" anchor="ctr"/>
            <a:lstStyle/>
            <a:p>
              <a:endParaRPr lang="en-US"/>
            </a:p>
          </p:txBody>
        </p:sp>
        <p:sp>
          <p:nvSpPr>
            <p:cNvPr id="3718" name="Freeform: Shape 3717">
              <a:extLst>
                <a:ext uri="{FF2B5EF4-FFF2-40B4-BE49-F238E27FC236}">
                  <a16:creationId xmlns:a16="http://schemas.microsoft.com/office/drawing/2014/main" id="{262B5840-A003-4FC9-90F0-705979F880FD}"/>
                </a:ext>
              </a:extLst>
            </p:cNvPr>
            <p:cNvSpPr/>
            <p:nvPr/>
          </p:nvSpPr>
          <p:spPr>
            <a:xfrm>
              <a:off x="7061156" y="5659254"/>
              <a:ext cx="49299" cy="49299"/>
            </a:xfrm>
            <a:custGeom>
              <a:avLst/>
              <a:gdLst>
                <a:gd name="connsiteX0" fmla="*/ 49971 w 49298"/>
                <a:gd name="connsiteY0" fmla="*/ 672 h 49298"/>
                <a:gd name="connsiteX1" fmla="*/ 46834 w 49298"/>
                <a:gd name="connsiteY1" fmla="*/ 672 h 49298"/>
                <a:gd name="connsiteX2" fmla="*/ 25322 w 49298"/>
                <a:gd name="connsiteY2" fmla="*/ 22184 h 49298"/>
                <a:gd name="connsiteX3" fmla="*/ 3809 w 49298"/>
                <a:gd name="connsiteY3" fmla="*/ 672 h 49298"/>
                <a:gd name="connsiteX4" fmla="*/ 672 w 49298"/>
                <a:gd name="connsiteY4" fmla="*/ 672 h 49298"/>
                <a:gd name="connsiteX5" fmla="*/ 672 w 49298"/>
                <a:gd name="connsiteY5" fmla="*/ 3809 h 49298"/>
                <a:gd name="connsiteX6" fmla="*/ 22184 w 49298"/>
                <a:gd name="connsiteY6" fmla="*/ 25321 h 49298"/>
                <a:gd name="connsiteX7" fmla="*/ 672 w 49298"/>
                <a:gd name="connsiteY7" fmla="*/ 46834 h 49298"/>
                <a:gd name="connsiteX8" fmla="*/ 672 w 49298"/>
                <a:gd name="connsiteY8" fmla="*/ 49971 h 49298"/>
                <a:gd name="connsiteX9" fmla="*/ 2465 w 49298"/>
                <a:gd name="connsiteY9" fmla="*/ 50419 h 49298"/>
                <a:gd name="connsiteX10" fmla="*/ 4258 w 49298"/>
                <a:gd name="connsiteY10" fmla="*/ 49971 h 49298"/>
                <a:gd name="connsiteX11" fmla="*/ 25770 w 49298"/>
                <a:gd name="connsiteY11" fmla="*/ 28458 h 49298"/>
                <a:gd name="connsiteX12" fmla="*/ 47282 w 49298"/>
                <a:gd name="connsiteY12" fmla="*/ 49971 h 49298"/>
                <a:gd name="connsiteX13" fmla="*/ 49075 w 49298"/>
                <a:gd name="connsiteY13" fmla="*/ 50419 h 49298"/>
                <a:gd name="connsiteX14" fmla="*/ 50867 w 49298"/>
                <a:gd name="connsiteY14" fmla="*/ 49971 h 49298"/>
                <a:gd name="connsiteX15" fmla="*/ 50867 w 49298"/>
                <a:gd name="connsiteY15" fmla="*/ 46834 h 49298"/>
                <a:gd name="connsiteX16" fmla="*/ 29355 w 49298"/>
                <a:gd name="connsiteY16" fmla="*/ 25321 h 49298"/>
                <a:gd name="connsiteX17" fmla="*/ 50867 w 49298"/>
                <a:gd name="connsiteY17" fmla="*/ 3809 h 49298"/>
                <a:gd name="connsiteX18" fmla="*/ 49971 w 49298"/>
                <a:gd name="connsiteY18" fmla="*/ 672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298" h="49298">
                  <a:moveTo>
                    <a:pt x="49971" y="672"/>
                  </a:moveTo>
                  <a:cubicBezTo>
                    <a:pt x="49075" y="-224"/>
                    <a:pt x="47730" y="-224"/>
                    <a:pt x="46834" y="672"/>
                  </a:cubicBezTo>
                  <a:lnTo>
                    <a:pt x="25322" y="22184"/>
                  </a:lnTo>
                  <a:lnTo>
                    <a:pt x="3809" y="672"/>
                  </a:lnTo>
                  <a:cubicBezTo>
                    <a:pt x="2913" y="-224"/>
                    <a:pt x="1569" y="-224"/>
                    <a:pt x="672" y="672"/>
                  </a:cubicBezTo>
                  <a:cubicBezTo>
                    <a:pt x="-224" y="1568"/>
                    <a:pt x="-224" y="2913"/>
                    <a:pt x="672" y="3809"/>
                  </a:cubicBezTo>
                  <a:lnTo>
                    <a:pt x="22184" y="25321"/>
                  </a:lnTo>
                  <a:lnTo>
                    <a:pt x="672" y="46834"/>
                  </a:lnTo>
                  <a:cubicBezTo>
                    <a:pt x="-224" y="47730"/>
                    <a:pt x="-224" y="49075"/>
                    <a:pt x="672" y="49971"/>
                  </a:cubicBezTo>
                  <a:cubicBezTo>
                    <a:pt x="1120" y="50419"/>
                    <a:pt x="1569" y="50419"/>
                    <a:pt x="2465" y="50419"/>
                  </a:cubicBezTo>
                  <a:cubicBezTo>
                    <a:pt x="3361" y="50419"/>
                    <a:pt x="3809" y="50419"/>
                    <a:pt x="4258" y="49971"/>
                  </a:cubicBezTo>
                  <a:lnTo>
                    <a:pt x="25770" y="28458"/>
                  </a:lnTo>
                  <a:lnTo>
                    <a:pt x="47282" y="49971"/>
                  </a:lnTo>
                  <a:cubicBezTo>
                    <a:pt x="47730" y="50419"/>
                    <a:pt x="48178" y="50419"/>
                    <a:pt x="49075" y="50419"/>
                  </a:cubicBezTo>
                  <a:cubicBezTo>
                    <a:pt x="49971" y="50419"/>
                    <a:pt x="50419" y="50419"/>
                    <a:pt x="50867" y="49971"/>
                  </a:cubicBezTo>
                  <a:cubicBezTo>
                    <a:pt x="51764" y="49075"/>
                    <a:pt x="51764" y="47730"/>
                    <a:pt x="50867" y="46834"/>
                  </a:cubicBezTo>
                  <a:lnTo>
                    <a:pt x="29355" y="25321"/>
                  </a:lnTo>
                  <a:lnTo>
                    <a:pt x="50867" y="3809"/>
                  </a:lnTo>
                  <a:cubicBezTo>
                    <a:pt x="50867" y="2913"/>
                    <a:pt x="50867" y="1120"/>
                    <a:pt x="49971" y="672"/>
                  </a:cubicBezTo>
                  <a:close/>
                </a:path>
              </a:pathLst>
            </a:custGeom>
            <a:solidFill>
              <a:srgbClr val="231F20"/>
            </a:solidFill>
            <a:ln w="4477" cap="flat">
              <a:noFill/>
              <a:prstDash val="solid"/>
              <a:miter/>
            </a:ln>
          </p:spPr>
          <p:txBody>
            <a:bodyPr rtlCol="0" anchor="ctr"/>
            <a:lstStyle/>
            <a:p>
              <a:endParaRPr lang="en-US"/>
            </a:p>
          </p:txBody>
        </p:sp>
      </p:grpSp>
      <p:grpSp>
        <p:nvGrpSpPr>
          <p:cNvPr id="3719" name="Group 3718">
            <a:extLst>
              <a:ext uri="{FF2B5EF4-FFF2-40B4-BE49-F238E27FC236}">
                <a16:creationId xmlns:a16="http://schemas.microsoft.com/office/drawing/2014/main" id="{4E2F6E8E-1AB0-4C65-AEE9-6260607666C4}"/>
              </a:ext>
              <a:ext uri="{C183D7F6-B498-43B3-948B-1728B52AA6E4}">
                <adec:decorative xmlns:adec="http://schemas.microsoft.com/office/drawing/2017/decorative" val="1"/>
              </a:ext>
            </a:extLst>
          </p:cNvPr>
          <p:cNvGrpSpPr>
            <a:grpSpLocks noChangeAspect="1"/>
          </p:cNvGrpSpPr>
          <p:nvPr/>
        </p:nvGrpSpPr>
        <p:grpSpPr>
          <a:xfrm>
            <a:off x="1368601" y="2795016"/>
            <a:ext cx="152378" cy="112043"/>
            <a:chOff x="7270227" y="5641552"/>
            <a:chExt cx="152378" cy="112043"/>
          </a:xfrm>
        </p:grpSpPr>
        <p:sp>
          <p:nvSpPr>
            <p:cNvPr id="3720" name="Freeform: Shape 3719">
              <a:extLst>
                <a:ext uri="{FF2B5EF4-FFF2-40B4-BE49-F238E27FC236}">
                  <a16:creationId xmlns:a16="http://schemas.microsoft.com/office/drawing/2014/main" id="{481D59D9-744D-4859-9403-E4DD0DBA30DC}"/>
                </a:ext>
              </a:extLst>
            </p:cNvPr>
            <p:cNvSpPr/>
            <p:nvPr/>
          </p:nvSpPr>
          <p:spPr>
            <a:xfrm>
              <a:off x="7270227" y="5641552"/>
              <a:ext cx="152378" cy="112043"/>
            </a:xfrm>
            <a:custGeom>
              <a:avLst/>
              <a:gdLst>
                <a:gd name="connsiteX0" fmla="*/ 150137 w 152377"/>
                <a:gd name="connsiteY0" fmla="*/ 13445 h 112042"/>
                <a:gd name="connsiteX1" fmla="*/ 138933 w 152377"/>
                <a:gd name="connsiteY1" fmla="*/ 13445 h 112042"/>
                <a:gd name="connsiteX2" fmla="*/ 138933 w 152377"/>
                <a:gd name="connsiteY2" fmla="*/ 2241 h 112042"/>
                <a:gd name="connsiteX3" fmla="*/ 136692 w 152377"/>
                <a:gd name="connsiteY3" fmla="*/ 0 h 112042"/>
                <a:gd name="connsiteX4" fmla="*/ 109802 w 152377"/>
                <a:gd name="connsiteY4" fmla="*/ 0 h 112042"/>
                <a:gd name="connsiteX5" fmla="*/ 107561 w 152377"/>
                <a:gd name="connsiteY5" fmla="*/ 2241 h 112042"/>
                <a:gd name="connsiteX6" fmla="*/ 107561 w 152377"/>
                <a:gd name="connsiteY6" fmla="*/ 13445 h 112042"/>
                <a:gd name="connsiteX7" fmla="*/ 44817 w 152377"/>
                <a:gd name="connsiteY7" fmla="*/ 13445 h 112042"/>
                <a:gd name="connsiteX8" fmla="*/ 44817 w 152377"/>
                <a:gd name="connsiteY8" fmla="*/ 2241 h 112042"/>
                <a:gd name="connsiteX9" fmla="*/ 42576 w 152377"/>
                <a:gd name="connsiteY9" fmla="*/ 0 h 112042"/>
                <a:gd name="connsiteX10" fmla="*/ 15686 w 152377"/>
                <a:gd name="connsiteY10" fmla="*/ 0 h 112042"/>
                <a:gd name="connsiteX11" fmla="*/ 13445 w 152377"/>
                <a:gd name="connsiteY11" fmla="*/ 2241 h 112042"/>
                <a:gd name="connsiteX12" fmla="*/ 13445 w 152377"/>
                <a:gd name="connsiteY12" fmla="*/ 13445 h 112042"/>
                <a:gd name="connsiteX13" fmla="*/ 2241 w 152377"/>
                <a:gd name="connsiteY13" fmla="*/ 13445 h 112042"/>
                <a:gd name="connsiteX14" fmla="*/ 0 w 152377"/>
                <a:gd name="connsiteY14" fmla="*/ 15686 h 112042"/>
                <a:gd name="connsiteX15" fmla="*/ 0 w 152377"/>
                <a:gd name="connsiteY15" fmla="*/ 109802 h 112042"/>
                <a:gd name="connsiteX16" fmla="*/ 2241 w 152377"/>
                <a:gd name="connsiteY16" fmla="*/ 112043 h 112042"/>
                <a:gd name="connsiteX17" fmla="*/ 150137 w 152377"/>
                <a:gd name="connsiteY17" fmla="*/ 112043 h 112042"/>
                <a:gd name="connsiteX18" fmla="*/ 152378 w 152377"/>
                <a:gd name="connsiteY18" fmla="*/ 109802 h 112042"/>
                <a:gd name="connsiteX19" fmla="*/ 152378 w 152377"/>
                <a:gd name="connsiteY19" fmla="*/ 15686 h 112042"/>
                <a:gd name="connsiteX20" fmla="*/ 150137 w 152377"/>
                <a:gd name="connsiteY20" fmla="*/ 13445 h 112042"/>
                <a:gd name="connsiteX21" fmla="*/ 112043 w 152377"/>
                <a:gd name="connsiteY21" fmla="*/ 4482 h 112042"/>
                <a:gd name="connsiteX22" fmla="*/ 134451 w 152377"/>
                <a:gd name="connsiteY22" fmla="*/ 4482 h 112042"/>
                <a:gd name="connsiteX23" fmla="*/ 134451 w 152377"/>
                <a:gd name="connsiteY23" fmla="*/ 13445 h 112042"/>
                <a:gd name="connsiteX24" fmla="*/ 112043 w 152377"/>
                <a:gd name="connsiteY24" fmla="*/ 13445 h 112042"/>
                <a:gd name="connsiteX25" fmla="*/ 112043 w 152377"/>
                <a:gd name="connsiteY25" fmla="*/ 4482 h 112042"/>
                <a:gd name="connsiteX26" fmla="*/ 17927 w 152377"/>
                <a:gd name="connsiteY26" fmla="*/ 4482 h 112042"/>
                <a:gd name="connsiteX27" fmla="*/ 40335 w 152377"/>
                <a:gd name="connsiteY27" fmla="*/ 4482 h 112042"/>
                <a:gd name="connsiteX28" fmla="*/ 40335 w 152377"/>
                <a:gd name="connsiteY28" fmla="*/ 13445 h 112042"/>
                <a:gd name="connsiteX29" fmla="*/ 17927 w 152377"/>
                <a:gd name="connsiteY29" fmla="*/ 13445 h 112042"/>
                <a:gd name="connsiteX30" fmla="*/ 17927 w 152377"/>
                <a:gd name="connsiteY30" fmla="*/ 4482 h 112042"/>
                <a:gd name="connsiteX31" fmla="*/ 147896 w 152377"/>
                <a:gd name="connsiteY31" fmla="*/ 107561 h 112042"/>
                <a:gd name="connsiteX32" fmla="*/ 4482 w 152377"/>
                <a:gd name="connsiteY32" fmla="*/ 107561 h 112042"/>
                <a:gd name="connsiteX33" fmla="*/ 4482 w 152377"/>
                <a:gd name="connsiteY33" fmla="*/ 17927 h 112042"/>
                <a:gd name="connsiteX34" fmla="*/ 147896 w 152377"/>
                <a:gd name="connsiteY34" fmla="*/ 17927 h 112042"/>
                <a:gd name="connsiteX35" fmla="*/ 147896 w 152377"/>
                <a:gd name="connsiteY35" fmla="*/ 107561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2377" h="112042">
                  <a:moveTo>
                    <a:pt x="150137" y="13445"/>
                  </a:moveTo>
                  <a:lnTo>
                    <a:pt x="138933" y="13445"/>
                  </a:lnTo>
                  <a:lnTo>
                    <a:pt x="138933" y="2241"/>
                  </a:lnTo>
                  <a:cubicBezTo>
                    <a:pt x="138933" y="896"/>
                    <a:pt x="138036" y="0"/>
                    <a:pt x="136692" y="0"/>
                  </a:cubicBezTo>
                  <a:lnTo>
                    <a:pt x="109802" y="0"/>
                  </a:lnTo>
                  <a:cubicBezTo>
                    <a:pt x="108457" y="0"/>
                    <a:pt x="107561" y="896"/>
                    <a:pt x="107561" y="2241"/>
                  </a:cubicBezTo>
                  <a:lnTo>
                    <a:pt x="107561" y="13445"/>
                  </a:lnTo>
                  <a:lnTo>
                    <a:pt x="44817" y="13445"/>
                  </a:lnTo>
                  <a:lnTo>
                    <a:pt x="44817" y="2241"/>
                  </a:lnTo>
                  <a:cubicBezTo>
                    <a:pt x="44817" y="896"/>
                    <a:pt x="43921" y="0"/>
                    <a:pt x="42576" y="0"/>
                  </a:cubicBezTo>
                  <a:lnTo>
                    <a:pt x="15686" y="0"/>
                  </a:lnTo>
                  <a:cubicBezTo>
                    <a:pt x="14342" y="0"/>
                    <a:pt x="13445" y="896"/>
                    <a:pt x="13445" y="2241"/>
                  </a:cubicBezTo>
                  <a:lnTo>
                    <a:pt x="13445" y="13445"/>
                  </a:lnTo>
                  <a:lnTo>
                    <a:pt x="2241" y="13445"/>
                  </a:lnTo>
                  <a:cubicBezTo>
                    <a:pt x="896" y="13445"/>
                    <a:pt x="0" y="14341"/>
                    <a:pt x="0" y="15686"/>
                  </a:cubicBezTo>
                  <a:lnTo>
                    <a:pt x="0" y="109802"/>
                  </a:lnTo>
                  <a:cubicBezTo>
                    <a:pt x="0" y="111146"/>
                    <a:pt x="896" y="112043"/>
                    <a:pt x="2241" y="112043"/>
                  </a:cubicBezTo>
                  <a:lnTo>
                    <a:pt x="150137" y="112043"/>
                  </a:lnTo>
                  <a:cubicBezTo>
                    <a:pt x="151482" y="112043"/>
                    <a:pt x="152378" y="111146"/>
                    <a:pt x="152378" y="109802"/>
                  </a:cubicBezTo>
                  <a:lnTo>
                    <a:pt x="152378" y="15686"/>
                  </a:lnTo>
                  <a:cubicBezTo>
                    <a:pt x="152378" y="14341"/>
                    <a:pt x="151033" y="13445"/>
                    <a:pt x="150137" y="13445"/>
                  </a:cubicBezTo>
                  <a:close/>
                  <a:moveTo>
                    <a:pt x="112043" y="4482"/>
                  </a:moveTo>
                  <a:lnTo>
                    <a:pt x="134451" y="4482"/>
                  </a:lnTo>
                  <a:lnTo>
                    <a:pt x="134451" y="13445"/>
                  </a:lnTo>
                  <a:lnTo>
                    <a:pt x="112043" y="13445"/>
                  </a:lnTo>
                  <a:lnTo>
                    <a:pt x="112043" y="4482"/>
                  </a:lnTo>
                  <a:close/>
                  <a:moveTo>
                    <a:pt x="17927" y="4482"/>
                  </a:moveTo>
                  <a:lnTo>
                    <a:pt x="40335" y="4482"/>
                  </a:lnTo>
                  <a:lnTo>
                    <a:pt x="40335" y="13445"/>
                  </a:lnTo>
                  <a:lnTo>
                    <a:pt x="17927" y="13445"/>
                  </a:lnTo>
                  <a:lnTo>
                    <a:pt x="17927" y="4482"/>
                  </a:lnTo>
                  <a:close/>
                  <a:moveTo>
                    <a:pt x="147896" y="107561"/>
                  </a:moveTo>
                  <a:lnTo>
                    <a:pt x="4482" y="107561"/>
                  </a:lnTo>
                  <a:lnTo>
                    <a:pt x="4482" y="17927"/>
                  </a:lnTo>
                  <a:lnTo>
                    <a:pt x="147896" y="17927"/>
                  </a:lnTo>
                  <a:lnTo>
                    <a:pt x="147896" y="107561"/>
                  </a:lnTo>
                  <a:close/>
                </a:path>
              </a:pathLst>
            </a:custGeom>
            <a:solidFill>
              <a:srgbClr val="231F20"/>
            </a:solidFill>
            <a:ln w="4477" cap="flat">
              <a:noFill/>
              <a:prstDash val="solid"/>
              <a:miter/>
            </a:ln>
          </p:spPr>
          <p:txBody>
            <a:bodyPr rtlCol="0" anchor="ctr"/>
            <a:lstStyle/>
            <a:p>
              <a:endParaRPr lang="en-US"/>
            </a:p>
          </p:txBody>
        </p:sp>
        <p:sp>
          <p:nvSpPr>
            <p:cNvPr id="3721" name="Freeform: Shape 3720">
              <a:extLst>
                <a:ext uri="{FF2B5EF4-FFF2-40B4-BE49-F238E27FC236}">
                  <a16:creationId xmlns:a16="http://schemas.microsoft.com/office/drawing/2014/main" id="{E2A93D2B-47DE-4546-933B-B01DE4922ECF}"/>
                </a:ext>
              </a:extLst>
            </p:cNvPr>
            <p:cNvSpPr/>
            <p:nvPr/>
          </p:nvSpPr>
          <p:spPr>
            <a:xfrm>
              <a:off x="7293980" y="5679198"/>
              <a:ext cx="35854" cy="35854"/>
            </a:xfrm>
            <a:custGeom>
              <a:avLst/>
              <a:gdLst>
                <a:gd name="connsiteX0" fmla="*/ 2241 w 35853"/>
                <a:gd name="connsiteY0" fmla="*/ 21064 h 35853"/>
                <a:gd name="connsiteX1" fmla="*/ 16582 w 35853"/>
                <a:gd name="connsiteY1" fmla="*/ 21064 h 35853"/>
                <a:gd name="connsiteX2" fmla="*/ 16582 w 35853"/>
                <a:gd name="connsiteY2" fmla="*/ 35405 h 35853"/>
                <a:gd name="connsiteX3" fmla="*/ 18823 w 35853"/>
                <a:gd name="connsiteY3" fmla="*/ 37646 h 35853"/>
                <a:gd name="connsiteX4" fmla="*/ 21064 w 35853"/>
                <a:gd name="connsiteY4" fmla="*/ 35405 h 35853"/>
                <a:gd name="connsiteX5" fmla="*/ 21064 w 35853"/>
                <a:gd name="connsiteY5" fmla="*/ 21064 h 35853"/>
                <a:gd name="connsiteX6" fmla="*/ 35405 w 35853"/>
                <a:gd name="connsiteY6" fmla="*/ 21064 h 35853"/>
                <a:gd name="connsiteX7" fmla="*/ 37646 w 35853"/>
                <a:gd name="connsiteY7" fmla="*/ 18823 h 35853"/>
                <a:gd name="connsiteX8" fmla="*/ 35405 w 35853"/>
                <a:gd name="connsiteY8" fmla="*/ 16582 h 35853"/>
                <a:gd name="connsiteX9" fmla="*/ 21064 w 35853"/>
                <a:gd name="connsiteY9" fmla="*/ 16582 h 35853"/>
                <a:gd name="connsiteX10" fmla="*/ 21064 w 35853"/>
                <a:gd name="connsiteY10" fmla="*/ 2241 h 35853"/>
                <a:gd name="connsiteX11" fmla="*/ 18823 w 35853"/>
                <a:gd name="connsiteY11" fmla="*/ 0 h 35853"/>
                <a:gd name="connsiteX12" fmla="*/ 16582 w 35853"/>
                <a:gd name="connsiteY12" fmla="*/ 2241 h 35853"/>
                <a:gd name="connsiteX13" fmla="*/ 16582 w 35853"/>
                <a:gd name="connsiteY13" fmla="*/ 16582 h 35853"/>
                <a:gd name="connsiteX14" fmla="*/ 2241 w 35853"/>
                <a:gd name="connsiteY14" fmla="*/ 16582 h 35853"/>
                <a:gd name="connsiteX15" fmla="*/ 0 w 35853"/>
                <a:gd name="connsiteY15" fmla="*/ 18823 h 35853"/>
                <a:gd name="connsiteX16" fmla="*/ 2241 w 35853"/>
                <a:gd name="connsiteY16" fmla="*/ 21064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853" h="35853">
                  <a:moveTo>
                    <a:pt x="2241" y="21064"/>
                  </a:moveTo>
                  <a:lnTo>
                    <a:pt x="16582" y="21064"/>
                  </a:lnTo>
                  <a:lnTo>
                    <a:pt x="16582" y="35405"/>
                  </a:lnTo>
                  <a:cubicBezTo>
                    <a:pt x="16582" y="36750"/>
                    <a:pt x="17479" y="37646"/>
                    <a:pt x="18823" y="37646"/>
                  </a:cubicBezTo>
                  <a:cubicBezTo>
                    <a:pt x="20168" y="37646"/>
                    <a:pt x="21064" y="36750"/>
                    <a:pt x="21064" y="35405"/>
                  </a:cubicBezTo>
                  <a:lnTo>
                    <a:pt x="21064" y="21064"/>
                  </a:lnTo>
                  <a:lnTo>
                    <a:pt x="35405" y="21064"/>
                  </a:lnTo>
                  <a:cubicBezTo>
                    <a:pt x="36750" y="21064"/>
                    <a:pt x="37646" y="20168"/>
                    <a:pt x="37646" y="18823"/>
                  </a:cubicBezTo>
                  <a:cubicBezTo>
                    <a:pt x="37646" y="17478"/>
                    <a:pt x="36750" y="16582"/>
                    <a:pt x="35405" y="16582"/>
                  </a:cubicBezTo>
                  <a:lnTo>
                    <a:pt x="21064" y="16582"/>
                  </a:lnTo>
                  <a:lnTo>
                    <a:pt x="21064" y="2241"/>
                  </a:lnTo>
                  <a:cubicBezTo>
                    <a:pt x="21064" y="896"/>
                    <a:pt x="20168" y="0"/>
                    <a:pt x="18823" y="0"/>
                  </a:cubicBezTo>
                  <a:cubicBezTo>
                    <a:pt x="17479" y="0"/>
                    <a:pt x="16582" y="896"/>
                    <a:pt x="16582" y="2241"/>
                  </a:cubicBezTo>
                  <a:lnTo>
                    <a:pt x="16582" y="16582"/>
                  </a:lnTo>
                  <a:lnTo>
                    <a:pt x="2241" y="16582"/>
                  </a:lnTo>
                  <a:cubicBezTo>
                    <a:pt x="896" y="16582"/>
                    <a:pt x="0" y="17478"/>
                    <a:pt x="0" y="18823"/>
                  </a:cubicBezTo>
                  <a:cubicBezTo>
                    <a:pt x="0" y="20168"/>
                    <a:pt x="896" y="21064"/>
                    <a:pt x="2241" y="21064"/>
                  </a:cubicBezTo>
                  <a:close/>
                </a:path>
              </a:pathLst>
            </a:custGeom>
            <a:solidFill>
              <a:srgbClr val="231F20"/>
            </a:solidFill>
            <a:ln w="4477" cap="flat">
              <a:noFill/>
              <a:prstDash val="solid"/>
              <a:miter/>
            </a:ln>
          </p:spPr>
          <p:txBody>
            <a:bodyPr rtlCol="0" anchor="ctr"/>
            <a:lstStyle/>
            <a:p>
              <a:endParaRPr lang="en-US"/>
            </a:p>
          </p:txBody>
        </p:sp>
        <p:sp>
          <p:nvSpPr>
            <p:cNvPr id="3722" name="Freeform: Shape 3721">
              <a:extLst>
                <a:ext uri="{FF2B5EF4-FFF2-40B4-BE49-F238E27FC236}">
                  <a16:creationId xmlns:a16="http://schemas.microsoft.com/office/drawing/2014/main" id="{3F839DB9-B8B7-4B08-9540-F1649D574300}"/>
                </a:ext>
              </a:extLst>
            </p:cNvPr>
            <p:cNvSpPr/>
            <p:nvPr/>
          </p:nvSpPr>
          <p:spPr>
            <a:xfrm>
              <a:off x="7361206" y="5695780"/>
              <a:ext cx="35854" cy="4482"/>
            </a:xfrm>
            <a:custGeom>
              <a:avLst/>
              <a:gdLst>
                <a:gd name="connsiteX0" fmla="*/ 2241 w 35853"/>
                <a:gd name="connsiteY0" fmla="*/ 4482 h 4481"/>
                <a:gd name="connsiteX1" fmla="*/ 34957 w 35853"/>
                <a:gd name="connsiteY1" fmla="*/ 4482 h 4481"/>
                <a:gd name="connsiteX2" fmla="*/ 37198 w 35853"/>
                <a:gd name="connsiteY2" fmla="*/ 2241 h 4481"/>
                <a:gd name="connsiteX3" fmla="*/ 34957 w 35853"/>
                <a:gd name="connsiteY3" fmla="*/ 0 h 4481"/>
                <a:gd name="connsiteX4" fmla="*/ 2241 w 35853"/>
                <a:gd name="connsiteY4" fmla="*/ 0 h 4481"/>
                <a:gd name="connsiteX5" fmla="*/ 0 w 35853"/>
                <a:gd name="connsiteY5" fmla="*/ 2241 h 4481"/>
                <a:gd name="connsiteX6" fmla="*/ 2241 w 35853"/>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3" h="4481">
                  <a:moveTo>
                    <a:pt x="2241" y="4482"/>
                  </a:moveTo>
                  <a:lnTo>
                    <a:pt x="34957" y="4482"/>
                  </a:lnTo>
                  <a:cubicBezTo>
                    <a:pt x="36302" y="4482"/>
                    <a:pt x="37198" y="3586"/>
                    <a:pt x="37198" y="2241"/>
                  </a:cubicBezTo>
                  <a:cubicBezTo>
                    <a:pt x="37198" y="896"/>
                    <a:pt x="36302" y="0"/>
                    <a:pt x="34957" y="0"/>
                  </a:cubicBezTo>
                  <a:lnTo>
                    <a:pt x="2241" y="0"/>
                  </a:lnTo>
                  <a:cubicBezTo>
                    <a:pt x="896" y="0"/>
                    <a:pt x="0" y="896"/>
                    <a:pt x="0" y="2241"/>
                  </a:cubicBezTo>
                  <a:cubicBezTo>
                    <a:pt x="0" y="3586"/>
                    <a:pt x="896" y="4482"/>
                    <a:pt x="2241" y="4482"/>
                  </a:cubicBezTo>
                  <a:close/>
                </a:path>
              </a:pathLst>
            </a:custGeom>
            <a:solidFill>
              <a:srgbClr val="231F20"/>
            </a:solidFill>
            <a:ln w="4477" cap="flat">
              <a:noFill/>
              <a:prstDash val="solid"/>
              <a:miter/>
            </a:ln>
          </p:spPr>
          <p:txBody>
            <a:bodyPr rtlCol="0" anchor="ctr"/>
            <a:lstStyle/>
            <a:p>
              <a:endParaRPr lang="en-US"/>
            </a:p>
          </p:txBody>
        </p:sp>
      </p:grpSp>
      <p:sp>
        <p:nvSpPr>
          <p:cNvPr id="3723" name="Freeform: Shape 3722">
            <a:extLst>
              <a:ext uri="{FF2B5EF4-FFF2-40B4-BE49-F238E27FC236}">
                <a16:creationId xmlns:a16="http://schemas.microsoft.com/office/drawing/2014/main" id="{306D9FC7-2E0D-4C2D-860A-A4DBD0FE3AD4}"/>
              </a:ext>
              <a:ext uri="{C183D7F6-B498-43B3-948B-1728B52AA6E4}">
                <adec:decorative xmlns:adec="http://schemas.microsoft.com/office/drawing/2017/decorative" val="1"/>
              </a:ext>
            </a:extLst>
          </p:cNvPr>
          <p:cNvSpPr>
            <a:spLocks noChangeAspect="1"/>
          </p:cNvSpPr>
          <p:nvPr/>
        </p:nvSpPr>
        <p:spPr>
          <a:xfrm>
            <a:off x="4263781" y="2416760"/>
            <a:ext cx="152378" cy="138933"/>
          </a:xfrm>
          <a:custGeom>
            <a:avLst/>
            <a:gdLst>
              <a:gd name="connsiteX0" fmla="*/ 150137 w 152377"/>
              <a:gd name="connsiteY0" fmla="*/ 134451 h 138932"/>
              <a:gd name="connsiteX1" fmla="*/ 138036 w 152377"/>
              <a:gd name="connsiteY1" fmla="*/ 134451 h 138932"/>
              <a:gd name="connsiteX2" fmla="*/ 112043 w 152377"/>
              <a:gd name="connsiteY2" fmla="*/ 2241 h 138932"/>
              <a:gd name="connsiteX3" fmla="*/ 109802 w 152377"/>
              <a:gd name="connsiteY3" fmla="*/ 0 h 138932"/>
              <a:gd name="connsiteX4" fmla="*/ 42576 w 152377"/>
              <a:gd name="connsiteY4" fmla="*/ 0 h 138932"/>
              <a:gd name="connsiteX5" fmla="*/ 40335 w 152377"/>
              <a:gd name="connsiteY5" fmla="*/ 2241 h 138932"/>
              <a:gd name="connsiteX6" fmla="*/ 14341 w 152377"/>
              <a:gd name="connsiteY6" fmla="*/ 134451 h 138932"/>
              <a:gd name="connsiteX7" fmla="*/ 2241 w 152377"/>
              <a:gd name="connsiteY7" fmla="*/ 134451 h 138932"/>
              <a:gd name="connsiteX8" fmla="*/ 0 w 152377"/>
              <a:gd name="connsiteY8" fmla="*/ 136692 h 138932"/>
              <a:gd name="connsiteX9" fmla="*/ 2241 w 152377"/>
              <a:gd name="connsiteY9" fmla="*/ 138933 h 138932"/>
              <a:gd name="connsiteX10" fmla="*/ 15686 w 152377"/>
              <a:gd name="connsiteY10" fmla="*/ 138933 h 138932"/>
              <a:gd name="connsiteX11" fmla="*/ 136692 w 152377"/>
              <a:gd name="connsiteY11" fmla="*/ 138933 h 138932"/>
              <a:gd name="connsiteX12" fmla="*/ 150137 w 152377"/>
              <a:gd name="connsiteY12" fmla="*/ 138933 h 138932"/>
              <a:gd name="connsiteX13" fmla="*/ 152378 w 152377"/>
              <a:gd name="connsiteY13" fmla="*/ 136692 h 138932"/>
              <a:gd name="connsiteX14" fmla="*/ 150137 w 152377"/>
              <a:gd name="connsiteY14" fmla="*/ 134451 h 138932"/>
              <a:gd name="connsiteX15" fmla="*/ 19719 w 152377"/>
              <a:gd name="connsiteY15" fmla="*/ 134451 h 138932"/>
              <a:gd name="connsiteX16" fmla="*/ 44817 w 152377"/>
              <a:gd name="connsiteY16" fmla="*/ 4482 h 138932"/>
              <a:gd name="connsiteX17" fmla="*/ 107561 w 152377"/>
              <a:gd name="connsiteY17" fmla="*/ 4482 h 138932"/>
              <a:gd name="connsiteX18" fmla="*/ 132658 w 152377"/>
              <a:gd name="connsiteY18" fmla="*/ 134451 h 138932"/>
              <a:gd name="connsiteX19" fmla="*/ 19719 w 152377"/>
              <a:gd name="connsiteY19"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377" h="138932">
                <a:moveTo>
                  <a:pt x="150137" y="134451"/>
                </a:moveTo>
                <a:lnTo>
                  <a:pt x="138036" y="134451"/>
                </a:lnTo>
                <a:cubicBezTo>
                  <a:pt x="112491" y="94564"/>
                  <a:pt x="112043" y="3137"/>
                  <a:pt x="112043" y="2241"/>
                </a:cubicBezTo>
                <a:cubicBezTo>
                  <a:pt x="112043" y="896"/>
                  <a:pt x="111146" y="0"/>
                  <a:pt x="109802" y="0"/>
                </a:cubicBezTo>
                <a:lnTo>
                  <a:pt x="42576" y="0"/>
                </a:lnTo>
                <a:cubicBezTo>
                  <a:pt x="41231" y="0"/>
                  <a:pt x="40335" y="896"/>
                  <a:pt x="40335" y="2241"/>
                </a:cubicBezTo>
                <a:cubicBezTo>
                  <a:pt x="40335" y="3137"/>
                  <a:pt x="39887" y="94564"/>
                  <a:pt x="14341" y="134451"/>
                </a:cubicBezTo>
                <a:lnTo>
                  <a:pt x="2241" y="134451"/>
                </a:lnTo>
                <a:cubicBezTo>
                  <a:pt x="896" y="134451"/>
                  <a:pt x="0" y="135347"/>
                  <a:pt x="0" y="136692"/>
                </a:cubicBezTo>
                <a:cubicBezTo>
                  <a:pt x="0" y="138036"/>
                  <a:pt x="896" y="138933"/>
                  <a:pt x="2241" y="138933"/>
                </a:cubicBezTo>
                <a:lnTo>
                  <a:pt x="15686" y="138933"/>
                </a:lnTo>
                <a:lnTo>
                  <a:pt x="136692" y="138933"/>
                </a:lnTo>
                <a:lnTo>
                  <a:pt x="150137" y="138933"/>
                </a:lnTo>
                <a:cubicBezTo>
                  <a:pt x="151481" y="138933"/>
                  <a:pt x="152378" y="138036"/>
                  <a:pt x="152378" y="136692"/>
                </a:cubicBezTo>
                <a:cubicBezTo>
                  <a:pt x="152378" y="135347"/>
                  <a:pt x="151481" y="134451"/>
                  <a:pt x="150137" y="134451"/>
                </a:cubicBezTo>
                <a:close/>
                <a:moveTo>
                  <a:pt x="19719" y="134451"/>
                </a:moveTo>
                <a:cubicBezTo>
                  <a:pt x="42576" y="95460"/>
                  <a:pt x="44817" y="18823"/>
                  <a:pt x="44817" y="4482"/>
                </a:cubicBezTo>
                <a:lnTo>
                  <a:pt x="107561" y="4482"/>
                </a:lnTo>
                <a:cubicBezTo>
                  <a:pt x="107561" y="18823"/>
                  <a:pt x="109802" y="95460"/>
                  <a:pt x="132658" y="134451"/>
                </a:cubicBezTo>
                <a:lnTo>
                  <a:pt x="19719" y="134451"/>
                </a:lnTo>
                <a:close/>
              </a:path>
            </a:pathLst>
          </a:custGeom>
          <a:solidFill>
            <a:srgbClr val="231F20"/>
          </a:solidFill>
          <a:ln w="4477" cap="flat">
            <a:noFill/>
            <a:prstDash val="solid"/>
            <a:miter/>
          </a:ln>
        </p:spPr>
        <p:txBody>
          <a:bodyPr rtlCol="0" anchor="ctr"/>
          <a:lstStyle/>
          <a:p>
            <a:endParaRPr lang="en-US"/>
          </a:p>
        </p:txBody>
      </p:sp>
      <p:grpSp>
        <p:nvGrpSpPr>
          <p:cNvPr id="3724" name="Group 3723">
            <a:extLst>
              <a:ext uri="{FF2B5EF4-FFF2-40B4-BE49-F238E27FC236}">
                <a16:creationId xmlns:a16="http://schemas.microsoft.com/office/drawing/2014/main" id="{55DB5441-AABC-4DED-930C-E81E3E6E4E2E}"/>
              </a:ext>
              <a:ext uri="{C183D7F6-B498-43B3-948B-1728B52AA6E4}">
                <adec:decorative xmlns:adec="http://schemas.microsoft.com/office/drawing/2017/decorative" val="1"/>
              </a:ext>
            </a:extLst>
          </p:cNvPr>
          <p:cNvGrpSpPr>
            <a:grpSpLocks noChangeAspect="1"/>
          </p:cNvGrpSpPr>
          <p:nvPr/>
        </p:nvGrpSpPr>
        <p:grpSpPr>
          <a:xfrm>
            <a:off x="4543439" y="2057327"/>
            <a:ext cx="138933" cy="161341"/>
            <a:chOff x="10445065" y="4903863"/>
            <a:chExt cx="138933" cy="161341"/>
          </a:xfrm>
        </p:grpSpPr>
        <p:sp>
          <p:nvSpPr>
            <p:cNvPr id="3725" name="Freeform: Shape 3724">
              <a:extLst>
                <a:ext uri="{FF2B5EF4-FFF2-40B4-BE49-F238E27FC236}">
                  <a16:creationId xmlns:a16="http://schemas.microsoft.com/office/drawing/2014/main" id="{33D4B46E-4E3B-4297-AD09-7395DB5681D6}"/>
                </a:ext>
              </a:extLst>
            </p:cNvPr>
            <p:cNvSpPr/>
            <p:nvPr/>
          </p:nvSpPr>
          <p:spPr>
            <a:xfrm>
              <a:off x="10498397" y="4962125"/>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2"/>
                    <a:pt x="896" y="78878"/>
                    <a:pt x="2241" y="78878"/>
                  </a:cubicBezTo>
                  <a:cubicBezTo>
                    <a:pt x="3585" y="78878"/>
                    <a:pt x="4482" y="77982"/>
                    <a:pt x="4482" y="7663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3726" name="Freeform: Shape 3725">
              <a:extLst>
                <a:ext uri="{FF2B5EF4-FFF2-40B4-BE49-F238E27FC236}">
                  <a16:creationId xmlns:a16="http://schemas.microsoft.com/office/drawing/2014/main" id="{DCF3F8BA-C361-4540-8003-14FC0C090C87}"/>
                </a:ext>
              </a:extLst>
            </p:cNvPr>
            <p:cNvSpPr/>
            <p:nvPr/>
          </p:nvSpPr>
          <p:spPr>
            <a:xfrm>
              <a:off x="10511842" y="4962125"/>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2"/>
                    <a:pt x="896" y="78878"/>
                    <a:pt x="2241" y="78878"/>
                  </a:cubicBezTo>
                  <a:cubicBezTo>
                    <a:pt x="3585" y="78878"/>
                    <a:pt x="4482" y="77982"/>
                    <a:pt x="4482" y="7663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3727" name="Freeform: Shape 3726">
              <a:extLst>
                <a:ext uri="{FF2B5EF4-FFF2-40B4-BE49-F238E27FC236}">
                  <a16:creationId xmlns:a16="http://schemas.microsoft.com/office/drawing/2014/main" id="{AE0720C6-05D6-4815-A7FE-B37747B9785D}"/>
                </a:ext>
              </a:extLst>
            </p:cNvPr>
            <p:cNvSpPr/>
            <p:nvPr/>
          </p:nvSpPr>
          <p:spPr>
            <a:xfrm>
              <a:off x="10525287" y="4962125"/>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2"/>
                    <a:pt x="896" y="78878"/>
                    <a:pt x="2241" y="78878"/>
                  </a:cubicBezTo>
                  <a:cubicBezTo>
                    <a:pt x="3585" y="78878"/>
                    <a:pt x="4482" y="77982"/>
                    <a:pt x="4482" y="76637"/>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sp>
          <p:nvSpPr>
            <p:cNvPr id="3728" name="Freeform: Shape 3727">
              <a:extLst>
                <a:ext uri="{FF2B5EF4-FFF2-40B4-BE49-F238E27FC236}">
                  <a16:creationId xmlns:a16="http://schemas.microsoft.com/office/drawing/2014/main" id="{881EE5F8-0B27-4B40-8E54-5FB2691C2BC2}"/>
                </a:ext>
              </a:extLst>
            </p:cNvPr>
            <p:cNvSpPr/>
            <p:nvPr/>
          </p:nvSpPr>
          <p:spPr>
            <a:xfrm>
              <a:off x="10445065" y="4903863"/>
              <a:ext cx="138933" cy="161341"/>
            </a:xfrm>
            <a:custGeom>
              <a:avLst/>
              <a:gdLst>
                <a:gd name="connsiteX0" fmla="*/ 139829 w 138932"/>
                <a:gd name="connsiteY0" fmla="*/ 159997 h 161341"/>
                <a:gd name="connsiteX1" fmla="*/ 125040 w 138932"/>
                <a:gd name="connsiteY1" fmla="*/ 159997 h 161341"/>
                <a:gd name="connsiteX2" fmla="*/ 125040 w 138932"/>
                <a:gd name="connsiteY2" fmla="*/ 147896 h 161341"/>
                <a:gd name="connsiteX3" fmla="*/ 122799 w 138932"/>
                <a:gd name="connsiteY3" fmla="*/ 145655 h 161341"/>
                <a:gd name="connsiteX4" fmla="*/ 104872 w 138932"/>
                <a:gd name="connsiteY4" fmla="*/ 145655 h 161341"/>
                <a:gd name="connsiteX5" fmla="*/ 104872 w 138932"/>
                <a:gd name="connsiteY5" fmla="*/ 47058 h 161341"/>
                <a:gd name="connsiteX6" fmla="*/ 102631 w 138932"/>
                <a:gd name="connsiteY6" fmla="*/ 44817 h 161341"/>
                <a:gd name="connsiteX7" fmla="*/ 91427 w 138932"/>
                <a:gd name="connsiteY7" fmla="*/ 44817 h 161341"/>
                <a:gd name="connsiteX8" fmla="*/ 91427 w 138932"/>
                <a:gd name="connsiteY8" fmla="*/ 33613 h 161341"/>
                <a:gd name="connsiteX9" fmla="*/ 89186 w 138932"/>
                <a:gd name="connsiteY9" fmla="*/ 31372 h 161341"/>
                <a:gd name="connsiteX10" fmla="*/ 74396 w 138932"/>
                <a:gd name="connsiteY10" fmla="*/ 31372 h 161341"/>
                <a:gd name="connsiteX11" fmla="*/ 81567 w 138932"/>
                <a:gd name="connsiteY11" fmla="*/ 26442 h 161341"/>
                <a:gd name="connsiteX12" fmla="*/ 80671 w 138932"/>
                <a:gd name="connsiteY12" fmla="*/ 23305 h 161341"/>
                <a:gd name="connsiteX13" fmla="*/ 77533 w 138932"/>
                <a:gd name="connsiteY13" fmla="*/ 24201 h 161341"/>
                <a:gd name="connsiteX14" fmla="*/ 73052 w 138932"/>
                <a:gd name="connsiteY14" fmla="*/ 27339 h 161341"/>
                <a:gd name="connsiteX15" fmla="*/ 68122 w 138932"/>
                <a:gd name="connsiteY15" fmla="*/ 22857 h 161341"/>
                <a:gd name="connsiteX16" fmla="*/ 72156 w 138932"/>
                <a:gd name="connsiteY16" fmla="*/ 22857 h 161341"/>
                <a:gd name="connsiteX17" fmla="*/ 74396 w 138932"/>
                <a:gd name="connsiteY17" fmla="*/ 20616 h 161341"/>
                <a:gd name="connsiteX18" fmla="*/ 72156 w 138932"/>
                <a:gd name="connsiteY18" fmla="*/ 18375 h 161341"/>
                <a:gd name="connsiteX19" fmla="*/ 66777 w 138932"/>
                <a:gd name="connsiteY19" fmla="*/ 18375 h 161341"/>
                <a:gd name="connsiteX20" fmla="*/ 66777 w 138932"/>
                <a:gd name="connsiteY20" fmla="*/ 15686 h 161341"/>
                <a:gd name="connsiteX21" fmla="*/ 66777 w 138932"/>
                <a:gd name="connsiteY21" fmla="*/ 14790 h 161341"/>
                <a:gd name="connsiteX22" fmla="*/ 71707 w 138932"/>
                <a:gd name="connsiteY22" fmla="*/ 14790 h 161341"/>
                <a:gd name="connsiteX23" fmla="*/ 73948 w 138932"/>
                <a:gd name="connsiteY23" fmla="*/ 12549 h 161341"/>
                <a:gd name="connsiteX24" fmla="*/ 71707 w 138932"/>
                <a:gd name="connsiteY24" fmla="*/ 10308 h 161341"/>
                <a:gd name="connsiteX25" fmla="*/ 67226 w 138932"/>
                <a:gd name="connsiteY25" fmla="*/ 10308 h 161341"/>
                <a:gd name="connsiteX26" fmla="*/ 73052 w 138932"/>
                <a:gd name="connsiteY26" fmla="*/ 4034 h 161341"/>
                <a:gd name="connsiteX27" fmla="*/ 77533 w 138932"/>
                <a:gd name="connsiteY27" fmla="*/ 7171 h 161341"/>
                <a:gd name="connsiteX28" fmla="*/ 80671 w 138932"/>
                <a:gd name="connsiteY28" fmla="*/ 8067 h 161341"/>
                <a:gd name="connsiteX29" fmla="*/ 81567 w 138932"/>
                <a:gd name="connsiteY29" fmla="*/ 4930 h 161341"/>
                <a:gd name="connsiteX30" fmla="*/ 73500 w 138932"/>
                <a:gd name="connsiteY30" fmla="*/ 0 h 161341"/>
                <a:gd name="connsiteX31" fmla="*/ 63192 w 138932"/>
                <a:gd name="connsiteY31" fmla="*/ 10756 h 161341"/>
                <a:gd name="connsiteX32" fmla="*/ 57814 w 138932"/>
                <a:gd name="connsiteY32" fmla="*/ 10756 h 161341"/>
                <a:gd name="connsiteX33" fmla="*/ 55573 w 138932"/>
                <a:gd name="connsiteY33" fmla="*/ 12997 h 161341"/>
                <a:gd name="connsiteX34" fmla="*/ 57814 w 138932"/>
                <a:gd name="connsiteY34" fmla="*/ 15238 h 161341"/>
                <a:gd name="connsiteX35" fmla="*/ 62744 w 138932"/>
                <a:gd name="connsiteY35" fmla="*/ 15238 h 161341"/>
                <a:gd name="connsiteX36" fmla="*/ 62744 w 138932"/>
                <a:gd name="connsiteY36" fmla="*/ 16134 h 161341"/>
                <a:gd name="connsiteX37" fmla="*/ 62744 w 138932"/>
                <a:gd name="connsiteY37" fmla="*/ 18823 h 161341"/>
                <a:gd name="connsiteX38" fmla="*/ 57814 w 138932"/>
                <a:gd name="connsiteY38" fmla="*/ 18823 h 161341"/>
                <a:gd name="connsiteX39" fmla="*/ 55573 w 138932"/>
                <a:gd name="connsiteY39" fmla="*/ 21064 h 161341"/>
                <a:gd name="connsiteX40" fmla="*/ 57814 w 138932"/>
                <a:gd name="connsiteY40" fmla="*/ 23305 h 161341"/>
                <a:gd name="connsiteX41" fmla="*/ 64088 w 138932"/>
                <a:gd name="connsiteY41" fmla="*/ 23305 h 161341"/>
                <a:gd name="connsiteX42" fmla="*/ 72604 w 138932"/>
                <a:gd name="connsiteY42" fmla="*/ 31820 h 161341"/>
                <a:gd name="connsiteX43" fmla="*/ 49299 w 138932"/>
                <a:gd name="connsiteY43" fmla="*/ 31820 h 161341"/>
                <a:gd name="connsiteX44" fmla="*/ 47058 w 138932"/>
                <a:gd name="connsiteY44" fmla="*/ 34061 h 161341"/>
                <a:gd name="connsiteX45" fmla="*/ 47058 w 138932"/>
                <a:gd name="connsiteY45" fmla="*/ 45265 h 161341"/>
                <a:gd name="connsiteX46" fmla="*/ 35854 w 138932"/>
                <a:gd name="connsiteY46" fmla="*/ 45265 h 161341"/>
                <a:gd name="connsiteX47" fmla="*/ 33613 w 138932"/>
                <a:gd name="connsiteY47" fmla="*/ 47506 h 161341"/>
                <a:gd name="connsiteX48" fmla="*/ 33613 w 138932"/>
                <a:gd name="connsiteY48" fmla="*/ 146104 h 161341"/>
                <a:gd name="connsiteX49" fmla="*/ 19271 w 138932"/>
                <a:gd name="connsiteY49" fmla="*/ 146104 h 161341"/>
                <a:gd name="connsiteX50" fmla="*/ 17030 w 138932"/>
                <a:gd name="connsiteY50" fmla="*/ 148345 h 161341"/>
                <a:gd name="connsiteX51" fmla="*/ 17030 w 138932"/>
                <a:gd name="connsiteY51" fmla="*/ 160445 h 161341"/>
                <a:gd name="connsiteX52" fmla="*/ 2241 w 138932"/>
                <a:gd name="connsiteY52" fmla="*/ 160445 h 161341"/>
                <a:gd name="connsiteX53" fmla="*/ 0 w 138932"/>
                <a:gd name="connsiteY53" fmla="*/ 162686 h 161341"/>
                <a:gd name="connsiteX54" fmla="*/ 2241 w 138932"/>
                <a:gd name="connsiteY54" fmla="*/ 164927 h 161341"/>
                <a:gd name="connsiteX55" fmla="*/ 19271 w 138932"/>
                <a:gd name="connsiteY55" fmla="*/ 164927 h 161341"/>
                <a:gd name="connsiteX56" fmla="*/ 123247 w 138932"/>
                <a:gd name="connsiteY56" fmla="*/ 164927 h 161341"/>
                <a:gd name="connsiteX57" fmla="*/ 140277 w 138932"/>
                <a:gd name="connsiteY57" fmla="*/ 164927 h 161341"/>
                <a:gd name="connsiteX58" fmla="*/ 142518 w 138932"/>
                <a:gd name="connsiteY58" fmla="*/ 162686 h 161341"/>
                <a:gd name="connsiteX59" fmla="*/ 139829 w 138932"/>
                <a:gd name="connsiteY59" fmla="*/ 159997 h 161341"/>
                <a:gd name="connsiteX60" fmla="*/ 51092 w 138932"/>
                <a:gd name="connsiteY60" fmla="*/ 35854 h 161341"/>
                <a:gd name="connsiteX61" fmla="*/ 86945 w 138932"/>
                <a:gd name="connsiteY61" fmla="*/ 35854 h 161341"/>
                <a:gd name="connsiteX62" fmla="*/ 86945 w 138932"/>
                <a:gd name="connsiteY62" fmla="*/ 44817 h 161341"/>
                <a:gd name="connsiteX63" fmla="*/ 51092 w 138932"/>
                <a:gd name="connsiteY63" fmla="*/ 44817 h 161341"/>
                <a:gd name="connsiteX64" fmla="*/ 51092 w 138932"/>
                <a:gd name="connsiteY64" fmla="*/ 35854 h 161341"/>
                <a:gd name="connsiteX65" fmla="*/ 37646 w 138932"/>
                <a:gd name="connsiteY65" fmla="*/ 49299 h 161341"/>
                <a:gd name="connsiteX66" fmla="*/ 48851 w 138932"/>
                <a:gd name="connsiteY66" fmla="*/ 49299 h 161341"/>
                <a:gd name="connsiteX67" fmla="*/ 89186 w 138932"/>
                <a:gd name="connsiteY67" fmla="*/ 49299 h 161341"/>
                <a:gd name="connsiteX68" fmla="*/ 100390 w 138932"/>
                <a:gd name="connsiteY68" fmla="*/ 49299 h 161341"/>
                <a:gd name="connsiteX69" fmla="*/ 100390 w 138932"/>
                <a:gd name="connsiteY69" fmla="*/ 145655 h 161341"/>
                <a:gd name="connsiteX70" fmla="*/ 37646 w 138932"/>
                <a:gd name="connsiteY70" fmla="*/ 145655 h 161341"/>
                <a:gd name="connsiteX71" fmla="*/ 37646 w 138932"/>
                <a:gd name="connsiteY71" fmla="*/ 49299 h 161341"/>
                <a:gd name="connsiteX72" fmla="*/ 21512 w 138932"/>
                <a:gd name="connsiteY72" fmla="*/ 159997 h 161341"/>
                <a:gd name="connsiteX73" fmla="*/ 21512 w 138932"/>
                <a:gd name="connsiteY73" fmla="*/ 150137 h 161341"/>
                <a:gd name="connsiteX74" fmla="*/ 35854 w 138932"/>
                <a:gd name="connsiteY74" fmla="*/ 150137 h 161341"/>
                <a:gd name="connsiteX75" fmla="*/ 103079 w 138932"/>
                <a:gd name="connsiteY75" fmla="*/ 150137 h 161341"/>
                <a:gd name="connsiteX76" fmla="*/ 121006 w 138932"/>
                <a:gd name="connsiteY76" fmla="*/ 150137 h 161341"/>
                <a:gd name="connsiteX77" fmla="*/ 121006 w 138932"/>
                <a:gd name="connsiteY77" fmla="*/ 159997 h 161341"/>
                <a:gd name="connsiteX78" fmla="*/ 21512 w 138932"/>
                <a:gd name="connsiteY78" fmla="*/ 159997 h 16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8932" h="161341">
                  <a:moveTo>
                    <a:pt x="139829" y="159997"/>
                  </a:moveTo>
                  <a:lnTo>
                    <a:pt x="125040" y="159997"/>
                  </a:lnTo>
                  <a:lnTo>
                    <a:pt x="125040" y="147896"/>
                  </a:lnTo>
                  <a:cubicBezTo>
                    <a:pt x="125040" y="146552"/>
                    <a:pt x="124143" y="145655"/>
                    <a:pt x="122799" y="145655"/>
                  </a:cubicBezTo>
                  <a:lnTo>
                    <a:pt x="104872" y="145655"/>
                  </a:lnTo>
                  <a:lnTo>
                    <a:pt x="104872" y="47058"/>
                  </a:lnTo>
                  <a:cubicBezTo>
                    <a:pt x="104872" y="45713"/>
                    <a:pt x="103976" y="44817"/>
                    <a:pt x="102631" y="44817"/>
                  </a:cubicBezTo>
                  <a:lnTo>
                    <a:pt x="91427" y="44817"/>
                  </a:lnTo>
                  <a:lnTo>
                    <a:pt x="91427" y="33613"/>
                  </a:lnTo>
                  <a:cubicBezTo>
                    <a:pt x="91427" y="32268"/>
                    <a:pt x="90530" y="31372"/>
                    <a:pt x="89186" y="31372"/>
                  </a:cubicBezTo>
                  <a:lnTo>
                    <a:pt x="74396" y="31372"/>
                  </a:lnTo>
                  <a:cubicBezTo>
                    <a:pt x="77085" y="30924"/>
                    <a:pt x="79326" y="29131"/>
                    <a:pt x="81567" y="26442"/>
                  </a:cubicBezTo>
                  <a:cubicBezTo>
                    <a:pt x="82015" y="25546"/>
                    <a:pt x="82015" y="24201"/>
                    <a:pt x="80671" y="23305"/>
                  </a:cubicBezTo>
                  <a:cubicBezTo>
                    <a:pt x="79326" y="22409"/>
                    <a:pt x="78430" y="22857"/>
                    <a:pt x="77533" y="24201"/>
                  </a:cubicBezTo>
                  <a:cubicBezTo>
                    <a:pt x="76637" y="25098"/>
                    <a:pt x="75293" y="27339"/>
                    <a:pt x="73052" y="27339"/>
                  </a:cubicBezTo>
                  <a:cubicBezTo>
                    <a:pt x="71259" y="27339"/>
                    <a:pt x="69466" y="25546"/>
                    <a:pt x="68122" y="22857"/>
                  </a:cubicBezTo>
                  <a:lnTo>
                    <a:pt x="72156" y="22857"/>
                  </a:lnTo>
                  <a:cubicBezTo>
                    <a:pt x="73500" y="22857"/>
                    <a:pt x="74396" y="21960"/>
                    <a:pt x="74396" y="20616"/>
                  </a:cubicBezTo>
                  <a:cubicBezTo>
                    <a:pt x="74396" y="19271"/>
                    <a:pt x="73500" y="18375"/>
                    <a:pt x="72156" y="18375"/>
                  </a:cubicBezTo>
                  <a:lnTo>
                    <a:pt x="66777" y="18375"/>
                  </a:lnTo>
                  <a:cubicBezTo>
                    <a:pt x="66777" y="17479"/>
                    <a:pt x="66777" y="16582"/>
                    <a:pt x="66777" y="15686"/>
                  </a:cubicBezTo>
                  <a:cubicBezTo>
                    <a:pt x="66777" y="15238"/>
                    <a:pt x="66777" y="15238"/>
                    <a:pt x="66777" y="14790"/>
                  </a:cubicBezTo>
                  <a:lnTo>
                    <a:pt x="71707" y="14790"/>
                  </a:lnTo>
                  <a:cubicBezTo>
                    <a:pt x="73052" y="14790"/>
                    <a:pt x="73948" y="13893"/>
                    <a:pt x="73948" y="12549"/>
                  </a:cubicBezTo>
                  <a:cubicBezTo>
                    <a:pt x="73948" y="11204"/>
                    <a:pt x="73052" y="10308"/>
                    <a:pt x="71707" y="10308"/>
                  </a:cubicBezTo>
                  <a:lnTo>
                    <a:pt x="67226" y="10308"/>
                  </a:lnTo>
                  <a:cubicBezTo>
                    <a:pt x="68122" y="6723"/>
                    <a:pt x="70363" y="4034"/>
                    <a:pt x="73052" y="4034"/>
                  </a:cubicBezTo>
                  <a:cubicBezTo>
                    <a:pt x="75293" y="4034"/>
                    <a:pt x="76637" y="5826"/>
                    <a:pt x="77533" y="7171"/>
                  </a:cubicBezTo>
                  <a:cubicBezTo>
                    <a:pt x="77982" y="8067"/>
                    <a:pt x="79774" y="8515"/>
                    <a:pt x="80671" y="8067"/>
                  </a:cubicBezTo>
                  <a:cubicBezTo>
                    <a:pt x="81567" y="7619"/>
                    <a:pt x="82015" y="5826"/>
                    <a:pt x="81567" y="4930"/>
                  </a:cubicBezTo>
                  <a:cubicBezTo>
                    <a:pt x="79326" y="1793"/>
                    <a:pt x="76637" y="0"/>
                    <a:pt x="73500" y="0"/>
                  </a:cubicBezTo>
                  <a:cubicBezTo>
                    <a:pt x="68570" y="0"/>
                    <a:pt x="64537" y="4482"/>
                    <a:pt x="63192" y="10756"/>
                  </a:cubicBezTo>
                  <a:lnTo>
                    <a:pt x="57814" y="10756"/>
                  </a:lnTo>
                  <a:cubicBezTo>
                    <a:pt x="56470" y="10756"/>
                    <a:pt x="55573" y="11653"/>
                    <a:pt x="55573" y="12997"/>
                  </a:cubicBezTo>
                  <a:cubicBezTo>
                    <a:pt x="55573" y="14342"/>
                    <a:pt x="56470" y="15238"/>
                    <a:pt x="57814" y="15238"/>
                  </a:cubicBezTo>
                  <a:lnTo>
                    <a:pt x="62744" y="15238"/>
                  </a:lnTo>
                  <a:cubicBezTo>
                    <a:pt x="62744" y="15686"/>
                    <a:pt x="62744" y="15686"/>
                    <a:pt x="62744" y="16134"/>
                  </a:cubicBezTo>
                  <a:cubicBezTo>
                    <a:pt x="62744" y="17030"/>
                    <a:pt x="62744" y="17927"/>
                    <a:pt x="62744" y="18823"/>
                  </a:cubicBezTo>
                  <a:lnTo>
                    <a:pt x="57814" y="18823"/>
                  </a:lnTo>
                  <a:cubicBezTo>
                    <a:pt x="56470" y="18823"/>
                    <a:pt x="55573" y="19720"/>
                    <a:pt x="55573" y="21064"/>
                  </a:cubicBezTo>
                  <a:cubicBezTo>
                    <a:pt x="55573" y="22409"/>
                    <a:pt x="56470" y="23305"/>
                    <a:pt x="57814" y="23305"/>
                  </a:cubicBezTo>
                  <a:lnTo>
                    <a:pt x="64088" y="23305"/>
                  </a:lnTo>
                  <a:cubicBezTo>
                    <a:pt x="65881" y="28235"/>
                    <a:pt x="69018" y="31372"/>
                    <a:pt x="72604" y="31820"/>
                  </a:cubicBezTo>
                  <a:lnTo>
                    <a:pt x="49299" y="31820"/>
                  </a:lnTo>
                  <a:cubicBezTo>
                    <a:pt x="47954" y="31820"/>
                    <a:pt x="47058" y="32716"/>
                    <a:pt x="47058" y="34061"/>
                  </a:cubicBezTo>
                  <a:lnTo>
                    <a:pt x="47058" y="45265"/>
                  </a:lnTo>
                  <a:lnTo>
                    <a:pt x="35854" y="45265"/>
                  </a:lnTo>
                  <a:cubicBezTo>
                    <a:pt x="34509" y="45265"/>
                    <a:pt x="33613" y="46161"/>
                    <a:pt x="33613" y="47506"/>
                  </a:cubicBezTo>
                  <a:lnTo>
                    <a:pt x="33613" y="146104"/>
                  </a:lnTo>
                  <a:lnTo>
                    <a:pt x="19271" y="146104"/>
                  </a:lnTo>
                  <a:cubicBezTo>
                    <a:pt x="17927" y="146104"/>
                    <a:pt x="17030" y="147000"/>
                    <a:pt x="17030" y="148345"/>
                  </a:cubicBezTo>
                  <a:lnTo>
                    <a:pt x="17030" y="160445"/>
                  </a:lnTo>
                  <a:lnTo>
                    <a:pt x="2241" y="160445"/>
                  </a:lnTo>
                  <a:cubicBezTo>
                    <a:pt x="896" y="160445"/>
                    <a:pt x="0" y="161341"/>
                    <a:pt x="0" y="162686"/>
                  </a:cubicBezTo>
                  <a:cubicBezTo>
                    <a:pt x="0" y="164030"/>
                    <a:pt x="896" y="164927"/>
                    <a:pt x="2241" y="164927"/>
                  </a:cubicBezTo>
                  <a:lnTo>
                    <a:pt x="19271" y="164927"/>
                  </a:lnTo>
                  <a:lnTo>
                    <a:pt x="123247" y="164927"/>
                  </a:lnTo>
                  <a:lnTo>
                    <a:pt x="140277" y="164927"/>
                  </a:lnTo>
                  <a:cubicBezTo>
                    <a:pt x="141622" y="164927"/>
                    <a:pt x="142518" y="164030"/>
                    <a:pt x="142518" y="162686"/>
                  </a:cubicBezTo>
                  <a:cubicBezTo>
                    <a:pt x="142070" y="160893"/>
                    <a:pt x="141174" y="159997"/>
                    <a:pt x="139829" y="159997"/>
                  </a:cubicBezTo>
                  <a:close/>
                  <a:moveTo>
                    <a:pt x="51092" y="35854"/>
                  </a:moveTo>
                  <a:lnTo>
                    <a:pt x="86945" y="35854"/>
                  </a:lnTo>
                  <a:lnTo>
                    <a:pt x="86945" y="44817"/>
                  </a:lnTo>
                  <a:lnTo>
                    <a:pt x="51092" y="44817"/>
                  </a:lnTo>
                  <a:lnTo>
                    <a:pt x="51092" y="35854"/>
                  </a:lnTo>
                  <a:close/>
                  <a:moveTo>
                    <a:pt x="37646" y="49299"/>
                  </a:moveTo>
                  <a:lnTo>
                    <a:pt x="48851" y="49299"/>
                  </a:lnTo>
                  <a:lnTo>
                    <a:pt x="89186" y="49299"/>
                  </a:lnTo>
                  <a:lnTo>
                    <a:pt x="100390" y="49299"/>
                  </a:lnTo>
                  <a:lnTo>
                    <a:pt x="100390" y="145655"/>
                  </a:lnTo>
                  <a:lnTo>
                    <a:pt x="37646" y="145655"/>
                  </a:lnTo>
                  <a:lnTo>
                    <a:pt x="37646" y="49299"/>
                  </a:lnTo>
                  <a:close/>
                  <a:moveTo>
                    <a:pt x="21512" y="159997"/>
                  </a:moveTo>
                  <a:lnTo>
                    <a:pt x="21512" y="150137"/>
                  </a:lnTo>
                  <a:lnTo>
                    <a:pt x="35854" y="150137"/>
                  </a:lnTo>
                  <a:lnTo>
                    <a:pt x="103079" y="150137"/>
                  </a:lnTo>
                  <a:lnTo>
                    <a:pt x="121006" y="150137"/>
                  </a:lnTo>
                  <a:lnTo>
                    <a:pt x="121006" y="159997"/>
                  </a:lnTo>
                  <a:lnTo>
                    <a:pt x="21512" y="159997"/>
                  </a:lnTo>
                  <a:close/>
                </a:path>
              </a:pathLst>
            </a:custGeom>
            <a:solidFill>
              <a:srgbClr val="231F20"/>
            </a:solidFill>
            <a:ln w="4477" cap="flat">
              <a:noFill/>
              <a:prstDash val="solid"/>
              <a:miter/>
            </a:ln>
          </p:spPr>
          <p:txBody>
            <a:bodyPr rtlCol="0" anchor="ctr"/>
            <a:lstStyle/>
            <a:p>
              <a:endParaRPr lang="en-US"/>
            </a:p>
          </p:txBody>
        </p:sp>
      </p:grpSp>
      <p:grpSp>
        <p:nvGrpSpPr>
          <p:cNvPr id="3729" name="Group 3728">
            <a:extLst>
              <a:ext uri="{FF2B5EF4-FFF2-40B4-BE49-F238E27FC236}">
                <a16:creationId xmlns:a16="http://schemas.microsoft.com/office/drawing/2014/main" id="{746ECC29-AEE5-417E-90E2-877FE54072EC}"/>
              </a:ext>
              <a:ext uri="{C183D7F6-B498-43B3-948B-1728B52AA6E4}">
                <adec:decorative xmlns:adec="http://schemas.microsoft.com/office/drawing/2017/decorative" val="1"/>
              </a:ext>
            </a:extLst>
          </p:cNvPr>
          <p:cNvGrpSpPr>
            <a:grpSpLocks noChangeAspect="1"/>
          </p:cNvGrpSpPr>
          <p:nvPr/>
        </p:nvGrpSpPr>
        <p:grpSpPr>
          <a:xfrm>
            <a:off x="4801585" y="2056431"/>
            <a:ext cx="138933" cy="165823"/>
            <a:chOff x="10703211" y="4902967"/>
            <a:chExt cx="138933" cy="165823"/>
          </a:xfrm>
        </p:grpSpPr>
        <p:sp>
          <p:nvSpPr>
            <p:cNvPr id="3730" name="Freeform: Shape 3729">
              <a:extLst>
                <a:ext uri="{FF2B5EF4-FFF2-40B4-BE49-F238E27FC236}">
                  <a16:creationId xmlns:a16="http://schemas.microsoft.com/office/drawing/2014/main" id="{B1F97DCC-A693-45E2-925E-4F7961CD0646}"/>
                </a:ext>
              </a:extLst>
            </p:cNvPr>
            <p:cNvSpPr/>
            <p:nvPr/>
          </p:nvSpPr>
          <p:spPr>
            <a:xfrm>
              <a:off x="10756991" y="4962574"/>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1"/>
                    <a:pt x="896" y="78878"/>
                    <a:pt x="2241" y="78878"/>
                  </a:cubicBezTo>
                  <a:cubicBezTo>
                    <a:pt x="3585" y="78878"/>
                    <a:pt x="4482" y="77981"/>
                    <a:pt x="4482" y="76637"/>
                  </a:cubicBezTo>
                  <a:lnTo>
                    <a:pt x="4482" y="2241"/>
                  </a:lnTo>
                  <a:cubicBezTo>
                    <a:pt x="4482" y="896"/>
                    <a:pt x="3137" y="0"/>
                    <a:pt x="2241" y="0"/>
                  </a:cubicBezTo>
                  <a:close/>
                </a:path>
              </a:pathLst>
            </a:custGeom>
            <a:solidFill>
              <a:srgbClr val="231F20"/>
            </a:solidFill>
            <a:ln w="4477" cap="flat">
              <a:noFill/>
              <a:prstDash val="solid"/>
              <a:miter/>
            </a:ln>
          </p:spPr>
          <p:txBody>
            <a:bodyPr rtlCol="0" anchor="ctr"/>
            <a:lstStyle/>
            <a:p>
              <a:endParaRPr lang="en-US"/>
            </a:p>
          </p:txBody>
        </p:sp>
        <p:sp>
          <p:nvSpPr>
            <p:cNvPr id="3731" name="Freeform: Shape 3730">
              <a:extLst>
                <a:ext uri="{FF2B5EF4-FFF2-40B4-BE49-F238E27FC236}">
                  <a16:creationId xmlns:a16="http://schemas.microsoft.com/office/drawing/2014/main" id="{DCF01384-024A-499B-A77C-CA5874D3F60F}"/>
                </a:ext>
              </a:extLst>
            </p:cNvPr>
            <p:cNvSpPr/>
            <p:nvPr/>
          </p:nvSpPr>
          <p:spPr>
            <a:xfrm>
              <a:off x="10770437" y="4962574"/>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1"/>
                    <a:pt x="896" y="78878"/>
                    <a:pt x="2241" y="78878"/>
                  </a:cubicBezTo>
                  <a:cubicBezTo>
                    <a:pt x="3585" y="78878"/>
                    <a:pt x="4482" y="77981"/>
                    <a:pt x="4482" y="76637"/>
                  </a:cubicBezTo>
                  <a:lnTo>
                    <a:pt x="4482" y="2241"/>
                  </a:lnTo>
                  <a:cubicBezTo>
                    <a:pt x="4482" y="896"/>
                    <a:pt x="3137" y="0"/>
                    <a:pt x="2241" y="0"/>
                  </a:cubicBezTo>
                  <a:close/>
                </a:path>
              </a:pathLst>
            </a:custGeom>
            <a:solidFill>
              <a:srgbClr val="231F20"/>
            </a:solidFill>
            <a:ln w="4477" cap="flat">
              <a:noFill/>
              <a:prstDash val="solid"/>
              <a:miter/>
            </a:ln>
          </p:spPr>
          <p:txBody>
            <a:bodyPr rtlCol="0" anchor="ctr"/>
            <a:lstStyle/>
            <a:p>
              <a:endParaRPr lang="en-US"/>
            </a:p>
          </p:txBody>
        </p:sp>
        <p:sp>
          <p:nvSpPr>
            <p:cNvPr id="3732" name="Freeform: Shape 3731">
              <a:extLst>
                <a:ext uri="{FF2B5EF4-FFF2-40B4-BE49-F238E27FC236}">
                  <a16:creationId xmlns:a16="http://schemas.microsoft.com/office/drawing/2014/main" id="{7ADB2DED-C922-45B3-B875-A912FB83CF12}"/>
                </a:ext>
              </a:extLst>
            </p:cNvPr>
            <p:cNvSpPr/>
            <p:nvPr/>
          </p:nvSpPr>
          <p:spPr>
            <a:xfrm>
              <a:off x="10783882" y="4962574"/>
              <a:ext cx="4482" cy="76189"/>
            </a:xfrm>
            <a:custGeom>
              <a:avLst/>
              <a:gdLst>
                <a:gd name="connsiteX0" fmla="*/ 2241 w 4481"/>
                <a:gd name="connsiteY0" fmla="*/ 0 h 76188"/>
                <a:gd name="connsiteX1" fmla="*/ 0 w 4481"/>
                <a:gd name="connsiteY1" fmla="*/ 2241 h 76188"/>
                <a:gd name="connsiteX2" fmla="*/ 0 w 4481"/>
                <a:gd name="connsiteY2" fmla="*/ 76637 h 76188"/>
                <a:gd name="connsiteX3" fmla="*/ 2241 w 4481"/>
                <a:gd name="connsiteY3" fmla="*/ 78878 h 76188"/>
                <a:gd name="connsiteX4" fmla="*/ 4482 w 4481"/>
                <a:gd name="connsiteY4" fmla="*/ 76637 h 76188"/>
                <a:gd name="connsiteX5" fmla="*/ 4482 w 4481"/>
                <a:gd name="connsiteY5" fmla="*/ 2241 h 76188"/>
                <a:gd name="connsiteX6" fmla="*/ 2241 w 4481"/>
                <a:gd name="connsiteY6" fmla="*/ 0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76188">
                  <a:moveTo>
                    <a:pt x="2241" y="0"/>
                  </a:moveTo>
                  <a:cubicBezTo>
                    <a:pt x="896" y="0"/>
                    <a:pt x="0" y="896"/>
                    <a:pt x="0" y="2241"/>
                  </a:cubicBezTo>
                  <a:lnTo>
                    <a:pt x="0" y="76637"/>
                  </a:lnTo>
                  <a:cubicBezTo>
                    <a:pt x="0" y="77981"/>
                    <a:pt x="896" y="78878"/>
                    <a:pt x="2241" y="78878"/>
                  </a:cubicBezTo>
                  <a:cubicBezTo>
                    <a:pt x="3585" y="78878"/>
                    <a:pt x="4482" y="77981"/>
                    <a:pt x="4482" y="76637"/>
                  </a:cubicBezTo>
                  <a:lnTo>
                    <a:pt x="4482" y="2241"/>
                  </a:lnTo>
                  <a:cubicBezTo>
                    <a:pt x="4482" y="896"/>
                    <a:pt x="3137" y="0"/>
                    <a:pt x="2241" y="0"/>
                  </a:cubicBezTo>
                  <a:close/>
                </a:path>
              </a:pathLst>
            </a:custGeom>
            <a:solidFill>
              <a:srgbClr val="231F20"/>
            </a:solidFill>
            <a:ln w="4477" cap="flat">
              <a:noFill/>
              <a:prstDash val="solid"/>
              <a:miter/>
            </a:ln>
          </p:spPr>
          <p:txBody>
            <a:bodyPr rtlCol="0" anchor="ctr"/>
            <a:lstStyle/>
            <a:p>
              <a:endParaRPr lang="en-US"/>
            </a:p>
          </p:txBody>
        </p:sp>
        <p:sp>
          <p:nvSpPr>
            <p:cNvPr id="3733" name="Freeform: Shape 3732">
              <a:extLst>
                <a:ext uri="{FF2B5EF4-FFF2-40B4-BE49-F238E27FC236}">
                  <a16:creationId xmlns:a16="http://schemas.microsoft.com/office/drawing/2014/main" id="{D8C4F9D0-AE31-4821-96FE-ED66A5428979}"/>
                </a:ext>
              </a:extLst>
            </p:cNvPr>
            <p:cNvSpPr/>
            <p:nvPr/>
          </p:nvSpPr>
          <p:spPr>
            <a:xfrm>
              <a:off x="10703211" y="4902967"/>
              <a:ext cx="138933" cy="165823"/>
            </a:xfrm>
            <a:custGeom>
              <a:avLst/>
              <a:gdLst>
                <a:gd name="connsiteX0" fmla="*/ 139829 w 138932"/>
                <a:gd name="connsiteY0" fmla="*/ 161341 h 165823"/>
                <a:gd name="connsiteX1" fmla="*/ 125039 w 138932"/>
                <a:gd name="connsiteY1" fmla="*/ 161341 h 165823"/>
                <a:gd name="connsiteX2" fmla="*/ 125039 w 138932"/>
                <a:gd name="connsiteY2" fmla="*/ 149241 h 165823"/>
                <a:gd name="connsiteX3" fmla="*/ 122798 w 138932"/>
                <a:gd name="connsiteY3" fmla="*/ 147000 h 165823"/>
                <a:gd name="connsiteX4" fmla="*/ 104872 w 138932"/>
                <a:gd name="connsiteY4" fmla="*/ 147000 h 165823"/>
                <a:gd name="connsiteX5" fmla="*/ 104872 w 138932"/>
                <a:gd name="connsiteY5" fmla="*/ 48403 h 165823"/>
                <a:gd name="connsiteX6" fmla="*/ 102631 w 138932"/>
                <a:gd name="connsiteY6" fmla="*/ 46162 h 165823"/>
                <a:gd name="connsiteX7" fmla="*/ 91427 w 138932"/>
                <a:gd name="connsiteY7" fmla="*/ 46162 h 165823"/>
                <a:gd name="connsiteX8" fmla="*/ 91427 w 138932"/>
                <a:gd name="connsiteY8" fmla="*/ 34958 h 165823"/>
                <a:gd name="connsiteX9" fmla="*/ 89186 w 138932"/>
                <a:gd name="connsiteY9" fmla="*/ 32717 h 165823"/>
                <a:gd name="connsiteX10" fmla="*/ 71259 w 138932"/>
                <a:gd name="connsiteY10" fmla="*/ 32717 h 165823"/>
                <a:gd name="connsiteX11" fmla="*/ 72155 w 138932"/>
                <a:gd name="connsiteY11" fmla="*/ 30924 h 165823"/>
                <a:gd name="connsiteX12" fmla="*/ 72155 w 138932"/>
                <a:gd name="connsiteY12" fmla="*/ 30027 h 165823"/>
                <a:gd name="connsiteX13" fmla="*/ 81567 w 138932"/>
                <a:gd name="connsiteY13" fmla="*/ 25098 h 165823"/>
                <a:gd name="connsiteX14" fmla="*/ 81119 w 138932"/>
                <a:gd name="connsiteY14" fmla="*/ 19720 h 165823"/>
                <a:gd name="connsiteX15" fmla="*/ 72155 w 138932"/>
                <a:gd name="connsiteY15" fmla="*/ 15686 h 165823"/>
                <a:gd name="connsiteX16" fmla="*/ 72155 w 138932"/>
                <a:gd name="connsiteY16" fmla="*/ 9860 h 165823"/>
                <a:gd name="connsiteX17" fmla="*/ 77085 w 138932"/>
                <a:gd name="connsiteY17" fmla="*/ 11653 h 165823"/>
                <a:gd name="connsiteX18" fmla="*/ 80222 w 138932"/>
                <a:gd name="connsiteY18" fmla="*/ 11204 h 165823"/>
                <a:gd name="connsiteX19" fmla="*/ 79774 w 138932"/>
                <a:gd name="connsiteY19" fmla="*/ 8067 h 165823"/>
                <a:gd name="connsiteX20" fmla="*/ 72155 w 138932"/>
                <a:gd name="connsiteY20" fmla="*/ 5378 h 165823"/>
                <a:gd name="connsiteX21" fmla="*/ 72155 w 138932"/>
                <a:gd name="connsiteY21" fmla="*/ 2241 h 165823"/>
                <a:gd name="connsiteX22" fmla="*/ 69914 w 138932"/>
                <a:gd name="connsiteY22" fmla="*/ 0 h 165823"/>
                <a:gd name="connsiteX23" fmla="*/ 67674 w 138932"/>
                <a:gd name="connsiteY23" fmla="*/ 2241 h 165823"/>
                <a:gd name="connsiteX24" fmla="*/ 67674 w 138932"/>
                <a:gd name="connsiteY24" fmla="*/ 5378 h 165823"/>
                <a:gd name="connsiteX25" fmla="*/ 60055 w 138932"/>
                <a:gd name="connsiteY25" fmla="*/ 11204 h 165823"/>
                <a:gd name="connsiteX26" fmla="*/ 63192 w 138932"/>
                <a:gd name="connsiteY26" fmla="*/ 17927 h 165823"/>
                <a:gd name="connsiteX27" fmla="*/ 67674 w 138932"/>
                <a:gd name="connsiteY27" fmla="*/ 19720 h 165823"/>
                <a:gd name="connsiteX28" fmla="*/ 67674 w 138932"/>
                <a:gd name="connsiteY28" fmla="*/ 25098 h 165823"/>
                <a:gd name="connsiteX29" fmla="*/ 64536 w 138932"/>
                <a:gd name="connsiteY29" fmla="*/ 22857 h 165823"/>
                <a:gd name="connsiteX30" fmla="*/ 62295 w 138932"/>
                <a:gd name="connsiteY30" fmla="*/ 20616 h 165823"/>
                <a:gd name="connsiteX31" fmla="*/ 60055 w 138932"/>
                <a:gd name="connsiteY31" fmla="*/ 22857 h 165823"/>
                <a:gd name="connsiteX32" fmla="*/ 67674 w 138932"/>
                <a:gd name="connsiteY32" fmla="*/ 30027 h 165823"/>
                <a:gd name="connsiteX33" fmla="*/ 67674 w 138932"/>
                <a:gd name="connsiteY33" fmla="*/ 31372 h 165823"/>
                <a:gd name="connsiteX34" fmla="*/ 68570 w 138932"/>
                <a:gd name="connsiteY34" fmla="*/ 33165 h 165823"/>
                <a:gd name="connsiteX35" fmla="*/ 49299 w 138932"/>
                <a:gd name="connsiteY35" fmla="*/ 33165 h 165823"/>
                <a:gd name="connsiteX36" fmla="*/ 47058 w 138932"/>
                <a:gd name="connsiteY36" fmla="*/ 35406 h 165823"/>
                <a:gd name="connsiteX37" fmla="*/ 47058 w 138932"/>
                <a:gd name="connsiteY37" fmla="*/ 46610 h 165823"/>
                <a:gd name="connsiteX38" fmla="*/ 35854 w 138932"/>
                <a:gd name="connsiteY38" fmla="*/ 46610 h 165823"/>
                <a:gd name="connsiteX39" fmla="*/ 33613 w 138932"/>
                <a:gd name="connsiteY39" fmla="*/ 48851 h 165823"/>
                <a:gd name="connsiteX40" fmla="*/ 33613 w 138932"/>
                <a:gd name="connsiteY40" fmla="*/ 147448 h 165823"/>
                <a:gd name="connsiteX41" fmla="*/ 19271 w 138932"/>
                <a:gd name="connsiteY41" fmla="*/ 147448 h 165823"/>
                <a:gd name="connsiteX42" fmla="*/ 17030 w 138932"/>
                <a:gd name="connsiteY42" fmla="*/ 149689 h 165823"/>
                <a:gd name="connsiteX43" fmla="*/ 17030 w 138932"/>
                <a:gd name="connsiteY43" fmla="*/ 161790 h 165823"/>
                <a:gd name="connsiteX44" fmla="*/ 2241 w 138932"/>
                <a:gd name="connsiteY44" fmla="*/ 161790 h 165823"/>
                <a:gd name="connsiteX45" fmla="*/ 0 w 138932"/>
                <a:gd name="connsiteY45" fmla="*/ 164030 h 165823"/>
                <a:gd name="connsiteX46" fmla="*/ 2241 w 138932"/>
                <a:gd name="connsiteY46" fmla="*/ 166271 h 165823"/>
                <a:gd name="connsiteX47" fmla="*/ 19271 w 138932"/>
                <a:gd name="connsiteY47" fmla="*/ 166271 h 165823"/>
                <a:gd name="connsiteX48" fmla="*/ 123247 w 138932"/>
                <a:gd name="connsiteY48" fmla="*/ 166271 h 165823"/>
                <a:gd name="connsiteX49" fmla="*/ 140277 w 138932"/>
                <a:gd name="connsiteY49" fmla="*/ 166271 h 165823"/>
                <a:gd name="connsiteX50" fmla="*/ 142518 w 138932"/>
                <a:gd name="connsiteY50" fmla="*/ 164030 h 165823"/>
                <a:gd name="connsiteX51" fmla="*/ 139829 w 138932"/>
                <a:gd name="connsiteY51" fmla="*/ 161341 h 165823"/>
                <a:gd name="connsiteX52" fmla="*/ 77533 w 138932"/>
                <a:gd name="connsiteY52" fmla="*/ 22409 h 165823"/>
                <a:gd name="connsiteX53" fmla="*/ 77533 w 138932"/>
                <a:gd name="connsiteY53" fmla="*/ 23753 h 165823"/>
                <a:gd name="connsiteX54" fmla="*/ 72155 w 138932"/>
                <a:gd name="connsiteY54" fmla="*/ 25994 h 165823"/>
                <a:gd name="connsiteX55" fmla="*/ 72155 w 138932"/>
                <a:gd name="connsiteY55" fmla="*/ 20616 h 165823"/>
                <a:gd name="connsiteX56" fmla="*/ 77533 w 138932"/>
                <a:gd name="connsiteY56" fmla="*/ 22409 h 165823"/>
                <a:gd name="connsiteX57" fmla="*/ 65433 w 138932"/>
                <a:gd name="connsiteY57" fmla="*/ 14342 h 165823"/>
                <a:gd name="connsiteX58" fmla="*/ 64088 w 138932"/>
                <a:gd name="connsiteY58" fmla="*/ 12549 h 165823"/>
                <a:gd name="connsiteX59" fmla="*/ 67226 w 138932"/>
                <a:gd name="connsiteY59" fmla="*/ 10308 h 165823"/>
                <a:gd name="connsiteX60" fmla="*/ 67226 w 138932"/>
                <a:gd name="connsiteY60" fmla="*/ 15238 h 165823"/>
                <a:gd name="connsiteX61" fmla="*/ 65433 w 138932"/>
                <a:gd name="connsiteY61" fmla="*/ 14342 h 165823"/>
                <a:gd name="connsiteX62" fmla="*/ 51540 w 138932"/>
                <a:gd name="connsiteY62" fmla="*/ 37198 h 165823"/>
                <a:gd name="connsiteX63" fmla="*/ 87393 w 138932"/>
                <a:gd name="connsiteY63" fmla="*/ 37198 h 165823"/>
                <a:gd name="connsiteX64" fmla="*/ 87393 w 138932"/>
                <a:gd name="connsiteY64" fmla="*/ 46162 h 165823"/>
                <a:gd name="connsiteX65" fmla="*/ 51540 w 138932"/>
                <a:gd name="connsiteY65" fmla="*/ 46162 h 165823"/>
                <a:gd name="connsiteX66" fmla="*/ 51540 w 138932"/>
                <a:gd name="connsiteY66" fmla="*/ 37198 h 165823"/>
                <a:gd name="connsiteX67" fmla="*/ 38094 w 138932"/>
                <a:gd name="connsiteY67" fmla="*/ 50643 h 165823"/>
                <a:gd name="connsiteX68" fmla="*/ 49299 w 138932"/>
                <a:gd name="connsiteY68" fmla="*/ 50643 h 165823"/>
                <a:gd name="connsiteX69" fmla="*/ 89634 w 138932"/>
                <a:gd name="connsiteY69" fmla="*/ 50643 h 165823"/>
                <a:gd name="connsiteX70" fmla="*/ 100838 w 138932"/>
                <a:gd name="connsiteY70" fmla="*/ 50643 h 165823"/>
                <a:gd name="connsiteX71" fmla="*/ 100838 w 138932"/>
                <a:gd name="connsiteY71" fmla="*/ 147000 h 165823"/>
                <a:gd name="connsiteX72" fmla="*/ 38094 w 138932"/>
                <a:gd name="connsiteY72" fmla="*/ 147000 h 165823"/>
                <a:gd name="connsiteX73" fmla="*/ 38094 w 138932"/>
                <a:gd name="connsiteY73" fmla="*/ 50643 h 165823"/>
                <a:gd name="connsiteX74" fmla="*/ 21512 w 138932"/>
                <a:gd name="connsiteY74" fmla="*/ 161341 h 165823"/>
                <a:gd name="connsiteX75" fmla="*/ 21512 w 138932"/>
                <a:gd name="connsiteY75" fmla="*/ 151482 h 165823"/>
                <a:gd name="connsiteX76" fmla="*/ 35854 w 138932"/>
                <a:gd name="connsiteY76" fmla="*/ 151482 h 165823"/>
                <a:gd name="connsiteX77" fmla="*/ 103079 w 138932"/>
                <a:gd name="connsiteY77" fmla="*/ 151482 h 165823"/>
                <a:gd name="connsiteX78" fmla="*/ 121006 w 138932"/>
                <a:gd name="connsiteY78" fmla="*/ 151482 h 165823"/>
                <a:gd name="connsiteX79" fmla="*/ 121006 w 138932"/>
                <a:gd name="connsiteY79" fmla="*/ 161341 h 165823"/>
                <a:gd name="connsiteX80" fmla="*/ 21512 w 138932"/>
                <a:gd name="connsiteY80" fmla="*/ 161341 h 16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8932" h="165823">
                  <a:moveTo>
                    <a:pt x="139829" y="161341"/>
                  </a:moveTo>
                  <a:lnTo>
                    <a:pt x="125039" y="161341"/>
                  </a:lnTo>
                  <a:lnTo>
                    <a:pt x="125039" y="149241"/>
                  </a:lnTo>
                  <a:cubicBezTo>
                    <a:pt x="125039" y="147896"/>
                    <a:pt x="124143" y="147000"/>
                    <a:pt x="122798" y="147000"/>
                  </a:cubicBezTo>
                  <a:lnTo>
                    <a:pt x="104872" y="147000"/>
                  </a:lnTo>
                  <a:lnTo>
                    <a:pt x="104872" y="48403"/>
                  </a:lnTo>
                  <a:cubicBezTo>
                    <a:pt x="104872" y="47058"/>
                    <a:pt x="103975" y="46162"/>
                    <a:pt x="102631" y="46162"/>
                  </a:cubicBezTo>
                  <a:lnTo>
                    <a:pt x="91427" y="46162"/>
                  </a:lnTo>
                  <a:lnTo>
                    <a:pt x="91427" y="34958"/>
                  </a:lnTo>
                  <a:cubicBezTo>
                    <a:pt x="91427" y="33613"/>
                    <a:pt x="90530" y="32717"/>
                    <a:pt x="89186" y="32717"/>
                  </a:cubicBezTo>
                  <a:lnTo>
                    <a:pt x="71259" y="32717"/>
                  </a:lnTo>
                  <a:cubicBezTo>
                    <a:pt x="71707" y="32268"/>
                    <a:pt x="72155" y="31820"/>
                    <a:pt x="72155" y="30924"/>
                  </a:cubicBezTo>
                  <a:lnTo>
                    <a:pt x="72155" y="30027"/>
                  </a:lnTo>
                  <a:cubicBezTo>
                    <a:pt x="77085" y="29579"/>
                    <a:pt x="80222" y="28235"/>
                    <a:pt x="81567" y="25098"/>
                  </a:cubicBezTo>
                  <a:cubicBezTo>
                    <a:pt x="82463" y="22409"/>
                    <a:pt x="82015" y="20616"/>
                    <a:pt x="81119" y="19720"/>
                  </a:cubicBezTo>
                  <a:cubicBezTo>
                    <a:pt x="79326" y="17031"/>
                    <a:pt x="74844" y="15686"/>
                    <a:pt x="72155" y="15686"/>
                  </a:cubicBezTo>
                  <a:lnTo>
                    <a:pt x="72155" y="9860"/>
                  </a:lnTo>
                  <a:cubicBezTo>
                    <a:pt x="74396" y="9860"/>
                    <a:pt x="76189" y="10756"/>
                    <a:pt x="77085" y="11653"/>
                  </a:cubicBezTo>
                  <a:cubicBezTo>
                    <a:pt x="77981" y="12549"/>
                    <a:pt x="79326" y="12549"/>
                    <a:pt x="80222" y="11204"/>
                  </a:cubicBezTo>
                  <a:cubicBezTo>
                    <a:pt x="81119" y="10308"/>
                    <a:pt x="81119" y="8963"/>
                    <a:pt x="79774" y="8067"/>
                  </a:cubicBezTo>
                  <a:cubicBezTo>
                    <a:pt x="77981" y="6723"/>
                    <a:pt x="75293" y="5378"/>
                    <a:pt x="72155" y="5378"/>
                  </a:cubicBezTo>
                  <a:lnTo>
                    <a:pt x="72155" y="2241"/>
                  </a:lnTo>
                  <a:cubicBezTo>
                    <a:pt x="72155" y="896"/>
                    <a:pt x="71259" y="0"/>
                    <a:pt x="69914" y="0"/>
                  </a:cubicBezTo>
                  <a:cubicBezTo>
                    <a:pt x="68570" y="0"/>
                    <a:pt x="67674" y="896"/>
                    <a:pt x="67674" y="2241"/>
                  </a:cubicBezTo>
                  <a:lnTo>
                    <a:pt x="67674" y="5378"/>
                  </a:lnTo>
                  <a:cubicBezTo>
                    <a:pt x="64088" y="5826"/>
                    <a:pt x="60503" y="7619"/>
                    <a:pt x="60055" y="11204"/>
                  </a:cubicBezTo>
                  <a:cubicBezTo>
                    <a:pt x="59607" y="13445"/>
                    <a:pt x="60951" y="16134"/>
                    <a:pt x="63192" y="17927"/>
                  </a:cubicBezTo>
                  <a:cubicBezTo>
                    <a:pt x="64536" y="18823"/>
                    <a:pt x="66329" y="19272"/>
                    <a:pt x="67674" y="19720"/>
                  </a:cubicBezTo>
                  <a:lnTo>
                    <a:pt x="67674" y="25098"/>
                  </a:lnTo>
                  <a:cubicBezTo>
                    <a:pt x="65433" y="24649"/>
                    <a:pt x="64536" y="23305"/>
                    <a:pt x="64536" y="22857"/>
                  </a:cubicBezTo>
                  <a:cubicBezTo>
                    <a:pt x="64536" y="21512"/>
                    <a:pt x="63640" y="20616"/>
                    <a:pt x="62295" y="20616"/>
                  </a:cubicBezTo>
                  <a:cubicBezTo>
                    <a:pt x="60951" y="20616"/>
                    <a:pt x="60055" y="21512"/>
                    <a:pt x="60055" y="22857"/>
                  </a:cubicBezTo>
                  <a:cubicBezTo>
                    <a:pt x="60055" y="26442"/>
                    <a:pt x="63192" y="29131"/>
                    <a:pt x="67674" y="30027"/>
                  </a:cubicBezTo>
                  <a:lnTo>
                    <a:pt x="67674" y="31372"/>
                  </a:lnTo>
                  <a:cubicBezTo>
                    <a:pt x="67674" y="31820"/>
                    <a:pt x="68122" y="32717"/>
                    <a:pt x="68570" y="33165"/>
                  </a:cubicBezTo>
                  <a:lnTo>
                    <a:pt x="49299" y="33165"/>
                  </a:lnTo>
                  <a:cubicBezTo>
                    <a:pt x="47954" y="33165"/>
                    <a:pt x="47058" y="34061"/>
                    <a:pt x="47058" y="35406"/>
                  </a:cubicBezTo>
                  <a:lnTo>
                    <a:pt x="47058" y="46610"/>
                  </a:lnTo>
                  <a:lnTo>
                    <a:pt x="35854" y="46610"/>
                  </a:lnTo>
                  <a:cubicBezTo>
                    <a:pt x="34509" y="46610"/>
                    <a:pt x="33613" y="47506"/>
                    <a:pt x="33613" y="48851"/>
                  </a:cubicBezTo>
                  <a:lnTo>
                    <a:pt x="33613" y="147448"/>
                  </a:lnTo>
                  <a:lnTo>
                    <a:pt x="19271" y="147448"/>
                  </a:lnTo>
                  <a:cubicBezTo>
                    <a:pt x="17927" y="147448"/>
                    <a:pt x="17030" y="148345"/>
                    <a:pt x="17030" y="149689"/>
                  </a:cubicBezTo>
                  <a:lnTo>
                    <a:pt x="17030" y="161790"/>
                  </a:lnTo>
                  <a:lnTo>
                    <a:pt x="2241" y="161790"/>
                  </a:lnTo>
                  <a:cubicBezTo>
                    <a:pt x="896" y="161790"/>
                    <a:pt x="0" y="162686"/>
                    <a:pt x="0" y="164030"/>
                  </a:cubicBezTo>
                  <a:cubicBezTo>
                    <a:pt x="0" y="165375"/>
                    <a:pt x="896" y="166271"/>
                    <a:pt x="2241" y="166271"/>
                  </a:cubicBezTo>
                  <a:lnTo>
                    <a:pt x="19271" y="166271"/>
                  </a:lnTo>
                  <a:lnTo>
                    <a:pt x="123247" y="166271"/>
                  </a:lnTo>
                  <a:lnTo>
                    <a:pt x="140277" y="166271"/>
                  </a:lnTo>
                  <a:cubicBezTo>
                    <a:pt x="141622" y="166271"/>
                    <a:pt x="142518" y="165375"/>
                    <a:pt x="142518" y="164030"/>
                  </a:cubicBezTo>
                  <a:cubicBezTo>
                    <a:pt x="142518" y="162686"/>
                    <a:pt x="141174" y="161341"/>
                    <a:pt x="139829" y="161341"/>
                  </a:cubicBezTo>
                  <a:close/>
                  <a:moveTo>
                    <a:pt x="77533" y="22409"/>
                  </a:moveTo>
                  <a:cubicBezTo>
                    <a:pt x="77533" y="22409"/>
                    <a:pt x="77981" y="22857"/>
                    <a:pt x="77533" y="23753"/>
                  </a:cubicBezTo>
                  <a:cubicBezTo>
                    <a:pt x="76637" y="25546"/>
                    <a:pt x="73948" y="25994"/>
                    <a:pt x="72155" y="25994"/>
                  </a:cubicBezTo>
                  <a:lnTo>
                    <a:pt x="72155" y="20616"/>
                  </a:lnTo>
                  <a:cubicBezTo>
                    <a:pt x="74396" y="20616"/>
                    <a:pt x="76637" y="21064"/>
                    <a:pt x="77533" y="22409"/>
                  </a:cubicBezTo>
                  <a:close/>
                  <a:moveTo>
                    <a:pt x="65433" y="14342"/>
                  </a:moveTo>
                  <a:cubicBezTo>
                    <a:pt x="64536" y="13893"/>
                    <a:pt x="64088" y="12997"/>
                    <a:pt x="64088" y="12549"/>
                  </a:cubicBezTo>
                  <a:cubicBezTo>
                    <a:pt x="64536" y="11204"/>
                    <a:pt x="65881" y="10756"/>
                    <a:pt x="67226" y="10308"/>
                  </a:cubicBezTo>
                  <a:lnTo>
                    <a:pt x="67226" y="15238"/>
                  </a:lnTo>
                  <a:cubicBezTo>
                    <a:pt x="66777" y="15238"/>
                    <a:pt x="65881" y="14790"/>
                    <a:pt x="65433" y="14342"/>
                  </a:cubicBezTo>
                  <a:close/>
                  <a:moveTo>
                    <a:pt x="51540" y="37198"/>
                  </a:moveTo>
                  <a:lnTo>
                    <a:pt x="87393" y="37198"/>
                  </a:lnTo>
                  <a:lnTo>
                    <a:pt x="87393" y="46162"/>
                  </a:lnTo>
                  <a:lnTo>
                    <a:pt x="51540" y="46162"/>
                  </a:lnTo>
                  <a:lnTo>
                    <a:pt x="51540" y="37198"/>
                  </a:lnTo>
                  <a:close/>
                  <a:moveTo>
                    <a:pt x="38094" y="50643"/>
                  </a:moveTo>
                  <a:lnTo>
                    <a:pt x="49299" y="50643"/>
                  </a:lnTo>
                  <a:lnTo>
                    <a:pt x="89634" y="50643"/>
                  </a:lnTo>
                  <a:lnTo>
                    <a:pt x="100838" y="50643"/>
                  </a:lnTo>
                  <a:lnTo>
                    <a:pt x="100838" y="147000"/>
                  </a:lnTo>
                  <a:lnTo>
                    <a:pt x="38094" y="147000"/>
                  </a:lnTo>
                  <a:lnTo>
                    <a:pt x="38094" y="50643"/>
                  </a:lnTo>
                  <a:close/>
                  <a:moveTo>
                    <a:pt x="21512" y="161341"/>
                  </a:moveTo>
                  <a:lnTo>
                    <a:pt x="21512" y="151482"/>
                  </a:lnTo>
                  <a:lnTo>
                    <a:pt x="35854" y="151482"/>
                  </a:lnTo>
                  <a:lnTo>
                    <a:pt x="103079" y="151482"/>
                  </a:lnTo>
                  <a:lnTo>
                    <a:pt x="121006" y="151482"/>
                  </a:lnTo>
                  <a:lnTo>
                    <a:pt x="121006" y="161341"/>
                  </a:lnTo>
                  <a:lnTo>
                    <a:pt x="21512" y="161341"/>
                  </a:lnTo>
                  <a:close/>
                </a:path>
              </a:pathLst>
            </a:custGeom>
            <a:solidFill>
              <a:srgbClr val="231F20"/>
            </a:solidFill>
            <a:ln w="4477" cap="flat">
              <a:noFill/>
              <a:prstDash val="solid"/>
              <a:miter/>
            </a:ln>
          </p:spPr>
          <p:txBody>
            <a:bodyPr rtlCol="0" anchor="ctr"/>
            <a:lstStyle/>
            <a:p>
              <a:endParaRPr lang="en-US"/>
            </a:p>
          </p:txBody>
        </p:sp>
      </p:grpSp>
      <p:grpSp>
        <p:nvGrpSpPr>
          <p:cNvPr id="3734" name="Group 3733">
            <a:extLst>
              <a:ext uri="{FF2B5EF4-FFF2-40B4-BE49-F238E27FC236}">
                <a16:creationId xmlns:a16="http://schemas.microsoft.com/office/drawing/2014/main" id="{B18C2ACB-5867-4A97-A81B-080E1E404A80}"/>
              </a:ext>
              <a:ext uri="{C183D7F6-B498-43B3-948B-1728B52AA6E4}">
                <adec:decorative xmlns:adec="http://schemas.microsoft.com/office/drawing/2017/decorative" val="1"/>
              </a:ext>
            </a:extLst>
          </p:cNvPr>
          <p:cNvGrpSpPr>
            <a:grpSpLocks noChangeAspect="1"/>
          </p:cNvGrpSpPr>
          <p:nvPr/>
        </p:nvGrpSpPr>
        <p:grpSpPr>
          <a:xfrm>
            <a:off x="5585435" y="2053294"/>
            <a:ext cx="125488" cy="168063"/>
            <a:chOff x="11487061" y="4899830"/>
            <a:chExt cx="125488" cy="168063"/>
          </a:xfrm>
        </p:grpSpPr>
        <p:sp>
          <p:nvSpPr>
            <p:cNvPr id="3735" name="Freeform: Shape 3734">
              <a:extLst>
                <a:ext uri="{FF2B5EF4-FFF2-40B4-BE49-F238E27FC236}">
                  <a16:creationId xmlns:a16="http://schemas.microsoft.com/office/drawing/2014/main" id="{AA656034-9A2F-4DBF-8246-2591849C7290}"/>
                </a:ext>
              </a:extLst>
            </p:cNvPr>
            <p:cNvSpPr/>
            <p:nvPr/>
          </p:nvSpPr>
          <p:spPr>
            <a:xfrm>
              <a:off x="11503643" y="4900726"/>
              <a:ext cx="17927" cy="17927"/>
            </a:xfrm>
            <a:custGeom>
              <a:avLst/>
              <a:gdLst>
                <a:gd name="connsiteX0" fmla="*/ 2241 w 17926"/>
                <a:gd name="connsiteY0" fmla="*/ 20168 h 17926"/>
                <a:gd name="connsiteX1" fmla="*/ 4482 w 17926"/>
                <a:gd name="connsiteY1" fmla="*/ 17927 h 17926"/>
                <a:gd name="connsiteX2" fmla="*/ 4482 w 17926"/>
                <a:gd name="connsiteY2" fmla="*/ 11204 h 17926"/>
                <a:gd name="connsiteX3" fmla="*/ 14790 w 17926"/>
                <a:gd name="connsiteY3" fmla="*/ 11204 h 17926"/>
                <a:gd name="connsiteX4" fmla="*/ 14790 w 17926"/>
                <a:gd name="connsiteY4" fmla="*/ 17927 h 17926"/>
                <a:gd name="connsiteX5" fmla="*/ 17031 w 17926"/>
                <a:gd name="connsiteY5" fmla="*/ 20168 h 17926"/>
                <a:gd name="connsiteX6" fmla="*/ 19272 w 17926"/>
                <a:gd name="connsiteY6" fmla="*/ 17927 h 17926"/>
                <a:gd name="connsiteX7" fmla="*/ 19272 w 17926"/>
                <a:gd name="connsiteY7" fmla="*/ 2241 h 17926"/>
                <a:gd name="connsiteX8" fmla="*/ 17031 w 17926"/>
                <a:gd name="connsiteY8" fmla="*/ 0 h 17926"/>
                <a:gd name="connsiteX9" fmla="*/ 14790 w 17926"/>
                <a:gd name="connsiteY9" fmla="*/ 2241 h 17926"/>
                <a:gd name="connsiteX10" fmla="*/ 14790 w 17926"/>
                <a:gd name="connsiteY10" fmla="*/ 6723 h 17926"/>
                <a:gd name="connsiteX11" fmla="*/ 4482 w 17926"/>
                <a:gd name="connsiteY11" fmla="*/ 6723 h 17926"/>
                <a:gd name="connsiteX12" fmla="*/ 4482 w 17926"/>
                <a:gd name="connsiteY12" fmla="*/ 2241 h 17926"/>
                <a:gd name="connsiteX13" fmla="*/ 2241 w 17926"/>
                <a:gd name="connsiteY13" fmla="*/ 0 h 17926"/>
                <a:gd name="connsiteX14" fmla="*/ 0 w 17926"/>
                <a:gd name="connsiteY14" fmla="*/ 2241 h 17926"/>
                <a:gd name="connsiteX15" fmla="*/ 0 w 17926"/>
                <a:gd name="connsiteY15" fmla="*/ 17927 h 17926"/>
                <a:gd name="connsiteX16" fmla="*/ 2241 w 17926"/>
                <a:gd name="connsiteY16" fmla="*/ 20168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26" h="17926">
                  <a:moveTo>
                    <a:pt x="2241" y="20168"/>
                  </a:moveTo>
                  <a:cubicBezTo>
                    <a:pt x="3586" y="20168"/>
                    <a:pt x="4482" y="19272"/>
                    <a:pt x="4482" y="17927"/>
                  </a:cubicBezTo>
                  <a:lnTo>
                    <a:pt x="4482" y="11204"/>
                  </a:lnTo>
                  <a:lnTo>
                    <a:pt x="14790" y="11204"/>
                  </a:lnTo>
                  <a:lnTo>
                    <a:pt x="14790" y="17927"/>
                  </a:lnTo>
                  <a:cubicBezTo>
                    <a:pt x="14790" y="19272"/>
                    <a:pt x="15686" y="20168"/>
                    <a:pt x="17031" y="20168"/>
                  </a:cubicBezTo>
                  <a:cubicBezTo>
                    <a:pt x="18375" y="20168"/>
                    <a:pt x="19272" y="19272"/>
                    <a:pt x="19272" y="17927"/>
                  </a:cubicBezTo>
                  <a:lnTo>
                    <a:pt x="19272" y="2241"/>
                  </a:lnTo>
                  <a:cubicBezTo>
                    <a:pt x="19272" y="896"/>
                    <a:pt x="18375" y="0"/>
                    <a:pt x="17031" y="0"/>
                  </a:cubicBezTo>
                  <a:cubicBezTo>
                    <a:pt x="15686" y="0"/>
                    <a:pt x="14790" y="896"/>
                    <a:pt x="14790" y="2241"/>
                  </a:cubicBezTo>
                  <a:lnTo>
                    <a:pt x="14790" y="6723"/>
                  </a:lnTo>
                  <a:lnTo>
                    <a:pt x="4482" y="6723"/>
                  </a:lnTo>
                  <a:lnTo>
                    <a:pt x="4482" y="2241"/>
                  </a:lnTo>
                  <a:cubicBezTo>
                    <a:pt x="4482" y="896"/>
                    <a:pt x="3586" y="0"/>
                    <a:pt x="2241" y="0"/>
                  </a:cubicBezTo>
                  <a:cubicBezTo>
                    <a:pt x="896" y="0"/>
                    <a:pt x="0" y="896"/>
                    <a:pt x="0" y="2241"/>
                  </a:cubicBezTo>
                  <a:lnTo>
                    <a:pt x="0" y="17927"/>
                  </a:lnTo>
                  <a:cubicBezTo>
                    <a:pt x="0" y="19272"/>
                    <a:pt x="896" y="20168"/>
                    <a:pt x="2241" y="20168"/>
                  </a:cubicBezTo>
                  <a:close/>
                </a:path>
              </a:pathLst>
            </a:custGeom>
            <a:solidFill>
              <a:srgbClr val="231F20"/>
            </a:solidFill>
            <a:ln w="4477" cap="flat">
              <a:noFill/>
              <a:prstDash val="solid"/>
              <a:miter/>
            </a:ln>
          </p:spPr>
          <p:txBody>
            <a:bodyPr rtlCol="0" anchor="ctr"/>
            <a:lstStyle/>
            <a:p>
              <a:endParaRPr lang="en-US"/>
            </a:p>
          </p:txBody>
        </p:sp>
        <p:sp>
          <p:nvSpPr>
            <p:cNvPr id="3736" name="Freeform: Shape 3735">
              <a:extLst>
                <a:ext uri="{FF2B5EF4-FFF2-40B4-BE49-F238E27FC236}">
                  <a16:creationId xmlns:a16="http://schemas.microsoft.com/office/drawing/2014/main" id="{0252E488-2ECF-4F19-BCC6-5FFF72260F92}"/>
                </a:ext>
              </a:extLst>
            </p:cNvPr>
            <p:cNvSpPr/>
            <p:nvPr/>
          </p:nvSpPr>
          <p:spPr>
            <a:xfrm>
              <a:off x="11525155" y="4900278"/>
              <a:ext cx="17927" cy="17927"/>
            </a:xfrm>
            <a:custGeom>
              <a:avLst/>
              <a:gdLst>
                <a:gd name="connsiteX0" fmla="*/ 10308 w 17926"/>
                <a:gd name="connsiteY0" fmla="*/ 20616 h 17926"/>
                <a:gd name="connsiteX1" fmla="*/ 20616 w 17926"/>
                <a:gd name="connsiteY1" fmla="*/ 10308 h 17926"/>
                <a:gd name="connsiteX2" fmla="*/ 10308 w 17926"/>
                <a:gd name="connsiteY2" fmla="*/ 0 h 17926"/>
                <a:gd name="connsiteX3" fmla="*/ 0 w 17926"/>
                <a:gd name="connsiteY3" fmla="*/ 10308 h 17926"/>
                <a:gd name="connsiteX4" fmla="*/ 10308 w 17926"/>
                <a:gd name="connsiteY4" fmla="*/ 20616 h 17926"/>
                <a:gd name="connsiteX5" fmla="*/ 10308 w 17926"/>
                <a:gd name="connsiteY5" fmla="*/ 4930 h 17926"/>
                <a:gd name="connsiteX6" fmla="*/ 16134 w 17926"/>
                <a:gd name="connsiteY6" fmla="*/ 10756 h 17926"/>
                <a:gd name="connsiteX7" fmla="*/ 10308 w 17926"/>
                <a:gd name="connsiteY7" fmla="*/ 16582 h 17926"/>
                <a:gd name="connsiteX8" fmla="*/ 4482 w 17926"/>
                <a:gd name="connsiteY8" fmla="*/ 10756 h 17926"/>
                <a:gd name="connsiteX9" fmla="*/ 10308 w 17926"/>
                <a:gd name="connsiteY9" fmla="*/ 493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10308" y="20616"/>
                  </a:moveTo>
                  <a:cubicBezTo>
                    <a:pt x="15686" y="20616"/>
                    <a:pt x="20616" y="16134"/>
                    <a:pt x="20616" y="10308"/>
                  </a:cubicBezTo>
                  <a:cubicBezTo>
                    <a:pt x="20616" y="4930"/>
                    <a:pt x="16134" y="0"/>
                    <a:pt x="10308" y="0"/>
                  </a:cubicBezTo>
                  <a:cubicBezTo>
                    <a:pt x="4482" y="0"/>
                    <a:pt x="0" y="4482"/>
                    <a:pt x="0" y="10308"/>
                  </a:cubicBezTo>
                  <a:cubicBezTo>
                    <a:pt x="0" y="16134"/>
                    <a:pt x="4482" y="20616"/>
                    <a:pt x="10308" y="20616"/>
                  </a:cubicBezTo>
                  <a:close/>
                  <a:moveTo>
                    <a:pt x="10308" y="4930"/>
                  </a:moveTo>
                  <a:cubicBezTo>
                    <a:pt x="13445" y="4930"/>
                    <a:pt x="16134" y="7619"/>
                    <a:pt x="16134" y="10756"/>
                  </a:cubicBezTo>
                  <a:cubicBezTo>
                    <a:pt x="16134" y="13893"/>
                    <a:pt x="13445" y="16582"/>
                    <a:pt x="10308" y="16582"/>
                  </a:cubicBezTo>
                  <a:cubicBezTo>
                    <a:pt x="7171" y="16582"/>
                    <a:pt x="4482" y="13893"/>
                    <a:pt x="4482" y="10756"/>
                  </a:cubicBezTo>
                  <a:cubicBezTo>
                    <a:pt x="4482" y="7619"/>
                    <a:pt x="7171" y="4930"/>
                    <a:pt x="10308" y="4930"/>
                  </a:cubicBezTo>
                  <a:close/>
                </a:path>
              </a:pathLst>
            </a:custGeom>
            <a:solidFill>
              <a:srgbClr val="231F20"/>
            </a:solidFill>
            <a:ln w="4477" cap="flat">
              <a:noFill/>
              <a:prstDash val="solid"/>
              <a:miter/>
            </a:ln>
          </p:spPr>
          <p:txBody>
            <a:bodyPr rtlCol="0" anchor="ctr"/>
            <a:lstStyle/>
            <a:p>
              <a:endParaRPr lang="en-US"/>
            </a:p>
          </p:txBody>
        </p:sp>
        <p:sp>
          <p:nvSpPr>
            <p:cNvPr id="3737" name="Freeform: Shape 3736">
              <a:extLst>
                <a:ext uri="{FF2B5EF4-FFF2-40B4-BE49-F238E27FC236}">
                  <a16:creationId xmlns:a16="http://schemas.microsoft.com/office/drawing/2014/main" id="{EE2BBF8D-1702-4C35-B3B2-2DA02647E0C1}"/>
                </a:ext>
              </a:extLst>
            </p:cNvPr>
            <p:cNvSpPr/>
            <p:nvPr/>
          </p:nvSpPr>
          <p:spPr>
            <a:xfrm>
              <a:off x="11543978" y="4899830"/>
              <a:ext cx="17927" cy="17927"/>
            </a:xfrm>
            <a:custGeom>
              <a:avLst/>
              <a:gdLst>
                <a:gd name="connsiteX0" fmla="*/ 2689 w 17926"/>
                <a:gd name="connsiteY0" fmla="*/ 4482 h 17926"/>
                <a:gd name="connsiteX1" fmla="*/ 8067 w 17926"/>
                <a:gd name="connsiteY1" fmla="*/ 4482 h 17926"/>
                <a:gd name="connsiteX2" fmla="*/ 8067 w 17926"/>
                <a:gd name="connsiteY2" fmla="*/ 17927 h 17926"/>
                <a:gd name="connsiteX3" fmla="*/ 10308 w 17926"/>
                <a:gd name="connsiteY3" fmla="*/ 20168 h 17926"/>
                <a:gd name="connsiteX4" fmla="*/ 12549 w 17926"/>
                <a:gd name="connsiteY4" fmla="*/ 17927 h 17926"/>
                <a:gd name="connsiteX5" fmla="*/ 12549 w 17926"/>
                <a:gd name="connsiteY5" fmla="*/ 4482 h 17926"/>
                <a:gd name="connsiteX6" fmla="*/ 17927 w 17926"/>
                <a:gd name="connsiteY6" fmla="*/ 4482 h 17926"/>
                <a:gd name="connsiteX7" fmla="*/ 20168 w 17926"/>
                <a:gd name="connsiteY7" fmla="*/ 2241 h 17926"/>
                <a:gd name="connsiteX8" fmla="*/ 17927 w 17926"/>
                <a:gd name="connsiteY8" fmla="*/ 0 h 17926"/>
                <a:gd name="connsiteX9" fmla="*/ 2241 w 17926"/>
                <a:gd name="connsiteY9" fmla="*/ 0 h 17926"/>
                <a:gd name="connsiteX10" fmla="*/ 0 w 17926"/>
                <a:gd name="connsiteY10" fmla="*/ 2241 h 17926"/>
                <a:gd name="connsiteX11" fmla="*/ 2689 w 17926"/>
                <a:gd name="connsiteY11"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26" h="17926">
                  <a:moveTo>
                    <a:pt x="2689" y="4482"/>
                  </a:moveTo>
                  <a:lnTo>
                    <a:pt x="8067" y="4482"/>
                  </a:lnTo>
                  <a:lnTo>
                    <a:pt x="8067" y="17927"/>
                  </a:lnTo>
                  <a:cubicBezTo>
                    <a:pt x="8067" y="19271"/>
                    <a:pt x="8963" y="20168"/>
                    <a:pt x="10308" y="20168"/>
                  </a:cubicBezTo>
                  <a:cubicBezTo>
                    <a:pt x="11652" y="20168"/>
                    <a:pt x="12549" y="19271"/>
                    <a:pt x="12549" y="17927"/>
                  </a:cubicBezTo>
                  <a:lnTo>
                    <a:pt x="12549" y="4482"/>
                  </a:lnTo>
                  <a:lnTo>
                    <a:pt x="17927" y="4482"/>
                  </a:lnTo>
                  <a:cubicBezTo>
                    <a:pt x="19272" y="4482"/>
                    <a:pt x="20168" y="3585"/>
                    <a:pt x="20168" y="2241"/>
                  </a:cubicBezTo>
                  <a:cubicBezTo>
                    <a:pt x="20168" y="896"/>
                    <a:pt x="19272" y="0"/>
                    <a:pt x="17927" y="0"/>
                  </a:cubicBezTo>
                  <a:lnTo>
                    <a:pt x="2241" y="0"/>
                  </a:lnTo>
                  <a:cubicBezTo>
                    <a:pt x="896" y="0"/>
                    <a:pt x="0" y="896"/>
                    <a:pt x="0" y="2241"/>
                  </a:cubicBezTo>
                  <a:cubicBezTo>
                    <a:pt x="448" y="3137"/>
                    <a:pt x="1345" y="4482"/>
                    <a:pt x="2689" y="4482"/>
                  </a:cubicBezTo>
                  <a:close/>
                </a:path>
              </a:pathLst>
            </a:custGeom>
            <a:solidFill>
              <a:srgbClr val="231F20"/>
            </a:solidFill>
            <a:ln w="4477" cap="flat">
              <a:noFill/>
              <a:prstDash val="solid"/>
              <a:miter/>
            </a:ln>
          </p:spPr>
          <p:txBody>
            <a:bodyPr rtlCol="0" anchor="ctr"/>
            <a:lstStyle/>
            <a:p>
              <a:endParaRPr lang="en-US"/>
            </a:p>
          </p:txBody>
        </p:sp>
        <p:sp>
          <p:nvSpPr>
            <p:cNvPr id="3738" name="Freeform: Shape 3737">
              <a:extLst>
                <a:ext uri="{FF2B5EF4-FFF2-40B4-BE49-F238E27FC236}">
                  <a16:creationId xmlns:a16="http://schemas.microsoft.com/office/drawing/2014/main" id="{60393A77-E845-46E2-A49B-91C6BD03BE6C}"/>
                </a:ext>
              </a:extLst>
            </p:cNvPr>
            <p:cNvSpPr/>
            <p:nvPr/>
          </p:nvSpPr>
          <p:spPr>
            <a:xfrm>
              <a:off x="11582073" y="4900726"/>
              <a:ext cx="13445" cy="17927"/>
            </a:xfrm>
            <a:custGeom>
              <a:avLst/>
              <a:gdLst>
                <a:gd name="connsiteX0" fmla="*/ 2241 w 13445"/>
                <a:gd name="connsiteY0" fmla="*/ 18823 h 17926"/>
                <a:gd name="connsiteX1" fmla="*/ 11204 w 13445"/>
                <a:gd name="connsiteY1" fmla="*/ 18823 h 17926"/>
                <a:gd name="connsiteX2" fmla="*/ 13445 w 13445"/>
                <a:gd name="connsiteY2" fmla="*/ 16582 h 17926"/>
                <a:gd name="connsiteX3" fmla="*/ 11204 w 13445"/>
                <a:gd name="connsiteY3" fmla="*/ 14342 h 17926"/>
                <a:gd name="connsiteX4" fmla="*/ 4482 w 13445"/>
                <a:gd name="connsiteY4" fmla="*/ 14342 h 17926"/>
                <a:gd name="connsiteX5" fmla="*/ 4482 w 13445"/>
                <a:gd name="connsiteY5" fmla="*/ 2241 h 17926"/>
                <a:gd name="connsiteX6" fmla="*/ 2241 w 13445"/>
                <a:gd name="connsiteY6" fmla="*/ 0 h 17926"/>
                <a:gd name="connsiteX7" fmla="*/ 0 w 13445"/>
                <a:gd name="connsiteY7" fmla="*/ 2241 h 17926"/>
                <a:gd name="connsiteX8" fmla="*/ 0 w 13445"/>
                <a:gd name="connsiteY8" fmla="*/ 16582 h 17926"/>
                <a:gd name="connsiteX9" fmla="*/ 2241 w 13445"/>
                <a:gd name="connsiteY9" fmla="*/ 18823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7926">
                  <a:moveTo>
                    <a:pt x="2241" y="18823"/>
                  </a:moveTo>
                  <a:lnTo>
                    <a:pt x="11204" y="18823"/>
                  </a:lnTo>
                  <a:cubicBezTo>
                    <a:pt x="12549" y="18823"/>
                    <a:pt x="13445" y="17927"/>
                    <a:pt x="13445" y="16582"/>
                  </a:cubicBezTo>
                  <a:cubicBezTo>
                    <a:pt x="13445" y="15238"/>
                    <a:pt x="12549" y="14342"/>
                    <a:pt x="11204" y="14342"/>
                  </a:cubicBezTo>
                  <a:lnTo>
                    <a:pt x="4482" y="14342"/>
                  </a:lnTo>
                  <a:lnTo>
                    <a:pt x="4482" y="2241"/>
                  </a:lnTo>
                  <a:cubicBezTo>
                    <a:pt x="4482" y="896"/>
                    <a:pt x="3586" y="0"/>
                    <a:pt x="2241" y="0"/>
                  </a:cubicBezTo>
                  <a:cubicBezTo>
                    <a:pt x="896" y="0"/>
                    <a:pt x="0" y="896"/>
                    <a:pt x="0" y="2241"/>
                  </a:cubicBezTo>
                  <a:lnTo>
                    <a:pt x="0" y="16582"/>
                  </a:lnTo>
                  <a:cubicBezTo>
                    <a:pt x="0" y="17927"/>
                    <a:pt x="1345" y="18823"/>
                    <a:pt x="2241" y="18823"/>
                  </a:cubicBezTo>
                  <a:close/>
                </a:path>
              </a:pathLst>
            </a:custGeom>
            <a:solidFill>
              <a:srgbClr val="231F20"/>
            </a:solidFill>
            <a:ln w="4477" cap="flat">
              <a:noFill/>
              <a:prstDash val="solid"/>
              <a:miter/>
            </a:ln>
          </p:spPr>
          <p:txBody>
            <a:bodyPr rtlCol="0" anchor="ctr"/>
            <a:lstStyle/>
            <a:p>
              <a:endParaRPr lang="en-US"/>
            </a:p>
          </p:txBody>
        </p:sp>
        <p:sp>
          <p:nvSpPr>
            <p:cNvPr id="3739" name="Freeform: Shape 3738">
              <a:extLst>
                <a:ext uri="{FF2B5EF4-FFF2-40B4-BE49-F238E27FC236}">
                  <a16:creationId xmlns:a16="http://schemas.microsoft.com/office/drawing/2014/main" id="{4A8C64D5-73E4-4589-922F-F613D67A9F3B}"/>
                </a:ext>
              </a:extLst>
            </p:cNvPr>
            <p:cNvSpPr/>
            <p:nvPr/>
          </p:nvSpPr>
          <p:spPr>
            <a:xfrm>
              <a:off x="11565939" y="4899830"/>
              <a:ext cx="13445" cy="17927"/>
            </a:xfrm>
            <a:custGeom>
              <a:avLst/>
              <a:gdLst>
                <a:gd name="connsiteX0" fmla="*/ 2241 w 13445"/>
                <a:gd name="connsiteY0" fmla="*/ 19719 h 17926"/>
                <a:gd name="connsiteX1" fmla="*/ 12548 w 13445"/>
                <a:gd name="connsiteY1" fmla="*/ 19719 h 17926"/>
                <a:gd name="connsiteX2" fmla="*/ 14789 w 13445"/>
                <a:gd name="connsiteY2" fmla="*/ 17478 h 17926"/>
                <a:gd name="connsiteX3" fmla="*/ 12548 w 13445"/>
                <a:gd name="connsiteY3" fmla="*/ 15238 h 17926"/>
                <a:gd name="connsiteX4" fmla="*/ 4482 w 13445"/>
                <a:gd name="connsiteY4" fmla="*/ 15238 h 17926"/>
                <a:gd name="connsiteX5" fmla="*/ 4482 w 13445"/>
                <a:gd name="connsiteY5" fmla="*/ 12100 h 17926"/>
                <a:gd name="connsiteX6" fmla="*/ 8067 w 13445"/>
                <a:gd name="connsiteY6" fmla="*/ 12100 h 17926"/>
                <a:gd name="connsiteX7" fmla="*/ 10308 w 13445"/>
                <a:gd name="connsiteY7" fmla="*/ 9860 h 17926"/>
                <a:gd name="connsiteX8" fmla="*/ 8067 w 13445"/>
                <a:gd name="connsiteY8" fmla="*/ 7619 h 17926"/>
                <a:gd name="connsiteX9" fmla="*/ 4482 w 13445"/>
                <a:gd name="connsiteY9" fmla="*/ 7619 h 17926"/>
                <a:gd name="connsiteX10" fmla="*/ 4482 w 13445"/>
                <a:gd name="connsiteY10" fmla="*/ 4482 h 17926"/>
                <a:gd name="connsiteX11" fmla="*/ 9860 w 13445"/>
                <a:gd name="connsiteY11" fmla="*/ 4482 h 17926"/>
                <a:gd name="connsiteX12" fmla="*/ 12100 w 13445"/>
                <a:gd name="connsiteY12" fmla="*/ 2241 h 17926"/>
                <a:gd name="connsiteX13" fmla="*/ 9860 w 13445"/>
                <a:gd name="connsiteY13" fmla="*/ 0 h 17926"/>
                <a:gd name="connsiteX14" fmla="*/ 2241 w 13445"/>
                <a:gd name="connsiteY14" fmla="*/ 0 h 17926"/>
                <a:gd name="connsiteX15" fmla="*/ 0 w 13445"/>
                <a:gd name="connsiteY15" fmla="*/ 2241 h 17926"/>
                <a:gd name="connsiteX16" fmla="*/ 0 w 13445"/>
                <a:gd name="connsiteY16" fmla="*/ 17927 h 17926"/>
                <a:gd name="connsiteX17" fmla="*/ 2241 w 13445"/>
                <a:gd name="connsiteY17" fmla="*/ 19719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45" h="17926">
                  <a:moveTo>
                    <a:pt x="2241" y="19719"/>
                  </a:moveTo>
                  <a:lnTo>
                    <a:pt x="12548" y="19719"/>
                  </a:lnTo>
                  <a:cubicBezTo>
                    <a:pt x="13893" y="19719"/>
                    <a:pt x="14789" y="18823"/>
                    <a:pt x="14789" y="17478"/>
                  </a:cubicBezTo>
                  <a:cubicBezTo>
                    <a:pt x="14789" y="16134"/>
                    <a:pt x="13893" y="15238"/>
                    <a:pt x="12548" y="15238"/>
                  </a:cubicBezTo>
                  <a:lnTo>
                    <a:pt x="4482" y="15238"/>
                  </a:lnTo>
                  <a:lnTo>
                    <a:pt x="4482" y="12100"/>
                  </a:lnTo>
                  <a:lnTo>
                    <a:pt x="8067" y="12100"/>
                  </a:lnTo>
                  <a:cubicBezTo>
                    <a:pt x="9411" y="12100"/>
                    <a:pt x="10308" y="11204"/>
                    <a:pt x="10308" y="9860"/>
                  </a:cubicBezTo>
                  <a:cubicBezTo>
                    <a:pt x="10308" y="8515"/>
                    <a:pt x="9411" y="7619"/>
                    <a:pt x="8067" y="7619"/>
                  </a:cubicBezTo>
                  <a:lnTo>
                    <a:pt x="4482" y="7619"/>
                  </a:lnTo>
                  <a:lnTo>
                    <a:pt x="4482" y="4482"/>
                  </a:lnTo>
                  <a:lnTo>
                    <a:pt x="9860" y="4482"/>
                  </a:lnTo>
                  <a:cubicBezTo>
                    <a:pt x="11204" y="4482"/>
                    <a:pt x="12100" y="3585"/>
                    <a:pt x="12100" y="2241"/>
                  </a:cubicBezTo>
                  <a:cubicBezTo>
                    <a:pt x="12100" y="896"/>
                    <a:pt x="11204" y="0"/>
                    <a:pt x="9860" y="0"/>
                  </a:cubicBezTo>
                  <a:lnTo>
                    <a:pt x="2241" y="0"/>
                  </a:lnTo>
                  <a:cubicBezTo>
                    <a:pt x="896" y="0"/>
                    <a:pt x="0" y="896"/>
                    <a:pt x="0" y="2241"/>
                  </a:cubicBezTo>
                  <a:lnTo>
                    <a:pt x="0" y="17927"/>
                  </a:lnTo>
                  <a:cubicBezTo>
                    <a:pt x="0" y="18823"/>
                    <a:pt x="896" y="19719"/>
                    <a:pt x="2241" y="19719"/>
                  </a:cubicBezTo>
                  <a:close/>
                </a:path>
              </a:pathLst>
            </a:custGeom>
            <a:solidFill>
              <a:srgbClr val="231F20"/>
            </a:solidFill>
            <a:ln w="4477" cap="flat">
              <a:noFill/>
              <a:prstDash val="solid"/>
              <a:miter/>
            </a:ln>
          </p:spPr>
          <p:txBody>
            <a:bodyPr rtlCol="0" anchor="ctr"/>
            <a:lstStyle/>
            <a:p>
              <a:endParaRPr lang="en-US"/>
            </a:p>
          </p:txBody>
        </p:sp>
        <p:sp>
          <p:nvSpPr>
            <p:cNvPr id="3740" name="Freeform: Shape 3739">
              <a:extLst>
                <a:ext uri="{FF2B5EF4-FFF2-40B4-BE49-F238E27FC236}">
                  <a16:creationId xmlns:a16="http://schemas.microsoft.com/office/drawing/2014/main" id="{D1AE0649-A343-46E4-A6C2-5B9CA366D711}"/>
                </a:ext>
              </a:extLst>
            </p:cNvPr>
            <p:cNvSpPr/>
            <p:nvPr/>
          </p:nvSpPr>
          <p:spPr>
            <a:xfrm>
              <a:off x="11487061" y="4924479"/>
              <a:ext cx="125488" cy="143414"/>
            </a:xfrm>
            <a:custGeom>
              <a:avLst/>
              <a:gdLst>
                <a:gd name="connsiteX0" fmla="*/ 123247 w 125487"/>
                <a:gd name="connsiteY0" fmla="*/ 139829 h 143414"/>
                <a:gd name="connsiteX1" fmla="*/ 112043 w 125487"/>
                <a:gd name="connsiteY1" fmla="*/ 139829 h 143414"/>
                <a:gd name="connsiteX2" fmla="*/ 112043 w 125487"/>
                <a:gd name="connsiteY2" fmla="*/ 18375 h 143414"/>
                <a:gd name="connsiteX3" fmla="*/ 123247 w 125487"/>
                <a:gd name="connsiteY3" fmla="*/ 18375 h 143414"/>
                <a:gd name="connsiteX4" fmla="*/ 125488 w 125487"/>
                <a:gd name="connsiteY4" fmla="*/ 16134 h 143414"/>
                <a:gd name="connsiteX5" fmla="*/ 123247 w 125487"/>
                <a:gd name="connsiteY5" fmla="*/ 13893 h 143414"/>
                <a:gd name="connsiteX6" fmla="*/ 109802 w 125487"/>
                <a:gd name="connsiteY6" fmla="*/ 13893 h 143414"/>
                <a:gd name="connsiteX7" fmla="*/ 98597 w 125487"/>
                <a:gd name="connsiteY7" fmla="*/ 13893 h 143414"/>
                <a:gd name="connsiteX8" fmla="*/ 98597 w 125487"/>
                <a:gd name="connsiteY8" fmla="*/ 2241 h 143414"/>
                <a:gd name="connsiteX9" fmla="*/ 96357 w 125487"/>
                <a:gd name="connsiteY9" fmla="*/ 0 h 143414"/>
                <a:gd name="connsiteX10" fmla="*/ 29131 w 125487"/>
                <a:gd name="connsiteY10" fmla="*/ 0 h 143414"/>
                <a:gd name="connsiteX11" fmla="*/ 26890 w 125487"/>
                <a:gd name="connsiteY11" fmla="*/ 2241 h 143414"/>
                <a:gd name="connsiteX12" fmla="*/ 26890 w 125487"/>
                <a:gd name="connsiteY12" fmla="*/ 13893 h 143414"/>
                <a:gd name="connsiteX13" fmla="*/ 15686 w 125487"/>
                <a:gd name="connsiteY13" fmla="*/ 13893 h 143414"/>
                <a:gd name="connsiteX14" fmla="*/ 2241 w 125487"/>
                <a:gd name="connsiteY14" fmla="*/ 13893 h 143414"/>
                <a:gd name="connsiteX15" fmla="*/ 0 w 125487"/>
                <a:gd name="connsiteY15" fmla="*/ 16134 h 143414"/>
                <a:gd name="connsiteX16" fmla="*/ 2241 w 125487"/>
                <a:gd name="connsiteY16" fmla="*/ 18375 h 143414"/>
                <a:gd name="connsiteX17" fmla="*/ 13445 w 125487"/>
                <a:gd name="connsiteY17" fmla="*/ 18375 h 143414"/>
                <a:gd name="connsiteX18" fmla="*/ 13445 w 125487"/>
                <a:gd name="connsiteY18" fmla="*/ 139829 h 143414"/>
                <a:gd name="connsiteX19" fmla="*/ 2241 w 125487"/>
                <a:gd name="connsiteY19" fmla="*/ 139829 h 143414"/>
                <a:gd name="connsiteX20" fmla="*/ 0 w 125487"/>
                <a:gd name="connsiteY20" fmla="*/ 142070 h 143414"/>
                <a:gd name="connsiteX21" fmla="*/ 2241 w 125487"/>
                <a:gd name="connsiteY21" fmla="*/ 144311 h 143414"/>
                <a:gd name="connsiteX22" fmla="*/ 15686 w 125487"/>
                <a:gd name="connsiteY22" fmla="*/ 144311 h 143414"/>
                <a:gd name="connsiteX23" fmla="*/ 109802 w 125487"/>
                <a:gd name="connsiteY23" fmla="*/ 144311 h 143414"/>
                <a:gd name="connsiteX24" fmla="*/ 123247 w 125487"/>
                <a:gd name="connsiteY24" fmla="*/ 144311 h 143414"/>
                <a:gd name="connsiteX25" fmla="*/ 125488 w 125487"/>
                <a:gd name="connsiteY25" fmla="*/ 142070 h 143414"/>
                <a:gd name="connsiteX26" fmla="*/ 123247 w 125487"/>
                <a:gd name="connsiteY26" fmla="*/ 139829 h 143414"/>
                <a:gd name="connsiteX27" fmla="*/ 31372 w 125487"/>
                <a:gd name="connsiteY27" fmla="*/ 4482 h 143414"/>
                <a:gd name="connsiteX28" fmla="*/ 94116 w 125487"/>
                <a:gd name="connsiteY28" fmla="*/ 4482 h 143414"/>
                <a:gd name="connsiteX29" fmla="*/ 94116 w 125487"/>
                <a:gd name="connsiteY29" fmla="*/ 13893 h 143414"/>
                <a:gd name="connsiteX30" fmla="*/ 31372 w 125487"/>
                <a:gd name="connsiteY30" fmla="*/ 13893 h 143414"/>
                <a:gd name="connsiteX31" fmla="*/ 31372 w 125487"/>
                <a:gd name="connsiteY31" fmla="*/ 4482 h 143414"/>
                <a:gd name="connsiteX32" fmla="*/ 60503 w 125487"/>
                <a:gd name="connsiteY32" fmla="*/ 18375 h 143414"/>
                <a:gd name="connsiteX33" fmla="*/ 60503 w 125487"/>
                <a:gd name="connsiteY33" fmla="*/ 38543 h 143414"/>
                <a:gd name="connsiteX34" fmla="*/ 44817 w 125487"/>
                <a:gd name="connsiteY34" fmla="*/ 38543 h 143414"/>
                <a:gd name="connsiteX35" fmla="*/ 44817 w 125487"/>
                <a:gd name="connsiteY35" fmla="*/ 18375 h 143414"/>
                <a:gd name="connsiteX36" fmla="*/ 60503 w 125487"/>
                <a:gd name="connsiteY36" fmla="*/ 18375 h 143414"/>
                <a:gd name="connsiteX37" fmla="*/ 60503 w 125487"/>
                <a:gd name="connsiteY37" fmla="*/ 90082 h 143414"/>
                <a:gd name="connsiteX38" fmla="*/ 44817 w 125487"/>
                <a:gd name="connsiteY38" fmla="*/ 90082 h 143414"/>
                <a:gd name="connsiteX39" fmla="*/ 44817 w 125487"/>
                <a:gd name="connsiteY39" fmla="*/ 69018 h 143414"/>
                <a:gd name="connsiteX40" fmla="*/ 60503 w 125487"/>
                <a:gd name="connsiteY40" fmla="*/ 69018 h 143414"/>
                <a:gd name="connsiteX41" fmla="*/ 60503 w 125487"/>
                <a:gd name="connsiteY41" fmla="*/ 90082 h 143414"/>
                <a:gd name="connsiteX42" fmla="*/ 64985 w 125487"/>
                <a:gd name="connsiteY42" fmla="*/ 69018 h 143414"/>
                <a:gd name="connsiteX43" fmla="*/ 80671 w 125487"/>
                <a:gd name="connsiteY43" fmla="*/ 69018 h 143414"/>
                <a:gd name="connsiteX44" fmla="*/ 80671 w 125487"/>
                <a:gd name="connsiteY44" fmla="*/ 90082 h 143414"/>
                <a:gd name="connsiteX45" fmla="*/ 64985 w 125487"/>
                <a:gd name="connsiteY45" fmla="*/ 90082 h 143414"/>
                <a:gd name="connsiteX46" fmla="*/ 64985 w 125487"/>
                <a:gd name="connsiteY46" fmla="*/ 69018 h 143414"/>
                <a:gd name="connsiteX47" fmla="*/ 44817 w 125487"/>
                <a:gd name="connsiteY47" fmla="*/ 94564 h 143414"/>
                <a:gd name="connsiteX48" fmla="*/ 60503 w 125487"/>
                <a:gd name="connsiteY48" fmla="*/ 94564 h 143414"/>
                <a:gd name="connsiteX49" fmla="*/ 60503 w 125487"/>
                <a:gd name="connsiteY49" fmla="*/ 115628 h 143414"/>
                <a:gd name="connsiteX50" fmla="*/ 44817 w 125487"/>
                <a:gd name="connsiteY50" fmla="*/ 115628 h 143414"/>
                <a:gd name="connsiteX51" fmla="*/ 44817 w 125487"/>
                <a:gd name="connsiteY51" fmla="*/ 94564 h 143414"/>
                <a:gd name="connsiteX52" fmla="*/ 64985 w 125487"/>
                <a:gd name="connsiteY52" fmla="*/ 94564 h 143414"/>
                <a:gd name="connsiteX53" fmla="*/ 80671 w 125487"/>
                <a:gd name="connsiteY53" fmla="*/ 94564 h 143414"/>
                <a:gd name="connsiteX54" fmla="*/ 80671 w 125487"/>
                <a:gd name="connsiteY54" fmla="*/ 115628 h 143414"/>
                <a:gd name="connsiteX55" fmla="*/ 64985 w 125487"/>
                <a:gd name="connsiteY55" fmla="*/ 115628 h 143414"/>
                <a:gd name="connsiteX56" fmla="*/ 64985 w 125487"/>
                <a:gd name="connsiteY56" fmla="*/ 94564 h 143414"/>
                <a:gd name="connsiteX57" fmla="*/ 80671 w 125487"/>
                <a:gd name="connsiteY57" fmla="*/ 64536 h 143414"/>
                <a:gd name="connsiteX58" fmla="*/ 64985 w 125487"/>
                <a:gd name="connsiteY58" fmla="*/ 64536 h 143414"/>
                <a:gd name="connsiteX59" fmla="*/ 64985 w 125487"/>
                <a:gd name="connsiteY59" fmla="*/ 43472 h 143414"/>
                <a:gd name="connsiteX60" fmla="*/ 80671 w 125487"/>
                <a:gd name="connsiteY60" fmla="*/ 43472 h 143414"/>
                <a:gd name="connsiteX61" fmla="*/ 80671 w 125487"/>
                <a:gd name="connsiteY61" fmla="*/ 64536 h 143414"/>
                <a:gd name="connsiteX62" fmla="*/ 60503 w 125487"/>
                <a:gd name="connsiteY62" fmla="*/ 64536 h 143414"/>
                <a:gd name="connsiteX63" fmla="*/ 44817 w 125487"/>
                <a:gd name="connsiteY63" fmla="*/ 64536 h 143414"/>
                <a:gd name="connsiteX64" fmla="*/ 44817 w 125487"/>
                <a:gd name="connsiteY64" fmla="*/ 43472 h 143414"/>
                <a:gd name="connsiteX65" fmla="*/ 60503 w 125487"/>
                <a:gd name="connsiteY65" fmla="*/ 43472 h 143414"/>
                <a:gd name="connsiteX66" fmla="*/ 60503 w 125487"/>
                <a:gd name="connsiteY66" fmla="*/ 64536 h 143414"/>
                <a:gd name="connsiteX67" fmla="*/ 44817 w 125487"/>
                <a:gd name="connsiteY67" fmla="*/ 120110 h 143414"/>
                <a:gd name="connsiteX68" fmla="*/ 60503 w 125487"/>
                <a:gd name="connsiteY68" fmla="*/ 120110 h 143414"/>
                <a:gd name="connsiteX69" fmla="*/ 60503 w 125487"/>
                <a:gd name="connsiteY69" fmla="*/ 139829 h 143414"/>
                <a:gd name="connsiteX70" fmla="*/ 44817 w 125487"/>
                <a:gd name="connsiteY70" fmla="*/ 139829 h 143414"/>
                <a:gd name="connsiteX71" fmla="*/ 44817 w 125487"/>
                <a:gd name="connsiteY71" fmla="*/ 120110 h 143414"/>
                <a:gd name="connsiteX72" fmla="*/ 64985 w 125487"/>
                <a:gd name="connsiteY72" fmla="*/ 120110 h 143414"/>
                <a:gd name="connsiteX73" fmla="*/ 80671 w 125487"/>
                <a:gd name="connsiteY73" fmla="*/ 120110 h 143414"/>
                <a:gd name="connsiteX74" fmla="*/ 80671 w 125487"/>
                <a:gd name="connsiteY74" fmla="*/ 139829 h 143414"/>
                <a:gd name="connsiteX75" fmla="*/ 64985 w 125487"/>
                <a:gd name="connsiteY75" fmla="*/ 139829 h 143414"/>
                <a:gd name="connsiteX76" fmla="*/ 64985 w 125487"/>
                <a:gd name="connsiteY76" fmla="*/ 120110 h 143414"/>
                <a:gd name="connsiteX77" fmla="*/ 80671 w 125487"/>
                <a:gd name="connsiteY77" fmla="*/ 38543 h 143414"/>
                <a:gd name="connsiteX78" fmla="*/ 64985 w 125487"/>
                <a:gd name="connsiteY78" fmla="*/ 38543 h 143414"/>
                <a:gd name="connsiteX79" fmla="*/ 64985 w 125487"/>
                <a:gd name="connsiteY79" fmla="*/ 18375 h 143414"/>
                <a:gd name="connsiteX80" fmla="*/ 80671 w 125487"/>
                <a:gd name="connsiteY80" fmla="*/ 18375 h 143414"/>
                <a:gd name="connsiteX81" fmla="*/ 80671 w 125487"/>
                <a:gd name="connsiteY81" fmla="*/ 38543 h 143414"/>
                <a:gd name="connsiteX82" fmla="*/ 17927 w 125487"/>
                <a:gd name="connsiteY82" fmla="*/ 18375 h 143414"/>
                <a:gd name="connsiteX83" fmla="*/ 40335 w 125487"/>
                <a:gd name="connsiteY83" fmla="*/ 18375 h 143414"/>
                <a:gd name="connsiteX84" fmla="*/ 40335 w 125487"/>
                <a:gd name="connsiteY84" fmla="*/ 139829 h 143414"/>
                <a:gd name="connsiteX85" fmla="*/ 17927 w 125487"/>
                <a:gd name="connsiteY85" fmla="*/ 139829 h 143414"/>
                <a:gd name="connsiteX86" fmla="*/ 17927 w 125487"/>
                <a:gd name="connsiteY86" fmla="*/ 18375 h 143414"/>
                <a:gd name="connsiteX87" fmla="*/ 85152 w 125487"/>
                <a:gd name="connsiteY87" fmla="*/ 139829 h 143414"/>
                <a:gd name="connsiteX88" fmla="*/ 85152 w 125487"/>
                <a:gd name="connsiteY88" fmla="*/ 18375 h 143414"/>
                <a:gd name="connsiteX89" fmla="*/ 107561 w 125487"/>
                <a:gd name="connsiteY89" fmla="*/ 18375 h 143414"/>
                <a:gd name="connsiteX90" fmla="*/ 107561 w 125487"/>
                <a:gd name="connsiteY90" fmla="*/ 139829 h 143414"/>
                <a:gd name="connsiteX91" fmla="*/ 85152 w 125487"/>
                <a:gd name="connsiteY91" fmla="*/ 139829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5487" h="143414">
                  <a:moveTo>
                    <a:pt x="123247" y="139829"/>
                  </a:moveTo>
                  <a:lnTo>
                    <a:pt x="112043" y="139829"/>
                  </a:lnTo>
                  <a:lnTo>
                    <a:pt x="112043" y="18375"/>
                  </a:lnTo>
                  <a:lnTo>
                    <a:pt x="123247" y="18375"/>
                  </a:lnTo>
                  <a:cubicBezTo>
                    <a:pt x="124591" y="18375"/>
                    <a:pt x="125488" y="17478"/>
                    <a:pt x="125488" y="16134"/>
                  </a:cubicBezTo>
                  <a:cubicBezTo>
                    <a:pt x="125488" y="14790"/>
                    <a:pt x="124591" y="13893"/>
                    <a:pt x="123247" y="13893"/>
                  </a:cubicBezTo>
                  <a:lnTo>
                    <a:pt x="109802" y="13893"/>
                  </a:lnTo>
                  <a:lnTo>
                    <a:pt x="98597" y="13893"/>
                  </a:lnTo>
                  <a:lnTo>
                    <a:pt x="98597" y="2241"/>
                  </a:lnTo>
                  <a:cubicBezTo>
                    <a:pt x="98597" y="896"/>
                    <a:pt x="97701" y="0"/>
                    <a:pt x="96357" y="0"/>
                  </a:cubicBezTo>
                  <a:lnTo>
                    <a:pt x="29131" y="0"/>
                  </a:lnTo>
                  <a:cubicBezTo>
                    <a:pt x="27786" y="0"/>
                    <a:pt x="26890" y="896"/>
                    <a:pt x="26890" y="2241"/>
                  </a:cubicBezTo>
                  <a:lnTo>
                    <a:pt x="26890" y="13893"/>
                  </a:lnTo>
                  <a:lnTo>
                    <a:pt x="15686" y="13893"/>
                  </a:lnTo>
                  <a:lnTo>
                    <a:pt x="2241" y="13893"/>
                  </a:lnTo>
                  <a:cubicBezTo>
                    <a:pt x="896" y="13893"/>
                    <a:pt x="0" y="14790"/>
                    <a:pt x="0" y="16134"/>
                  </a:cubicBezTo>
                  <a:cubicBezTo>
                    <a:pt x="0" y="17478"/>
                    <a:pt x="896" y="18375"/>
                    <a:pt x="2241" y="18375"/>
                  </a:cubicBezTo>
                  <a:lnTo>
                    <a:pt x="13445" y="18375"/>
                  </a:lnTo>
                  <a:lnTo>
                    <a:pt x="13445" y="139829"/>
                  </a:lnTo>
                  <a:lnTo>
                    <a:pt x="2241" y="139829"/>
                  </a:lnTo>
                  <a:cubicBezTo>
                    <a:pt x="896" y="139829"/>
                    <a:pt x="0" y="140725"/>
                    <a:pt x="0" y="142070"/>
                  </a:cubicBezTo>
                  <a:cubicBezTo>
                    <a:pt x="0" y="143415"/>
                    <a:pt x="896" y="144311"/>
                    <a:pt x="2241" y="144311"/>
                  </a:cubicBezTo>
                  <a:lnTo>
                    <a:pt x="15686" y="144311"/>
                  </a:lnTo>
                  <a:lnTo>
                    <a:pt x="109802" y="144311"/>
                  </a:lnTo>
                  <a:lnTo>
                    <a:pt x="123247" y="144311"/>
                  </a:lnTo>
                  <a:cubicBezTo>
                    <a:pt x="124591" y="144311"/>
                    <a:pt x="125488" y="143415"/>
                    <a:pt x="125488" y="142070"/>
                  </a:cubicBezTo>
                  <a:cubicBezTo>
                    <a:pt x="125488" y="140725"/>
                    <a:pt x="124591" y="139829"/>
                    <a:pt x="123247" y="139829"/>
                  </a:cubicBezTo>
                  <a:close/>
                  <a:moveTo>
                    <a:pt x="31372" y="4482"/>
                  </a:moveTo>
                  <a:lnTo>
                    <a:pt x="94116" y="4482"/>
                  </a:lnTo>
                  <a:lnTo>
                    <a:pt x="94116" y="13893"/>
                  </a:lnTo>
                  <a:lnTo>
                    <a:pt x="31372" y="13893"/>
                  </a:lnTo>
                  <a:lnTo>
                    <a:pt x="31372" y="4482"/>
                  </a:lnTo>
                  <a:close/>
                  <a:moveTo>
                    <a:pt x="60503" y="18375"/>
                  </a:moveTo>
                  <a:lnTo>
                    <a:pt x="60503" y="38543"/>
                  </a:lnTo>
                  <a:lnTo>
                    <a:pt x="44817" y="38543"/>
                  </a:lnTo>
                  <a:lnTo>
                    <a:pt x="44817" y="18375"/>
                  </a:lnTo>
                  <a:lnTo>
                    <a:pt x="60503" y="18375"/>
                  </a:lnTo>
                  <a:close/>
                  <a:moveTo>
                    <a:pt x="60503" y="90082"/>
                  </a:moveTo>
                  <a:lnTo>
                    <a:pt x="44817" y="90082"/>
                  </a:lnTo>
                  <a:lnTo>
                    <a:pt x="44817" y="69018"/>
                  </a:lnTo>
                  <a:lnTo>
                    <a:pt x="60503" y="69018"/>
                  </a:lnTo>
                  <a:lnTo>
                    <a:pt x="60503" y="90082"/>
                  </a:lnTo>
                  <a:close/>
                  <a:moveTo>
                    <a:pt x="64985" y="69018"/>
                  </a:moveTo>
                  <a:lnTo>
                    <a:pt x="80671" y="69018"/>
                  </a:lnTo>
                  <a:lnTo>
                    <a:pt x="80671" y="90082"/>
                  </a:lnTo>
                  <a:lnTo>
                    <a:pt x="64985" y="90082"/>
                  </a:lnTo>
                  <a:lnTo>
                    <a:pt x="64985" y="69018"/>
                  </a:lnTo>
                  <a:close/>
                  <a:moveTo>
                    <a:pt x="44817" y="94564"/>
                  </a:moveTo>
                  <a:lnTo>
                    <a:pt x="60503" y="94564"/>
                  </a:lnTo>
                  <a:lnTo>
                    <a:pt x="60503" y="115628"/>
                  </a:lnTo>
                  <a:lnTo>
                    <a:pt x="44817" y="115628"/>
                  </a:lnTo>
                  <a:lnTo>
                    <a:pt x="44817" y="94564"/>
                  </a:lnTo>
                  <a:close/>
                  <a:moveTo>
                    <a:pt x="64985" y="94564"/>
                  </a:moveTo>
                  <a:lnTo>
                    <a:pt x="80671" y="94564"/>
                  </a:lnTo>
                  <a:lnTo>
                    <a:pt x="80671" y="115628"/>
                  </a:lnTo>
                  <a:lnTo>
                    <a:pt x="64985" y="115628"/>
                  </a:lnTo>
                  <a:lnTo>
                    <a:pt x="64985" y="94564"/>
                  </a:lnTo>
                  <a:close/>
                  <a:moveTo>
                    <a:pt x="80671" y="64536"/>
                  </a:moveTo>
                  <a:lnTo>
                    <a:pt x="64985" y="64536"/>
                  </a:lnTo>
                  <a:lnTo>
                    <a:pt x="64985" y="43472"/>
                  </a:lnTo>
                  <a:lnTo>
                    <a:pt x="80671" y="43472"/>
                  </a:lnTo>
                  <a:lnTo>
                    <a:pt x="80671" y="64536"/>
                  </a:lnTo>
                  <a:close/>
                  <a:moveTo>
                    <a:pt x="60503" y="64536"/>
                  </a:moveTo>
                  <a:lnTo>
                    <a:pt x="44817" y="64536"/>
                  </a:lnTo>
                  <a:lnTo>
                    <a:pt x="44817" y="43472"/>
                  </a:lnTo>
                  <a:lnTo>
                    <a:pt x="60503" y="43472"/>
                  </a:lnTo>
                  <a:lnTo>
                    <a:pt x="60503" y="64536"/>
                  </a:lnTo>
                  <a:close/>
                  <a:moveTo>
                    <a:pt x="44817" y="120110"/>
                  </a:moveTo>
                  <a:lnTo>
                    <a:pt x="60503" y="120110"/>
                  </a:lnTo>
                  <a:lnTo>
                    <a:pt x="60503" y="139829"/>
                  </a:lnTo>
                  <a:lnTo>
                    <a:pt x="44817" y="139829"/>
                  </a:lnTo>
                  <a:lnTo>
                    <a:pt x="44817" y="120110"/>
                  </a:lnTo>
                  <a:close/>
                  <a:moveTo>
                    <a:pt x="64985" y="120110"/>
                  </a:moveTo>
                  <a:lnTo>
                    <a:pt x="80671" y="120110"/>
                  </a:lnTo>
                  <a:lnTo>
                    <a:pt x="80671" y="139829"/>
                  </a:lnTo>
                  <a:lnTo>
                    <a:pt x="64985" y="139829"/>
                  </a:lnTo>
                  <a:lnTo>
                    <a:pt x="64985" y="120110"/>
                  </a:lnTo>
                  <a:close/>
                  <a:moveTo>
                    <a:pt x="80671" y="38543"/>
                  </a:moveTo>
                  <a:lnTo>
                    <a:pt x="64985" y="38543"/>
                  </a:lnTo>
                  <a:lnTo>
                    <a:pt x="64985" y="18375"/>
                  </a:lnTo>
                  <a:lnTo>
                    <a:pt x="80671" y="18375"/>
                  </a:lnTo>
                  <a:lnTo>
                    <a:pt x="80671" y="38543"/>
                  </a:lnTo>
                  <a:close/>
                  <a:moveTo>
                    <a:pt x="17927" y="18375"/>
                  </a:moveTo>
                  <a:lnTo>
                    <a:pt x="40335" y="18375"/>
                  </a:lnTo>
                  <a:lnTo>
                    <a:pt x="40335" y="139829"/>
                  </a:lnTo>
                  <a:lnTo>
                    <a:pt x="17927" y="139829"/>
                  </a:lnTo>
                  <a:lnTo>
                    <a:pt x="17927" y="18375"/>
                  </a:lnTo>
                  <a:close/>
                  <a:moveTo>
                    <a:pt x="85152" y="139829"/>
                  </a:moveTo>
                  <a:lnTo>
                    <a:pt x="85152" y="18375"/>
                  </a:lnTo>
                  <a:lnTo>
                    <a:pt x="107561" y="18375"/>
                  </a:lnTo>
                  <a:lnTo>
                    <a:pt x="107561" y="139829"/>
                  </a:lnTo>
                  <a:lnTo>
                    <a:pt x="85152" y="139829"/>
                  </a:lnTo>
                  <a:close/>
                </a:path>
              </a:pathLst>
            </a:custGeom>
            <a:solidFill>
              <a:srgbClr val="231F20"/>
            </a:solidFill>
            <a:ln w="4477" cap="flat">
              <a:noFill/>
              <a:prstDash val="solid"/>
              <a:miter/>
            </a:ln>
          </p:spPr>
          <p:txBody>
            <a:bodyPr rtlCol="0" anchor="ctr"/>
            <a:lstStyle/>
            <a:p>
              <a:endParaRPr lang="en-US"/>
            </a:p>
          </p:txBody>
        </p:sp>
      </p:grpSp>
      <p:sp>
        <p:nvSpPr>
          <p:cNvPr id="3741" name="Freeform: Shape 3740">
            <a:extLst>
              <a:ext uri="{FF2B5EF4-FFF2-40B4-BE49-F238E27FC236}">
                <a16:creationId xmlns:a16="http://schemas.microsoft.com/office/drawing/2014/main" id="{E72AA3BF-0140-4E66-92D3-76EC2EE1E347}"/>
              </a:ext>
              <a:ext uri="{C183D7F6-B498-43B3-948B-1728B52AA6E4}">
                <adec:decorative xmlns:adec="http://schemas.microsoft.com/office/drawing/2017/decorative" val="1"/>
              </a:ext>
            </a:extLst>
          </p:cNvPr>
          <p:cNvSpPr>
            <a:spLocks noChangeAspect="1"/>
          </p:cNvSpPr>
          <p:nvPr/>
        </p:nvSpPr>
        <p:spPr>
          <a:xfrm>
            <a:off x="591923" y="2406452"/>
            <a:ext cx="121006" cy="152378"/>
          </a:xfrm>
          <a:custGeom>
            <a:avLst/>
            <a:gdLst>
              <a:gd name="connsiteX0" fmla="*/ 123247 w 121005"/>
              <a:gd name="connsiteY0" fmla="*/ 147896 h 152377"/>
              <a:gd name="connsiteX1" fmla="*/ 112043 w 121005"/>
              <a:gd name="connsiteY1" fmla="*/ 147896 h 152377"/>
              <a:gd name="connsiteX2" fmla="*/ 112043 w 121005"/>
              <a:gd name="connsiteY2" fmla="*/ 17927 h 152377"/>
              <a:gd name="connsiteX3" fmla="*/ 123247 w 121005"/>
              <a:gd name="connsiteY3" fmla="*/ 17927 h 152377"/>
              <a:gd name="connsiteX4" fmla="*/ 125488 w 121005"/>
              <a:gd name="connsiteY4" fmla="*/ 15686 h 152377"/>
              <a:gd name="connsiteX5" fmla="*/ 123247 w 121005"/>
              <a:gd name="connsiteY5" fmla="*/ 13445 h 152377"/>
              <a:gd name="connsiteX6" fmla="*/ 109802 w 121005"/>
              <a:gd name="connsiteY6" fmla="*/ 13445 h 152377"/>
              <a:gd name="connsiteX7" fmla="*/ 98597 w 121005"/>
              <a:gd name="connsiteY7" fmla="*/ 13445 h 152377"/>
              <a:gd name="connsiteX8" fmla="*/ 98597 w 121005"/>
              <a:gd name="connsiteY8" fmla="*/ 2241 h 152377"/>
              <a:gd name="connsiteX9" fmla="*/ 96357 w 121005"/>
              <a:gd name="connsiteY9" fmla="*/ 0 h 152377"/>
              <a:gd name="connsiteX10" fmla="*/ 29131 w 121005"/>
              <a:gd name="connsiteY10" fmla="*/ 0 h 152377"/>
              <a:gd name="connsiteX11" fmla="*/ 26890 w 121005"/>
              <a:gd name="connsiteY11" fmla="*/ 2241 h 152377"/>
              <a:gd name="connsiteX12" fmla="*/ 26890 w 121005"/>
              <a:gd name="connsiteY12" fmla="*/ 13445 h 152377"/>
              <a:gd name="connsiteX13" fmla="*/ 15686 w 121005"/>
              <a:gd name="connsiteY13" fmla="*/ 13445 h 152377"/>
              <a:gd name="connsiteX14" fmla="*/ 2241 w 121005"/>
              <a:gd name="connsiteY14" fmla="*/ 13445 h 152377"/>
              <a:gd name="connsiteX15" fmla="*/ 0 w 121005"/>
              <a:gd name="connsiteY15" fmla="*/ 15686 h 152377"/>
              <a:gd name="connsiteX16" fmla="*/ 2241 w 121005"/>
              <a:gd name="connsiteY16" fmla="*/ 17927 h 152377"/>
              <a:gd name="connsiteX17" fmla="*/ 13445 w 121005"/>
              <a:gd name="connsiteY17" fmla="*/ 17927 h 152377"/>
              <a:gd name="connsiteX18" fmla="*/ 13445 w 121005"/>
              <a:gd name="connsiteY18" fmla="*/ 147896 h 152377"/>
              <a:gd name="connsiteX19" fmla="*/ 2241 w 121005"/>
              <a:gd name="connsiteY19" fmla="*/ 147896 h 152377"/>
              <a:gd name="connsiteX20" fmla="*/ 0 w 121005"/>
              <a:gd name="connsiteY20" fmla="*/ 150137 h 152377"/>
              <a:gd name="connsiteX21" fmla="*/ 2241 w 121005"/>
              <a:gd name="connsiteY21" fmla="*/ 152378 h 152377"/>
              <a:gd name="connsiteX22" fmla="*/ 123247 w 121005"/>
              <a:gd name="connsiteY22" fmla="*/ 152378 h 152377"/>
              <a:gd name="connsiteX23" fmla="*/ 125488 w 121005"/>
              <a:gd name="connsiteY23" fmla="*/ 150137 h 152377"/>
              <a:gd name="connsiteX24" fmla="*/ 123247 w 121005"/>
              <a:gd name="connsiteY24" fmla="*/ 147896 h 152377"/>
              <a:gd name="connsiteX25" fmla="*/ 60503 w 121005"/>
              <a:gd name="connsiteY25" fmla="*/ 17927 h 152377"/>
              <a:gd name="connsiteX26" fmla="*/ 60503 w 121005"/>
              <a:gd name="connsiteY26" fmla="*/ 39887 h 152377"/>
              <a:gd name="connsiteX27" fmla="*/ 44817 w 121005"/>
              <a:gd name="connsiteY27" fmla="*/ 39887 h 152377"/>
              <a:gd name="connsiteX28" fmla="*/ 44817 w 121005"/>
              <a:gd name="connsiteY28" fmla="*/ 17927 h 152377"/>
              <a:gd name="connsiteX29" fmla="*/ 60503 w 121005"/>
              <a:gd name="connsiteY29" fmla="*/ 17927 h 152377"/>
              <a:gd name="connsiteX30" fmla="*/ 80671 w 121005"/>
              <a:gd name="connsiteY30" fmla="*/ 17927 h 152377"/>
              <a:gd name="connsiteX31" fmla="*/ 80671 w 121005"/>
              <a:gd name="connsiteY31" fmla="*/ 39887 h 152377"/>
              <a:gd name="connsiteX32" fmla="*/ 64985 w 121005"/>
              <a:gd name="connsiteY32" fmla="*/ 39887 h 152377"/>
              <a:gd name="connsiteX33" fmla="*/ 64985 w 121005"/>
              <a:gd name="connsiteY33" fmla="*/ 17927 h 152377"/>
              <a:gd name="connsiteX34" fmla="*/ 80671 w 121005"/>
              <a:gd name="connsiteY34" fmla="*/ 17927 h 152377"/>
              <a:gd name="connsiteX35" fmla="*/ 64985 w 121005"/>
              <a:gd name="connsiteY35" fmla="*/ 147896 h 152377"/>
              <a:gd name="connsiteX36" fmla="*/ 64985 w 121005"/>
              <a:gd name="connsiteY36" fmla="*/ 126832 h 152377"/>
              <a:gd name="connsiteX37" fmla="*/ 80671 w 121005"/>
              <a:gd name="connsiteY37" fmla="*/ 126832 h 152377"/>
              <a:gd name="connsiteX38" fmla="*/ 80671 w 121005"/>
              <a:gd name="connsiteY38" fmla="*/ 147896 h 152377"/>
              <a:gd name="connsiteX39" fmla="*/ 64985 w 121005"/>
              <a:gd name="connsiteY39" fmla="*/ 147896 h 152377"/>
              <a:gd name="connsiteX40" fmla="*/ 64985 w 121005"/>
              <a:gd name="connsiteY40" fmla="*/ 71707 h 152377"/>
              <a:gd name="connsiteX41" fmla="*/ 80671 w 121005"/>
              <a:gd name="connsiteY41" fmla="*/ 71707 h 152377"/>
              <a:gd name="connsiteX42" fmla="*/ 80671 w 121005"/>
              <a:gd name="connsiteY42" fmla="*/ 94564 h 152377"/>
              <a:gd name="connsiteX43" fmla="*/ 64985 w 121005"/>
              <a:gd name="connsiteY43" fmla="*/ 94564 h 152377"/>
              <a:gd name="connsiteX44" fmla="*/ 64985 w 121005"/>
              <a:gd name="connsiteY44" fmla="*/ 71707 h 152377"/>
              <a:gd name="connsiteX45" fmla="*/ 60503 w 121005"/>
              <a:gd name="connsiteY45" fmla="*/ 94564 h 152377"/>
              <a:gd name="connsiteX46" fmla="*/ 44817 w 121005"/>
              <a:gd name="connsiteY46" fmla="*/ 94564 h 152377"/>
              <a:gd name="connsiteX47" fmla="*/ 44817 w 121005"/>
              <a:gd name="connsiteY47" fmla="*/ 71707 h 152377"/>
              <a:gd name="connsiteX48" fmla="*/ 60503 w 121005"/>
              <a:gd name="connsiteY48" fmla="*/ 71707 h 152377"/>
              <a:gd name="connsiteX49" fmla="*/ 60503 w 121005"/>
              <a:gd name="connsiteY49" fmla="*/ 94564 h 152377"/>
              <a:gd name="connsiteX50" fmla="*/ 80671 w 121005"/>
              <a:gd name="connsiteY50" fmla="*/ 67226 h 152377"/>
              <a:gd name="connsiteX51" fmla="*/ 64985 w 121005"/>
              <a:gd name="connsiteY51" fmla="*/ 67226 h 152377"/>
              <a:gd name="connsiteX52" fmla="*/ 64985 w 121005"/>
              <a:gd name="connsiteY52" fmla="*/ 44369 h 152377"/>
              <a:gd name="connsiteX53" fmla="*/ 80671 w 121005"/>
              <a:gd name="connsiteY53" fmla="*/ 44369 h 152377"/>
              <a:gd name="connsiteX54" fmla="*/ 80671 w 121005"/>
              <a:gd name="connsiteY54" fmla="*/ 67226 h 152377"/>
              <a:gd name="connsiteX55" fmla="*/ 60503 w 121005"/>
              <a:gd name="connsiteY55" fmla="*/ 67226 h 152377"/>
              <a:gd name="connsiteX56" fmla="*/ 44817 w 121005"/>
              <a:gd name="connsiteY56" fmla="*/ 67226 h 152377"/>
              <a:gd name="connsiteX57" fmla="*/ 44817 w 121005"/>
              <a:gd name="connsiteY57" fmla="*/ 44369 h 152377"/>
              <a:gd name="connsiteX58" fmla="*/ 60503 w 121005"/>
              <a:gd name="connsiteY58" fmla="*/ 44369 h 152377"/>
              <a:gd name="connsiteX59" fmla="*/ 60503 w 121005"/>
              <a:gd name="connsiteY59" fmla="*/ 67226 h 152377"/>
              <a:gd name="connsiteX60" fmla="*/ 44817 w 121005"/>
              <a:gd name="connsiteY60" fmla="*/ 99046 h 152377"/>
              <a:gd name="connsiteX61" fmla="*/ 60503 w 121005"/>
              <a:gd name="connsiteY61" fmla="*/ 99046 h 152377"/>
              <a:gd name="connsiteX62" fmla="*/ 60503 w 121005"/>
              <a:gd name="connsiteY62" fmla="*/ 121902 h 152377"/>
              <a:gd name="connsiteX63" fmla="*/ 44817 w 121005"/>
              <a:gd name="connsiteY63" fmla="*/ 121902 h 152377"/>
              <a:gd name="connsiteX64" fmla="*/ 44817 w 121005"/>
              <a:gd name="connsiteY64" fmla="*/ 99046 h 152377"/>
              <a:gd name="connsiteX65" fmla="*/ 64985 w 121005"/>
              <a:gd name="connsiteY65" fmla="*/ 99046 h 152377"/>
              <a:gd name="connsiteX66" fmla="*/ 80671 w 121005"/>
              <a:gd name="connsiteY66" fmla="*/ 99046 h 152377"/>
              <a:gd name="connsiteX67" fmla="*/ 80671 w 121005"/>
              <a:gd name="connsiteY67" fmla="*/ 121902 h 152377"/>
              <a:gd name="connsiteX68" fmla="*/ 64985 w 121005"/>
              <a:gd name="connsiteY68" fmla="*/ 121902 h 152377"/>
              <a:gd name="connsiteX69" fmla="*/ 64985 w 121005"/>
              <a:gd name="connsiteY69" fmla="*/ 99046 h 152377"/>
              <a:gd name="connsiteX70" fmla="*/ 44817 w 121005"/>
              <a:gd name="connsiteY70" fmla="*/ 126832 h 152377"/>
              <a:gd name="connsiteX71" fmla="*/ 60503 w 121005"/>
              <a:gd name="connsiteY71" fmla="*/ 126832 h 152377"/>
              <a:gd name="connsiteX72" fmla="*/ 60503 w 121005"/>
              <a:gd name="connsiteY72" fmla="*/ 147896 h 152377"/>
              <a:gd name="connsiteX73" fmla="*/ 44817 w 121005"/>
              <a:gd name="connsiteY73" fmla="*/ 147896 h 152377"/>
              <a:gd name="connsiteX74" fmla="*/ 44817 w 121005"/>
              <a:gd name="connsiteY74" fmla="*/ 126832 h 152377"/>
              <a:gd name="connsiteX75" fmla="*/ 107561 w 121005"/>
              <a:gd name="connsiteY75" fmla="*/ 147896 h 152377"/>
              <a:gd name="connsiteX76" fmla="*/ 85152 w 121005"/>
              <a:gd name="connsiteY76" fmla="*/ 147896 h 152377"/>
              <a:gd name="connsiteX77" fmla="*/ 85152 w 121005"/>
              <a:gd name="connsiteY77" fmla="*/ 17927 h 152377"/>
              <a:gd name="connsiteX78" fmla="*/ 107561 w 121005"/>
              <a:gd name="connsiteY78" fmla="*/ 17927 h 152377"/>
              <a:gd name="connsiteX79" fmla="*/ 107561 w 121005"/>
              <a:gd name="connsiteY79" fmla="*/ 147896 h 152377"/>
              <a:gd name="connsiteX80" fmla="*/ 31372 w 121005"/>
              <a:gd name="connsiteY80" fmla="*/ 4482 h 152377"/>
              <a:gd name="connsiteX81" fmla="*/ 94116 w 121005"/>
              <a:gd name="connsiteY81" fmla="*/ 4482 h 152377"/>
              <a:gd name="connsiteX82" fmla="*/ 94116 w 121005"/>
              <a:gd name="connsiteY82" fmla="*/ 13445 h 152377"/>
              <a:gd name="connsiteX83" fmla="*/ 31372 w 121005"/>
              <a:gd name="connsiteY83" fmla="*/ 13445 h 152377"/>
              <a:gd name="connsiteX84" fmla="*/ 31372 w 121005"/>
              <a:gd name="connsiteY84" fmla="*/ 4482 h 152377"/>
              <a:gd name="connsiteX85" fmla="*/ 40335 w 121005"/>
              <a:gd name="connsiteY85" fmla="*/ 17927 h 152377"/>
              <a:gd name="connsiteX86" fmla="*/ 40335 w 121005"/>
              <a:gd name="connsiteY86" fmla="*/ 147896 h 152377"/>
              <a:gd name="connsiteX87" fmla="*/ 17927 w 121005"/>
              <a:gd name="connsiteY87" fmla="*/ 147896 h 152377"/>
              <a:gd name="connsiteX88" fmla="*/ 17927 w 121005"/>
              <a:gd name="connsiteY88" fmla="*/ 17927 h 152377"/>
              <a:gd name="connsiteX89" fmla="*/ 40335 w 121005"/>
              <a:gd name="connsiteY89" fmla="*/ 1792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005" h="152377">
                <a:moveTo>
                  <a:pt x="123247" y="147896"/>
                </a:moveTo>
                <a:lnTo>
                  <a:pt x="112043" y="147896"/>
                </a:lnTo>
                <a:lnTo>
                  <a:pt x="112043" y="17927"/>
                </a:lnTo>
                <a:lnTo>
                  <a:pt x="123247" y="17927"/>
                </a:lnTo>
                <a:cubicBezTo>
                  <a:pt x="124591" y="17927"/>
                  <a:pt x="125488" y="17030"/>
                  <a:pt x="125488" y="15686"/>
                </a:cubicBezTo>
                <a:cubicBezTo>
                  <a:pt x="125488" y="14342"/>
                  <a:pt x="124591" y="13445"/>
                  <a:pt x="123247" y="13445"/>
                </a:cubicBezTo>
                <a:lnTo>
                  <a:pt x="109802" y="13445"/>
                </a:lnTo>
                <a:lnTo>
                  <a:pt x="98597" y="13445"/>
                </a:lnTo>
                <a:lnTo>
                  <a:pt x="98597" y="2241"/>
                </a:lnTo>
                <a:cubicBezTo>
                  <a:pt x="98597" y="896"/>
                  <a:pt x="97701" y="0"/>
                  <a:pt x="96357" y="0"/>
                </a:cubicBezTo>
                <a:lnTo>
                  <a:pt x="29131" y="0"/>
                </a:lnTo>
                <a:cubicBezTo>
                  <a:pt x="27787" y="0"/>
                  <a:pt x="26890" y="896"/>
                  <a:pt x="26890" y="2241"/>
                </a:cubicBezTo>
                <a:lnTo>
                  <a:pt x="26890" y="13445"/>
                </a:lnTo>
                <a:lnTo>
                  <a:pt x="15686" y="13445"/>
                </a:lnTo>
                <a:lnTo>
                  <a:pt x="2241" y="13445"/>
                </a:lnTo>
                <a:cubicBezTo>
                  <a:pt x="896" y="13445"/>
                  <a:pt x="0" y="14342"/>
                  <a:pt x="0" y="15686"/>
                </a:cubicBezTo>
                <a:cubicBezTo>
                  <a:pt x="0" y="17030"/>
                  <a:pt x="896" y="17927"/>
                  <a:pt x="2241" y="17927"/>
                </a:cubicBezTo>
                <a:lnTo>
                  <a:pt x="13445" y="17927"/>
                </a:lnTo>
                <a:lnTo>
                  <a:pt x="13445" y="147896"/>
                </a:lnTo>
                <a:lnTo>
                  <a:pt x="2241" y="147896"/>
                </a:lnTo>
                <a:cubicBezTo>
                  <a:pt x="896" y="147896"/>
                  <a:pt x="0" y="148793"/>
                  <a:pt x="0" y="150137"/>
                </a:cubicBezTo>
                <a:cubicBezTo>
                  <a:pt x="0" y="151482"/>
                  <a:pt x="896" y="152378"/>
                  <a:pt x="2241" y="152378"/>
                </a:cubicBezTo>
                <a:lnTo>
                  <a:pt x="123247" y="152378"/>
                </a:lnTo>
                <a:cubicBezTo>
                  <a:pt x="124591" y="152378"/>
                  <a:pt x="125488" y="151482"/>
                  <a:pt x="125488" y="150137"/>
                </a:cubicBezTo>
                <a:cubicBezTo>
                  <a:pt x="125488" y="148793"/>
                  <a:pt x="124591" y="147896"/>
                  <a:pt x="123247" y="147896"/>
                </a:cubicBezTo>
                <a:close/>
                <a:moveTo>
                  <a:pt x="60503" y="17927"/>
                </a:moveTo>
                <a:lnTo>
                  <a:pt x="60503" y="39887"/>
                </a:lnTo>
                <a:lnTo>
                  <a:pt x="44817" y="39887"/>
                </a:lnTo>
                <a:lnTo>
                  <a:pt x="44817" y="17927"/>
                </a:lnTo>
                <a:lnTo>
                  <a:pt x="60503" y="17927"/>
                </a:lnTo>
                <a:close/>
                <a:moveTo>
                  <a:pt x="80671" y="17927"/>
                </a:moveTo>
                <a:lnTo>
                  <a:pt x="80671" y="39887"/>
                </a:lnTo>
                <a:lnTo>
                  <a:pt x="64985" y="39887"/>
                </a:lnTo>
                <a:lnTo>
                  <a:pt x="64985" y="17927"/>
                </a:lnTo>
                <a:lnTo>
                  <a:pt x="80671" y="17927"/>
                </a:lnTo>
                <a:close/>
                <a:moveTo>
                  <a:pt x="64985" y="147896"/>
                </a:moveTo>
                <a:lnTo>
                  <a:pt x="64985" y="126832"/>
                </a:lnTo>
                <a:lnTo>
                  <a:pt x="80671" y="126832"/>
                </a:lnTo>
                <a:lnTo>
                  <a:pt x="80671" y="147896"/>
                </a:lnTo>
                <a:lnTo>
                  <a:pt x="64985" y="147896"/>
                </a:lnTo>
                <a:close/>
                <a:moveTo>
                  <a:pt x="64985" y="71707"/>
                </a:moveTo>
                <a:lnTo>
                  <a:pt x="80671" y="71707"/>
                </a:lnTo>
                <a:lnTo>
                  <a:pt x="80671" y="94564"/>
                </a:lnTo>
                <a:lnTo>
                  <a:pt x="64985" y="94564"/>
                </a:lnTo>
                <a:lnTo>
                  <a:pt x="64985" y="71707"/>
                </a:lnTo>
                <a:close/>
                <a:moveTo>
                  <a:pt x="60503" y="94564"/>
                </a:moveTo>
                <a:lnTo>
                  <a:pt x="44817" y="94564"/>
                </a:lnTo>
                <a:lnTo>
                  <a:pt x="44817" y="71707"/>
                </a:lnTo>
                <a:lnTo>
                  <a:pt x="60503" y="71707"/>
                </a:lnTo>
                <a:lnTo>
                  <a:pt x="60503" y="94564"/>
                </a:lnTo>
                <a:close/>
                <a:moveTo>
                  <a:pt x="80671" y="67226"/>
                </a:moveTo>
                <a:lnTo>
                  <a:pt x="64985" y="67226"/>
                </a:lnTo>
                <a:lnTo>
                  <a:pt x="64985" y="44369"/>
                </a:lnTo>
                <a:lnTo>
                  <a:pt x="80671" y="44369"/>
                </a:lnTo>
                <a:lnTo>
                  <a:pt x="80671" y="67226"/>
                </a:lnTo>
                <a:close/>
                <a:moveTo>
                  <a:pt x="60503" y="67226"/>
                </a:moveTo>
                <a:lnTo>
                  <a:pt x="44817" y="67226"/>
                </a:lnTo>
                <a:lnTo>
                  <a:pt x="44817" y="44369"/>
                </a:lnTo>
                <a:lnTo>
                  <a:pt x="60503" y="44369"/>
                </a:lnTo>
                <a:lnTo>
                  <a:pt x="60503" y="67226"/>
                </a:lnTo>
                <a:close/>
                <a:moveTo>
                  <a:pt x="44817" y="99046"/>
                </a:moveTo>
                <a:lnTo>
                  <a:pt x="60503" y="99046"/>
                </a:lnTo>
                <a:lnTo>
                  <a:pt x="60503" y="121902"/>
                </a:lnTo>
                <a:lnTo>
                  <a:pt x="44817" y="121902"/>
                </a:lnTo>
                <a:lnTo>
                  <a:pt x="44817" y="99046"/>
                </a:lnTo>
                <a:close/>
                <a:moveTo>
                  <a:pt x="64985" y="99046"/>
                </a:moveTo>
                <a:lnTo>
                  <a:pt x="80671" y="99046"/>
                </a:lnTo>
                <a:lnTo>
                  <a:pt x="80671" y="121902"/>
                </a:lnTo>
                <a:lnTo>
                  <a:pt x="64985" y="121902"/>
                </a:lnTo>
                <a:lnTo>
                  <a:pt x="64985" y="99046"/>
                </a:lnTo>
                <a:close/>
                <a:moveTo>
                  <a:pt x="44817" y="126832"/>
                </a:moveTo>
                <a:lnTo>
                  <a:pt x="60503" y="126832"/>
                </a:lnTo>
                <a:lnTo>
                  <a:pt x="60503" y="147896"/>
                </a:lnTo>
                <a:lnTo>
                  <a:pt x="44817" y="147896"/>
                </a:lnTo>
                <a:lnTo>
                  <a:pt x="44817" y="126832"/>
                </a:lnTo>
                <a:close/>
                <a:moveTo>
                  <a:pt x="107561" y="147896"/>
                </a:moveTo>
                <a:lnTo>
                  <a:pt x="85152" y="147896"/>
                </a:lnTo>
                <a:lnTo>
                  <a:pt x="85152" y="17927"/>
                </a:lnTo>
                <a:lnTo>
                  <a:pt x="107561" y="17927"/>
                </a:lnTo>
                <a:lnTo>
                  <a:pt x="107561" y="147896"/>
                </a:lnTo>
                <a:close/>
                <a:moveTo>
                  <a:pt x="31372" y="4482"/>
                </a:moveTo>
                <a:lnTo>
                  <a:pt x="94116" y="4482"/>
                </a:lnTo>
                <a:lnTo>
                  <a:pt x="94116" y="13445"/>
                </a:lnTo>
                <a:lnTo>
                  <a:pt x="31372" y="13445"/>
                </a:lnTo>
                <a:lnTo>
                  <a:pt x="31372" y="4482"/>
                </a:lnTo>
                <a:close/>
                <a:moveTo>
                  <a:pt x="40335" y="17927"/>
                </a:moveTo>
                <a:lnTo>
                  <a:pt x="40335" y="147896"/>
                </a:lnTo>
                <a:lnTo>
                  <a:pt x="17927" y="147896"/>
                </a:lnTo>
                <a:lnTo>
                  <a:pt x="17927" y="17927"/>
                </a:lnTo>
                <a:lnTo>
                  <a:pt x="40335" y="17927"/>
                </a:lnTo>
                <a:close/>
              </a:path>
            </a:pathLst>
          </a:custGeom>
          <a:solidFill>
            <a:srgbClr val="231F20"/>
          </a:solidFill>
          <a:ln w="4477" cap="flat">
            <a:noFill/>
            <a:prstDash val="solid"/>
            <a:miter/>
          </a:ln>
        </p:spPr>
        <p:txBody>
          <a:bodyPr rtlCol="0" anchor="ctr"/>
          <a:lstStyle/>
          <a:p>
            <a:endParaRPr lang="en-US"/>
          </a:p>
        </p:txBody>
      </p:sp>
      <p:grpSp>
        <p:nvGrpSpPr>
          <p:cNvPr id="3742" name="Group 3741">
            <a:extLst>
              <a:ext uri="{FF2B5EF4-FFF2-40B4-BE49-F238E27FC236}">
                <a16:creationId xmlns:a16="http://schemas.microsoft.com/office/drawing/2014/main" id="{9019475E-121A-40E6-9D89-B0800CF03556}"/>
              </a:ext>
              <a:ext uri="{C183D7F6-B498-43B3-948B-1728B52AA6E4}">
                <adec:decorative xmlns:adec="http://schemas.microsoft.com/office/drawing/2017/decorative" val="1"/>
              </a:ext>
            </a:extLst>
          </p:cNvPr>
          <p:cNvGrpSpPr>
            <a:grpSpLocks noChangeAspect="1"/>
          </p:cNvGrpSpPr>
          <p:nvPr/>
        </p:nvGrpSpPr>
        <p:grpSpPr>
          <a:xfrm>
            <a:off x="5070487" y="2043450"/>
            <a:ext cx="125488" cy="175219"/>
            <a:chOff x="10972113" y="4889986"/>
            <a:chExt cx="125488" cy="175219"/>
          </a:xfrm>
        </p:grpSpPr>
        <p:sp>
          <p:nvSpPr>
            <p:cNvPr id="3743" name="Freeform: Shape 3742">
              <a:extLst>
                <a:ext uri="{FF2B5EF4-FFF2-40B4-BE49-F238E27FC236}">
                  <a16:creationId xmlns:a16="http://schemas.microsoft.com/office/drawing/2014/main" id="{29767776-F2AE-4A4C-8945-E4F9E838C372}"/>
                </a:ext>
              </a:extLst>
            </p:cNvPr>
            <p:cNvSpPr/>
            <p:nvPr/>
          </p:nvSpPr>
          <p:spPr>
            <a:xfrm>
              <a:off x="10999003" y="4950025"/>
              <a:ext cx="71707" cy="62744"/>
            </a:xfrm>
            <a:custGeom>
              <a:avLst/>
              <a:gdLst>
                <a:gd name="connsiteX0" fmla="*/ 2241 w 71707"/>
                <a:gd name="connsiteY0" fmla="*/ 64985 h 62743"/>
                <a:gd name="connsiteX1" fmla="*/ 69466 w 71707"/>
                <a:gd name="connsiteY1" fmla="*/ 64985 h 62743"/>
                <a:gd name="connsiteX2" fmla="*/ 71707 w 71707"/>
                <a:gd name="connsiteY2" fmla="*/ 62744 h 62743"/>
                <a:gd name="connsiteX3" fmla="*/ 71707 w 71707"/>
                <a:gd name="connsiteY3" fmla="*/ 2241 h 62743"/>
                <a:gd name="connsiteX4" fmla="*/ 69466 w 71707"/>
                <a:gd name="connsiteY4" fmla="*/ 0 h 62743"/>
                <a:gd name="connsiteX5" fmla="*/ 2241 w 71707"/>
                <a:gd name="connsiteY5" fmla="*/ 0 h 62743"/>
                <a:gd name="connsiteX6" fmla="*/ 0 w 71707"/>
                <a:gd name="connsiteY6" fmla="*/ 2241 h 62743"/>
                <a:gd name="connsiteX7" fmla="*/ 0 w 71707"/>
                <a:gd name="connsiteY7" fmla="*/ 62744 h 62743"/>
                <a:gd name="connsiteX8" fmla="*/ 2241 w 71707"/>
                <a:gd name="connsiteY8" fmla="*/ 64985 h 62743"/>
                <a:gd name="connsiteX9" fmla="*/ 44817 w 71707"/>
                <a:gd name="connsiteY9" fmla="*/ 40335 h 62743"/>
                <a:gd name="connsiteX10" fmla="*/ 26890 w 71707"/>
                <a:gd name="connsiteY10" fmla="*/ 40335 h 62743"/>
                <a:gd name="connsiteX11" fmla="*/ 26890 w 71707"/>
                <a:gd name="connsiteY11" fmla="*/ 24649 h 62743"/>
                <a:gd name="connsiteX12" fmla="*/ 44817 w 71707"/>
                <a:gd name="connsiteY12" fmla="*/ 24649 h 62743"/>
                <a:gd name="connsiteX13" fmla="*/ 44817 w 71707"/>
                <a:gd name="connsiteY13" fmla="*/ 40335 h 62743"/>
                <a:gd name="connsiteX14" fmla="*/ 49299 w 71707"/>
                <a:gd name="connsiteY14" fmla="*/ 24649 h 62743"/>
                <a:gd name="connsiteX15" fmla="*/ 67226 w 71707"/>
                <a:gd name="connsiteY15" fmla="*/ 24649 h 62743"/>
                <a:gd name="connsiteX16" fmla="*/ 67226 w 71707"/>
                <a:gd name="connsiteY16" fmla="*/ 40335 h 62743"/>
                <a:gd name="connsiteX17" fmla="*/ 49299 w 71707"/>
                <a:gd name="connsiteY17" fmla="*/ 40335 h 62743"/>
                <a:gd name="connsiteX18" fmla="*/ 49299 w 71707"/>
                <a:gd name="connsiteY18" fmla="*/ 24649 h 62743"/>
                <a:gd name="connsiteX19" fmla="*/ 22409 w 71707"/>
                <a:gd name="connsiteY19" fmla="*/ 40335 h 62743"/>
                <a:gd name="connsiteX20" fmla="*/ 4482 w 71707"/>
                <a:gd name="connsiteY20" fmla="*/ 40335 h 62743"/>
                <a:gd name="connsiteX21" fmla="*/ 4482 w 71707"/>
                <a:gd name="connsiteY21" fmla="*/ 24649 h 62743"/>
                <a:gd name="connsiteX22" fmla="*/ 22409 w 71707"/>
                <a:gd name="connsiteY22" fmla="*/ 24649 h 62743"/>
                <a:gd name="connsiteX23" fmla="*/ 22409 w 71707"/>
                <a:gd name="connsiteY23" fmla="*/ 40335 h 62743"/>
                <a:gd name="connsiteX24" fmla="*/ 22409 w 71707"/>
                <a:gd name="connsiteY24" fmla="*/ 44817 h 62743"/>
                <a:gd name="connsiteX25" fmla="*/ 22409 w 71707"/>
                <a:gd name="connsiteY25" fmla="*/ 60503 h 62743"/>
                <a:gd name="connsiteX26" fmla="*/ 4482 w 71707"/>
                <a:gd name="connsiteY26" fmla="*/ 60503 h 62743"/>
                <a:gd name="connsiteX27" fmla="*/ 4482 w 71707"/>
                <a:gd name="connsiteY27" fmla="*/ 44817 h 62743"/>
                <a:gd name="connsiteX28" fmla="*/ 22409 w 71707"/>
                <a:gd name="connsiteY28" fmla="*/ 44817 h 62743"/>
                <a:gd name="connsiteX29" fmla="*/ 26890 w 71707"/>
                <a:gd name="connsiteY29" fmla="*/ 44817 h 62743"/>
                <a:gd name="connsiteX30" fmla="*/ 44817 w 71707"/>
                <a:gd name="connsiteY30" fmla="*/ 44817 h 62743"/>
                <a:gd name="connsiteX31" fmla="*/ 44817 w 71707"/>
                <a:gd name="connsiteY31" fmla="*/ 60503 h 62743"/>
                <a:gd name="connsiteX32" fmla="*/ 26890 w 71707"/>
                <a:gd name="connsiteY32" fmla="*/ 60503 h 62743"/>
                <a:gd name="connsiteX33" fmla="*/ 26890 w 71707"/>
                <a:gd name="connsiteY33" fmla="*/ 44817 h 62743"/>
                <a:gd name="connsiteX34" fmla="*/ 49299 w 71707"/>
                <a:gd name="connsiteY34" fmla="*/ 44817 h 62743"/>
                <a:gd name="connsiteX35" fmla="*/ 67226 w 71707"/>
                <a:gd name="connsiteY35" fmla="*/ 44817 h 62743"/>
                <a:gd name="connsiteX36" fmla="*/ 67226 w 71707"/>
                <a:gd name="connsiteY36" fmla="*/ 60503 h 62743"/>
                <a:gd name="connsiteX37" fmla="*/ 49299 w 71707"/>
                <a:gd name="connsiteY37" fmla="*/ 60503 h 62743"/>
                <a:gd name="connsiteX38" fmla="*/ 49299 w 71707"/>
                <a:gd name="connsiteY38" fmla="*/ 44817 h 62743"/>
                <a:gd name="connsiteX39" fmla="*/ 67226 w 71707"/>
                <a:gd name="connsiteY39" fmla="*/ 20168 h 62743"/>
                <a:gd name="connsiteX40" fmla="*/ 49299 w 71707"/>
                <a:gd name="connsiteY40" fmla="*/ 20168 h 62743"/>
                <a:gd name="connsiteX41" fmla="*/ 49299 w 71707"/>
                <a:gd name="connsiteY41" fmla="*/ 4482 h 62743"/>
                <a:gd name="connsiteX42" fmla="*/ 67226 w 71707"/>
                <a:gd name="connsiteY42" fmla="*/ 4482 h 62743"/>
                <a:gd name="connsiteX43" fmla="*/ 67226 w 71707"/>
                <a:gd name="connsiteY43" fmla="*/ 20168 h 62743"/>
                <a:gd name="connsiteX44" fmla="*/ 44817 w 71707"/>
                <a:gd name="connsiteY44" fmla="*/ 20168 h 62743"/>
                <a:gd name="connsiteX45" fmla="*/ 26890 w 71707"/>
                <a:gd name="connsiteY45" fmla="*/ 20168 h 62743"/>
                <a:gd name="connsiteX46" fmla="*/ 26890 w 71707"/>
                <a:gd name="connsiteY46" fmla="*/ 4482 h 62743"/>
                <a:gd name="connsiteX47" fmla="*/ 44817 w 71707"/>
                <a:gd name="connsiteY47" fmla="*/ 4482 h 62743"/>
                <a:gd name="connsiteX48" fmla="*/ 44817 w 71707"/>
                <a:gd name="connsiteY48" fmla="*/ 20168 h 62743"/>
                <a:gd name="connsiteX49" fmla="*/ 22409 w 71707"/>
                <a:gd name="connsiteY49" fmla="*/ 20168 h 62743"/>
                <a:gd name="connsiteX50" fmla="*/ 4482 w 71707"/>
                <a:gd name="connsiteY50" fmla="*/ 20168 h 62743"/>
                <a:gd name="connsiteX51" fmla="*/ 4482 w 71707"/>
                <a:gd name="connsiteY51" fmla="*/ 4482 h 62743"/>
                <a:gd name="connsiteX52" fmla="*/ 22409 w 71707"/>
                <a:gd name="connsiteY52" fmla="*/ 4482 h 62743"/>
                <a:gd name="connsiteX53" fmla="*/ 22409 w 71707"/>
                <a:gd name="connsiteY53" fmla="*/ 20168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707" h="62743">
                  <a:moveTo>
                    <a:pt x="2241" y="64985"/>
                  </a:moveTo>
                  <a:lnTo>
                    <a:pt x="69466" y="64985"/>
                  </a:lnTo>
                  <a:cubicBezTo>
                    <a:pt x="70811" y="64985"/>
                    <a:pt x="71707" y="64089"/>
                    <a:pt x="71707" y="62744"/>
                  </a:cubicBezTo>
                  <a:lnTo>
                    <a:pt x="71707" y="2241"/>
                  </a:lnTo>
                  <a:cubicBezTo>
                    <a:pt x="71707" y="896"/>
                    <a:pt x="70811" y="0"/>
                    <a:pt x="69466" y="0"/>
                  </a:cubicBezTo>
                  <a:lnTo>
                    <a:pt x="2241" y="0"/>
                  </a:lnTo>
                  <a:cubicBezTo>
                    <a:pt x="896" y="0"/>
                    <a:pt x="0" y="896"/>
                    <a:pt x="0" y="2241"/>
                  </a:cubicBezTo>
                  <a:lnTo>
                    <a:pt x="0" y="62744"/>
                  </a:lnTo>
                  <a:cubicBezTo>
                    <a:pt x="0" y="63640"/>
                    <a:pt x="896" y="64985"/>
                    <a:pt x="2241" y="64985"/>
                  </a:cubicBezTo>
                  <a:close/>
                  <a:moveTo>
                    <a:pt x="44817" y="40335"/>
                  </a:moveTo>
                  <a:lnTo>
                    <a:pt x="26890" y="40335"/>
                  </a:lnTo>
                  <a:lnTo>
                    <a:pt x="26890" y="24649"/>
                  </a:lnTo>
                  <a:lnTo>
                    <a:pt x="44817" y="24649"/>
                  </a:lnTo>
                  <a:lnTo>
                    <a:pt x="44817" y="40335"/>
                  </a:lnTo>
                  <a:close/>
                  <a:moveTo>
                    <a:pt x="49299" y="24649"/>
                  </a:moveTo>
                  <a:lnTo>
                    <a:pt x="67226" y="24649"/>
                  </a:lnTo>
                  <a:lnTo>
                    <a:pt x="67226" y="40335"/>
                  </a:lnTo>
                  <a:lnTo>
                    <a:pt x="49299" y="40335"/>
                  </a:lnTo>
                  <a:lnTo>
                    <a:pt x="49299" y="24649"/>
                  </a:lnTo>
                  <a:close/>
                  <a:moveTo>
                    <a:pt x="22409" y="40335"/>
                  </a:moveTo>
                  <a:lnTo>
                    <a:pt x="4482" y="40335"/>
                  </a:lnTo>
                  <a:lnTo>
                    <a:pt x="4482" y="24649"/>
                  </a:lnTo>
                  <a:lnTo>
                    <a:pt x="22409" y="24649"/>
                  </a:lnTo>
                  <a:lnTo>
                    <a:pt x="22409" y="40335"/>
                  </a:lnTo>
                  <a:close/>
                  <a:moveTo>
                    <a:pt x="22409" y="44817"/>
                  </a:moveTo>
                  <a:lnTo>
                    <a:pt x="22409" y="60503"/>
                  </a:lnTo>
                  <a:lnTo>
                    <a:pt x="4482" y="60503"/>
                  </a:lnTo>
                  <a:lnTo>
                    <a:pt x="4482" y="44817"/>
                  </a:lnTo>
                  <a:lnTo>
                    <a:pt x="22409" y="44817"/>
                  </a:lnTo>
                  <a:close/>
                  <a:moveTo>
                    <a:pt x="26890" y="44817"/>
                  </a:moveTo>
                  <a:lnTo>
                    <a:pt x="44817" y="44817"/>
                  </a:lnTo>
                  <a:lnTo>
                    <a:pt x="44817" y="60503"/>
                  </a:lnTo>
                  <a:lnTo>
                    <a:pt x="26890" y="60503"/>
                  </a:lnTo>
                  <a:lnTo>
                    <a:pt x="26890" y="44817"/>
                  </a:lnTo>
                  <a:close/>
                  <a:moveTo>
                    <a:pt x="49299" y="44817"/>
                  </a:moveTo>
                  <a:lnTo>
                    <a:pt x="67226" y="44817"/>
                  </a:lnTo>
                  <a:lnTo>
                    <a:pt x="67226" y="60503"/>
                  </a:lnTo>
                  <a:lnTo>
                    <a:pt x="49299" y="60503"/>
                  </a:lnTo>
                  <a:lnTo>
                    <a:pt x="49299" y="44817"/>
                  </a:lnTo>
                  <a:close/>
                  <a:moveTo>
                    <a:pt x="67226" y="20168"/>
                  </a:moveTo>
                  <a:lnTo>
                    <a:pt x="49299" y="20168"/>
                  </a:lnTo>
                  <a:lnTo>
                    <a:pt x="49299" y="4482"/>
                  </a:lnTo>
                  <a:lnTo>
                    <a:pt x="67226" y="4482"/>
                  </a:lnTo>
                  <a:lnTo>
                    <a:pt x="67226" y="20168"/>
                  </a:lnTo>
                  <a:close/>
                  <a:moveTo>
                    <a:pt x="44817" y="20168"/>
                  </a:moveTo>
                  <a:lnTo>
                    <a:pt x="26890" y="20168"/>
                  </a:lnTo>
                  <a:lnTo>
                    <a:pt x="26890" y="4482"/>
                  </a:lnTo>
                  <a:lnTo>
                    <a:pt x="44817" y="4482"/>
                  </a:lnTo>
                  <a:lnTo>
                    <a:pt x="44817" y="20168"/>
                  </a:lnTo>
                  <a:close/>
                  <a:moveTo>
                    <a:pt x="22409" y="20168"/>
                  </a:moveTo>
                  <a:lnTo>
                    <a:pt x="4482" y="20168"/>
                  </a:lnTo>
                  <a:lnTo>
                    <a:pt x="4482" y="4482"/>
                  </a:lnTo>
                  <a:lnTo>
                    <a:pt x="22409" y="4482"/>
                  </a:lnTo>
                  <a:lnTo>
                    <a:pt x="22409" y="20168"/>
                  </a:lnTo>
                  <a:close/>
                </a:path>
              </a:pathLst>
            </a:custGeom>
            <a:solidFill>
              <a:srgbClr val="231F20"/>
            </a:solidFill>
            <a:ln w="4477" cap="flat">
              <a:noFill/>
              <a:prstDash val="solid"/>
              <a:miter/>
            </a:ln>
          </p:spPr>
          <p:txBody>
            <a:bodyPr rtlCol="0" anchor="ctr"/>
            <a:lstStyle/>
            <a:p>
              <a:endParaRPr lang="en-US"/>
            </a:p>
          </p:txBody>
        </p:sp>
        <p:sp>
          <p:nvSpPr>
            <p:cNvPr id="3744" name="Freeform: Shape 3743">
              <a:extLst>
                <a:ext uri="{FF2B5EF4-FFF2-40B4-BE49-F238E27FC236}">
                  <a16:creationId xmlns:a16="http://schemas.microsoft.com/office/drawing/2014/main" id="{BDEA6B84-F7CF-4849-9607-F3AE00C72462}"/>
                </a:ext>
              </a:extLst>
            </p:cNvPr>
            <p:cNvSpPr/>
            <p:nvPr/>
          </p:nvSpPr>
          <p:spPr>
            <a:xfrm>
              <a:off x="10972113" y="4926272"/>
              <a:ext cx="125488" cy="138933"/>
            </a:xfrm>
            <a:custGeom>
              <a:avLst/>
              <a:gdLst>
                <a:gd name="connsiteX0" fmla="*/ 123247 w 125487"/>
                <a:gd name="connsiteY0" fmla="*/ 138036 h 138932"/>
                <a:gd name="connsiteX1" fmla="*/ 112043 w 125487"/>
                <a:gd name="connsiteY1" fmla="*/ 138036 h 138932"/>
                <a:gd name="connsiteX2" fmla="*/ 112043 w 125487"/>
                <a:gd name="connsiteY2" fmla="*/ 14790 h 138932"/>
                <a:gd name="connsiteX3" fmla="*/ 123247 w 125487"/>
                <a:gd name="connsiteY3" fmla="*/ 14790 h 138932"/>
                <a:gd name="connsiteX4" fmla="*/ 125488 w 125487"/>
                <a:gd name="connsiteY4" fmla="*/ 12549 h 138932"/>
                <a:gd name="connsiteX5" fmla="*/ 123247 w 125487"/>
                <a:gd name="connsiteY5" fmla="*/ 10308 h 138932"/>
                <a:gd name="connsiteX6" fmla="*/ 109802 w 125487"/>
                <a:gd name="connsiteY6" fmla="*/ 10308 h 138932"/>
                <a:gd name="connsiteX7" fmla="*/ 98597 w 125487"/>
                <a:gd name="connsiteY7" fmla="*/ 10308 h 138932"/>
                <a:gd name="connsiteX8" fmla="*/ 98597 w 125487"/>
                <a:gd name="connsiteY8" fmla="*/ 2241 h 138932"/>
                <a:gd name="connsiteX9" fmla="*/ 96357 w 125487"/>
                <a:gd name="connsiteY9" fmla="*/ 0 h 138932"/>
                <a:gd name="connsiteX10" fmla="*/ 29131 w 125487"/>
                <a:gd name="connsiteY10" fmla="*/ 0 h 138932"/>
                <a:gd name="connsiteX11" fmla="*/ 26890 w 125487"/>
                <a:gd name="connsiteY11" fmla="*/ 2241 h 138932"/>
                <a:gd name="connsiteX12" fmla="*/ 26890 w 125487"/>
                <a:gd name="connsiteY12" fmla="*/ 10308 h 138932"/>
                <a:gd name="connsiteX13" fmla="*/ 15686 w 125487"/>
                <a:gd name="connsiteY13" fmla="*/ 10308 h 138932"/>
                <a:gd name="connsiteX14" fmla="*/ 2241 w 125487"/>
                <a:gd name="connsiteY14" fmla="*/ 10308 h 138932"/>
                <a:gd name="connsiteX15" fmla="*/ 0 w 125487"/>
                <a:gd name="connsiteY15" fmla="*/ 12549 h 138932"/>
                <a:gd name="connsiteX16" fmla="*/ 2241 w 125487"/>
                <a:gd name="connsiteY16" fmla="*/ 14790 h 138932"/>
                <a:gd name="connsiteX17" fmla="*/ 13445 w 125487"/>
                <a:gd name="connsiteY17" fmla="*/ 14790 h 138932"/>
                <a:gd name="connsiteX18" fmla="*/ 13445 w 125487"/>
                <a:gd name="connsiteY18" fmla="*/ 138036 h 138932"/>
                <a:gd name="connsiteX19" fmla="*/ 2241 w 125487"/>
                <a:gd name="connsiteY19" fmla="*/ 138036 h 138932"/>
                <a:gd name="connsiteX20" fmla="*/ 0 w 125487"/>
                <a:gd name="connsiteY20" fmla="*/ 140277 h 138932"/>
                <a:gd name="connsiteX21" fmla="*/ 2241 w 125487"/>
                <a:gd name="connsiteY21" fmla="*/ 142518 h 138932"/>
                <a:gd name="connsiteX22" fmla="*/ 123247 w 125487"/>
                <a:gd name="connsiteY22" fmla="*/ 142518 h 138932"/>
                <a:gd name="connsiteX23" fmla="*/ 125488 w 125487"/>
                <a:gd name="connsiteY23" fmla="*/ 140277 h 138932"/>
                <a:gd name="connsiteX24" fmla="*/ 123247 w 125487"/>
                <a:gd name="connsiteY24" fmla="*/ 138036 h 138932"/>
                <a:gd name="connsiteX25" fmla="*/ 53780 w 125487"/>
                <a:gd name="connsiteY25" fmla="*/ 138036 h 138932"/>
                <a:gd name="connsiteX26" fmla="*/ 31372 w 125487"/>
                <a:gd name="connsiteY26" fmla="*/ 138036 h 138932"/>
                <a:gd name="connsiteX27" fmla="*/ 31372 w 125487"/>
                <a:gd name="connsiteY27" fmla="*/ 102183 h 138932"/>
                <a:gd name="connsiteX28" fmla="*/ 53780 w 125487"/>
                <a:gd name="connsiteY28" fmla="*/ 102183 h 138932"/>
                <a:gd name="connsiteX29" fmla="*/ 53780 w 125487"/>
                <a:gd name="connsiteY29" fmla="*/ 138036 h 138932"/>
                <a:gd name="connsiteX30" fmla="*/ 94116 w 125487"/>
                <a:gd name="connsiteY30" fmla="*/ 138036 h 138932"/>
                <a:gd name="connsiteX31" fmla="*/ 71707 w 125487"/>
                <a:gd name="connsiteY31" fmla="*/ 138036 h 138932"/>
                <a:gd name="connsiteX32" fmla="*/ 71707 w 125487"/>
                <a:gd name="connsiteY32" fmla="*/ 102183 h 138932"/>
                <a:gd name="connsiteX33" fmla="*/ 94116 w 125487"/>
                <a:gd name="connsiteY33" fmla="*/ 102183 h 138932"/>
                <a:gd name="connsiteX34" fmla="*/ 94116 w 125487"/>
                <a:gd name="connsiteY34" fmla="*/ 138036 h 138932"/>
                <a:gd name="connsiteX35" fmla="*/ 31372 w 125487"/>
                <a:gd name="connsiteY35" fmla="*/ 4482 h 138932"/>
                <a:gd name="connsiteX36" fmla="*/ 94116 w 125487"/>
                <a:gd name="connsiteY36" fmla="*/ 4482 h 138932"/>
                <a:gd name="connsiteX37" fmla="*/ 94116 w 125487"/>
                <a:gd name="connsiteY37" fmla="*/ 10308 h 138932"/>
                <a:gd name="connsiteX38" fmla="*/ 31372 w 125487"/>
                <a:gd name="connsiteY38" fmla="*/ 10308 h 138932"/>
                <a:gd name="connsiteX39" fmla="*/ 31372 w 125487"/>
                <a:gd name="connsiteY39" fmla="*/ 4482 h 138932"/>
                <a:gd name="connsiteX40" fmla="*/ 107561 w 125487"/>
                <a:gd name="connsiteY40" fmla="*/ 14790 h 138932"/>
                <a:gd name="connsiteX41" fmla="*/ 107561 w 125487"/>
                <a:gd name="connsiteY41" fmla="*/ 138036 h 138932"/>
                <a:gd name="connsiteX42" fmla="*/ 98597 w 125487"/>
                <a:gd name="connsiteY42" fmla="*/ 138036 h 138932"/>
                <a:gd name="connsiteX43" fmla="*/ 98597 w 125487"/>
                <a:gd name="connsiteY43" fmla="*/ 99942 h 138932"/>
                <a:gd name="connsiteX44" fmla="*/ 96357 w 125487"/>
                <a:gd name="connsiteY44" fmla="*/ 97701 h 138932"/>
                <a:gd name="connsiteX45" fmla="*/ 69466 w 125487"/>
                <a:gd name="connsiteY45" fmla="*/ 97701 h 138932"/>
                <a:gd name="connsiteX46" fmla="*/ 67226 w 125487"/>
                <a:gd name="connsiteY46" fmla="*/ 99942 h 138932"/>
                <a:gd name="connsiteX47" fmla="*/ 67226 w 125487"/>
                <a:gd name="connsiteY47" fmla="*/ 138036 h 138932"/>
                <a:gd name="connsiteX48" fmla="*/ 58262 w 125487"/>
                <a:gd name="connsiteY48" fmla="*/ 138036 h 138932"/>
                <a:gd name="connsiteX49" fmla="*/ 58262 w 125487"/>
                <a:gd name="connsiteY49" fmla="*/ 99942 h 138932"/>
                <a:gd name="connsiteX50" fmla="*/ 56021 w 125487"/>
                <a:gd name="connsiteY50" fmla="*/ 97701 h 138932"/>
                <a:gd name="connsiteX51" fmla="*/ 29131 w 125487"/>
                <a:gd name="connsiteY51" fmla="*/ 97701 h 138932"/>
                <a:gd name="connsiteX52" fmla="*/ 26890 w 125487"/>
                <a:gd name="connsiteY52" fmla="*/ 99942 h 138932"/>
                <a:gd name="connsiteX53" fmla="*/ 26890 w 125487"/>
                <a:gd name="connsiteY53" fmla="*/ 138036 h 138932"/>
                <a:gd name="connsiteX54" fmla="*/ 17927 w 125487"/>
                <a:gd name="connsiteY54" fmla="*/ 138036 h 138932"/>
                <a:gd name="connsiteX55" fmla="*/ 17927 w 125487"/>
                <a:gd name="connsiteY55" fmla="*/ 14790 h 138932"/>
                <a:gd name="connsiteX56" fmla="*/ 107561 w 125487"/>
                <a:gd name="connsiteY56" fmla="*/ 14790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5487" h="138932">
                  <a:moveTo>
                    <a:pt x="123247" y="138036"/>
                  </a:moveTo>
                  <a:lnTo>
                    <a:pt x="112043" y="138036"/>
                  </a:lnTo>
                  <a:lnTo>
                    <a:pt x="112043" y="14790"/>
                  </a:lnTo>
                  <a:lnTo>
                    <a:pt x="123247" y="14790"/>
                  </a:lnTo>
                  <a:cubicBezTo>
                    <a:pt x="124591" y="14790"/>
                    <a:pt x="125488" y="13893"/>
                    <a:pt x="125488" y="12549"/>
                  </a:cubicBezTo>
                  <a:cubicBezTo>
                    <a:pt x="125488" y="11204"/>
                    <a:pt x="124591" y="10308"/>
                    <a:pt x="123247" y="10308"/>
                  </a:cubicBezTo>
                  <a:lnTo>
                    <a:pt x="109802" y="10308"/>
                  </a:lnTo>
                  <a:lnTo>
                    <a:pt x="98597" y="10308"/>
                  </a:lnTo>
                  <a:lnTo>
                    <a:pt x="98597" y="2241"/>
                  </a:lnTo>
                  <a:cubicBezTo>
                    <a:pt x="98597" y="896"/>
                    <a:pt x="97701" y="0"/>
                    <a:pt x="96357" y="0"/>
                  </a:cubicBezTo>
                  <a:lnTo>
                    <a:pt x="29131" y="0"/>
                  </a:lnTo>
                  <a:cubicBezTo>
                    <a:pt x="27786" y="0"/>
                    <a:pt x="26890" y="896"/>
                    <a:pt x="26890" y="2241"/>
                  </a:cubicBezTo>
                  <a:lnTo>
                    <a:pt x="26890" y="10308"/>
                  </a:lnTo>
                  <a:lnTo>
                    <a:pt x="15686" y="10308"/>
                  </a:lnTo>
                  <a:lnTo>
                    <a:pt x="2241" y="10308"/>
                  </a:lnTo>
                  <a:cubicBezTo>
                    <a:pt x="896" y="10308"/>
                    <a:pt x="0" y="11204"/>
                    <a:pt x="0" y="12549"/>
                  </a:cubicBezTo>
                  <a:cubicBezTo>
                    <a:pt x="0" y="13893"/>
                    <a:pt x="896" y="14790"/>
                    <a:pt x="2241" y="14790"/>
                  </a:cubicBezTo>
                  <a:lnTo>
                    <a:pt x="13445" y="14790"/>
                  </a:lnTo>
                  <a:lnTo>
                    <a:pt x="13445" y="138036"/>
                  </a:lnTo>
                  <a:lnTo>
                    <a:pt x="2241" y="138036"/>
                  </a:lnTo>
                  <a:cubicBezTo>
                    <a:pt x="896" y="138036"/>
                    <a:pt x="0" y="138933"/>
                    <a:pt x="0" y="140277"/>
                  </a:cubicBezTo>
                  <a:cubicBezTo>
                    <a:pt x="0" y="141622"/>
                    <a:pt x="896" y="142518"/>
                    <a:pt x="2241" y="142518"/>
                  </a:cubicBezTo>
                  <a:lnTo>
                    <a:pt x="123247" y="142518"/>
                  </a:lnTo>
                  <a:cubicBezTo>
                    <a:pt x="124591" y="142518"/>
                    <a:pt x="125488" y="141622"/>
                    <a:pt x="125488" y="140277"/>
                  </a:cubicBezTo>
                  <a:cubicBezTo>
                    <a:pt x="125488" y="138933"/>
                    <a:pt x="124591" y="138036"/>
                    <a:pt x="123247" y="138036"/>
                  </a:cubicBezTo>
                  <a:close/>
                  <a:moveTo>
                    <a:pt x="53780" y="138036"/>
                  </a:moveTo>
                  <a:lnTo>
                    <a:pt x="31372" y="138036"/>
                  </a:lnTo>
                  <a:lnTo>
                    <a:pt x="31372" y="102183"/>
                  </a:lnTo>
                  <a:lnTo>
                    <a:pt x="53780" y="102183"/>
                  </a:lnTo>
                  <a:lnTo>
                    <a:pt x="53780" y="138036"/>
                  </a:lnTo>
                  <a:close/>
                  <a:moveTo>
                    <a:pt x="94116" y="138036"/>
                  </a:moveTo>
                  <a:lnTo>
                    <a:pt x="71707" y="138036"/>
                  </a:lnTo>
                  <a:lnTo>
                    <a:pt x="71707" y="102183"/>
                  </a:lnTo>
                  <a:lnTo>
                    <a:pt x="94116" y="102183"/>
                  </a:lnTo>
                  <a:lnTo>
                    <a:pt x="94116" y="138036"/>
                  </a:lnTo>
                  <a:close/>
                  <a:moveTo>
                    <a:pt x="31372" y="4482"/>
                  </a:moveTo>
                  <a:lnTo>
                    <a:pt x="94116" y="4482"/>
                  </a:lnTo>
                  <a:lnTo>
                    <a:pt x="94116" y="10308"/>
                  </a:lnTo>
                  <a:lnTo>
                    <a:pt x="31372" y="10308"/>
                  </a:lnTo>
                  <a:lnTo>
                    <a:pt x="31372" y="4482"/>
                  </a:lnTo>
                  <a:close/>
                  <a:moveTo>
                    <a:pt x="107561" y="14790"/>
                  </a:moveTo>
                  <a:lnTo>
                    <a:pt x="107561" y="138036"/>
                  </a:lnTo>
                  <a:lnTo>
                    <a:pt x="98597" y="138036"/>
                  </a:lnTo>
                  <a:lnTo>
                    <a:pt x="98597" y="99942"/>
                  </a:lnTo>
                  <a:cubicBezTo>
                    <a:pt x="98597" y="98597"/>
                    <a:pt x="97701" y="97701"/>
                    <a:pt x="96357" y="97701"/>
                  </a:cubicBezTo>
                  <a:lnTo>
                    <a:pt x="69466" y="97701"/>
                  </a:lnTo>
                  <a:cubicBezTo>
                    <a:pt x="68122" y="97701"/>
                    <a:pt x="67226" y="98597"/>
                    <a:pt x="67226" y="99942"/>
                  </a:cubicBezTo>
                  <a:lnTo>
                    <a:pt x="67226" y="138036"/>
                  </a:lnTo>
                  <a:lnTo>
                    <a:pt x="58262" y="138036"/>
                  </a:lnTo>
                  <a:lnTo>
                    <a:pt x="58262" y="99942"/>
                  </a:lnTo>
                  <a:cubicBezTo>
                    <a:pt x="58262" y="98597"/>
                    <a:pt x="57366" y="97701"/>
                    <a:pt x="56021" y="97701"/>
                  </a:cubicBezTo>
                  <a:lnTo>
                    <a:pt x="29131" y="97701"/>
                  </a:lnTo>
                  <a:cubicBezTo>
                    <a:pt x="27786" y="97701"/>
                    <a:pt x="26890" y="98597"/>
                    <a:pt x="26890" y="99942"/>
                  </a:cubicBezTo>
                  <a:lnTo>
                    <a:pt x="26890" y="138036"/>
                  </a:lnTo>
                  <a:lnTo>
                    <a:pt x="17927" y="138036"/>
                  </a:lnTo>
                  <a:lnTo>
                    <a:pt x="17927" y="14790"/>
                  </a:lnTo>
                  <a:lnTo>
                    <a:pt x="107561" y="14790"/>
                  </a:lnTo>
                  <a:close/>
                </a:path>
              </a:pathLst>
            </a:custGeom>
            <a:solidFill>
              <a:srgbClr val="231F20"/>
            </a:solidFill>
            <a:ln w="4477" cap="flat">
              <a:noFill/>
              <a:prstDash val="solid"/>
              <a:miter/>
            </a:ln>
          </p:spPr>
          <p:txBody>
            <a:bodyPr rtlCol="0" anchor="ctr"/>
            <a:lstStyle/>
            <a:p>
              <a:endParaRPr lang="en-US"/>
            </a:p>
          </p:txBody>
        </p:sp>
        <p:sp>
          <p:nvSpPr>
            <p:cNvPr id="3745" name="Freeform: Shape 3744">
              <a:extLst>
                <a:ext uri="{FF2B5EF4-FFF2-40B4-BE49-F238E27FC236}">
                  <a16:creationId xmlns:a16="http://schemas.microsoft.com/office/drawing/2014/main" id="{04068099-4021-49BF-8CBE-ABBCBF0B1D27}"/>
                </a:ext>
              </a:extLst>
            </p:cNvPr>
            <p:cNvSpPr/>
            <p:nvPr/>
          </p:nvSpPr>
          <p:spPr>
            <a:xfrm>
              <a:off x="11020031" y="4889986"/>
              <a:ext cx="26890" cy="31372"/>
            </a:xfrm>
            <a:custGeom>
              <a:avLst/>
              <a:gdLst>
                <a:gd name="connsiteX0" fmla="*/ 13481 w 26890"/>
                <a:gd name="connsiteY0" fmla="*/ 34045 h 31371"/>
                <a:gd name="connsiteX1" fmla="*/ 13481 w 26890"/>
                <a:gd name="connsiteY1" fmla="*/ 34045 h 31371"/>
                <a:gd name="connsiteX2" fmla="*/ 22445 w 26890"/>
                <a:gd name="connsiteY2" fmla="*/ 32252 h 31371"/>
                <a:gd name="connsiteX3" fmla="*/ 23341 w 26890"/>
                <a:gd name="connsiteY3" fmla="*/ 30012 h 31371"/>
                <a:gd name="connsiteX4" fmla="*/ 21100 w 26890"/>
                <a:gd name="connsiteY4" fmla="*/ 29115 h 31371"/>
                <a:gd name="connsiteX5" fmla="*/ 13481 w 26890"/>
                <a:gd name="connsiteY5" fmla="*/ 30908 h 31371"/>
                <a:gd name="connsiteX6" fmla="*/ 3173 w 26890"/>
                <a:gd name="connsiteY6" fmla="*/ 23289 h 31371"/>
                <a:gd name="connsiteX7" fmla="*/ 4966 w 26890"/>
                <a:gd name="connsiteY7" fmla="*/ 11188 h 31371"/>
                <a:gd name="connsiteX8" fmla="*/ 8552 w 26890"/>
                <a:gd name="connsiteY8" fmla="*/ 7155 h 31371"/>
                <a:gd name="connsiteX9" fmla="*/ 21549 w 26890"/>
                <a:gd name="connsiteY9" fmla="*/ 4466 h 31371"/>
                <a:gd name="connsiteX10" fmla="*/ 27375 w 26890"/>
                <a:gd name="connsiteY10" fmla="*/ 12533 h 31371"/>
                <a:gd name="connsiteX11" fmla="*/ 22893 w 26890"/>
                <a:gd name="connsiteY11" fmla="*/ 20152 h 31371"/>
                <a:gd name="connsiteX12" fmla="*/ 21997 w 26890"/>
                <a:gd name="connsiteY12" fmla="*/ 20600 h 31371"/>
                <a:gd name="connsiteX13" fmla="*/ 20204 w 26890"/>
                <a:gd name="connsiteY13" fmla="*/ 20600 h 31371"/>
                <a:gd name="connsiteX14" fmla="*/ 19756 w 26890"/>
                <a:gd name="connsiteY14" fmla="*/ 19703 h 31371"/>
                <a:gd name="connsiteX15" fmla="*/ 22445 w 26890"/>
                <a:gd name="connsiteY15" fmla="*/ 10740 h 31371"/>
                <a:gd name="connsiteX16" fmla="*/ 21549 w 26890"/>
                <a:gd name="connsiteY16" fmla="*/ 8499 h 31371"/>
                <a:gd name="connsiteX17" fmla="*/ 17067 w 26890"/>
                <a:gd name="connsiteY17" fmla="*/ 8051 h 31371"/>
                <a:gd name="connsiteX18" fmla="*/ 7655 w 26890"/>
                <a:gd name="connsiteY18" fmla="*/ 18807 h 31371"/>
                <a:gd name="connsiteX19" fmla="*/ 13481 w 26890"/>
                <a:gd name="connsiteY19" fmla="*/ 24633 h 31371"/>
                <a:gd name="connsiteX20" fmla="*/ 17963 w 26890"/>
                <a:gd name="connsiteY20" fmla="*/ 22841 h 31371"/>
                <a:gd name="connsiteX21" fmla="*/ 18411 w 26890"/>
                <a:gd name="connsiteY21" fmla="*/ 23289 h 31371"/>
                <a:gd name="connsiteX22" fmla="*/ 23341 w 26890"/>
                <a:gd name="connsiteY22" fmla="*/ 23289 h 31371"/>
                <a:gd name="connsiteX23" fmla="*/ 24686 w 26890"/>
                <a:gd name="connsiteY23" fmla="*/ 22841 h 31371"/>
                <a:gd name="connsiteX24" fmla="*/ 30960 w 26890"/>
                <a:gd name="connsiteY24" fmla="*/ 12085 h 31371"/>
                <a:gd name="connsiteX25" fmla="*/ 22893 w 26890"/>
                <a:gd name="connsiteY25" fmla="*/ 880 h 31371"/>
                <a:gd name="connsiteX26" fmla="*/ 6759 w 26890"/>
                <a:gd name="connsiteY26" fmla="*/ 4017 h 31371"/>
                <a:gd name="connsiteX27" fmla="*/ 2725 w 26890"/>
                <a:gd name="connsiteY27" fmla="*/ 8947 h 31371"/>
                <a:gd name="connsiteX28" fmla="*/ 933 w 26890"/>
                <a:gd name="connsiteY28" fmla="*/ 23737 h 31371"/>
                <a:gd name="connsiteX29" fmla="*/ 13481 w 26890"/>
                <a:gd name="connsiteY29" fmla="*/ 34045 h 31371"/>
                <a:gd name="connsiteX30" fmla="*/ 16619 w 26890"/>
                <a:gd name="connsiteY30" fmla="*/ 18807 h 31371"/>
                <a:gd name="connsiteX31" fmla="*/ 16619 w 26890"/>
                <a:gd name="connsiteY31" fmla="*/ 18807 h 31371"/>
                <a:gd name="connsiteX32" fmla="*/ 13033 w 26890"/>
                <a:gd name="connsiteY32" fmla="*/ 21496 h 31371"/>
                <a:gd name="connsiteX33" fmla="*/ 10792 w 26890"/>
                <a:gd name="connsiteY33" fmla="*/ 18807 h 31371"/>
                <a:gd name="connsiteX34" fmla="*/ 17067 w 26890"/>
                <a:gd name="connsiteY34" fmla="*/ 11636 h 31371"/>
                <a:gd name="connsiteX35" fmla="*/ 17963 w 26890"/>
                <a:gd name="connsiteY35" fmla="*/ 11636 h 31371"/>
                <a:gd name="connsiteX36" fmla="*/ 18859 w 26890"/>
                <a:gd name="connsiteY36" fmla="*/ 11636 h 31371"/>
                <a:gd name="connsiteX37" fmla="*/ 16619 w 26890"/>
                <a:gd name="connsiteY37" fmla="*/ 18807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90" h="31371">
                  <a:moveTo>
                    <a:pt x="13481" y="34045"/>
                  </a:moveTo>
                  <a:cubicBezTo>
                    <a:pt x="13481" y="34045"/>
                    <a:pt x="13481" y="34045"/>
                    <a:pt x="13481" y="34045"/>
                  </a:cubicBezTo>
                  <a:cubicBezTo>
                    <a:pt x="16619" y="34045"/>
                    <a:pt x="19308" y="33597"/>
                    <a:pt x="22445" y="32252"/>
                  </a:cubicBezTo>
                  <a:cubicBezTo>
                    <a:pt x="23341" y="31804"/>
                    <a:pt x="23789" y="30908"/>
                    <a:pt x="23341" y="30012"/>
                  </a:cubicBezTo>
                  <a:cubicBezTo>
                    <a:pt x="22893" y="29115"/>
                    <a:pt x="21997" y="28667"/>
                    <a:pt x="21100" y="29115"/>
                  </a:cubicBezTo>
                  <a:cubicBezTo>
                    <a:pt x="18411" y="30460"/>
                    <a:pt x="15722" y="30908"/>
                    <a:pt x="13481" y="30908"/>
                  </a:cubicBezTo>
                  <a:cubicBezTo>
                    <a:pt x="9000" y="30908"/>
                    <a:pt x="4966" y="27771"/>
                    <a:pt x="3173" y="23289"/>
                  </a:cubicBezTo>
                  <a:cubicBezTo>
                    <a:pt x="1829" y="19703"/>
                    <a:pt x="2725" y="15222"/>
                    <a:pt x="4966" y="11188"/>
                  </a:cubicBezTo>
                  <a:cubicBezTo>
                    <a:pt x="5863" y="9396"/>
                    <a:pt x="7207" y="8051"/>
                    <a:pt x="8552" y="7155"/>
                  </a:cubicBezTo>
                  <a:cubicBezTo>
                    <a:pt x="12137" y="4017"/>
                    <a:pt x="17067" y="3121"/>
                    <a:pt x="21549" y="4466"/>
                  </a:cubicBezTo>
                  <a:cubicBezTo>
                    <a:pt x="24686" y="5810"/>
                    <a:pt x="26926" y="8947"/>
                    <a:pt x="27375" y="12533"/>
                  </a:cubicBezTo>
                  <a:cubicBezTo>
                    <a:pt x="27375" y="15670"/>
                    <a:pt x="26030" y="18807"/>
                    <a:pt x="22893" y="20152"/>
                  </a:cubicBezTo>
                  <a:cubicBezTo>
                    <a:pt x="22445" y="20152"/>
                    <a:pt x="22445" y="20600"/>
                    <a:pt x="21997" y="20600"/>
                  </a:cubicBezTo>
                  <a:cubicBezTo>
                    <a:pt x="21100" y="21048"/>
                    <a:pt x="20204" y="21048"/>
                    <a:pt x="20204" y="20600"/>
                  </a:cubicBezTo>
                  <a:cubicBezTo>
                    <a:pt x="20204" y="20600"/>
                    <a:pt x="19756" y="20152"/>
                    <a:pt x="19756" y="19703"/>
                  </a:cubicBezTo>
                  <a:lnTo>
                    <a:pt x="22445" y="10740"/>
                  </a:lnTo>
                  <a:cubicBezTo>
                    <a:pt x="22893" y="9844"/>
                    <a:pt x="22445" y="8947"/>
                    <a:pt x="21549" y="8499"/>
                  </a:cubicBezTo>
                  <a:cubicBezTo>
                    <a:pt x="20204" y="8051"/>
                    <a:pt x="18411" y="7603"/>
                    <a:pt x="17067" y="8051"/>
                  </a:cubicBezTo>
                  <a:cubicBezTo>
                    <a:pt x="11240" y="8499"/>
                    <a:pt x="7207" y="13429"/>
                    <a:pt x="7655" y="18807"/>
                  </a:cubicBezTo>
                  <a:cubicBezTo>
                    <a:pt x="8103" y="22841"/>
                    <a:pt x="10792" y="24633"/>
                    <a:pt x="13481" y="24633"/>
                  </a:cubicBezTo>
                  <a:cubicBezTo>
                    <a:pt x="15274" y="24633"/>
                    <a:pt x="16619" y="23737"/>
                    <a:pt x="17963" y="22841"/>
                  </a:cubicBezTo>
                  <a:cubicBezTo>
                    <a:pt x="17963" y="22841"/>
                    <a:pt x="18411" y="23289"/>
                    <a:pt x="18411" y="23289"/>
                  </a:cubicBezTo>
                  <a:cubicBezTo>
                    <a:pt x="19756" y="24185"/>
                    <a:pt x="21549" y="24185"/>
                    <a:pt x="23341" y="23289"/>
                  </a:cubicBezTo>
                  <a:cubicBezTo>
                    <a:pt x="23789" y="23289"/>
                    <a:pt x="24237" y="22841"/>
                    <a:pt x="24686" y="22841"/>
                  </a:cubicBezTo>
                  <a:cubicBezTo>
                    <a:pt x="28719" y="20600"/>
                    <a:pt x="30960" y="16566"/>
                    <a:pt x="30960" y="12085"/>
                  </a:cubicBezTo>
                  <a:cubicBezTo>
                    <a:pt x="30512" y="7155"/>
                    <a:pt x="27375" y="2673"/>
                    <a:pt x="22893" y="880"/>
                  </a:cubicBezTo>
                  <a:cubicBezTo>
                    <a:pt x="17515" y="-912"/>
                    <a:pt x="11240" y="-16"/>
                    <a:pt x="6759" y="4017"/>
                  </a:cubicBezTo>
                  <a:cubicBezTo>
                    <a:pt x="4966" y="5362"/>
                    <a:pt x="3622" y="7155"/>
                    <a:pt x="2725" y="8947"/>
                  </a:cubicBezTo>
                  <a:cubicBezTo>
                    <a:pt x="36" y="13877"/>
                    <a:pt x="-860" y="19255"/>
                    <a:pt x="933" y="23737"/>
                  </a:cubicBezTo>
                  <a:cubicBezTo>
                    <a:pt x="1829" y="30012"/>
                    <a:pt x="7207" y="33597"/>
                    <a:pt x="13481" y="34045"/>
                  </a:cubicBezTo>
                  <a:close/>
                  <a:moveTo>
                    <a:pt x="16619" y="18807"/>
                  </a:moveTo>
                  <a:cubicBezTo>
                    <a:pt x="16619" y="18807"/>
                    <a:pt x="16619" y="18807"/>
                    <a:pt x="16619" y="18807"/>
                  </a:cubicBezTo>
                  <a:cubicBezTo>
                    <a:pt x="15722" y="20600"/>
                    <a:pt x="14378" y="21496"/>
                    <a:pt x="13033" y="21496"/>
                  </a:cubicBezTo>
                  <a:cubicBezTo>
                    <a:pt x="11689" y="21496"/>
                    <a:pt x="10792" y="20600"/>
                    <a:pt x="10792" y="18807"/>
                  </a:cubicBezTo>
                  <a:cubicBezTo>
                    <a:pt x="10344" y="15670"/>
                    <a:pt x="13033" y="11636"/>
                    <a:pt x="17067" y="11636"/>
                  </a:cubicBezTo>
                  <a:cubicBezTo>
                    <a:pt x="17515" y="11636"/>
                    <a:pt x="17515" y="11636"/>
                    <a:pt x="17963" y="11636"/>
                  </a:cubicBezTo>
                  <a:cubicBezTo>
                    <a:pt x="18411" y="11636"/>
                    <a:pt x="18859" y="11636"/>
                    <a:pt x="18859" y="11636"/>
                  </a:cubicBezTo>
                  <a:lnTo>
                    <a:pt x="16619" y="18807"/>
                  </a:lnTo>
                  <a:close/>
                </a:path>
              </a:pathLst>
            </a:custGeom>
            <a:solidFill>
              <a:srgbClr val="231F20"/>
            </a:solidFill>
            <a:ln w="4477" cap="flat">
              <a:noFill/>
              <a:prstDash val="solid"/>
              <a:miter/>
            </a:ln>
          </p:spPr>
          <p:txBody>
            <a:bodyPr rtlCol="0" anchor="ctr"/>
            <a:lstStyle/>
            <a:p>
              <a:endParaRPr lang="en-US"/>
            </a:p>
          </p:txBody>
        </p:sp>
      </p:grpSp>
      <p:sp>
        <p:nvSpPr>
          <p:cNvPr id="3746" name="Freeform: Shape 3745">
            <a:extLst>
              <a:ext uri="{FF2B5EF4-FFF2-40B4-BE49-F238E27FC236}">
                <a16:creationId xmlns:a16="http://schemas.microsoft.com/office/drawing/2014/main" id="{FFD0484B-8BCB-4864-AEF6-6A08B095537F}"/>
              </a:ext>
              <a:ext uri="{C183D7F6-B498-43B3-948B-1728B52AA6E4}">
                <adec:decorative xmlns:adec="http://schemas.microsoft.com/office/drawing/2017/decorative" val="1"/>
              </a:ext>
            </a:extLst>
          </p:cNvPr>
          <p:cNvSpPr>
            <a:spLocks noChangeAspect="1"/>
          </p:cNvSpPr>
          <p:nvPr/>
        </p:nvSpPr>
        <p:spPr>
          <a:xfrm>
            <a:off x="4018632" y="2405556"/>
            <a:ext cx="125488" cy="147896"/>
          </a:xfrm>
          <a:custGeom>
            <a:avLst/>
            <a:gdLst>
              <a:gd name="connsiteX0" fmla="*/ 126384 w 125487"/>
              <a:gd name="connsiteY0" fmla="*/ 96357 h 147896"/>
              <a:gd name="connsiteX1" fmla="*/ 124143 w 125487"/>
              <a:gd name="connsiteY1" fmla="*/ 94116 h 147896"/>
              <a:gd name="connsiteX2" fmla="*/ 97701 w 125487"/>
              <a:gd name="connsiteY2" fmla="*/ 94116 h 147896"/>
              <a:gd name="connsiteX3" fmla="*/ 91427 w 125487"/>
              <a:gd name="connsiteY3" fmla="*/ 70363 h 147896"/>
              <a:gd name="connsiteX4" fmla="*/ 108457 w 125487"/>
              <a:gd name="connsiteY4" fmla="*/ 60055 h 147896"/>
              <a:gd name="connsiteX5" fmla="*/ 108457 w 125487"/>
              <a:gd name="connsiteY5" fmla="*/ 69466 h 147896"/>
              <a:gd name="connsiteX6" fmla="*/ 110698 w 125487"/>
              <a:gd name="connsiteY6" fmla="*/ 71707 h 147896"/>
              <a:gd name="connsiteX7" fmla="*/ 112939 w 125487"/>
              <a:gd name="connsiteY7" fmla="*/ 69466 h 147896"/>
              <a:gd name="connsiteX8" fmla="*/ 112939 w 125487"/>
              <a:gd name="connsiteY8" fmla="*/ 56021 h 147896"/>
              <a:gd name="connsiteX9" fmla="*/ 112939 w 125487"/>
              <a:gd name="connsiteY9" fmla="*/ 42576 h 147896"/>
              <a:gd name="connsiteX10" fmla="*/ 110698 w 125487"/>
              <a:gd name="connsiteY10" fmla="*/ 40335 h 147896"/>
              <a:gd name="connsiteX11" fmla="*/ 82911 w 125487"/>
              <a:gd name="connsiteY11" fmla="*/ 40335 h 147896"/>
              <a:gd name="connsiteX12" fmla="*/ 72155 w 125487"/>
              <a:gd name="connsiteY12" fmla="*/ 1793 h 147896"/>
              <a:gd name="connsiteX13" fmla="*/ 69914 w 125487"/>
              <a:gd name="connsiteY13" fmla="*/ 0 h 147896"/>
              <a:gd name="connsiteX14" fmla="*/ 56469 w 125487"/>
              <a:gd name="connsiteY14" fmla="*/ 0 h 147896"/>
              <a:gd name="connsiteX15" fmla="*/ 54228 w 125487"/>
              <a:gd name="connsiteY15" fmla="*/ 1793 h 147896"/>
              <a:gd name="connsiteX16" fmla="*/ 43473 w 125487"/>
              <a:gd name="connsiteY16" fmla="*/ 40335 h 147896"/>
              <a:gd name="connsiteX17" fmla="*/ 15686 w 125487"/>
              <a:gd name="connsiteY17" fmla="*/ 40335 h 147896"/>
              <a:gd name="connsiteX18" fmla="*/ 13445 w 125487"/>
              <a:gd name="connsiteY18" fmla="*/ 42576 h 147896"/>
              <a:gd name="connsiteX19" fmla="*/ 13445 w 125487"/>
              <a:gd name="connsiteY19" fmla="*/ 56021 h 147896"/>
              <a:gd name="connsiteX20" fmla="*/ 13445 w 125487"/>
              <a:gd name="connsiteY20" fmla="*/ 69466 h 147896"/>
              <a:gd name="connsiteX21" fmla="*/ 15686 w 125487"/>
              <a:gd name="connsiteY21" fmla="*/ 71707 h 147896"/>
              <a:gd name="connsiteX22" fmla="*/ 17927 w 125487"/>
              <a:gd name="connsiteY22" fmla="*/ 69466 h 147896"/>
              <a:gd name="connsiteX23" fmla="*/ 17927 w 125487"/>
              <a:gd name="connsiteY23" fmla="*/ 60055 h 147896"/>
              <a:gd name="connsiteX24" fmla="*/ 34957 w 125487"/>
              <a:gd name="connsiteY24" fmla="*/ 70363 h 147896"/>
              <a:gd name="connsiteX25" fmla="*/ 28683 w 125487"/>
              <a:gd name="connsiteY25" fmla="*/ 94116 h 147896"/>
              <a:gd name="connsiteX26" fmla="*/ 2241 w 125487"/>
              <a:gd name="connsiteY26" fmla="*/ 94116 h 147896"/>
              <a:gd name="connsiteX27" fmla="*/ 0 w 125487"/>
              <a:gd name="connsiteY27" fmla="*/ 96357 h 147896"/>
              <a:gd name="connsiteX28" fmla="*/ 0 w 125487"/>
              <a:gd name="connsiteY28" fmla="*/ 109802 h 147896"/>
              <a:gd name="connsiteX29" fmla="*/ 0 w 125487"/>
              <a:gd name="connsiteY29" fmla="*/ 123247 h 147896"/>
              <a:gd name="connsiteX30" fmla="*/ 2241 w 125487"/>
              <a:gd name="connsiteY30" fmla="*/ 125488 h 147896"/>
              <a:gd name="connsiteX31" fmla="*/ 4482 w 125487"/>
              <a:gd name="connsiteY31" fmla="*/ 123247 h 147896"/>
              <a:gd name="connsiteX32" fmla="*/ 4482 w 125487"/>
              <a:gd name="connsiteY32" fmla="*/ 113835 h 147896"/>
              <a:gd name="connsiteX33" fmla="*/ 20616 w 125487"/>
              <a:gd name="connsiteY33" fmla="*/ 124143 h 147896"/>
              <a:gd name="connsiteX34" fmla="*/ 13893 w 125487"/>
              <a:gd name="connsiteY34" fmla="*/ 149241 h 147896"/>
              <a:gd name="connsiteX35" fmla="*/ 14342 w 125487"/>
              <a:gd name="connsiteY35" fmla="*/ 151033 h 147896"/>
              <a:gd name="connsiteX36" fmla="*/ 16134 w 125487"/>
              <a:gd name="connsiteY36" fmla="*/ 151930 h 147896"/>
              <a:gd name="connsiteX37" fmla="*/ 110250 w 125487"/>
              <a:gd name="connsiteY37" fmla="*/ 151930 h 147896"/>
              <a:gd name="connsiteX38" fmla="*/ 112043 w 125487"/>
              <a:gd name="connsiteY38" fmla="*/ 151033 h 147896"/>
              <a:gd name="connsiteX39" fmla="*/ 112491 w 125487"/>
              <a:gd name="connsiteY39" fmla="*/ 149241 h 147896"/>
              <a:gd name="connsiteX40" fmla="*/ 105768 w 125487"/>
              <a:gd name="connsiteY40" fmla="*/ 124143 h 147896"/>
              <a:gd name="connsiteX41" fmla="*/ 121902 w 125487"/>
              <a:gd name="connsiteY41" fmla="*/ 113835 h 147896"/>
              <a:gd name="connsiteX42" fmla="*/ 121902 w 125487"/>
              <a:gd name="connsiteY42" fmla="*/ 123695 h 147896"/>
              <a:gd name="connsiteX43" fmla="*/ 124143 w 125487"/>
              <a:gd name="connsiteY43" fmla="*/ 125936 h 147896"/>
              <a:gd name="connsiteX44" fmla="*/ 126384 w 125487"/>
              <a:gd name="connsiteY44" fmla="*/ 123695 h 147896"/>
              <a:gd name="connsiteX45" fmla="*/ 126384 w 125487"/>
              <a:gd name="connsiteY45" fmla="*/ 110250 h 147896"/>
              <a:gd name="connsiteX46" fmla="*/ 126384 w 125487"/>
              <a:gd name="connsiteY46" fmla="*/ 109802 h 147896"/>
              <a:gd name="connsiteX47" fmla="*/ 126384 w 125487"/>
              <a:gd name="connsiteY47" fmla="*/ 109354 h 147896"/>
              <a:gd name="connsiteX48" fmla="*/ 126384 w 125487"/>
              <a:gd name="connsiteY48" fmla="*/ 96357 h 147896"/>
              <a:gd name="connsiteX49" fmla="*/ 108457 w 125487"/>
              <a:gd name="connsiteY49" fmla="*/ 44817 h 147896"/>
              <a:gd name="connsiteX50" fmla="*/ 108457 w 125487"/>
              <a:gd name="connsiteY50" fmla="*/ 54677 h 147896"/>
              <a:gd name="connsiteX51" fmla="*/ 90082 w 125487"/>
              <a:gd name="connsiteY51" fmla="*/ 65881 h 147896"/>
              <a:gd name="connsiteX52" fmla="*/ 84256 w 125487"/>
              <a:gd name="connsiteY52" fmla="*/ 44817 h 147896"/>
              <a:gd name="connsiteX53" fmla="*/ 108457 w 125487"/>
              <a:gd name="connsiteY53" fmla="*/ 44817 h 147896"/>
              <a:gd name="connsiteX54" fmla="*/ 58710 w 125487"/>
              <a:gd name="connsiteY54" fmla="*/ 4482 h 147896"/>
              <a:gd name="connsiteX55" fmla="*/ 68570 w 125487"/>
              <a:gd name="connsiteY55" fmla="*/ 4482 h 147896"/>
              <a:gd name="connsiteX56" fmla="*/ 78430 w 125487"/>
              <a:gd name="connsiteY56" fmla="*/ 40335 h 147896"/>
              <a:gd name="connsiteX57" fmla="*/ 48850 w 125487"/>
              <a:gd name="connsiteY57" fmla="*/ 40335 h 147896"/>
              <a:gd name="connsiteX58" fmla="*/ 58710 w 125487"/>
              <a:gd name="connsiteY58" fmla="*/ 4482 h 147896"/>
              <a:gd name="connsiteX59" fmla="*/ 18823 w 125487"/>
              <a:gd name="connsiteY59" fmla="*/ 54677 h 147896"/>
              <a:gd name="connsiteX60" fmla="*/ 18823 w 125487"/>
              <a:gd name="connsiteY60" fmla="*/ 44817 h 147896"/>
              <a:gd name="connsiteX61" fmla="*/ 43024 w 125487"/>
              <a:gd name="connsiteY61" fmla="*/ 44817 h 147896"/>
              <a:gd name="connsiteX62" fmla="*/ 37198 w 125487"/>
              <a:gd name="connsiteY62" fmla="*/ 65881 h 147896"/>
              <a:gd name="connsiteX63" fmla="*/ 18823 w 125487"/>
              <a:gd name="connsiteY63" fmla="*/ 54677 h 147896"/>
              <a:gd name="connsiteX64" fmla="*/ 47954 w 125487"/>
              <a:gd name="connsiteY64" fmla="*/ 44817 h 147896"/>
              <a:gd name="connsiteX65" fmla="*/ 79774 w 125487"/>
              <a:gd name="connsiteY65" fmla="*/ 44817 h 147896"/>
              <a:gd name="connsiteX66" fmla="*/ 93219 w 125487"/>
              <a:gd name="connsiteY66" fmla="*/ 94116 h 147896"/>
              <a:gd name="connsiteX67" fmla="*/ 34509 w 125487"/>
              <a:gd name="connsiteY67" fmla="*/ 94116 h 147896"/>
              <a:gd name="connsiteX68" fmla="*/ 47954 w 125487"/>
              <a:gd name="connsiteY68" fmla="*/ 44817 h 147896"/>
              <a:gd name="connsiteX69" fmla="*/ 5378 w 125487"/>
              <a:gd name="connsiteY69" fmla="*/ 108457 h 147896"/>
              <a:gd name="connsiteX70" fmla="*/ 5378 w 125487"/>
              <a:gd name="connsiteY70" fmla="*/ 98597 h 147896"/>
              <a:gd name="connsiteX71" fmla="*/ 28235 w 125487"/>
              <a:gd name="connsiteY71" fmla="*/ 98597 h 147896"/>
              <a:gd name="connsiteX72" fmla="*/ 22409 w 125487"/>
              <a:gd name="connsiteY72" fmla="*/ 119662 h 147896"/>
              <a:gd name="connsiteX73" fmla="*/ 5378 w 125487"/>
              <a:gd name="connsiteY73" fmla="*/ 108457 h 147896"/>
              <a:gd name="connsiteX74" fmla="*/ 19271 w 125487"/>
              <a:gd name="connsiteY74" fmla="*/ 147896 h 147896"/>
              <a:gd name="connsiteX75" fmla="*/ 32716 w 125487"/>
              <a:gd name="connsiteY75" fmla="*/ 98597 h 147896"/>
              <a:gd name="connsiteX76" fmla="*/ 94116 w 125487"/>
              <a:gd name="connsiteY76" fmla="*/ 98597 h 147896"/>
              <a:gd name="connsiteX77" fmla="*/ 107561 w 125487"/>
              <a:gd name="connsiteY77" fmla="*/ 147896 h 147896"/>
              <a:gd name="connsiteX78" fmla="*/ 19271 w 125487"/>
              <a:gd name="connsiteY78" fmla="*/ 147896 h 147896"/>
              <a:gd name="connsiteX79" fmla="*/ 99046 w 125487"/>
              <a:gd name="connsiteY79" fmla="*/ 98597 h 147896"/>
              <a:gd name="connsiteX80" fmla="*/ 121902 w 125487"/>
              <a:gd name="connsiteY80" fmla="*/ 98597 h 147896"/>
              <a:gd name="connsiteX81" fmla="*/ 121902 w 125487"/>
              <a:gd name="connsiteY81" fmla="*/ 108457 h 147896"/>
              <a:gd name="connsiteX82" fmla="*/ 104872 w 125487"/>
              <a:gd name="connsiteY82" fmla="*/ 119662 h 147896"/>
              <a:gd name="connsiteX83" fmla="*/ 99046 w 125487"/>
              <a:gd name="connsiteY83" fmla="*/ 98597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5487" h="147896">
                <a:moveTo>
                  <a:pt x="126384" y="96357"/>
                </a:moveTo>
                <a:cubicBezTo>
                  <a:pt x="126384" y="95012"/>
                  <a:pt x="125488" y="94116"/>
                  <a:pt x="124143" y="94116"/>
                </a:cubicBezTo>
                <a:lnTo>
                  <a:pt x="97701" y="94116"/>
                </a:lnTo>
                <a:lnTo>
                  <a:pt x="91427" y="70363"/>
                </a:lnTo>
                <a:lnTo>
                  <a:pt x="108457" y="60055"/>
                </a:lnTo>
                <a:lnTo>
                  <a:pt x="108457" y="69466"/>
                </a:lnTo>
                <a:cubicBezTo>
                  <a:pt x="108457" y="70811"/>
                  <a:pt x="109353" y="71707"/>
                  <a:pt x="110698" y="71707"/>
                </a:cubicBezTo>
                <a:cubicBezTo>
                  <a:pt x="112043" y="71707"/>
                  <a:pt x="112939" y="70811"/>
                  <a:pt x="112939" y="69466"/>
                </a:cubicBezTo>
                <a:lnTo>
                  <a:pt x="112939" y="56021"/>
                </a:lnTo>
                <a:lnTo>
                  <a:pt x="112939" y="42576"/>
                </a:lnTo>
                <a:cubicBezTo>
                  <a:pt x="112939" y="41232"/>
                  <a:pt x="112043" y="40335"/>
                  <a:pt x="110698" y="40335"/>
                </a:cubicBezTo>
                <a:lnTo>
                  <a:pt x="82911" y="40335"/>
                </a:lnTo>
                <a:lnTo>
                  <a:pt x="72155" y="1793"/>
                </a:lnTo>
                <a:cubicBezTo>
                  <a:pt x="71707" y="896"/>
                  <a:pt x="70811" y="0"/>
                  <a:pt x="69914" y="0"/>
                </a:cubicBezTo>
                <a:lnTo>
                  <a:pt x="56469" y="0"/>
                </a:lnTo>
                <a:cubicBezTo>
                  <a:pt x="55573" y="0"/>
                  <a:pt x="54677" y="896"/>
                  <a:pt x="54228" y="1793"/>
                </a:cubicBezTo>
                <a:lnTo>
                  <a:pt x="43473" y="40335"/>
                </a:lnTo>
                <a:lnTo>
                  <a:pt x="15686" y="40335"/>
                </a:lnTo>
                <a:cubicBezTo>
                  <a:pt x="14342" y="40335"/>
                  <a:pt x="13445" y="41232"/>
                  <a:pt x="13445" y="42576"/>
                </a:cubicBezTo>
                <a:lnTo>
                  <a:pt x="13445" y="56021"/>
                </a:lnTo>
                <a:lnTo>
                  <a:pt x="13445" y="69466"/>
                </a:lnTo>
                <a:cubicBezTo>
                  <a:pt x="13445" y="70811"/>
                  <a:pt x="14342" y="71707"/>
                  <a:pt x="15686" y="71707"/>
                </a:cubicBezTo>
                <a:cubicBezTo>
                  <a:pt x="17030" y="71707"/>
                  <a:pt x="17927" y="70811"/>
                  <a:pt x="17927" y="69466"/>
                </a:cubicBezTo>
                <a:lnTo>
                  <a:pt x="17927" y="60055"/>
                </a:lnTo>
                <a:lnTo>
                  <a:pt x="34957" y="70363"/>
                </a:lnTo>
                <a:lnTo>
                  <a:pt x="28683" y="94116"/>
                </a:lnTo>
                <a:lnTo>
                  <a:pt x="2241" y="94116"/>
                </a:lnTo>
                <a:cubicBezTo>
                  <a:pt x="896" y="94116"/>
                  <a:pt x="0" y="95012"/>
                  <a:pt x="0" y="96357"/>
                </a:cubicBezTo>
                <a:lnTo>
                  <a:pt x="0" y="109802"/>
                </a:lnTo>
                <a:lnTo>
                  <a:pt x="0" y="123247"/>
                </a:lnTo>
                <a:cubicBezTo>
                  <a:pt x="0" y="124591"/>
                  <a:pt x="896" y="125488"/>
                  <a:pt x="2241" y="125488"/>
                </a:cubicBezTo>
                <a:cubicBezTo>
                  <a:pt x="3585" y="125488"/>
                  <a:pt x="4482" y="124591"/>
                  <a:pt x="4482" y="123247"/>
                </a:cubicBezTo>
                <a:lnTo>
                  <a:pt x="4482" y="113835"/>
                </a:lnTo>
                <a:lnTo>
                  <a:pt x="20616" y="124143"/>
                </a:lnTo>
                <a:lnTo>
                  <a:pt x="13893" y="149241"/>
                </a:lnTo>
                <a:cubicBezTo>
                  <a:pt x="13893" y="150137"/>
                  <a:pt x="13893" y="150585"/>
                  <a:pt x="14342" y="151033"/>
                </a:cubicBezTo>
                <a:cubicBezTo>
                  <a:pt x="14790" y="151482"/>
                  <a:pt x="15238" y="151930"/>
                  <a:pt x="16134" y="151930"/>
                </a:cubicBezTo>
                <a:lnTo>
                  <a:pt x="110250" y="151930"/>
                </a:lnTo>
                <a:cubicBezTo>
                  <a:pt x="111146" y="151930"/>
                  <a:pt x="111594" y="151482"/>
                  <a:pt x="112043" y="151033"/>
                </a:cubicBezTo>
                <a:cubicBezTo>
                  <a:pt x="112491" y="150585"/>
                  <a:pt x="112491" y="149689"/>
                  <a:pt x="112491" y="149241"/>
                </a:cubicBezTo>
                <a:lnTo>
                  <a:pt x="105768" y="124143"/>
                </a:lnTo>
                <a:lnTo>
                  <a:pt x="121902" y="113835"/>
                </a:lnTo>
                <a:lnTo>
                  <a:pt x="121902" y="123695"/>
                </a:lnTo>
                <a:cubicBezTo>
                  <a:pt x="121902" y="125040"/>
                  <a:pt x="122798" y="125936"/>
                  <a:pt x="124143" y="125936"/>
                </a:cubicBezTo>
                <a:cubicBezTo>
                  <a:pt x="125488" y="125936"/>
                  <a:pt x="126384" y="125040"/>
                  <a:pt x="126384" y="123695"/>
                </a:cubicBezTo>
                <a:lnTo>
                  <a:pt x="126384" y="110250"/>
                </a:lnTo>
                <a:cubicBezTo>
                  <a:pt x="126384" y="110250"/>
                  <a:pt x="126384" y="109802"/>
                  <a:pt x="126384" y="109802"/>
                </a:cubicBezTo>
                <a:cubicBezTo>
                  <a:pt x="126384" y="109802"/>
                  <a:pt x="126384" y="109802"/>
                  <a:pt x="126384" y="109354"/>
                </a:cubicBezTo>
                <a:lnTo>
                  <a:pt x="126384" y="96357"/>
                </a:lnTo>
                <a:close/>
                <a:moveTo>
                  <a:pt x="108457" y="44817"/>
                </a:moveTo>
                <a:lnTo>
                  <a:pt x="108457" y="54677"/>
                </a:lnTo>
                <a:lnTo>
                  <a:pt x="90082" y="65881"/>
                </a:lnTo>
                <a:lnTo>
                  <a:pt x="84256" y="44817"/>
                </a:lnTo>
                <a:lnTo>
                  <a:pt x="108457" y="44817"/>
                </a:lnTo>
                <a:close/>
                <a:moveTo>
                  <a:pt x="58710" y="4482"/>
                </a:moveTo>
                <a:lnTo>
                  <a:pt x="68570" y="4482"/>
                </a:lnTo>
                <a:lnTo>
                  <a:pt x="78430" y="40335"/>
                </a:lnTo>
                <a:lnTo>
                  <a:pt x="48850" y="40335"/>
                </a:lnTo>
                <a:lnTo>
                  <a:pt x="58710" y="4482"/>
                </a:lnTo>
                <a:close/>
                <a:moveTo>
                  <a:pt x="18823" y="54677"/>
                </a:moveTo>
                <a:lnTo>
                  <a:pt x="18823" y="44817"/>
                </a:lnTo>
                <a:lnTo>
                  <a:pt x="43024" y="44817"/>
                </a:lnTo>
                <a:lnTo>
                  <a:pt x="37198" y="65881"/>
                </a:lnTo>
                <a:lnTo>
                  <a:pt x="18823" y="54677"/>
                </a:lnTo>
                <a:close/>
                <a:moveTo>
                  <a:pt x="47954" y="44817"/>
                </a:moveTo>
                <a:lnTo>
                  <a:pt x="79774" y="44817"/>
                </a:lnTo>
                <a:lnTo>
                  <a:pt x="93219" y="94116"/>
                </a:lnTo>
                <a:lnTo>
                  <a:pt x="34509" y="94116"/>
                </a:lnTo>
                <a:lnTo>
                  <a:pt x="47954" y="44817"/>
                </a:lnTo>
                <a:close/>
                <a:moveTo>
                  <a:pt x="5378" y="108457"/>
                </a:moveTo>
                <a:lnTo>
                  <a:pt x="5378" y="98597"/>
                </a:lnTo>
                <a:lnTo>
                  <a:pt x="28235" y="98597"/>
                </a:lnTo>
                <a:lnTo>
                  <a:pt x="22409" y="119662"/>
                </a:lnTo>
                <a:lnTo>
                  <a:pt x="5378" y="108457"/>
                </a:lnTo>
                <a:close/>
                <a:moveTo>
                  <a:pt x="19271" y="147896"/>
                </a:moveTo>
                <a:lnTo>
                  <a:pt x="32716" y="98597"/>
                </a:lnTo>
                <a:lnTo>
                  <a:pt x="94116" y="98597"/>
                </a:lnTo>
                <a:lnTo>
                  <a:pt x="107561" y="147896"/>
                </a:lnTo>
                <a:lnTo>
                  <a:pt x="19271" y="147896"/>
                </a:lnTo>
                <a:close/>
                <a:moveTo>
                  <a:pt x="99046" y="98597"/>
                </a:moveTo>
                <a:lnTo>
                  <a:pt x="121902" y="98597"/>
                </a:lnTo>
                <a:lnTo>
                  <a:pt x="121902" y="108457"/>
                </a:lnTo>
                <a:lnTo>
                  <a:pt x="104872" y="119662"/>
                </a:lnTo>
                <a:lnTo>
                  <a:pt x="99046" y="98597"/>
                </a:lnTo>
                <a:close/>
              </a:path>
            </a:pathLst>
          </a:custGeom>
          <a:solidFill>
            <a:srgbClr val="231F20"/>
          </a:solidFill>
          <a:ln w="4477" cap="flat">
            <a:noFill/>
            <a:prstDash val="solid"/>
            <a:miter/>
          </a:ln>
        </p:spPr>
        <p:txBody>
          <a:bodyPr rtlCol="0" anchor="ctr"/>
          <a:lstStyle/>
          <a:p>
            <a:endParaRPr lang="en-US"/>
          </a:p>
        </p:txBody>
      </p:sp>
      <p:grpSp>
        <p:nvGrpSpPr>
          <p:cNvPr id="3747" name="Group 3746">
            <a:extLst>
              <a:ext uri="{FF2B5EF4-FFF2-40B4-BE49-F238E27FC236}">
                <a16:creationId xmlns:a16="http://schemas.microsoft.com/office/drawing/2014/main" id="{91F31CFC-03A7-4E54-96E2-46AECAB1EB92}"/>
              </a:ext>
              <a:ext uri="{C183D7F6-B498-43B3-948B-1728B52AA6E4}">
                <adec:decorative xmlns:adec="http://schemas.microsoft.com/office/drawing/2017/decorative" val="1"/>
              </a:ext>
            </a:extLst>
          </p:cNvPr>
          <p:cNvGrpSpPr>
            <a:grpSpLocks noChangeAspect="1"/>
          </p:cNvGrpSpPr>
          <p:nvPr/>
        </p:nvGrpSpPr>
        <p:grpSpPr>
          <a:xfrm>
            <a:off x="2428524" y="2802186"/>
            <a:ext cx="165823" cy="103079"/>
            <a:chOff x="8330150" y="5648722"/>
            <a:chExt cx="165823" cy="103079"/>
          </a:xfrm>
        </p:grpSpPr>
        <p:sp>
          <p:nvSpPr>
            <p:cNvPr id="3748" name="Freeform: Shape 3747">
              <a:extLst>
                <a:ext uri="{FF2B5EF4-FFF2-40B4-BE49-F238E27FC236}">
                  <a16:creationId xmlns:a16="http://schemas.microsoft.com/office/drawing/2014/main" id="{19BBC98F-A1EC-450E-843B-B047E126242A}"/>
                </a:ext>
              </a:extLst>
            </p:cNvPr>
            <p:cNvSpPr/>
            <p:nvPr/>
          </p:nvSpPr>
          <p:spPr>
            <a:xfrm>
              <a:off x="8379449"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49" name="Freeform: Shape 3748">
              <a:extLst>
                <a:ext uri="{FF2B5EF4-FFF2-40B4-BE49-F238E27FC236}">
                  <a16:creationId xmlns:a16="http://schemas.microsoft.com/office/drawing/2014/main" id="{E244E8AF-6E76-49DB-A704-ECD7CDB0B365}"/>
                </a:ext>
              </a:extLst>
            </p:cNvPr>
            <p:cNvSpPr/>
            <p:nvPr/>
          </p:nvSpPr>
          <p:spPr>
            <a:xfrm>
              <a:off x="8406339"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0" name="Freeform: Shape 3749">
              <a:extLst>
                <a:ext uri="{FF2B5EF4-FFF2-40B4-BE49-F238E27FC236}">
                  <a16:creationId xmlns:a16="http://schemas.microsoft.com/office/drawing/2014/main" id="{CD90E8CD-D674-4C54-900F-26C8F0CA0861}"/>
                </a:ext>
              </a:extLst>
            </p:cNvPr>
            <p:cNvSpPr/>
            <p:nvPr/>
          </p:nvSpPr>
          <p:spPr>
            <a:xfrm>
              <a:off x="8352558"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1" name="Freeform: Shape 3750">
              <a:extLst>
                <a:ext uri="{FF2B5EF4-FFF2-40B4-BE49-F238E27FC236}">
                  <a16:creationId xmlns:a16="http://schemas.microsoft.com/office/drawing/2014/main" id="{4A946A2D-945A-4293-AB3C-7856E8C6E9BB}"/>
                </a:ext>
              </a:extLst>
            </p:cNvPr>
            <p:cNvSpPr/>
            <p:nvPr/>
          </p:nvSpPr>
          <p:spPr>
            <a:xfrm>
              <a:off x="8330150" y="5648722"/>
              <a:ext cx="165823" cy="103079"/>
            </a:xfrm>
            <a:custGeom>
              <a:avLst/>
              <a:gdLst>
                <a:gd name="connsiteX0" fmla="*/ 164030 w 165822"/>
                <a:gd name="connsiteY0" fmla="*/ 100390 h 103079"/>
                <a:gd name="connsiteX1" fmla="*/ 146104 w 165822"/>
                <a:gd name="connsiteY1" fmla="*/ 100390 h 103079"/>
                <a:gd name="connsiteX2" fmla="*/ 139381 w 165822"/>
                <a:gd name="connsiteY2" fmla="*/ 93668 h 103079"/>
                <a:gd name="connsiteX3" fmla="*/ 139381 w 165822"/>
                <a:gd name="connsiteY3" fmla="*/ 75741 h 103079"/>
                <a:gd name="connsiteX4" fmla="*/ 137140 w 165822"/>
                <a:gd name="connsiteY4" fmla="*/ 73500 h 103079"/>
                <a:gd name="connsiteX5" fmla="*/ 134899 w 165822"/>
                <a:gd name="connsiteY5" fmla="*/ 75741 h 103079"/>
                <a:gd name="connsiteX6" fmla="*/ 134899 w 165822"/>
                <a:gd name="connsiteY6" fmla="*/ 86945 h 103079"/>
                <a:gd name="connsiteX7" fmla="*/ 112043 w 165822"/>
                <a:gd name="connsiteY7" fmla="*/ 86945 h 103079"/>
                <a:gd name="connsiteX8" fmla="*/ 99046 w 165822"/>
                <a:gd name="connsiteY8" fmla="*/ 73948 h 103079"/>
                <a:gd name="connsiteX9" fmla="*/ 99046 w 165822"/>
                <a:gd name="connsiteY9" fmla="*/ 50195 h 103079"/>
                <a:gd name="connsiteX10" fmla="*/ 89634 w 165822"/>
                <a:gd name="connsiteY10" fmla="*/ 38543 h 103079"/>
                <a:gd name="connsiteX11" fmla="*/ 85601 w 165822"/>
                <a:gd name="connsiteY11" fmla="*/ 37646 h 103079"/>
                <a:gd name="connsiteX12" fmla="*/ 85601 w 165822"/>
                <a:gd name="connsiteY12" fmla="*/ 17479 h 103079"/>
                <a:gd name="connsiteX13" fmla="*/ 86049 w 165822"/>
                <a:gd name="connsiteY13" fmla="*/ 15686 h 103079"/>
                <a:gd name="connsiteX14" fmla="*/ 91427 w 165822"/>
                <a:gd name="connsiteY14" fmla="*/ 10308 h 103079"/>
                <a:gd name="connsiteX15" fmla="*/ 91427 w 165822"/>
                <a:gd name="connsiteY15" fmla="*/ 7171 h 103079"/>
                <a:gd name="connsiteX16" fmla="*/ 88290 w 165822"/>
                <a:gd name="connsiteY16" fmla="*/ 7171 h 103079"/>
                <a:gd name="connsiteX17" fmla="*/ 82911 w 165822"/>
                <a:gd name="connsiteY17" fmla="*/ 12549 h 103079"/>
                <a:gd name="connsiteX18" fmla="*/ 81119 w 165822"/>
                <a:gd name="connsiteY18" fmla="*/ 17479 h 103079"/>
                <a:gd name="connsiteX19" fmla="*/ 81119 w 165822"/>
                <a:gd name="connsiteY19" fmla="*/ 36302 h 103079"/>
                <a:gd name="connsiteX20" fmla="*/ 72155 w 165822"/>
                <a:gd name="connsiteY20" fmla="*/ 34061 h 103079"/>
                <a:gd name="connsiteX21" fmla="*/ 72155 w 165822"/>
                <a:gd name="connsiteY21" fmla="*/ 4482 h 103079"/>
                <a:gd name="connsiteX22" fmla="*/ 76637 w 165822"/>
                <a:gd name="connsiteY22" fmla="*/ 4482 h 103079"/>
                <a:gd name="connsiteX23" fmla="*/ 78878 w 165822"/>
                <a:gd name="connsiteY23" fmla="*/ 2241 h 103079"/>
                <a:gd name="connsiteX24" fmla="*/ 76637 w 165822"/>
                <a:gd name="connsiteY24" fmla="*/ 0 h 103079"/>
                <a:gd name="connsiteX25" fmla="*/ 29579 w 165822"/>
                <a:gd name="connsiteY25" fmla="*/ 0 h 103079"/>
                <a:gd name="connsiteX26" fmla="*/ 29579 w 165822"/>
                <a:gd name="connsiteY26" fmla="*/ 0 h 103079"/>
                <a:gd name="connsiteX27" fmla="*/ 22857 w 165822"/>
                <a:gd name="connsiteY27" fmla="*/ 0 h 103079"/>
                <a:gd name="connsiteX28" fmla="*/ 20616 w 165822"/>
                <a:gd name="connsiteY28" fmla="*/ 2241 h 103079"/>
                <a:gd name="connsiteX29" fmla="*/ 22857 w 165822"/>
                <a:gd name="connsiteY29" fmla="*/ 4482 h 103079"/>
                <a:gd name="connsiteX30" fmla="*/ 27338 w 165822"/>
                <a:gd name="connsiteY30" fmla="*/ 4482 h 103079"/>
                <a:gd name="connsiteX31" fmla="*/ 27338 w 165822"/>
                <a:gd name="connsiteY31" fmla="*/ 38543 h 103079"/>
                <a:gd name="connsiteX32" fmla="*/ 25098 w 165822"/>
                <a:gd name="connsiteY32" fmla="*/ 38543 h 103079"/>
                <a:gd name="connsiteX33" fmla="*/ 13445 w 165822"/>
                <a:gd name="connsiteY33" fmla="*/ 50195 h 103079"/>
                <a:gd name="connsiteX34" fmla="*/ 13445 w 165822"/>
                <a:gd name="connsiteY34" fmla="*/ 73948 h 103079"/>
                <a:gd name="connsiteX35" fmla="*/ 0 w 165822"/>
                <a:gd name="connsiteY35" fmla="*/ 89186 h 103079"/>
                <a:gd name="connsiteX36" fmla="*/ 15686 w 165822"/>
                <a:gd name="connsiteY36" fmla="*/ 104872 h 103079"/>
                <a:gd name="connsiteX37" fmla="*/ 96357 w 165822"/>
                <a:gd name="connsiteY37" fmla="*/ 104872 h 103079"/>
                <a:gd name="connsiteX38" fmla="*/ 111594 w 165822"/>
                <a:gd name="connsiteY38" fmla="*/ 91427 h 103079"/>
                <a:gd name="connsiteX39" fmla="*/ 134451 w 165822"/>
                <a:gd name="connsiteY39" fmla="*/ 91427 h 103079"/>
                <a:gd name="connsiteX40" fmla="*/ 134451 w 165822"/>
                <a:gd name="connsiteY40" fmla="*/ 93668 h 103079"/>
                <a:gd name="connsiteX41" fmla="*/ 145655 w 165822"/>
                <a:gd name="connsiteY41" fmla="*/ 104872 h 103079"/>
                <a:gd name="connsiteX42" fmla="*/ 163582 w 165822"/>
                <a:gd name="connsiteY42" fmla="*/ 104872 h 103079"/>
                <a:gd name="connsiteX43" fmla="*/ 165823 w 165822"/>
                <a:gd name="connsiteY43" fmla="*/ 102631 h 103079"/>
                <a:gd name="connsiteX44" fmla="*/ 164030 w 165822"/>
                <a:gd name="connsiteY44" fmla="*/ 100390 h 103079"/>
                <a:gd name="connsiteX45" fmla="*/ 18375 w 165822"/>
                <a:gd name="connsiteY45" fmla="*/ 49747 h 103079"/>
                <a:gd name="connsiteX46" fmla="*/ 25546 w 165822"/>
                <a:gd name="connsiteY46" fmla="*/ 42576 h 103079"/>
                <a:gd name="connsiteX47" fmla="*/ 28683 w 165822"/>
                <a:gd name="connsiteY47" fmla="*/ 42576 h 103079"/>
                <a:gd name="connsiteX48" fmla="*/ 31820 w 165822"/>
                <a:gd name="connsiteY48" fmla="*/ 39439 h 103079"/>
                <a:gd name="connsiteX49" fmla="*/ 31820 w 165822"/>
                <a:gd name="connsiteY49" fmla="*/ 4034 h 103079"/>
                <a:gd name="connsiteX50" fmla="*/ 67674 w 165822"/>
                <a:gd name="connsiteY50" fmla="*/ 4034 h 103079"/>
                <a:gd name="connsiteX51" fmla="*/ 67674 w 165822"/>
                <a:gd name="connsiteY51" fmla="*/ 35406 h 103079"/>
                <a:gd name="connsiteX52" fmla="*/ 69466 w 165822"/>
                <a:gd name="connsiteY52" fmla="*/ 37646 h 103079"/>
                <a:gd name="connsiteX53" fmla="*/ 88738 w 165822"/>
                <a:gd name="connsiteY53" fmla="*/ 42576 h 103079"/>
                <a:gd name="connsiteX54" fmla="*/ 94564 w 165822"/>
                <a:gd name="connsiteY54" fmla="*/ 50195 h 103079"/>
                <a:gd name="connsiteX55" fmla="*/ 94564 w 165822"/>
                <a:gd name="connsiteY55" fmla="*/ 73948 h 103079"/>
                <a:gd name="connsiteX56" fmla="*/ 18375 w 165822"/>
                <a:gd name="connsiteY56" fmla="*/ 73948 h 103079"/>
                <a:gd name="connsiteX57" fmla="*/ 18375 w 165822"/>
                <a:gd name="connsiteY57" fmla="*/ 49747 h 103079"/>
                <a:gd name="connsiteX58" fmla="*/ 96805 w 165822"/>
                <a:gd name="connsiteY58" fmla="*/ 100390 h 103079"/>
                <a:gd name="connsiteX59" fmla="*/ 16134 w 165822"/>
                <a:gd name="connsiteY59" fmla="*/ 100390 h 103079"/>
                <a:gd name="connsiteX60" fmla="*/ 4930 w 165822"/>
                <a:gd name="connsiteY60" fmla="*/ 89186 h 103079"/>
                <a:gd name="connsiteX61" fmla="*/ 16134 w 165822"/>
                <a:gd name="connsiteY61" fmla="*/ 77982 h 103079"/>
                <a:gd name="connsiteX62" fmla="*/ 96805 w 165822"/>
                <a:gd name="connsiteY62" fmla="*/ 77982 h 103079"/>
                <a:gd name="connsiteX63" fmla="*/ 108009 w 165822"/>
                <a:gd name="connsiteY63" fmla="*/ 89186 h 103079"/>
                <a:gd name="connsiteX64" fmla="*/ 96805 w 165822"/>
                <a:gd name="connsiteY64" fmla="*/ 10039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5822" h="103079">
                  <a:moveTo>
                    <a:pt x="164030" y="100390"/>
                  </a:moveTo>
                  <a:lnTo>
                    <a:pt x="146104" y="100390"/>
                  </a:lnTo>
                  <a:cubicBezTo>
                    <a:pt x="142518" y="100390"/>
                    <a:pt x="139381" y="97253"/>
                    <a:pt x="139381" y="93668"/>
                  </a:cubicBezTo>
                  <a:lnTo>
                    <a:pt x="139381" y="75741"/>
                  </a:lnTo>
                  <a:cubicBezTo>
                    <a:pt x="139381" y="74396"/>
                    <a:pt x="138485" y="73500"/>
                    <a:pt x="137140" y="73500"/>
                  </a:cubicBezTo>
                  <a:cubicBezTo>
                    <a:pt x="135796" y="73500"/>
                    <a:pt x="134899" y="74396"/>
                    <a:pt x="134899" y="75741"/>
                  </a:cubicBezTo>
                  <a:lnTo>
                    <a:pt x="134899" y="86945"/>
                  </a:lnTo>
                  <a:lnTo>
                    <a:pt x="112043" y="86945"/>
                  </a:lnTo>
                  <a:cubicBezTo>
                    <a:pt x="111146" y="80223"/>
                    <a:pt x="105768" y="74844"/>
                    <a:pt x="99046" y="73948"/>
                  </a:cubicBezTo>
                  <a:lnTo>
                    <a:pt x="99046" y="50195"/>
                  </a:lnTo>
                  <a:cubicBezTo>
                    <a:pt x="99046" y="44369"/>
                    <a:pt x="95012" y="39887"/>
                    <a:pt x="89634" y="38543"/>
                  </a:cubicBezTo>
                  <a:lnTo>
                    <a:pt x="85601" y="37646"/>
                  </a:lnTo>
                  <a:lnTo>
                    <a:pt x="85601" y="17479"/>
                  </a:lnTo>
                  <a:cubicBezTo>
                    <a:pt x="85601" y="17031"/>
                    <a:pt x="86049" y="16134"/>
                    <a:pt x="86049" y="15686"/>
                  </a:cubicBezTo>
                  <a:lnTo>
                    <a:pt x="91427" y="10308"/>
                  </a:lnTo>
                  <a:cubicBezTo>
                    <a:pt x="92323" y="9411"/>
                    <a:pt x="92323" y="8067"/>
                    <a:pt x="91427" y="7171"/>
                  </a:cubicBezTo>
                  <a:cubicBezTo>
                    <a:pt x="90530" y="6274"/>
                    <a:pt x="89186" y="6274"/>
                    <a:pt x="88290" y="7171"/>
                  </a:cubicBezTo>
                  <a:lnTo>
                    <a:pt x="82911" y="12549"/>
                  </a:lnTo>
                  <a:cubicBezTo>
                    <a:pt x="81567" y="13893"/>
                    <a:pt x="81119" y="15686"/>
                    <a:pt x="81119" y="17479"/>
                  </a:cubicBezTo>
                  <a:lnTo>
                    <a:pt x="81119" y="36302"/>
                  </a:lnTo>
                  <a:lnTo>
                    <a:pt x="72155" y="34061"/>
                  </a:lnTo>
                  <a:lnTo>
                    <a:pt x="72155" y="4482"/>
                  </a:lnTo>
                  <a:lnTo>
                    <a:pt x="76637" y="4482"/>
                  </a:lnTo>
                  <a:cubicBezTo>
                    <a:pt x="77982" y="4482"/>
                    <a:pt x="78878" y="3586"/>
                    <a:pt x="78878" y="2241"/>
                  </a:cubicBezTo>
                  <a:cubicBezTo>
                    <a:pt x="78878" y="896"/>
                    <a:pt x="77982" y="0"/>
                    <a:pt x="76637" y="0"/>
                  </a:cubicBezTo>
                  <a:lnTo>
                    <a:pt x="29579" y="0"/>
                  </a:lnTo>
                  <a:cubicBezTo>
                    <a:pt x="29579" y="0"/>
                    <a:pt x="29579" y="0"/>
                    <a:pt x="29579" y="0"/>
                  </a:cubicBezTo>
                  <a:lnTo>
                    <a:pt x="22857" y="0"/>
                  </a:lnTo>
                  <a:cubicBezTo>
                    <a:pt x="21512" y="0"/>
                    <a:pt x="20616" y="896"/>
                    <a:pt x="20616" y="2241"/>
                  </a:cubicBezTo>
                  <a:cubicBezTo>
                    <a:pt x="20616" y="3586"/>
                    <a:pt x="21512" y="4482"/>
                    <a:pt x="22857" y="4482"/>
                  </a:cubicBezTo>
                  <a:lnTo>
                    <a:pt x="27338" y="4482"/>
                  </a:lnTo>
                  <a:lnTo>
                    <a:pt x="27338" y="38543"/>
                  </a:lnTo>
                  <a:lnTo>
                    <a:pt x="25098" y="38543"/>
                  </a:lnTo>
                  <a:cubicBezTo>
                    <a:pt x="18823" y="38543"/>
                    <a:pt x="13445" y="43921"/>
                    <a:pt x="13445" y="50195"/>
                  </a:cubicBezTo>
                  <a:lnTo>
                    <a:pt x="13445" y="73948"/>
                  </a:lnTo>
                  <a:cubicBezTo>
                    <a:pt x="5826" y="74844"/>
                    <a:pt x="0" y="81567"/>
                    <a:pt x="0" y="89186"/>
                  </a:cubicBezTo>
                  <a:cubicBezTo>
                    <a:pt x="0" y="97701"/>
                    <a:pt x="7171" y="104872"/>
                    <a:pt x="15686" y="104872"/>
                  </a:cubicBezTo>
                  <a:lnTo>
                    <a:pt x="96357" y="104872"/>
                  </a:lnTo>
                  <a:cubicBezTo>
                    <a:pt x="104424" y="104872"/>
                    <a:pt x="110698" y="99046"/>
                    <a:pt x="111594" y="91427"/>
                  </a:cubicBezTo>
                  <a:lnTo>
                    <a:pt x="134451" y="91427"/>
                  </a:lnTo>
                  <a:lnTo>
                    <a:pt x="134451" y="93668"/>
                  </a:lnTo>
                  <a:cubicBezTo>
                    <a:pt x="134451" y="99942"/>
                    <a:pt x="139381" y="104872"/>
                    <a:pt x="145655" y="104872"/>
                  </a:cubicBezTo>
                  <a:lnTo>
                    <a:pt x="163582" y="104872"/>
                  </a:lnTo>
                  <a:cubicBezTo>
                    <a:pt x="164927" y="104872"/>
                    <a:pt x="165823" y="103975"/>
                    <a:pt x="165823" y="102631"/>
                  </a:cubicBezTo>
                  <a:cubicBezTo>
                    <a:pt x="165823" y="101286"/>
                    <a:pt x="165375" y="100390"/>
                    <a:pt x="164030" y="100390"/>
                  </a:cubicBezTo>
                  <a:close/>
                  <a:moveTo>
                    <a:pt x="18375" y="49747"/>
                  </a:moveTo>
                  <a:cubicBezTo>
                    <a:pt x="18375" y="45713"/>
                    <a:pt x="21512" y="42576"/>
                    <a:pt x="25546" y="42576"/>
                  </a:cubicBezTo>
                  <a:lnTo>
                    <a:pt x="28683" y="42576"/>
                  </a:lnTo>
                  <a:cubicBezTo>
                    <a:pt x="30476" y="42576"/>
                    <a:pt x="31820" y="41231"/>
                    <a:pt x="31820" y="39439"/>
                  </a:cubicBezTo>
                  <a:lnTo>
                    <a:pt x="31820" y="4034"/>
                  </a:lnTo>
                  <a:lnTo>
                    <a:pt x="67674" y="4034"/>
                  </a:lnTo>
                  <a:lnTo>
                    <a:pt x="67674" y="35406"/>
                  </a:lnTo>
                  <a:cubicBezTo>
                    <a:pt x="67674" y="36302"/>
                    <a:pt x="68570" y="37198"/>
                    <a:pt x="69466" y="37646"/>
                  </a:cubicBezTo>
                  <a:lnTo>
                    <a:pt x="88738" y="42576"/>
                  </a:lnTo>
                  <a:cubicBezTo>
                    <a:pt x="92323" y="43472"/>
                    <a:pt x="94564" y="46610"/>
                    <a:pt x="94564" y="50195"/>
                  </a:cubicBezTo>
                  <a:lnTo>
                    <a:pt x="94564" y="73948"/>
                  </a:lnTo>
                  <a:lnTo>
                    <a:pt x="18375" y="73948"/>
                  </a:lnTo>
                  <a:lnTo>
                    <a:pt x="18375" y="49747"/>
                  </a:lnTo>
                  <a:close/>
                  <a:moveTo>
                    <a:pt x="96805" y="100390"/>
                  </a:moveTo>
                  <a:lnTo>
                    <a:pt x="16134" y="100390"/>
                  </a:lnTo>
                  <a:cubicBezTo>
                    <a:pt x="9860" y="100390"/>
                    <a:pt x="4930" y="95460"/>
                    <a:pt x="4930" y="89186"/>
                  </a:cubicBezTo>
                  <a:cubicBezTo>
                    <a:pt x="4930" y="82912"/>
                    <a:pt x="9860" y="77982"/>
                    <a:pt x="16134" y="77982"/>
                  </a:cubicBezTo>
                  <a:lnTo>
                    <a:pt x="96805" y="77982"/>
                  </a:lnTo>
                  <a:cubicBezTo>
                    <a:pt x="103079" y="77982"/>
                    <a:pt x="108009" y="82912"/>
                    <a:pt x="108009" y="89186"/>
                  </a:cubicBezTo>
                  <a:cubicBezTo>
                    <a:pt x="108009" y="95460"/>
                    <a:pt x="103079" y="100390"/>
                    <a:pt x="96805" y="100390"/>
                  </a:cubicBezTo>
                  <a:close/>
                </a:path>
              </a:pathLst>
            </a:custGeom>
            <a:solidFill>
              <a:srgbClr val="231F20"/>
            </a:solidFill>
            <a:ln w="4477" cap="flat">
              <a:noFill/>
              <a:prstDash val="solid"/>
              <a:miter/>
            </a:ln>
          </p:spPr>
          <p:txBody>
            <a:bodyPr rtlCol="0" anchor="ctr"/>
            <a:lstStyle/>
            <a:p>
              <a:endParaRPr lang="en-US"/>
            </a:p>
          </p:txBody>
        </p:sp>
      </p:grpSp>
      <p:sp>
        <p:nvSpPr>
          <p:cNvPr id="3752" name="Freeform: Shape 3751">
            <a:extLst>
              <a:ext uri="{FF2B5EF4-FFF2-40B4-BE49-F238E27FC236}">
                <a16:creationId xmlns:a16="http://schemas.microsoft.com/office/drawing/2014/main" id="{F5429B17-EC1D-4EED-972A-FB6F3CE95D4E}"/>
              </a:ext>
              <a:ext uri="{C183D7F6-B498-43B3-948B-1728B52AA6E4}">
                <adec:decorative xmlns:adec="http://schemas.microsoft.com/office/drawing/2017/decorative" val="1"/>
              </a:ext>
            </a:extLst>
          </p:cNvPr>
          <p:cNvSpPr>
            <a:spLocks noChangeAspect="1"/>
          </p:cNvSpPr>
          <p:nvPr/>
        </p:nvSpPr>
        <p:spPr>
          <a:xfrm>
            <a:off x="836175" y="3122063"/>
            <a:ext cx="147896" cy="107561"/>
          </a:xfrm>
          <a:custGeom>
            <a:avLst/>
            <a:gdLst>
              <a:gd name="connsiteX0" fmla="*/ 131314 w 147896"/>
              <a:gd name="connsiteY0" fmla="*/ 74513 h 107560"/>
              <a:gd name="connsiteX1" fmla="*/ 128177 w 147896"/>
              <a:gd name="connsiteY1" fmla="*/ 74961 h 107560"/>
              <a:gd name="connsiteX2" fmla="*/ 108009 w 147896"/>
              <a:gd name="connsiteY2" fmla="*/ 9080 h 107560"/>
              <a:gd name="connsiteX3" fmla="*/ 117421 w 147896"/>
              <a:gd name="connsiteY3" fmla="*/ 11321 h 107560"/>
              <a:gd name="connsiteX4" fmla="*/ 117869 w 147896"/>
              <a:gd name="connsiteY4" fmla="*/ 11321 h 107560"/>
              <a:gd name="connsiteX5" fmla="*/ 120110 w 147896"/>
              <a:gd name="connsiteY5" fmla="*/ 9528 h 107560"/>
              <a:gd name="connsiteX6" fmla="*/ 118317 w 147896"/>
              <a:gd name="connsiteY6" fmla="*/ 6839 h 107560"/>
              <a:gd name="connsiteX7" fmla="*/ 105768 w 147896"/>
              <a:gd name="connsiteY7" fmla="*/ 3702 h 107560"/>
              <a:gd name="connsiteX8" fmla="*/ 104424 w 147896"/>
              <a:gd name="connsiteY8" fmla="*/ 3254 h 107560"/>
              <a:gd name="connsiteX9" fmla="*/ 91875 w 147896"/>
              <a:gd name="connsiteY9" fmla="*/ 117 h 107560"/>
              <a:gd name="connsiteX10" fmla="*/ 89186 w 147896"/>
              <a:gd name="connsiteY10" fmla="*/ 1909 h 107560"/>
              <a:gd name="connsiteX11" fmla="*/ 90979 w 147896"/>
              <a:gd name="connsiteY11" fmla="*/ 4598 h 107560"/>
              <a:gd name="connsiteX12" fmla="*/ 103079 w 147896"/>
              <a:gd name="connsiteY12" fmla="*/ 7735 h 107560"/>
              <a:gd name="connsiteX13" fmla="*/ 122350 w 147896"/>
              <a:gd name="connsiteY13" fmla="*/ 70479 h 107560"/>
              <a:gd name="connsiteX14" fmla="*/ 100390 w 147896"/>
              <a:gd name="connsiteY14" fmla="*/ 87062 h 107560"/>
              <a:gd name="connsiteX15" fmla="*/ 90530 w 147896"/>
              <a:gd name="connsiteY15" fmla="*/ 90199 h 107560"/>
              <a:gd name="connsiteX16" fmla="*/ 43473 w 147896"/>
              <a:gd name="connsiteY16" fmla="*/ 90647 h 107560"/>
              <a:gd name="connsiteX17" fmla="*/ 17030 w 147896"/>
              <a:gd name="connsiteY17" fmla="*/ 66445 h 107560"/>
              <a:gd name="connsiteX18" fmla="*/ 14790 w 147896"/>
              <a:gd name="connsiteY18" fmla="*/ 68686 h 107560"/>
              <a:gd name="connsiteX19" fmla="*/ 17030 w 147896"/>
              <a:gd name="connsiteY19" fmla="*/ 70927 h 107560"/>
              <a:gd name="connsiteX20" fmla="*/ 38991 w 147896"/>
              <a:gd name="connsiteY20" fmla="*/ 90647 h 107560"/>
              <a:gd name="connsiteX21" fmla="*/ 34061 w 147896"/>
              <a:gd name="connsiteY21" fmla="*/ 90647 h 107560"/>
              <a:gd name="connsiteX22" fmla="*/ 17030 w 147896"/>
              <a:gd name="connsiteY22" fmla="*/ 75409 h 107560"/>
              <a:gd name="connsiteX23" fmla="*/ 0 w 147896"/>
              <a:gd name="connsiteY23" fmla="*/ 92440 h 107560"/>
              <a:gd name="connsiteX24" fmla="*/ 17030 w 147896"/>
              <a:gd name="connsiteY24" fmla="*/ 109470 h 107560"/>
              <a:gd name="connsiteX25" fmla="*/ 34061 w 147896"/>
              <a:gd name="connsiteY25" fmla="*/ 95128 h 107560"/>
              <a:gd name="connsiteX26" fmla="*/ 41232 w 147896"/>
              <a:gd name="connsiteY26" fmla="*/ 95128 h 107560"/>
              <a:gd name="connsiteX27" fmla="*/ 41680 w 147896"/>
              <a:gd name="connsiteY27" fmla="*/ 95128 h 107560"/>
              <a:gd name="connsiteX28" fmla="*/ 42128 w 147896"/>
              <a:gd name="connsiteY28" fmla="*/ 95128 h 107560"/>
              <a:gd name="connsiteX29" fmla="*/ 90530 w 147896"/>
              <a:gd name="connsiteY29" fmla="*/ 94680 h 107560"/>
              <a:gd name="connsiteX30" fmla="*/ 103079 w 147896"/>
              <a:gd name="connsiteY30" fmla="*/ 90647 h 107560"/>
              <a:gd name="connsiteX31" fmla="*/ 123695 w 147896"/>
              <a:gd name="connsiteY31" fmla="*/ 74961 h 107560"/>
              <a:gd name="connsiteX32" fmla="*/ 124143 w 147896"/>
              <a:gd name="connsiteY32" fmla="*/ 76306 h 107560"/>
              <a:gd name="connsiteX33" fmla="*/ 114283 w 147896"/>
              <a:gd name="connsiteY33" fmla="*/ 91543 h 107560"/>
              <a:gd name="connsiteX34" fmla="*/ 131314 w 147896"/>
              <a:gd name="connsiteY34" fmla="*/ 108574 h 107560"/>
              <a:gd name="connsiteX35" fmla="*/ 148344 w 147896"/>
              <a:gd name="connsiteY35" fmla="*/ 91543 h 107560"/>
              <a:gd name="connsiteX36" fmla="*/ 131314 w 147896"/>
              <a:gd name="connsiteY36" fmla="*/ 74513 h 107560"/>
              <a:gd name="connsiteX37" fmla="*/ 17030 w 147896"/>
              <a:gd name="connsiteY37" fmla="*/ 105437 h 107560"/>
              <a:gd name="connsiteX38" fmla="*/ 4482 w 147896"/>
              <a:gd name="connsiteY38" fmla="*/ 92888 h 107560"/>
              <a:gd name="connsiteX39" fmla="*/ 17030 w 147896"/>
              <a:gd name="connsiteY39" fmla="*/ 80339 h 107560"/>
              <a:gd name="connsiteX40" fmla="*/ 29579 w 147896"/>
              <a:gd name="connsiteY40" fmla="*/ 91095 h 107560"/>
              <a:gd name="connsiteX41" fmla="*/ 17030 w 147896"/>
              <a:gd name="connsiteY41" fmla="*/ 91095 h 107560"/>
              <a:gd name="connsiteX42" fmla="*/ 14790 w 147896"/>
              <a:gd name="connsiteY42" fmla="*/ 93336 h 107560"/>
              <a:gd name="connsiteX43" fmla="*/ 17030 w 147896"/>
              <a:gd name="connsiteY43" fmla="*/ 95576 h 107560"/>
              <a:gd name="connsiteX44" fmla="*/ 17030 w 147896"/>
              <a:gd name="connsiteY44" fmla="*/ 95576 h 107560"/>
              <a:gd name="connsiteX45" fmla="*/ 29579 w 147896"/>
              <a:gd name="connsiteY45" fmla="*/ 95576 h 107560"/>
              <a:gd name="connsiteX46" fmla="*/ 17030 w 147896"/>
              <a:gd name="connsiteY46" fmla="*/ 105437 h 107560"/>
              <a:gd name="connsiteX47" fmla="*/ 131314 w 147896"/>
              <a:gd name="connsiteY47" fmla="*/ 104540 h 107560"/>
              <a:gd name="connsiteX48" fmla="*/ 118765 w 147896"/>
              <a:gd name="connsiteY48" fmla="*/ 91991 h 107560"/>
              <a:gd name="connsiteX49" fmla="*/ 125488 w 147896"/>
              <a:gd name="connsiteY49" fmla="*/ 80787 h 107560"/>
              <a:gd name="connsiteX50" fmla="*/ 129521 w 147896"/>
              <a:gd name="connsiteY50" fmla="*/ 93336 h 107560"/>
              <a:gd name="connsiteX51" fmla="*/ 131762 w 147896"/>
              <a:gd name="connsiteY51" fmla="*/ 95128 h 107560"/>
              <a:gd name="connsiteX52" fmla="*/ 132210 w 147896"/>
              <a:gd name="connsiteY52" fmla="*/ 95128 h 107560"/>
              <a:gd name="connsiteX53" fmla="*/ 133555 w 147896"/>
              <a:gd name="connsiteY53" fmla="*/ 92440 h 107560"/>
              <a:gd name="connsiteX54" fmla="*/ 129521 w 147896"/>
              <a:gd name="connsiteY54" fmla="*/ 79891 h 107560"/>
              <a:gd name="connsiteX55" fmla="*/ 131314 w 147896"/>
              <a:gd name="connsiteY55" fmla="*/ 79891 h 107560"/>
              <a:gd name="connsiteX56" fmla="*/ 143863 w 147896"/>
              <a:gd name="connsiteY56" fmla="*/ 92440 h 107560"/>
              <a:gd name="connsiteX57" fmla="*/ 131314 w 147896"/>
              <a:gd name="connsiteY57" fmla="*/ 10454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7896" h="107560">
                <a:moveTo>
                  <a:pt x="131314" y="74513"/>
                </a:moveTo>
                <a:cubicBezTo>
                  <a:pt x="130418" y="74513"/>
                  <a:pt x="129073" y="74513"/>
                  <a:pt x="128177" y="74961"/>
                </a:cubicBezTo>
                <a:lnTo>
                  <a:pt x="108009" y="9080"/>
                </a:lnTo>
                <a:lnTo>
                  <a:pt x="117421" y="11321"/>
                </a:lnTo>
                <a:cubicBezTo>
                  <a:pt x="117421" y="11321"/>
                  <a:pt x="117869" y="11321"/>
                  <a:pt x="117869" y="11321"/>
                </a:cubicBezTo>
                <a:cubicBezTo>
                  <a:pt x="118765" y="11321"/>
                  <a:pt x="119661" y="10424"/>
                  <a:pt x="120110" y="9528"/>
                </a:cubicBezTo>
                <a:cubicBezTo>
                  <a:pt x="120558" y="8183"/>
                  <a:pt x="119661" y="7287"/>
                  <a:pt x="118317" y="6839"/>
                </a:cubicBezTo>
                <a:lnTo>
                  <a:pt x="105768" y="3702"/>
                </a:lnTo>
                <a:cubicBezTo>
                  <a:pt x="105320" y="3254"/>
                  <a:pt x="104872" y="3254"/>
                  <a:pt x="104424" y="3254"/>
                </a:cubicBezTo>
                <a:lnTo>
                  <a:pt x="91875" y="117"/>
                </a:lnTo>
                <a:cubicBezTo>
                  <a:pt x="90530" y="-332"/>
                  <a:pt x="89634" y="565"/>
                  <a:pt x="89186" y="1909"/>
                </a:cubicBezTo>
                <a:cubicBezTo>
                  <a:pt x="88738" y="3254"/>
                  <a:pt x="89634" y="4150"/>
                  <a:pt x="90979" y="4598"/>
                </a:cubicBezTo>
                <a:lnTo>
                  <a:pt x="103079" y="7735"/>
                </a:lnTo>
                <a:lnTo>
                  <a:pt x="122350" y="70479"/>
                </a:lnTo>
                <a:lnTo>
                  <a:pt x="100390" y="87062"/>
                </a:lnTo>
                <a:cubicBezTo>
                  <a:pt x="97701" y="89303"/>
                  <a:pt x="94116" y="90199"/>
                  <a:pt x="90530" y="90199"/>
                </a:cubicBezTo>
                <a:lnTo>
                  <a:pt x="43473" y="90647"/>
                </a:lnTo>
                <a:cubicBezTo>
                  <a:pt x="42128" y="77202"/>
                  <a:pt x="30924" y="66445"/>
                  <a:pt x="17030" y="66445"/>
                </a:cubicBezTo>
                <a:cubicBezTo>
                  <a:pt x="15686" y="66445"/>
                  <a:pt x="14790" y="67342"/>
                  <a:pt x="14790" y="68686"/>
                </a:cubicBezTo>
                <a:cubicBezTo>
                  <a:pt x="14790" y="70031"/>
                  <a:pt x="15686" y="70927"/>
                  <a:pt x="17030" y="70927"/>
                </a:cubicBezTo>
                <a:cubicBezTo>
                  <a:pt x="28683" y="70927"/>
                  <a:pt x="37646" y="79442"/>
                  <a:pt x="38991" y="90647"/>
                </a:cubicBezTo>
                <a:lnTo>
                  <a:pt x="34061" y="90647"/>
                </a:lnTo>
                <a:cubicBezTo>
                  <a:pt x="33165" y="82131"/>
                  <a:pt x="25994" y="75409"/>
                  <a:pt x="17030" y="75409"/>
                </a:cubicBezTo>
                <a:cubicBezTo>
                  <a:pt x="7619" y="75409"/>
                  <a:pt x="0" y="83028"/>
                  <a:pt x="0" y="92440"/>
                </a:cubicBezTo>
                <a:cubicBezTo>
                  <a:pt x="0" y="101851"/>
                  <a:pt x="7619" y="109470"/>
                  <a:pt x="17030" y="109470"/>
                </a:cubicBezTo>
                <a:cubicBezTo>
                  <a:pt x="25546" y="109470"/>
                  <a:pt x="32716" y="103196"/>
                  <a:pt x="34061" y="95128"/>
                </a:cubicBezTo>
                <a:lnTo>
                  <a:pt x="41232" y="95128"/>
                </a:lnTo>
                <a:cubicBezTo>
                  <a:pt x="41232" y="95128"/>
                  <a:pt x="41680" y="95128"/>
                  <a:pt x="41680" y="95128"/>
                </a:cubicBezTo>
                <a:cubicBezTo>
                  <a:pt x="42128" y="95128"/>
                  <a:pt x="42128" y="95128"/>
                  <a:pt x="42128" y="95128"/>
                </a:cubicBezTo>
                <a:lnTo>
                  <a:pt x="90530" y="94680"/>
                </a:lnTo>
                <a:cubicBezTo>
                  <a:pt x="95012" y="94680"/>
                  <a:pt x="99494" y="93336"/>
                  <a:pt x="103079" y="90647"/>
                </a:cubicBezTo>
                <a:lnTo>
                  <a:pt x="123695" y="74961"/>
                </a:lnTo>
                <a:lnTo>
                  <a:pt x="124143" y="76306"/>
                </a:lnTo>
                <a:cubicBezTo>
                  <a:pt x="118317" y="78994"/>
                  <a:pt x="114283" y="84821"/>
                  <a:pt x="114283" y="91543"/>
                </a:cubicBezTo>
                <a:cubicBezTo>
                  <a:pt x="114283" y="100955"/>
                  <a:pt x="121902" y="108574"/>
                  <a:pt x="131314" y="108574"/>
                </a:cubicBezTo>
                <a:cubicBezTo>
                  <a:pt x="140725" y="108574"/>
                  <a:pt x="148344" y="100955"/>
                  <a:pt x="148344" y="91543"/>
                </a:cubicBezTo>
                <a:cubicBezTo>
                  <a:pt x="148344" y="82131"/>
                  <a:pt x="140725" y="74513"/>
                  <a:pt x="131314" y="74513"/>
                </a:cubicBezTo>
                <a:close/>
                <a:moveTo>
                  <a:pt x="17030" y="105437"/>
                </a:moveTo>
                <a:cubicBezTo>
                  <a:pt x="9860" y="105437"/>
                  <a:pt x="4482" y="99610"/>
                  <a:pt x="4482" y="92888"/>
                </a:cubicBezTo>
                <a:cubicBezTo>
                  <a:pt x="4482" y="86165"/>
                  <a:pt x="10308" y="80339"/>
                  <a:pt x="17030" y="80339"/>
                </a:cubicBezTo>
                <a:cubicBezTo>
                  <a:pt x="23305" y="80339"/>
                  <a:pt x="28683" y="84821"/>
                  <a:pt x="29579" y="91095"/>
                </a:cubicBezTo>
                <a:lnTo>
                  <a:pt x="17030" y="91095"/>
                </a:lnTo>
                <a:cubicBezTo>
                  <a:pt x="15686" y="91095"/>
                  <a:pt x="14790" y="91991"/>
                  <a:pt x="14790" y="93336"/>
                </a:cubicBezTo>
                <a:cubicBezTo>
                  <a:pt x="14790" y="94680"/>
                  <a:pt x="15686" y="95576"/>
                  <a:pt x="17030" y="95576"/>
                </a:cubicBezTo>
                <a:cubicBezTo>
                  <a:pt x="17030" y="95576"/>
                  <a:pt x="17030" y="95576"/>
                  <a:pt x="17030" y="95576"/>
                </a:cubicBezTo>
                <a:lnTo>
                  <a:pt x="29579" y="95576"/>
                </a:lnTo>
                <a:cubicBezTo>
                  <a:pt x="28235" y="100955"/>
                  <a:pt x="22857" y="105437"/>
                  <a:pt x="17030" y="105437"/>
                </a:cubicBezTo>
                <a:close/>
                <a:moveTo>
                  <a:pt x="131314" y="104540"/>
                </a:moveTo>
                <a:cubicBezTo>
                  <a:pt x="124143" y="104540"/>
                  <a:pt x="118765" y="98714"/>
                  <a:pt x="118765" y="91991"/>
                </a:cubicBezTo>
                <a:cubicBezTo>
                  <a:pt x="118765" y="87062"/>
                  <a:pt x="121454" y="83028"/>
                  <a:pt x="125488" y="80787"/>
                </a:cubicBezTo>
                <a:lnTo>
                  <a:pt x="129521" y="93336"/>
                </a:lnTo>
                <a:cubicBezTo>
                  <a:pt x="129969" y="94232"/>
                  <a:pt x="130866" y="95128"/>
                  <a:pt x="131762" y="95128"/>
                </a:cubicBezTo>
                <a:cubicBezTo>
                  <a:pt x="131762" y="95128"/>
                  <a:pt x="132210" y="95128"/>
                  <a:pt x="132210" y="95128"/>
                </a:cubicBezTo>
                <a:cubicBezTo>
                  <a:pt x="133555" y="94680"/>
                  <a:pt x="134003" y="93336"/>
                  <a:pt x="133555" y="92440"/>
                </a:cubicBezTo>
                <a:lnTo>
                  <a:pt x="129521" y="79891"/>
                </a:lnTo>
                <a:cubicBezTo>
                  <a:pt x="129969" y="79891"/>
                  <a:pt x="130866" y="79891"/>
                  <a:pt x="131314" y="79891"/>
                </a:cubicBezTo>
                <a:cubicBezTo>
                  <a:pt x="138485" y="79891"/>
                  <a:pt x="143863" y="85717"/>
                  <a:pt x="143863" y="92440"/>
                </a:cubicBezTo>
                <a:cubicBezTo>
                  <a:pt x="143863" y="99162"/>
                  <a:pt x="138036" y="104540"/>
                  <a:pt x="131314" y="104540"/>
                </a:cubicBezTo>
                <a:close/>
              </a:path>
            </a:pathLst>
          </a:custGeom>
          <a:solidFill>
            <a:srgbClr val="231F20"/>
          </a:solidFill>
          <a:ln w="4477" cap="flat">
            <a:noFill/>
            <a:prstDash val="solid"/>
            <a:miter/>
          </a:ln>
        </p:spPr>
        <p:txBody>
          <a:bodyPr rtlCol="0" anchor="ctr"/>
          <a:lstStyle/>
          <a:p>
            <a:endParaRPr lang="en-US"/>
          </a:p>
        </p:txBody>
      </p:sp>
      <p:sp>
        <p:nvSpPr>
          <p:cNvPr id="3753" name="Freeform: Shape 3752">
            <a:extLst>
              <a:ext uri="{FF2B5EF4-FFF2-40B4-BE49-F238E27FC236}">
                <a16:creationId xmlns:a16="http://schemas.microsoft.com/office/drawing/2014/main" id="{F8FE97FC-4E2A-46A0-A16A-A768627486C5}"/>
              </a:ext>
              <a:ext uri="{C183D7F6-B498-43B3-948B-1728B52AA6E4}">
                <adec:decorative xmlns:adec="http://schemas.microsoft.com/office/drawing/2017/decorative" val="1"/>
              </a:ext>
            </a:extLst>
          </p:cNvPr>
          <p:cNvSpPr>
            <a:spLocks noChangeAspect="1"/>
          </p:cNvSpPr>
          <p:nvPr/>
        </p:nvSpPr>
        <p:spPr>
          <a:xfrm>
            <a:off x="3202962" y="3144987"/>
            <a:ext cx="152378" cy="89634"/>
          </a:xfrm>
          <a:custGeom>
            <a:avLst/>
            <a:gdLst>
              <a:gd name="connsiteX0" fmla="*/ 144759 w 152377"/>
              <a:gd name="connsiteY0" fmla="*/ 16631 h 89634"/>
              <a:gd name="connsiteX1" fmla="*/ 139381 w 152377"/>
              <a:gd name="connsiteY1" fmla="*/ 14390 h 89634"/>
              <a:gd name="connsiteX2" fmla="*/ 105320 w 152377"/>
              <a:gd name="connsiteY2" fmla="*/ 14390 h 89634"/>
              <a:gd name="connsiteX3" fmla="*/ 98597 w 152377"/>
              <a:gd name="connsiteY3" fmla="*/ 18424 h 89634"/>
              <a:gd name="connsiteX4" fmla="*/ 63192 w 152377"/>
              <a:gd name="connsiteY4" fmla="*/ 497 h 89634"/>
              <a:gd name="connsiteX5" fmla="*/ 15686 w 152377"/>
              <a:gd name="connsiteY5" fmla="*/ 4979 h 89634"/>
              <a:gd name="connsiteX6" fmla="*/ 14342 w 152377"/>
              <a:gd name="connsiteY6" fmla="*/ 6772 h 89634"/>
              <a:gd name="connsiteX7" fmla="*/ 11204 w 152377"/>
              <a:gd name="connsiteY7" fmla="*/ 24251 h 89634"/>
              <a:gd name="connsiteX8" fmla="*/ 13445 w 152377"/>
              <a:gd name="connsiteY8" fmla="*/ 29628 h 89634"/>
              <a:gd name="connsiteX9" fmla="*/ 14342 w 152377"/>
              <a:gd name="connsiteY9" fmla="*/ 30525 h 89634"/>
              <a:gd name="connsiteX10" fmla="*/ 43024 w 152377"/>
              <a:gd name="connsiteY10" fmla="*/ 48452 h 89634"/>
              <a:gd name="connsiteX11" fmla="*/ 7171 w 152377"/>
              <a:gd name="connsiteY11" fmla="*/ 48452 h 89634"/>
              <a:gd name="connsiteX12" fmla="*/ 0 w 152377"/>
              <a:gd name="connsiteY12" fmla="*/ 57415 h 89634"/>
              <a:gd name="connsiteX13" fmla="*/ 0 w 152377"/>
              <a:gd name="connsiteY13" fmla="*/ 70412 h 89634"/>
              <a:gd name="connsiteX14" fmla="*/ 2241 w 152377"/>
              <a:gd name="connsiteY14" fmla="*/ 72653 h 89634"/>
              <a:gd name="connsiteX15" fmla="*/ 4930 w 152377"/>
              <a:gd name="connsiteY15" fmla="*/ 72653 h 89634"/>
              <a:gd name="connsiteX16" fmla="*/ 4482 w 152377"/>
              <a:gd name="connsiteY16" fmla="*/ 75342 h 89634"/>
              <a:gd name="connsiteX17" fmla="*/ 21512 w 152377"/>
              <a:gd name="connsiteY17" fmla="*/ 92372 h 89634"/>
              <a:gd name="connsiteX18" fmla="*/ 36302 w 152377"/>
              <a:gd name="connsiteY18" fmla="*/ 83857 h 89634"/>
              <a:gd name="connsiteX19" fmla="*/ 51091 w 152377"/>
              <a:gd name="connsiteY19" fmla="*/ 92372 h 89634"/>
              <a:gd name="connsiteX20" fmla="*/ 68122 w 152377"/>
              <a:gd name="connsiteY20" fmla="*/ 75342 h 89634"/>
              <a:gd name="connsiteX21" fmla="*/ 67674 w 152377"/>
              <a:gd name="connsiteY21" fmla="*/ 72653 h 89634"/>
              <a:gd name="connsiteX22" fmla="*/ 99942 w 152377"/>
              <a:gd name="connsiteY22" fmla="*/ 72653 h 89634"/>
              <a:gd name="connsiteX23" fmla="*/ 102631 w 152377"/>
              <a:gd name="connsiteY23" fmla="*/ 72653 h 89634"/>
              <a:gd name="connsiteX24" fmla="*/ 102183 w 152377"/>
              <a:gd name="connsiteY24" fmla="*/ 75342 h 89634"/>
              <a:gd name="connsiteX25" fmla="*/ 119213 w 152377"/>
              <a:gd name="connsiteY25" fmla="*/ 92372 h 89634"/>
              <a:gd name="connsiteX26" fmla="*/ 136244 w 152377"/>
              <a:gd name="connsiteY26" fmla="*/ 75342 h 89634"/>
              <a:gd name="connsiteX27" fmla="*/ 135796 w 152377"/>
              <a:gd name="connsiteY27" fmla="*/ 72653 h 89634"/>
              <a:gd name="connsiteX28" fmla="*/ 151033 w 152377"/>
              <a:gd name="connsiteY28" fmla="*/ 72653 h 89634"/>
              <a:gd name="connsiteX29" fmla="*/ 155515 w 152377"/>
              <a:gd name="connsiteY29" fmla="*/ 68171 h 89634"/>
              <a:gd name="connsiteX30" fmla="*/ 155515 w 152377"/>
              <a:gd name="connsiteY30" fmla="*/ 42625 h 89634"/>
              <a:gd name="connsiteX31" fmla="*/ 144759 w 152377"/>
              <a:gd name="connsiteY31" fmla="*/ 16631 h 89634"/>
              <a:gd name="connsiteX32" fmla="*/ 141622 w 152377"/>
              <a:gd name="connsiteY32" fmla="*/ 19769 h 89634"/>
              <a:gd name="connsiteX33" fmla="*/ 151033 w 152377"/>
              <a:gd name="connsiteY33" fmla="*/ 40833 h 89634"/>
              <a:gd name="connsiteX34" fmla="*/ 125488 w 152377"/>
              <a:gd name="connsiteY34" fmla="*/ 35455 h 89634"/>
              <a:gd name="connsiteX35" fmla="*/ 121454 w 152377"/>
              <a:gd name="connsiteY35" fmla="*/ 30525 h 89634"/>
              <a:gd name="connsiteX36" fmla="*/ 121454 w 152377"/>
              <a:gd name="connsiteY36" fmla="*/ 19321 h 89634"/>
              <a:gd name="connsiteX37" fmla="*/ 139381 w 152377"/>
              <a:gd name="connsiteY37" fmla="*/ 19321 h 89634"/>
              <a:gd name="connsiteX38" fmla="*/ 141622 w 152377"/>
              <a:gd name="connsiteY38" fmla="*/ 19769 h 89634"/>
              <a:gd name="connsiteX39" fmla="*/ 97253 w 152377"/>
              <a:gd name="connsiteY39" fmla="*/ 23354 h 89634"/>
              <a:gd name="connsiteX40" fmla="*/ 97253 w 152377"/>
              <a:gd name="connsiteY40" fmla="*/ 48452 h 89634"/>
              <a:gd name="connsiteX41" fmla="*/ 56469 w 152377"/>
              <a:gd name="connsiteY41" fmla="*/ 48452 h 89634"/>
              <a:gd name="connsiteX42" fmla="*/ 67226 w 152377"/>
              <a:gd name="connsiteY42" fmla="*/ 5876 h 89634"/>
              <a:gd name="connsiteX43" fmla="*/ 97253 w 152377"/>
              <a:gd name="connsiteY43" fmla="*/ 23354 h 89634"/>
              <a:gd name="connsiteX44" fmla="*/ 16134 w 152377"/>
              <a:gd name="connsiteY44" fmla="*/ 26043 h 89634"/>
              <a:gd name="connsiteX45" fmla="*/ 15686 w 152377"/>
              <a:gd name="connsiteY45" fmla="*/ 25147 h 89634"/>
              <a:gd name="connsiteX46" fmla="*/ 18375 w 152377"/>
              <a:gd name="connsiteY46" fmla="*/ 9461 h 89634"/>
              <a:gd name="connsiteX47" fmla="*/ 18375 w 152377"/>
              <a:gd name="connsiteY47" fmla="*/ 9013 h 89634"/>
              <a:gd name="connsiteX48" fmla="*/ 62744 w 152377"/>
              <a:gd name="connsiteY48" fmla="*/ 5427 h 89634"/>
              <a:gd name="connsiteX49" fmla="*/ 62744 w 152377"/>
              <a:gd name="connsiteY49" fmla="*/ 5427 h 89634"/>
              <a:gd name="connsiteX50" fmla="*/ 51988 w 152377"/>
              <a:gd name="connsiteY50" fmla="*/ 48003 h 89634"/>
              <a:gd name="connsiteX51" fmla="*/ 17030 w 152377"/>
              <a:gd name="connsiteY51" fmla="*/ 26939 h 89634"/>
              <a:gd name="connsiteX52" fmla="*/ 16134 w 152377"/>
              <a:gd name="connsiteY52" fmla="*/ 26043 h 89634"/>
              <a:gd name="connsiteX53" fmla="*/ 21512 w 152377"/>
              <a:gd name="connsiteY53" fmla="*/ 87890 h 89634"/>
              <a:gd name="connsiteX54" fmla="*/ 8963 w 152377"/>
              <a:gd name="connsiteY54" fmla="*/ 75342 h 89634"/>
              <a:gd name="connsiteX55" fmla="*/ 21512 w 152377"/>
              <a:gd name="connsiteY55" fmla="*/ 62793 h 89634"/>
              <a:gd name="connsiteX56" fmla="*/ 34061 w 152377"/>
              <a:gd name="connsiteY56" fmla="*/ 75342 h 89634"/>
              <a:gd name="connsiteX57" fmla="*/ 21512 w 152377"/>
              <a:gd name="connsiteY57" fmla="*/ 87890 h 89634"/>
              <a:gd name="connsiteX58" fmla="*/ 50643 w 152377"/>
              <a:gd name="connsiteY58" fmla="*/ 87890 h 89634"/>
              <a:gd name="connsiteX59" fmla="*/ 38094 w 152377"/>
              <a:gd name="connsiteY59" fmla="*/ 75342 h 89634"/>
              <a:gd name="connsiteX60" fmla="*/ 50643 w 152377"/>
              <a:gd name="connsiteY60" fmla="*/ 62793 h 89634"/>
              <a:gd name="connsiteX61" fmla="*/ 63192 w 152377"/>
              <a:gd name="connsiteY61" fmla="*/ 75342 h 89634"/>
              <a:gd name="connsiteX62" fmla="*/ 50643 w 152377"/>
              <a:gd name="connsiteY62" fmla="*/ 87890 h 89634"/>
              <a:gd name="connsiteX63" fmla="*/ 50643 w 152377"/>
              <a:gd name="connsiteY63" fmla="*/ 58311 h 89634"/>
              <a:gd name="connsiteX64" fmla="*/ 35854 w 152377"/>
              <a:gd name="connsiteY64" fmla="*/ 66827 h 89634"/>
              <a:gd name="connsiteX65" fmla="*/ 21064 w 152377"/>
              <a:gd name="connsiteY65" fmla="*/ 58311 h 89634"/>
              <a:gd name="connsiteX66" fmla="*/ 5826 w 152377"/>
              <a:gd name="connsiteY66" fmla="*/ 68171 h 89634"/>
              <a:gd name="connsiteX67" fmla="*/ 3585 w 152377"/>
              <a:gd name="connsiteY67" fmla="*/ 68171 h 89634"/>
              <a:gd name="connsiteX68" fmla="*/ 3585 w 152377"/>
              <a:gd name="connsiteY68" fmla="*/ 57415 h 89634"/>
              <a:gd name="connsiteX69" fmla="*/ 6274 w 152377"/>
              <a:gd name="connsiteY69" fmla="*/ 52934 h 89634"/>
              <a:gd name="connsiteX70" fmla="*/ 96805 w 152377"/>
              <a:gd name="connsiteY70" fmla="*/ 52934 h 89634"/>
              <a:gd name="connsiteX71" fmla="*/ 96805 w 152377"/>
              <a:gd name="connsiteY71" fmla="*/ 56070 h 89634"/>
              <a:gd name="connsiteX72" fmla="*/ 96805 w 152377"/>
              <a:gd name="connsiteY72" fmla="*/ 68619 h 89634"/>
              <a:gd name="connsiteX73" fmla="*/ 65433 w 152377"/>
              <a:gd name="connsiteY73" fmla="*/ 68619 h 89634"/>
              <a:gd name="connsiteX74" fmla="*/ 50643 w 152377"/>
              <a:gd name="connsiteY74" fmla="*/ 58311 h 89634"/>
              <a:gd name="connsiteX75" fmla="*/ 119213 w 152377"/>
              <a:gd name="connsiteY75" fmla="*/ 87890 h 89634"/>
              <a:gd name="connsiteX76" fmla="*/ 106664 w 152377"/>
              <a:gd name="connsiteY76" fmla="*/ 75342 h 89634"/>
              <a:gd name="connsiteX77" fmla="*/ 119213 w 152377"/>
              <a:gd name="connsiteY77" fmla="*/ 62793 h 89634"/>
              <a:gd name="connsiteX78" fmla="*/ 131762 w 152377"/>
              <a:gd name="connsiteY78" fmla="*/ 75342 h 89634"/>
              <a:gd name="connsiteX79" fmla="*/ 119213 w 152377"/>
              <a:gd name="connsiteY79" fmla="*/ 87890 h 89634"/>
              <a:gd name="connsiteX80" fmla="*/ 134451 w 152377"/>
              <a:gd name="connsiteY80" fmla="*/ 68171 h 89634"/>
              <a:gd name="connsiteX81" fmla="*/ 119213 w 152377"/>
              <a:gd name="connsiteY81" fmla="*/ 58311 h 89634"/>
              <a:gd name="connsiteX82" fmla="*/ 103976 w 152377"/>
              <a:gd name="connsiteY82" fmla="*/ 68171 h 89634"/>
              <a:gd name="connsiteX83" fmla="*/ 101735 w 152377"/>
              <a:gd name="connsiteY83" fmla="*/ 68171 h 89634"/>
              <a:gd name="connsiteX84" fmla="*/ 101735 w 152377"/>
              <a:gd name="connsiteY84" fmla="*/ 55622 h 89634"/>
              <a:gd name="connsiteX85" fmla="*/ 101735 w 152377"/>
              <a:gd name="connsiteY85" fmla="*/ 50244 h 89634"/>
              <a:gd name="connsiteX86" fmla="*/ 101735 w 152377"/>
              <a:gd name="connsiteY86" fmla="*/ 22010 h 89634"/>
              <a:gd name="connsiteX87" fmla="*/ 104872 w 152377"/>
              <a:gd name="connsiteY87" fmla="*/ 18872 h 89634"/>
              <a:gd name="connsiteX88" fmla="*/ 116524 w 152377"/>
              <a:gd name="connsiteY88" fmla="*/ 18872 h 89634"/>
              <a:gd name="connsiteX89" fmla="*/ 116524 w 152377"/>
              <a:gd name="connsiteY89" fmla="*/ 30076 h 89634"/>
              <a:gd name="connsiteX90" fmla="*/ 124143 w 152377"/>
              <a:gd name="connsiteY90" fmla="*/ 39488 h 89634"/>
              <a:gd name="connsiteX91" fmla="*/ 150585 w 152377"/>
              <a:gd name="connsiteY91" fmla="*/ 45314 h 89634"/>
              <a:gd name="connsiteX92" fmla="*/ 150585 w 152377"/>
              <a:gd name="connsiteY92" fmla="*/ 68171 h 89634"/>
              <a:gd name="connsiteX93" fmla="*/ 134451 w 152377"/>
              <a:gd name="connsiteY93" fmla="*/ 6817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2377" h="89634">
                <a:moveTo>
                  <a:pt x="144759" y="16631"/>
                </a:moveTo>
                <a:cubicBezTo>
                  <a:pt x="143414" y="15287"/>
                  <a:pt x="141622" y="14390"/>
                  <a:pt x="139381" y="14390"/>
                </a:cubicBezTo>
                <a:lnTo>
                  <a:pt x="105320" y="14390"/>
                </a:lnTo>
                <a:cubicBezTo>
                  <a:pt x="102631" y="14390"/>
                  <a:pt x="99942" y="15735"/>
                  <a:pt x="98597" y="18424"/>
                </a:cubicBezTo>
                <a:cubicBezTo>
                  <a:pt x="90530" y="11702"/>
                  <a:pt x="75293" y="1394"/>
                  <a:pt x="63192" y="497"/>
                </a:cubicBezTo>
                <a:cubicBezTo>
                  <a:pt x="44369" y="-847"/>
                  <a:pt x="26442" y="497"/>
                  <a:pt x="15686" y="4979"/>
                </a:cubicBezTo>
                <a:cubicBezTo>
                  <a:pt x="14790" y="5427"/>
                  <a:pt x="14342" y="5876"/>
                  <a:pt x="14342" y="6772"/>
                </a:cubicBezTo>
                <a:lnTo>
                  <a:pt x="11204" y="24251"/>
                </a:lnTo>
                <a:cubicBezTo>
                  <a:pt x="10756" y="26491"/>
                  <a:pt x="11652" y="28732"/>
                  <a:pt x="13445" y="29628"/>
                </a:cubicBezTo>
                <a:cubicBezTo>
                  <a:pt x="13445" y="29628"/>
                  <a:pt x="13893" y="30076"/>
                  <a:pt x="14342" y="30525"/>
                </a:cubicBezTo>
                <a:cubicBezTo>
                  <a:pt x="23753" y="38144"/>
                  <a:pt x="33613" y="43970"/>
                  <a:pt x="43024" y="48452"/>
                </a:cubicBezTo>
                <a:lnTo>
                  <a:pt x="7171" y="48452"/>
                </a:lnTo>
                <a:cubicBezTo>
                  <a:pt x="3137" y="48452"/>
                  <a:pt x="0" y="52485"/>
                  <a:pt x="0" y="57415"/>
                </a:cubicBezTo>
                <a:lnTo>
                  <a:pt x="0" y="70412"/>
                </a:lnTo>
                <a:cubicBezTo>
                  <a:pt x="0" y="71756"/>
                  <a:pt x="896" y="72653"/>
                  <a:pt x="2241" y="72653"/>
                </a:cubicBezTo>
                <a:lnTo>
                  <a:pt x="4930" y="72653"/>
                </a:lnTo>
                <a:cubicBezTo>
                  <a:pt x="4930" y="73549"/>
                  <a:pt x="4482" y="74445"/>
                  <a:pt x="4482" y="75342"/>
                </a:cubicBezTo>
                <a:cubicBezTo>
                  <a:pt x="4482" y="84753"/>
                  <a:pt x="12101" y="92372"/>
                  <a:pt x="21512" y="92372"/>
                </a:cubicBezTo>
                <a:cubicBezTo>
                  <a:pt x="27787" y="92372"/>
                  <a:pt x="33164" y="88787"/>
                  <a:pt x="36302" y="83857"/>
                </a:cubicBezTo>
                <a:cubicBezTo>
                  <a:pt x="38991" y="88787"/>
                  <a:pt x="44817" y="92372"/>
                  <a:pt x="51091" y="92372"/>
                </a:cubicBezTo>
                <a:cubicBezTo>
                  <a:pt x="60503" y="92372"/>
                  <a:pt x="68122" y="84753"/>
                  <a:pt x="68122" y="75342"/>
                </a:cubicBezTo>
                <a:cubicBezTo>
                  <a:pt x="68122" y="74445"/>
                  <a:pt x="68122" y="73549"/>
                  <a:pt x="67674" y="72653"/>
                </a:cubicBezTo>
                <a:lnTo>
                  <a:pt x="99942" y="72653"/>
                </a:lnTo>
                <a:lnTo>
                  <a:pt x="102631" y="72653"/>
                </a:lnTo>
                <a:cubicBezTo>
                  <a:pt x="102631" y="73549"/>
                  <a:pt x="102183" y="74445"/>
                  <a:pt x="102183" y="75342"/>
                </a:cubicBezTo>
                <a:cubicBezTo>
                  <a:pt x="102183" y="84753"/>
                  <a:pt x="109802" y="92372"/>
                  <a:pt x="119213" y="92372"/>
                </a:cubicBezTo>
                <a:cubicBezTo>
                  <a:pt x="128625" y="92372"/>
                  <a:pt x="136244" y="84753"/>
                  <a:pt x="136244" y="75342"/>
                </a:cubicBezTo>
                <a:cubicBezTo>
                  <a:pt x="136244" y="74445"/>
                  <a:pt x="136244" y="73549"/>
                  <a:pt x="135796" y="72653"/>
                </a:cubicBezTo>
                <a:lnTo>
                  <a:pt x="151033" y="72653"/>
                </a:lnTo>
                <a:cubicBezTo>
                  <a:pt x="153722" y="72653"/>
                  <a:pt x="155515" y="70860"/>
                  <a:pt x="155515" y="68171"/>
                </a:cubicBezTo>
                <a:lnTo>
                  <a:pt x="155515" y="42625"/>
                </a:lnTo>
                <a:cubicBezTo>
                  <a:pt x="155515" y="32766"/>
                  <a:pt x="151930" y="23802"/>
                  <a:pt x="144759" y="16631"/>
                </a:cubicBezTo>
                <a:close/>
                <a:moveTo>
                  <a:pt x="141622" y="19769"/>
                </a:moveTo>
                <a:cubicBezTo>
                  <a:pt x="147448" y="25595"/>
                  <a:pt x="150585" y="32766"/>
                  <a:pt x="151033" y="40833"/>
                </a:cubicBezTo>
                <a:lnTo>
                  <a:pt x="125488" y="35455"/>
                </a:lnTo>
                <a:cubicBezTo>
                  <a:pt x="123247" y="35007"/>
                  <a:pt x="121454" y="32766"/>
                  <a:pt x="121454" y="30525"/>
                </a:cubicBezTo>
                <a:lnTo>
                  <a:pt x="121454" y="19321"/>
                </a:lnTo>
                <a:lnTo>
                  <a:pt x="139381" y="19321"/>
                </a:lnTo>
                <a:cubicBezTo>
                  <a:pt x="140277" y="18872"/>
                  <a:pt x="141174" y="19321"/>
                  <a:pt x="141622" y="19769"/>
                </a:cubicBezTo>
                <a:close/>
                <a:moveTo>
                  <a:pt x="97253" y="23354"/>
                </a:moveTo>
                <a:lnTo>
                  <a:pt x="97253" y="48452"/>
                </a:lnTo>
                <a:lnTo>
                  <a:pt x="56469" y="48452"/>
                </a:lnTo>
                <a:lnTo>
                  <a:pt x="67226" y="5876"/>
                </a:lnTo>
                <a:cubicBezTo>
                  <a:pt x="78430" y="8565"/>
                  <a:pt x="91875" y="18424"/>
                  <a:pt x="97253" y="23354"/>
                </a:cubicBezTo>
                <a:close/>
                <a:moveTo>
                  <a:pt x="16134" y="26043"/>
                </a:moveTo>
                <a:cubicBezTo>
                  <a:pt x="15686" y="26043"/>
                  <a:pt x="15686" y="25595"/>
                  <a:pt x="15686" y="25147"/>
                </a:cubicBezTo>
                <a:lnTo>
                  <a:pt x="18375" y="9461"/>
                </a:lnTo>
                <a:lnTo>
                  <a:pt x="18375" y="9013"/>
                </a:lnTo>
                <a:cubicBezTo>
                  <a:pt x="28683" y="5427"/>
                  <a:pt x="45713" y="4083"/>
                  <a:pt x="62744" y="5427"/>
                </a:cubicBezTo>
                <a:cubicBezTo>
                  <a:pt x="62744" y="5427"/>
                  <a:pt x="62744" y="5427"/>
                  <a:pt x="62744" y="5427"/>
                </a:cubicBezTo>
                <a:lnTo>
                  <a:pt x="51988" y="48003"/>
                </a:lnTo>
                <a:cubicBezTo>
                  <a:pt x="40783" y="43073"/>
                  <a:pt x="28683" y="36351"/>
                  <a:pt x="17030" y="26939"/>
                </a:cubicBezTo>
                <a:cubicBezTo>
                  <a:pt x="16582" y="26491"/>
                  <a:pt x="16134" y="26043"/>
                  <a:pt x="16134" y="26043"/>
                </a:cubicBezTo>
                <a:close/>
                <a:moveTo>
                  <a:pt x="21512" y="87890"/>
                </a:moveTo>
                <a:cubicBezTo>
                  <a:pt x="14790" y="87890"/>
                  <a:pt x="8963" y="82513"/>
                  <a:pt x="8963" y="75342"/>
                </a:cubicBezTo>
                <a:cubicBezTo>
                  <a:pt x="8963" y="68619"/>
                  <a:pt x="14342" y="62793"/>
                  <a:pt x="21512" y="62793"/>
                </a:cubicBezTo>
                <a:cubicBezTo>
                  <a:pt x="28683" y="62793"/>
                  <a:pt x="34061" y="68171"/>
                  <a:pt x="34061" y="75342"/>
                </a:cubicBezTo>
                <a:cubicBezTo>
                  <a:pt x="34061" y="82065"/>
                  <a:pt x="28235" y="87890"/>
                  <a:pt x="21512" y="87890"/>
                </a:cubicBezTo>
                <a:close/>
                <a:moveTo>
                  <a:pt x="50643" y="87890"/>
                </a:moveTo>
                <a:cubicBezTo>
                  <a:pt x="43921" y="87890"/>
                  <a:pt x="38094" y="82513"/>
                  <a:pt x="38094" y="75342"/>
                </a:cubicBezTo>
                <a:cubicBezTo>
                  <a:pt x="38094" y="68619"/>
                  <a:pt x="43473" y="62793"/>
                  <a:pt x="50643" y="62793"/>
                </a:cubicBezTo>
                <a:cubicBezTo>
                  <a:pt x="57814" y="62793"/>
                  <a:pt x="63192" y="68171"/>
                  <a:pt x="63192" y="75342"/>
                </a:cubicBezTo>
                <a:cubicBezTo>
                  <a:pt x="63192" y="82065"/>
                  <a:pt x="57814" y="87890"/>
                  <a:pt x="50643" y="87890"/>
                </a:cubicBezTo>
                <a:close/>
                <a:moveTo>
                  <a:pt x="50643" y="58311"/>
                </a:moveTo>
                <a:cubicBezTo>
                  <a:pt x="44369" y="58311"/>
                  <a:pt x="38991" y="61897"/>
                  <a:pt x="35854" y="66827"/>
                </a:cubicBezTo>
                <a:cubicBezTo>
                  <a:pt x="33164" y="61897"/>
                  <a:pt x="27338" y="58311"/>
                  <a:pt x="21064" y="58311"/>
                </a:cubicBezTo>
                <a:cubicBezTo>
                  <a:pt x="14342" y="58311"/>
                  <a:pt x="8515" y="62345"/>
                  <a:pt x="5826" y="68171"/>
                </a:cubicBezTo>
                <a:lnTo>
                  <a:pt x="3585" y="68171"/>
                </a:lnTo>
                <a:lnTo>
                  <a:pt x="3585" y="57415"/>
                </a:lnTo>
                <a:cubicBezTo>
                  <a:pt x="3585" y="54726"/>
                  <a:pt x="4930" y="52934"/>
                  <a:pt x="6274" y="52934"/>
                </a:cubicBezTo>
                <a:lnTo>
                  <a:pt x="96805" y="52934"/>
                </a:lnTo>
                <a:lnTo>
                  <a:pt x="96805" y="56070"/>
                </a:lnTo>
                <a:lnTo>
                  <a:pt x="96805" y="68619"/>
                </a:lnTo>
                <a:lnTo>
                  <a:pt x="65433" y="68619"/>
                </a:lnTo>
                <a:cubicBezTo>
                  <a:pt x="63192" y="62345"/>
                  <a:pt x="57814" y="58311"/>
                  <a:pt x="50643" y="58311"/>
                </a:cubicBezTo>
                <a:close/>
                <a:moveTo>
                  <a:pt x="119213" y="87890"/>
                </a:moveTo>
                <a:cubicBezTo>
                  <a:pt x="112491" y="87890"/>
                  <a:pt x="106664" y="82513"/>
                  <a:pt x="106664" y="75342"/>
                </a:cubicBezTo>
                <a:cubicBezTo>
                  <a:pt x="106664" y="68619"/>
                  <a:pt x="112043" y="62793"/>
                  <a:pt x="119213" y="62793"/>
                </a:cubicBezTo>
                <a:cubicBezTo>
                  <a:pt x="125936" y="62793"/>
                  <a:pt x="131762" y="68171"/>
                  <a:pt x="131762" y="75342"/>
                </a:cubicBezTo>
                <a:cubicBezTo>
                  <a:pt x="131762" y="82065"/>
                  <a:pt x="125936" y="87890"/>
                  <a:pt x="119213" y="87890"/>
                </a:cubicBezTo>
                <a:close/>
                <a:moveTo>
                  <a:pt x="134451" y="68171"/>
                </a:moveTo>
                <a:cubicBezTo>
                  <a:pt x="131762" y="62345"/>
                  <a:pt x="125936" y="58311"/>
                  <a:pt x="119213" y="58311"/>
                </a:cubicBezTo>
                <a:cubicBezTo>
                  <a:pt x="112491" y="58311"/>
                  <a:pt x="106664" y="62345"/>
                  <a:pt x="103976" y="68171"/>
                </a:cubicBezTo>
                <a:lnTo>
                  <a:pt x="101735" y="68171"/>
                </a:lnTo>
                <a:lnTo>
                  <a:pt x="101735" y="55622"/>
                </a:lnTo>
                <a:lnTo>
                  <a:pt x="101735" y="50244"/>
                </a:lnTo>
                <a:lnTo>
                  <a:pt x="101735" y="22010"/>
                </a:lnTo>
                <a:cubicBezTo>
                  <a:pt x="101735" y="20217"/>
                  <a:pt x="103079" y="18872"/>
                  <a:pt x="104872" y="18872"/>
                </a:cubicBezTo>
                <a:lnTo>
                  <a:pt x="116524" y="18872"/>
                </a:lnTo>
                <a:lnTo>
                  <a:pt x="116524" y="30076"/>
                </a:lnTo>
                <a:cubicBezTo>
                  <a:pt x="116524" y="34558"/>
                  <a:pt x="119661" y="38592"/>
                  <a:pt x="124143" y="39488"/>
                </a:cubicBezTo>
                <a:lnTo>
                  <a:pt x="150585" y="45314"/>
                </a:lnTo>
                <a:lnTo>
                  <a:pt x="150585" y="68171"/>
                </a:lnTo>
                <a:lnTo>
                  <a:pt x="134451" y="68171"/>
                </a:lnTo>
                <a:close/>
              </a:path>
            </a:pathLst>
          </a:custGeom>
          <a:solidFill>
            <a:srgbClr val="231F20"/>
          </a:solidFill>
          <a:ln w="4477" cap="flat">
            <a:noFill/>
            <a:prstDash val="solid"/>
            <a:miter/>
          </a:ln>
        </p:spPr>
        <p:txBody>
          <a:bodyPr rtlCol="0" anchor="ctr"/>
          <a:lstStyle/>
          <a:p>
            <a:endParaRPr lang="en-US"/>
          </a:p>
        </p:txBody>
      </p:sp>
      <p:grpSp>
        <p:nvGrpSpPr>
          <p:cNvPr id="3754" name="Group 3753">
            <a:extLst>
              <a:ext uri="{FF2B5EF4-FFF2-40B4-BE49-F238E27FC236}">
                <a16:creationId xmlns:a16="http://schemas.microsoft.com/office/drawing/2014/main" id="{39EF35BB-05F6-4D59-91F5-04D7EE731CC9}"/>
              </a:ext>
              <a:ext uri="{C183D7F6-B498-43B3-948B-1728B52AA6E4}">
                <adec:decorative xmlns:adec="http://schemas.microsoft.com/office/drawing/2017/decorative" val="1"/>
              </a:ext>
            </a:extLst>
          </p:cNvPr>
          <p:cNvGrpSpPr>
            <a:grpSpLocks noChangeAspect="1"/>
          </p:cNvGrpSpPr>
          <p:nvPr/>
        </p:nvGrpSpPr>
        <p:grpSpPr>
          <a:xfrm>
            <a:off x="5571990" y="2761403"/>
            <a:ext cx="152378" cy="143414"/>
            <a:chOff x="11473616" y="5607939"/>
            <a:chExt cx="152378" cy="143414"/>
          </a:xfrm>
        </p:grpSpPr>
        <p:sp>
          <p:nvSpPr>
            <p:cNvPr id="3755" name="Freeform: Shape 3754">
              <a:extLst>
                <a:ext uri="{FF2B5EF4-FFF2-40B4-BE49-F238E27FC236}">
                  <a16:creationId xmlns:a16="http://schemas.microsoft.com/office/drawing/2014/main" id="{F385BAE6-8EEA-4518-BB90-FDBA90A63408}"/>
                </a:ext>
              </a:extLst>
            </p:cNvPr>
            <p:cNvSpPr/>
            <p:nvPr/>
          </p:nvSpPr>
          <p:spPr>
            <a:xfrm>
              <a:off x="11515743"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6" name="Freeform: Shape 3755">
              <a:extLst>
                <a:ext uri="{FF2B5EF4-FFF2-40B4-BE49-F238E27FC236}">
                  <a16:creationId xmlns:a16="http://schemas.microsoft.com/office/drawing/2014/main" id="{D56629B9-2C5B-435B-83EE-3B941E93B1D9}"/>
                </a:ext>
              </a:extLst>
            </p:cNvPr>
            <p:cNvSpPr/>
            <p:nvPr/>
          </p:nvSpPr>
          <p:spPr>
            <a:xfrm>
              <a:off x="11542633"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7" name="Freeform: Shape 3756">
              <a:extLst>
                <a:ext uri="{FF2B5EF4-FFF2-40B4-BE49-F238E27FC236}">
                  <a16:creationId xmlns:a16="http://schemas.microsoft.com/office/drawing/2014/main" id="{0A28ECFD-7F0C-4481-88EC-58E65F097684}"/>
                </a:ext>
              </a:extLst>
            </p:cNvPr>
            <p:cNvSpPr/>
            <p:nvPr/>
          </p:nvSpPr>
          <p:spPr>
            <a:xfrm>
              <a:off x="11569524"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8" name="Freeform: Shape 3757">
              <a:extLst>
                <a:ext uri="{FF2B5EF4-FFF2-40B4-BE49-F238E27FC236}">
                  <a16:creationId xmlns:a16="http://schemas.microsoft.com/office/drawing/2014/main" id="{C37BD8F9-A494-4424-B7F5-45ADF18DB774}"/>
                </a:ext>
              </a:extLst>
            </p:cNvPr>
            <p:cNvSpPr/>
            <p:nvPr/>
          </p:nvSpPr>
          <p:spPr>
            <a:xfrm>
              <a:off x="11596414"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515"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759" name="Freeform: Shape 3758">
              <a:extLst>
                <a:ext uri="{FF2B5EF4-FFF2-40B4-BE49-F238E27FC236}">
                  <a16:creationId xmlns:a16="http://schemas.microsoft.com/office/drawing/2014/main" id="{B8914CDC-44A4-40C1-957C-5756C07AE315}"/>
                </a:ext>
              </a:extLst>
            </p:cNvPr>
            <p:cNvSpPr/>
            <p:nvPr/>
          </p:nvSpPr>
          <p:spPr>
            <a:xfrm>
              <a:off x="11488853"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10308 h 13445"/>
                <a:gd name="connsiteX6" fmla="*/ 4482 w 13445"/>
                <a:gd name="connsiteY6" fmla="*/ 7619 h 13445"/>
                <a:gd name="connsiteX7" fmla="*/ 7171 w 13445"/>
                <a:gd name="connsiteY7" fmla="*/ 4930 h 13445"/>
                <a:gd name="connsiteX8" fmla="*/ 9860 w 13445"/>
                <a:gd name="connsiteY8" fmla="*/ 7619 h 13445"/>
                <a:gd name="connsiteX9" fmla="*/ 7171 w 13445"/>
                <a:gd name="connsiteY9" fmla="*/ 10308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8" y="0"/>
                    <a:pt x="0" y="3137"/>
                    <a:pt x="0" y="7171"/>
                  </a:cubicBezTo>
                  <a:cubicBezTo>
                    <a:pt x="0" y="11204"/>
                    <a:pt x="3138" y="14341"/>
                    <a:pt x="7171" y="14341"/>
                  </a:cubicBezTo>
                  <a:cubicBezTo>
                    <a:pt x="11204" y="14341"/>
                    <a:pt x="14342" y="11204"/>
                    <a:pt x="14342" y="7171"/>
                  </a:cubicBezTo>
                  <a:cubicBezTo>
                    <a:pt x="14342" y="3137"/>
                    <a:pt x="11204" y="0"/>
                    <a:pt x="7171" y="0"/>
                  </a:cubicBezTo>
                  <a:close/>
                  <a:moveTo>
                    <a:pt x="7171" y="10308"/>
                  </a:moveTo>
                  <a:cubicBezTo>
                    <a:pt x="5378" y="10308"/>
                    <a:pt x="4482" y="8963"/>
                    <a:pt x="4482" y="7619"/>
                  </a:cubicBezTo>
                  <a:cubicBezTo>
                    <a:pt x="4482" y="6274"/>
                    <a:pt x="5826" y="4930"/>
                    <a:pt x="7171" y="4930"/>
                  </a:cubicBezTo>
                  <a:cubicBezTo>
                    <a:pt x="8515" y="4930"/>
                    <a:pt x="9860" y="6274"/>
                    <a:pt x="9860" y="7619"/>
                  </a:cubicBezTo>
                  <a:cubicBezTo>
                    <a:pt x="9860" y="8963"/>
                    <a:pt x="8515" y="10308"/>
                    <a:pt x="7171" y="10308"/>
                  </a:cubicBezTo>
                  <a:close/>
                </a:path>
              </a:pathLst>
            </a:custGeom>
            <a:solidFill>
              <a:srgbClr val="231F20"/>
            </a:solidFill>
            <a:ln w="4477" cap="flat">
              <a:noFill/>
              <a:prstDash val="solid"/>
              <a:miter/>
            </a:ln>
          </p:spPr>
          <p:txBody>
            <a:bodyPr rtlCol="0" anchor="ctr"/>
            <a:lstStyle/>
            <a:p>
              <a:endParaRPr lang="en-US"/>
            </a:p>
          </p:txBody>
        </p:sp>
        <p:sp>
          <p:nvSpPr>
            <p:cNvPr id="3760" name="Freeform: Shape 3759">
              <a:extLst>
                <a:ext uri="{FF2B5EF4-FFF2-40B4-BE49-F238E27FC236}">
                  <a16:creationId xmlns:a16="http://schemas.microsoft.com/office/drawing/2014/main" id="{1C60F964-2D09-404C-811A-8D2955215D6A}"/>
                </a:ext>
              </a:extLst>
            </p:cNvPr>
            <p:cNvSpPr/>
            <p:nvPr/>
          </p:nvSpPr>
          <p:spPr>
            <a:xfrm>
              <a:off x="11473616" y="5607939"/>
              <a:ext cx="152378" cy="143414"/>
            </a:xfrm>
            <a:custGeom>
              <a:avLst/>
              <a:gdLst>
                <a:gd name="connsiteX0" fmla="*/ 136692 w 152377"/>
                <a:gd name="connsiteY0" fmla="*/ 114283 h 143414"/>
                <a:gd name="connsiteX1" fmla="*/ 112043 w 152377"/>
                <a:gd name="connsiteY1" fmla="*/ 114283 h 143414"/>
                <a:gd name="connsiteX2" fmla="*/ 112043 w 152377"/>
                <a:gd name="connsiteY2" fmla="*/ 105320 h 143414"/>
                <a:gd name="connsiteX3" fmla="*/ 112491 w 152377"/>
                <a:gd name="connsiteY3" fmla="*/ 105320 h 143414"/>
                <a:gd name="connsiteX4" fmla="*/ 118765 w 152377"/>
                <a:gd name="connsiteY4" fmla="*/ 99942 h 143414"/>
                <a:gd name="connsiteX5" fmla="*/ 118765 w 152377"/>
                <a:gd name="connsiteY5" fmla="*/ 93668 h 143414"/>
                <a:gd name="connsiteX6" fmla="*/ 115628 w 152377"/>
                <a:gd name="connsiteY6" fmla="*/ 88737 h 143414"/>
                <a:gd name="connsiteX7" fmla="*/ 103975 w 152377"/>
                <a:gd name="connsiteY7" fmla="*/ 82912 h 143414"/>
                <a:gd name="connsiteX8" fmla="*/ 100390 w 152377"/>
                <a:gd name="connsiteY8" fmla="*/ 82015 h 143414"/>
                <a:gd name="connsiteX9" fmla="*/ 98149 w 152377"/>
                <a:gd name="connsiteY9" fmla="*/ 82015 h 143414"/>
                <a:gd name="connsiteX10" fmla="*/ 98149 w 152377"/>
                <a:gd name="connsiteY10" fmla="*/ 28235 h 143414"/>
                <a:gd name="connsiteX11" fmla="*/ 99494 w 152377"/>
                <a:gd name="connsiteY11" fmla="*/ 25994 h 143414"/>
                <a:gd name="connsiteX12" fmla="*/ 127729 w 152377"/>
                <a:gd name="connsiteY12" fmla="*/ 5378 h 143414"/>
                <a:gd name="connsiteX13" fmla="*/ 146999 w 152377"/>
                <a:gd name="connsiteY13" fmla="*/ 70363 h 143414"/>
                <a:gd name="connsiteX14" fmla="*/ 135795 w 152377"/>
                <a:gd name="connsiteY14" fmla="*/ 74396 h 143414"/>
                <a:gd name="connsiteX15" fmla="*/ 114731 w 152377"/>
                <a:gd name="connsiteY15" fmla="*/ 76189 h 143414"/>
                <a:gd name="connsiteX16" fmla="*/ 112939 w 152377"/>
                <a:gd name="connsiteY16" fmla="*/ 77533 h 143414"/>
                <a:gd name="connsiteX17" fmla="*/ 113387 w 152377"/>
                <a:gd name="connsiteY17" fmla="*/ 79774 h 143414"/>
                <a:gd name="connsiteX18" fmla="*/ 121454 w 152377"/>
                <a:gd name="connsiteY18" fmla="*/ 90530 h 143414"/>
                <a:gd name="connsiteX19" fmla="*/ 125488 w 152377"/>
                <a:gd name="connsiteY19" fmla="*/ 92323 h 143414"/>
                <a:gd name="connsiteX20" fmla="*/ 142070 w 152377"/>
                <a:gd name="connsiteY20" fmla="*/ 92323 h 143414"/>
                <a:gd name="connsiteX21" fmla="*/ 146551 w 152377"/>
                <a:gd name="connsiteY21" fmla="*/ 88737 h 143414"/>
                <a:gd name="connsiteX22" fmla="*/ 152378 w 152377"/>
                <a:gd name="connsiteY22" fmla="*/ 72603 h 143414"/>
                <a:gd name="connsiteX23" fmla="*/ 152378 w 152377"/>
                <a:gd name="connsiteY23" fmla="*/ 72603 h 143414"/>
                <a:gd name="connsiteX24" fmla="*/ 152378 w 152377"/>
                <a:gd name="connsiteY24" fmla="*/ 71707 h 143414"/>
                <a:gd name="connsiteX25" fmla="*/ 152378 w 152377"/>
                <a:gd name="connsiteY25" fmla="*/ 71707 h 143414"/>
                <a:gd name="connsiteX26" fmla="*/ 152378 w 152377"/>
                <a:gd name="connsiteY26" fmla="*/ 71707 h 143414"/>
                <a:gd name="connsiteX27" fmla="*/ 131762 w 152377"/>
                <a:gd name="connsiteY27" fmla="*/ 1793 h 143414"/>
                <a:gd name="connsiteX28" fmla="*/ 131762 w 152377"/>
                <a:gd name="connsiteY28" fmla="*/ 1344 h 143414"/>
                <a:gd name="connsiteX29" fmla="*/ 131762 w 152377"/>
                <a:gd name="connsiteY29" fmla="*/ 896 h 143414"/>
                <a:gd name="connsiteX30" fmla="*/ 131762 w 152377"/>
                <a:gd name="connsiteY30" fmla="*/ 896 h 143414"/>
                <a:gd name="connsiteX31" fmla="*/ 131314 w 152377"/>
                <a:gd name="connsiteY31" fmla="*/ 448 h 143414"/>
                <a:gd name="connsiteX32" fmla="*/ 130865 w 152377"/>
                <a:gd name="connsiteY32" fmla="*/ 0 h 143414"/>
                <a:gd name="connsiteX33" fmla="*/ 130417 w 152377"/>
                <a:gd name="connsiteY33" fmla="*/ 0 h 143414"/>
                <a:gd name="connsiteX34" fmla="*/ 129969 w 152377"/>
                <a:gd name="connsiteY34" fmla="*/ 0 h 143414"/>
                <a:gd name="connsiteX35" fmla="*/ 129521 w 152377"/>
                <a:gd name="connsiteY35" fmla="*/ 0 h 143414"/>
                <a:gd name="connsiteX36" fmla="*/ 129073 w 152377"/>
                <a:gd name="connsiteY36" fmla="*/ 0 h 143414"/>
                <a:gd name="connsiteX37" fmla="*/ 129073 w 152377"/>
                <a:gd name="connsiteY37" fmla="*/ 0 h 143414"/>
                <a:gd name="connsiteX38" fmla="*/ 128625 w 152377"/>
                <a:gd name="connsiteY38" fmla="*/ 0 h 143414"/>
                <a:gd name="connsiteX39" fmla="*/ 128177 w 152377"/>
                <a:gd name="connsiteY39" fmla="*/ 0 h 143414"/>
                <a:gd name="connsiteX40" fmla="*/ 97253 w 152377"/>
                <a:gd name="connsiteY40" fmla="*/ 22409 h 143414"/>
                <a:gd name="connsiteX41" fmla="*/ 94116 w 152377"/>
                <a:gd name="connsiteY41" fmla="*/ 28235 h 143414"/>
                <a:gd name="connsiteX42" fmla="*/ 94116 w 152377"/>
                <a:gd name="connsiteY42" fmla="*/ 82015 h 143414"/>
                <a:gd name="connsiteX43" fmla="*/ 85152 w 152377"/>
                <a:gd name="connsiteY43" fmla="*/ 82015 h 143414"/>
                <a:gd name="connsiteX44" fmla="*/ 85152 w 152377"/>
                <a:gd name="connsiteY44" fmla="*/ 74844 h 143414"/>
                <a:gd name="connsiteX45" fmla="*/ 83808 w 152377"/>
                <a:gd name="connsiteY45" fmla="*/ 69466 h 143414"/>
                <a:gd name="connsiteX46" fmla="*/ 63640 w 152377"/>
                <a:gd name="connsiteY46" fmla="*/ 31372 h 143414"/>
                <a:gd name="connsiteX47" fmla="*/ 68122 w 152377"/>
                <a:gd name="connsiteY47" fmla="*/ 31372 h 143414"/>
                <a:gd name="connsiteX48" fmla="*/ 70363 w 152377"/>
                <a:gd name="connsiteY48" fmla="*/ 29131 h 143414"/>
                <a:gd name="connsiteX49" fmla="*/ 68122 w 152377"/>
                <a:gd name="connsiteY49" fmla="*/ 26890 h 143414"/>
                <a:gd name="connsiteX50" fmla="*/ 60054 w 152377"/>
                <a:gd name="connsiteY50" fmla="*/ 26890 h 143414"/>
                <a:gd name="connsiteX51" fmla="*/ 15237 w 152377"/>
                <a:gd name="connsiteY51" fmla="*/ 26890 h 143414"/>
                <a:gd name="connsiteX52" fmla="*/ 8515 w 152377"/>
                <a:gd name="connsiteY52" fmla="*/ 26890 h 143414"/>
                <a:gd name="connsiteX53" fmla="*/ 6274 w 152377"/>
                <a:gd name="connsiteY53" fmla="*/ 29131 h 143414"/>
                <a:gd name="connsiteX54" fmla="*/ 8515 w 152377"/>
                <a:gd name="connsiteY54" fmla="*/ 31372 h 143414"/>
                <a:gd name="connsiteX55" fmla="*/ 12996 w 152377"/>
                <a:gd name="connsiteY55" fmla="*/ 31372 h 143414"/>
                <a:gd name="connsiteX56" fmla="*/ 13445 w 152377"/>
                <a:gd name="connsiteY56" fmla="*/ 98597 h 143414"/>
                <a:gd name="connsiteX57" fmla="*/ 20168 w 152377"/>
                <a:gd name="connsiteY57" fmla="*/ 105320 h 143414"/>
                <a:gd name="connsiteX58" fmla="*/ 20168 w 152377"/>
                <a:gd name="connsiteY58" fmla="*/ 114283 h 143414"/>
                <a:gd name="connsiteX59" fmla="*/ 15686 w 152377"/>
                <a:gd name="connsiteY59" fmla="*/ 114283 h 143414"/>
                <a:gd name="connsiteX60" fmla="*/ 0 w 152377"/>
                <a:gd name="connsiteY60" fmla="*/ 129969 h 143414"/>
                <a:gd name="connsiteX61" fmla="*/ 15686 w 152377"/>
                <a:gd name="connsiteY61" fmla="*/ 145655 h 143414"/>
                <a:gd name="connsiteX62" fmla="*/ 136692 w 152377"/>
                <a:gd name="connsiteY62" fmla="*/ 145655 h 143414"/>
                <a:gd name="connsiteX63" fmla="*/ 152378 w 152377"/>
                <a:gd name="connsiteY63" fmla="*/ 129969 h 143414"/>
                <a:gd name="connsiteX64" fmla="*/ 136692 w 152377"/>
                <a:gd name="connsiteY64" fmla="*/ 114283 h 143414"/>
                <a:gd name="connsiteX65" fmla="*/ 142070 w 152377"/>
                <a:gd name="connsiteY65" fmla="*/ 86945 h 143414"/>
                <a:gd name="connsiteX66" fmla="*/ 142070 w 152377"/>
                <a:gd name="connsiteY66" fmla="*/ 86945 h 143414"/>
                <a:gd name="connsiteX67" fmla="*/ 124591 w 152377"/>
                <a:gd name="connsiteY67" fmla="*/ 86945 h 143414"/>
                <a:gd name="connsiteX68" fmla="*/ 119213 w 152377"/>
                <a:gd name="connsiteY68" fmla="*/ 79774 h 143414"/>
                <a:gd name="connsiteX69" fmla="*/ 136692 w 152377"/>
                <a:gd name="connsiteY69" fmla="*/ 78430 h 143414"/>
                <a:gd name="connsiteX70" fmla="*/ 137140 w 152377"/>
                <a:gd name="connsiteY70" fmla="*/ 78430 h 143414"/>
                <a:gd name="connsiteX71" fmla="*/ 146103 w 152377"/>
                <a:gd name="connsiteY71" fmla="*/ 75292 h 143414"/>
                <a:gd name="connsiteX72" fmla="*/ 142070 w 152377"/>
                <a:gd name="connsiteY72" fmla="*/ 86945 h 143414"/>
                <a:gd name="connsiteX73" fmla="*/ 96357 w 152377"/>
                <a:gd name="connsiteY73" fmla="*/ 86497 h 143414"/>
                <a:gd name="connsiteX74" fmla="*/ 96357 w 152377"/>
                <a:gd name="connsiteY74" fmla="*/ 86497 h 143414"/>
                <a:gd name="connsiteX75" fmla="*/ 96357 w 152377"/>
                <a:gd name="connsiteY75" fmla="*/ 86497 h 143414"/>
                <a:gd name="connsiteX76" fmla="*/ 100838 w 152377"/>
                <a:gd name="connsiteY76" fmla="*/ 86497 h 143414"/>
                <a:gd name="connsiteX77" fmla="*/ 102182 w 152377"/>
                <a:gd name="connsiteY77" fmla="*/ 86945 h 143414"/>
                <a:gd name="connsiteX78" fmla="*/ 113835 w 152377"/>
                <a:gd name="connsiteY78" fmla="*/ 92771 h 143414"/>
                <a:gd name="connsiteX79" fmla="*/ 114283 w 152377"/>
                <a:gd name="connsiteY79" fmla="*/ 93668 h 143414"/>
                <a:gd name="connsiteX80" fmla="*/ 114283 w 152377"/>
                <a:gd name="connsiteY80" fmla="*/ 99942 h 143414"/>
                <a:gd name="connsiteX81" fmla="*/ 112491 w 152377"/>
                <a:gd name="connsiteY81" fmla="*/ 100838 h 143414"/>
                <a:gd name="connsiteX82" fmla="*/ 85152 w 152377"/>
                <a:gd name="connsiteY82" fmla="*/ 100838 h 143414"/>
                <a:gd name="connsiteX83" fmla="*/ 85152 w 152377"/>
                <a:gd name="connsiteY83" fmla="*/ 86497 h 143414"/>
                <a:gd name="connsiteX84" fmla="*/ 96357 w 152377"/>
                <a:gd name="connsiteY84" fmla="*/ 86497 h 143414"/>
                <a:gd name="connsiteX85" fmla="*/ 17927 w 152377"/>
                <a:gd name="connsiteY85" fmla="*/ 98597 h 143414"/>
                <a:gd name="connsiteX86" fmla="*/ 17478 w 152377"/>
                <a:gd name="connsiteY86" fmla="*/ 31372 h 143414"/>
                <a:gd name="connsiteX87" fmla="*/ 58710 w 152377"/>
                <a:gd name="connsiteY87" fmla="*/ 31372 h 143414"/>
                <a:gd name="connsiteX88" fmla="*/ 79774 w 152377"/>
                <a:gd name="connsiteY88" fmla="*/ 71707 h 143414"/>
                <a:gd name="connsiteX89" fmla="*/ 80671 w 152377"/>
                <a:gd name="connsiteY89" fmla="*/ 74844 h 143414"/>
                <a:gd name="connsiteX90" fmla="*/ 80671 w 152377"/>
                <a:gd name="connsiteY90" fmla="*/ 84256 h 143414"/>
                <a:gd name="connsiteX91" fmla="*/ 80671 w 152377"/>
                <a:gd name="connsiteY91" fmla="*/ 84256 h 143414"/>
                <a:gd name="connsiteX92" fmla="*/ 80671 w 152377"/>
                <a:gd name="connsiteY92" fmla="*/ 100838 h 143414"/>
                <a:gd name="connsiteX93" fmla="*/ 22409 w 152377"/>
                <a:gd name="connsiteY93" fmla="*/ 100838 h 143414"/>
                <a:gd name="connsiteX94" fmla="*/ 20168 w 152377"/>
                <a:gd name="connsiteY94" fmla="*/ 100838 h 143414"/>
                <a:gd name="connsiteX95" fmla="*/ 17927 w 152377"/>
                <a:gd name="connsiteY95" fmla="*/ 98597 h 143414"/>
                <a:gd name="connsiteX96" fmla="*/ 24649 w 152377"/>
                <a:gd name="connsiteY96" fmla="*/ 105320 h 143414"/>
                <a:gd name="connsiteX97" fmla="*/ 82911 w 152377"/>
                <a:gd name="connsiteY97" fmla="*/ 105320 h 143414"/>
                <a:gd name="connsiteX98" fmla="*/ 107561 w 152377"/>
                <a:gd name="connsiteY98" fmla="*/ 105320 h 143414"/>
                <a:gd name="connsiteX99" fmla="*/ 107561 w 152377"/>
                <a:gd name="connsiteY99" fmla="*/ 114283 h 143414"/>
                <a:gd name="connsiteX100" fmla="*/ 24649 w 152377"/>
                <a:gd name="connsiteY100" fmla="*/ 114283 h 143414"/>
                <a:gd name="connsiteX101" fmla="*/ 24649 w 152377"/>
                <a:gd name="connsiteY101" fmla="*/ 105320 h 143414"/>
                <a:gd name="connsiteX102" fmla="*/ 136692 w 152377"/>
                <a:gd name="connsiteY102" fmla="*/ 141174 h 143414"/>
                <a:gd name="connsiteX103" fmla="*/ 15686 w 152377"/>
                <a:gd name="connsiteY103" fmla="*/ 141174 h 143414"/>
                <a:gd name="connsiteX104" fmla="*/ 4482 w 152377"/>
                <a:gd name="connsiteY104" fmla="*/ 129969 h 143414"/>
                <a:gd name="connsiteX105" fmla="*/ 15686 w 152377"/>
                <a:gd name="connsiteY105" fmla="*/ 118765 h 143414"/>
                <a:gd name="connsiteX106" fmla="*/ 22409 w 152377"/>
                <a:gd name="connsiteY106" fmla="*/ 118765 h 143414"/>
                <a:gd name="connsiteX107" fmla="*/ 109802 w 152377"/>
                <a:gd name="connsiteY107" fmla="*/ 118765 h 143414"/>
                <a:gd name="connsiteX108" fmla="*/ 136692 w 152377"/>
                <a:gd name="connsiteY108" fmla="*/ 118765 h 143414"/>
                <a:gd name="connsiteX109" fmla="*/ 147896 w 152377"/>
                <a:gd name="connsiteY109" fmla="*/ 129969 h 143414"/>
                <a:gd name="connsiteX110" fmla="*/ 136692 w 152377"/>
                <a:gd name="connsiteY110" fmla="*/ 141174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52377" h="143414">
                  <a:moveTo>
                    <a:pt x="136692" y="114283"/>
                  </a:moveTo>
                  <a:lnTo>
                    <a:pt x="112043" y="114283"/>
                  </a:lnTo>
                  <a:lnTo>
                    <a:pt x="112043" y="105320"/>
                  </a:lnTo>
                  <a:lnTo>
                    <a:pt x="112491" y="105320"/>
                  </a:lnTo>
                  <a:cubicBezTo>
                    <a:pt x="116076" y="105320"/>
                    <a:pt x="118765" y="102631"/>
                    <a:pt x="118765" y="99942"/>
                  </a:cubicBezTo>
                  <a:lnTo>
                    <a:pt x="118765" y="93668"/>
                  </a:lnTo>
                  <a:cubicBezTo>
                    <a:pt x="118765" y="91875"/>
                    <a:pt x="117420" y="90082"/>
                    <a:pt x="115628" y="88737"/>
                  </a:cubicBezTo>
                  <a:lnTo>
                    <a:pt x="103975" y="82912"/>
                  </a:lnTo>
                  <a:cubicBezTo>
                    <a:pt x="103079" y="82463"/>
                    <a:pt x="101734" y="82015"/>
                    <a:pt x="100390" y="82015"/>
                  </a:cubicBezTo>
                  <a:lnTo>
                    <a:pt x="98149" y="82015"/>
                  </a:lnTo>
                  <a:lnTo>
                    <a:pt x="98149" y="28235"/>
                  </a:lnTo>
                  <a:cubicBezTo>
                    <a:pt x="98149" y="27338"/>
                    <a:pt x="98597" y="26442"/>
                    <a:pt x="99494" y="25994"/>
                  </a:cubicBezTo>
                  <a:lnTo>
                    <a:pt x="127729" y="5378"/>
                  </a:lnTo>
                  <a:lnTo>
                    <a:pt x="146999" y="70363"/>
                  </a:lnTo>
                  <a:lnTo>
                    <a:pt x="135795" y="74396"/>
                  </a:lnTo>
                  <a:lnTo>
                    <a:pt x="114731" y="76189"/>
                  </a:lnTo>
                  <a:cubicBezTo>
                    <a:pt x="113835" y="76189"/>
                    <a:pt x="113387" y="76637"/>
                    <a:pt x="112939" y="77533"/>
                  </a:cubicBezTo>
                  <a:cubicBezTo>
                    <a:pt x="112491" y="78430"/>
                    <a:pt x="112491" y="79326"/>
                    <a:pt x="113387" y="79774"/>
                  </a:cubicBezTo>
                  <a:lnTo>
                    <a:pt x="121454" y="90530"/>
                  </a:lnTo>
                  <a:cubicBezTo>
                    <a:pt x="122350" y="91875"/>
                    <a:pt x="123695" y="92323"/>
                    <a:pt x="125488" y="92323"/>
                  </a:cubicBezTo>
                  <a:lnTo>
                    <a:pt x="142070" y="92323"/>
                  </a:lnTo>
                  <a:cubicBezTo>
                    <a:pt x="144311" y="92323"/>
                    <a:pt x="146103" y="90978"/>
                    <a:pt x="146551" y="88737"/>
                  </a:cubicBezTo>
                  <a:lnTo>
                    <a:pt x="152378" y="72603"/>
                  </a:lnTo>
                  <a:cubicBezTo>
                    <a:pt x="152378" y="72603"/>
                    <a:pt x="152378" y="72603"/>
                    <a:pt x="152378" y="72603"/>
                  </a:cubicBezTo>
                  <a:cubicBezTo>
                    <a:pt x="152378" y="72155"/>
                    <a:pt x="152378" y="72155"/>
                    <a:pt x="152378" y="71707"/>
                  </a:cubicBezTo>
                  <a:cubicBezTo>
                    <a:pt x="152378" y="71707"/>
                    <a:pt x="152378" y="71707"/>
                    <a:pt x="152378" y="71707"/>
                  </a:cubicBezTo>
                  <a:cubicBezTo>
                    <a:pt x="152378" y="71707"/>
                    <a:pt x="152378" y="71707"/>
                    <a:pt x="152378" y="71707"/>
                  </a:cubicBezTo>
                  <a:lnTo>
                    <a:pt x="131762" y="1793"/>
                  </a:lnTo>
                  <a:cubicBezTo>
                    <a:pt x="131762" y="1793"/>
                    <a:pt x="131762" y="1793"/>
                    <a:pt x="131762" y="1344"/>
                  </a:cubicBezTo>
                  <a:cubicBezTo>
                    <a:pt x="131762" y="1344"/>
                    <a:pt x="131762" y="896"/>
                    <a:pt x="131762" y="896"/>
                  </a:cubicBezTo>
                  <a:cubicBezTo>
                    <a:pt x="131762" y="896"/>
                    <a:pt x="131762" y="896"/>
                    <a:pt x="131762" y="896"/>
                  </a:cubicBezTo>
                  <a:cubicBezTo>
                    <a:pt x="131762" y="896"/>
                    <a:pt x="131762" y="896"/>
                    <a:pt x="131314" y="448"/>
                  </a:cubicBezTo>
                  <a:cubicBezTo>
                    <a:pt x="131314" y="448"/>
                    <a:pt x="131314" y="448"/>
                    <a:pt x="130865" y="0"/>
                  </a:cubicBezTo>
                  <a:cubicBezTo>
                    <a:pt x="130865" y="0"/>
                    <a:pt x="130417" y="0"/>
                    <a:pt x="130417" y="0"/>
                  </a:cubicBezTo>
                  <a:cubicBezTo>
                    <a:pt x="130417" y="0"/>
                    <a:pt x="129969" y="0"/>
                    <a:pt x="129969" y="0"/>
                  </a:cubicBezTo>
                  <a:cubicBezTo>
                    <a:pt x="129969" y="0"/>
                    <a:pt x="129521" y="0"/>
                    <a:pt x="129521" y="0"/>
                  </a:cubicBezTo>
                  <a:cubicBezTo>
                    <a:pt x="129521" y="0"/>
                    <a:pt x="129073" y="0"/>
                    <a:pt x="129073" y="0"/>
                  </a:cubicBezTo>
                  <a:cubicBezTo>
                    <a:pt x="129073" y="0"/>
                    <a:pt x="129073" y="0"/>
                    <a:pt x="129073" y="0"/>
                  </a:cubicBezTo>
                  <a:cubicBezTo>
                    <a:pt x="129073" y="0"/>
                    <a:pt x="129073" y="0"/>
                    <a:pt x="128625" y="0"/>
                  </a:cubicBezTo>
                  <a:cubicBezTo>
                    <a:pt x="128625" y="0"/>
                    <a:pt x="128177" y="0"/>
                    <a:pt x="128177" y="0"/>
                  </a:cubicBezTo>
                  <a:lnTo>
                    <a:pt x="97253" y="22409"/>
                  </a:lnTo>
                  <a:cubicBezTo>
                    <a:pt x="95460" y="23753"/>
                    <a:pt x="94116" y="25994"/>
                    <a:pt x="94116" y="28235"/>
                  </a:cubicBezTo>
                  <a:lnTo>
                    <a:pt x="94116" y="82015"/>
                  </a:lnTo>
                  <a:lnTo>
                    <a:pt x="85152" y="82015"/>
                  </a:lnTo>
                  <a:lnTo>
                    <a:pt x="85152" y="74844"/>
                  </a:lnTo>
                  <a:cubicBezTo>
                    <a:pt x="85152" y="73051"/>
                    <a:pt x="84704" y="71259"/>
                    <a:pt x="83808" y="69466"/>
                  </a:cubicBezTo>
                  <a:lnTo>
                    <a:pt x="63640" y="31372"/>
                  </a:lnTo>
                  <a:lnTo>
                    <a:pt x="68122" y="31372"/>
                  </a:lnTo>
                  <a:cubicBezTo>
                    <a:pt x="69466" y="31372"/>
                    <a:pt x="70363" y="30476"/>
                    <a:pt x="70363" y="29131"/>
                  </a:cubicBezTo>
                  <a:cubicBezTo>
                    <a:pt x="70363" y="27786"/>
                    <a:pt x="69466" y="26890"/>
                    <a:pt x="68122" y="26890"/>
                  </a:cubicBezTo>
                  <a:lnTo>
                    <a:pt x="60054" y="26890"/>
                  </a:lnTo>
                  <a:lnTo>
                    <a:pt x="15237" y="26890"/>
                  </a:lnTo>
                  <a:lnTo>
                    <a:pt x="8515" y="26890"/>
                  </a:lnTo>
                  <a:cubicBezTo>
                    <a:pt x="7171" y="26890"/>
                    <a:pt x="6274" y="27786"/>
                    <a:pt x="6274" y="29131"/>
                  </a:cubicBezTo>
                  <a:cubicBezTo>
                    <a:pt x="6274" y="30476"/>
                    <a:pt x="7171" y="31372"/>
                    <a:pt x="8515" y="31372"/>
                  </a:cubicBezTo>
                  <a:lnTo>
                    <a:pt x="12996" y="31372"/>
                  </a:lnTo>
                  <a:lnTo>
                    <a:pt x="13445" y="98597"/>
                  </a:lnTo>
                  <a:cubicBezTo>
                    <a:pt x="13445" y="102183"/>
                    <a:pt x="16582" y="105320"/>
                    <a:pt x="20168" y="105320"/>
                  </a:cubicBezTo>
                  <a:lnTo>
                    <a:pt x="20168" y="114283"/>
                  </a:lnTo>
                  <a:lnTo>
                    <a:pt x="15686" y="114283"/>
                  </a:lnTo>
                  <a:cubicBezTo>
                    <a:pt x="7171" y="114283"/>
                    <a:pt x="0" y="121454"/>
                    <a:pt x="0" y="129969"/>
                  </a:cubicBezTo>
                  <a:cubicBezTo>
                    <a:pt x="0" y="138485"/>
                    <a:pt x="7171" y="145655"/>
                    <a:pt x="15686" y="145655"/>
                  </a:cubicBezTo>
                  <a:lnTo>
                    <a:pt x="136692" y="145655"/>
                  </a:lnTo>
                  <a:cubicBezTo>
                    <a:pt x="145207" y="145655"/>
                    <a:pt x="152378" y="138485"/>
                    <a:pt x="152378" y="129969"/>
                  </a:cubicBezTo>
                  <a:cubicBezTo>
                    <a:pt x="152378" y="121454"/>
                    <a:pt x="145207" y="114283"/>
                    <a:pt x="136692" y="114283"/>
                  </a:cubicBezTo>
                  <a:close/>
                  <a:moveTo>
                    <a:pt x="142070" y="86945"/>
                  </a:moveTo>
                  <a:cubicBezTo>
                    <a:pt x="142070" y="86945"/>
                    <a:pt x="142070" y="87393"/>
                    <a:pt x="142070" y="86945"/>
                  </a:cubicBezTo>
                  <a:lnTo>
                    <a:pt x="124591" y="86945"/>
                  </a:lnTo>
                  <a:lnTo>
                    <a:pt x="119213" y="79774"/>
                  </a:lnTo>
                  <a:lnTo>
                    <a:pt x="136692" y="78430"/>
                  </a:lnTo>
                  <a:cubicBezTo>
                    <a:pt x="136692" y="78430"/>
                    <a:pt x="137140" y="78430"/>
                    <a:pt x="137140" y="78430"/>
                  </a:cubicBezTo>
                  <a:lnTo>
                    <a:pt x="146103" y="75292"/>
                  </a:lnTo>
                  <a:lnTo>
                    <a:pt x="142070" y="86945"/>
                  </a:lnTo>
                  <a:close/>
                  <a:moveTo>
                    <a:pt x="96357" y="86497"/>
                  </a:moveTo>
                  <a:cubicBezTo>
                    <a:pt x="96357" y="86497"/>
                    <a:pt x="96357" y="86497"/>
                    <a:pt x="96357" y="86497"/>
                  </a:cubicBezTo>
                  <a:cubicBezTo>
                    <a:pt x="96357" y="86497"/>
                    <a:pt x="96357" y="86497"/>
                    <a:pt x="96357" y="86497"/>
                  </a:cubicBezTo>
                  <a:lnTo>
                    <a:pt x="100838" y="86497"/>
                  </a:lnTo>
                  <a:cubicBezTo>
                    <a:pt x="101286" y="86497"/>
                    <a:pt x="101734" y="86497"/>
                    <a:pt x="102182" y="86945"/>
                  </a:cubicBezTo>
                  <a:lnTo>
                    <a:pt x="113835" y="92771"/>
                  </a:lnTo>
                  <a:cubicBezTo>
                    <a:pt x="114283" y="93219"/>
                    <a:pt x="114283" y="93219"/>
                    <a:pt x="114283" y="93668"/>
                  </a:cubicBezTo>
                  <a:lnTo>
                    <a:pt x="114283" y="99942"/>
                  </a:lnTo>
                  <a:cubicBezTo>
                    <a:pt x="114283" y="100390"/>
                    <a:pt x="113387" y="100838"/>
                    <a:pt x="112491" y="100838"/>
                  </a:cubicBezTo>
                  <a:lnTo>
                    <a:pt x="85152" y="100838"/>
                  </a:lnTo>
                  <a:lnTo>
                    <a:pt x="85152" y="86497"/>
                  </a:lnTo>
                  <a:lnTo>
                    <a:pt x="96357" y="86497"/>
                  </a:lnTo>
                  <a:close/>
                  <a:moveTo>
                    <a:pt x="17927" y="98597"/>
                  </a:moveTo>
                  <a:lnTo>
                    <a:pt x="17478" y="31372"/>
                  </a:lnTo>
                  <a:lnTo>
                    <a:pt x="58710" y="31372"/>
                  </a:lnTo>
                  <a:lnTo>
                    <a:pt x="79774" y="71707"/>
                  </a:lnTo>
                  <a:cubicBezTo>
                    <a:pt x="80222" y="72603"/>
                    <a:pt x="80671" y="73948"/>
                    <a:pt x="80671" y="74844"/>
                  </a:cubicBezTo>
                  <a:lnTo>
                    <a:pt x="80671" y="84256"/>
                  </a:lnTo>
                  <a:cubicBezTo>
                    <a:pt x="80671" y="84256"/>
                    <a:pt x="80671" y="84256"/>
                    <a:pt x="80671" y="84256"/>
                  </a:cubicBezTo>
                  <a:lnTo>
                    <a:pt x="80671" y="100838"/>
                  </a:lnTo>
                  <a:lnTo>
                    <a:pt x="22409" y="100838"/>
                  </a:lnTo>
                  <a:lnTo>
                    <a:pt x="20168" y="100838"/>
                  </a:lnTo>
                  <a:cubicBezTo>
                    <a:pt x="18823" y="100838"/>
                    <a:pt x="17927" y="99942"/>
                    <a:pt x="17927" y="98597"/>
                  </a:cubicBezTo>
                  <a:close/>
                  <a:moveTo>
                    <a:pt x="24649" y="105320"/>
                  </a:moveTo>
                  <a:lnTo>
                    <a:pt x="82911" y="105320"/>
                  </a:lnTo>
                  <a:lnTo>
                    <a:pt x="107561" y="105320"/>
                  </a:lnTo>
                  <a:lnTo>
                    <a:pt x="107561" y="114283"/>
                  </a:lnTo>
                  <a:lnTo>
                    <a:pt x="24649" y="114283"/>
                  </a:lnTo>
                  <a:lnTo>
                    <a:pt x="24649" y="105320"/>
                  </a:lnTo>
                  <a:close/>
                  <a:moveTo>
                    <a:pt x="136692" y="141174"/>
                  </a:moveTo>
                  <a:lnTo>
                    <a:pt x="15686" y="141174"/>
                  </a:lnTo>
                  <a:cubicBezTo>
                    <a:pt x="9411" y="141174"/>
                    <a:pt x="4482" y="136244"/>
                    <a:pt x="4482" y="129969"/>
                  </a:cubicBezTo>
                  <a:cubicBezTo>
                    <a:pt x="4482" y="123695"/>
                    <a:pt x="9411" y="118765"/>
                    <a:pt x="15686" y="118765"/>
                  </a:cubicBezTo>
                  <a:lnTo>
                    <a:pt x="22409" y="118765"/>
                  </a:lnTo>
                  <a:lnTo>
                    <a:pt x="109802" y="118765"/>
                  </a:lnTo>
                  <a:lnTo>
                    <a:pt x="136692" y="118765"/>
                  </a:lnTo>
                  <a:cubicBezTo>
                    <a:pt x="142966" y="118765"/>
                    <a:pt x="147896" y="123695"/>
                    <a:pt x="147896" y="129969"/>
                  </a:cubicBezTo>
                  <a:cubicBezTo>
                    <a:pt x="147896" y="136244"/>
                    <a:pt x="142966" y="141174"/>
                    <a:pt x="136692" y="141174"/>
                  </a:cubicBezTo>
                  <a:close/>
                </a:path>
              </a:pathLst>
            </a:custGeom>
            <a:solidFill>
              <a:srgbClr val="231F20"/>
            </a:solidFill>
            <a:ln w="4477" cap="flat">
              <a:noFill/>
              <a:prstDash val="solid"/>
              <a:miter/>
            </a:ln>
          </p:spPr>
          <p:txBody>
            <a:bodyPr rtlCol="0" anchor="ctr"/>
            <a:lstStyle/>
            <a:p>
              <a:endParaRPr lang="en-US"/>
            </a:p>
          </p:txBody>
        </p:sp>
      </p:grpSp>
      <p:sp>
        <p:nvSpPr>
          <p:cNvPr id="3761" name="Freeform: Shape 3760">
            <a:extLst>
              <a:ext uri="{FF2B5EF4-FFF2-40B4-BE49-F238E27FC236}">
                <a16:creationId xmlns:a16="http://schemas.microsoft.com/office/drawing/2014/main" id="{4E664E2D-85B4-499E-AD7D-31282E75AB97}"/>
              </a:ext>
              <a:ext uri="{C183D7F6-B498-43B3-948B-1728B52AA6E4}">
                <adec:decorative xmlns:adec="http://schemas.microsoft.com/office/drawing/2017/decorative" val="1"/>
              </a:ext>
            </a:extLst>
          </p:cNvPr>
          <p:cNvSpPr>
            <a:spLocks noChangeAspect="1"/>
          </p:cNvSpPr>
          <p:nvPr/>
        </p:nvSpPr>
        <p:spPr>
          <a:xfrm>
            <a:off x="3481724" y="2755577"/>
            <a:ext cx="134451" cy="152378"/>
          </a:xfrm>
          <a:custGeom>
            <a:avLst/>
            <a:gdLst>
              <a:gd name="connsiteX0" fmla="*/ 135796 w 134451"/>
              <a:gd name="connsiteY0" fmla="*/ 59159 h 152377"/>
              <a:gd name="connsiteX1" fmla="*/ 130865 w 134451"/>
              <a:gd name="connsiteY1" fmla="*/ 54228 h 152377"/>
              <a:gd name="connsiteX2" fmla="*/ 133106 w 134451"/>
              <a:gd name="connsiteY2" fmla="*/ 48851 h 152377"/>
              <a:gd name="connsiteX3" fmla="*/ 126384 w 134451"/>
              <a:gd name="connsiteY3" fmla="*/ 40335 h 152377"/>
              <a:gd name="connsiteX4" fmla="*/ 126384 w 134451"/>
              <a:gd name="connsiteY4" fmla="*/ 17479 h 152377"/>
              <a:gd name="connsiteX5" fmla="*/ 133106 w 134451"/>
              <a:gd name="connsiteY5" fmla="*/ 8963 h 152377"/>
              <a:gd name="connsiteX6" fmla="*/ 124143 w 134451"/>
              <a:gd name="connsiteY6" fmla="*/ 0 h 152377"/>
              <a:gd name="connsiteX7" fmla="*/ 115180 w 134451"/>
              <a:gd name="connsiteY7" fmla="*/ 8067 h 152377"/>
              <a:gd name="connsiteX8" fmla="*/ 60951 w 134451"/>
              <a:gd name="connsiteY8" fmla="*/ 62296 h 152377"/>
              <a:gd name="connsiteX9" fmla="*/ 60055 w 134451"/>
              <a:gd name="connsiteY9" fmla="*/ 61848 h 152377"/>
              <a:gd name="connsiteX10" fmla="*/ 52884 w 134451"/>
              <a:gd name="connsiteY10" fmla="*/ 63192 h 152377"/>
              <a:gd name="connsiteX11" fmla="*/ 43024 w 134451"/>
              <a:gd name="connsiteY11" fmla="*/ 73052 h 152377"/>
              <a:gd name="connsiteX12" fmla="*/ 38991 w 134451"/>
              <a:gd name="connsiteY12" fmla="*/ 69018 h 152377"/>
              <a:gd name="connsiteX13" fmla="*/ 34061 w 134451"/>
              <a:gd name="connsiteY13" fmla="*/ 67226 h 152377"/>
              <a:gd name="connsiteX14" fmla="*/ 20168 w 134451"/>
              <a:gd name="connsiteY14" fmla="*/ 67226 h 152377"/>
              <a:gd name="connsiteX15" fmla="*/ 13445 w 134451"/>
              <a:gd name="connsiteY15" fmla="*/ 73948 h 152377"/>
              <a:gd name="connsiteX16" fmla="*/ 13445 w 134451"/>
              <a:gd name="connsiteY16" fmla="*/ 107561 h 152377"/>
              <a:gd name="connsiteX17" fmla="*/ 6723 w 134451"/>
              <a:gd name="connsiteY17" fmla="*/ 107561 h 152377"/>
              <a:gd name="connsiteX18" fmla="*/ 0 w 134451"/>
              <a:gd name="connsiteY18" fmla="*/ 114283 h 152377"/>
              <a:gd name="connsiteX19" fmla="*/ 0 w 134451"/>
              <a:gd name="connsiteY19" fmla="*/ 127729 h 152377"/>
              <a:gd name="connsiteX20" fmla="*/ 4482 w 134451"/>
              <a:gd name="connsiteY20" fmla="*/ 132210 h 152377"/>
              <a:gd name="connsiteX21" fmla="*/ 6723 w 134451"/>
              <a:gd name="connsiteY21" fmla="*/ 132210 h 152377"/>
              <a:gd name="connsiteX22" fmla="*/ 6723 w 134451"/>
              <a:gd name="connsiteY22" fmla="*/ 147896 h 152377"/>
              <a:gd name="connsiteX23" fmla="*/ 2241 w 134451"/>
              <a:gd name="connsiteY23" fmla="*/ 147896 h 152377"/>
              <a:gd name="connsiteX24" fmla="*/ 0 w 134451"/>
              <a:gd name="connsiteY24" fmla="*/ 150137 h 152377"/>
              <a:gd name="connsiteX25" fmla="*/ 2241 w 134451"/>
              <a:gd name="connsiteY25" fmla="*/ 152378 h 152377"/>
              <a:gd name="connsiteX26" fmla="*/ 15686 w 134451"/>
              <a:gd name="connsiteY26" fmla="*/ 152378 h 152377"/>
              <a:gd name="connsiteX27" fmla="*/ 17927 w 134451"/>
              <a:gd name="connsiteY27" fmla="*/ 150137 h 152377"/>
              <a:gd name="connsiteX28" fmla="*/ 15686 w 134451"/>
              <a:gd name="connsiteY28" fmla="*/ 147896 h 152377"/>
              <a:gd name="connsiteX29" fmla="*/ 11204 w 134451"/>
              <a:gd name="connsiteY29" fmla="*/ 147896 h 152377"/>
              <a:gd name="connsiteX30" fmla="*/ 11204 w 134451"/>
              <a:gd name="connsiteY30" fmla="*/ 132210 h 152377"/>
              <a:gd name="connsiteX31" fmla="*/ 21064 w 134451"/>
              <a:gd name="connsiteY31" fmla="*/ 132210 h 152377"/>
              <a:gd name="connsiteX32" fmla="*/ 20168 w 134451"/>
              <a:gd name="connsiteY32" fmla="*/ 136692 h 152377"/>
              <a:gd name="connsiteX33" fmla="*/ 35854 w 134451"/>
              <a:gd name="connsiteY33" fmla="*/ 152378 h 152377"/>
              <a:gd name="connsiteX34" fmla="*/ 51540 w 134451"/>
              <a:gd name="connsiteY34" fmla="*/ 136692 h 152377"/>
              <a:gd name="connsiteX35" fmla="*/ 50643 w 134451"/>
              <a:gd name="connsiteY35" fmla="*/ 132210 h 152377"/>
              <a:gd name="connsiteX36" fmla="*/ 74396 w 134451"/>
              <a:gd name="connsiteY36" fmla="*/ 132210 h 152377"/>
              <a:gd name="connsiteX37" fmla="*/ 73500 w 134451"/>
              <a:gd name="connsiteY37" fmla="*/ 136692 h 152377"/>
              <a:gd name="connsiteX38" fmla="*/ 89186 w 134451"/>
              <a:gd name="connsiteY38" fmla="*/ 152378 h 152377"/>
              <a:gd name="connsiteX39" fmla="*/ 104872 w 134451"/>
              <a:gd name="connsiteY39" fmla="*/ 136692 h 152377"/>
              <a:gd name="connsiteX40" fmla="*/ 103975 w 134451"/>
              <a:gd name="connsiteY40" fmla="*/ 132210 h 152377"/>
              <a:gd name="connsiteX41" fmla="*/ 113835 w 134451"/>
              <a:gd name="connsiteY41" fmla="*/ 132210 h 152377"/>
              <a:gd name="connsiteX42" fmla="*/ 113835 w 134451"/>
              <a:gd name="connsiteY42" fmla="*/ 147896 h 152377"/>
              <a:gd name="connsiteX43" fmla="*/ 109353 w 134451"/>
              <a:gd name="connsiteY43" fmla="*/ 147896 h 152377"/>
              <a:gd name="connsiteX44" fmla="*/ 107113 w 134451"/>
              <a:gd name="connsiteY44" fmla="*/ 150137 h 152377"/>
              <a:gd name="connsiteX45" fmla="*/ 109353 w 134451"/>
              <a:gd name="connsiteY45" fmla="*/ 152378 h 152377"/>
              <a:gd name="connsiteX46" fmla="*/ 122798 w 134451"/>
              <a:gd name="connsiteY46" fmla="*/ 152378 h 152377"/>
              <a:gd name="connsiteX47" fmla="*/ 125039 w 134451"/>
              <a:gd name="connsiteY47" fmla="*/ 150137 h 152377"/>
              <a:gd name="connsiteX48" fmla="*/ 122798 w 134451"/>
              <a:gd name="connsiteY48" fmla="*/ 147896 h 152377"/>
              <a:gd name="connsiteX49" fmla="*/ 118317 w 134451"/>
              <a:gd name="connsiteY49" fmla="*/ 147896 h 152377"/>
              <a:gd name="connsiteX50" fmla="*/ 118317 w 134451"/>
              <a:gd name="connsiteY50" fmla="*/ 132210 h 152377"/>
              <a:gd name="connsiteX51" fmla="*/ 120558 w 134451"/>
              <a:gd name="connsiteY51" fmla="*/ 132210 h 152377"/>
              <a:gd name="connsiteX52" fmla="*/ 125039 w 134451"/>
              <a:gd name="connsiteY52" fmla="*/ 127729 h 152377"/>
              <a:gd name="connsiteX53" fmla="*/ 125039 w 134451"/>
              <a:gd name="connsiteY53" fmla="*/ 123247 h 152377"/>
              <a:gd name="connsiteX54" fmla="*/ 109353 w 134451"/>
              <a:gd name="connsiteY54" fmla="*/ 107561 h 152377"/>
              <a:gd name="connsiteX55" fmla="*/ 57814 w 134451"/>
              <a:gd name="connsiteY55" fmla="*/ 107561 h 152377"/>
              <a:gd name="connsiteX56" fmla="*/ 57814 w 134451"/>
              <a:gd name="connsiteY56" fmla="*/ 91427 h 152377"/>
              <a:gd name="connsiteX57" fmla="*/ 56021 w 134451"/>
              <a:gd name="connsiteY57" fmla="*/ 86497 h 152377"/>
              <a:gd name="connsiteX58" fmla="*/ 52436 w 134451"/>
              <a:gd name="connsiteY58" fmla="*/ 82912 h 152377"/>
              <a:gd name="connsiteX59" fmla="*/ 64985 w 134451"/>
              <a:gd name="connsiteY59" fmla="*/ 70363 h 152377"/>
              <a:gd name="connsiteX60" fmla="*/ 66329 w 134451"/>
              <a:gd name="connsiteY60" fmla="*/ 66329 h 152377"/>
              <a:gd name="connsiteX61" fmla="*/ 64536 w 134451"/>
              <a:gd name="connsiteY61" fmla="*/ 63641 h 152377"/>
              <a:gd name="connsiteX62" fmla="*/ 115180 w 134451"/>
              <a:gd name="connsiteY62" fmla="*/ 12997 h 152377"/>
              <a:gd name="connsiteX63" fmla="*/ 120558 w 134451"/>
              <a:gd name="connsiteY63" fmla="*/ 17479 h 152377"/>
              <a:gd name="connsiteX64" fmla="*/ 120558 w 134451"/>
              <a:gd name="connsiteY64" fmla="*/ 40783 h 152377"/>
              <a:gd name="connsiteX65" fmla="*/ 113835 w 134451"/>
              <a:gd name="connsiteY65" fmla="*/ 49299 h 152377"/>
              <a:gd name="connsiteX66" fmla="*/ 115628 w 134451"/>
              <a:gd name="connsiteY66" fmla="*/ 54677 h 152377"/>
              <a:gd name="connsiteX67" fmla="*/ 110698 w 134451"/>
              <a:gd name="connsiteY67" fmla="*/ 59607 h 152377"/>
              <a:gd name="connsiteX68" fmla="*/ 110250 w 134451"/>
              <a:gd name="connsiteY68" fmla="*/ 62296 h 152377"/>
              <a:gd name="connsiteX69" fmla="*/ 116524 w 134451"/>
              <a:gd name="connsiteY69" fmla="*/ 73052 h 152377"/>
              <a:gd name="connsiteX70" fmla="*/ 118317 w 134451"/>
              <a:gd name="connsiteY70" fmla="*/ 73948 h 152377"/>
              <a:gd name="connsiteX71" fmla="*/ 119661 w 134451"/>
              <a:gd name="connsiteY71" fmla="*/ 73500 h 152377"/>
              <a:gd name="connsiteX72" fmla="*/ 120558 w 134451"/>
              <a:gd name="connsiteY72" fmla="*/ 70363 h 152377"/>
              <a:gd name="connsiteX73" fmla="*/ 114731 w 134451"/>
              <a:gd name="connsiteY73" fmla="*/ 60951 h 152377"/>
              <a:gd name="connsiteX74" fmla="*/ 118765 w 134451"/>
              <a:gd name="connsiteY74" fmla="*/ 56918 h 152377"/>
              <a:gd name="connsiteX75" fmla="*/ 122350 w 134451"/>
              <a:gd name="connsiteY75" fmla="*/ 57814 h 152377"/>
              <a:gd name="connsiteX76" fmla="*/ 125488 w 134451"/>
              <a:gd name="connsiteY76" fmla="*/ 57366 h 152377"/>
              <a:gd name="connsiteX77" fmla="*/ 129521 w 134451"/>
              <a:gd name="connsiteY77" fmla="*/ 61400 h 152377"/>
              <a:gd name="connsiteX78" fmla="*/ 124143 w 134451"/>
              <a:gd name="connsiteY78" fmla="*/ 70363 h 152377"/>
              <a:gd name="connsiteX79" fmla="*/ 125039 w 134451"/>
              <a:gd name="connsiteY79" fmla="*/ 73500 h 152377"/>
              <a:gd name="connsiteX80" fmla="*/ 126384 w 134451"/>
              <a:gd name="connsiteY80" fmla="*/ 73948 h 152377"/>
              <a:gd name="connsiteX81" fmla="*/ 128177 w 134451"/>
              <a:gd name="connsiteY81" fmla="*/ 73052 h 152377"/>
              <a:gd name="connsiteX82" fmla="*/ 134451 w 134451"/>
              <a:gd name="connsiteY82" fmla="*/ 62744 h 152377"/>
              <a:gd name="connsiteX83" fmla="*/ 135796 w 134451"/>
              <a:gd name="connsiteY83" fmla="*/ 59159 h 152377"/>
              <a:gd name="connsiteX84" fmla="*/ 36750 w 134451"/>
              <a:gd name="connsiteY84" fmla="*/ 147000 h 152377"/>
              <a:gd name="connsiteX85" fmla="*/ 25545 w 134451"/>
              <a:gd name="connsiteY85" fmla="*/ 135796 h 152377"/>
              <a:gd name="connsiteX86" fmla="*/ 36750 w 134451"/>
              <a:gd name="connsiteY86" fmla="*/ 124592 h 152377"/>
              <a:gd name="connsiteX87" fmla="*/ 47954 w 134451"/>
              <a:gd name="connsiteY87" fmla="*/ 135796 h 152377"/>
              <a:gd name="connsiteX88" fmla="*/ 36750 w 134451"/>
              <a:gd name="connsiteY88" fmla="*/ 147000 h 152377"/>
              <a:gd name="connsiteX89" fmla="*/ 90530 w 134451"/>
              <a:gd name="connsiteY89" fmla="*/ 147000 h 152377"/>
              <a:gd name="connsiteX90" fmla="*/ 79326 w 134451"/>
              <a:gd name="connsiteY90" fmla="*/ 135796 h 152377"/>
              <a:gd name="connsiteX91" fmla="*/ 90530 w 134451"/>
              <a:gd name="connsiteY91" fmla="*/ 124592 h 152377"/>
              <a:gd name="connsiteX92" fmla="*/ 101734 w 134451"/>
              <a:gd name="connsiteY92" fmla="*/ 135796 h 152377"/>
              <a:gd name="connsiteX93" fmla="*/ 90530 w 134451"/>
              <a:gd name="connsiteY93" fmla="*/ 147000 h 152377"/>
              <a:gd name="connsiteX94" fmla="*/ 121902 w 134451"/>
              <a:gd name="connsiteY94" fmla="*/ 122351 h 152377"/>
              <a:gd name="connsiteX95" fmla="*/ 121902 w 134451"/>
              <a:gd name="connsiteY95" fmla="*/ 126832 h 152377"/>
              <a:gd name="connsiteX96" fmla="*/ 103527 w 134451"/>
              <a:gd name="connsiteY96" fmla="*/ 126832 h 152377"/>
              <a:gd name="connsiteX97" fmla="*/ 90530 w 134451"/>
              <a:gd name="connsiteY97" fmla="*/ 120110 h 152377"/>
              <a:gd name="connsiteX98" fmla="*/ 77533 w 134451"/>
              <a:gd name="connsiteY98" fmla="*/ 126832 h 152377"/>
              <a:gd name="connsiteX99" fmla="*/ 49299 w 134451"/>
              <a:gd name="connsiteY99" fmla="*/ 126832 h 152377"/>
              <a:gd name="connsiteX100" fmla="*/ 36302 w 134451"/>
              <a:gd name="connsiteY100" fmla="*/ 120110 h 152377"/>
              <a:gd name="connsiteX101" fmla="*/ 23305 w 134451"/>
              <a:gd name="connsiteY101" fmla="*/ 126832 h 152377"/>
              <a:gd name="connsiteX102" fmla="*/ 4930 w 134451"/>
              <a:gd name="connsiteY102" fmla="*/ 126832 h 152377"/>
              <a:gd name="connsiteX103" fmla="*/ 4930 w 134451"/>
              <a:gd name="connsiteY103" fmla="*/ 113387 h 152377"/>
              <a:gd name="connsiteX104" fmla="*/ 7171 w 134451"/>
              <a:gd name="connsiteY104" fmla="*/ 111146 h 152377"/>
              <a:gd name="connsiteX105" fmla="*/ 16134 w 134451"/>
              <a:gd name="connsiteY105" fmla="*/ 111146 h 152377"/>
              <a:gd name="connsiteX106" fmla="*/ 56469 w 134451"/>
              <a:gd name="connsiteY106" fmla="*/ 111146 h 152377"/>
              <a:gd name="connsiteX107" fmla="*/ 110250 w 134451"/>
              <a:gd name="connsiteY107" fmla="*/ 111146 h 152377"/>
              <a:gd name="connsiteX108" fmla="*/ 121902 w 134451"/>
              <a:gd name="connsiteY108" fmla="*/ 122351 h 152377"/>
              <a:gd name="connsiteX109" fmla="*/ 54677 w 134451"/>
              <a:gd name="connsiteY109" fmla="*/ 90531 h 152377"/>
              <a:gd name="connsiteX110" fmla="*/ 54677 w 134451"/>
              <a:gd name="connsiteY110" fmla="*/ 106665 h 152377"/>
              <a:gd name="connsiteX111" fmla="*/ 18823 w 134451"/>
              <a:gd name="connsiteY111" fmla="*/ 106665 h 152377"/>
              <a:gd name="connsiteX112" fmla="*/ 18823 w 134451"/>
              <a:gd name="connsiteY112" fmla="*/ 73052 h 152377"/>
              <a:gd name="connsiteX113" fmla="*/ 21064 w 134451"/>
              <a:gd name="connsiteY113" fmla="*/ 70811 h 152377"/>
              <a:gd name="connsiteX114" fmla="*/ 34957 w 134451"/>
              <a:gd name="connsiteY114" fmla="*/ 70811 h 152377"/>
              <a:gd name="connsiteX115" fmla="*/ 36750 w 134451"/>
              <a:gd name="connsiteY115" fmla="*/ 71259 h 152377"/>
              <a:gd name="connsiteX116" fmla="*/ 54228 w 134451"/>
              <a:gd name="connsiteY116" fmla="*/ 88738 h 152377"/>
              <a:gd name="connsiteX117" fmla="*/ 54677 w 134451"/>
              <a:gd name="connsiteY117" fmla="*/ 90531 h 152377"/>
              <a:gd name="connsiteX118" fmla="*/ 50195 w 134451"/>
              <a:gd name="connsiteY118" fmla="*/ 78878 h 152377"/>
              <a:gd name="connsiteX119" fmla="*/ 46610 w 134451"/>
              <a:gd name="connsiteY119" fmla="*/ 75293 h 152377"/>
              <a:gd name="connsiteX120" fmla="*/ 56469 w 134451"/>
              <a:gd name="connsiteY120" fmla="*/ 65433 h 152377"/>
              <a:gd name="connsiteX121" fmla="*/ 58710 w 134451"/>
              <a:gd name="connsiteY121" fmla="*/ 64985 h 152377"/>
              <a:gd name="connsiteX122" fmla="*/ 60951 w 134451"/>
              <a:gd name="connsiteY122" fmla="*/ 65881 h 152377"/>
              <a:gd name="connsiteX123" fmla="*/ 60951 w 134451"/>
              <a:gd name="connsiteY123" fmla="*/ 65881 h 152377"/>
              <a:gd name="connsiteX124" fmla="*/ 62744 w 134451"/>
              <a:gd name="connsiteY124" fmla="*/ 66329 h 152377"/>
              <a:gd name="connsiteX125" fmla="*/ 62744 w 134451"/>
              <a:gd name="connsiteY125" fmla="*/ 66329 h 152377"/>
              <a:gd name="connsiteX126" fmla="*/ 50195 w 134451"/>
              <a:gd name="connsiteY126" fmla="*/ 78878 h 152377"/>
              <a:gd name="connsiteX127" fmla="*/ 119661 w 134451"/>
              <a:gd name="connsiteY127" fmla="*/ 8067 h 152377"/>
              <a:gd name="connsiteX128" fmla="*/ 124143 w 134451"/>
              <a:gd name="connsiteY128" fmla="*/ 3586 h 152377"/>
              <a:gd name="connsiteX129" fmla="*/ 128625 w 134451"/>
              <a:gd name="connsiteY129" fmla="*/ 8067 h 152377"/>
              <a:gd name="connsiteX130" fmla="*/ 124143 w 134451"/>
              <a:gd name="connsiteY130" fmla="*/ 12549 h 152377"/>
              <a:gd name="connsiteX131" fmla="*/ 119661 w 134451"/>
              <a:gd name="connsiteY131" fmla="*/ 8067 h 152377"/>
              <a:gd name="connsiteX132" fmla="*/ 119661 w 134451"/>
              <a:gd name="connsiteY132" fmla="*/ 48403 h 152377"/>
              <a:gd name="connsiteX133" fmla="*/ 124143 w 134451"/>
              <a:gd name="connsiteY133" fmla="*/ 43921 h 152377"/>
              <a:gd name="connsiteX134" fmla="*/ 128625 w 134451"/>
              <a:gd name="connsiteY134" fmla="*/ 48403 h 152377"/>
              <a:gd name="connsiteX135" fmla="*/ 124143 w 134451"/>
              <a:gd name="connsiteY135" fmla="*/ 52884 h 152377"/>
              <a:gd name="connsiteX136" fmla="*/ 119661 w 134451"/>
              <a:gd name="connsiteY136" fmla="*/ 4840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34451" h="152377">
                <a:moveTo>
                  <a:pt x="135796" y="59159"/>
                </a:moveTo>
                <a:lnTo>
                  <a:pt x="130865" y="54228"/>
                </a:lnTo>
                <a:cubicBezTo>
                  <a:pt x="132210" y="52884"/>
                  <a:pt x="133106" y="50643"/>
                  <a:pt x="133106" y="48851"/>
                </a:cubicBezTo>
                <a:cubicBezTo>
                  <a:pt x="133106" y="44817"/>
                  <a:pt x="130417" y="41232"/>
                  <a:pt x="126384" y="40335"/>
                </a:cubicBezTo>
                <a:lnTo>
                  <a:pt x="126384" y="17479"/>
                </a:lnTo>
                <a:cubicBezTo>
                  <a:pt x="130417" y="16582"/>
                  <a:pt x="133106" y="12997"/>
                  <a:pt x="133106" y="8963"/>
                </a:cubicBezTo>
                <a:cubicBezTo>
                  <a:pt x="133106" y="4034"/>
                  <a:pt x="129073" y="0"/>
                  <a:pt x="124143" y="0"/>
                </a:cubicBezTo>
                <a:cubicBezTo>
                  <a:pt x="119661" y="0"/>
                  <a:pt x="115628" y="3586"/>
                  <a:pt x="115180" y="8067"/>
                </a:cubicBezTo>
                <a:lnTo>
                  <a:pt x="60951" y="62296"/>
                </a:lnTo>
                <a:lnTo>
                  <a:pt x="60055" y="61848"/>
                </a:lnTo>
                <a:cubicBezTo>
                  <a:pt x="57366" y="60951"/>
                  <a:pt x="54677" y="61400"/>
                  <a:pt x="52884" y="63192"/>
                </a:cubicBezTo>
                <a:lnTo>
                  <a:pt x="43024" y="73052"/>
                </a:lnTo>
                <a:lnTo>
                  <a:pt x="38991" y="69018"/>
                </a:lnTo>
                <a:cubicBezTo>
                  <a:pt x="37646" y="67674"/>
                  <a:pt x="35854" y="67226"/>
                  <a:pt x="34061" y="67226"/>
                </a:cubicBezTo>
                <a:lnTo>
                  <a:pt x="20168" y="67226"/>
                </a:lnTo>
                <a:cubicBezTo>
                  <a:pt x="16582" y="67226"/>
                  <a:pt x="13445" y="70363"/>
                  <a:pt x="13445" y="73948"/>
                </a:cubicBezTo>
                <a:lnTo>
                  <a:pt x="13445" y="107561"/>
                </a:lnTo>
                <a:lnTo>
                  <a:pt x="6723" y="107561"/>
                </a:lnTo>
                <a:cubicBezTo>
                  <a:pt x="3137" y="107561"/>
                  <a:pt x="0" y="110698"/>
                  <a:pt x="0" y="114283"/>
                </a:cubicBezTo>
                <a:lnTo>
                  <a:pt x="0" y="127729"/>
                </a:lnTo>
                <a:cubicBezTo>
                  <a:pt x="0" y="130417"/>
                  <a:pt x="1793" y="132210"/>
                  <a:pt x="4482" y="132210"/>
                </a:cubicBezTo>
                <a:lnTo>
                  <a:pt x="6723" y="132210"/>
                </a:lnTo>
                <a:lnTo>
                  <a:pt x="6723" y="147896"/>
                </a:lnTo>
                <a:lnTo>
                  <a:pt x="2241" y="147896"/>
                </a:lnTo>
                <a:cubicBezTo>
                  <a:pt x="896" y="147896"/>
                  <a:pt x="0" y="148793"/>
                  <a:pt x="0" y="150137"/>
                </a:cubicBezTo>
                <a:cubicBezTo>
                  <a:pt x="0" y="151482"/>
                  <a:pt x="896" y="152378"/>
                  <a:pt x="2241" y="152378"/>
                </a:cubicBezTo>
                <a:lnTo>
                  <a:pt x="15686" y="152378"/>
                </a:lnTo>
                <a:cubicBezTo>
                  <a:pt x="17030" y="152378"/>
                  <a:pt x="17927" y="151482"/>
                  <a:pt x="17927" y="150137"/>
                </a:cubicBezTo>
                <a:cubicBezTo>
                  <a:pt x="17927" y="148793"/>
                  <a:pt x="17030" y="147896"/>
                  <a:pt x="15686" y="147896"/>
                </a:cubicBezTo>
                <a:lnTo>
                  <a:pt x="11204" y="147896"/>
                </a:lnTo>
                <a:lnTo>
                  <a:pt x="11204" y="132210"/>
                </a:lnTo>
                <a:lnTo>
                  <a:pt x="21064" y="132210"/>
                </a:lnTo>
                <a:cubicBezTo>
                  <a:pt x="20616" y="133555"/>
                  <a:pt x="20168" y="135348"/>
                  <a:pt x="20168" y="136692"/>
                </a:cubicBezTo>
                <a:cubicBezTo>
                  <a:pt x="20168" y="145207"/>
                  <a:pt x="27338" y="152378"/>
                  <a:pt x="35854" y="152378"/>
                </a:cubicBezTo>
                <a:cubicBezTo>
                  <a:pt x="44369" y="152378"/>
                  <a:pt x="51540" y="145207"/>
                  <a:pt x="51540" y="136692"/>
                </a:cubicBezTo>
                <a:cubicBezTo>
                  <a:pt x="51540" y="135348"/>
                  <a:pt x="51091" y="133555"/>
                  <a:pt x="50643" y="132210"/>
                </a:cubicBezTo>
                <a:lnTo>
                  <a:pt x="74396" y="132210"/>
                </a:lnTo>
                <a:cubicBezTo>
                  <a:pt x="73948" y="133555"/>
                  <a:pt x="73500" y="135348"/>
                  <a:pt x="73500" y="136692"/>
                </a:cubicBezTo>
                <a:cubicBezTo>
                  <a:pt x="73500" y="145207"/>
                  <a:pt x="80671" y="152378"/>
                  <a:pt x="89186" y="152378"/>
                </a:cubicBezTo>
                <a:cubicBezTo>
                  <a:pt x="97701" y="152378"/>
                  <a:pt x="104872" y="145207"/>
                  <a:pt x="104872" y="136692"/>
                </a:cubicBezTo>
                <a:cubicBezTo>
                  <a:pt x="104872" y="135348"/>
                  <a:pt x="104424" y="133555"/>
                  <a:pt x="103975" y="132210"/>
                </a:cubicBezTo>
                <a:lnTo>
                  <a:pt x="113835" y="132210"/>
                </a:lnTo>
                <a:lnTo>
                  <a:pt x="113835" y="147896"/>
                </a:lnTo>
                <a:lnTo>
                  <a:pt x="109353" y="147896"/>
                </a:lnTo>
                <a:cubicBezTo>
                  <a:pt x="108009" y="147896"/>
                  <a:pt x="107113" y="148793"/>
                  <a:pt x="107113" y="150137"/>
                </a:cubicBezTo>
                <a:cubicBezTo>
                  <a:pt x="107113" y="151482"/>
                  <a:pt x="108009" y="152378"/>
                  <a:pt x="109353" y="152378"/>
                </a:cubicBezTo>
                <a:lnTo>
                  <a:pt x="122798" y="152378"/>
                </a:lnTo>
                <a:cubicBezTo>
                  <a:pt x="124143" y="152378"/>
                  <a:pt x="125039" y="151482"/>
                  <a:pt x="125039" y="150137"/>
                </a:cubicBezTo>
                <a:cubicBezTo>
                  <a:pt x="125039" y="148793"/>
                  <a:pt x="124143" y="147896"/>
                  <a:pt x="122798" y="147896"/>
                </a:cubicBezTo>
                <a:lnTo>
                  <a:pt x="118317" y="147896"/>
                </a:lnTo>
                <a:lnTo>
                  <a:pt x="118317" y="132210"/>
                </a:lnTo>
                <a:lnTo>
                  <a:pt x="120558" y="132210"/>
                </a:lnTo>
                <a:cubicBezTo>
                  <a:pt x="123247" y="132210"/>
                  <a:pt x="125039" y="130417"/>
                  <a:pt x="125039" y="127729"/>
                </a:cubicBezTo>
                <a:lnTo>
                  <a:pt x="125039" y="123247"/>
                </a:lnTo>
                <a:cubicBezTo>
                  <a:pt x="125039" y="114731"/>
                  <a:pt x="117869" y="107561"/>
                  <a:pt x="109353" y="107561"/>
                </a:cubicBezTo>
                <a:lnTo>
                  <a:pt x="57814" y="107561"/>
                </a:lnTo>
                <a:lnTo>
                  <a:pt x="57814" y="91427"/>
                </a:lnTo>
                <a:cubicBezTo>
                  <a:pt x="57814" y="89634"/>
                  <a:pt x="56917" y="87841"/>
                  <a:pt x="56021" y="86497"/>
                </a:cubicBezTo>
                <a:lnTo>
                  <a:pt x="52436" y="82912"/>
                </a:lnTo>
                <a:lnTo>
                  <a:pt x="64985" y="70363"/>
                </a:lnTo>
                <a:cubicBezTo>
                  <a:pt x="66777" y="68570"/>
                  <a:pt x="66777" y="67226"/>
                  <a:pt x="66329" y="66329"/>
                </a:cubicBezTo>
                <a:cubicBezTo>
                  <a:pt x="66329" y="65433"/>
                  <a:pt x="65881" y="64537"/>
                  <a:pt x="64536" y="63641"/>
                </a:cubicBezTo>
                <a:lnTo>
                  <a:pt x="115180" y="12997"/>
                </a:lnTo>
                <a:cubicBezTo>
                  <a:pt x="116524" y="15238"/>
                  <a:pt x="118317" y="16582"/>
                  <a:pt x="120558" y="17479"/>
                </a:cubicBezTo>
                <a:lnTo>
                  <a:pt x="120558" y="40783"/>
                </a:lnTo>
                <a:cubicBezTo>
                  <a:pt x="116972" y="41680"/>
                  <a:pt x="113835" y="45265"/>
                  <a:pt x="113835" y="49299"/>
                </a:cubicBezTo>
                <a:cubicBezTo>
                  <a:pt x="113835" y="51540"/>
                  <a:pt x="114731" y="53332"/>
                  <a:pt x="115628" y="54677"/>
                </a:cubicBezTo>
                <a:lnTo>
                  <a:pt x="110698" y="59607"/>
                </a:lnTo>
                <a:cubicBezTo>
                  <a:pt x="109802" y="60503"/>
                  <a:pt x="109802" y="61400"/>
                  <a:pt x="110250" y="62296"/>
                </a:cubicBezTo>
                <a:lnTo>
                  <a:pt x="116524" y="73052"/>
                </a:lnTo>
                <a:cubicBezTo>
                  <a:pt x="116972" y="73948"/>
                  <a:pt x="117869" y="73948"/>
                  <a:pt x="118317" y="73948"/>
                </a:cubicBezTo>
                <a:cubicBezTo>
                  <a:pt x="118765" y="73948"/>
                  <a:pt x="119213" y="73948"/>
                  <a:pt x="119661" y="73500"/>
                </a:cubicBezTo>
                <a:cubicBezTo>
                  <a:pt x="120558" y="73052"/>
                  <a:pt x="121006" y="71707"/>
                  <a:pt x="120558" y="70363"/>
                </a:cubicBezTo>
                <a:lnTo>
                  <a:pt x="114731" y="60951"/>
                </a:lnTo>
                <a:lnTo>
                  <a:pt x="118765" y="56918"/>
                </a:lnTo>
                <a:cubicBezTo>
                  <a:pt x="119661" y="57366"/>
                  <a:pt x="121006" y="57814"/>
                  <a:pt x="122350" y="57814"/>
                </a:cubicBezTo>
                <a:cubicBezTo>
                  <a:pt x="123695" y="57814"/>
                  <a:pt x="124591" y="57366"/>
                  <a:pt x="125488" y="57366"/>
                </a:cubicBezTo>
                <a:lnTo>
                  <a:pt x="129521" y="61400"/>
                </a:lnTo>
                <a:lnTo>
                  <a:pt x="124143" y="70363"/>
                </a:lnTo>
                <a:cubicBezTo>
                  <a:pt x="123695" y="71259"/>
                  <a:pt x="123695" y="72604"/>
                  <a:pt x="125039" y="73500"/>
                </a:cubicBezTo>
                <a:cubicBezTo>
                  <a:pt x="125488" y="73500"/>
                  <a:pt x="125936" y="73948"/>
                  <a:pt x="126384" y="73948"/>
                </a:cubicBezTo>
                <a:cubicBezTo>
                  <a:pt x="127280" y="73948"/>
                  <a:pt x="127729" y="73500"/>
                  <a:pt x="128177" y="73052"/>
                </a:cubicBezTo>
                <a:lnTo>
                  <a:pt x="134451" y="62744"/>
                </a:lnTo>
                <a:cubicBezTo>
                  <a:pt x="136692" y="60951"/>
                  <a:pt x="136692" y="59607"/>
                  <a:pt x="135796" y="59159"/>
                </a:cubicBezTo>
                <a:close/>
                <a:moveTo>
                  <a:pt x="36750" y="147000"/>
                </a:moveTo>
                <a:cubicBezTo>
                  <a:pt x="30476" y="147000"/>
                  <a:pt x="25545" y="142070"/>
                  <a:pt x="25545" y="135796"/>
                </a:cubicBezTo>
                <a:cubicBezTo>
                  <a:pt x="25545" y="129521"/>
                  <a:pt x="30476" y="124592"/>
                  <a:pt x="36750" y="124592"/>
                </a:cubicBezTo>
                <a:cubicBezTo>
                  <a:pt x="43024" y="124592"/>
                  <a:pt x="47954" y="129521"/>
                  <a:pt x="47954" y="135796"/>
                </a:cubicBezTo>
                <a:cubicBezTo>
                  <a:pt x="47954" y="142070"/>
                  <a:pt x="43024" y="147000"/>
                  <a:pt x="36750" y="147000"/>
                </a:cubicBezTo>
                <a:close/>
                <a:moveTo>
                  <a:pt x="90530" y="147000"/>
                </a:moveTo>
                <a:cubicBezTo>
                  <a:pt x="84256" y="147000"/>
                  <a:pt x="79326" y="142070"/>
                  <a:pt x="79326" y="135796"/>
                </a:cubicBezTo>
                <a:cubicBezTo>
                  <a:pt x="79326" y="129521"/>
                  <a:pt x="84256" y="124592"/>
                  <a:pt x="90530" y="124592"/>
                </a:cubicBezTo>
                <a:cubicBezTo>
                  <a:pt x="96805" y="124592"/>
                  <a:pt x="101734" y="129521"/>
                  <a:pt x="101734" y="135796"/>
                </a:cubicBezTo>
                <a:cubicBezTo>
                  <a:pt x="101734" y="142070"/>
                  <a:pt x="96805" y="147000"/>
                  <a:pt x="90530" y="147000"/>
                </a:cubicBezTo>
                <a:close/>
                <a:moveTo>
                  <a:pt x="121902" y="122351"/>
                </a:moveTo>
                <a:lnTo>
                  <a:pt x="121902" y="126832"/>
                </a:lnTo>
                <a:lnTo>
                  <a:pt x="103527" y="126832"/>
                </a:lnTo>
                <a:cubicBezTo>
                  <a:pt x="100838" y="122799"/>
                  <a:pt x="95908" y="120110"/>
                  <a:pt x="90530" y="120110"/>
                </a:cubicBezTo>
                <a:cubicBezTo>
                  <a:pt x="85152" y="120110"/>
                  <a:pt x="80671" y="122799"/>
                  <a:pt x="77533" y="126832"/>
                </a:cubicBezTo>
                <a:lnTo>
                  <a:pt x="49299" y="126832"/>
                </a:lnTo>
                <a:cubicBezTo>
                  <a:pt x="46610" y="122799"/>
                  <a:pt x="41680" y="120110"/>
                  <a:pt x="36302" y="120110"/>
                </a:cubicBezTo>
                <a:cubicBezTo>
                  <a:pt x="30924" y="120110"/>
                  <a:pt x="26442" y="122799"/>
                  <a:pt x="23305" y="126832"/>
                </a:cubicBezTo>
                <a:lnTo>
                  <a:pt x="4930" y="126832"/>
                </a:lnTo>
                <a:lnTo>
                  <a:pt x="4930" y="113387"/>
                </a:lnTo>
                <a:cubicBezTo>
                  <a:pt x="4930" y="112043"/>
                  <a:pt x="5826" y="111146"/>
                  <a:pt x="7171" y="111146"/>
                </a:cubicBezTo>
                <a:lnTo>
                  <a:pt x="16134" y="111146"/>
                </a:lnTo>
                <a:lnTo>
                  <a:pt x="56469" y="111146"/>
                </a:lnTo>
                <a:lnTo>
                  <a:pt x="110250" y="111146"/>
                </a:lnTo>
                <a:cubicBezTo>
                  <a:pt x="116972" y="111146"/>
                  <a:pt x="121902" y="116076"/>
                  <a:pt x="121902" y="122351"/>
                </a:cubicBezTo>
                <a:close/>
                <a:moveTo>
                  <a:pt x="54677" y="90531"/>
                </a:moveTo>
                <a:lnTo>
                  <a:pt x="54677" y="106665"/>
                </a:lnTo>
                <a:lnTo>
                  <a:pt x="18823" y="106665"/>
                </a:lnTo>
                <a:lnTo>
                  <a:pt x="18823" y="73052"/>
                </a:lnTo>
                <a:cubicBezTo>
                  <a:pt x="18823" y="71707"/>
                  <a:pt x="19719" y="70811"/>
                  <a:pt x="21064" y="70811"/>
                </a:cubicBezTo>
                <a:lnTo>
                  <a:pt x="34957" y="70811"/>
                </a:lnTo>
                <a:cubicBezTo>
                  <a:pt x="35405" y="70811"/>
                  <a:pt x="36302" y="71259"/>
                  <a:pt x="36750" y="71259"/>
                </a:cubicBezTo>
                <a:lnTo>
                  <a:pt x="54228" y="88738"/>
                </a:lnTo>
                <a:cubicBezTo>
                  <a:pt x="54228" y="89186"/>
                  <a:pt x="54677" y="90082"/>
                  <a:pt x="54677" y="90531"/>
                </a:cubicBezTo>
                <a:close/>
                <a:moveTo>
                  <a:pt x="50195" y="78878"/>
                </a:moveTo>
                <a:lnTo>
                  <a:pt x="46610" y="75293"/>
                </a:lnTo>
                <a:lnTo>
                  <a:pt x="56469" y="65433"/>
                </a:lnTo>
                <a:cubicBezTo>
                  <a:pt x="56917" y="64985"/>
                  <a:pt x="57814" y="64537"/>
                  <a:pt x="58710" y="64985"/>
                </a:cubicBezTo>
                <a:lnTo>
                  <a:pt x="60951" y="65881"/>
                </a:lnTo>
                <a:cubicBezTo>
                  <a:pt x="60951" y="65881"/>
                  <a:pt x="60951" y="65881"/>
                  <a:pt x="60951" y="65881"/>
                </a:cubicBezTo>
                <a:lnTo>
                  <a:pt x="62744" y="66329"/>
                </a:lnTo>
                <a:cubicBezTo>
                  <a:pt x="62744" y="66329"/>
                  <a:pt x="62744" y="66329"/>
                  <a:pt x="62744" y="66329"/>
                </a:cubicBezTo>
                <a:lnTo>
                  <a:pt x="50195" y="78878"/>
                </a:lnTo>
                <a:close/>
                <a:moveTo>
                  <a:pt x="119661" y="8067"/>
                </a:moveTo>
                <a:cubicBezTo>
                  <a:pt x="119661" y="5378"/>
                  <a:pt x="121454" y="3586"/>
                  <a:pt x="124143" y="3586"/>
                </a:cubicBezTo>
                <a:cubicBezTo>
                  <a:pt x="126832" y="3586"/>
                  <a:pt x="128625" y="5378"/>
                  <a:pt x="128625" y="8067"/>
                </a:cubicBezTo>
                <a:cubicBezTo>
                  <a:pt x="128625" y="10756"/>
                  <a:pt x="126832" y="12549"/>
                  <a:pt x="124143" y="12549"/>
                </a:cubicBezTo>
                <a:cubicBezTo>
                  <a:pt x="121454" y="12549"/>
                  <a:pt x="119661" y="10308"/>
                  <a:pt x="119661" y="8067"/>
                </a:cubicBezTo>
                <a:close/>
                <a:moveTo>
                  <a:pt x="119661" y="48403"/>
                </a:moveTo>
                <a:cubicBezTo>
                  <a:pt x="119661" y="45714"/>
                  <a:pt x="121454" y="43921"/>
                  <a:pt x="124143" y="43921"/>
                </a:cubicBezTo>
                <a:cubicBezTo>
                  <a:pt x="126832" y="43921"/>
                  <a:pt x="128625" y="45714"/>
                  <a:pt x="128625" y="48403"/>
                </a:cubicBezTo>
                <a:cubicBezTo>
                  <a:pt x="128625" y="51092"/>
                  <a:pt x="126832" y="52884"/>
                  <a:pt x="124143" y="52884"/>
                </a:cubicBezTo>
                <a:cubicBezTo>
                  <a:pt x="121454" y="52884"/>
                  <a:pt x="119661" y="50643"/>
                  <a:pt x="119661" y="48403"/>
                </a:cubicBezTo>
                <a:close/>
              </a:path>
            </a:pathLst>
          </a:custGeom>
          <a:solidFill>
            <a:srgbClr val="231F20"/>
          </a:solidFill>
          <a:ln w="4477" cap="flat">
            <a:noFill/>
            <a:prstDash val="solid"/>
            <a:miter/>
          </a:ln>
        </p:spPr>
        <p:txBody>
          <a:bodyPr rtlCol="0" anchor="ctr"/>
          <a:lstStyle/>
          <a:p>
            <a:endParaRPr lang="en-US"/>
          </a:p>
        </p:txBody>
      </p:sp>
      <p:sp>
        <p:nvSpPr>
          <p:cNvPr id="3762" name="Freeform: Shape 3761">
            <a:extLst>
              <a:ext uri="{FF2B5EF4-FFF2-40B4-BE49-F238E27FC236}">
                <a16:creationId xmlns:a16="http://schemas.microsoft.com/office/drawing/2014/main" id="{3B4CB09C-368C-4476-B72D-1E87EC50EE5C}"/>
              </a:ext>
              <a:ext uri="{C183D7F6-B498-43B3-948B-1728B52AA6E4}">
                <adec:decorative xmlns:adec="http://schemas.microsoft.com/office/drawing/2017/decorative" val="1"/>
              </a:ext>
            </a:extLst>
          </p:cNvPr>
          <p:cNvSpPr>
            <a:spLocks noChangeAspect="1"/>
          </p:cNvSpPr>
          <p:nvPr/>
        </p:nvSpPr>
        <p:spPr>
          <a:xfrm>
            <a:off x="2169033" y="3143692"/>
            <a:ext cx="156860" cy="98597"/>
          </a:xfrm>
          <a:custGeom>
            <a:avLst/>
            <a:gdLst>
              <a:gd name="connsiteX0" fmla="*/ 156860 w 156859"/>
              <a:gd name="connsiteY0" fmla="*/ 81119 h 98597"/>
              <a:gd name="connsiteX1" fmla="*/ 151930 w 156859"/>
              <a:gd name="connsiteY1" fmla="*/ 81119 h 98597"/>
              <a:gd name="connsiteX2" fmla="*/ 152378 w 156859"/>
              <a:gd name="connsiteY2" fmla="*/ 78878 h 98597"/>
              <a:gd name="connsiteX3" fmla="*/ 152378 w 156859"/>
              <a:gd name="connsiteY3" fmla="*/ 43921 h 98597"/>
              <a:gd name="connsiteX4" fmla="*/ 151481 w 156859"/>
              <a:gd name="connsiteY4" fmla="*/ 40784 h 98597"/>
              <a:gd name="connsiteX5" fmla="*/ 142070 w 156859"/>
              <a:gd name="connsiteY5" fmla="*/ 21960 h 98597"/>
              <a:gd name="connsiteX6" fmla="*/ 128177 w 156859"/>
              <a:gd name="connsiteY6" fmla="*/ 13445 h 98597"/>
              <a:gd name="connsiteX7" fmla="*/ 98149 w 156859"/>
              <a:gd name="connsiteY7" fmla="*/ 13445 h 98597"/>
              <a:gd name="connsiteX8" fmla="*/ 82911 w 156859"/>
              <a:gd name="connsiteY8" fmla="*/ 0 h 98597"/>
              <a:gd name="connsiteX9" fmla="*/ 6723 w 156859"/>
              <a:gd name="connsiteY9" fmla="*/ 0 h 98597"/>
              <a:gd name="connsiteX10" fmla="*/ 0 w 156859"/>
              <a:gd name="connsiteY10" fmla="*/ 6723 h 98597"/>
              <a:gd name="connsiteX11" fmla="*/ 0 w 156859"/>
              <a:gd name="connsiteY11" fmla="*/ 78430 h 98597"/>
              <a:gd name="connsiteX12" fmla="*/ 6723 w 156859"/>
              <a:gd name="connsiteY12" fmla="*/ 85152 h 98597"/>
              <a:gd name="connsiteX13" fmla="*/ 13893 w 156859"/>
              <a:gd name="connsiteY13" fmla="*/ 85152 h 98597"/>
              <a:gd name="connsiteX14" fmla="*/ 29131 w 156859"/>
              <a:gd name="connsiteY14" fmla="*/ 98597 h 98597"/>
              <a:gd name="connsiteX15" fmla="*/ 44369 w 156859"/>
              <a:gd name="connsiteY15" fmla="*/ 85152 h 98597"/>
              <a:gd name="connsiteX16" fmla="*/ 96357 w 156859"/>
              <a:gd name="connsiteY16" fmla="*/ 85152 h 98597"/>
              <a:gd name="connsiteX17" fmla="*/ 108009 w 156859"/>
              <a:gd name="connsiteY17" fmla="*/ 85152 h 98597"/>
              <a:gd name="connsiteX18" fmla="*/ 123247 w 156859"/>
              <a:gd name="connsiteY18" fmla="*/ 98597 h 98597"/>
              <a:gd name="connsiteX19" fmla="*/ 138485 w 156859"/>
              <a:gd name="connsiteY19" fmla="*/ 85152 h 98597"/>
              <a:gd name="connsiteX20" fmla="*/ 145655 w 156859"/>
              <a:gd name="connsiteY20" fmla="*/ 85152 h 98597"/>
              <a:gd name="connsiteX21" fmla="*/ 156860 w 156859"/>
              <a:gd name="connsiteY21" fmla="*/ 85152 h 98597"/>
              <a:gd name="connsiteX22" fmla="*/ 159100 w 156859"/>
              <a:gd name="connsiteY22" fmla="*/ 82912 h 98597"/>
              <a:gd name="connsiteX23" fmla="*/ 156860 w 156859"/>
              <a:gd name="connsiteY23" fmla="*/ 81119 h 98597"/>
              <a:gd name="connsiteX24" fmla="*/ 138036 w 156859"/>
              <a:gd name="connsiteY24" fmla="*/ 24201 h 98597"/>
              <a:gd name="connsiteX25" fmla="*/ 146552 w 156859"/>
              <a:gd name="connsiteY25" fmla="*/ 40784 h 98597"/>
              <a:gd name="connsiteX26" fmla="*/ 114283 w 156859"/>
              <a:gd name="connsiteY26" fmla="*/ 40784 h 98597"/>
              <a:gd name="connsiteX27" fmla="*/ 112043 w 156859"/>
              <a:gd name="connsiteY27" fmla="*/ 38543 h 98597"/>
              <a:gd name="connsiteX28" fmla="*/ 112043 w 156859"/>
              <a:gd name="connsiteY28" fmla="*/ 18375 h 98597"/>
              <a:gd name="connsiteX29" fmla="*/ 128177 w 156859"/>
              <a:gd name="connsiteY29" fmla="*/ 18375 h 98597"/>
              <a:gd name="connsiteX30" fmla="*/ 138036 w 156859"/>
              <a:gd name="connsiteY30" fmla="*/ 24201 h 98597"/>
              <a:gd name="connsiteX31" fmla="*/ 4482 w 156859"/>
              <a:gd name="connsiteY31" fmla="*/ 78878 h 98597"/>
              <a:gd name="connsiteX32" fmla="*/ 4482 w 156859"/>
              <a:gd name="connsiteY32" fmla="*/ 7171 h 98597"/>
              <a:gd name="connsiteX33" fmla="*/ 6723 w 156859"/>
              <a:gd name="connsiteY33" fmla="*/ 4930 h 98597"/>
              <a:gd name="connsiteX34" fmla="*/ 82911 w 156859"/>
              <a:gd name="connsiteY34" fmla="*/ 4930 h 98597"/>
              <a:gd name="connsiteX35" fmla="*/ 94116 w 156859"/>
              <a:gd name="connsiteY35" fmla="*/ 16135 h 98597"/>
              <a:gd name="connsiteX36" fmla="*/ 94116 w 156859"/>
              <a:gd name="connsiteY36" fmla="*/ 81119 h 98597"/>
              <a:gd name="connsiteX37" fmla="*/ 44369 w 156859"/>
              <a:gd name="connsiteY37" fmla="*/ 81119 h 98597"/>
              <a:gd name="connsiteX38" fmla="*/ 29131 w 156859"/>
              <a:gd name="connsiteY38" fmla="*/ 67674 h 98597"/>
              <a:gd name="connsiteX39" fmla="*/ 13893 w 156859"/>
              <a:gd name="connsiteY39" fmla="*/ 81119 h 98597"/>
              <a:gd name="connsiteX40" fmla="*/ 6723 w 156859"/>
              <a:gd name="connsiteY40" fmla="*/ 81119 h 98597"/>
              <a:gd name="connsiteX41" fmla="*/ 4482 w 156859"/>
              <a:gd name="connsiteY41" fmla="*/ 78878 h 98597"/>
              <a:gd name="connsiteX42" fmla="*/ 29131 w 156859"/>
              <a:gd name="connsiteY42" fmla="*/ 94564 h 98597"/>
              <a:gd name="connsiteX43" fmla="*/ 17927 w 156859"/>
              <a:gd name="connsiteY43" fmla="*/ 83360 h 98597"/>
              <a:gd name="connsiteX44" fmla="*/ 29131 w 156859"/>
              <a:gd name="connsiteY44" fmla="*/ 72156 h 98597"/>
              <a:gd name="connsiteX45" fmla="*/ 40335 w 156859"/>
              <a:gd name="connsiteY45" fmla="*/ 83360 h 98597"/>
              <a:gd name="connsiteX46" fmla="*/ 29131 w 156859"/>
              <a:gd name="connsiteY46" fmla="*/ 94564 h 98597"/>
              <a:gd name="connsiteX47" fmla="*/ 123247 w 156859"/>
              <a:gd name="connsiteY47" fmla="*/ 94564 h 98597"/>
              <a:gd name="connsiteX48" fmla="*/ 112043 w 156859"/>
              <a:gd name="connsiteY48" fmla="*/ 83360 h 98597"/>
              <a:gd name="connsiteX49" fmla="*/ 123247 w 156859"/>
              <a:gd name="connsiteY49" fmla="*/ 72156 h 98597"/>
              <a:gd name="connsiteX50" fmla="*/ 134451 w 156859"/>
              <a:gd name="connsiteY50" fmla="*/ 83360 h 98597"/>
              <a:gd name="connsiteX51" fmla="*/ 123247 w 156859"/>
              <a:gd name="connsiteY51" fmla="*/ 94564 h 98597"/>
              <a:gd name="connsiteX52" fmla="*/ 138933 w 156859"/>
              <a:gd name="connsiteY52" fmla="*/ 81119 h 98597"/>
              <a:gd name="connsiteX53" fmla="*/ 123695 w 156859"/>
              <a:gd name="connsiteY53" fmla="*/ 67674 h 98597"/>
              <a:gd name="connsiteX54" fmla="*/ 108457 w 156859"/>
              <a:gd name="connsiteY54" fmla="*/ 81119 h 98597"/>
              <a:gd name="connsiteX55" fmla="*/ 99046 w 156859"/>
              <a:gd name="connsiteY55" fmla="*/ 81119 h 98597"/>
              <a:gd name="connsiteX56" fmla="*/ 99046 w 156859"/>
              <a:gd name="connsiteY56" fmla="*/ 18375 h 98597"/>
              <a:gd name="connsiteX57" fmla="*/ 108009 w 156859"/>
              <a:gd name="connsiteY57" fmla="*/ 18375 h 98597"/>
              <a:gd name="connsiteX58" fmla="*/ 108009 w 156859"/>
              <a:gd name="connsiteY58" fmla="*/ 38543 h 98597"/>
              <a:gd name="connsiteX59" fmla="*/ 114732 w 156859"/>
              <a:gd name="connsiteY59" fmla="*/ 45266 h 98597"/>
              <a:gd name="connsiteX60" fmla="*/ 148344 w 156859"/>
              <a:gd name="connsiteY60" fmla="*/ 45266 h 98597"/>
              <a:gd name="connsiteX61" fmla="*/ 148344 w 156859"/>
              <a:gd name="connsiteY61" fmla="*/ 78878 h 98597"/>
              <a:gd name="connsiteX62" fmla="*/ 146104 w 156859"/>
              <a:gd name="connsiteY62" fmla="*/ 81119 h 98597"/>
              <a:gd name="connsiteX63" fmla="*/ 138933 w 156859"/>
              <a:gd name="connsiteY63" fmla="*/ 81119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56859" h="98597">
                <a:moveTo>
                  <a:pt x="156860" y="81119"/>
                </a:moveTo>
                <a:lnTo>
                  <a:pt x="151930" y="81119"/>
                </a:lnTo>
                <a:cubicBezTo>
                  <a:pt x="152378" y="80223"/>
                  <a:pt x="152378" y="79775"/>
                  <a:pt x="152378" y="78878"/>
                </a:cubicBezTo>
                <a:lnTo>
                  <a:pt x="152378" y="43921"/>
                </a:lnTo>
                <a:cubicBezTo>
                  <a:pt x="152378" y="43025"/>
                  <a:pt x="151930" y="41680"/>
                  <a:pt x="151481" y="40784"/>
                </a:cubicBezTo>
                <a:lnTo>
                  <a:pt x="142070" y="21960"/>
                </a:lnTo>
                <a:cubicBezTo>
                  <a:pt x="139381" y="16583"/>
                  <a:pt x="134003" y="13445"/>
                  <a:pt x="128177" y="13445"/>
                </a:cubicBezTo>
                <a:lnTo>
                  <a:pt x="98149" y="13445"/>
                </a:lnTo>
                <a:cubicBezTo>
                  <a:pt x="97253" y="5826"/>
                  <a:pt x="90530" y="0"/>
                  <a:pt x="82911" y="0"/>
                </a:cubicBezTo>
                <a:lnTo>
                  <a:pt x="6723" y="0"/>
                </a:lnTo>
                <a:cubicBezTo>
                  <a:pt x="3137" y="0"/>
                  <a:pt x="0" y="3138"/>
                  <a:pt x="0" y="6723"/>
                </a:cubicBezTo>
                <a:lnTo>
                  <a:pt x="0" y="78430"/>
                </a:lnTo>
                <a:cubicBezTo>
                  <a:pt x="0" y="82015"/>
                  <a:pt x="3137" y="85152"/>
                  <a:pt x="6723" y="85152"/>
                </a:cubicBezTo>
                <a:lnTo>
                  <a:pt x="13893" y="85152"/>
                </a:lnTo>
                <a:cubicBezTo>
                  <a:pt x="14790" y="92772"/>
                  <a:pt x="21512" y="98597"/>
                  <a:pt x="29131" y="98597"/>
                </a:cubicBezTo>
                <a:cubicBezTo>
                  <a:pt x="36750" y="98597"/>
                  <a:pt x="43473" y="92772"/>
                  <a:pt x="44369" y="85152"/>
                </a:cubicBezTo>
                <a:lnTo>
                  <a:pt x="96357" y="85152"/>
                </a:lnTo>
                <a:lnTo>
                  <a:pt x="108009" y="85152"/>
                </a:lnTo>
                <a:cubicBezTo>
                  <a:pt x="108905" y="92772"/>
                  <a:pt x="115628" y="98597"/>
                  <a:pt x="123247" y="98597"/>
                </a:cubicBezTo>
                <a:cubicBezTo>
                  <a:pt x="130866" y="98597"/>
                  <a:pt x="137588" y="92772"/>
                  <a:pt x="138485" y="85152"/>
                </a:cubicBezTo>
                <a:lnTo>
                  <a:pt x="145655" y="85152"/>
                </a:lnTo>
                <a:lnTo>
                  <a:pt x="156860" y="85152"/>
                </a:lnTo>
                <a:cubicBezTo>
                  <a:pt x="158204" y="85152"/>
                  <a:pt x="159100" y="84256"/>
                  <a:pt x="159100" y="82912"/>
                </a:cubicBezTo>
                <a:cubicBezTo>
                  <a:pt x="159100" y="81567"/>
                  <a:pt x="158204" y="81119"/>
                  <a:pt x="156860" y="81119"/>
                </a:cubicBezTo>
                <a:close/>
                <a:moveTo>
                  <a:pt x="138036" y="24201"/>
                </a:moveTo>
                <a:lnTo>
                  <a:pt x="146552" y="40784"/>
                </a:lnTo>
                <a:lnTo>
                  <a:pt x="114283" y="40784"/>
                </a:lnTo>
                <a:cubicBezTo>
                  <a:pt x="112939" y="40784"/>
                  <a:pt x="112043" y="39887"/>
                  <a:pt x="112043" y="38543"/>
                </a:cubicBezTo>
                <a:lnTo>
                  <a:pt x="112043" y="18375"/>
                </a:lnTo>
                <a:lnTo>
                  <a:pt x="128177" y="18375"/>
                </a:lnTo>
                <a:cubicBezTo>
                  <a:pt x="132658" y="18375"/>
                  <a:pt x="136244" y="20616"/>
                  <a:pt x="138036" y="24201"/>
                </a:cubicBezTo>
                <a:close/>
                <a:moveTo>
                  <a:pt x="4482" y="78878"/>
                </a:moveTo>
                <a:lnTo>
                  <a:pt x="4482" y="7171"/>
                </a:lnTo>
                <a:cubicBezTo>
                  <a:pt x="4482" y="5826"/>
                  <a:pt x="5378" y="4930"/>
                  <a:pt x="6723" y="4930"/>
                </a:cubicBezTo>
                <a:lnTo>
                  <a:pt x="82911" y="4930"/>
                </a:lnTo>
                <a:cubicBezTo>
                  <a:pt x="89186" y="4930"/>
                  <a:pt x="94116" y="9860"/>
                  <a:pt x="94116" y="16135"/>
                </a:cubicBezTo>
                <a:lnTo>
                  <a:pt x="94116" y="81119"/>
                </a:lnTo>
                <a:lnTo>
                  <a:pt x="44369" y="81119"/>
                </a:lnTo>
                <a:cubicBezTo>
                  <a:pt x="43473" y="73500"/>
                  <a:pt x="36750" y="67674"/>
                  <a:pt x="29131" y="67674"/>
                </a:cubicBezTo>
                <a:cubicBezTo>
                  <a:pt x="21512" y="67674"/>
                  <a:pt x="14790" y="73500"/>
                  <a:pt x="13893" y="81119"/>
                </a:cubicBezTo>
                <a:lnTo>
                  <a:pt x="6723" y="81119"/>
                </a:lnTo>
                <a:cubicBezTo>
                  <a:pt x="5826" y="81119"/>
                  <a:pt x="4482" y="80223"/>
                  <a:pt x="4482" y="78878"/>
                </a:cubicBezTo>
                <a:close/>
                <a:moveTo>
                  <a:pt x="29131" y="94564"/>
                </a:moveTo>
                <a:cubicBezTo>
                  <a:pt x="22857" y="94564"/>
                  <a:pt x="17927" y="89634"/>
                  <a:pt x="17927" y="83360"/>
                </a:cubicBezTo>
                <a:cubicBezTo>
                  <a:pt x="17927" y="77086"/>
                  <a:pt x="22857" y="72156"/>
                  <a:pt x="29131" y="72156"/>
                </a:cubicBezTo>
                <a:cubicBezTo>
                  <a:pt x="35405" y="72156"/>
                  <a:pt x="40335" y="77086"/>
                  <a:pt x="40335" y="83360"/>
                </a:cubicBezTo>
                <a:cubicBezTo>
                  <a:pt x="40335" y="89634"/>
                  <a:pt x="35405" y="94564"/>
                  <a:pt x="29131" y="94564"/>
                </a:cubicBezTo>
                <a:close/>
                <a:moveTo>
                  <a:pt x="123247" y="94564"/>
                </a:moveTo>
                <a:cubicBezTo>
                  <a:pt x="116972" y="94564"/>
                  <a:pt x="112043" y="89634"/>
                  <a:pt x="112043" y="83360"/>
                </a:cubicBezTo>
                <a:cubicBezTo>
                  <a:pt x="112043" y="77086"/>
                  <a:pt x="116972" y="72156"/>
                  <a:pt x="123247" y="72156"/>
                </a:cubicBezTo>
                <a:cubicBezTo>
                  <a:pt x="129521" y="72156"/>
                  <a:pt x="134451" y="77086"/>
                  <a:pt x="134451" y="83360"/>
                </a:cubicBezTo>
                <a:cubicBezTo>
                  <a:pt x="134451" y="89634"/>
                  <a:pt x="129521" y="94564"/>
                  <a:pt x="123247" y="94564"/>
                </a:cubicBezTo>
                <a:close/>
                <a:moveTo>
                  <a:pt x="138933" y="81119"/>
                </a:moveTo>
                <a:cubicBezTo>
                  <a:pt x="138036" y="73500"/>
                  <a:pt x="131314" y="67674"/>
                  <a:pt x="123695" y="67674"/>
                </a:cubicBezTo>
                <a:cubicBezTo>
                  <a:pt x="116076" y="67674"/>
                  <a:pt x="109353" y="73500"/>
                  <a:pt x="108457" y="81119"/>
                </a:cubicBezTo>
                <a:lnTo>
                  <a:pt x="99046" y="81119"/>
                </a:lnTo>
                <a:lnTo>
                  <a:pt x="99046" y="18375"/>
                </a:lnTo>
                <a:lnTo>
                  <a:pt x="108009" y="18375"/>
                </a:lnTo>
                <a:lnTo>
                  <a:pt x="108009" y="38543"/>
                </a:lnTo>
                <a:cubicBezTo>
                  <a:pt x="108009" y="42128"/>
                  <a:pt x="111146" y="45266"/>
                  <a:pt x="114732" y="45266"/>
                </a:cubicBezTo>
                <a:lnTo>
                  <a:pt x="148344" y="45266"/>
                </a:lnTo>
                <a:lnTo>
                  <a:pt x="148344" y="78878"/>
                </a:lnTo>
                <a:cubicBezTo>
                  <a:pt x="148344" y="80223"/>
                  <a:pt x="147448" y="81119"/>
                  <a:pt x="146104" y="81119"/>
                </a:cubicBezTo>
                <a:lnTo>
                  <a:pt x="138933" y="81119"/>
                </a:lnTo>
                <a:close/>
              </a:path>
            </a:pathLst>
          </a:custGeom>
          <a:solidFill>
            <a:srgbClr val="231F20"/>
          </a:solidFill>
          <a:ln w="4477" cap="flat">
            <a:noFill/>
            <a:prstDash val="solid"/>
            <a:miter/>
          </a:ln>
        </p:spPr>
        <p:txBody>
          <a:bodyPr rtlCol="0" anchor="ctr"/>
          <a:lstStyle/>
          <a:p>
            <a:endParaRPr lang="en-US"/>
          </a:p>
        </p:txBody>
      </p:sp>
      <p:sp>
        <p:nvSpPr>
          <p:cNvPr id="3763" name="Freeform: Shape 3762">
            <a:extLst>
              <a:ext uri="{FF2B5EF4-FFF2-40B4-BE49-F238E27FC236}">
                <a16:creationId xmlns:a16="http://schemas.microsoft.com/office/drawing/2014/main" id="{EE636AFA-7453-4F3E-B7D1-FDF53BE11C39}"/>
              </a:ext>
              <a:ext uri="{C183D7F6-B498-43B3-948B-1728B52AA6E4}">
                <adec:decorative xmlns:adec="http://schemas.microsoft.com/office/drawing/2017/decorative" val="1"/>
              </a:ext>
            </a:extLst>
          </p:cNvPr>
          <p:cNvSpPr>
            <a:spLocks noChangeAspect="1"/>
          </p:cNvSpPr>
          <p:nvPr/>
        </p:nvSpPr>
        <p:spPr>
          <a:xfrm>
            <a:off x="2428972" y="3157137"/>
            <a:ext cx="156860" cy="85152"/>
          </a:xfrm>
          <a:custGeom>
            <a:avLst/>
            <a:gdLst>
              <a:gd name="connsiteX0" fmla="*/ 156860 w 156859"/>
              <a:gd name="connsiteY0" fmla="*/ 67674 h 85152"/>
              <a:gd name="connsiteX1" fmla="*/ 151930 w 156859"/>
              <a:gd name="connsiteY1" fmla="*/ 67674 h 85152"/>
              <a:gd name="connsiteX2" fmla="*/ 152378 w 156859"/>
              <a:gd name="connsiteY2" fmla="*/ 65433 h 85152"/>
              <a:gd name="connsiteX3" fmla="*/ 152378 w 156859"/>
              <a:gd name="connsiteY3" fmla="*/ 30476 h 85152"/>
              <a:gd name="connsiteX4" fmla="*/ 151481 w 156859"/>
              <a:gd name="connsiteY4" fmla="*/ 27339 h 85152"/>
              <a:gd name="connsiteX5" fmla="*/ 142070 w 156859"/>
              <a:gd name="connsiteY5" fmla="*/ 8515 h 85152"/>
              <a:gd name="connsiteX6" fmla="*/ 128177 w 156859"/>
              <a:gd name="connsiteY6" fmla="*/ 0 h 85152"/>
              <a:gd name="connsiteX7" fmla="*/ 96357 w 156859"/>
              <a:gd name="connsiteY7" fmla="*/ 0 h 85152"/>
              <a:gd name="connsiteX8" fmla="*/ 6723 w 156859"/>
              <a:gd name="connsiteY8" fmla="*/ 0 h 85152"/>
              <a:gd name="connsiteX9" fmla="*/ 0 w 156859"/>
              <a:gd name="connsiteY9" fmla="*/ 6723 h 85152"/>
              <a:gd name="connsiteX10" fmla="*/ 0 w 156859"/>
              <a:gd name="connsiteY10" fmla="*/ 64985 h 85152"/>
              <a:gd name="connsiteX11" fmla="*/ 6723 w 156859"/>
              <a:gd name="connsiteY11" fmla="*/ 71707 h 85152"/>
              <a:gd name="connsiteX12" fmla="*/ 13893 w 156859"/>
              <a:gd name="connsiteY12" fmla="*/ 71707 h 85152"/>
              <a:gd name="connsiteX13" fmla="*/ 29131 w 156859"/>
              <a:gd name="connsiteY13" fmla="*/ 85152 h 85152"/>
              <a:gd name="connsiteX14" fmla="*/ 44369 w 156859"/>
              <a:gd name="connsiteY14" fmla="*/ 71707 h 85152"/>
              <a:gd name="connsiteX15" fmla="*/ 96357 w 156859"/>
              <a:gd name="connsiteY15" fmla="*/ 71707 h 85152"/>
              <a:gd name="connsiteX16" fmla="*/ 108009 w 156859"/>
              <a:gd name="connsiteY16" fmla="*/ 71707 h 85152"/>
              <a:gd name="connsiteX17" fmla="*/ 123247 w 156859"/>
              <a:gd name="connsiteY17" fmla="*/ 85152 h 85152"/>
              <a:gd name="connsiteX18" fmla="*/ 138485 w 156859"/>
              <a:gd name="connsiteY18" fmla="*/ 71707 h 85152"/>
              <a:gd name="connsiteX19" fmla="*/ 145655 w 156859"/>
              <a:gd name="connsiteY19" fmla="*/ 71707 h 85152"/>
              <a:gd name="connsiteX20" fmla="*/ 156860 w 156859"/>
              <a:gd name="connsiteY20" fmla="*/ 71707 h 85152"/>
              <a:gd name="connsiteX21" fmla="*/ 159100 w 156859"/>
              <a:gd name="connsiteY21" fmla="*/ 69466 h 85152"/>
              <a:gd name="connsiteX22" fmla="*/ 156860 w 156859"/>
              <a:gd name="connsiteY22" fmla="*/ 67674 h 85152"/>
              <a:gd name="connsiteX23" fmla="*/ 138036 w 156859"/>
              <a:gd name="connsiteY23" fmla="*/ 10756 h 85152"/>
              <a:gd name="connsiteX24" fmla="*/ 146552 w 156859"/>
              <a:gd name="connsiteY24" fmla="*/ 27339 h 85152"/>
              <a:gd name="connsiteX25" fmla="*/ 114283 w 156859"/>
              <a:gd name="connsiteY25" fmla="*/ 27339 h 85152"/>
              <a:gd name="connsiteX26" fmla="*/ 112043 w 156859"/>
              <a:gd name="connsiteY26" fmla="*/ 25098 h 85152"/>
              <a:gd name="connsiteX27" fmla="*/ 112043 w 156859"/>
              <a:gd name="connsiteY27" fmla="*/ 4930 h 85152"/>
              <a:gd name="connsiteX28" fmla="*/ 128177 w 156859"/>
              <a:gd name="connsiteY28" fmla="*/ 4930 h 85152"/>
              <a:gd name="connsiteX29" fmla="*/ 138036 w 156859"/>
              <a:gd name="connsiteY29" fmla="*/ 10756 h 85152"/>
              <a:gd name="connsiteX30" fmla="*/ 4482 w 156859"/>
              <a:gd name="connsiteY30" fmla="*/ 65433 h 85152"/>
              <a:gd name="connsiteX31" fmla="*/ 4482 w 156859"/>
              <a:gd name="connsiteY31" fmla="*/ 7171 h 85152"/>
              <a:gd name="connsiteX32" fmla="*/ 6723 w 156859"/>
              <a:gd name="connsiteY32" fmla="*/ 4930 h 85152"/>
              <a:gd name="connsiteX33" fmla="*/ 94116 w 156859"/>
              <a:gd name="connsiteY33" fmla="*/ 4930 h 85152"/>
              <a:gd name="connsiteX34" fmla="*/ 94116 w 156859"/>
              <a:gd name="connsiteY34" fmla="*/ 67674 h 85152"/>
              <a:gd name="connsiteX35" fmla="*/ 44369 w 156859"/>
              <a:gd name="connsiteY35" fmla="*/ 67674 h 85152"/>
              <a:gd name="connsiteX36" fmla="*/ 29131 w 156859"/>
              <a:gd name="connsiteY36" fmla="*/ 54229 h 85152"/>
              <a:gd name="connsiteX37" fmla="*/ 13893 w 156859"/>
              <a:gd name="connsiteY37" fmla="*/ 67674 h 85152"/>
              <a:gd name="connsiteX38" fmla="*/ 6723 w 156859"/>
              <a:gd name="connsiteY38" fmla="*/ 67674 h 85152"/>
              <a:gd name="connsiteX39" fmla="*/ 4482 w 156859"/>
              <a:gd name="connsiteY39" fmla="*/ 65433 h 85152"/>
              <a:gd name="connsiteX40" fmla="*/ 29131 w 156859"/>
              <a:gd name="connsiteY40" fmla="*/ 81119 h 85152"/>
              <a:gd name="connsiteX41" fmla="*/ 17927 w 156859"/>
              <a:gd name="connsiteY41" fmla="*/ 69915 h 85152"/>
              <a:gd name="connsiteX42" fmla="*/ 29131 w 156859"/>
              <a:gd name="connsiteY42" fmla="*/ 58711 h 85152"/>
              <a:gd name="connsiteX43" fmla="*/ 40335 w 156859"/>
              <a:gd name="connsiteY43" fmla="*/ 69915 h 85152"/>
              <a:gd name="connsiteX44" fmla="*/ 29131 w 156859"/>
              <a:gd name="connsiteY44" fmla="*/ 81119 h 85152"/>
              <a:gd name="connsiteX45" fmla="*/ 123247 w 156859"/>
              <a:gd name="connsiteY45" fmla="*/ 81119 h 85152"/>
              <a:gd name="connsiteX46" fmla="*/ 112043 w 156859"/>
              <a:gd name="connsiteY46" fmla="*/ 69915 h 85152"/>
              <a:gd name="connsiteX47" fmla="*/ 123247 w 156859"/>
              <a:gd name="connsiteY47" fmla="*/ 58711 h 85152"/>
              <a:gd name="connsiteX48" fmla="*/ 134451 w 156859"/>
              <a:gd name="connsiteY48" fmla="*/ 69915 h 85152"/>
              <a:gd name="connsiteX49" fmla="*/ 123247 w 156859"/>
              <a:gd name="connsiteY49" fmla="*/ 81119 h 85152"/>
              <a:gd name="connsiteX50" fmla="*/ 138933 w 156859"/>
              <a:gd name="connsiteY50" fmla="*/ 67674 h 85152"/>
              <a:gd name="connsiteX51" fmla="*/ 123695 w 156859"/>
              <a:gd name="connsiteY51" fmla="*/ 54229 h 85152"/>
              <a:gd name="connsiteX52" fmla="*/ 108457 w 156859"/>
              <a:gd name="connsiteY52" fmla="*/ 67674 h 85152"/>
              <a:gd name="connsiteX53" fmla="*/ 99046 w 156859"/>
              <a:gd name="connsiteY53" fmla="*/ 67674 h 85152"/>
              <a:gd name="connsiteX54" fmla="*/ 99046 w 156859"/>
              <a:gd name="connsiteY54" fmla="*/ 4930 h 85152"/>
              <a:gd name="connsiteX55" fmla="*/ 108009 w 156859"/>
              <a:gd name="connsiteY55" fmla="*/ 4930 h 85152"/>
              <a:gd name="connsiteX56" fmla="*/ 108009 w 156859"/>
              <a:gd name="connsiteY56" fmla="*/ 25098 h 85152"/>
              <a:gd name="connsiteX57" fmla="*/ 114732 w 156859"/>
              <a:gd name="connsiteY57" fmla="*/ 31821 h 85152"/>
              <a:gd name="connsiteX58" fmla="*/ 148344 w 156859"/>
              <a:gd name="connsiteY58" fmla="*/ 31821 h 85152"/>
              <a:gd name="connsiteX59" fmla="*/ 148344 w 156859"/>
              <a:gd name="connsiteY59" fmla="*/ 65433 h 85152"/>
              <a:gd name="connsiteX60" fmla="*/ 146104 w 156859"/>
              <a:gd name="connsiteY60" fmla="*/ 67674 h 85152"/>
              <a:gd name="connsiteX61" fmla="*/ 138933 w 156859"/>
              <a:gd name="connsiteY61" fmla="*/ 67674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56859" h="85152">
                <a:moveTo>
                  <a:pt x="156860" y="67674"/>
                </a:moveTo>
                <a:lnTo>
                  <a:pt x="151930" y="67674"/>
                </a:lnTo>
                <a:cubicBezTo>
                  <a:pt x="152378" y="66777"/>
                  <a:pt x="152378" y="66329"/>
                  <a:pt x="152378" y="65433"/>
                </a:cubicBezTo>
                <a:lnTo>
                  <a:pt x="152378" y="30476"/>
                </a:lnTo>
                <a:cubicBezTo>
                  <a:pt x="152378" y="29580"/>
                  <a:pt x="151930" y="28235"/>
                  <a:pt x="151481" y="27339"/>
                </a:cubicBezTo>
                <a:lnTo>
                  <a:pt x="142070" y="8515"/>
                </a:lnTo>
                <a:cubicBezTo>
                  <a:pt x="139381" y="3138"/>
                  <a:pt x="134003" y="0"/>
                  <a:pt x="128177" y="0"/>
                </a:cubicBezTo>
                <a:lnTo>
                  <a:pt x="96357" y="0"/>
                </a:lnTo>
                <a:lnTo>
                  <a:pt x="6723" y="0"/>
                </a:lnTo>
                <a:cubicBezTo>
                  <a:pt x="3137" y="0"/>
                  <a:pt x="0" y="3138"/>
                  <a:pt x="0" y="6723"/>
                </a:cubicBezTo>
                <a:lnTo>
                  <a:pt x="0" y="64985"/>
                </a:lnTo>
                <a:cubicBezTo>
                  <a:pt x="0" y="68570"/>
                  <a:pt x="3137" y="71707"/>
                  <a:pt x="6723" y="71707"/>
                </a:cubicBezTo>
                <a:lnTo>
                  <a:pt x="13893" y="71707"/>
                </a:lnTo>
                <a:cubicBezTo>
                  <a:pt x="14790" y="79326"/>
                  <a:pt x="21512" y="85152"/>
                  <a:pt x="29131" y="85152"/>
                </a:cubicBezTo>
                <a:cubicBezTo>
                  <a:pt x="36750" y="85152"/>
                  <a:pt x="43473" y="79326"/>
                  <a:pt x="44369" y="71707"/>
                </a:cubicBezTo>
                <a:lnTo>
                  <a:pt x="96357" y="71707"/>
                </a:lnTo>
                <a:lnTo>
                  <a:pt x="108009" y="71707"/>
                </a:lnTo>
                <a:cubicBezTo>
                  <a:pt x="108905" y="79326"/>
                  <a:pt x="115628" y="85152"/>
                  <a:pt x="123247" y="85152"/>
                </a:cubicBezTo>
                <a:cubicBezTo>
                  <a:pt x="130866" y="85152"/>
                  <a:pt x="137588" y="79326"/>
                  <a:pt x="138485" y="71707"/>
                </a:cubicBezTo>
                <a:lnTo>
                  <a:pt x="145655" y="71707"/>
                </a:lnTo>
                <a:lnTo>
                  <a:pt x="156860" y="71707"/>
                </a:lnTo>
                <a:cubicBezTo>
                  <a:pt x="158204" y="71707"/>
                  <a:pt x="159100" y="70811"/>
                  <a:pt x="159100" y="69466"/>
                </a:cubicBezTo>
                <a:cubicBezTo>
                  <a:pt x="159100" y="68122"/>
                  <a:pt x="158204" y="67674"/>
                  <a:pt x="156860" y="67674"/>
                </a:cubicBezTo>
                <a:close/>
                <a:moveTo>
                  <a:pt x="138036" y="10756"/>
                </a:moveTo>
                <a:lnTo>
                  <a:pt x="146552" y="27339"/>
                </a:lnTo>
                <a:lnTo>
                  <a:pt x="114283" y="27339"/>
                </a:lnTo>
                <a:cubicBezTo>
                  <a:pt x="112939" y="27339"/>
                  <a:pt x="112043" y="26442"/>
                  <a:pt x="112043" y="25098"/>
                </a:cubicBezTo>
                <a:lnTo>
                  <a:pt x="112043" y="4930"/>
                </a:lnTo>
                <a:lnTo>
                  <a:pt x="128177" y="4930"/>
                </a:lnTo>
                <a:cubicBezTo>
                  <a:pt x="132210" y="4930"/>
                  <a:pt x="136244" y="7171"/>
                  <a:pt x="138036" y="10756"/>
                </a:cubicBezTo>
                <a:close/>
                <a:moveTo>
                  <a:pt x="4482" y="65433"/>
                </a:moveTo>
                <a:lnTo>
                  <a:pt x="4482" y="7171"/>
                </a:lnTo>
                <a:cubicBezTo>
                  <a:pt x="4482" y="5826"/>
                  <a:pt x="5378" y="4930"/>
                  <a:pt x="6723" y="4930"/>
                </a:cubicBezTo>
                <a:lnTo>
                  <a:pt x="94116" y="4930"/>
                </a:lnTo>
                <a:lnTo>
                  <a:pt x="94116" y="67674"/>
                </a:lnTo>
                <a:lnTo>
                  <a:pt x="44369" y="67674"/>
                </a:lnTo>
                <a:cubicBezTo>
                  <a:pt x="43473" y="60055"/>
                  <a:pt x="36750" y="54229"/>
                  <a:pt x="29131" y="54229"/>
                </a:cubicBezTo>
                <a:cubicBezTo>
                  <a:pt x="21512" y="54229"/>
                  <a:pt x="14790" y="60055"/>
                  <a:pt x="13893" y="67674"/>
                </a:cubicBezTo>
                <a:lnTo>
                  <a:pt x="6723" y="67674"/>
                </a:lnTo>
                <a:cubicBezTo>
                  <a:pt x="5378" y="67674"/>
                  <a:pt x="4482" y="66777"/>
                  <a:pt x="4482" y="65433"/>
                </a:cubicBezTo>
                <a:close/>
                <a:moveTo>
                  <a:pt x="29131" y="81119"/>
                </a:moveTo>
                <a:cubicBezTo>
                  <a:pt x="22857" y="81119"/>
                  <a:pt x="17927" y="76189"/>
                  <a:pt x="17927" y="69915"/>
                </a:cubicBezTo>
                <a:cubicBezTo>
                  <a:pt x="17927" y="63641"/>
                  <a:pt x="22857" y="58711"/>
                  <a:pt x="29131" y="58711"/>
                </a:cubicBezTo>
                <a:cubicBezTo>
                  <a:pt x="35405" y="58711"/>
                  <a:pt x="40335" y="63641"/>
                  <a:pt x="40335" y="69915"/>
                </a:cubicBezTo>
                <a:cubicBezTo>
                  <a:pt x="40335" y="76189"/>
                  <a:pt x="35405" y="81119"/>
                  <a:pt x="29131" y="81119"/>
                </a:cubicBezTo>
                <a:close/>
                <a:moveTo>
                  <a:pt x="123247" y="81119"/>
                </a:moveTo>
                <a:cubicBezTo>
                  <a:pt x="116972" y="81119"/>
                  <a:pt x="112043" y="76189"/>
                  <a:pt x="112043" y="69915"/>
                </a:cubicBezTo>
                <a:cubicBezTo>
                  <a:pt x="112043" y="63641"/>
                  <a:pt x="116972" y="58711"/>
                  <a:pt x="123247" y="58711"/>
                </a:cubicBezTo>
                <a:cubicBezTo>
                  <a:pt x="129521" y="58711"/>
                  <a:pt x="134451" y="63641"/>
                  <a:pt x="134451" y="69915"/>
                </a:cubicBezTo>
                <a:cubicBezTo>
                  <a:pt x="134451" y="76189"/>
                  <a:pt x="129521" y="81119"/>
                  <a:pt x="123247" y="81119"/>
                </a:cubicBezTo>
                <a:close/>
                <a:moveTo>
                  <a:pt x="138933" y="67674"/>
                </a:moveTo>
                <a:cubicBezTo>
                  <a:pt x="138036" y="60055"/>
                  <a:pt x="131314" y="54229"/>
                  <a:pt x="123695" y="54229"/>
                </a:cubicBezTo>
                <a:cubicBezTo>
                  <a:pt x="116076" y="54229"/>
                  <a:pt x="109353" y="60055"/>
                  <a:pt x="108457" y="67674"/>
                </a:cubicBezTo>
                <a:lnTo>
                  <a:pt x="99046" y="67674"/>
                </a:lnTo>
                <a:lnTo>
                  <a:pt x="99046" y="4930"/>
                </a:lnTo>
                <a:lnTo>
                  <a:pt x="108009" y="4930"/>
                </a:lnTo>
                <a:lnTo>
                  <a:pt x="108009" y="25098"/>
                </a:lnTo>
                <a:cubicBezTo>
                  <a:pt x="108009" y="28683"/>
                  <a:pt x="111146" y="31821"/>
                  <a:pt x="114732" y="31821"/>
                </a:cubicBezTo>
                <a:lnTo>
                  <a:pt x="148344" y="31821"/>
                </a:lnTo>
                <a:lnTo>
                  <a:pt x="148344" y="65433"/>
                </a:lnTo>
                <a:cubicBezTo>
                  <a:pt x="148344" y="66777"/>
                  <a:pt x="147448" y="67674"/>
                  <a:pt x="146104" y="67674"/>
                </a:cubicBezTo>
                <a:lnTo>
                  <a:pt x="138933" y="67674"/>
                </a:lnTo>
                <a:close/>
              </a:path>
            </a:pathLst>
          </a:custGeom>
          <a:solidFill>
            <a:srgbClr val="231F20"/>
          </a:solidFill>
          <a:ln w="4477" cap="flat">
            <a:noFill/>
            <a:prstDash val="solid"/>
            <a:miter/>
          </a:ln>
        </p:spPr>
        <p:txBody>
          <a:bodyPr rtlCol="0" anchor="ctr"/>
          <a:lstStyle/>
          <a:p>
            <a:endParaRPr lang="en-US"/>
          </a:p>
        </p:txBody>
      </p:sp>
      <p:grpSp>
        <p:nvGrpSpPr>
          <p:cNvPr id="3764" name="Group 3763">
            <a:extLst>
              <a:ext uri="{FF2B5EF4-FFF2-40B4-BE49-F238E27FC236}">
                <a16:creationId xmlns:a16="http://schemas.microsoft.com/office/drawing/2014/main" id="{032F9DFA-FD05-4918-B5CB-D2AE2B48DBFD}"/>
              </a:ext>
              <a:ext uri="{C183D7F6-B498-43B3-948B-1728B52AA6E4}">
                <adec:decorative xmlns:adec="http://schemas.microsoft.com/office/drawing/2017/decorative" val="1"/>
              </a:ext>
            </a:extLst>
          </p:cNvPr>
          <p:cNvGrpSpPr>
            <a:grpSpLocks noChangeAspect="1"/>
          </p:cNvGrpSpPr>
          <p:nvPr/>
        </p:nvGrpSpPr>
        <p:grpSpPr>
          <a:xfrm>
            <a:off x="3732523" y="2784988"/>
            <a:ext cx="156860" cy="121006"/>
            <a:chOff x="9634149" y="5631524"/>
            <a:chExt cx="156860" cy="121006"/>
          </a:xfrm>
        </p:grpSpPr>
        <p:sp>
          <p:nvSpPr>
            <p:cNvPr id="3765" name="Freeform: Shape 3764">
              <a:extLst>
                <a:ext uri="{FF2B5EF4-FFF2-40B4-BE49-F238E27FC236}">
                  <a16:creationId xmlns:a16="http://schemas.microsoft.com/office/drawing/2014/main" id="{862A2C35-107D-4227-AC56-71A582E3FB58}"/>
                </a:ext>
              </a:extLst>
            </p:cNvPr>
            <p:cNvSpPr/>
            <p:nvPr/>
          </p:nvSpPr>
          <p:spPr>
            <a:xfrm>
              <a:off x="9634149" y="5631524"/>
              <a:ext cx="156860" cy="121006"/>
            </a:xfrm>
            <a:custGeom>
              <a:avLst/>
              <a:gdLst>
                <a:gd name="connsiteX0" fmla="*/ 154346 w 156859"/>
                <a:gd name="connsiteY0" fmla="*/ 56189 h 121005"/>
                <a:gd name="connsiteX1" fmla="*/ 147176 w 156859"/>
                <a:gd name="connsiteY1" fmla="*/ 56189 h 121005"/>
                <a:gd name="connsiteX2" fmla="*/ 137764 w 156859"/>
                <a:gd name="connsiteY2" fmla="*/ 37814 h 121005"/>
                <a:gd name="connsiteX3" fmla="*/ 123871 w 156859"/>
                <a:gd name="connsiteY3" fmla="*/ 29299 h 121005"/>
                <a:gd name="connsiteX4" fmla="*/ 110426 w 156859"/>
                <a:gd name="connsiteY4" fmla="*/ 29299 h 121005"/>
                <a:gd name="connsiteX5" fmla="*/ 103703 w 156859"/>
                <a:gd name="connsiteY5" fmla="*/ 36021 h 121005"/>
                <a:gd name="connsiteX6" fmla="*/ 103703 w 156859"/>
                <a:gd name="connsiteY6" fmla="*/ 76357 h 121005"/>
                <a:gd name="connsiteX7" fmla="*/ 81295 w 156859"/>
                <a:gd name="connsiteY7" fmla="*/ 76357 h 121005"/>
                <a:gd name="connsiteX8" fmla="*/ 81295 w 156859"/>
                <a:gd name="connsiteY8" fmla="*/ 62464 h 121005"/>
                <a:gd name="connsiteX9" fmla="*/ 93843 w 156859"/>
                <a:gd name="connsiteY9" fmla="*/ 58879 h 121005"/>
                <a:gd name="connsiteX10" fmla="*/ 97877 w 156859"/>
                <a:gd name="connsiteY10" fmla="*/ 55741 h 121005"/>
                <a:gd name="connsiteX11" fmla="*/ 98773 w 156859"/>
                <a:gd name="connsiteY11" fmla="*/ 50811 h 121005"/>
                <a:gd name="connsiteX12" fmla="*/ 92947 w 156859"/>
                <a:gd name="connsiteY12" fmla="*/ 29299 h 121005"/>
                <a:gd name="connsiteX13" fmla="*/ 81295 w 156859"/>
                <a:gd name="connsiteY13" fmla="*/ 18095 h 121005"/>
                <a:gd name="connsiteX14" fmla="*/ 81295 w 156859"/>
                <a:gd name="connsiteY14" fmla="*/ 8683 h 121005"/>
                <a:gd name="connsiteX15" fmla="*/ 93395 w 156859"/>
                <a:gd name="connsiteY15" fmla="*/ 4202 h 121005"/>
                <a:gd name="connsiteX16" fmla="*/ 94740 w 156859"/>
                <a:gd name="connsiteY16" fmla="*/ 1513 h 121005"/>
                <a:gd name="connsiteX17" fmla="*/ 92051 w 156859"/>
                <a:gd name="connsiteY17" fmla="*/ 168 h 121005"/>
                <a:gd name="connsiteX18" fmla="*/ 78606 w 156859"/>
                <a:gd name="connsiteY18" fmla="*/ 5098 h 121005"/>
                <a:gd name="connsiteX19" fmla="*/ 77261 w 156859"/>
                <a:gd name="connsiteY19" fmla="*/ 7339 h 121005"/>
                <a:gd name="connsiteX20" fmla="*/ 77261 w 156859"/>
                <a:gd name="connsiteY20" fmla="*/ 18095 h 121005"/>
                <a:gd name="connsiteX21" fmla="*/ 74124 w 156859"/>
                <a:gd name="connsiteY21" fmla="*/ 18543 h 121005"/>
                <a:gd name="connsiteX22" fmla="*/ 5106 w 156859"/>
                <a:gd name="connsiteY22" fmla="*/ 36918 h 121005"/>
                <a:gd name="connsiteX23" fmla="*/ 1072 w 156859"/>
                <a:gd name="connsiteY23" fmla="*/ 40055 h 121005"/>
                <a:gd name="connsiteX24" fmla="*/ 176 w 156859"/>
                <a:gd name="connsiteY24" fmla="*/ 44985 h 121005"/>
                <a:gd name="connsiteX25" fmla="*/ 9139 w 156859"/>
                <a:gd name="connsiteY25" fmla="*/ 79494 h 121005"/>
                <a:gd name="connsiteX26" fmla="*/ 9139 w 156859"/>
                <a:gd name="connsiteY26" fmla="*/ 95180 h 121005"/>
                <a:gd name="connsiteX27" fmla="*/ 15862 w 156859"/>
                <a:gd name="connsiteY27" fmla="*/ 101903 h 121005"/>
                <a:gd name="connsiteX28" fmla="*/ 23481 w 156859"/>
                <a:gd name="connsiteY28" fmla="*/ 101903 h 121005"/>
                <a:gd name="connsiteX29" fmla="*/ 22584 w 156859"/>
                <a:gd name="connsiteY29" fmla="*/ 106385 h 121005"/>
                <a:gd name="connsiteX30" fmla="*/ 38270 w 156859"/>
                <a:gd name="connsiteY30" fmla="*/ 122071 h 121005"/>
                <a:gd name="connsiteX31" fmla="*/ 53956 w 156859"/>
                <a:gd name="connsiteY31" fmla="*/ 106385 h 121005"/>
                <a:gd name="connsiteX32" fmla="*/ 53060 w 156859"/>
                <a:gd name="connsiteY32" fmla="*/ 101903 h 121005"/>
                <a:gd name="connsiteX33" fmla="*/ 63368 w 156859"/>
                <a:gd name="connsiteY33" fmla="*/ 101903 h 121005"/>
                <a:gd name="connsiteX34" fmla="*/ 62471 w 156859"/>
                <a:gd name="connsiteY34" fmla="*/ 106385 h 121005"/>
                <a:gd name="connsiteX35" fmla="*/ 78157 w 156859"/>
                <a:gd name="connsiteY35" fmla="*/ 122071 h 121005"/>
                <a:gd name="connsiteX36" fmla="*/ 93843 w 156859"/>
                <a:gd name="connsiteY36" fmla="*/ 106385 h 121005"/>
                <a:gd name="connsiteX37" fmla="*/ 92947 w 156859"/>
                <a:gd name="connsiteY37" fmla="*/ 101903 h 121005"/>
                <a:gd name="connsiteX38" fmla="*/ 105048 w 156859"/>
                <a:gd name="connsiteY38" fmla="*/ 101903 h 121005"/>
                <a:gd name="connsiteX39" fmla="*/ 117148 w 156859"/>
                <a:gd name="connsiteY39" fmla="*/ 101903 h 121005"/>
                <a:gd name="connsiteX40" fmla="*/ 116252 w 156859"/>
                <a:gd name="connsiteY40" fmla="*/ 106385 h 121005"/>
                <a:gd name="connsiteX41" fmla="*/ 131938 w 156859"/>
                <a:gd name="connsiteY41" fmla="*/ 122071 h 121005"/>
                <a:gd name="connsiteX42" fmla="*/ 147624 w 156859"/>
                <a:gd name="connsiteY42" fmla="*/ 106385 h 121005"/>
                <a:gd name="connsiteX43" fmla="*/ 146727 w 156859"/>
                <a:gd name="connsiteY43" fmla="*/ 101903 h 121005"/>
                <a:gd name="connsiteX44" fmla="*/ 153450 w 156859"/>
                <a:gd name="connsiteY44" fmla="*/ 101903 h 121005"/>
                <a:gd name="connsiteX45" fmla="*/ 160172 w 156859"/>
                <a:gd name="connsiteY45" fmla="*/ 95180 h 121005"/>
                <a:gd name="connsiteX46" fmla="*/ 160172 w 156859"/>
                <a:gd name="connsiteY46" fmla="*/ 86217 h 121005"/>
                <a:gd name="connsiteX47" fmla="*/ 160172 w 156859"/>
                <a:gd name="connsiteY47" fmla="*/ 72772 h 121005"/>
                <a:gd name="connsiteX48" fmla="*/ 160172 w 156859"/>
                <a:gd name="connsiteY48" fmla="*/ 63808 h 121005"/>
                <a:gd name="connsiteX49" fmla="*/ 154346 w 156859"/>
                <a:gd name="connsiteY49" fmla="*/ 56189 h 121005"/>
                <a:gd name="connsiteX50" fmla="*/ 134179 w 156859"/>
                <a:gd name="connsiteY50" fmla="*/ 40055 h 121005"/>
                <a:gd name="connsiteX51" fmla="*/ 142694 w 156859"/>
                <a:gd name="connsiteY51" fmla="*/ 56189 h 121005"/>
                <a:gd name="connsiteX52" fmla="*/ 123423 w 156859"/>
                <a:gd name="connsiteY52" fmla="*/ 56189 h 121005"/>
                <a:gd name="connsiteX53" fmla="*/ 121182 w 156859"/>
                <a:gd name="connsiteY53" fmla="*/ 53948 h 121005"/>
                <a:gd name="connsiteX54" fmla="*/ 121182 w 156859"/>
                <a:gd name="connsiteY54" fmla="*/ 33781 h 121005"/>
                <a:gd name="connsiteX55" fmla="*/ 124319 w 156859"/>
                <a:gd name="connsiteY55" fmla="*/ 33781 h 121005"/>
                <a:gd name="connsiteX56" fmla="*/ 134179 w 156859"/>
                <a:gd name="connsiteY56" fmla="*/ 40055 h 121005"/>
                <a:gd name="connsiteX57" fmla="*/ 76813 w 156859"/>
                <a:gd name="connsiteY57" fmla="*/ 76357 h 121005"/>
                <a:gd name="connsiteX58" fmla="*/ 28411 w 156859"/>
                <a:gd name="connsiteY58" fmla="*/ 76357 h 121005"/>
                <a:gd name="connsiteX59" fmla="*/ 76813 w 156859"/>
                <a:gd name="connsiteY59" fmla="*/ 63360 h 121005"/>
                <a:gd name="connsiteX60" fmla="*/ 76813 w 156859"/>
                <a:gd name="connsiteY60" fmla="*/ 76357 h 121005"/>
                <a:gd name="connsiteX61" fmla="*/ 4209 w 156859"/>
                <a:gd name="connsiteY61" fmla="*/ 41848 h 121005"/>
                <a:gd name="connsiteX62" fmla="*/ 5554 w 156859"/>
                <a:gd name="connsiteY62" fmla="*/ 40952 h 121005"/>
                <a:gd name="connsiteX63" fmla="*/ 74572 w 156859"/>
                <a:gd name="connsiteY63" fmla="*/ 22576 h 121005"/>
                <a:gd name="connsiteX64" fmla="*/ 77261 w 156859"/>
                <a:gd name="connsiteY64" fmla="*/ 22128 h 121005"/>
                <a:gd name="connsiteX65" fmla="*/ 88017 w 156859"/>
                <a:gd name="connsiteY65" fmla="*/ 30644 h 121005"/>
                <a:gd name="connsiteX66" fmla="*/ 93843 w 156859"/>
                <a:gd name="connsiteY66" fmla="*/ 52156 h 121005"/>
                <a:gd name="connsiteX67" fmla="*/ 93395 w 156859"/>
                <a:gd name="connsiteY67" fmla="*/ 53948 h 121005"/>
                <a:gd name="connsiteX68" fmla="*/ 92051 w 156859"/>
                <a:gd name="connsiteY68" fmla="*/ 54845 h 121005"/>
                <a:gd name="connsiteX69" fmla="*/ 12276 w 156859"/>
                <a:gd name="connsiteY69" fmla="*/ 75909 h 121005"/>
                <a:gd name="connsiteX70" fmla="*/ 3761 w 156859"/>
                <a:gd name="connsiteY70" fmla="*/ 43641 h 121005"/>
                <a:gd name="connsiteX71" fmla="*/ 4209 w 156859"/>
                <a:gd name="connsiteY71" fmla="*/ 41848 h 121005"/>
                <a:gd name="connsiteX72" fmla="*/ 38718 w 156859"/>
                <a:gd name="connsiteY72" fmla="*/ 116692 h 121005"/>
                <a:gd name="connsiteX73" fmla="*/ 27514 w 156859"/>
                <a:gd name="connsiteY73" fmla="*/ 105488 h 121005"/>
                <a:gd name="connsiteX74" fmla="*/ 38718 w 156859"/>
                <a:gd name="connsiteY74" fmla="*/ 94284 h 121005"/>
                <a:gd name="connsiteX75" fmla="*/ 49923 w 156859"/>
                <a:gd name="connsiteY75" fmla="*/ 105488 h 121005"/>
                <a:gd name="connsiteX76" fmla="*/ 38718 w 156859"/>
                <a:gd name="connsiteY76" fmla="*/ 116692 h 121005"/>
                <a:gd name="connsiteX77" fmla="*/ 79054 w 156859"/>
                <a:gd name="connsiteY77" fmla="*/ 116692 h 121005"/>
                <a:gd name="connsiteX78" fmla="*/ 67849 w 156859"/>
                <a:gd name="connsiteY78" fmla="*/ 105488 h 121005"/>
                <a:gd name="connsiteX79" fmla="*/ 79054 w 156859"/>
                <a:gd name="connsiteY79" fmla="*/ 94284 h 121005"/>
                <a:gd name="connsiteX80" fmla="*/ 90258 w 156859"/>
                <a:gd name="connsiteY80" fmla="*/ 105488 h 121005"/>
                <a:gd name="connsiteX81" fmla="*/ 79054 w 156859"/>
                <a:gd name="connsiteY81" fmla="*/ 116692 h 121005"/>
                <a:gd name="connsiteX82" fmla="*/ 79054 w 156859"/>
                <a:gd name="connsiteY82" fmla="*/ 89802 h 121005"/>
                <a:gd name="connsiteX83" fmla="*/ 66057 w 156859"/>
                <a:gd name="connsiteY83" fmla="*/ 96524 h 121005"/>
                <a:gd name="connsiteX84" fmla="*/ 51267 w 156859"/>
                <a:gd name="connsiteY84" fmla="*/ 96524 h 121005"/>
                <a:gd name="connsiteX85" fmla="*/ 38270 w 156859"/>
                <a:gd name="connsiteY85" fmla="*/ 89802 h 121005"/>
                <a:gd name="connsiteX86" fmla="*/ 25273 w 156859"/>
                <a:gd name="connsiteY86" fmla="*/ 96524 h 121005"/>
                <a:gd name="connsiteX87" fmla="*/ 15414 w 156859"/>
                <a:gd name="connsiteY87" fmla="*/ 96524 h 121005"/>
                <a:gd name="connsiteX88" fmla="*/ 13173 w 156859"/>
                <a:gd name="connsiteY88" fmla="*/ 94284 h 121005"/>
                <a:gd name="connsiteX89" fmla="*/ 13173 w 156859"/>
                <a:gd name="connsiteY89" fmla="*/ 80839 h 121005"/>
                <a:gd name="connsiteX90" fmla="*/ 103255 w 156859"/>
                <a:gd name="connsiteY90" fmla="*/ 80839 h 121005"/>
                <a:gd name="connsiteX91" fmla="*/ 103255 w 156859"/>
                <a:gd name="connsiteY91" fmla="*/ 96524 h 121005"/>
                <a:gd name="connsiteX92" fmla="*/ 91602 w 156859"/>
                <a:gd name="connsiteY92" fmla="*/ 96524 h 121005"/>
                <a:gd name="connsiteX93" fmla="*/ 79054 w 156859"/>
                <a:gd name="connsiteY93" fmla="*/ 89802 h 121005"/>
                <a:gd name="connsiteX94" fmla="*/ 132834 w 156859"/>
                <a:gd name="connsiteY94" fmla="*/ 116692 h 121005"/>
                <a:gd name="connsiteX95" fmla="*/ 121630 w 156859"/>
                <a:gd name="connsiteY95" fmla="*/ 105488 h 121005"/>
                <a:gd name="connsiteX96" fmla="*/ 132834 w 156859"/>
                <a:gd name="connsiteY96" fmla="*/ 94284 h 121005"/>
                <a:gd name="connsiteX97" fmla="*/ 144038 w 156859"/>
                <a:gd name="connsiteY97" fmla="*/ 105488 h 121005"/>
                <a:gd name="connsiteX98" fmla="*/ 132834 w 156859"/>
                <a:gd name="connsiteY98" fmla="*/ 116692 h 121005"/>
                <a:gd name="connsiteX99" fmla="*/ 154346 w 156859"/>
                <a:gd name="connsiteY99" fmla="*/ 96524 h 121005"/>
                <a:gd name="connsiteX100" fmla="*/ 145383 w 156859"/>
                <a:gd name="connsiteY100" fmla="*/ 96524 h 121005"/>
                <a:gd name="connsiteX101" fmla="*/ 132386 w 156859"/>
                <a:gd name="connsiteY101" fmla="*/ 89802 h 121005"/>
                <a:gd name="connsiteX102" fmla="*/ 119389 w 156859"/>
                <a:gd name="connsiteY102" fmla="*/ 96524 h 121005"/>
                <a:gd name="connsiteX103" fmla="*/ 107737 w 156859"/>
                <a:gd name="connsiteY103" fmla="*/ 96524 h 121005"/>
                <a:gd name="connsiteX104" fmla="*/ 107737 w 156859"/>
                <a:gd name="connsiteY104" fmla="*/ 78598 h 121005"/>
                <a:gd name="connsiteX105" fmla="*/ 107737 w 156859"/>
                <a:gd name="connsiteY105" fmla="*/ 36021 h 121005"/>
                <a:gd name="connsiteX106" fmla="*/ 109978 w 156859"/>
                <a:gd name="connsiteY106" fmla="*/ 33781 h 121005"/>
                <a:gd name="connsiteX107" fmla="*/ 116252 w 156859"/>
                <a:gd name="connsiteY107" fmla="*/ 33781 h 121005"/>
                <a:gd name="connsiteX108" fmla="*/ 116252 w 156859"/>
                <a:gd name="connsiteY108" fmla="*/ 53948 h 121005"/>
                <a:gd name="connsiteX109" fmla="*/ 122974 w 156859"/>
                <a:gd name="connsiteY109" fmla="*/ 60671 h 121005"/>
                <a:gd name="connsiteX110" fmla="*/ 145831 w 156859"/>
                <a:gd name="connsiteY110" fmla="*/ 60671 h 121005"/>
                <a:gd name="connsiteX111" fmla="*/ 154346 w 156859"/>
                <a:gd name="connsiteY111" fmla="*/ 60671 h 121005"/>
                <a:gd name="connsiteX112" fmla="*/ 156587 w 156859"/>
                <a:gd name="connsiteY112" fmla="*/ 62912 h 121005"/>
                <a:gd name="connsiteX113" fmla="*/ 156587 w 156859"/>
                <a:gd name="connsiteY113" fmla="*/ 69634 h 121005"/>
                <a:gd name="connsiteX114" fmla="*/ 149865 w 156859"/>
                <a:gd name="connsiteY114" fmla="*/ 69634 h 121005"/>
                <a:gd name="connsiteX115" fmla="*/ 143142 w 156859"/>
                <a:gd name="connsiteY115" fmla="*/ 76357 h 121005"/>
                <a:gd name="connsiteX116" fmla="*/ 143142 w 156859"/>
                <a:gd name="connsiteY116" fmla="*/ 80839 h 121005"/>
                <a:gd name="connsiteX117" fmla="*/ 149865 w 156859"/>
                <a:gd name="connsiteY117" fmla="*/ 87561 h 121005"/>
                <a:gd name="connsiteX118" fmla="*/ 156587 w 156859"/>
                <a:gd name="connsiteY118" fmla="*/ 87561 h 121005"/>
                <a:gd name="connsiteX119" fmla="*/ 156587 w 156859"/>
                <a:gd name="connsiteY119" fmla="*/ 94284 h 121005"/>
                <a:gd name="connsiteX120" fmla="*/ 154346 w 156859"/>
                <a:gd name="connsiteY120" fmla="*/ 96524 h 121005"/>
                <a:gd name="connsiteX121" fmla="*/ 156587 w 156859"/>
                <a:gd name="connsiteY121" fmla="*/ 83079 h 121005"/>
                <a:gd name="connsiteX122" fmla="*/ 149865 w 156859"/>
                <a:gd name="connsiteY122" fmla="*/ 83079 h 121005"/>
                <a:gd name="connsiteX123" fmla="*/ 147624 w 156859"/>
                <a:gd name="connsiteY123" fmla="*/ 80839 h 121005"/>
                <a:gd name="connsiteX124" fmla="*/ 147624 w 156859"/>
                <a:gd name="connsiteY124" fmla="*/ 76357 h 121005"/>
                <a:gd name="connsiteX125" fmla="*/ 149865 w 156859"/>
                <a:gd name="connsiteY125" fmla="*/ 74116 h 121005"/>
                <a:gd name="connsiteX126" fmla="*/ 156587 w 156859"/>
                <a:gd name="connsiteY126" fmla="*/ 74116 h 121005"/>
                <a:gd name="connsiteX127" fmla="*/ 156587 w 156859"/>
                <a:gd name="connsiteY127" fmla="*/ 83079 h 1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56859" h="121005">
                  <a:moveTo>
                    <a:pt x="154346" y="56189"/>
                  </a:moveTo>
                  <a:lnTo>
                    <a:pt x="147176" y="56189"/>
                  </a:lnTo>
                  <a:lnTo>
                    <a:pt x="137764" y="37814"/>
                  </a:lnTo>
                  <a:cubicBezTo>
                    <a:pt x="135075" y="32436"/>
                    <a:pt x="129697" y="29299"/>
                    <a:pt x="123871" y="29299"/>
                  </a:cubicBezTo>
                  <a:lnTo>
                    <a:pt x="110426" y="29299"/>
                  </a:lnTo>
                  <a:cubicBezTo>
                    <a:pt x="106840" y="29299"/>
                    <a:pt x="103703" y="32436"/>
                    <a:pt x="103703" y="36021"/>
                  </a:cubicBezTo>
                  <a:lnTo>
                    <a:pt x="103703" y="76357"/>
                  </a:lnTo>
                  <a:lnTo>
                    <a:pt x="81295" y="76357"/>
                  </a:lnTo>
                  <a:lnTo>
                    <a:pt x="81295" y="62464"/>
                  </a:lnTo>
                  <a:lnTo>
                    <a:pt x="93843" y="58879"/>
                  </a:lnTo>
                  <a:cubicBezTo>
                    <a:pt x="95636" y="58430"/>
                    <a:pt x="96981" y="57086"/>
                    <a:pt x="97877" y="55741"/>
                  </a:cubicBezTo>
                  <a:cubicBezTo>
                    <a:pt x="98773" y="54397"/>
                    <a:pt x="99221" y="52156"/>
                    <a:pt x="98773" y="50811"/>
                  </a:cubicBezTo>
                  <a:lnTo>
                    <a:pt x="92947" y="29299"/>
                  </a:lnTo>
                  <a:cubicBezTo>
                    <a:pt x="91602" y="23473"/>
                    <a:pt x="86673" y="19439"/>
                    <a:pt x="81295" y="18095"/>
                  </a:cubicBezTo>
                  <a:lnTo>
                    <a:pt x="81295" y="8683"/>
                  </a:lnTo>
                  <a:lnTo>
                    <a:pt x="93395" y="4202"/>
                  </a:lnTo>
                  <a:cubicBezTo>
                    <a:pt x="94740" y="3753"/>
                    <a:pt x="95188" y="2409"/>
                    <a:pt x="94740" y="1513"/>
                  </a:cubicBezTo>
                  <a:cubicBezTo>
                    <a:pt x="94292" y="168"/>
                    <a:pt x="92947" y="-280"/>
                    <a:pt x="92051" y="168"/>
                  </a:cubicBezTo>
                  <a:lnTo>
                    <a:pt x="78606" y="5098"/>
                  </a:lnTo>
                  <a:cubicBezTo>
                    <a:pt x="77709" y="5546"/>
                    <a:pt x="77261" y="6442"/>
                    <a:pt x="77261" y="7339"/>
                  </a:cubicBezTo>
                  <a:lnTo>
                    <a:pt x="77261" y="18095"/>
                  </a:lnTo>
                  <a:cubicBezTo>
                    <a:pt x="76365" y="18095"/>
                    <a:pt x="75020" y="18095"/>
                    <a:pt x="74124" y="18543"/>
                  </a:cubicBezTo>
                  <a:lnTo>
                    <a:pt x="5106" y="36918"/>
                  </a:lnTo>
                  <a:cubicBezTo>
                    <a:pt x="3313" y="37366"/>
                    <a:pt x="1968" y="38711"/>
                    <a:pt x="1072" y="40055"/>
                  </a:cubicBezTo>
                  <a:cubicBezTo>
                    <a:pt x="176" y="41400"/>
                    <a:pt x="-272" y="43641"/>
                    <a:pt x="176" y="44985"/>
                  </a:cubicBezTo>
                  <a:lnTo>
                    <a:pt x="9139" y="79494"/>
                  </a:lnTo>
                  <a:lnTo>
                    <a:pt x="9139" y="95180"/>
                  </a:lnTo>
                  <a:cubicBezTo>
                    <a:pt x="9139" y="98765"/>
                    <a:pt x="12276" y="101903"/>
                    <a:pt x="15862" y="101903"/>
                  </a:cubicBezTo>
                  <a:lnTo>
                    <a:pt x="23481" y="101903"/>
                  </a:lnTo>
                  <a:cubicBezTo>
                    <a:pt x="23032" y="103247"/>
                    <a:pt x="22584" y="105040"/>
                    <a:pt x="22584" y="106385"/>
                  </a:cubicBezTo>
                  <a:cubicBezTo>
                    <a:pt x="22584" y="114900"/>
                    <a:pt x="29755" y="122071"/>
                    <a:pt x="38270" y="122071"/>
                  </a:cubicBezTo>
                  <a:cubicBezTo>
                    <a:pt x="46785" y="122071"/>
                    <a:pt x="53956" y="114900"/>
                    <a:pt x="53956" y="106385"/>
                  </a:cubicBezTo>
                  <a:cubicBezTo>
                    <a:pt x="53956" y="105040"/>
                    <a:pt x="53508" y="103247"/>
                    <a:pt x="53060" y="101903"/>
                  </a:cubicBezTo>
                  <a:lnTo>
                    <a:pt x="63368" y="101903"/>
                  </a:lnTo>
                  <a:cubicBezTo>
                    <a:pt x="62920" y="103247"/>
                    <a:pt x="62471" y="105040"/>
                    <a:pt x="62471" y="106385"/>
                  </a:cubicBezTo>
                  <a:cubicBezTo>
                    <a:pt x="62471" y="114900"/>
                    <a:pt x="69642" y="122071"/>
                    <a:pt x="78157" y="122071"/>
                  </a:cubicBezTo>
                  <a:cubicBezTo>
                    <a:pt x="86673" y="122071"/>
                    <a:pt x="93843" y="114900"/>
                    <a:pt x="93843" y="106385"/>
                  </a:cubicBezTo>
                  <a:cubicBezTo>
                    <a:pt x="93843" y="105040"/>
                    <a:pt x="93395" y="103247"/>
                    <a:pt x="92947" y="101903"/>
                  </a:cubicBezTo>
                  <a:lnTo>
                    <a:pt x="105048" y="101903"/>
                  </a:lnTo>
                  <a:lnTo>
                    <a:pt x="117148" y="101903"/>
                  </a:lnTo>
                  <a:cubicBezTo>
                    <a:pt x="116700" y="103247"/>
                    <a:pt x="116252" y="105040"/>
                    <a:pt x="116252" y="106385"/>
                  </a:cubicBezTo>
                  <a:cubicBezTo>
                    <a:pt x="116252" y="114900"/>
                    <a:pt x="123423" y="122071"/>
                    <a:pt x="131938" y="122071"/>
                  </a:cubicBezTo>
                  <a:cubicBezTo>
                    <a:pt x="140453" y="122071"/>
                    <a:pt x="147624" y="114900"/>
                    <a:pt x="147624" y="106385"/>
                  </a:cubicBezTo>
                  <a:cubicBezTo>
                    <a:pt x="147624" y="105040"/>
                    <a:pt x="147176" y="103247"/>
                    <a:pt x="146727" y="101903"/>
                  </a:cubicBezTo>
                  <a:lnTo>
                    <a:pt x="153450" y="101903"/>
                  </a:lnTo>
                  <a:cubicBezTo>
                    <a:pt x="157035" y="101903"/>
                    <a:pt x="160172" y="98765"/>
                    <a:pt x="160172" y="95180"/>
                  </a:cubicBezTo>
                  <a:lnTo>
                    <a:pt x="160172" y="86217"/>
                  </a:lnTo>
                  <a:lnTo>
                    <a:pt x="160172" y="72772"/>
                  </a:lnTo>
                  <a:lnTo>
                    <a:pt x="160172" y="63808"/>
                  </a:lnTo>
                  <a:cubicBezTo>
                    <a:pt x="161069" y="59327"/>
                    <a:pt x="158380" y="56189"/>
                    <a:pt x="154346" y="56189"/>
                  </a:cubicBezTo>
                  <a:close/>
                  <a:moveTo>
                    <a:pt x="134179" y="40055"/>
                  </a:moveTo>
                  <a:lnTo>
                    <a:pt x="142694" y="56189"/>
                  </a:lnTo>
                  <a:lnTo>
                    <a:pt x="123423" y="56189"/>
                  </a:lnTo>
                  <a:cubicBezTo>
                    <a:pt x="122078" y="56189"/>
                    <a:pt x="121182" y="55293"/>
                    <a:pt x="121182" y="53948"/>
                  </a:cubicBezTo>
                  <a:lnTo>
                    <a:pt x="121182" y="33781"/>
                  </a:lnTo>
                  <a:lnTo>
                    <a:pt x="124319" y="33781"/>
                  </a:lnTo>
                  <a:cubicBezTo>
                    <a:pt x="128352" y="33781"/>
                    <a:pt x="132386" y="36021"/>
                    <a:pt x="134179" y="40055"/>
                  </a:cubicBezTo>
                  <a:close/>
                  <a:moveTo>
                    <a:pt x="76813" y="76357"/>
                  </a:moveTo>
                  <a:lnTo>
                    <a:pt x="28411" y="76357"/>
                  </a:lnTo>
                  <a:lnTo>
                    <a:pt x="76813" y="63360"/>
                  </a:lnTo>
                  <a:lnTo>
                    <a:pt x="76813" y="76357"/>
                  </a:lnTo>
                  <a:close/>
                  <a:moveTo>
                    <a:pt x="4209" y="41848"/>
                  </a:moveTo>
                  <a:cubicBezTo>
                    <a:pt x="4658" y="41400"/>
                    <a:pt x="5106" y="40952"/>
                    <a:pt x="5554" y="40952"/>
                  </a:cubicBezTo>
                  <a:lnTo>
                    <a:pt x="74572" y="22576"/>
                  </a:lnTo>
                  <a:cubicBezTo>
                    <a:pt x="75468" y="22128"/>
                    <a:pt x="76365" y="22128"/>
                    <a:pt x="77261" y="22128"/>
                  </a:cubicBezTo>
                  <a:cubicBezTo>
                    <a:pt x="82191" y="22128"/>
                    <a:pt x="86673" y="25266"/>
                    <a:pt x="88017" y="30644"/>
                  </a:cubicBezTo>
                  <a:lnTo>
                    <a:pt x="93843" y="52156"/>
                  </a:lnTo>
                  <a:cubicBezTo>
                    <a:pt x="93843" y="52604"/>
                    <a:pt x="93843" y="53500"/>
                    <a:pt x="93395" y="53948"/>
                  </a:cubicBezTo>
                  <a:cubicBezTo>
                    <a:pt x="92947" y="54397"/>
                    <a:pt x="92499" y="54845"/>
                    <a:pt x="92051" y="54845"/>
                  </a:cubicBezTo>
                  <a:lnTo>
                    <a:pt x="12276" y="75909"/>
                  </a:lnTo>
                  <a:lnTo>
                    <a:pt x="3761" y="43641"/>
                  </a:lnTo>
                  <a:cubicBezTo>
                    <a:pt x="4209" y="42744"/>
                    <a:pt x="4209" y="42296"/>
                    <a:pt x="4209" y="41848"/>
                  </a:cubicBezTo>
                  <a:close/>
                  <a:moveTo>
                    <a:pt x="38718" y="116692"/>
                  </a:moveTo>
                  <a:cubicBezTo>
                    <a:pt x="32444" y="116692"/>
                    <a:pt x="27514" y="111762"/>
                    <a:pt x="27514" y="105488"/>
                  </a:cubicBezTo>
                  <a:cubicBezTo>
                    <a:pt x="27514" y="99214"/>
                    <a:pt x="32444" y="94284"/>
                    <a:pt x="38718" y="94284"/>
                  </a:cubicBezTo>
                  <a:cubicBezTo>
                    <a:pt x="44993" y="94284"/>
                    <a:pt x="49923" y="99214"/>
                    <a:pt x="49923" y="105488"/>
                  </a:cubicBezTo>
                  <a:cubicBezTo>
                    <a:pt x="49923" y="111762"/>
                    <a:pt x="44545" y="116692"/>
                    <a:pt x="38718" y="116692"/>
                  </a:cubicBezTo>
                  <a:close/>
                  <a:moveTo>
                    <a:pt x="79054" y="116692"/>
                  </a:moveTo>
                  <a:cubicBezTo>
                    <a:pt x="72779" y="116692"/>
                    <a:pt x="67849" y="111762"/>
                    <a:pt x="67849" y="105488"/>
                  </a:cubicBezTo>
                  <a:cubicBezTo>
                    <a:pt x="67849" y="99214"/>
                    <a:pt x="72779" y="94284"/>
                    <a:pt x="79054" y="94284"/>
                  </a:cubicBezTo>
                  <a:cubicBezTo>
                    <a:pt x="85328" y="94284"/>
                    <a:pt x="90258" y="99214"/>
                    <a:pt x="90258" y="105488"/>
                  </a:cubicBezTo>
                  <a:cubicBezTo>
                    <a:pt x="90258" y="111762"/>
                    <a:pt x="84880" y="116692"/>
                    <a:pt x="79054" y="116692"/>
                  </a:cubicBezTo>
                  <a:close/>
                  <a:moveTo>
                    <a:pt x="79054" y="89802"/>
                  </a:moveTo>
                  <a:cubicBezTo>
                    <a:pt x="73676" y="89802"/>
                    <a:pt x="69194" y="92491"/>
                    <a:pt x="66057" y="96524"/>
                  </a:cubicBezTo>
                  <a:lnTo>
                    <a:pt x="51267" y="96524"/>
                  </a:lnTo>
                  <a:cubicBezTo>
                    <a:pt x="48578" y="92491"/>
                    <a:pt x="43648" y="89802"/>
                    <a:pt x="38270" y="89802"/>
                  </a:cubicBezTo>
                  <a:cubicBezTo>
                    <a:pt x="32892" y="89802"/>
                    <a:pt x="28411" y="92491"/>
                    <a:pt x="25273" y="96524"/>
                  </a:cubicBezTo>
                  <a:lnTo>
                    <a:pt x="15414" y="96524"/>
                  </a:lnTo>
                  <a:cubicBezTo>
                    <a:pt x="14069" y="96524"/>
                    <a:pt x="13173" y="95628"/>
                    <a:pt x="13173" y="94284"/>
                  </a:cubicBezTo>
                  <a:lnTo>
                    <a:pt x="13173" y="80839"/>
                  </a:lnTo>
                  <a:lnTo>
                    <a:pt x="103255" y="80839"/>
                  </a:lnTo>
                  <a:lnTo>
                    <a:pt x="103255" y="96524"/>
                  </a:lnTo>
                  <a:lnTo>
                    <a:pt x="91602" y="96524"/>
                  </a:lnTo>
                  <a:cubicBezTo>
                    <a:pt x="88914" y="92491"/>
                    <a:pt x="83984" y="89802"/>
                    <a:pt x="79054" y="89802"/>
                  </a:cubicBezTo>
                  <a:close/>
                  <a:moveTo>
                    <a:pt x="132834" y="116692"/>
                  </a:moveTo>
                  <a:cubicBezTo>
                    <a:pt x="126560" y="116692"/>
                    <a:pt x="121630" y="111762"/>
                    <a:pt x="121630" y="105488"/>
                  </a:cubicBezTo>
                  <a:cubicBezTo>
                    <a:pt x="121630" y="99214"/>
                    <a:pt x="126560" y="94284"/>
                    <a:pt x="132834" y="94284"/>
                  </a:cubicBezTo>
                  <a:cubicBezTo>
                    <a:pt x="139109" y="94284"/>
                    <a:pt x="144038" y="99214"/>
                    <a:pt x="144038" y="105488"/>
                  </a:cubicBezTo>
                  <a:cubicBezTo>
                    <a:pt x="144038" y="111762"/>
                    <a:pt x="138660" y="116692"/>
                    <a:pt x="132834" y="116692"/>
                  </a:cubicBezTo>
                  <a:close/>
                  <a:moveTo>
                    <a:pt x="154346" y="96524"/>
                  </a:moveTo>
                  <a:lnTo>
                    <a:pt x="145383" y="96524"/>
                  </a:lnTo>
                  <a:cubicBezTo>
                    <a:pt x="142694" y="92491"/>
                    <a:pt x="137764" y="89802"/>
                    <a:pt x="132386" y="89802"/>
                  </a:cubicBezTo>
                  <a:cubicBezTo>
                    <a:pt x="127008" y="89802"/>
                    <a:pt x="122526" y="92491"/>
                    <a:pt x="119389" y="96524"/>
                  </a:cubicBezTo>
                  <a:lnTo>
                    <a:pt x="107737" y="96524"/>
                  </a:lnTo>
                  <a:lnTo>
                    <a:pt x="107737" y="78598"/>
                  </a:lnTo>
                  <a:lnTo>
                    <a:pt x="107737" y="36021"/>
                  </a:lnTo>
                  <a:cubicBezTo>
                    <a:pt x="107737" y="34677"/>
                    <a:pt x="108633" y="33781"/>
                    <a:pt x="109978" y="33781"/>
                  </a:cubicBezTo>
                  <a:lnTo>
                    <a:pt x="116252" y="33781"/>
                  </a:lnTo>
                  <a:lnTo>
                    <a:pt x="116252" y="53948"/>
                  </a:lnTo>
                  <a:cubicBezTo>
                    <a:pt x="116252" y="57534"/>
                    <a:pt x="119389" y="60671"/>
                    <a:pt x="122974" y="60671"/>
                  </a:cubicBezTo>
                  <a:lnTo>
                    <a:pt x="145831" y="60671"/>
                  </a:lnTo>
                  <a:lnTo>
                    <a:pt x="154346" y="60671"/>
                  </a:lnTo>
                  <a:cubicBezTo>
                    <a:pt x="155691" y="60671"/>
                    <a:pt x="156587" y="61568"/>
                    <a:pt x="156587" y="62912"/>
                  </a:cubicBezTo>
                  <a:lnTo>
                    <a:pt x="156587" y="69634"/>
                  </a:lnTo>
                  <a:lnTo>
                    <a:pt x="149865" y="69634"/>
                  </a:lnTo>
                  <a:cubicBezTo>
                    <a:pt x="146279" y="69634"/>
                    <a:pt x="143142" y="72772"/>
                    <a:pt x="143142" y="76357"/>
                  </a:cubicBezTo>
                  <a:lnTo>
                    <a:pt x="143142" y="80839"/>
                  </a:lnTo>
                  <a:cubicBezTo>
                    <a:pt x="143142" y="84424"/>
                    <a:pt x="146279" y="87561"/>
                    <a:pt x="149865" y="87561"/>
                  </a:cubicBezTo>
                  <a:lnTo>
                    <a:pt x="156587" y="87561"/>
                  </a:lnTo>
                  <a:lnTo>
                    <a:pt x="156587" y="94284"/>
                  </a:lnTo>
                  <a:cubicBezTo>
                    <a:pt x="156587" y="95628"/>
                    <a:pt x="155691" y="96524"/>
                    <a:pt x="154346" y="96524"/>
                  </a:cubicBezTo>
                  <a:close/>
                  <a:moveTo>
                    <a:pt x="156587" y="83079"/>
                  </a:moveTo>
                  <a:lnTo>
                    <a:pt x="149865" y="83079"/>
                  </a:lnTo>
                  <a:cubicBezTo>
                    <a:pt x="148520" y="83079"/>
                    <a:pt x="147624" y="82183"/>
                    <a:pt x="147624" y="80839"/>
                  </a:cubicBezTo>
                  <a:lnTo>
                    <a:pt x="147624" y="76357"/>
                  </a:lnTo>
                  <a:cubicBezTo>
                    <a:pt x="147624" y="75013"/>
                    <a:pt x="148520" y="74116"/>
                    <a:pt x="149865" y="74116"/>
                  </a:cubicBezTo>
                  <a:lnTo>
                    <a:pt x="156587" y="74116"/>
                  </a:lnTo>
                  <a:lnTo>
                    <a:pt x="156587" y="83079"/>
                  </a:lnTo>
                  <a:close/>
                </a:path>
              </a:pathLst>
            </a:custGeom>
            <a:solidFill>
              <a:srgbClr val="231F20"/>
            </a:solidFill>
            <a:ln w="4477" cap="flat">
              <a:noFill/>
              <a:prstDash val="solid"/>
              <a:miter/>
            </a:ln>
          </p:spPr>
          <p:txBody>
            <a:bodyPr rtlCol="0" anchor="ctr"/>
            <a:lstStyle/>
            <a:p>
              <a:endParaRPr lang="en-US"/>
            </a:p>
          </p:txBody>
        </p:sp>
        <p:sp>
          <p:nvSpPr>
            <p:cNvPr id="3766" name="Freeform: Shape 3765">
              <a:extLst>
                <a:ext uri="{FF2B5EF4-FFF2-40B4-BE49-F238E27FC236}">
                  <a16:creationId xmlns:a16="http://schemas.microsoft.com/office/drawing/2014/main" id="{899238C0-63D0-46E9-B2B5-EDFD796E12DD}"/>
                </a:ext>
              </a:extLst>
            </p:cNvPr>
            <p:cNvSpPr/>
            <p:nvPr/>
          </p:nvSpPr>
          <p:spPr>
            <a:xfrm>
              <a:off x="9696173" y="5659479"/>
              <a:ext cx="8963" cy="26890"/>
            </a:xfrm>
            <a:custGeom>
              <a:avLst/>
              <a:gdLst>
                <a:gd name="connsiteX0" fmla="*/ 6723 w 8963"/>
                <a:gd name="connsiteY0" fmla="*/ 27786 h 26890"/>
                <a:gd name="connsiteX1" fmla="*/ 8963 w 8963"/>
                <a:gd name="connsiteY1" fmla="*/ 29579 h 26890"/>
                <a:gd name="connsiteX2" fmla="*/ 9411 w 8963"/>
                <a:gd name="connsiteY2" fmla="*/ 29579 h 26890"/>
                <a:gd name="connsiteX3" fmla="*/ 11204 w 8963"/>
                <a:gd name="connsiteY3" fmla="*/ 26890 h 26890"/>
                <a:gd name="connsiteX4" fmla="*/ 4482 w 8963"/>
                <a:gd name="connsiteY4" fmla="*/ 1793 h 26890"/>
                <a:gd name="connsiteX5" fmla="*/ 1793 w 8963"/>
                <a:gd name="connsiteY5" fmla="*/ 0 h 26890"/>
                <a:gd name="connsiteX6" fmla="*/ 0 w 8963"/>
                <a:gd name="connsiteY6" fmla="*/ 2689 h 26890"/>
                <a:gd name="connsiteX7" fmla="*/ 6723 w 8963"/>
                <a:gd name="connsiteY7" fmla="*/ 2778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6890">
                  <a:moveTo>
                    <a:pt x="6723" y="27786"/>
                  </a:moveTo>
                  <a:cubicBezTo>
                    <a:pt x="7171" y="28683"/>
                    <a:pt x="8067" y="29579"/>
                    <a:pt x="8963" y="29579"/>
                  </a:cubicBezTo>
                  <a:cubicBezTo>
                    <a:pt x="8963" y="29579"/>
                    <a:pt x="9411" y="29579"/>
                    <a:pt x="9411" y="29579"/>
                  </a:cubicBezTo>
                  <a:cubicBezTo>
                    <a:pt x="10756" y="29131"/>
                    <a:pt x="11204" y="28234"/>
                    <a:pt x="11204" y="26890"/>
                  </a:cubicBezTo>
                  <a:lnTo>
                    <a:pt x="4482" y="1793"/>
                  </a:lnTo>
                  <a:cubicBezTo>
                    <a:pt x="4033" y="448"/>
                    <a:pt x="3137" y="0"/>
                    <a:pt x="1793" y="0"/>
                  </a:cubicBezTo>
                  <a:cubicBezTo>
                    <a:pt x="448" y="448"/>
                    <a:pt x="0" y="1344"/>
                    <a:pt x="0" y="2689"/>
                  </a:cubicBezTo>
                  <a:lnTo>
                    <a:pt x="6723" y="27786"/>
                  </a:lnTo>
                  <a:close/>
                </a:path>
              </a:pathLst>
            </a:custGeom>
            <a:solidFill>
              <a:srgbClr val="231F20"/>
            </a:solidFill>
            <a:ln w="4477" cap="flat">
              <a:noFill/>
              <a:prstDash val="solid"/>
              <a:miter/>
            </a:ln>
          </p:spPr>
          <p:txBody>
            <a:bodyPr rtlCol="0" anchor="ctr"/>
            <a:lstStyle/>
            <a:p>
              <a:endParaRPr lang="en-US"/>
            </a:p>
          </p:txBody>
        </p:sp>
        <p:sp>
          <p:nvSpPr>
            <p:cNvPr id="3767" name="Freeform: Shape 3766">
              <a:extLst>
                <a:ext uri="{FF2B5EF4-FFF2-40B4-BE49-F238E27FC236}">
                  <a16:creationId xmlns:a16="http://schemas.microsoft.com/office/drawing/2014/main" id="{5FA9871D-56DE-4B8F-B8E0-EB2944D0953A}"/>
                </a:ext>
              </a:extLst>
            </p:cNvPr>
            <p:cNvSpPr/>
            <p:nvPr/>
          </p:nvSpPr>
          <p:spPr>
            <a:xfrm>
              <a:off x="9675109" y="5665304"/>
              <a:ext cx="8963" cy="26890"/>
            </a:xfrm>
            <a:custGeom>
              <a:avLst/>
              <a:gdLst>
                <a:gd name="connsiteX0" fmla="*/ 6723 w 8963"/>
                <a:gd name="connsiteY0" fmla="*/ 27787 h 26890"/>
                <a:gd name="connsiteX1" fmla="*/ 8963 w 8963"/>
                <a:gd name="connsiteY1" fmla="*/ 29580 h 26890"/>
                <a:gd name="connsiteX2" fmla="*/ 9411 w 8963"/>
                <a:gd name="connsiteY2" fmla="*/ 29580 h 26890"/>
                <a:gd name="connsiteX3" fmla="*/ 11204 w 8963"/>
                <a:gd name="connsiteY3" fmla="*/ 26890 h 26890"/>
                <a:gd name="connsiteX4" fmla="*/ 4482 w 8963"/>
                <a:gd name="connsiteY4" fmla="*/ 1793 h 26890"/>
                <a:gd name="connsiteX5" fmla="*/ 1793 w 8963"/>
                <a:gd name="connsiteY5" fmla="*/ 0 h 26890"/>
                <a:gd name="connsiteX6" fmla="*/ 0 w 8963"/>
                <a:gd name="connsiteY6" fmla="*/ 2689 h 26890"/>
                <a:gd name="connsiteX7" fmla="*/ 6723 w 8963"/>
                <a:gd name="connsiteY7" fmla="*/ 27787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6890">
                  <a:moveTo>
                    <a:pt x="6723" y="27787"/>
                  </a:moveTo>
                  <a:cubicBezTo>
                    <a:pt x="7171" y="28683"/>
                    <a:pt x="8067" y="29580"/>
                    <a:pt x="8963" y="29580"/>
                  </a:cubicBezTo>
                  <a:cubicBezTo>
                    <a:pt x="8963" y="29580"/>
                    <a:pt x="9411" y="29580"/>
                    <a:pt x="9411" y="29580"/>
                  </a:cubicBezTo>
                  <a:cubicBezTo>
                    <a:pt x="10756" y="29131"/>
                    <a:pt x="11204" y="28235"/>
                    <a:pt x="11204" y="26890"/>
                  </a:cubicBezTo>
                  <a:lnTo>
                    <a:pt x="4482" y="1793"/>
                  </a:lnTo>
                  <a:cubicBezTo>
                    <a:pt x="4034" y="449"/>
                    <a:pt x="3137" y="0"/>
                    <a:pt x="1793" y="0"/>
                  </a:cubicBezTo>
                  <a:cubicBezTo>
                    <a:pt x="448" y="449"/>
                    <a:pt x="0" y="1345"/>
                    <a:pt x="0" y="2689"/>
                  </a:cubicBezTo>
                  <a:lnTo>
                    <a:pt x="6723" y="27787"/>
                  </a:lnTo>
                  <a:close/>
                </a:path>
              </a:pathLst>
            </a:custGeom>
            <a:solidFill>
              <a:srgbClr val="231F20"/>
            </a:solidFill>
            <a:ln w="4477" cap="flat">
              <a:noFill/>
              <a:prstDash val="solid"/>
              <a:miter/>
            </a:ln>
          </p:spPr>
          <p:txBody>
            <a:bodyPr rtlCol="0" anchor="ctr"/>
            <a:lstStyle/>
            <a:p>
              <a:endParaRPr lang="en-US"/>
            </a:p>
          </p:txBody>
        </p:sp>
        <p:sp>
          <p:nvSpPr>
            <p:cNvPr id="3768" name="Freeform: Shape 3767">
              <a:extLst>
                <a:ext uri="{FF2B5EF4-FFF2-40B4-BE49-F238E27FC236}">
                  <a16:creationId xmlns:a16="http://schemas.microsoft.com/office/drawing/2014/main" id="{1D275323-D7E1-4CCF-B254-16F221354CBA}"/>
                </a:ext>
              </a:extLst>
            </p:cNvPr>
            <p:cNvSpPr/>
            <p:nvPr/>
          </p:nvSpPr>
          <p:spPr>
            <a:xfrm>
              <a:off x="9655389" y="5671131"/>
              <a:ext cx="8963" cy="26890"/>
            </a:xfrm>
            <a:custGeom>
              <a:avLst/>
              <a:gdLst>
                <a:gd name="connsiteX0" fmla="*/ 6723 w 8963"/>
                <a:gd name="connsiteY0" fmla="*/ 27786 h 26890"/>
                <a:gd name="connsiteX1" fmla="*/ 8963 w 8963"/>
                <a:gd name="connsiteY1" fmla="*/ 29579 h 26890"/>
                <a:gd name="connsiteX2" fmla="*/ 9412 w 8963"/>
                <a:gd name="connsiteY2" fmla="*/ 29579 h 26890"/>
                <a:gd name="connsiteX3" fmla="*/ 11204 w 8963"/>
                <a:gd name="connsiteY3" fmla="*/ 26890 h 26890"/>
                <a:gd name="connsiteX4" fmla="*/ 4482 w 8963"/>
                <a:gd name="connsiteY4" fmla="*/ 1793 h 26890"/>
                <a:gd name="connsiteX5" fmla="*/ 1793 w 8963"/>
                <a:gd name="connsiteY5" fmla="*/ 0 h 26890"/>
                <a:gd name="connsiteX6" fmla="*/ 0 w 8963"/>
                <a:gd name="connsiteY6" fmla="*/ 2689 h 26890"/>
                <a:gd name="connsiteX7" fmla="*/ 6723 w 8963"/>
                <a:gd name="connsiteY7" fmla="*/ 2778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 h="26890">
                  <a:moveTo>
                    <a:pt x="6723" y="27786"/>
                  </a:moveTo>
                  <a:cubicBezTo>
                    <a:pt x="7171" y="28683"/>
                    <a:pt x="8067" y="29579"/>
                    <a:pt x="8963" y="29579"/>
                  </a:cubicBezTo>
                  <a:cubicBezTo>
                    <a:pt x="8963" y="29579"/>
                    <a:pt x="9412" y="29579"/>
                    <a:pt x="9412" y="29579"/>
                  </a:cubicBezTo>
                  <a:cubicBezTo>
                    <a:pt x="10756" y="29131"/>
                    <a:pt x="11204" y="28235"/>
                    <a:pt x="11204" y="26890"/>
                  </a:cubicBezTo>
                  <a:lnTo>
                    <a:pt x="4482" y="1793"/>
                  </a:lnTo>
                  <a:cubicBezTo>
                    <a:pt x="4034" y="448"/>
                    <a:pt x="3137" y="0"/>
                    <a:pt x="1793" y="0"/>
                  </a:cubicBezTo>
                  <a:cubicBezTo>
                    <a:pt x="448" y="448"/>
                    <a:pt x="0" y="1345"/>
                    <a:pt x="0" y="2689"/>
                  </a:cubicBezTo>
                  <a:lnTo>
                    <a:pt x="6723" y="27786"/>
                  </a:lnTo>
                  <a:close/>
                </a:path>
              </a:pathLst>
            </a:custGeom>
            <a:solidFill>
              <a:srgbClr val="231F20"/>
            </a:solidFill>
            <a:ln w="4477" cap="flat">
              <a:noFill/>
              <a:prstDash val="solid"/>
              <a:miter/>
            </a:ln>
          </p:spPr>
          <p:txBody>
            <a:bodyPr rtlCol="0" anchor="ctr"/>
            <a:lstStyle/>
            <a:p>
              <a:endParaRPr lang="en-US"/>
            </a:p>
          </p:txBody>
        </p:sp>
      </p:grpSp>
      <p:grpSp>
        <p:nvGrpSpPr>
          <p:cNvPr id="3769" name="Group 3768">
            <a:extLst>
              <a:ext uri="{FF2B5EF4-FFF2-40B4-BE49-F238E27FC236}">
                <a16:creationId xmlns:a16="http://schemas.microsoft.com/office/drawing/2014/main" id="{944ACE94-9A04-4861-9FBD-9B41F438FE6B}"/>
              </a:ext>
              <a:ext uri="{C183D7F6-B498-43B3-948B-1728B52AA6E4}">
                <adec:decorative xmlns:adec="http://schemas.microsoft.com/office/drawing/2017/decorative" val="1"/>
              </a:ext>
            </a:extLst>
          </p:cNvPr>
          <p:cNvGrpSpPr>
            <a:grpSpLocks noChangeAspect="1"/>
          </p:cNvGrpSpPr>
          <p:nvPr/>
        </p:nvGrpSpPr>
        <p:grpSpPr>
          <a:xfrm>
            <a:off x="4272744" y="2781571"/>
            <a:ext cx="138933" cy="125488"/>
            <a:chOff x="10174370" y="5628107"/>
            <a:chExt cx="138933" cy="125488"/>
          </a:xfrm>
        </p:grpSpPr>
        <p:sp>
          <p:nvSpPr>
            <p:cNvPr id="3770" name="Freeform: Shape 3769">
              <a:extLst>
                <a:ext uri="{FF2B5EF4-FFF2-40B4-BE49-F238E27FC236}">
                  <a16:creationId xmlns:a16="http://schemas.microsoft.com/office/drawing/2014/main" id="{567CE7B3-FA67-4323-8642-EE5C4F436E7A}"/>
                </a:ext>
              </a:extLst>
            </p:cNvPr>
            <p:cNvSpPr/>
            <p:nvPr/>
          </p:nvSpPr>
          <p:spPr>
            <a:xfrm>
              <a:off x="10174370" y="5628107"/>
              <a:ext cx="138933" cy="125488"/>
            </a:xfrm>
            <a:custGeom>
              <a:avLst/>
              <a:gdLst>
                <a:gd name="connsiteX0" fmla="*/ 132210 w 138932"/>
                <a:gd name="connsiteY0" fmla="*/ 107561 h 125487"/>
                <a:gd name="connsiteX1" fmla="*/ 125488 w 138932"/>
                <a:gd name="connsiteY1" fmla="*/ 107561 h 125487"/>
                <a:gd name="connsiteX2" fmla="*/ 125488 w 138932"/>
                <a:gd name="connsiteY2" fmla="*/ 2241 h 125487"/>
                <a:gd name="connsiteX3" fmla="*/ 123247 w 138932"/>
                <a:gd name="connsiteY3" fmla="*/ 0 h 125487"/>
                <a:gd name="connsiteX4" fmla="*/ 121006 w 138932"/>
                <a:gd name="connsiteY4" fmla="*/ 2241 h 125487"/>
                <a:gd name="connsiteX5" fmla="*/ 121006 w 138932"/>
                <a:gd name="connsiteY5" fmla="*/ 80671 h 125487"/>
                <a:gd name="connsiteX6" fmla="*/ 95012 w 138932"/>
                <a:gd name="connsiteY6" fmla="*/ 80671 h 125487"/>
                <a:gd name="connsiteX7" fmla="*/ 95012 w 138932"/>
                <a:gd name="connsiteY7" fmla="*/ 75741 h 125487"/>
                <a:gd name="connsiteX8" fmla="*/ 105320 w 138932"/>
                <a:gd name="connsiteY8" fmla="*/ 75741 h 125487"/>
                <a:gd name="connsiteX9" fmla="*/ 112043 w 138932"/>
                <a:gd name="connsiteY9" fmla="*/ 69018 h 125487"/>
                <a:gd name="connsiteX10" fmla="*/ 112043 w 138932"/>
                <a:gd name="connsiteY10" fmla="*/ 53780 h 125487"/>
                <a:gd name="connsiteX11" fmla="*/ 105320 w 138932"/>
                <a:gd name="connsiteY11" fmla="*/ 47058 h 125487"/>
                <a:gd name="connsiteX12" fmla="*/ 104872 w 138932"/>
                <a:gd name="connsiteY12" fmla="*/ 47058 h 125487"/>
                <a:gd name="connsiteX13" fmla="*/ 101286 w 138932"/>
                <a:gd name="connsiteY13" fmla="*/ 32268 h 125487"/>
                <a:gd name="connsiteX14" fmla="*/ 86048 w 138932"/>
                <a:gd name="connsiteY14" fmla="*/ 20168 h 125487"/>
                <a:gd name="connsiteX15" fmla="*/ 53332 w 138932"/>
                <a:gd name="connsiteY15" fmla="*/ 20168 h 125487"/>
                <a:gd name="connsiteX16" fmla="*/ 38094 w 138932"/>
                <a:gd name="connsiteY16" fmla="*/ 31820 h 125487"/>
                <a:gd name="connsiteX17" fmla="*/ 34061 w 138932"/>
                <a:gd name="connsiteY17" fmla="*/ 47058 h 125487"/>
                <a:gd name="connsiteX18" fmla="*/ 33613 w 138932"/>
                <a:gd name="connsiteY18" fmla="*/ 47058 h 125487"/>
                <a:gd name="connsiteX19" fmla="*/ 26890 w 138932"/>
                <a:gd name="connsiteY19" fmla="*/ 53780 h 125487"/>
                <a:gd name="connsiteX20" fmla="*/ 26890 w 138932"/>
                <a:gd name="connsiteY20" fmla="*/ 69018 h 125487"/>
                <a:gd name="connsiteX21" fmla="*/ 33613 w 138932"/>
                <a:gd name="connsiteY21" fmla="*/ 75741 h 125487"/>
                <a:gd name="connsiteX22" fmla="*/ 43921 w 138932"/>
                <a:gd name="connsiteY22" fmla="*/ 75741 h 125487"/>
                <a:gd name="connsiteX23" fmla="*/ 43921 w 138932"/>
                <a:gd name="connsiteY23" fmla="*/ 80671 h 125487"/>
                <a:gd name="connsiteX24" fmla="*/ 17927 w 138932"/>
                <a:gd name="connsiteY24" fmla="*/ 80671 h 125487"/>
                <a:gd name="connsiteX25" fmla="*/ 17927 w 138932"/>
                <a:gd name="connsiteY25" fmla="*/ 2241 h 125487"/>
                <a:gd name="connsiteX26" fmla="*/ 15686 w 138932"/>
                <a:gd name="connsiteY26" fmla="*/ 0 h 125487"/>
                <a:gd name="connsiteX27" fmla="*/ 13445 w 138932"/>
                <a:gd name="connsiteY27" fmla="*/ 2241 h 125487"/>
                <a:gd name="connsiteX28" fmla="*/ 13445 w 138932"/>
                <a:gd name="connsiteY28" fmla="*/ 82015 h 125487"/>
                <a:gd name="connsiteX29" fmla="*/ 13445 w 138932"/>
                <a:gd name="connsiteY29" fmla="*/ 82912 h 125487"/>
                <a:gd name="connsiteX30" fmla="*/ 13445 w 138932"/>
                <a:gd name="connsiteY30" fmla="*/ 83808 h 125487"/>
                <a:gd name="connsiteX31" fmla="*/ 13445 w 138932"/>
                <a:gd name="connsiteY31" fmla="*/ 107561 h 125487"/>
                <a:gd name="connsiteX32" fmla="*/ 6723 w 138932"/>
                <a:gd name="connsiteY32" fmla="*/ 107561 h 125487"/>
                <a:gd name="connsiteX33" fmla="*/ 0 w 138932"/>
                <a:gd name="connsiteY33" fmla="*/ 114283 h 125487"/>
                <a:gd name="connsiteX34" fmla="*/ 0 w 138932"/>
                <a:gd name="connsiteY34" fmla="*/ 118765 h 125487"/>
                <a:gd name="connsiteX35" fmla="*/ 6723 w 138932"/>
                <a:gd name="connsiteY35" fmla="*/ 125488 h 125487"/>
                <a:gd name="connsiteX36" fmla="*/ 25097 w 138932"/>
                <a:gd name="connsiteY36" fmla="*/ 125488 h 125487"/>
                <a:gd name="connsiteX37" fmla="*/ 31820 w 138932"/>
                <a:gd name="connsiteY37" fmla="*/ 118765 h 125487"/>
                <a:gd name="connsiteX38" fmla="*/ 31820 w 138932"/>
                <a:gd name="connsiteY38" fmla="*/ 114283 h 125487"/>
                <a:gd name="connsiteX39" fmla="*/ 25097 w 138932"/>
                <a:gd name="connsiteY39" fmla="*/ 107561 h 125487"/>
                <a:gd name="connsiteX40" fmla="*/ 18375 w 138932"/>
                <a:gd name="connsiteY40" fmla="*/ 107561 h 125487"/>
                <a:gd name="connsiteX41" fmla="*/ 18375 w 138932"/>
                <a:gd name="connsiteY41" fmla="*/ 85152 h 125487"/>
                <a:gd name="connsiteX42" fmla="*/ 63192 w 138932"/>
                <a:gd name="connsiteY42" fmla="*/ 85152 h 125487"/>
                <a:gd name="connsiteX43" fmla="*/ 65433 w 138932"/>
                <a:gd name="connsiteY43" fmla="*/ 82912 h 125487"/>
                <a:gd name="connsiteX44" fmla="*/ 63192 w 138932"/>
                <a:gd name="connsiteY44" fmla="*/ 80671 h 125487"/>
                <a:gd name="connsiteX45" fmla="*/ 48850 w 138932"/>
                <a:gd name="connsiteY45" fmla="*/ 80671 h 125487"/>
                <a:gd name="connsiteX46" fmla="*/ 48850 w 138932"/>
                <a:gd name="connsiteY46" fmla="*/ 75741 h 125487"/>
                <a:gd name="connsiteX47" fmla="*/ 91427 w 138932"/>
                <a:gd name="connsiteY47" fmla="*/ 75741 h 125487"/>
                <a:gd name="connsiteX48" fmla="*/ 91427 w 138932"/>
                <a:gd name="connsiteY48" fmla="*/ 80671 h 125487"/>
                <a:gd name="connsiteX49" fmla="*/ 76637 w 138932"/>
                <a:gd name="connsiteY49" fmla="*/ 80671 h 125487"/>
                <a:gd name="connsiteX50" fmla="*/ 74396 w 138932"/>
                <a:gd name="connsiteY50" fmla="*/ 82912 h 125487"/>
                <a:gd name="connsiteX51" fmla="*/ 76637 w 138932"/>
                <a:gd name="connsiteY51" fmla="*/ 85152 h 125487"/>
                <a:gd name="connsiteX52" fmla="*/ 121454 w 138932"/>
                <a:gd name="connsiteY52" fmla="*/ 85152 h 125487"/>
                <a:gd name="connsiteX53" fmla="*/ 121454 w 138932"/>
                <a:gd name="connsiteY53" fmla="*/ 107561 h 125487"/>
                <a:gd name="connsiteX54" fmla="*/ 114731 w 138932"/>
                <a:gd name="connsiteY54" fmla="*/ 107561 h 125487"/>
                <a:gd name="connsiteX55" fmla="*/ 108009 w 138932"/>
                <a:gd name="connsiteY55" fmla="*/ 114283 h 125487"/>
                <a:gd name="connsiteX56" fmla="*/ 108009 w 138932"/>
                <a:gd name="connsiteY56" fmla="*/ 118765 h 125487"/>
                <a:gd name="connsiteX57" fmla="*/ 114731 w 138932"/>
                <a:gd name="connsiteY57" fmla="*/ 125488 h 125487"/>
                <a:gd name="connsiteX58" fmla="*/ 132658 w 138932"/>
                <a:gd name="connsiteY58" fmla="*/ 125488 h 125487"/>
                <a:gd name="connsiteX59" fmla="*/ 139381 w 138932"/>
                <a:gd name="connsiteY59" fmla="*/ 118765 h 125487"/>
                <a:gd name="connsiteX60" fmla="*/ 139381 w 138932"/>
                <a:gd name="connsiteY60" fmla="*/ 114283 h 125487"/>
                <a:gd name="connsiteX61" fmla="*/ 132210 w 138932"/>
                <a:gd name="connsiteY61" fmla="*/ 107561 h 125487"/>
                <a:gd name="connsiteX62" fmla="*/ 27338 w 138932"/>
                <a:gd name="connsiteY62" fmla="*/ 114283 h 125487"/>
                <a:gd name="connsiteX63" fmla="*/ 27338 w 138932"/>
                <a:gd name="connsiteY63" fmla="*/ 118765 h 125487"/>
                <a:gd name="connsiteX64" fmla="*/ 25097 w 138932"/>
                <a:gd name="connsiteY64" fmla="*/ 121006 h 125487"/>
                <a:gd name="connsiteX65" fmla="*/ 6723 w 138932"/>
                <a:gd name="connsiteY65" fmla="*/ 121006 h 125487"/>
                <a:gd name="connsiteX66" fmla="*/ 4482 w 138932"/>
                <a:gd name="connsiteY66" fmla="*/ 118765 h 125487"/>
                <a:gd name="connsiteX67" fmla="*/ 4482 w 138932"/>
                <a:gd name="connsiteY67" fmla="*/ 114283 h 125487"/>
                <a:gd name="connsiteX68" fmla="*/ 6723 w 138932"/>
                <a:gd name="connsiteY68" fmla="*/ 112043 h 125487"/>
                <a:gd name="connsiteX69" fmla="*/ 25097 w 138932"/>
                <a:gd name="connsiteY69" fmla="*/ 112043 h 125487"/>
                <a:gd name="connsiteX70" fmla="*/ 27338 w 138932"/>
                <a:gd name="connsiteY70" fmla="*/ 114283 h 125487"/>
                <a:gd name="connsiteX71" fmla="*/ 42576 w 138932"/>
                <a:gd name="connsiteY71" fmla="*/ 33165 h 125487"/>
                <a:gd name="connsiteX72" fmla="*/ 53332 w 138932"/>
                <a:gd name="connsiteY72" fmla="*/ 24649 h 125487"/>
                <a:gd name="connsiteX73" fmla="*/ 86048 w 138932"/>
                <a:gd name="connsiteY73" fmla="*/ 24649 h 125487"/>
                <a:gd name="connsiteX74" fmla="*/ 96805 w 138932"/>
                <a:gd name="connsiteY74" fmla="*/ 33165 h 125487"/>
                <a:gd name="connsiteX75" fmla="*/ 100390 w 138932"/>
                <a:gd name="connsiteY75" fmla="*/ 47058 h 125487"/>
                <a:gd name="connsiteX76" fmla="*/ 38991 w 138932"/>
                <a:gd name="connsiteY76" fmla="*/ 47058 h 125487"/>
                <a:gd name="connsiteX77" fmla="*/ 42576 w 138932"/>
                <a:gd name="connsiteY77" fmla="*/ 33165 h 125487"/>
                <a:gd name="connsiteX78" fmla="*/ 31372 w 138932"/>
                <a:gd name="connsiteY78" fmla="*/ 69018 h 125487"/>
                <a:gd name="connsiteX79" fmla="*/ 31372 w 138932"/>
                <a:gd name="connsiteY79" fmla="*/ 53780 h 125487"/>
                <a:gd name="connsiteX80" fmla="*/ 33613 w 138932"/>
                <a:gd name="connsiteY80" fmla="*/ 51540 h 125487"/>
                <a:gd name="connsiteX81" fmla="*/ 105320 w 138932"/>
                <a:gd name="connsiteY81" fmla="*/ 51540 h 125487"/>
                <a:gd name="connsiteX82" fmla="*/ 107561 w 138932"/>
                <a:gd name="connsiteY82" fmla="*/ 53780 h 125487"/>
                <a:gd name="connsiteX83" fmla="*/ 107561 w 138932"/>
                <a:gd name="connsiteY83" fmla="*/ 69018 h 125487"/>
                <a:gd name="connsiteX84" fmla="*/ 105320 w 138932"/>
                <a:gd name="connsiteY84" fmla="*/ 71259 h 125487"/>
                <a:gd name="connsiteX85" fmla="*/ 33613 w 138932"/>
                <a:gd name="connsiteY85" fmla="*/ 71259 h 125487"/>
                <a:gd name="connsiteX86" fmla="*/ 31372 w 138932"/>
                <a:gd name="connsiteY86" fmla="*/ 69018 h 125487"/>
                <a:gd name="connsiteX87" fmla="*/ 134451 w 138932"/>
                <a:gd name="connsiteY87" fmla="*/ 118765 h 125487"/>
                <a:gd name="connsiteX88" fmla="*/ 132210 w 138932"/>
                <a:gd name="connsiteY88" fmla="*/ 121006 h 125487"/>
                <a:gd name="connsiteX89" fmla="*/ 114283 w 138932"/>
                <a:gd name="connsiteY89" fmla="*/ 121006 h 125487"/>
                <a:gd name="connsiteX90" fmla="*/ 112043 w 138932"/>
                <a:gd name="connsiteY90" fmla="*/ 118765 h 125487"/>
                <a:gd name="connsiteX91" fmla="*/ 112043 w 138932"/>
                <a:gd name="connsiteY91" fmla="*/ 114283 h 125487"/>
                <a:gd name="connsiteX92" fmla="*/ 114283 w 138932"/>
                <a:gd name="connsiteY92" fmla="*/ 112043 h 125487"/>
                <a:gd name="connsiteX93" fmla="*/ 132210 w 138932"/>
                <a:gd name="connsiteY93" fmla="*/ 112043 h 125487"/>
                <a:gd name="connsiteX94" fmla="*/ 134451 w 138932"/>
                <a:gd name="connsiteY94" fmla="*/ 114283 h 125487"/>
                <a:gd name="connsiteX95" fmla="*/ 134451 w 138932"/>
                <a:gd name="connsiteY95" fmla="*/ 118765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38932" h="125487">
                  <a:moveTo>
                    <a:pt x="132210" y="107561"/>
                  </a:moveTo>
                  <a:lnTo>
                    <a:pt x="125488" y="107561"/>
                  </a:lnTo>
                  <a:lnTo>
                    <a:pt x="125488" y="2241"/>
                  </a:lnTo>
                  <a:cubicBezTo>
                    <a:pt x="125488" y="896"/>
                    <a:pt x="124591" y="0"/>
                    <a:pt x="123247" y="0"/>
                  </a:cubicBezTo>
                  <a:cubicBezTo>
                    <a:pt x="121902" y="0"/>
                    <a:pt x="121006" y="896"/>
                    <a:pt x="121006" y="2241"/>
                  </a:cubicBezTo>
                  <a:lnTo>
                    <a:pt x="121006" y="80671"/>
                  </a:lnTo>
                  <a:lnTo>
                    <a:pt x="95012" y="80671"/>
                  </a:lnTo>
                  <a:lnTo>
                    <a:pt x="95012" y="75741"/>
                  </a:lnTo>
                  <a:lnTo>
                    <a:pt x="105320" y="75741"/>
                  </a:lnTo>
                  <a:cubicBezTo>
                    <a:pt x="108905" y="75741"/>
                    <a:pt x="112043" y="72603"/>
                    <a:pt x="112043" y="69018"/>
                  </a:cubicBezTo>
                  <a:lnTo>
                    <a:pt x="112043" y="53780"/>
                  </a:lnTo>
                  <a:cubicBezTo>
                    <a:pt x="112043" y="50195"/>
                    <a:pt x="108905" y="47058"/>
                    <a:pt x="105320" y="47058"/>
                  </a:cubicBezTo>
                  <a:lnTo>
                    <a:pt x="104872" y="47058"/>
                  </a:lnTo>
                  <a:lnTo>
                    <a:pt x="101286" y="32268"/>
                  </a:lnTo>
                  <a:cubicBezTo>
                    <a:pt x="99494" y="25097"/>
                    <a:pt x="93219" y="20168"/>
                    <a:pt x="86048" y="20168"/>
                  </a:cubicBezTo>
                  <a:lnTo>
                    <a:pt x="53332" y="20168"/>
                  </a:lnTo>
                  <a:cubicBezTo>
                    <a:pt x="46161" y="20168"/>
                    <a:pt x="39887" y="25097"/>
                    <a:pt x="38094" y="31820"/>
                  </a:cubicBezTo>
                  <a:lnTo>
                    <a:pt x="34061" y="47058"/>
                  </a:lnTo>
                  <a:lnTo>
                    <a:pt x="33613" y="47058"/>
                  </a:lnTo>
                  <a:cubicBezTo>
                    <a:pt x="30027" y="47058"/>
                    <a:pt x="26890" y="50195"/>
                    <a:pt x="26890" y="53780"/>
                  </a:cubicBezTo>
                  <a:lnTo>
                    <a:pt x="26890" y="69018"/>
                  </a:lnTo>
                  <a:cubicBezTo>
                    <a:pt x="26890" y="72603"/>
                    <a:pt x="30027" y="75741"/>
                    <a:pt x="33613" y="75741"/>
                  </a:cubicBezTo>
                  <a:lnTo>
                    <a:pt x="43921" y="75741"/>
                  </a:lnTo>
                  <a:lnTo>
                    <a:pt x="43921" y="80671"/>
                  </a:lnTo>
                  <a:lnTo>
                    <a:pt x="17927" y="80671"/>
                  </a:lnTo>
                  <a:lnTo>
                    <a:pt x="17927" y="2241"/>
                  </a:lnTo>
                  <a:cubicBezTo>
                    <a:pt x="17927" y="896"/>
                    <a:pt x="17030" y="0"/>
                    <a:pt x="15686" y="0"/>
                  </a:cubicBezTo>
                  <a:cubicBezTo>
                    <a:pt x="14341" y="0"/>
                    <a:pt x="13445" y="896"/>
                    <a:pt x="13445" y="2241"/>
                  </a:cubicBezTo>
                  <a:lnTo>
                    <a:pt x="13445" y="82015"/>
                  </a:lnTo>
                  <a:cubicBezTo>
                    <a:pt x="13445" y="82463"/>
                    <a:pt x="13445" y="82463"/>
                    <a:pt x="13445" y="82912"/>
                  </a:cubicBezTo>
                  <a:cubicBezTo>
                    <a:pt x="13445" y="83360"/>
                    <a:pt x="13445" y="83360"/>
                    <a:pt x="13445" y="83808"/>
                  </a:cubicBezTo>
                  <a:lnTo>
                    <a:pt x="13445" y="107561"/>
                  </a:lnTo>
                  <a:lnTo>
                    <a:pt x="6723" y="107561"/>
                  </a:lnTo>
                  <a:cubicBezTo>
                    <a:pt x="3137" y="107561"/>
                    <a:pt x="0" y="110698"/>
                    <a:pt x="0" y="114283"/>
                  </a:cubicBezTo>
                  <a:lnTo>
                    <a:pt x="0" y="118765"/>
                  </a:lnTo>
                  <a:cubicBezTo>
                    <a:pt x="0" y="122350"/>
                    <a:pt x="3137" y="125488"/>
                    <a:pt x="6723" y="125488"/>
                  </a:cubicBezTo>
                  <a:lnTo>
                    <a:pt x="25097" y="125488"/>
                  </a:lnTo>
                  <a:cubicBezTo>
                    <a:pt x="28683" y="125488"/>
                    <a:pt x="31820" y="122350"/>
                    <a:pt x="31820" y="118765"/>
                  </a:cubicBezTo>
                  <a:lnTo>
                    <a:pt x="31820" y="114283"/>
                  </a:lnTo>
                  <a:cubicBezTo>
                    <a:pt x="31820" y="110698"/>
                    <a:pt x="28683" y="107561"/>
                    <a:pt x="25097" y="107561"/>
                  </a:cubicBezTo>
                  <a:lnTo>
                    <a:pt x="18375" y="107561"/>
                  </a:lnTo>
                  <a:lnTo>
                    <a:pt x="18375" y="85152"/>
                  </a:lnTo>
                  <a:lnTo>
                    <a:pt x="63192" y="85152"/>
                  </a:lnTo>
                  <a:cubicBezTo>
                    <a:pt x="64536" y="85152"/>
                    <a:pt x="65433" y="84256"/>
                    <a:pt x="65433" y="82912"/>
                  </a:cubicBezTo>
                  <a:cubicBezTo>
                    <a:pt x="65433" y="81567"/>
                    <a:pt x="64536" y="80671"/>
                    <a:pt x="63192" y="80671"/>
                  </a:cubicBezTo>
                  <a:lnTo>
                    <a:pt x="48850" y="80671"/>
                  </a:lnTo>
                  <a:lnTo>
                    <a:pt x="48850" y="75741"/>
                  </a:lnTo>
                  <a:lnTo>
                    <a:pt x="91427" y="75741"/>
                  </a:lnTo>
                  <a:lnTo>
                    <a:pt x="91427" y="80671"/>
                  </a:lnTo>
                  <a:lnTo>
                    <a:pt x="76637" y="80671"/>
                  </a:lnTo>
                  <a:cubicBezTo>
                    <a:pt x="75293" y="80671"/>
                    <a:pt x="74396" y="81567"/>
                    <a:pt x="74396" y="82912"/>
                  </a:cubicBezTo>
                  <a:cubicBezTo>
                    <a:pt x="74396" y="84256"/>
                    <a:pt x="75293" y="85152"/>
                    <a:pt x="76637" y="85152"/>
                  </a:cubicBezTo>
                  <a:lnTo>
                    <a:pt x="121454" y="85152"/>
                  </a:lnTo>
                  <a:lnTo>
                    <a:pt x="121454" y="107561"/>
                  </a:lnTo>
                  <a:lnTo>
                    <a:pt x="114731" y="107561"/>
                  </a:lnTo>
                  <a:cubicBezTo>
                    <a:pt x="111146" y="107561"/>
                    <a:pt x="108009" y="110698"/>
                    <a:pt x="108009" y="114283"/>
                  </a:cubicBezTo>
                  <a:lnTo>
                    <a:pt x="108009" y="118765"/>
                  </a:lnTo>
                  <a:cubicBezTo>
                    <a:pt x="108009" y="122350"/>
                    <a:pt x="111146" y="125488"/>
                    <a:pt x="114731" y="125488"/>
                  </a:cubicBezTo>
                  <a:lnTo>
                    <a:pt x="132658" y="125488"/>
                  </a:lnTo>
                  <a:cubicBezTo>
                    <a:pt x="136244" y="125488"/>
                    <a:pt x="139381" y="122350"/>
                    <a:pt x="139381" y="118765"/>
                  </a:cubicBezTo>
                  <a:lnTo>
                    <a:pt x="139381" y="114283"/>
                  </a:lnTo>
                  <a:cubicBezTo>
                    <a:pt x="138933" y="110698"/>
                    <a:pt x="135796" y="107561"/>
                    <a:pt x="132210" y="107561"/>
                  </a:cubicBezTo>
                  <a:close/>
                  <a:moveTo>
                    <a:pt x="27338" y="114283"/>
                  </a:moveTo>
                  <a:lnTo>
                    <a:pt x="27338" y="118765"/>
                  </a:lnTo>
                  <a:cubicBezTo>
                    <a:pt x="27338" y="120109"/>
                    <a:pt x="26442" y="121006"/>
                    <a:pt x="25097" y="121006"/>
                  </a:cubicBezTo>
                  <a:lnTo>
                    <a:pt x="6723" y="121006"/>
                  </a:lnTo>
                  <a:cubicBezTo>
                    <a:pt x="5378" y="121006"/>
                    <a:pt x="4482" y="120109"/>
                    <a:pt x="4482" y="118765"/>
                  </a:cubicBezTo>
                  <a:lnTo>
                    <a:pt x="4482" y="114283"/>
                  </a:lnTo>
                  <a:cubicBezTo>
                    <a:pt x="4482" y="112939"/>
                    <a:pt x="5378" y="112043"/>
                    <a:pt x="6723" y="112043"/>
                  </a:cubicBezTo>
                  <a:lnTo>
                    <a:pt x="25097" y="112043"/>
                  </a:lnTo>
                  <a:cubicBezTo>
                    <a:pt x="25994" y="112043"/>
                    <a:pt x="27338" y="112939"/>
                    <a:pt x="27338" y="114283"/>
                  </a:cubicBezTo>
                  <a:close/>
                  <a:moveTo>
                    <a:pt x="42576" y="33165"/>
                  </a:moveTo>
                  <a:cubicBezTo>
                    <a:pt x="43921" y="28234"/>
                    <a:pt x="48402" y="24649"/>
                    <a:pt x="53332" y="24649"/>
                  </a:cubicBezTo>
                  <a:lnTo>
                    <a:pt x="86048" y="24649"/>
                  </a:lnTo>
                  <a:cubicBezTo>
                    <a:pt x="90978" y="24649"/>
                    <a:pt x="95460" y="28234"/>
                    <a:pt x="96805" y="33165"/>
                  </a:cubicBezTo>
                  <a:lnTo>
                    <a:pt x="100390" y="47058"/>
                  </a:lnTo>
                  <a:lnTo>
                    <a:pt x="38991" y="47058"/>
                  </a:lnTo>
                  <a:lnTo>
                    <a:pt x="42576" y="33165"/>
                  </a:lnTo>
                  <a:close/>
                  <a:moveTo>
                    <a:pt x="31372" y="69018"/>
                  </a:moveTo>
                  <a:lnTo>
                    <a:pt x="31372" y="53780"/>
                  </a:lnTo>
                  <a:cubicBezTo>
                    <a:pt x="31372" y="52436"/>
                    <a:pt x="32268" y="51540"/>
                    <a:pt x="33613" y="51540"/>
                  </a:cubicBezTo>
                  <a:lnTo>
                    <a:pt x="105320" y="51540"/>
                  </a:lnTo>
                  <a:cubicBezTo>
                    <a:pt x="106664" y="51540"/>
                    <a:pt x="107561" y="52436"/>
                    <a:pt x="107561" y="53780"/>
                  </a:cubicBezTo>
                  <a:lnTo>
                    <a:pt x="107561" y="69018"/>
                  </a:lnTo>
                  <a:cubicBezTo>
                    <a:pt x="107561" y="70363"/>
                    <a:pt x="106664" y="71259"/>
                    <a:pt x="105320" y="71259"/>
                  </a:cubicBezTo>
                  <a:lnTo>
                    <a:pt x="33613" y="71259"/>
                  </a:lnTo>
                  <a:cubicBezTo>
                    <a:pt x="32268" y="71259"/>
                    <a:pt x="31372" y="70363"/>
                    <a:pt x="31372" y="69018"/>
                  </a:cubicBezTo>
                  <a:close/>
                  <a:moveTo>
                    <a:pt x="134451" y="118765"/>
                  </a:moveTo>
                  <a:cubicBezTo>
                    <a:pt x="134451" y="120109"/>
                    <a:pt x="133555" y="121006"/>
                    <a:pt x="132210" y="121006"/>
                  </a:cubicBezTo>
                  <a:lnTo>
                    <a:pt x="114283" y="121006"/>
                  </a:lnTo>
                  <a:cubicBezTo>
                    <a:pt x="112939" y="121006"/>
                    <a:pt x="112043" y="120109"/>
                    <a:pt x="112043" y="118765"/>
                  </a:cubicBezTo>
                  <a:lnTo>
                    <a:pt x="112043" y="114283"/>
                  </a:lnTo>
                  <a:cubicBezTo>
                    <a:pt x="112043" y="112939"/>
                    <a:pt x="112939" y="112043"/>
                    <a:pt x="114283" y="112043"/>
                  </a:cubicBezTo>
                  <a:lnTo>
                    <a:pt x="132210" y="112043"/>
                  </a:lnTo>
                  <a:cubicBezTo>
                    <a:pt x="133555" y="112043"/>
                    <a:pt x="134451" y="112939"/>
                    <a:pt x="134451" y="114283"/>
                  </a:cubicBezTo>
                  <a:lnTo>
                    <a:pt x="134451" y="118765"/>
                  </a:lnTo>
                  <a:close/>
                </a:path>
              </a:pathLst>
            </a:custGeom>
            <a:solidFill>
              <a:srgbClr val="231F20"/>
            </a:solidFill>
            <a:ln w="4477" cap="flat">
              <a:noFill/>
              <a:prstDash val="solid"/>
              <a:miter/>
            </a:ln>
          </p:spPr>
          <p:txBody>
            <a:bodyPr rtlCol="0" anchor="ctr"/>
            <a:lstStyle/>
            <a:p>
              <a:endParaRPr lang="en-US"/>
            </a:p>
          </p:txBody>
        </p:sp>
        <p:sp>
          <p:nvSpPr>
            <p:cNvPr id="3771" name="Freeform: Shape 3770">
              <a:extLst>
                <a:ext uri="{FF2B5EF4-FFF2-40B4-BE49-F238E27FC236}">
                  <a16:creationId xmlns:a16="http://schemas.microsoft.com/office/drawing/2014/main" id="{1BC11239-91E9-4343-860E-4340771A0558}"/>
                </a:ext>
              </a:extLst>
            </p:cNvPr>
            <p:cNvSpPr/>
            <p:nvPr/>
          </p:nvSpPr>
          <p:spPr>
            <a:xfrm>
              <a:off x="10207983" y="5684128"/>
              <a:ext cx="13445" cy="13445"/>
            </a:xfrm>
            <a:custGeom>
              <a:avLst/>
              <a:gdLst>
                <a:gd name="connsiteX0" fmla="*/ 6723 w 13445"/>
                <a:gd name="connsiteY0" fmla="*/ 0 h 13445"/>
                <a:gd name="connsiteX1" fmla="*/ 0 w 13445"/>
                <a:gd name="connsiteY1" fmla="*/ 6723 h 13445"/>
                <a:gd name="connsiteX2" fmla="*/ 6723 w 13445"/>
                <a:gd name="connsiteY2" fmla="*/ 13445 h 13445"/>
                <a:gd name="connsiteX3" fmla="*/ 13445 w 13445"/>
                <a:gd name="connsiteY3" fmla="*/ 6723 h 13445"/>
                <a:gd name="connsiteX4" fmla="*/ 6723 w 13445"/>
                <a:gd name="connsiteY4" fmla="*/ 0 h 13445"/>
                <a:gd name="connsiteX5" fmla="*/ 6723 w 13445"/>
                <a:gd name="connsiteY5" fmla="*/ 8963 h 13445"/>
                <a:gd name="connsiteX6" fmla="*/ 4482 w 13445"/>
                <a:gd name="connsiteY6" fmla="*/ 6723 h 13445"/>
                <a:gd name="connsiteX7" fmla="*/ 6723 w 13445"/>
                <a:gd name="connsiteY7" fmla="*/ 4482 h 13445"/>
                <a:gd name="connsiteX8" fmla="*/ 8963 w 13445"/>
                <a:gd name="connsiteY8" fmla="*/ 6723 h 13445"/>
                <a:gd name="connsiteX9" fmla="*/ 6723 w 13445"/>
                <a:gd name="connsiteY9" fmla="*/ 8963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0"/>
                  </a:moveTo>
                  <a:cubicBezTo>
                    <a:pt x="3137" y="0"/>
                    <a:pt x="0" y="3137"/>
                    <a:pt x="0" y="6723"/>
                  </a:cubicBezTo>
                  <a:cubicBezTo>
                    <a:pt x="0" y="10308"/>
                    <a:pt x="3137" y="13445"/>
                    <a:pt x="6723" y="13445"/>
                  </a:cubicBezTo>
                  <a:cubicBezTo>
                    <a:pt x="10308" y="13445"/>
                    <a:pt x="13445" y="10308"/>
                    <a:pt x="13445" y="6723"/>
                  </a:cubicBezTo>
                  <a:cubicBezTo>
                    <a:pt x="13445" y="3137"/>
                    <a:pt x="10308" y="0"/>
                    <a:pt x="6723" y="0"/>
                  </a:cubicBezTo>
                  <a:close/>
                  <a:moveTo>
                    <a:pt x="6723" y="8963"/>
                  </a:moveTo>
                  <a:cubicBezTo>
                    <a:pt x="5378" y="8963"/>
                    <a:pt x="4482" y="8067"/>
                    <a:pt x="4482" y="6723"/>
                  </a:cubicBezTo>
                  <a:cubicBezTo>
                    <a:pt x="4482" y="5378"/>
                    <a:pt x="5378" y="4482"/>
                    <a:pt x="6723" y="4482"/>
                  </a:cubicBezTo>
                  <a:cubicBezTo>
                    <a:pt x="8067" y="4482"/>
                    <a:pt x="8963" y="5378"/>
                    <a:pt x="8963" y="6723"/>
                  </a:cubicBezTo>
                  <a:cubicBezTo>
                    <a:pt x="8963" y="8067"/>
                    <a:pt x="8067" y="8963"/>
                    <a:pt x="6723" y="8963"/>
                  </a:cubicBezTo>
                  <a:close/>
                </a:path>
              </a:pathLst>
            </a:custGeom>
            <a:solidFill>
              <a:srgbClr val="231F20"/>
            </a:solidFill>
            <a:ln w="4477" cap="flat">
              <a:noFill/>
              <a:prstDash val="solid"/>
              <a:miter/>
            </a:ln>
          </p:spPr>
          <p:txBody>
            <a:bodyPr rtlCol="0" anchor="ctr"/>
            <a:lstStyle/>
            <a:p>
              <a:endParaRPr lang="en-US"/>
            </a:p>
          </p:txBody>
        </p:sp>
        <p:sp>
          <p:nvSpPr>
            <p:cNvPr id="3772" name="Freeform: Shape 3771">
              <a:extLst>
                <a:ext uri="{FF2B5EF4-FFF2-40B4-BE49-F238E27FC236}">
                  <a16:creationId xmlns:a16="http://schemas.microsoft.com/office/drawing/2014/main" id="{E5A5A8F2-CE10-4EEE-8EF1-BFDF30679283}"/>
                </a:ext>
              </a:extLst>
            </p:cNvPr>
            <p:cNvSpPr/>
            <p:nvPr/>
          </p:nvSpPr>
          <p:spPr>
            <a:xfrm>
              <a:off x="10266245" y="5684128"/>
              <a:ext cx="13445" cy="13445"/>
            </a:xfrm>
            <a:custGeom>
              <a:avLst/>
              <a:gdLst>
                <a:gd name="connsiteX0" fmla="*/ 6723 w 13445"/>
                <a:gd name="connsiteY0" fmla="*/ 13445 h 13445"/>
                <a:gd name="connsiteX1" fmla="*/ 13445 w 13445"/>
                <a:gd name="connsiteY1" fmla="*/ 6723 h 13445"/>
                <a:gd name="connsiteX2" fmla="*/ 6723 w 13445"/>
                <a:gd name="connsiteY2" fmla="*/ 0 h 13445"/>
                <a:gd name="connsiteX3" fmla="*/ 0 w 13445"/>
                <a:gd name="connsiteY3" fmla="*/ 6723 h 13445"/>
                <a:gd name="connsiteX4" fmla="*/ 6723 w 13445"/>
                <a:gd name="connsiteY4" fmla="*/ 13445 h 13445"/>
                <a:gd name="connsiteX5" fmla="*/ 6723 w 13445"/>
                <a:gd name="connsiteY5" fmla="*/ 4482 h 13445"/>
                <a:gd name="connsiteX6" fmla="*/ 8963 w 13445"/>
                <a:gd name="connsiteY6" fmla="*/ 6723 h 13445"/>
                <a:gd name="connsiteX7" fmla="*/ 6723 w 13445"/>
                <a:gd name="connsiteY7" fmla="*/ 8963 h 13445"/>
                <a:gd name="connsiteX8" fmla="*/ 4482 w 13445"/>
                <a:gd name="connsiteY8" fmla="*/ 6723 h 13445"/>
                <a:gd name="connsiteX9" fmla="*/ 6723 w 13445"/>
                <a:gd name="connsiteY9"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6723" y="13445"/>
                  </a:moveTo>
                  <a:cubicBezTo>
                    <a:pt x="10308" y="13445"/>
                    <a:pt x="13445" y="10308"/>
                    <a:pt x="13445" y="6723"/>
                  </a:cubicBezTo>
                  <a:cubicBezTo>
                    <a:pt x="13445" y="3137"/>
                    <a:pt x="10308" y="0"/>
                    <a:pt x="6723" y="0"/>
                  </a:cubicBezTo>
                  <a:cubicBezTo>
                    <a:pt x="3137" y="0"/>
                    <a:pt x="0" y="3137"/>
                    <a:pt x="0" y="6723"/>
                  </a:cubicBezTo>
                  <a:cubicBezTo>
                    <a:pt x="0" y="10308"/>
                    <a:pt x="3137" y="13445"/>
                    <a:pt x="6723" y="13445"/>
                  </a:cubicBezTo>
                  <a:close/>
                  <a:moveTo>
                    <a:pt x="6723" y="4482"/>
                  </a:moveTo>
                  <a:cubicBezTo>
                    <a:pt x="8067" y="4482"/>
                    <a:pt x="8963" y="5378"/>
                    <a:pt x="8963" y="6723"/>
                  </a:cubicBezTo>
                  <a:cubicBezTo>
                    <a:pt x="8963" y="8067"/>
                    <a:pt x="8067" y="8963"/>
                    <a:pt x="6723" y="8963"/>
                  </a:cubicBezTo>
                  <a:cubicBezTo>
                    <a:pt x="5378" y="8963"/>
                    <a:pt x="4482" y="8067"/>
                    <a:pt x="4482" y="6723"/>
                  </a:cubicBezTo>
                  <a:cubicBezTo>
                    <a:pt x="4482" y="5378"/>
                    <a:pt x="5378" y="4482"/>
                    <a:pt x="6723" y="4482"/>
                  </a:cubicBezTo>
                  <a:close/>
                </a:path>
              </a:pathLst>
            </a:custGeom>
            <a:solidFill>
              <a:srgbClr val="231F20"/>
            </a:solidFill>
            <a:ln w="4477" cap="flat">
              <a:noFill/>
              <a:prstDash val="solid"/>
              <a:miter/>
            </a:ln>
          </p:spPr>
          <p:txBody>
            <a:bodyPr rtlCol="0" anchor="ctr"/>
            <a:lstStyle/>
            <a:p>
              <a:endParaRPr lang="en-US"/>
            </a:p>
          </p:txBody>
        </p:sp>
        <p:sp>
          <p:nvSpPr>
            <p:cNvPr id="3773" name="Freeform: Shape 3772">
              <a:extLst>
                <a:ext uri="{FF2B5EF4-FFF2-40B4-BE49-F238E27FC236}">
                  <a16:creationId xmlns:a16="http://schemas.microsoft.com/office/drawing/2014/main" id="{DF0219EC-59E0-4825-A6A1-901929C9EAF4}"/>
                </a:ext>
              </a:extLst>
            </p:cNvPr>
            <p:cNvSpPr/>
            <p:nvPr/>
          </p:nvSpPr>
          <p:spPr>
            <a:xfrm>
              <a:off x="10228151" y="5688610"/>
              <a:ext cx="31372" cy="4482"/>
            </a:xfrm>
            <a:custGeom>
              <a:avLst/>
              <a:gdLst>
                <a:gd name="connsiteX0" fmla="*/ 2241 w 31371"/>
                <a:gd name="connsiteY0" fmla="*/ 4482 h 4481"/>
                <a:gd name="connsiteX1" fmla="*/ 29131 w 31371"/>
                <a:gd name="connsiteY1" fmla="*/ 4482 h 4481"/>
                <a:gd name="connsiteX2" fmla="*/ 31372 w 31371"/>
                <a:gd name="connsiteY2" fmla="*/ 2241 h 4481"/>
                <a:gd name="connsiteX3" fmla="*/ 29131 w 31371"/>
                <a:gd name="connsiteY3" fmla="*/ 0 h 4481"/>
                <a:gd name="connsiteX4" fmla="*/ 2241 w 31371"/>
                <a:gd name="connsiteY4" fmla="*/ 0 h 4481"/>
                <a:gd name="connsiteX5" fmla="*/ 0 w 31371"/>
                <a:gd name="connsiteY5" fmla="*/ 2241 h 4481"/>
                <a:gd name="connsiteX6" fmla="*/ 2241 w 31371"/>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241" y="4482"/>
                  </a:moveTo>
                  <a:lnTo>
                    <a:pt x="29131" y="4482"/>
                  </a:lnTo>
                  <a:cubicBezTo>
                    <a:pt x="30476" y="4482"/>
                    <a:pt x="31372" y="3585"/>
                    <a:pt x="31372" y="2241"/>
                  </a:cubicBezTo>
                  <a:cubicBezTo>
                    <a:pt x="31372" y="896"/>
                    <a:pt x="30476" y="0"/>
                    <a:pt x="29131" y="0"/>
                  </a:cubicBezTo>
                  <a:lnTo>
                    <a:pt x="2241" y="0"/>
                  </a:lnTo>
                  <a:cubicBezTo>
                    <a:pt x="896" y="0"/>
                    <a:pt x="0" y="896"/>
                    <a:pt x="0" y="2241"/>
                  </a:cubicBezTo>
                  <a:cubicBezTo>
                    <a:pt x="0" y="3585"/>
                    <a:pt x="896" y="4482"/>
                    <a:pt x="2241" y="4482"/>
                  </a:cubicBezTo>
                  <a:close/>
                </a:path>
              </a:pathLst>
            </a:custGeom>
            <a:solidFill>
              <a:srgbClr val="231F20"/>
            </a:solidFill>
            <a:ln w="4477" cap="flat">
              <a:noFill/>
              <a:prstDash val="solid"/>
              <a:miter/>
            </a:ln>
          </p:spPr>
          <p:txBody>
            <a:bodyPr rtlCol="0" anchor="ctr"/>
            <a:lstStyle/>
            <a:p>
              <a:endParaRPr lang="en-US"/>
            </a:p>
          </p:txBody>
        </p:sp>
      </p:grpSp>
      <p:sp>
        <p:nvSpPr>
          <p:cNvPr id="3774" name="Freeform: Shape 3773">
            <a:extLst>
              <a:ext uri="{FF2B5EF4-FFF2-40B4-BE49-F238E27FC236}">
                <a16:creationId xmlns:a16="http://schemas.microsoft.com/office/drawing/2014/main" id="{B0041EA9-B180-448B-8C10-1320078B9574}"/>
              </a:ext>
              <a:ext uri="{C183D7F6-B498-43B3-948B-1728B52AA6E4}">
                <adec:decorative xmlns:adec="http://schemas.microsoft.com/office/drawing/2017/decorative" val="1"/>
              </a:ext>
            </a:extLst>
          </p:cNvPr>
          <p:cNvSpPr>
            <a:spLocks noChangeAspect="1"/>
          </p:cNvSpPr>
          <p:nvPr/>
        </p:nvSpPr>
        <p:spPr>
          <a:xfrm>
            <a:off x="4536268" y="2815183"/>
            <a:ext cx="143414" cy="89634"/>
          </a:xfrm>
          <a:custGeom>
            <a:avLst/>
            <a:gdLst>
              <a:gd name="connsiteX0" fmla="*/ 143414 w 143414"/>
              <a:gd name="connsiteY0" fmla="*/ 87393 h 89634"/>
              <a:gd name="connsiteX1" fmla="*/ 132658 w 143414"/>
              <a:gd name="connsiteY1" fmla="*/ 87393 h 89634"/>
              <a:gd name="connsiteX2" fmla="*/ 132658 w 143414"/>
              <a:gd name="connsiteY2" fmla="*/ 48851 h 89634"/>
              <a:gd name="connsiteX3" fmla="*/ 130417 w 143414"/>
              <a:gd name="connsiteY3" fmla="*/ 46610 h 89634"/>
              <a:gd name="connsiteX4" fmla="*/ 128177 w 143414"/>
              <a:gd name="connsiteY4" fmla="*/ 48851 h 89634"/>
              <a:gd name="connsiteX5" fmla="*/ 128177 w 143414"/>
              <a:gd name="connsiteY5" fmla="*/ 87393 h 89634"/>
              <a:gd name="connsiteX6" fmla="*/ 118765 w 143414"/>
              <a:gd name="connsiteY6" fmla="*/ 87393 h 89634"/>
              <a:gd name="connsiteX7" fmla="*/ 118765 w 143414"/>
              <a:gd name="connsiteY7" fmla="*/ 15686 h 89634"/>
              <a:gd name="connsiteX8" fmla="*/ 116524 w 143414"/>
              <a:gd name="connsiteY8" fmla="*/ 13445 h 89634"/>
              <a:gd name="connsiteX9" fmla="*/ 114283 w 143414"/>
              <a:gd name="connsiteY9" fmla="*/ 15686 h 89634"/>
              <a:gd name="connsiteX10" fmla="*/ 114283 w 143414"/>
              <a:gd name="connsiteY10" fmla="*/ 39887 h 89634"/>
              <a:gd name="connsiteX11" fmla="*/ 105320 w 143414"/>
              <a:gd name="connsiteY11" fmla="*/ 44369 h 89634"/>
              <a:gd name="connsiteX12" fmla="*/ 105320 w 143414"/>
              <a:gd name="connsiteY12" fmla="*/ 44369 h 89634"/>
              <a:gd name="connsiteX13" fmla="*/ 101286 w 143414"/>
              <a:gd name="connsiteY13" fmla="*/ 43024 h 89634"/>
              <a:gd name="connsiteX14" fmla="*/ 91875 w 143414"/>
              <a:gd name="connsiteY14" fmla="*/ 43024 h 89634"/>
              <a:gd name="connsiteX15" fmla="*/ 90978 w 143414"/>
              <a:gd name="connsiteY15" fmla="*/ 40783 h 89634"/>
              <a:gd name="connsiteX16" fmla="*/ 74844 w 143414"/>
              <a:gd name="connsiteY16" fmla="*/ 4482 h 89634"/>
              <a:gd name="connsiteX17" fmla="*/ 80222 w 143414"/>
              <a:gd name="connsiteY17" fmla="*/ 4482 h 89634"/>
              <a:gd name="connsiteX18" fmla="*/ 82463 w 143414"/>
              <a:gd name="connsiteY18" fmla="*/ 2241 h 89634"/>
              <a:gd name="connsiteX19" fmla="*/ 80222 w 143414"/>
              <a:gd name="connsiteY19" fmla="*/ 0 h 89634"/>
              <a:gd name="connsiteX20" fmla="*/ 71707 w 143414"/>
              <a:gd name="connsiteY20" fmla="*/ 0 h 89634"/>
              <a:gd name="connsiteX21" fmla="*/ 22409 w 143414"/>
              <a:gd name="connsiteY21" fmla="*/ 0 h 89634"/>
              <a:gd name="connsiteX22" fmla="*/ 11204 w 143414"/>
              <a:gd name="connsiteY22" fmla="*/ 0 h 89634"/>
              <a:gd name="connsiteX23" fmla="*/ 8963 w 143414"/>
              <a:gd name="connsiteY23" fmla="*/ 2241 h 89634"/>
              <a:gd name="connsiteX24" fmla="*/ 11204 w 143414"/>
              <a:gd name="connsiteY24" fmla="*/ 4482 h 89634"/>
              <a:gd name="connsiteX25" fmla="*/ 20168 w 143414"/>
              <a:gd name="connsiteY25" fmla="*/ 4482 h 89634"/>
              <a:gd name="connsiteX26" fmla="*/ 20168 w 143414"/>
              <a:gd name="connsiteY26" fmla="*/ 33613 h 89634"/>
              <a:gd name="connsiteX27" fmla="*/ 11204 w 143414"/>
              <a:gd name="connsiteY27" fmla="*/ 33613 h 89634"/>
              <a:gd name="connsiteX28" fmla="*/ 0 w 143414"/>
              <a:gd name="connsiteY28" fmla="*/ 44817 h 89634"/>
              <a:gd name="connsiteX29" fmla="*/ 0 w 143414"/>
              <a:gd name="connsiteY29" fmla="*/ 71707 h 89634"/>
              <a:gd name="connsiteX30" fmla="*/ 6723 w 143414"/>
              <a:gd name="connsiteY30" fmla="*/ 78430 h 89634"/>
              <a:gd name="connsiteX31" fmla="*/ 13893 w 143414"/>
              <a:gd name="connsiteY31" fmla="*/ 78430 h 89634"/>
              <a:gd name="connsiteX32" fmla="*/ 29131 w 143414"/>
              <a:gd name="connsiteY32" fmla="*/ 91875 h 89634"/>
              <a:gd name="connsiteX33" fmla="*/ 44369 w 143414"/>
              <a:gd name="connsiteY33" fmla="*/ 78430 h 89634"/>
              <a:gd name="connsiteX34" fmla="*/ 59607 w 143414"/>
              <a:gd name="connsiteY34" fmla="*/ 78430 h 89634"/>
              <a:gd name="connsiteX35" fmla="*/ 74844 w 143414"/>
              <a:gd name="connsiteY35" fmla="*/ 91875 h 89634"/>
              <a:gd name="connsiteX36" fmla="*/ 90530 w 143414"/>
              <a:gd name="connsiteY36" fmla="*/ 78430 h 89634"/>
              <a:gd name="connsiteX37" fmla="*/ 92323 w 143414"/>
              <a:gd name="connsiteY37" fmla="*/ 76189 h 89634"/>
              <a:gd name="connsiteX38" fmla="*/ 92323 w 143414"/>
              <a:gd name="connsiteY38" fmla="*/ 58262 h 89634"/>
              <a:gd name="connsiteX39" fmla="*/ 101286 w 143414"/>
              <a:gd name="connsiteY39" fmla="*/ 58262 h 89634"/>
              <a:gd name="connsiteX40" fmla="*/ 108009 w 143414"/>
              <a:gd name="connsiteY40" fmla="*/ 51540 h 89634"/>
              <a:gd name="connsiteX41" fmla="*/ 108009 w 143414"/>
              <a:gd name="connsiteY41" fmla="*/ 49747 h 89634"/>
              <a:gd name="connsiteX42" fmla="*/ 108009 w 143414"/>
              <a:gd name="connsiteY42" fmla="*/ 47954 h 89634"/>
              <a:gd name="connsiteX43" fmla="*/ 114731 w 143414"/>
              <a:gd name="connsiteY43" fmla="*/ 44817 h 89634"/>
              <a:gd name="connsiteX44" fmla="*/ 114731 w 143414"/>
              <a:gd name="connsiteY44" fmla="*/ 87393 h 89634"/>
              <a:gd name="connsiteX45" fmla="*/ 108009 w 143414"/>
              <a:gd name="connsiteY45" fmla="*/ 87393 h 89634"/>
              <a:gd name="connsiteX46" fmla="*/ 105768 w 143414"/>
              <a:gd name="connsiteY46" fmla="*/ 89634 h 89634"/>
              <a:gd name="connsiteX47" fmla="*/ 108009 w 143414"/>
              <a:gd name="connsiteY47" fmla="*/ 91875 h 89634"/>
              <a:gd name="connsiteX48" fmla="*/ 143863 w 143414"/>
              <a:gd name="connsiteY48" fmla="*/ 91875 h 89634"/>
              <a:gd name="connsiteX49" fmla="*/ 146103 w 143414"/>
              <a:gd name="connsiteY49" fmla="*/ 89634 h 89634"/>
              <a:gd name="connsiteX50" fmla="*/ 143414 w 143414"/>
              <a:gd name="connsiteY50" fmla="*/ 87393 h 89634"/>
              <a:gd name="connsiteX51" fmla="*/ 4482 w 143414"/>
              <a:gd name="connsiteY51" fmla="*/ 71707 h 89634"/>
              <a:gd name="connsiteX52" fmla="*/ 4482 w 143414"/>
              <a:gd name="connsiteY52" fmla="*/ 44817 h 89634"/>
              <a:gd name="connsiteX53" fmla="*/ 11204 w 143414"/>
              <a:gd name="connsiteY53" fmla="*/ 38094 h 89634"/>
              <a:gd name="connsiteX54" fmla="*/ 21512 w 143414"/>
              <a:gd name="connsiteY54" fmla="*/ 38094 h 89634"/>
              <a:gd name="connsiteX55" fmla="*/ 24649 w 143414"/>
              <a:gd name="connsiteY55" fmla="*/ 34957 h 89634"/>
              <a:gd name="connsiteX56" fmla="*/ 24649 w 143414"/>
              <a:gd name="connsiteY56" fmla="*/ 4482 h 89634"/>
              <a:gd name="connsiteX57" fmla="*/ 70363 w 143414"/>
              <a:gd name="connsiteY57" fmla="*/ 4482 h 89634"/>
              <a:gd name="connsiteX58" fmla="*/ 87393 w 143414"/>
              <a:gd name="connsiteY58" fmla="*/ 42576 h 89634"/>
              <a:gd name="connsiteX59" fmla="*/ 88290 w 143414"/>
              <a:gd name="connsiteY59" fmla="*/ 47058 h 89634"/>
              <a:gd name="connsiteX60" fmla="*/ 88290 w 143414"/>
              <a:gd name="connsiteY60" fmla="*/ 56021 h 89634"/>
              <a:gd name="connsiteX61" fmla="*/ 88290 w 143414"/>
              <a:gd name="connsiteY61" fmla="*/ 67226 h 89634"/>
              <a:gd name="connsiteX62" fmla="*/ 75293 w 143414"/>
              <a:gd name="connsiteY62" fmla="*/ 60503 h 89634"/>
              <a:gd name="connsiteX63" fmla="*/ 60055 w 143414"/>
              <a:gd name="connsiteY63" fmla="*/ 73948 h 89634"/>
              <a:gd name="connsiteX64" fmla="*/ 56469 w 143414"/>
              <a:gd name="connsiteY64" fmla="*/ 73948 h 89634"/>
              <a:gd name="connsiteX65" fmla="*/ 56469 w 143414"/>
              <a:gd name="connsiteY65" fmla="*/ 73948 h 89634"/>
              <a:gd name="connsiteX66" fmla="*/ 48850 w 143414"/>
              <a:gd name="connsiteY66" fmla="*/ 73948 h 89634"/>
              <a:gd name="connsiteX67" fmla="*/ 48850 w 143414"/>
              <a:gd name="connsiteY67" fmla="*/ 73948 h 89634"/>
              <a:gd name="connsiteX68" fmla="*/ 44817 w 143414"/>
              <a:gd name="connsiteY68" fmla="*/ 73948 h 89634"/>
              <a:gd name="connsiteX69" fmla="*/ 29579 w 143414"/>
              <a:gd name="connsiteY69" fmla="*/ 60503 h 89634"/>
              <a:gd name="connsiteX70" fmla="*/ 14342 w 143414"/>
              <a:gd name="connsiteY70" fmla="*/ 73948 h 89634"/>
              <a:gd name="connsiteX71" fmla="*/ 7171 w 143414"/>
              <a:gd name="connsiteY71" fmla="*/ 73948 h 89634"/>
              <a:gd name="connsiteX72" fmla="*/ 4482 w 143414"/>
              <a:gd name="connsiteY72" fmla="*/ 71707 h 89634"/>
              <a:gd name="connsiteX73" fmla="*/ 29131 w 143414"/>
              <a:gd name="connsiteY73" fmla="*/ 87393 h 89634"/>
              <a:gd name="connsiteX74" fmla="*/ 17927 w 143414"/>
              <a:gd name="connsiteY74" fmla="*/ 76189 h 89634"/>
              <a:gd name="connsiteX75" fmla="*/ 29131 w 143414"/>
              <a:gd name="connsiteY75" fmla="*/ 64985 h 89634"/>
              <a:gd name="connsiteX76" fmla="*/ 40335 w 143414"/>
              <a:gd name="connsiteY76" fmla="*/ 76189 h 89634"/>
              <a:gd name="connsiteX77" fmla="*/ 29131 w 143414"/>
              <a:gd name="connsiteY77" fmla="*/ 87393 h 89634"/>
              <a:gd name="connsiteX78" fmla="*/ 75293 w 143414"/>
              <a:gd name="connsiteY78" fmla="*/ 87393 h 89634"/>
              <a:gd name="connsiteX79" fmla="*/ 64088 w 143414"/>
              <a:gd name="connsiteY79" fmla="*/ 76189 h 89634"/>
              <a:gd name="connsiteX80" fmla="*/ 75293 w 143414"/>
              <a:gd name="connsiteY80" fmla="*/ 64985 h 89634"/>
              <a:gd name="connsiteX81" fmla="*/ 86497 w 143414"/>
              <a:gd name="connsiteY81" fmla="*/ 76189 h 89634"/>
              <a:gd name="connsiteX82" fmla="*/ 75293 w 143414"/>
              <a:gd name="connsiteY82" fmla="*/ 87393 h 89634"/>
              <a:gd name="connsiteX83" fmla="*/ 103527 w 143414"/>
              <a:gd name="connsiteY83" fmla="*/ 51540 h 89634"/>
              <a:gd name="connsiteX84" fmla="*/ 101286 w 143414"/>
              <a:gd name="connsiteY84" fmla="*/ 53780 h 89634"/>
              <a:gd name="connsiteX85" fmla="*/ 92323 w 143414"/>
              <a:gd name="connsiteY85" fmla="*/ 53780 h 89634"/>
              <a:gd name="connsiteX86" fmla="*/ 92323 w 143414"/>
              <a:gd name="connsiteY86" fmla="*/ 47506 h 89634"/>
              <a:gd name="connsiteX87" fmla="*/ 101286 w 143414"/>
              <a:gd name="connsiteY87" fmla="*/ 47506 h 89634"/>
              <a:gd name="connsiteX88" fmla="*/ 103527 w 143414"/>
              <a:gd name="connsiteY88" fmla="*/ 49747 h 89634"/>
              <a:gd name="connsiteX89" fmla="*/ 103527 w 143414"/>
              <a:gd name="connsiteY89" fmla="*/ 51540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43414" h="89634">
                <a:moveTo>
                  <a:pt x="143414" y="87393"/>
                </a:moveTo>
                <a:lnTo>
                  <a:pt x="132658" y="87393"/>
                </a:lnTo>
                <a:lnTo>
                  <a:pt x="132658" y="48851"/>
                </a:lnTo>
                <a:cubicBezTo>
                  <a:pt x="132658" y="47506"/>
                  <a:pt x="131762" y="46610"/>
                  <a:pt x="130417" y="46610"/>
                </a:cubicBezTo>
                <a:cubicBezTo>
                  <a:pt x="129073" y="46610"/>
                  <a:pt x="128177" y="47506"/>
                  <a:pt x="128177" y="48851"/>
                </a:cubicBezTo>
                <a:lnTo>
                  <a:pt x="128177" y="87393"/>
                </a:lnTo>
                <a:lnTo>
                  <a:pt x="118765" y="87393"/>
                </a:lnTo>
                <a:lnTo>
                  <a:pt x="118765" y="15686"/>
                </a:lnTo>
                <a:cubicBezTo>
                  <a:pt x="118765" y="14341"/>
                  <a:pt x="117869" y="13445"/>
                  <a:pt x="116524" y="13445"/>
                </a:cubicBezTo>
                <a:cubicBezTo>
                  <a:pt x="115180" y="13445"/>
                  <a:pt x="114283" y="14341"/>
                  <a:pt x="114283" y="15686"/>
                </a:cubicBezTo>
                <a:lnTo>
                  <a:pt x="114283" y="39887"/>
                </a:lnTo>
                <a:lnTo>
                  <a:pt x="105320" y="44369"/>
                </a:lnTo>
                <a:cubicBezTo>
                  <a:pt x="105320" y="44369"/>
                  <a:pt x="105320" y="44369"/>
                  <a:pt x="105320" y="44369"/>
                </a:cubicBezTo>
                <a:cubicBezTo>
                  <a:pt x="104424" y="43472"/>
                  <a:pt x="102631" y="43024"/>
                  <a:pt x="101286" y="43024"/>
                </a:cubicBezTo>
                <a:lnTo>
                  <a:pt x="91875" y="43024"/>
                </a:lnTo>
                <a:cubicBezTo>
                  <a:pt x="91875" y="42128"/>
                  <a:pt x="91427" y="41680"/>
                  <a:pt x="90978" y="40783"/>
                </a:cubicBezTo>
                <a:lnTo>
                  <a:pt x="74844" y="4482"/>
                </a:lnTo>
                <a:lnTo>
                  <a:pt x="80222" y="4482"/>
                </a:lnTo>
                <a:cubicBezTo>
                  <a:pt x="81567" y="4482"/>
                  <a:pt x="82463" y="3585"/>
                  <a:pt x="82463" y="2241"/>
                </a:cubicBezTo>
                <a:cubicBezTo>
                  <a:pt x="82463" y="896"/>
                  <a:pt x="81567" y="0"/>
                  <a:pt x="80222" y="0"/>
                </a:cubicBezTo>
                <a:lnTo>
                  <a:pt x="71707" y="0"/>
                </a:lnTo>
                <a:lnTo>
                  <a:pt x="22409" y="0"/>
                </a:lnTo>
                <a:lnTo>
                  <a:pt x="11204" y="0"/>
                </a:lnTo>
                <a:cubicBezTo>
                  <a:pt x="9860" y="0"/>
                  <a:pt x="8963" y="896"/>
                  <a:pt x="8963" y="2241"/>
                </a:cubicBezTo>
                <a:cubicBezTo>
                  <a:pt x="8963" y="3585"/>
                  <a:pt x="9860" y="4482"/>
                  <a:pt x="11204" y="4482"/>
                </a:cubicBezTo>
                <a:lnTo>
                  <a:pt x="20168" y="4482"/>
                </a:lnTo>
                <a:lnTo>
                  <a:pt x="20168" y="33613"/>
                </a:lnTo>
                <a:lnTo>
                  <a:pt x="11204" y="33613"/>
                </a:lnTo>
                <a:cubicBezTo>
                  <a:pt x="4930" y="33613"/>
                  <a:pt x="0" y="38543"/>
                  <a:pt x="0" y="44817"/>
                </a:cubicBezTo>
                <a:lnTo>
                  <a:pt x="0" y="71707"/>
                </a:lnTo>
                <a:cubicBezTo>
                  <a:pt x="0" y="75292"/>
                  <a:pt x="3137" y="78430"/>
                  <a:pt x="6723" y="78430"/>
                </a:cubicBezTo>
                <a:lnTo>
                  <a:pt x="13893" y="78430"/>
                </a:lnTo>
                <a:cubicBezTo>
                  <a:pt x="14790" y="86048"/>
                  <a:pt x="21512" y="91875"/>
                  <a:pt x="29131" y="91875"/>
                </a:cubicBezTo>
                <a:cubicBezTo>
                  <a:pt x="36750" y="91875"/>
                  <a:pt x="43473" y="86048"/>
                  <a:pt x="44369" y="78430"/>
                </a:cubicBezTo>
                <a:lnTo>
                  <a:pt x="59607" y="78430"/>
                </a:lnTo>
                <a:cubicBezTo>
                  <a:pt x="60503" y="86048"/>
                  <a:pt x="67226" y="91875"/>
                  <a:pt x="74844" y="91875"/>
                </a:cubicBezTo>
                <a:cubicBezTo>
                  <a:pt x="82911" y="91875"/>
                  <a:pt x="89186" y="86048"/>
                  <a:pt x="90530" y="78430"/>
                </a:cubicBezTo>
                <a:cubicBezTo>
                  <a:pt x="91427" y="78430"/>
                  <a:pt x="92323" y="77533"/>
                  <a:pt x="92323" y="76189"/>
                </a:cubicBezTo>
                <a:lnTo>
                  <a:pt x="92323" y="58262"/>
                </a:lnTo>
                <a:lnTo>
                  <a:pt x="101286" y="58262"/>
                </a:lnTo>
                <a:cubicBezTo>
                  <a:pt x="104872" y="58262"/>
                  <a:pt x="108009" y="55125"/>
                  <a:pt x="108009" y="51540"/>
                </a:cubicBezTo>
                <a:lnTo>
                  <a:pt x="108009" y="49747"/>
                </a:lnTo>
                <a:cubicBezTo>
                  <a:pt x="108009" y="49299"/>
                  <a:pt x="108009" y="48851"/>
                  <a:pt x="108009" y="47954"/>
                </a:cubicBezTo>
                <a:lnTo>
                  <a:pt x="114731" y="44817"/>
                </a:lnTo>
                <a:lnTo>
                  <a:pt x="114731" y="87393"/>
                </a:lnTo>
                <a:lnTo>
                  <a:pt x="108009" y="87393"/>
                </a:lnTo>
                <a:cubicBezTo>
                  <a:pt x="106664" y="87393"/>
                  <a:pt x="105768" y="88289"/>
                  <a:pt x="105768" y="89634"/>
                </a:cubicBezTo>
                <a:cubicBezTo>
                  <a:pt x="105768" y="90978"/>
                  <a:pt x="106664" y="91875"/>
                  <a:pt x="108009" y="91875"/>
                </a:cubicBezTo>
                <a:lnTo>
                  <a:pt x="143863" y="91875"/>
                </a:lnTo>
                <a:cubicBezTo>
                  <a:pt x="145207" y="91875"/>
                  <a:pt x="146103" y="90978"/>
                  <a:pt x="146103" y="89634"/>
                </a:cubicBezTo>
                <a:cubicBezTo>
                  <a:pt x="146103" y="88289"/>
                  <a:pt x="144759" y="87393"/>
                  <a:pt x="143414" y="87393"/>
                </a:cubicBezTo>
                <a:close/>
                <a:moveTo>
                  <a:pt x="4482" y="71707"/>
                </a:moveTo>
                <a:lnTo>
                  <a:pt x="4482" y="44817"/>
                </a:lnTo>
                <a:cubicBezTo>
                  <a:pt x="4482" y="41231"/>
                  <a:pt x="7619" y="38094"/>
                  <a:pt x="11204" y="38094"/>
                </a:cubicBezTo>
                <a:lnTo>
                  <a:pt x="21512" y="38094"/>
                </a:lnTo>
                <a:cubicBezTo>
                  <a:pt x="23305" y="38094"/>
                  <a:pt x="24649" y="36750"/>
                  <a:pt x="24649" y="34957"/>
                </a:cubicBezTo>
                <a:lnTo>
                  <a:pt x="24649" y="4482"/>
                </a:lnTo>
                <a:lnTo>
                  <a:pt x="70363" y="4482"/>
                </a:lnTo>
                <a:lnTo>
                  <a:pt x="87393" y="42576"/>
                </a:lnTo>
                <a:cubicBezTo>
                  <a:pt x="87841" y="43920"/>
                  <a:pt x="88290" y="45713"/>
                  <a:pt x="88290" y="47058"/>
                </a:cubicBezTo>
                <a:lnTo>
                  <a:pt x="88290" y="56021"/>
                </a:lnTo>
                <a:lnTo>
                  <a:pt x="88290" y="67226"/>
                </a:lnTo>
                <a:cubicBezTo>
                  <a:pt x="85600" y="63192"/>
                  <a:pt x="80671" y="60503"/>
                  <a:pt x="75293" y="60503"/>
                </a:cubicBezTo>
                <a:cubicBezTo>
                  <a:pt x="67226" y="60503"/>
                  <a:pt x="60951" y="66329"/>
                  <a:pt x="60055" y="73948"/>
                </a:cubicBezTo>
                <a:lnTo>
                  <a:pt x="56469" y="73948"/>
                </a:lnTo>
                <a:cubicBezTo>
                  <a:pt x="56469" y="73948"/>
                  <a:pt x="56469" y="73948"/>
                  <a:pt x="56469" y="73948"/>
                </a:cubicBezTo>
                <a:lnTo>
                  <a:pt x="48850" y="73948"/>
                </a:lnTo>
                <a:lnTo>
                  <a:pt x="48850" y="73948"/>
                </a:lnTo>
                <a:lnTo>
                  <a:pt x="44817" y="73948"/>
                </a:lnTo>
                <a:cubicBezTo>
                  <a:pt x="43921" y="66329"/>
                  <a:pt x="37198" y="60503"/>
                  <a:pt x="29579" y="60503"/>
                </a:cubicBezTo>
                <a:cubicBezTo>
                  <a:pt x="21960" y="60503"/>
                  <a:pt x="15238" y="66329"/>
                  <a:pt x="14342" y="73948"/>
                </a:cubicBezTo>
                <a:lnTo>
                  <a:pt x="7171" y="73948"/>
                </a:lnTo>
                <a:cubicBezTo>
                  <a:pt x="5378" y="73948"/>
                  <a:pt x="4482" y="73051"/>
                  <a:pt x="4482" y="71707"/>
                </a:cubicBezTo>
                <a:close/>
                <a:moveTo>
                  <a:pt x="29131" y="87393"/>
                </a:moveTo>
                <a:cubicBezTo>
                  <a:pt x="22857" y="87393"/>
                  <a:pt x="17927" y="82463"/>
                  <a:pt x="17927" y="76189"/>
                </a:cubicBezTo>
                <a:cubicBezTo>
                  <a:pt x="17927" y="69914"/>
                  <a:pt x="22857" y="64985"/>
                  <a:pt x="29131" y="64985"/>
                </a:cubicBezTo>
                <a:cubicBezTo>
                  <a:pt x="35405" y="64985"/>
                  <a:pt x="40335" y="69914"/>
                  <a:pt x="40335" y="76189"/>
                </a:cubicBezTo>
                <a:cubicBezTo>
                  <a:pt x="40335" y="82463"/>
                  <a:pt x="35405" y="87393"/>
                  <a:pt x="29131" y="87393"/>
                </a:cubicBezTo>
                <a:close/>
                <a:moveTo>
                  <a:pt x="75293" y="87393"/>
                </a:moveTo>
                <a:cubicBezTo>
                  <a:pt x="69018" y="87393"/>
                  <a:pt x="64088" y="82463"/>
                  <a:pt x="64088" y="76189"/>
                </a:cubicBezTo>
                <a:cubicBezTo>
                  <a:pt x="64088" y="69914"/>
                  <a:pt x="69018" y="64985"/>
                  <a:pt x="75293" y="64985"/>
                </a:cubicBezTo>
                <a:cubicBezTo>
                  <a:pt x="81567" y="64985"/>
                  <a:pt x="86497" y="69914"/>
                  <a:pt x="86497" y="76189"/>
                </a:cubicBezTo>
                <a:cubicBezTo>
                  <a:pt x="86497" y="82463"/>
                  <a:pt x="81119" y="87393"/>
                  <a:pt x="75293" y="87393"/>
                </a:cubicBezTo>
                <a:close/>
                <a:moveTo>
                  <a:pt x="103527" y="51540"/>
                </a:moveTo>
                <a:cubicBezTo>
                  <a:pt x="103527" y="52884"/>
                  <a:pt x="102631" y="53780"/>
                  <a:pt x="101286" y="53780"/>
                </a:cubicBezTo>
                <a:lnTo>
                  <a:pt x="92323" y="53780"/>
                </a:lnTo>
                <a:lnTo>
                  <a:pt x="92323" y="47506"/>
                </a:lnTo>
                <a:lnTo>
                  <a:pt x="101286" y="47506"/>
                </a:lnTo>
                <a:cubicBezTo>
                  <a:pt x="102631" y="47506"/>
                  <a:pt x="103527" y="48402"/>
                  <a:pt x="103527" y="49747"/>
                </a:cubicBezTo>
                <a:lnTo>
                  <a:pt x="103527" y="51540"/>
                </a:lnTo>
                <a:close/>
              </a:path>
            </a:pathLst>
          </a:custGeom>
          <a:solidFill>
            <a:srgbClr val="231F20"/>
          </a:solidFill>
          <a:ln w="4477" cap="flat">
            <a:noFill/>
            <a:prstDash val="solid"/>
            <a:miter/>
          </a:ln>
        </p:spPr>
        <p:txBody>
          <a:bodyPr rtlCol="0" anchor="ctr"/>
          <a:lstStyle/>
          <a:p>
            <a:endParaRPr lang="en-US"/>
          </a:p>
        </p:txBody>
      </p:sp>
      <p:sp>
        <p:nvSpPr>
          <p:cNvPr id="3775" name="Freeform: Shape 3774">
            <a:extLst>
              <a:ext uri="{FF2B5EF4-FFF2-40B4-BE49-F238E27FC236}">
                <a16:creationId xmlns:a16="http://schemas.microsoft.com/office/drawing/2014/main" id="{75BECBE0-04FF-414F-A1C0-78868A91DD56}"/>
              </a:ext>
              <a:ext uri="{C183D7F6-B498-43B3-948B-1728B52AA6E4}">
                <adec:decorative xmlns:adec="http://schemas.microsoft.com/office/drawing/2017/decorative" val="1"/>
              </a:ext>
            </a:extLst>
          </p:cNvPr>
          <p:cNvSpPr>
            <a:spLocks noChangeAspect="1"/>
          </p:cNvSpPr>
          <p:nvPr/>
        </p:nvSpPr>
        <p:spPr>
          <a:xfrm>
            <a:off x="4796207" y="2801738"/>
            <a:ext cx="143414" cy="103079"/>
          </a:xfrm>
          <a:custGeom>
            <a:avLst/>
            <a:gdLst>
              <a:gd name="connsiteX0" fmla="*/ 145655 w 143414"/>
              <a:gd name="connsiteY0" fmla="*/ 87393 h 103079"/>
              <a:gd name="connsiteX1" fmla="*/ 142966 w 143414"/>
              <a:gd name="connsiteY1" fmla="*/ 87393 h 103079"/>
              <a:gd name="connsiteX2" fmla="*/ 142966 w 143414"/>
              <a:gd name="connsiteY2" fmla="*/ 76189 h 103079"/>
              <a:gd name="connsiteX3" fmla="*/ 140725 w 143414"/>
              <a:gd name="connsiteY3" fmla="*/ 73948 h 103079"/>
              <a:gd name="connsiteX4" fmla="*/ 120110 w 143414"/>
              <a:gd name="connsiteY4" fmla="*/ 73948 h 103079"/>
              <a:gd name="connsiteX5" fmla="*/ 117869 w 143414"/>
              <a:gd name="connsiteY5" fmla="*/ 76189 h 103079"/>
              <a:gd name="connsiteX6" fmla="*/ 117869 w 143414"/>
              <a:gd name="connsiteY6" fmla="*/ 87393 h 103079"/>
              <a:gd name="connsiteX7" fmla="*/ 112043 w 143414"/>
              <a:gd name="connsiteY7" fmla="*/ 87393 h 103079"/>
              <a:gd name="connsiteX8" fmla="*/ 112043 w 143414"/>
              <a:gd name="connsiteY8" fmla="*/ 7171 h 103079"/>
              <a:gd name="connsiteX9" fmla="*/ 109802 w 143414"/>
              <a:gd name="connsiteY9" fmla="*/ 4930 h 103079"/>
              <a:gd name="connsiteX10" fmla="*/ 107561 w 143414"/>
              <a:gd name="connsiteY10" fmla="*/ 7171 h 103079"/>
              <a:gd name="connsiteX11" fmla="*/ 107561 w 143414"/>
              <a:gd name="connsiteY11" fmla="*/ 66777 h 103079"/>
              <a:gd name="connsiteX12" fmla="*/ 103976 w 143414"/>
              <a:gd name="connsiteY12" fmla="*/ 66777 h 103079"/>
              <a:gd name="connsiteX13" fmla="*/ 95908 w 143414"/>
              <a:gd name="connsiteY13" fmla="*/ 60503 h 103079"/>
              <a:gd name="connsiteX14" fmla="*/ 94116 w 143414"/>
              <a:gd name="connsiteY14" fmla="*/ 60503 h 103079"/>
              <a:gd name="connsiteX15" fmla="*/ 94116 w 143414"/>
              <a:gd name="connsiteY15" fmla="*/ 49299 h 103079"/>
              <a:gd name="connsiteX16" fmla="*/ 90978 w 143414"/>
              <a:gd name="connsiteY16" fmla="*/ 37646 h 103079"/>
              <a:gd name="connsiteX17" fmla="*/ 74844 w 143414"/>
              <a:gd name="connsiteY17" fmla="*/ 8515 h 103079"/>
              <a:gd name="connsiteX18" fmla="*/ 60951 w 143414"/>
              <a:gd name="connsiteY18" fmla="*/ 0 h 103079"/>
              <a:gd name="connsiteX19" fmla="*/ 26890 w 143414"/>
              <a:gd name="connsiteY19" fmla="*/ 0 h 103079"/>
              <a:gd name="connsiteX20" fmla="*/ 20168 w 143414"/>
              <a:gd name="connsiteY20" fmla="*/ 6723 h 103079"/>
              <a:gd name="connsiteX21" fmla="*/ 20168 w 143414"/>
              <a:gd name="connsiteY21" fmla="*/ 47058 h 103079"/>
              <a:gd name="connsiteX22" fmla="*/ 6723 w 143414"/>
              <a:gd name="connsiteY22" fmla="*/ 47058 h 103079"/>
              <a:gd name="connsiteX23" fmla="*/ 0 w 143414"/>
              <a:gd name="connsiteY23" fmla="*/ 53332 h 103079"/>
              <a:gd name="connsiteX24" fmla="*/ 0 w 143414"/>
              <a:gd name="connsiteY24" fmla="*/ 85152 h 103079"/>
              <a:gd name="connsiteX25" fmla="*/ 6723 w 143414"/>
              <a:gd name="connsiteY25" fmla="*/ 91427 h 103079"/>
              <a:gd name="connsiteX26" fmla="*/ 7171 w 143414"/>
              <a:gd name="connsiteY26" fmla="*/ 91427 h 103079"/>
              <a:gd name="connsiteX27" fmla="*/ 22409 w 143414"/>
              <a:gd name="connsiteY27" fmla="*/ 104872 h 103079"/>
              <a:gd name="connsiteX28" fmla="*/ 37646 w 143414"/>
              <a:gd name="connsiteY28" fmla="*/ 91427 h 103079"/>
              <a:gd name="connsiteX29" fmla="*/ 53780 w 143414"/>
              <a:gd name="connsiteY29" fmla="*/ 91427 h 103079"/>
              <a:gd name="connsiteX30" fmla="*/ 69018 w 143414"/>
              <a:gd name="connsiteY30" fmla="*/ 104872 h 103079"/>
              <a:gd name="connsiteX31" fmla="*/ 84256 w 143414"/>
              <a:gd name="connsiteY31" fmla="*/ 91427 h 103079"/>
              <a:gd name="connsiteX32" fmla="*/ 88738 w 143414"/>
              <a:gd name="connsiteY32" fmla="*/ 91427 h 103079"/>
              <a:gd name="connsiteX33" fmla="*/ 93667 w 143414"/>
              <a:gd name="connsiteY33" fmla="*/ 86497 h 103079"/>
              <a:gd name="connsiteX34" fmla="*/ 93667 w 143414"/>
              <a:gd name="connsiteY34" fmla="*/ 77982 h 103079"/>
              <a:gd name="connsiteX35" fmla="*/ 95460 w 143414"/>
              <a:gd name="connsiteY35" fmla="*/ 77982 h 103079"/>
              <a:gd name="connsiteX36" fmla="*/ 103976 w 143414"/>
              <a:gd name="connsiteY36" fmla="*/ 70811 h 103079"/>
              <a:gd name="connsiteX37" fmla="*/ 107113 w 143414"/>
              <a:gd name="connsiteY37" fmla="*/ 70811 h 103079"/>
              <a:gd name="connsiteX38" fmla="*/ 107113 w 143414"/>
              <a:gd name="connsiteY38" fmla="*/ 89186 h 103079"/>
              <a:gd name="connsiteX39" fmla="*/ 109353 w 143414"/>
              <a:gd name="connsiteY39" fmla="*/ 91427 h 103079"/>
              <a:gd name="connsiteX40" fmla="*/ 119661 w 143414"/>
              <a:gd name="connsiteY40" fmla="*/ 91427 h 103079"/>
              <a:gd name="connsiteX41" fmla="*/ 140277 w 143414"/>
              <a:gd name="connsiteY41" fmla="*/ 91427 h 103079"/>
              <a:gd name="connsiteX42" fmla="*/ 145207 w 143414"/>
              <a:gd name="connsiteY42" fmla="*/ 91427 h 103079"/>
              <a:gd name="connsiteX43" fmla="*/ 147448 w 143414"/>
              <a:gd name="connsiteY43" fmla="*/ 89186 h 103079"/>
              <a:gd name="connsiteX44" fmla="*/ 145655 w 143414"/>
              <a:gd name="connsiteY44" fmla="*/ 87393 h 103079"/>
              <a:gd name="connsiteX45" fmla="*/ 22409 w 143414"/>
              <a:gd name="connsiteY45" fmla="*/ 100838 h 103079"/>
              <a:gd name="connsiteX46" fmla="*/ 11204 w 143414"/>
              <a:gd name="connsiteY46" fmla="*/ 89634 h 103079"/>
              <a:gd name="connsiteX47" fmla="*/ 22409 w 143414"/>
              <a:gd name="connsiteY47" fmla="*/ 78430 h 103079"/>
              <a:gd name="connsiteX48" fmla="*/ 33613 w 143414"/>
              <a:gd name="connsiteY48" fmla="*/ 89634 h 103079"/>
              <a:gd name="connsiteX49" fmla="*/ 22409 w 143414"/>
              <a:gd name="connsiteY49" fmla="*/ 100838 h 103079"/>
              <a:gd name="connsiteX50" fmla="*/ 69466 w 143414"/>
              <a:gd name="connsiteY50" fmla="*/ 100838 h 103079"/>
              <a:gd name="connsiteX51" fmla="*/ 58262 w 143414"/>
              <a:gd name="connsiteY51" fmla="*/ 89634 h 103079"/>
              <a:gd name="connsiteX52" fmla="*/ 69466 w 143414"/>
              <a:gd name="connsiteY52" fmla="*/ 78430 h 103079"/>
              <a:gd name="connsiteX53" fmla="*/ 80671 w 143414"/>
              <a:gd name="connsiteY53" fmla="*/ 89634 h 103079"/>
              <a:gd name="connsiteX54" fmla="*/ 69466 w 143414"/>
              <a:gd name="connsiteY54" fmla="*/ 100838 h 103079"/>
              <a:gd name="connsiteX55" fmla="*/ 89634 w 143414"/>
              <a:gd name="connsiteY55" fmla="*/ 87393 h 103079"/>
              <a:gd name="connsiteX56" fmla="*/ 85152 w 143414"/>
              <a:gd name="connsiteY56" fmla="*/ 87393 h 103079"/>
              <a:gd name="connsiteX57" fmla="*/ 69914 w 143414"/>
              <a:gd name="connsiteY57" fmla="*/ 73948 h 103079"/>
              <a:gd name="connsiteX58" fmla="*/ 54677 w 143414"/>
              <a:gd name="connsiteY58" fmla="*/ 87393 h 103079"/>
              <a:gd name="connsiteX59" fmla="*/ 38543 w 143414"/>
              <a:gd name="connsiteY59" fmla="*/ 87393 h 103079"/>
              <a:gd name="connsiteX60" fmla="*/ 23305 w 143414"/>
              <a:gd name="connsiteY60" fmla="*/ 73948 h 103079"/>
              <a:gd name="connsiteX61" fmla="*/ 8067 w 143414"/>
              <a:gd name="connsiteY61" fmla="*/ 87393 h 103079"/>
              <a:gd name="connsiteX62" fmla="*/ 7619 w 143414"/>
              <a:gd name="connsiteY62" fmla="*/ 87393 h 103079"/>
              <a:gd name="connsiteX63" fmla="*/ 5378 w 143414"/>
              <a:gd name="connsiteY63" fmla="*/ 85600 h 103079"/>
              <a:gd name="connsiteX64" fmla="*/ 5378 w 143414"/>
              <a:gd name="connsiteY64" fmla="*/ 53780 h 103079"/>
              <a:gd name="connsiteX65" fmla="*/ 7619 w 143414"/>
              <a:gd name="connsiteY65" fmla="*/ 51988 h 103079"/>
              <a:gd name="connsiteX66" fmla="*/ 21064 w 143414"/>
              <a:gd name="connsiteY66" fmla="*/ 51988 h 103079"/>
              <a:gd name="connsiteX67" fmla="*/ 21064 w 143414"/>
              <a:gd name="connsiteY67" fmla="*/ 58710 h 103079"/>
              <a:gd name="connsiteX68" fmla="*/ 27787 w 143414"/>
              <a:gd name="connsiteY68" fmla="*/ 65433 h 103079"/>
              <a:gd name="connsiteX69" fmla="*/ 90530 w 143414"/>
              <a:gd name="connsiteY69" fmla="*/ 65433 h 103079"/>
              <a:gd name="connsiteX70" fmla="*/ 89634 w 143414"/>
              <a:gd name="connsiteY70" fmla="*/ 87393 h 103079"/>
              <a:gd name="connsiteX71" fmla="*/ 26890 w 143414"/>
              <a:gd name="connsiteY71" fmla="*/ 60503 h 103079"/>
              <a:gd name="connsiteX72" fmla="*/ 24649 w 143414"/>
              <a:gd name="connsiteY72" fmla="*/ 58262 h 103079"/>
              <a:gd name="connsiteX73" fmla="*/ 24649 w 143414"/>
              <a:gd name="connsiteY73" fmla="*/ 6723 h 103079"/>
              <a:gd name="connsiteX74" fmla="*/ 26890 w 143414"/>
              <a:gd name="connsiteY74" fmla="*/ 4482 h 103079"/>
              <a:gd name="connsiteX75" fmla="*/ 60951 w 143414"/>
              <a:gd name="connsiteY75" fmla="*/ 4482 h 103079"/>
              <a:gd name="connsiteX76" fmla="*/ 70811 w 143414"/>
              <a:gd name="connsiteY76" fmla="*/ 10756 h 103079"/>
              <a:gd name="connsiteX77" fmla="*/ 86945 w 143414"/>
              <a:gd name="connsiteY77" fmla="*/ 39887 h 103079"/>
              <a:gd name="connsiteX78" fmla="*/ 89186 w 143414"/>
              <a:gd name="connsiteY78" fmla="*/ 49299 h 103079"/>
              <a:gd name="connsiteX79" fmla="*/ 89186 w 143414"/>
              <a:gd name="connsiteY79" fmla="*/ 60503 h 103079"/>
              <a:gd name="connsiteX80" fmla="*/ 26890 w 143414"/>
              <a:gd name="connsiteY80" fmla="*/ 60503 h 103079"/>
              <a:gd name="connsiteX81" fmla="*/ 99942 w 143414"/>
              <a:gd name="connsiteY81" fmla="*/ 69914 h 103079"/>
              <a:gd name="connsiteX82" fmla="*/ 95908 w 143414"/>
              <a:gd name="connsiteY82" fmla="*/ 73948 h 103079"/>
              <a:gd name="connsiteX83" fmla="*/ 94116 w 143414"/>
              <a:gd name="connsiteY83" fmla="*/ 73948 h 103079"/>
              <a:gd name="connsiteX84" fmla="*/ 94116 w 143414"/>
              <a:gd name="connsiteY84" fmla="*/ 64985 h 103079"/>
              <a:gd name="connsiteX85" fmla="*/ 95908 w 143414"/>
              <a:gd name="connsiteY85" fmla="*/ 64985 h 103079"/>
              <a:gd name="connsiteX86" fmla="*/ 99942 w 143414"/>
              <a:gd name="connsiteY86" fmla="*/ 69018 h 103079"/>
              <a:gd name="connsiteX87" fmla="*/ 99942 w 143414"/>
              <a:gd name="connsiteY87" fmla="*/ 69914 h 103079"/>
              <a:gd name="connsiteX88" fmla="*/ 122350 w 143414"/>
              <a:gd name="connsiteY88" fmla="*/ 87393 h 103079"/>
              <a:gd name="connsiteX89" fmla="*/ 122350 w 143414"/>
              <a:gd name="connsiteY89" fmla="*/ 78430 h 103079"/>
              <a:gd name="connsiteX90" fmla="*/ 138484 w 143414"/>
              <a:gd name="connsiteY90" fmla="*/ 78430 h 103079"/>
              <a:gd name="connsiteX91" fmla="*/ 138484 w 143414"/>
              <a:gd name="connsiteY91" fmla="*/ 87393 h 103079"/>
              <a:gd name="connsiteX92" fmla="*/ 122350 w 143414"/>
              <a:gd name="connsiteY92" fmla="*/ 87393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3414" h="103079">
                <a:moveTo>
                  <a:pt x="145655" y="87393"/>
                </a:moveTo>
                <a:lnTo>
                  <a:pt x="142966" y="87393"/>
                </a:lnTo>
                <a:lnTo>
                  <a:pt x="142966" y="76189"/>
                </a:lnTo>
                <a:cubicBezTo>
                  <a:pt x="142966" y="74844"/>
                  <a:pt x="142070" y="73948"/>
                  <a:pt x="140725" y="73948"/>
                </a:cubicBezTo>
                <a:lnTo>
                  <a:pt x="120110" y="73948"/>
                </a:lnTo>
                <a:cubicBezTo>
                  <a:pt x="118765" y="73948"/>
                  <a:pt x="117869" y="74844"/>
                  <a:pt x="117869" y="76189"/>
                </a:cubicBezTo>
                <a:lnTo>
                  <a:pt x="117869" y="87393"/>
                </a:lnTo>
                <a:lnTo>
                  <a:pt x="112043" y="87393"/>
                </a:lnTo>
                <a:lnTo>
                  <a:pt x="112043" y="7171"/>
                </a:lnTo>
                <a:cubicBezTo>
                  <a:pt x="112043" y="5826"/>
                  <a:pt x="111146" y="4930"/>
                  <a:pt x="109802" y="4930"/>
                </a:cubicBezTo>
                <a:cubicBezTo>
                  <a:pt x="108457" y="4930"/>
                  <a:pt x="107561" y="5826"/>
                  <a:pt x="107561" y="7171"/>
                </a:cubicBezTo>
                <a:lnTo>
                  <a:pt x="107561" y="66777"/>
                </a:lnTo>
                <a:lnTo>
                  <a:pt x="103976" y="66777"/>
                </a:lnTo>
                <a:cubicBezTo>
                  <a:pt x="103079" y="63192"/>
                  <a:pt x="99494" y="60503"/>
                  <a:pt x="95908" y="60503"/>
                </a:cubicBezTo>
                <a:lnTo>
                  <a:pt x="94116" y="60503"/>
                </a:lnTo>
                <a:lnTo>
                  <a:pt x="94116" y="49299"/>
                </a:lnTo>
                <a:cubicBezTo>
                  <a:pt x="94116" y="45265"/>
                  <a:pt x="93219" y="41231"/>
                  <a:pt x="90978" y="37646"/>
                </a:cubicBezTo>
                <a:lnTo>
                  <a:pt x="74844" y="8515"/>
                </a:lnTo>
                <a:cubicBezTo>
                  <a:pt x="72155" y="3137"/>
                  <a:pt x="66777" y="0"/>
                  <a:pt x="60951" y="0"/>
                </a:cubicBezTo>
                <a:lnTo>
                  <a:pt x="26890" y="0"/>
                </a:lnTo>
                <a:cubicBezTo>
                  <a:pt x="23305" y="0"/>
                  <a:pt x="20168" y="3137"/>
                  <a:pt x="20168" y="6723"/>
                </a:cubicBezTo>
                <a:lnTo>
                  <a:pt x="20168" y="47058"/>
                </a:lnTo>
                <a:lnTo>
                  <a:pt x="6723" y="47058"/>
                </a:lnTo>
                <a:cubicBezTo>
                  <a:pt x="3137" y="47058"/>
                  <a:pt x="0" y="49747"/>
                  <a:pt x="0" y="53332"/>
                </a:cubicBezTo>
                <a:lnTo>
                  <a:pt x="0" y="85152"/>
                </a:lnTo>
                <a:cubicBezTo>
                  <a:pt x="0" y="88737"/>
                  <a:pt x="3137" y="91427"/>
                  <a:pt x="6723" y="91427"/>
                </a:cubicBezTo>
                <a:lnTo>
                  <a:pt x="7171" y="91427"/>
                </a:lnTo>
                <a:cubicBezTo>
                  <a:pt x="8067" y="99046"/>
                  <a:pt x="14790" y="104872"/>
                  <a:pt x="22409" y="104872"/>
                </a:cubicBezTo>
                <a:cubicBezTo>
                  <a:pt x="30027" y="104872"/>
                  <a:pt x="36750" y="99046"/>
                  <a:pt x="37646" y="91427"/>
                </a:cubicBezTo>
                <a:lnTo>
                  <a:pt x="53780" y="91427"/>
                </a:lnTo>
                <a:cubicBezTo>
                  <a:pt x="54677" y="99046"/>
                  <a:pt x="61399" y="104872"/>
                  <a:pt x="69018" y="104872"/>
                </a:cubicBezTo>
                <a:cubicBezTo>
                  <a:pt x="76637" y="104872"/>
                  <a:pt x="83360" y="99046"/>
                  <a:pt x="84256" y="91427"/>
                </a:cubicBezTo>
                <a:lnTo>
                  <a:pt x="88738" y="91427"/>
                </a:lnTo>
                <a:cubicBezTo>
                  <a:pt x="91427" y="91427"/>
                  <a:pt x="93667" y="89186"/>
                  <a:pt x="93667" y="86497"/>
                </a:cubicBezTo>
                <a:lnTo>
                  <a:pt x="93667" y="77982"/>
                </a:lnTo>
                <a:lnTo>
                  <a:pt x="95460" y="77982"/>
                </a:lnTo>
                <a:cubicBezTo>
                  <a:pt x="99494" y="77982"/>
                  <a:pt x="103079" y="74844"/>
                  <a:pt x="103976" y="70811"/>
                </a:cubicBezTo>
                <a:lnTo>
                  <a:pt x="107113" y="70811"/>
                </a:lnTo>
                <a:lnTo>
                  <a:pt x="107113" y="89186"/>
                </a:lnTo>
                <a:cubicBezTo>
                  <a:pt x="107113" y="90530"/>
                  <a:pt x="108009" y="91427"/>
                  <a:pt x="109353" y="91427"/>
                </a:cubicBezTo>
                <a:lnTo>
                  <a:pt x="119661" y="91427"/>
                </a:lnTo>
                <a:lnTo>
                  <a:pt x="140277" y="91427"/>
                </a:lnTo>
                <a:lnTo>
                  <a:pt x="145207" y="91427"/>
                </a:lnTo>
                <a:cubicBezTo>
                  <a:pt x="146552" y="91427"/>
                  <a:pt x="147448" y="90530"/>
                  <a:pt x="147448" y="89186"/>
                </a:cubicBezTo>
                <a:cubicBezTo>
                  <a:pt x="147448" y="87841"/>
                  <a:pt x="147000" y="87393"/>
                  <a:pt x="145655" y="87393"/>
                </a:cubicBezTo>
                <a:close/>
                <a:moveTo>
                  <a:pt x="22409" y="100838"/>
                </a:moveTo>
                <a:cubicBezTo>
                  <a:pt x="16134" y="100838"/>
                  <a:pt x="11204" y="95909"/>
                  <a:pt x="11204" y="89634"/>
                </a:cubicBezTo>
                <a:cubicBezTo>
                  <a:pt x="11204" y="83360"/>
                  <a:pt x="16134" y="78430"/>
                  <a:pt x="22409" y="78430"/>
                </a:cubicBezTo>
                <a:cubicBezTo>
                  <a:pt x="28683" y="78430"/>
                  <a:pt x="33613" y="83360"/>
                  <a:pt x="33613" y="89634"/>
                </a:cubicBezTo>
                <a:cubicBezTo>
                  <a:pt x="33613" y="95909"/>
                  <a:pt x="28683" y="100838"/>
                  <a:pt x="22409" y="100838"/>
                </a:cubicBezTo>
                <a:close/>
                <a:moveTo>
                  <a:pt x="69466" y="100838"/>
                </a:moveTo>
                <a:cubicBezTo>
                  <a:pt x="63192" y="100838"/>
                  <a:pt x="58262" y="95909"/>
                  <a:pt x="58262" y="89634"/>
                </a:cubicBezTo>
                <a:cubicBezTo>
                  <a:pt x="58262" y="83360"/>
                  <a:pt x="63192" y="78430"/>
                  <a:pt x="69466" y="78430"/>
                </a:cubicBezTo>
                <a:cubicBezTo>
                  <a:pt x="75741" y="78430"/>
                  <a:pt x="80671" y="83360"/>
                  <a:pt x="80671" y="89634"/>
                </a:cubicBezTo>
                <a:cubicBezTo>
                  <a:pt x="80671" y="95909"/>
                  <a:pt x="75741" y="100838"/>
                  <a:pt x="69466" y="100838"/>
                </a:cubicBezTo>
                <a:close/>
                <a:moveTo>
                  <a:pt x="89634" y="87393"/>
                </a:moveTo>
                <a:lnTo>
                  <a:pt x="85152" y="87393"/>
                </a:lnTo>
                <a:cubicBezTo>
                  <a:pt x="84256" y="79774"/>
                  <a:pt x="77533" y="73948"/>
                  <a:pt x="69914" y="73948"/>
                </a:cubicBezTo>
                <a:cubicBezTo>
                  <a:pt x="62295" y="73948"/>
                  <a:pt x="55573" y="79774"/>
                  <a:pt x="54677" y="87393"/>
                </a:cubicBezTo>
                <a:lnTo>
                  <a:pt x="38543" y="87393"/>
                </a:lnTo>
                <a:cubicBezTo>
                  <a:pt x="37646" y="79774"/>
                  <a:pt x="30924" y="73948"/>
                  <a:pt x="23305" y="73948"/>
                </a:cubicBezTo>
                <a:cubicBezTo>
                  <a:pt x="15686" y="73948"/>
                  <a:pt x="8963" y="79774"/>
                  <a:pt x="8067" y="87393"/>
                </a:cubicBezTo>
                <a:lnTo>
                  <a:pt x="7619" y="87393"/>
                </a:lnTo>
                <a:cubicBezTo>
                  <a:pt x="6274" y="87393"/>
                  <a:pt x="5378" y="86497"/>
                  <a:pt x="5378" y="85600"/>
                </a:cubicBezTo>
                <a:lnTo>
                  <a:pt x="5378" y="53780"/>
                </a:lnTo>
                <a:cubicBezTo>
                  <a:pt x="5378" y="52884"/>
                  <a:pt x="6274" y="51988"/>
                  <a:pt x="7619" y="51988"/>
                </a:cubicBezTo>
                <a:lnTo>
                  <a:pt x="21064" y="51988"/>
                </a:lnTo>
                <a:lnTo>
                  <a:pt x="21064" y="58710"/>
                </a:lnTo>
                <a:cubicBezTo>
                  <a:pt x="21064" y="62296"/>
                  <a:pt x="24201" y="65433"/>
                  <a:pt x="27787" y="65433"/>
                </a:cubicBezTo>
                <a:lnTo>
                  <a:pt x="90530" y="65433"/>
                </a:lnTo>
                <a:lnTo>
                  <a:pt x="89634" y="87393"/>
                </a:lnTo>
                <a:close/>
                <a:moveTo>
                  <a:pt x="26890" y="60503"/>
                </a:moveTo>
                <a:cubicBezTo>
                  <a:pt x="25546" y="60503"/>
                  <a:pt x="24649" y="59606"/>
                  <a:pt x="24649" y="58262"/>
                </a:cubicBezTo>
                <a:lnTo>
                  <a:pt x="24649" y="6723"/>
                </a:lnTo>
                <a:cubicBezTo>
                  <a:pt x="24649" y="5378"/>
                  <a:pt x="25546" y="4482"/>
                  <a:pt x="26890" y="4482"/>
                </a:cubicBezTo>
                <a:lnTo>
                  <a:pt x="60951" y="4482"/>
                </a:lnTo>
                <a:cubicBezTo>
                  <a:pt x="65433" y="4482"/>
                  <a:pt x="69018" y="6723"/>
                  <a:pt x="70811" y="10756"/>
                </a:cubicBezTo>
                <a:lnTo>
                  <a:pt x="86945" y="39887"/>
                </a:lnTo>
                <a:cubicBezTo>
                  <a:pt x="88738" y="42576"/>
                  <a:pt x="89186" y="46161"/>
                  <a:pt x="89186" y="49299"/>
                </a:cubicBezTo>
                <a:lnTo>
                  <a:pt x="89186" y="60503"/>
                </a:lnTo>
                <a:lnTo>
                  <a:pt x="26890" y="60503"/>
                </a:lnTo>
                <a:close/>
                <a:moveTo>
                  <a:pt x="99942" y="69914"/>
                </a:moveTo>
                <a:cubicBezTo>
                  <a:pt x="99942" y="72155"/>
                  <a:pt x="98149" y="73948"/>
                  <a:pt x="95908" y="73948"/>
                </a:cubicBezTo>
                <a:lnTo>
                  <a:pt x="94116" y="73948"/>
                </a:lnTo>
                <a:lnTo>
                  <a:pt x="94116" y="64985"/>
                </a:lnTo>
                <a:lnTo>
                  <a:pt x="95908" y="64985"/>
                </a:lnTo>
                <a:cubicBezTo>
                  <a:pt x="98149" y="64985"/>
                  <a:pt x="99942" y="66777"/>
                  <a:pt x="99942" y="69018"/>
                </a:cubicBezTo>
                <a:lnTo>
                  <a:pt x="99942" y="69914"/>
                </a:lnTo>
                <a:close/>
                <a:moveTo>
                  <a:pt x="122350" y="87393"/>
                </a:moveTo>
                <a:lnTo>
                  <a:pt x="122350" y="78430"/>
                </a:lnTo>
                <a:lnTo>
                  <a:pt x="138484" y="78430"/>
                </a:lnTo>
                <a:lnTo>
                  <a:pt x="138484" y="87393"/>
                </a:lnTo>
                <a:lnTo>
                  <a:pt x="122350" y="87393"/>
                </a:lnTo>
                <a:close/>
              </a:path>
            </a:pathLst>
          </a:custGeom>
          <a:solidFill>
            <a:srgbClr val="231F20"/>
          </a:solidFill>
          <a:ln w="4477" cap="flat">
            <a:noFill/>
            <a:prstDash val="solid"/>
            <a:miter/>
          </a:ln>
        </p:spPr>
        <p:txBody>
          <a:bodyPr rtlCol="0" anchor="ctr"/>
          <a:lstStyle/>
          <a:p>
            <a:endParaRPr lang="en-US"/>
          </a:p>
        </p:txBody>
      </p:sp>
      <p:grpSp>
        <p:nvGrpSpPr>
          <p:cNvPr id="3776" name="Group 3775">
            <a:extLst>
              <a:ext uri="{FF2B5EF4-FFF2-40B4-BE49-F238E27FC236}">
                <a16:creationId xmlns:a16="http://schemas.microsoft.com/office/drawing/2014/main" id="{82EDA144-5219-4F0D-9DC9-851272C572DF}"/>
              </a:ext>
              <a:ext uri="{C183D7F6-B498-43B3-948B-1728B52AA6E4}">
                <adec:decorative xmlns:adec="http://schemas.microsoft.com/office/drawing/2017/decorative" val="1"/>
              </a:ext>
            </a:extLst>
          </p:cNvPr>
          <p:cNvGrpSpPr>
            <a:grpSpLocks noChangeAspect="1"/>
          </p:cNvGrpSpPr>
          <p:nvPr/>
        </p:nvGrpSpPr>
        <p:grpSpPr>
          <a:xfrm>
            <a:off x="5056594" y="2795016"/>
            <a:ext cx="166271" cy="112043"/>
            <a:chOff x="10958220" y="5641552"/>
            <a:chExt cx="166271" cy="112043"/>
          </a:xfrm>
        </p:grpSpPr>
        <p:sp>
          <p:nvSpPr>
            <p:cNvPr id="3777" name="Freeform: Shape 3776">
              <a:extLst>
                <a:ext uri="{FF2B5EF4-FFF2-40B4-BE49-F238E27FC236}">
                  <a16:creationId xmlns:a16="http://schemas.microsoft.com/office/drawing/2014/main" id="{BB93D47D-39CA-4933-8B64-A870CBB255A2}"/>
                </a:ext>
              </a:extLst>
            </p:cNvPr>
            <p:cNvSpPr/>
            <p:nvPr/>
          </p:nvSpPr>
          <p:spPr>
            <a:xfrm>
              <a:off x="11079674" y="5642000"/>
              <a:ext cx="44817" cy="94116"/>
            </a:xfrm>
            <a:custGeom>
              <a:avLst/>
              <a:gdLst>
                <a:gd name="connsiteX0" fmla="*/ 42576 w 44817"/>
                <a:gd name="connsiteY0" fmla="*/ 93668 h 94115"/>
                <a:gd name="connsiteX1" fmla="*/ 38094 w 44817"/>
                <a:gd name="connsiteY1" fmla="*/ 93668 h 94115"/>
                <a:gd name="connsiteX2" fmla="*/ 38094 w 44817"/>
                <a:gd name="connsiteY2" fmla="*/ 62296 h 94115"/>
                <a:gd name="connsiteX3" fmla="*/ 38094 w 44817"/>
                <a:gd name="connsiteY3" fmla="*/ 33165 h 94115"/>
                <a:gd name="connsiteX4" fmla="*/ 31372 w 44817"/>
                <a:gd name="connsiteY4" fmla="*/ 26442 h 94115"/>
                <a:gd name="connsiteX5" fmla="*/ 4482 w 44817"/>
                <a:gd name="connsiteY5" fmla="*/ 26442 h 94115"/>
                <a:gd name="connsiteX6" fmla="*/ 4482 w 44817"/>
                <a:gd name="connsiteY6" fmla="*/ 2241 h 94115"/>
                <a:gd name="connsiteX7" fmla="*/ 2241 w 44817"/>
                <a:gd name="connsiteY7" fmla="*/ 0 h 94115"/>
                <a:gd name="connsiteX8" fmla="*/ 0 w 44817"/>
                <a:gd name="connsiteY8" fmla="*/ 2241 h 94115"/>
                <a:gd name="connsiteX9" fmla="*/ 0 w 44817"/>
                <a:gd name="connsiteY9" fmla="*/ 28683 h 94115"/>
                <a:gd name="connsiteX10" fmla="*/ 0 w 44817"/>
                <a:gd name="connsiteY10" fmla="*/ 62296 h 94115"/>
                <a:gd name="connsiteX11" fmla="*/ 0 w 44817"/>
                <a:gd name="connsiteY11" fmla="*/ 95909 h 94115"/>
                <a:gd name="connsiteX12" fmla="*/ 2241 w 44817"/>
                <a:gd name="connsiteY12" fmla="*/ 98149 h 94115"/>
                <a:gd name="connsiteX13" fmla="*/ 35854 w 44817"/>
                <a:gd name="connsiteY13" fmla="*/ 98149 h 94115"/>
                <a:gd name="connsiteX14" fmla="*/ 42576 w 44817"/>
                <a:gd name="connsiteY14" fmla="*/ 98149 h 94115"/>
                <a:gd name="connsiteX15" fmla="*/ 44817 w 44817"/>
                <a:gd name="connsiteY15" fmla="*/ 95909 h 94115"/>
                <a:gd name="connsiteX16" fmla="*/ 42576 w 44817"/>
                <a:gd name="connsiteY16" fmla="*/ 93668 h 94115"/>
                <a:gd name="connsiteX17" fmla="*/ 17030 w 44817"/>
                <a:gd name="connsiteY17" fmla="*/ 30924 h 94115"/>
                <a:gd name="connsiteX18" fmla="*/ 17030 w 44817"/>
                <a:gd name="connsiteY18" fmla="*/ 30924 h 94115"/>
                <a:gd name="connsiteX19" fmla="*/ 17030 w 44817"/>
                <a:gd name="connsiteY19" fmla="*/ 42576 h 94115"/>
                <a:gd name="connsiteX20" fmla="*/ 19271 w 44817"/>
                <a:gd name="connsiteY20" fmla="*/ 44817 h 94115"/>
                <a:gd name="connsiteX21" fmla="*/ 21512 w 44817"/>
                <a:gd name="connsiteY21" fmla="*/ 42576 h 94115"/>
                <a:gd name="connsiteX22" fmla="*/ 21512 w 44817"/>
                <a:gd name="connsiteY22" fmla="*/ 31372 h 94115"/>
                <a:gd name="connsiteX23" fmla="*/ 21512 w 44817"/>
                <a:gd name="connsiteY23" fmla="*/ 30924 h 94115"/>
                <a:gd name="connsiteX24" fmla="*/ 31820 w 44817"/>
                <a:gd name="connsiteY24" fmla="*/ 30924 h 94115"/>
                <a:gd name="connsiteX25" fmla="*/ 34061 w 44817"/>
                <a:gd name="connsiteY25" fmla="*/ 33165 h 94115"/>
                <a:gd name="connsiteX26" fmla="*/ 34061 w 44817"/>
                <a:gd name="connsiteY26" fmla="*/ 60055 h 94115"/>
                <a:gd name="connsiteX27" fmla="*/ 4930 w 44817"/>
                <a:gd name="connsiteY27" fmla="*/ 60055 h 94115"/>
                <a:gd name="connsiteX28" fmla="*/ 4930 w 44817"/>
                <a:gd name="connsiteY28" fmla="*/ 30924 h 94115"/>
                <a:gd name="connsiteX29" fmla="*/ 17030 w 44817"/>
                <a:gd name="connsiteY29" fmla="*/ 30924 h 94115"/>
                <a:gd name="connsiteX30" fmla="*/ 4482 w 44817"/>
                <a:gd name="connsiteY30" fmla="*/ 93668 h 94115"/>
                <a:gd name="connsiteX31" fmla="*/ 4482 w 44817"/>
                <a:gd name="connsiteY31" fmla="*/ 64537 h 94115"/>
                <a:gd name="connsiteX32" fmla="*/ 17030 w 44817"/>
                <a:gd name="connsiteY32" fmla="*/ 64537 h 94115"/>
                <a:gd name="connsiteX33" fmla="*/ 17030 w 44817"/>
                <a:gd name="connsiteY33" fmla="*/ 75741 h 94115"/>
                <a:gd name="connsiteX34" fmla="*/ 19271 w 44817"/>
                <a:gd name="connsiteY34" fmla="*/ 77982 h 94115"/>
                <a:gd name="connsiteX35" fmla="*/ 21512 w 44817"/>
                <a:gd name="connsiteY35" fmla="*/ 75741 h 94115"/>
                <a:gd name="connsiteX36" fmla="*/ 21512 w 44817"/>
                <a:gd name="connsiteY36" fmla="*/ 64537 h 94115"/>
                <a:gd name="connsiteX37" fmla="*/ 34061 w 44817"/>
                <a:gd name="connsiteY37" fmla="*/ 64537 h 94115"/>
                <a:gd name="connsiteX38" fmla="*/ 34061 w 44817"/>
                <a:gd name="connsiteY38" fmla="*/ 93668 h 94115"/>
                <a:gd name="connsiteX39" fmla="*/ 4482 w 44817"/>
                <a:gd name="connsiteY39" fmla="*/ 93668 h 9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4817" h="94115">
                  <a:moveTo>
                    <a:pt x="42576" y="93668"/>
                  </a:moveTo>
                  <a:lnTo>
                    <a:pt x="38094" y="93668"/>
                  </a:lnTo>
                  <a:lnTo>
                    <a:pt x="38094" y="62296"/>
                  </a:lnTo>
                  <a:lnTo>
                    <a:pt x="38094" y="33165"/>
                  </a:lnTo>
                  <a:cubicBezTo>
                    <a:pt x="38094" y="29579"/>
                    <a:pt x="34957" y="26442"/>
                    <a:pt x="31372" y="26442"/>
                  </a:cubicBezTo>
                  <a:lnTo>
                    <a:pt x="4482" y="26442"/>
                  </a:lnTo>
                  <a:lnTo>
                    <a:pt x="4482" y="2241"/>
                  </a:lnTo>
                  <a:cubicBezTo>
                    <a:pt x="4482" y="896"/>
                    <a:pt x="3585" y="0"/>
                    <a:pt x="2241" y="0"/>
                  </a:cubicBezTo>
                  <a:cubicBezTo>
                    <a:pt x="896" y="0"/>
                    <a:pt x="0" y="896"/>
                    <a:pt x="0" y="2241"/>
                  </a:cubicBezTo>
                  <a:lnTo>
                    <a:pt x="0" y="28683"/>
                  </a:lnTo>
                  <a:lnTo>
                    <a:pt x="0" y="62296"/>
                  </a:lnTo>
                  <a:lnTo>
                    <a:pt x="0" y="95909"/>
                  </a:lnTo>
                  <a:cubicBezTo>
                    <a:pt x="0" y="97253"/>
                    <a:pt x="896" y="98149"/>
                    <a:pt x="2241" y="98149"/>
                  </a:cubicBezTo>
                  <a:lnTo>
                    <a:pt x="35854" y="98149"/>
                  </a:lnTo>
                  <a:lnTo>
                    <a:pt x="42576" y="98149"/>
                  </a:lnTo>
                  <a:cubicBezTo>
                    <a:pt x="43920" y="98149"/>
                    <a:pt x="44817" y="97253"/>
                    <a:pt x="44817" y="95909"/>
                  </a:cubicBezTo>
                  <a:cubicBezTo>
                    <a:pt x="44817" y="94564"/>
                    <a:pt x="43920" y="93668"/>
                    <a:pt x="42576" y="93668"/>
                  </a:cubicBezTo>
                  <a:close/>
                  <a:moveTo>
                    <a:pt x="17030" y="30924"/>
                  </a:moveTo>
                  <a:cubicBezTo>
                    <a:pt x="17030" y="30924"/>
                    <a:pt x="16582" y="31372"/>
                    <a:pt x="17030" y="30924"/>
                  </a:cubicBezTo>
                  <a:lnTo>
                    <a:pt x="17030" y="42576"/>
                  </a:lnTo>
                  <a:cubicBezTo>
                    <a:pt x="17030" y="43921"/>
                    <a:pt x="17927" y="44817"/>
                    <a:pt x="19271" y="44817"/>
                  </a:cubicBezTo>
                  <a:cubicBezTo>
                    <a:pt x="20616" y="44817"/>
                    <a:pt x="21512" y="43921"/>
                    <a:pt x="21512" y="42576"/>
                  </a:cubicBezTo>
                  <a:lnTo>
                    <a:pt x="21512" y="31372"/>
                  </a:lnTo>
                  <a:cubicBezTo>
                    <a:pt x="21512" y="31372"/>
                    <a:pt x="21512" y="30924"/>
                    <a:pt x="21512" y="30924"/>
                  </a:cubicBezTo>
                  <a:lnTo>
                    <a:pt x="31820" y="30924"/>
                  </a:lnTo>
                  <a:cubicBezTo>
                    <a:pt x="33165" y="30924"/>
                    <a:pt x="34061" y="31820"/>
                    <a:pt x="34061" y="33165"/>
                  </a:cubicBezTo>
                  <a:lnTo>
                    <a:pt x="34061" y="60055"/>
                  </a:lnTo>
                  <a:lnTo>
                    <a:pt x="4930" y="60055"/>
                  </a:lnTo>
                  <a:lnTo>
                    <a:pt x="4930" y="30924"/>
                  </a:lnTo>
                  <a:lnTo>
                    <a:pt x="17030" y="30924"/>
                  </a:lnTo>
                  <a:close/>
                  <a:moveTo>
                    <a:pt x="4482" y="93668"/>
                  </a:moveTo>
                  <a:lnTo>
                    <a:pt x="4482" y="64537"/>
                  </a:lnTo>
                  <a:lnTo>
                    <a:pt x="17030" y="64537"/>
                  </a:lnTo>
                  <a:lnTo>
                    <a:pt x="17030" y="75741"/>
                  </a:lnTo>
                  <a:cubicBezTo>
                    <a:pt x="17030" y="77085"/>
                    <a:pt x="17927" y="77982"/>
                    <a:pt x="19271" y="77982"/>
                  </a:cubicBezTo>
                  <a:cubicBezTo>
                    <a:pt x="20616" y="77982"/>
                    <a:pt x="21512" y="77085"/>
                    <a:pt x="21512" y="75741"/>
                  </a:cubicBezTo>
                  <a:lnTo>
                    <a:pt x="21512" y="64537"/>
                  </a:lnTo>
                  <a:lnTo>
                    <a:pt x="34061" y="64537"/>
                  </a:lnTo>
                  <a:lnTo>
                    <a:pt x="34061" y="93668"/>
                  </a:lnTo>
                  <a:lnTo>
                    <a:pt x="4482" y="93668"/>
                  </a:lnTo>
                  <a:close/>
                </a:path>
              </a:pathLst>
            </a:custGeom>
            <a:solidFill>
              <a:srgbClr val="231F20"/>
            </a:solidFill>
            <a:ln w="4477" cap="flat">
              <a:noFill/>
              <a:prstDash val="solid"/>
              <a:miter/>
            </a:ln>
          </p:spPr>
          <p:txBody>
            <a:bodyPr rtlCol="0" anchor="ctr"/>
            <a:lstStyle/>
            <a:p>
              <a:endParaRPr lang="en-US"/>
            </a:p>
          </p:txBody>
        </p:sp>
        <p:sp>
          <p:nvSpPr>
            <p:cNvPr id="3778" name="Freeform: Shape 3777">
              <a:extLst>
                <a:ext uri="{FF2B5EF4-FFF2-40B4-BE49-F238E27FC236}">
                  <a16:creationId xmlns:a16="http://schemas.microsoft.com/office/drawing/2014/main" id="{B3215222-6290-4B79-8EF4-F2C181092E5C}"/>
                </a:ext>
              </a:extLst>
            </p:cNvPr>
            <p:cNvSpPr/>
            <p:nvPr/>
          </p:nvSpPr>
          <p:spPr>
            <a:xfrm>
              <a:off x="10958220" y="5641552"/>
              <a:ext cx="112043" cy="112043"/>
            </a:xfrm>
            <a:custGeom>
              <a:avLst/>
              <a:gdLst>
                <a:gd name="connsiteX0" fmla="*/ 101287 w 112042"/>
                <a:gd name="connsiteY0" fmla="*/ 67226 h 112042"/>
                <a:gd name="connsiteX1" fmla="*/ 98597 w 112042"/>
                <a:gd name="connsiteY1" fmla="*/ 67226 h 112042"/>
                <a:gd name="connsiteX2" fmla="*/ 81567 w 112042"/>
                <a:gd name="connsiteY2" fmla="*/ 11204 h 112042"/>
                <a:gd name="connsiteX3" fmla="*/ 66329 w 112042"/>
                <a:gd name="connsiteY3" fmla="*/ 0 h 112042"/>
                <a:gd name="connsiteX4" fmla="*/ 34957 w 112042"/>
                <a:gd name="connsiteY4" fmla="*/ 0 h 112042"/>
                <a:gd name="connsiteX5" fmla="*/ 26890 w 112042"/>
                <a:gd name="connsiteY5" fmla="*/ 8067 h 112042"/>
                <a:gd name="connsiteX6" fmla="*/ 26890 w 112042"/>
                <a:gd name="connsiteY6" fmla="*/ 53780 h 112042"/>
                <a:gd name="connsiteX7" fmla="*/ 11204 w 112042"/>
                <a:gd name="connsiteY7" fmla="*/ 53780 h 112042"/>
                <a:gd name="connsiteX8" fmla="*/ 0 w 112042"/>
                <a:gd name="connsiteY8" fmla="*/ 64985 h 112042"/>
                <a:gd name="connsiteX9" fmla="*/ 0 w 112042"/>
                <a:gd name="connsiteY9" fmla="*/ 91875 h 112042"/>
                <a:gd name="connsiteX10" fmla="*/ 6723 w 112042"/>
                <a:gd name="connsiteY10" fmla="*/ 98597 h 112042"/>
                <a:gd name="connsiteX11" fmla="*/ 15686 w 112042"/>
                <a:gd name="connsiteY11" fmla="*/ 98597 h 112042"/>
                <a:gd name="connsiteX12" fmla="*/ 15686 w 112042"/>
                <a:gd name="connsiteY12" fmla="*/ 98597 h 112042"/>
                <a:gd name="connsiteX13" fmla="*/ 29131 w 112042"/>
                <a:gd name="connsiteY13" fmla="*/ 112043 h 112042"/>
                <a:gd name="connsiteX14" fmla="*/ 42576 w 112042"/>
                <a:gd name="connsiteY14" fmla="*/ 98597 h 112042"/>
                <a:gd name="connsiteX15" fmla="*/ 42576 w 112042"/>
                <a:gd name="connsiteY15" fmla="*/ 98597 h 112042"/>
                <a:gd name="connsiteX16" fmla="*/ 66329 w 112042"/>
                <a:gd name="connsiteY16" fmla="*/ 98597 h 112042"/>
                <a:gd name="connsiteX17" fmla="*/ 82911 w 112042"/>
                <a:gd name="connsiteY17" fmla="*/ 112043 h 112042"/>
                <a:gd name="connsiteX18" fmla="*/ 99494 w 112042"/>
                <a:gd name="connsiteY18" fmla="*/ 98597 h 112042"/>
                <a:gd name="connsiteX19" fmla="*/ 103079 w 112042"/>
                <a:gd name="connsiteY19" fmla="*/ 98597 h 112042"/>
                <a:gd name="connsiteX20" fmla="*/ 112043 w 112042"/>
                <a:gd name="connsiteY20" fmla="*/ 89634 h 112042"/>
                <a:gd name="connsiteX21" fmla="*/ 112043 w 112042"/>
                <a:gd name="connsiteY21" fmla="*/ 78430 h 112042"/>
                <a:gd name="connsiteX22" fmla="*/ 101287 w 112042"/>
                <a:gd name="connsiteY22" fmla="*/ 67226 h 112042"/>
                <a:gd name="connsiteX23" fmla="*/ 31820 w 112042"/>
                <a:gd name="connsiteY23" fmla="*/ 8067 h 112042"/>
                <a:gd name="connsiteX24" fmla="*/ 35406 w 112042"/>
                <a:gd name="connsiteY24" fmla="*/ 4482 h 112042"/>
                <a:gd name="connsiteX25" fmla="*/ 66777 w 112042"/>
                <a:gd name="connsiteY25" fmla="*/ 4482 h 112042"/>
                <a:gd name="connsiteX26" fmla="*/ 77533 w 112042"/>
                <a:gd name="connsiteY26" fmla="*/ 12548 h 112042"/>
                <a:gd name="connsiteX27" fmla="*/ 94116 w 112042"/>
                <a:gd name="connsiteY27" fmla="*/ 67226 h 112042"/>
                <a:gd name="connsiteX28" fmla="*/ 89186 w 112042"/>
                <a:gd name="connsiteY28" fmla="*/ 67226 h 112042"/>
                <a:gd name="connsiteX29" fmla="*/ 60055 w 112042"/>
                <a:gd name="connsiteY29" fmla="*/ 67226 h 112042"/>
                <a:gd name="connsiteX30" fmla="*/ 55125 w 112042"/>
                <a:gd name="connsiteY30" fmla="*/ 65881 h 112042"/>
                <a:gd name="connsiteX31" fmla="*/ 40784 w 112042"/>
                <a:gd name="connsiteY31" fmla="*/ 56469 h 112042"/>
                <a:gd name="connsiteX32" fmla="*/ 32716 w 112042"/>
                <a:gd name="connsiteY32" fmla="*/ 54228 h 112042"/>
                <a:gd name="connsiteX33" fmla="*/ 31820 w 112042"/>
                <a:gd name="connsiteY33" fmla="*/ 54228 h 112042"/>
                <a:gd name="connsiteX34" fmla="*/ 31820 w 112042"/>
                <a:gd name="connsiteY34" fmla="*/ 8067 h 112042"/>
                <a:gd name="connsiteX35" fmla="*/ 29579 w 112042"/>
                <a:gd name="connsiteY35" fmla="*/ 107561 h 112042"/>
                <a:gd name="connsiteX36" fmla="*/ 20616 w 112042"/>
                <a:gd name="connsiteY36" fmla="*/ 98597 h 112042"/>
                <a:gd name="connsiteX37" fmla="*/ 29579 w 112042"/>
                <a:gd name="connsiteY37" fmla="*/ 89634 h 112042"/>
                <a:gd name="connsiteX38" fmla="*/ 38543 w 112042"/>
                <a:gd name="connsiteY38" fmla="*/ 98597 h 112042"/>
                <a:gd name="connsiteX39" fmla="*/ 29579 w 112042"/>
                <a:gd name="connsiteY39" fmla="*/ 107561 h 112042"/>
                <a:gd name="connsiteX40" fmla="*/ 83360 w 112042"/>
                <a:gd name="connsiteY40" fmla="*/ 107561 h 112042"/>
                <a:gd name="connsiteX41" fmla="*/ 70811 w 112042"/>
                <a:gd name="connsiteY41" fmla="*/ 95012 h 112042"/>
                <a:gd name="connsiteX42" fmla="*/ 83360 w 112042"/>
                <a:gd name="connsiteY42" fmla="*/ 82463 h 112042"/>
                <a:gd name="connsiteX43" fmla="*/ 95909 w 112042"/>
                <a:gd name="connsiteY43" fmla="*/ 95012 h 112042"/>
                <a:gd name="connsiteX44" fmla="*/ 83360 w 112042"/>
                <a:gd name="connsiteY44" fmla="*/ 107561 h 112042"/>
                <a:gd name="connsiteX45" fmla="*/ 108009 w 112042"/>
                <a:gd name="connsiteY45" fmla="*/ 89634 h 112042"/>
                <a:gd name="connsiteX46" fmla="*/ 103527 w 112042"/>
                <a:gd name="connsiteY46" fmla="*/ 94116 h 112042"/>
                <a:gd name="connsiteX47" fmla="*/ 100390 w 112042"/>
                <a:gd name="connsiteY47" fmla="*/ 94116 h 112042"/>
                <a:gd name="connsiteX48" fmla="*/ 83360 w 112042"/>
                <a:gd name="connsiteY48" fmla="*/ 77982 h 112042"/>
                <a:gd name="connsiteX49" fmla="*/ 66329 w 112042"/>
                <a:gd name="connsiteY49" fmla="*/ 94116 h 112042"/>
                <a:gd name="connsiteX50" fmla="*/ 42128 w 112042"/>
                <a:gd name="connsiteY50" fmla="*/ 94116 h 112042"/>
                <a:gd name="connsiteX51" fmla="*/ 29579 w 112042"/>
                <a:gd name="connsiteY51" fmla="*/ 85600 h 112042"/>
                <a:gd name="connsiteX52" fmla="*/ 17030 w 112042"/>
                <a:gd name="connsiteY52" fmla="*/ 94116 h 112042"/>
                <a:gd name="connsiteX53" fmla="*/ 7171 w 112042"/>
                <a:gd name="connsiteY53" fmla="*/ 94116 h 112042"/>
                <a:gd name="connsiteX54" fmla="*/ 4930 w 112042"/>
                <a:gd name="connsiteY54" fmla="*/ 91875 h 112042"/>
                <a:gd name="connsiteX55" fmla="*/ 4930 w 112042"/>
                <a:gd name="connsiteY55" fmla="*/ 64985 h 112042"/>
                <a:gd name="connsiteX56" fmla="*/ 11653 w 112042"/>
                <a:gd name="connsiteY56" fmla="*/ 58262 h 112042"/>
                <a:gd name="connsiteX57" fmla="*/ 32716 w 112042"/>
                <a:gd name="connsiteY57" fmla="*/ 58262 h 112042"/>
                <a:gd name="connsiteX58" fmla="*/ 38094 w 112042"/>
                <a:gd name="connsiteY58" fmla="*/ 60055 h 112042"/>
                <a:gd name="connsiteX59" fmla="*/ 52436 w 112042"/>
                <a:gd name="connsiteY59" fmla="*/ 69466 h 112042"/>
                <a:gd name="connsiteX60" fmla="*/ 60055 w 112042"/>
                <a:gd name="connsiteY60" fmla="*/ 71707 h 112042"/>
                <a:gd name="connsiteX61" fmla="*/ 89186 w 112042"/>
                <a:gd name="connsiteY61" fmla="*/ 71707 h 112042"/>
                <a:gd name="connsiteX62" fmla="*/ 101735 w 112042"/>
                <a:gd name="connsiteY62" fmla="*/ 71707 h 112042"/>
                <a:gd name="connsiteX63" fmla="*/ 108457 w 112042"/>
                <a:gd name="connsiteY63" fmla="*/ 78430 h 112042"/>
                <a:gd name="connsiteX64" fmla="*/ 108457 w 112042"/>
                <a:gd name="connsiteY64" fmla="*/ 89634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2042" h="112042">
                  <a:moveTo>
                    <a:pt x="101287" y="67226"/>
                  </a:moveTo>
                  <a:lnTo>
                    <a:pt x="98597" y="67226"/>
                  </a:lnTo>
                  <a:lnTo>
                    <a:pt x="81567" y="11204"/>
                  </a:lnTo>
                  <a:cubicBezTo>
                    <a:pt x="79774" y="4482"/>
                    <a:pt x="73500" y="0"/>
                    <a:pt x="66329" y="0"/>
                  </a:cubicBezTo>
                  <a:lnTo>
                    <a:pt x="34957" y="0"/>
                  </a:lnTo>
                  <a:cubicBezTo>
                    <a:pt x="30476" y="0"/>
                    <a:pt x="26890" y="3585"/>
                    <a:pt x="26890" y="8067"/>
                  </a:cubicBezTo>
                  <a:lnTo>
                    <a:pt x="26890" y="53780"/>
                  </a:lnTo>
                  <a:lnTo>
                    <a:pt x="11204" y="53780"/>
                  </a:lnTo>
                  <a:cubicBezTo>
                    <a:pt x="4930" y="53780"/>
                    <a:pt x="0" y="58710"/>
                    <a:pt x="0" y="64985"/>
                  </a:cubicBezTo>
                  <a:lnTo>
                    <a:pt x="0" y="91875"/>
                  </a:lnTo>
                  <a:cubicBezTo>
                    <a:pt x="0" y="95460"/>
                    <a:pt x="3137" y="98597"/>
                    <a:pt x="6723" y="98597"/>
                  </a:cubicBezTo>
                  <a:lnTo>
                    <a:pt x="15686" y="98597"/>
                  </a:lnTo>
                  <a:cubicBezTo>
                    <a:pt x="15686" y="98597"/>
                    <a:pt x="15686" y="98597"/>
                    <a:pt x="15686" y="98597"/>
                  </a:cubicBezTo>
                  <a:cubicBezTo>
                    <a:pt x="15686" y="105768"/>
                    <a:pt x="21512" y="112043"/>
                    <a:pt x="29131" y="112043"/>
                  </a:cubicBezTo>
                  <a:cubicBezTo>
                    <a:pt x="36750" y="112043"/>
                    <a:pt x="42576" y="106216"/>
                    <a:pt x="42576" y="98597"/>
                  </a:cubicBezTo>
                  <a:cubicBezTo>
                    <a:pt x="42576" y="98597"/>
                    <a:pt x="42576" y="98597"/>
                    <a:pt x="42576" y="98597"/>
                  </a:cubicBezTo>
                  <a:lnTo>
                    <a:pt x="66329" y="98597"/>
                  </a:lnTo>
                  <a:cubicBezTo>
                    <a:pt x="68122" y="106216"/>
                    <a:pt x="74844" y="112043"/>
                    <a:pt x="82911" y="112043"/>
                  </a:cubicBezTo>
                  <a:cubicBezTo>
                    <a:pt x="90978" y="112043"/>
                    <a:pt x="97701" y="106216"/>
                    <a:pt x="99494" y="98597"/>
                  </a:cubicBezTo>
                  <a:lnTo>
                    <a:pt x="103079" y="98597"/>
                  </a:lnTo>
                  <a:cubicBezTo>
                    <a:pt x="108009" y="98597"/>
                    <a:pt x="112043" y="94564"/>
                    <a:pt x="112043" y="89634"/>
                  </a:cubicBezTo>
                  <a:lnTo>
                    <a:pt x="112043" y="78430"/>
                  </a:lnTo>
                  <a:cubicBezTo>
                    <a:pt x="112491" y="72155"/>
                    <a:pt x="107561" y="67226"/>
                    <a:pt x="101287" y="67226"/>
                  </a:cubicBezTo>
                  <a:close/>
                  <a:moveTo>
                    <a:pt x="31820" y="8067"/>
                  </a:moveTo>
                  <a:cubicBezTo>
                    <a:pt x="31820" y="6274"/>
                    <a:pt x="33165" y="4482"/>
                    <a:pt x="35406" y="4482"/>
                  </a:cubicBezTo>
                  <a:lnTo>
                    <a:pt x="66777" y="4482"/>
                  </a:lnTo>
                  <a:cubicBezTo>
                    <a:pt x="71707" y="4482"/>
                    <a:pt x="76189" y="7619"/>
                    <a:pt x="77533" y="12548"/>
                  </a:cubicBezTo>
                  <a:lnTo>
                    <a:pt x="94116" y="67226"/>
                  </a:lnTo>
                  <a:lnTo>
                    <a:pt x="89186" y="67226"/>
                  </a:lnTo>
                  <a:lnTo>
                    <a:pt x="60055" y="67226"/>
                  </a:lnTo>
                  <a:cubicBezTo>
                    <a:pt x="58262" y="67226"/>
                    <a:pt x="56470" y="66777"/>
                    <a:pt x="55125" y="65881"/>
                  </a:cubicBezTo>
                  <a:lnTo>
                    <a:pt x="40784" y="56469"/>
                  </a:lnTo>
                  <a:cubicBezTo>
                    <a:pt x="38543" y="54677"/>
                    <a:pt x="35854" y="54228"/>
                    <a:pt x="32716" y="54228"/>
                  </a:cubicBezTo>
                  <a:lnTo>
                    <a:pt x="31820" y="54228"/>
                  </a:lnTo>
                  <a:lnTo>
                    <a:pt x="31820" y="8067"/>
                  </a:lnTo>
                  <a:close/>
                  <a:moveTo>
                    <a:pt x="29579" y="107561"/>
                  </a:moveTo>
                  <a:cubicBezTo>
                    <a:pt x="24649" y="107561"/>
                    <a:pt x="20616" y="103527"/>
                    <a:pt x="20616" y="98597"/>
                  </a:cubicBezTo>
                  <a:cubicBezTo>
                    <a:pt x="20616" y="93668"/>
                    <a:pt x="24649" y="89634"/>
                    <a:pt x="29579" y="89634"/>
                  </a:cubicBezTo>
                  <a:cubicBezTo>
                    <a:pt x="34509" y="89634"/>
                    <a:pt x="38543" y="93668"/>
                    <a:pt x="38543" y="98597"/>
                  </a:cubicBezTo>
                  <a:cubicBezTo>
                    <a:pt x="38543" y="103527"/>
                    <a:pt x="34509" y="107561"/>
                    <a:pt x="29579" y="107561"/>
                  </a:cubicBezTo>
                  <a:close/>
                  <a:moveTo>
                    <a:pt x="83360" y="107561"/>
                  </a:moveTo>
                  <a:cubicBezTo>
                    <a:pt x="76637" y="107561"/>
                    <a:pt x="70811" y="101734"/>
                    <a:pt x="70811" y="95012"/>
                  </a:cubicBezTo>
                  <a:cubicBezTo>
                    <a:pt x="70811" y="88289"/>
                    <a:pt x="76637" y="82463"/>
                    <a:pt x="83360" y="82463"/>
                  </a:cubicBezTo>
                  <a:cubicBezTo>
                    <a:pt x="90082" y="82463"/>
                    <a:pt x="95909" y="88289"/>
                    <a:pt x="95909" y="95012"/>
                  </a:cubicBezTo>
                  <a:cubicBezTo>
                    <a:pt x="95909" y="101734"/>
                    <a:pt x="90082" y="107561"/>
                    <a:pt x="83360" y="107561"/>
                  </a:cubicBezTo>
                  <a:close/>
                  <a:moveTo>
                    <a:pt x="108009" y="89634"/>
                  </a:moveTo>
                  <a:cubicBezTo>
                    <a:pt x="108009" y="92323"/>
                    <a:pt x="105768" y="94116"/>
                    <a:pt x="103527" y="94116"/>
                  </a:cubicBezTo>
                  <a:lnTo>
                    <a:pt x="100390" y="94116"/>
                  </a:lnTo>
                  <a:cubicBezTo>
                    <a:pt x="99942" y="85152"/>
                    <a:pt x="92323" y="77982"/>
                    <a:pt x="83360" y="77982"/>
                  </a:cubicBezTo>
                  <a:cubicBezTo>
                    <a:pt x="74396" y="77982"/>
                    <a:pt x="66777" y="85152"/>
                    <a:pt x="66329" y="94116"/>
                  </a:cubicBezTo>
                  <a:lnTo>
                    <a:pt x="42128" y="94116"/>
                  </a:lnTo>
                  <a:cubicBezTo>
                    <a:pt x="40335" y="89186"/>
                    <a:pt x="35406" y="85600"/>
                    <a:pt x="29579" y="85600"/>
                  </a:cubicBezTo>
                  <a:cubicBezTo>
                    <a:pt x="23753" y="85600"/>
                    <a:pt x="18823" y="89186"/>
                    <a:pt x="17030" y="94116"/>
                  </a:cubicBezTo>
                  <a:lnTo>
                    <a:pt x="7171" y="94116"/>
                  </a:lnTo>
                  <a:cubicBezTo>
                    <a:pt x="5826" y="94116"/>
                    <a:pt x="4930" y="93219"/>
                    <a:pt x="4930" y="91875"/>
                  </a:cubicBezTo>
                  <a:lnTo>
                    <a:pt x="4930" y="64985"/>
                  </a:lnTo>
                  <a:cubicBezTo>
                    <a:pt x="4930" y="61399"/>
                    <a:pt x="8067" y="58262"/>
                    <a:pt x="11653" y="58262"/>
                  </a:cubicBezTo>
                  <a:lnTo>
                    <a:pt x="32716" y="58262"/>
                  </a:lnTo>
                  <a:cubicBezTo>
                    <a:pt x="34509" y="58262"/>
                    <a:pt x="36750" y="58710"/>
                    <a:pt x="38094" y="60055"/>
                  </a:cubicBezTo>
                  <a:lnTo>
                    <a:pt x="52436" y="69466"/>
                  </a:lnTo>
                  <a:cubicBezTo>
                    <a:pt x="54677" y="70811"/>
                    <a:pt x="57366" y="71707"/>
                    <a:pt x="60055" y="71707"/>
                  </a:cubicBezTo>
                  <a:lnTo>
                    <a:pt x="89186" y="71707"/>
                  </a:lnTo>
                  <a:lnTo>
                    <a:pt x="101735" y="71707"/>
                  </a:lnTo>
                  <a:cubicBezTo>
                    <a:pt x="105320" y="71707"/>
                    <a:pt x="108457" y="74844"/>
                    <a:pt x="108457" y="78430"/>
                  </a:cubicBezTo>
                  <a:lnTo>
                    <a:pt x="108457" y="89634"/>
                  </a:lnTo>
                  <a:close/>
                </a:path>
              </a:pathLst>
            </a:custGeom>
            <a:solidFill>
              <a:srgbClr val="231F20"/>
            </a:solidFill>
            <a:ln w="4477" cap="flat">
              <a:noFill/>
              <a:prstDash val="solid"/>
              <a:miter/>
            </a:ln>
          </p:spPr>
          <p:txBody>
            <a:bodyPr rtlCol="0" anchor="ctr"/>
            <a:lstStyle/>
            <a:p>
              <a:endParaRPr lang="en-US"/>
            </a:p>
          </p:txBody>
        </p:sp>
        <p:sp>
          <p:nvSpPr>
            <p:cNvPr id="3779" name="Freeform: Shape 3778">
              <a:extLst>
                <a:ext uri="{FF2B5EF4-FFF2-40B4-BE49-F238E27FC236}">
                  <a16:creationId xmlns:a16="http://schemas.microsoft.com/office/drawing/2014/main" id="{4A8F4B23-90A0-4B52-809E-CB5223EBDA2A}"/>
                </a:ext>
              </a:extLst>
            </p:cNvPr>
            <p:cNvSpPr/>
            <p:nvPr/>
          </p:nvSpPr>
          <p:spPr>
            <a:xfrm>
              <a:off x="11066229" y="5641552"/>
              <a:ext cx="4482" cy="62744"/>
            </a:xfrm>
            <a:custGeom>
              <a:avLst/>
              <a:gdLst>
                <a:gd name="connsiteX0" fmla="*/ 2241 w 4481"/>
                <a:gd name="connsiteY0" fmla="*/ 0 h 62743"/>
                <a:gd name="connsiteX1" fmla="*/ 0 w 4481"/>
                <a:gd name="connsiteY1" fmla="*/ 2241 h 62743"/>
                <a:gd name="connsiteX2" fmla="*/ 0 w 4481"/>
                <a:gd name="connsiteY2" fmla="*/ 62744 h 62743"/>
                <a:gd name="connsiteX3" fmla="*/ 2241 w 4481"/>
                <a:gd name="connsiteY3" fmla="*/ 64985 h 62743"/>
                <a:gd name="connsiteX4" fmla="*/ 4482 w 4481"/>
                <a:gd name="connsiteY4" fmla="*/ 62744 h 62743"/>
                <a:gd name="connsiteX5" fmla="*/ 4482 w 4481"/>
                <a:gd name="connsiteY5" fmla="*/ 2241 h 62743"/>
                <a:gd name="connsiteX6" fmla="*/ 2241 w 4481"/>
                <a:gd name="connsiteY6" fmla="*/ 0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62743">
                  <a:moveTo>
                    <a:pt x="2241" y="0"/>
                  </a:moveTo>
                  <a:cubicBezTo>
                    <a:pt x="896" y="0"/>
                    <a:pt x="0" y="896"/>
                    <a:pt x="0" y="2241"/>
                  </a:cubicBezTo>
                  <a:lnTo>
                    <a:pt x="0" y="62744"/>
                  </a:lnTo>
                  <a:cubicBezTo>
                    <a:pt x="0" y="64088"/>
                    <a:pt x="896" y="64985"/>
                    <a:pt x="2241" y="64985"/>
                  </a:cubicBezTo>
                  <a:cubicBezTo>
                    <a:pt x="3585" y="64985"/>
                    <a:pt x="4482" y="64088"/>
                    <a:pt x="4482" y="62744"/>
                  </a:cubicBezTo>
                  <a:lnTo>
                    <a:pt x="4482" y="2241"/>
                  </a:lnTo>
                  <a:cubicBezTo>
                    <a:pt x="4482" y="896"/>
                    <a:pt x="3585" y="0"/>
                    <a:pt x="2241" y="0"/>
                  </a:cubicBezTo>
                  <a:close/>
                </a:path>
              </a:pathLst>
            </a:custGeom>
            <a:solidFill>
              <a:srgbClr val="231F20"/>
            </a:solidFill>
            <a:ln w="4477" cap="flat">
              <a:noFill/>
              <a:prstDash val="solid"/>
              <a:miter/>
            </a:ln>
          </p:spPr>
          <p:txBody>
            <a:bodyPr rtlCol="0" anchor="ctr"/>
            <a:lstStyle/>
            <a:p>
              <a:endParaRPr lang="en-US"/>
            </a:p>
          </p:txBody>
        </p:sp>
      </p:grpSp>
      <p:sp>
        <p:nvSpPr>
          <p:cNvPr id="3780" name="Freeform: Shape 3779">
            <a:extLst>
              <a:ext uri="{FF2B5EF4-FFF2-40B4-BE49-F238E27FC236}">
                <a16:creationId xmlns:a16="http://schemas.microsoft.com/office/drawing/2014/main" id="{3C1FEC30-49B9-4C20-AB89-D9DDA05B2905}"/>
              </a:ext>
              <a:ext uri="{C183D7F6-B498-43B3-948B-1728B52AA6E4}">
                <adec:decorative xmlns:adec="http://schemas.microsoft.com/office/drawing/2017/decorative" val="1"/>
              </a:ext>
            </a:extLst>
          </p:cNvPr>
          <p:cNvSpPr>
            <a:spLocks noChangeAspect="1"/>
          </p:cNvSpPr>
          <p:nvPr/>
        </p:nvSpPr>
        <p:spPr>
          <a:xfrm>
            <a:off x="3476346" y="3137866"/>
            <a:ext cx="138933" cy="116524"/>
          </a:xfrm>
          <a:custGeom>
            <a:avLst/>
            <a:gdLst>
              <a:gd name="connsiteX0" fmla="*/ 133555 w 138932"/>
              <a:gd name="connsiteY0" fmla="*/ 82015 h 116524"/>
              <a:gd name="connsiteX1" fmla="*/ 133555 w 138932"/>
              <a:gd name="connsiteY1" fmla="*/ 59606 h 116524"/>
              <a:gd name="connsiteX2" fmla="*/ 123695 w 138932"/>
              <a:gd name="connsiteY2" fmla="*/ 47506 h 116524"/>
              <a:gd name="connsiteX3" fmla="*/ 112043 w 138932"/>
              <a:gd name="connsiteY3" fmla="*/ 45265 h 116524"/>
              <a:gd name="connsiteX4" fmla="*/ 112043 w 138932"/>
              <a:gd name="connsiteY4" fmla="*/ 39439 h 116524"/>
              <a:gd name="connsiteX5" fmla="*/ 105320 w 138932"/>
              <a:gd name="connsiteY5" fmla="*/ 32716 h 116524"/>
              <a:gd name="connsiteX6" fmla="*/ 103976 w 138932"/>
              <a:gd name="connsiteY6" fmla="*/ 32716 h 116524"/>
              <a:gd name="connsiteX7" fmla="*/ 103976 w 138932"/>
              <a:gd name="connsiteY7" fmla="*/ 17479 h 116524"/>
              <a:gd name="connsiteX8" fmla="*/ 104424 w 138932"/>
              <a:gd name="connsiteY8" fmla="*/ 16134 h 116524"/>
              <a:gd name="connsiteX9" fmla="*/ 108457 w 138932"/>
              <a:gd name="connsiteY9" fmla="*/ 12100 h 116524"/>
              <a:gd name="connsiteX10" fmla="*/ 108457 w 138932"/>
              <a:gd name="connsiteY10" fmla="*/ 8963 h 116524"/>
              <a:gd name="connsiteX11" fmla="*/ 105320 w 138932"/>
              <a:gd name="connsiteY11" fmla="*/ 8963 h 116524"/>
              <a:gd name="connsiteX12" fmla="*/ 101286 w 138932"/>
              <a:gd name="connsiteY12" fmla="*/ 12997 h 116524"/>
              <a:gd name="connsiteX13" fmla="*/ 99494 w 138932"/>
              <a:gd name="connsiteY13" fmla="*/ 17479 h 116524"/>
              <a:gd name="connsiteX14" fmla="*/ 99494 w 138932"/>
              <a:gd name="connsiteY14" fmla="*/ 32716 h 116524"/>
              <a:gd name="connsiteX15" fmla="*/ 95908 w 138932"/>
              <a:gd name="connsiteY15" fmla="*/ 34509 h 116524"/>
              <a:gd name="connsiteX16" fmla="*/ 94116 w 138932"/>
              <a:gd name="connsiteY16" fmla="*/ 39439 h 116524"/>
              <a:gd name="connsiteX17" fmla="*/ 94116 w 138932"/>
              <a:gd name="connsiteY17" fmla="*/ 41231 h 116524"/>
              <a:gd name="connsiteX18" fmla="*/ 85152 w 138932"/>
              <a:gd name="connsiteY18" fmla="*/ 39439 h 116524"/>
              <a:gd name="connsiteX19" fmla="*/ 85152 w 138932"/>
              <a:gd name="connsiteY19" fmla="*/ 38991 h 116524"/>
              <a:gd name="connsiteX20" fmla="*/ 85152 w 138932"/>
              <a:gd name="connsiteY20" fmla="*/ 4482 h 116524"/>
              <a:gd name="connsiteX21" fmla="*/ 89634 w 138932"/>
              <a:gd name="connsiteY21" fmla="*/ 4482 h 116524"/>
              <a:gd name="connsiteX22" fmla="*/ 91875 w 138932"/>
              <a:gd name="connsiteY22" fmla="*/ 2241 h 116524"/>
              <a:gd name="connsiteX23" fmla="*/ 89634 w 138932"/>
              <a:gd name="connsiteY23" fmla="*/ 0 h 116524"/>
              <a:gd name="connsiteX24" fmla="*/ 15686 w 138932"/>
              <a:gd name="connsiteY24" fmla="*/ 0 h 116524"/>
              <a:gd name="connsiteX25" fmla="*/ 13445 w 138932"/>
              <a:gd name="connsiteY25" fmla="*/ 2241 h 116524"/>
              <a:gd name="connsiteX26" fmla="*/ 15686 w 138932"/>
              <a:gd name="connsiteY26" fmla="*/ 4482 h 116524"/>
              <a:gd name="connsiteX27" fmla="*/ 20168 w 138932"/>
              <a:gd name="connsiteY27" fmla="*/ 4482 h 116524"/>
              <a:gd name="connsiteX28" fmla="*/ 20168 w 138932"/>
              <a:gd name="connsiteY28" fmla="*/ 60503 h 116524"/>
              <a:gd name="connsiteX29" fmla="*/ 0 w 138932"/>
              <a:gd name="connsiteY29" fmla="*/ 88289 h 116524"/>
              <a:gd name="connsiteX30" fmla="*/ 29131 w 138932"/>
              <a:gd name="connsiteY30" fmla="*/ 117420 h 116524"/>
              <a:gd name="connsiteX31" fmla="*/ 58262 w 138932"/>
              <a:gd name="connsiteY31" fmla="*/ 90530 h 116524"/>
              <a:gd name="connsiteX32" fmla="*/ 104872 w 138932"/>
              <a:gd name="connsiteY32" fmla="*/ 90530 h 116524"/>
              <a:gd name="connsiteX33" fmla="*/ 103527 w 138932"/>
              <a:gd name="connsiteY33" fmla="*/ 97701 h 116524"/>
              <a:gd name="connsiteX34" fmla="*/ 123247 w 138932"/>
              <a:gd name="connsiteY34" fmla="*/ 117420 h 116524"/>
              <a:gd name="connsiteX35" fmla="*/ 142966 w 138932"/>
              <a:gd name="connsiteY35" fmla="*/ 97701 h 116524"/>
              <a:gd name="connsiteX36" fmla="*/ 133555 w 138932"/>
              <a:gd name="connsiteY36" fmla="*/ 82015 h 116524"/>
              <a:gd name="connsiteX37" fmla="*/ 98149 w 138932"/>
              <a:gd name="connsiteY37" fmla="*/ 39887 h 116524"/>
              <a:gd name="connsiteX38" fmla="*/ 98597 w 138932"/>
              <a:gd name="connsiteY38" fmla="*/ 38094 h 116524"/>
              <a:gd name="connsiteX39" fmla="*/ 100390 w 138932"/>
              <a:gd name="connsiteY39" fmla="*/ 37646 h 116524"/>
              <a:gd name="connsiteX40" fmla="*/ 100390 w 138932"/>
              <a:gd name="connsiteY40" fmla="*/ 37646 h 116524"/>
              <a:gd name="connsiteX41" fmla="*/ 104872 w 138932"/>
              <a:gd name="connsiteY41" fmla="*/ 37646 h 116524"/>
              <a:gd name="connsiteX42" fmla="*/ 107113 w 138932"/>
              <a:gd name="connsiteY42" fmla="*/ 39887 h 116524"/>
              <a:gd name="connsiteX43" fmla="*/ 107113 w 138932"/>
              <a:gd name="connsiteY43" fmla="*/ 51092 h 116524"/>
              <a:gd name="connsiteX44" fmla="*/ 106664 w 138932"/>
              <a:gd name="connsiteY44" fmla="*/ 52884 h 116524"/>
              <a:gd name="connsiteX45" fmla="*/ 104872 w 138932"/>
              <a:gd name="connsiteY45" fmla="*/ 53332 h 116524"/>
              <a:gd name="connsiteX46" fmla="*/ 100390 w 138932"/>
              <a:gd name="connsiteY46" fmla="*/ 53332 h 116524"/>
              <a:gd name="connsiteX47" fmla="*/ 98149 w 138932"/>
              <a:gd name="connsiteY47" fmla="*/ 51092 h 116524"/>
              <a:gd name="connsiteX48" fmla="*/ 98149 w 138932"/>
              <a:gd name="connsiteY48" fmla="*/ 39887 h 116524"/>
              <a:gd name="connsiteX49" fmla="*/ 24201 w 138932"/>
              <a:gd name="connsiteY49" fmla="*/ 5378 h 116524"/>
              <a:gd name="connsiteX50" fmla="*/ 80222 w 138932"/>
              <a:gd name="connsiteY50" fmla="*/ 5378 h 116524"/>
              <a:gd name="connsiteX51" fmla="*/ 80222 w 138932"/>
              <a:gd name="connsiteY51" fmla="*/ 39887 h 116524"/>
              <a:gd name="connsiteX52" fmla="*/ 80222 w 138932"/>
              <a:gd name="connsiteY52" fmla="*/ 42128 h 116524"/>
              <a:gd name="connsiteX53" fmla="*/ 80222 w 138932"/>
              <a:gd name="connsiteY53" fmla="*/ 87393 h 116524"/>
              <a:gd name="connsiteX54" fmla="*/ 57814 w 138932"/>
              <a:gd name="connsiteY54" fmla="*/ 87393 h 116524"/>
              <a:gd name="connsiteX55" fmla="*/ 28683 w 138932"/>
              <a:gd name="connsiteY55" fmla="*/ 60503 h 116524"/>
              <a:gd name="connsiteX56" fmla="*/ 24201 w 138932"/>
              <a:gd name="connsiteY56" fmla="*/ 60951 h 116524"/>
              <a:gd name="connsiteX57" fmla="*/ 24201 w 138932"/>
              <a:gd name="connsiteY57" fmla="*/ 5378 h 116524"/>
              <a:gd name="connsiteX58" fmla="*/ 28683 w 138932"/>
              <a:gd name="connsiteY58" fmla="*/ 113835 h 116524"/>
              <a:gd name="connsiteX59" fmla="*/ 4033 w 138932"/>
              <a:gd name="connsiteY59" fmla="*/ 89186 h 116524"/>
              <a:gd name="connsiteX60" fmla="*/ 28683 w 138932"/>
              <a:gd name="connsiteY60" fmla="*/ 64537 h 116524"/>
              <a:gd name="connsiteX61" fmla="*/ 53332 w 138932"/>
              <a:gd name="connsiteY61" fmla="*/ 89186 h 116524"/>
              <a:gd name="connsiteX62" fmla="*/ 28683 w 138932"/>
              <a:gd name="connsiteY62" fmla="*/ 113835 h 116524"/>
              <a:gd name="connsiteX63" fmla="*/ 84704 w 138932"/>
              <a:gd name="connsiteY63" fmla="*/ 86945 h 116524"/>
              <a:gd name="connsiteX64" fmla="*/ 84704 w 138932"/>
              <a:gd name="connsiteY64" fmla="*/ 44369 h 116524"/>
              <a:gd name="connsiteX65" fmla="*/ 93667 w 138932"/>
              <a:gd name="connsiteY65" fmla="*/ 46161 h 116524"/>
              <a:gd name="connsiteX66" fmla="*/ 93667 w 138932"/>
              <a:gd name="connsiteY66" fmla="*/ 51092 h 116524"/>
              <a:gd name="connsiteX67" fmla="*/ 100390 w 138932"/>
              <a:gd name="connsiteY67" fmla="*/ 57814 h 116524"/>
              <a:gd name="connsiteX68" fmla="*/ 104872 w 138932"/>
              <a:gd name="connsiteY68" fmla="*/ 57814 h 116524"/>
              <a:gd name="connsiteX69" fmla="*/ 104872 w 138932"/>
              <a:gd name="connsiteY69" fmla="*/ 57814 h 116524"/>
              <a:gd name="connsiteX70" fmla="*/ 109802 w 138932"/>
              <a:gd name="connsiteY70" fmla="*/ 56021 h 116524"/>
              <a:gd name="connsiteX71" fmla="*/ 111594 w 138932"/>
              <a:gd name="connsiteY71" fmla="*/ 51092 h 116524"/>
              <a:gd name="connsiteX72" fmla="*/ 111594 w 138932"/>
              <a:gd name="connsiteY72" fmla="*/ 50195 h 116524"/>
              <a:gd name="connsiteX73" fmla="*/ 122798 w 138932"/>
              <a:gd name="connsiteY73" fmla="*/ 51988 h 116524"/>
              <a:gd name="connsiteX74" fmla="*/ 129073 w 138932"/>
              <a:gd name="connsiteY74" fmla="*/ 59606 h 116524"/>
              <a:gd name="connsiteX75" fmla="*/ 129073 w 138932"/>
              <a:gd name="connsiteY75" fmla="*/ 79774 h 116524"/>
              <a:gd name="connsiteX76" fmla="*/ 122798 w 138932"/>
              <a:gd name="connsiteY76" fmla="*/ 78878 h 116524"/>
              <a:gd name="connsiteX77" fmla="*/ 107113 w 138932"/>
              <a:gd name="connsiteY77" fmla="*/ 86945 h 116524"/>
              <a:gd name="connsiteX78" fmla="*/ 84704 w 138932"/>
              <a:gd name="connsiteY78" fmla="*/ 86945 h 116524"/>
              <a:gd name="connsiteX79" fmla="*/ 122798 w 138932"/>
              <a:gd name="connsiteY79" fmla="*/ 113835 h 116524"/>
              <a:gd name="connsiteX80" fmla="*/ 107561 w 138932"/>
              <a:gd name="connsiteY80" fmla="*/ 98597 h 116524"/>
              <a:gd name="connsiteX81" fmla="*/ 122798 w 138932"/>
              <a:gd name="connsiteY81" fmla="*/ 83360 h 116524"/>
              <a:gd name="connsiteX82" fmla="*/ 138036 w 138932"/>
              <a:gd name="connsiteY82" fmla="*/ 98597 h 116524"/>
              <a:gd name="connsiteX83" fmla="*/ 122798 w 138932"/>
              <a:gd name="connsiteY83" fmla="*/ 113835 h 11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8932" h="116524">
                <a:moveTo>
                  <a:pt x="133555" y="82015"/>
                </a:moveTo>
                <a:lnTo>
                  <a:pt x="133555" y="59606"/>
                </a:lnTo>
                <a:cubicBezTo>
                  <a:pt x="133555" y="53780"/>
                  <a:pt x="129521" y="48851"/>
                  <a:pt x="123695" y="47506"/>
                </a:cubicBezTo>
                <a:lnTo>
                  <a:pt x="112043" y="45265"/>
                </a:lnTo>
                <a:lnTo>
                  <a:pt x="112043" y="39439"/>
                </a:lnTo>
                <a:cubicBezTo>
                  <a:pt x="112043" y="35854"/>
                  <a:pt x="108905" y="32716"/>
                  <a:pt x="105320" y="32716"/>
                </a:cubicBezTo>
                <a:lnTo>
                  <a:pt x="103976" y="32716"/>
                </a:lnTo>
                <a:lnTo>
                  <a:pt x="103976" y="17479"/>
                </a:lnTo>
                <a:cubicBezTo>
                  <a:pt x="103976" y="17030"/>
                  <a:pt x="103976" y="16582"/>
                  <a:pt x="104424" y="16134"/>
                </a:cubicBezTo>
                <a:lnTo>
                  <a:pt x="108457" y="12100"/>
                </a:lnTo>
                <a:cubicBezTo>
                  <a:pt x="109353" y="11204"/>
                  <a:pt x="109353" y="9860"/>
                  <a:pt x="108457" y="8963"/>
                </a:cubicBezTo>
                <a:cubicBezTo>
                  <a:pt x="107561" y="8067"/>
                  <a:pt x="106216" y="8067"/>
                  <a:pt x="105320" y="8963"/>
                </a:cubicBezTo>
                <a:lnTo>
                  <a:pt x="101286" y="12997"/>
                </a:lnTo>
                <a:cubicBezTo>
                  <a:pt x="99942" y="14341"/>
                  <a:pt x="99494" y="15686"/>
                  <a:pt x="99494" y="17479"/>
                </a:cubicBezTo>
                <a:lnTo>
                  <a:pt x="99494" y="32716"/>
                </a:lnTo>
                <a:cubicBezTo>
                  <a:pt x="98149" y="33165"/>
                  <a:pt x="96805" y="33613"/>
                  <a:pt x="95908" y="34509"/>
                </a:cubicBezTo>
                <a:cubicBezTo>
                  <a:pt x="94564" y="35854"/>
                  <a:pt x="94116" y="37646"/>
                  <a:pt x="94116" y="39439"/>
                </a:cubicBezTo>
                <a:lnTo>
                  <a:pt x="94116" y="41231"/>
                </a:lnTo>
                <a:lnTo>
                  <a:pt x="85152" y="39439"/>
                </a:lnTo>
                <a:lnTo>
                  <a:pt x="85152" y="38991"/>
                </a:lnTo>
                <a:lnTo>
                  <a:pt x="85152" y="4482"/>
                </a:lnTo>
                <a:lnTo>
                  <a:pt x="89634" y="4482"/>
                </a:lnTo>
                <a:cubicBezTo>
                  <a:pt x="90978" y="4482"/>
                  <a:pt x="91875" y="3585"/>
                  <a:pt x="91875" y="2241"/>
                </a:cubicBezTo>
                <a:cubicBezTo>
                  <a:pt x="91875" y="896"/>
                  <a:pt x="90978" y="0"/>
                  <a:pt x="89634" y="0"/>
                </a:cubicBezTo>
                <a:lnTo>
                  <a:pt x="15686" y="0"/>
                </a:lnTo>
                <a:cubicBezTo>
                  <a:pt x="14342" y="0"/>
                  <a:pt x="13445" y="896"/>
                  <a:pt x="13445" y="2241"/>
                </a:cubicBezTo>
                <a:cubicBezTo>
                  <a:pt x="13445" y="3585"/>
                  <a:pt x="14342" y="4482"/>
                  <a:pt x="15686" y="4482"/>
                </a:cubicBezTo>
                <a:lnTo>
                  <a:pt x="20168" y="4482"/>
                </a:lnTo>
                <a:lnTo>
                  <a:pt x="20168" y="60503"/>
                </a:lnTo>
                <a:cubicBezTo>
                  <a:pt x="8515" y="64088"/>
                  <a:pt x="0" y="75292"/>
                  <a:pt x="0" y="88289"/>
                </a:cubicBezTo>
                <a:cubicBezTo>
                  <a:pt x="0" y="104423"/>
                  <a:pt x="12997" y="117420"/>
                  <a:pt x="29131" y="117420"/>
                </a:cubicBezTo>
                <a:cubicBezTo>
                  <a:pt x="44369" y="117420"/>
                  <a:pt x="56918" y="105768"/>
                  <a:pt x="58262" y="90530"/>
                </a:cubicBezTo>
                <a:lnTo>
                  <a:pt x="104872" y="90530"/>
                </a:lnTo>
                <a:cubicBezTo>
                  <a:pt x="103976" y="92771"/>
                  <a:pt x="103527" y="95012"/>
                  <a:pt x="103527" y="97701"/>
                </a:cubicBezTo>
                <a:cubicBezTo>
                  <a:pt x="103527" y="108457"/>
                  <a:pt x="112491" y="117420"/>
                  <a:pt x="123247" y="117420"/>
                </a:cubicBezTo>
                <a:cubicBezTo>
                  <a:pt x="134003" y="117420"/>
                  <a:pt x="142966" y="108457"/>
                  <a:pt x="142966" y="97701"/>
                </a:cubicBezTo>
                <a:cubicBezTo>
                  <a:pt x="142518" y="91427"/>
                  <a:pt x="138933" y="85600"/>
                  <a:pt x="133555" y="82015"/>
                </a:cubicBezTo>
                <a:close/>
                <a:moveTo>
                  <a:pt x="98149" y="39887"/>
                </a:moveTo>
                <a:cubicBezTo>
                  <a:pt x="98149" y="39439"/>
                  <a:pt x="98597" y="38543"/>
                  <a:pt x="98597" y="38094"/>
                </a:cubicBezTo>
                <a:cubicBezTo>
                  <a:pt x="99046" y="37646"/>
                  <a:pt x="99494" y="37646"/>
                  <a:pt x="100390" y="37646"/>
                </a:cubicBezTo>
                <a:cubicBezTo>
                  <a:pt x="100390" y="37646"/>
                  <a:pt x="100390" y="37646"/>
                  <a:pt x="100390" y="37646"/>
                </a:cubicBezTo>
                <a:lnTo>
                  <a:pt x="104872" y="37646"/>
                </a:lnTo>
                <a:cubicBezTo>
                  <a:pt x="106216" y="37646"/>
                  <a:pt x="107113" y="38543"/>
                  <a:pt x="107113" y="39887"/>
                </a:cubicBezTo>
                <a:lnTo>
                  <a:pt x="107113" y="51092"/>
                </a:lnTo>
                <a:cubicBezTo>
                  <a:pt x="107113" y="51540"/>
                  <a:pt x="106664" y="52436"/>
                  <a:pt x="106664" y="52884"/>
                </a:cubicBezTo>
                <a:cubicBezTo>
                  <a:pt x="106216" y="53332"/>
                  <a:pt x="105320" y="53780"/>
                  <a:pt x="104872" y="53332"/>
                </a:cubicBezTo>
                <a:lnTo>
                  <a:pt x="100390" y="53332"/>
                </a:lnTo>
                <a:cubicBezTo>
                  <a:pt x="99046" y="53332"/>
                  <a:pt x="98149" y="52436"/>
                  <a:pt x="98149" y="51092"/>
                </a:cubicBezTo>
                <a:lnTo>
                  <a:pt x="98149" y="39887"/>
                </a:lnTo>
                <a:close/>
                <a:moveTo>
                  <a:pt x="24201" y="5378"/>
                </a:moveTo>
                <a:lnTo>
                  <a:pt x="80222" y="5378"/>
                </a:lnTo>
                <a:lnTo>
                  <a:pt x="80222" y="39887"/>
                </a:lnTo>
                <a:lnTo>
                  <a:pt x="80222" y="42128"/>
                </a:lnTo>
                <a:lnTo>
                  <a:pt x="80222" y="87393"/>
                </a:lnTo>
                <a:lnTo>
                  <a:pt x="57814" y="87393"/>
                </a:lnTo>
                <a:cubicBezTo>
                  <a:pt x="56469" y="72155"/>
                  <a:pt x="43921" y="60503"/>
                  <a:pt x="28683" y="60503"/>
                </a:cubicBezTo>
                <a:cubicBezTo>
                  <a:pt x="27338" y="60503"/>
                  <a:pt x="25546" y="60503"/>
                  <a:pt x="24201" y="60951"/>
                </a:cubicBezTo>
                <a:lnTo>
                  <a:pt x="24201" y="5378"/>
                </a:lnTo>
                <a:close/>
                <a:moveTo>
                  <a:pt x="28683" y="113835"/>
                </a:moveTo>
                <a:cubicBezTo>
                  <a:pt x="15238" y="113835"/>
                  <a:pt x="4033" y="102631"/>
                  <a:pt x="4033" y="89186"/>
                </a:cubicBezTo>
                <a:cubicBezTo>
                  <a:pt x="4033" y="75741"/>
                  <a:pt x="15238" y="64537"/>
                  <a:pt x="28683" y="64537"/>
                </a:cubicBezTo>
                <a:cubicBezTo>
                  <a:pt x="42128" y="64537"/>
                  <a:pt x="53332" y="75741"/>
                  <a:pt x="53332" y="89186"/>
                </a:cubicBezTo>
                <a:cubicBezTo>
                  <a:pt x="53332" y="102631"/>
                  <a:pt x="42128" y="113835"/>
                  <a:pt x="28683" y="113835"/>
                </a:cubicBezTo>
                <a:close/>
                <a:moveTo>
                  <a:pt x="84704" y="86945"/>
                </a:moveTo>
                <a:lnTo>
                  <a:pt x="84704" y="44369"/>
                </a:lnTo>
                <a:lnTo>
                  <a:pt x="93667" y="46161"/>
                </a:lnTo>
                <a:lnTo>
                  <a:pt x="93667" y="51092"/>
                </a:lnTo>
                <a:cubicBezTo>
                  <a:pt x="93667" y="54677"/>
                  <a:pt x="96805" y="57814"/>
                  <a:pt x="100390" y="57814"/>
                </a:cubicBezTo>
                <a:lnTo>
                  <a:pt x="104872" y="57814"/>
                </a:lnTo>
                <a:cubicBezTo>
                  <a:pt x="104872" y="57814"/>
                  <a:pt x="104872" y="57814"/>
                  <a:pt x="104872" y="57814"/>
                </a:cubicBezTo>
                <a:cubicBezTo>
                  <a:pt x="106664" y="57814"/>
                  <a:pt x="108457" y="56917"/>
                  <a:pt x="109802" y="56021"/>
                </a:cubicBezTo>
                <a:cubicBezTo>
                  <a:pt x="111146" y="54677"/>
                  <a:pt x="111594" y="52884"/>
                  <a:pt x="111594" y="51092"/>
                </a:cubicBezTo>
                <a:lnTo>
                  <a:pt x="111594" y="50195"/>
                </a:lnTo>
                <a:lnTo>
                  <a:pt x="122798" y="51988"/>
                </a:lnTo>
                <a:cubicBezTo>
                  <a:pt x="126384" y="52436"/>
                  <a:pt x="129073" y="56021"/>
                  <a:pt x="129073" y="59606"/>
                </a:cubicBezTo>
                <a:lnTo>
                  <a:pt x="129073" y="79774"/>
                </a:lnTo>
                <a:cubicBezTo>
                  <a:pt x="127280" y="79326"/>
                  <a:pt x="125039" y="78878"/>
                  <a:pt x="122798" y="78878"/>
                </a:cubicBezTo>
                <a:cubicBezTo>
                  <a:pt x="116524" y="78878"/>
                  <a:pt x="110698" y="82015"/>
                  <a:pt x="107113" y="86945"/>
                </a:cubicBezTo>
                <a:lnTo>
                  <a:pt x="84704" y="86945"/>
                </a:lnTo>
                <a:close/>
                <a:moveTo>
                  <a:pt x="122798" y="113835"/>
                </a:moveTo>
                <a:cubicBezTo>
                  <a:pt x="114283" y="113835"/>
                  <a:pt x="107561" y="107113"/>
                  <a:pt x="107561" y="98597"/>
                </a:cubicBezTo>
                <a:cubicBezTo>
                  <a:pt x="107561" y="90082"/>
                  <a:pt x="114283" y="83360"/>
                  <a:pt x="122798" y="83360"/>
                </a:cubicBezTo>
                <a:cubicBezTo>
                  <a:pt x="131314" y="83360"/>
                  <a:pt x="138036" y="90082"/>
                  <a:pt x="138036" y="98597"/>
                </a:cubicBezTo>
                <a:cubicBezTo>
                  <a:pt x="138036" y="107113"/>
                  <a:pt x="131314" y="113835"/>
                  <a:pt x="122798" y="113835"/>
                </a:cubicBezTo>
                <a:close/>
              </a:path>
            </a:pathLst>
          </a:custGeom>
          <a:solidFill>
            <a:srgbClr val="231F20"/>
          </a:solidFill>
          <a:ln w="4477" cap="flat">
            <a:noFill/>
            <a:prstDash val="solid"/>
            <a:miter/>
          </a:ln>
        </p:spPr>
        <p:txBody>
          <a:bodyPr rtlCol="0" anchor="ctr"/>
          <a:lstStyle/>
          <a:p>
            <a:endParaRPr lang="en-US"/>
          </a:p>
        </p:txBody>
      </p:sp>
      <p:sp>
        <p:nvSpPr>
          <p:cNvPr id="3781" name="Freeform: Shape 3780">
            <a:extLst>
              <a:ext uri="{FF2B5EF4-FFF2-40B4-BE49-F238E27FC236}">
                <a16:creationId xmlns:a16="http://schemas.microsoft.com/office/drawing/2014/main" id="{E4A98E08-B293-4267-AFFD-EE3E2EC5B316}"/>
              </a:ext>
              <a:ext uri="{C183D7F6-B498-43B3-948B-1728B52AA6E4}">
                <adec:decorative xmlns:adec="http://schemas.microsoft.com/office/drawing/2017/decorative" val="1"/>
              </a:ext>
            </a:extLst>
          </p:cNvPr>
          <p:cNvSpPr>
            <a:spLocks noChangeAspect="1"/>
          </p:cNvSpPr>
          <p:nvPr/>
        </p:nvSpPr>
        <p:spPr>
          <a:xfrm>
            <a:off x="3735836" y="3171031"/>
            <a:ext cx="165823" cy="71707"/>
          </a:xfrm>
          <a:custGeom>
            <a:avLst/>
            <a:gdLst>
              <a:gd name="connsiteX0" fmla="*/ 130418 w 165822"/>
              <a:gd name="connsiteY0" fmla="*/ 0 h 71707"/>
              <a:gd name="connsiteX1" fmla="*/ 2241 w 165822"/>
              <a:gd name="connsiteY1" fmla="*/ 0 h 71707"/>
              <a:gd name="connsiteX2" fmla="*/ 0 w 165822"/>
              <a:gd name="connsiteY2" fmla="*/ 2241 h 71707"/>
              <a:gd name="connsiteX3" fmla="*/ 0 w 165822"/>
              <a:gd name="connsiteY3" fmla="*/ 56021 h 71707"/>
              <a:gd name="connsiteX4" fmla="*/ 2241 w 165822"/>
              <a:gd name="connsiteY4" fmla="*/ 58262 h 71707"/>
              <a:gd name="connsiteX5" fmla="*/ 11653 w 165822"/>
              <a:gd name="connsiteY5" fmla="*/ 58262 h 71707"/>
              <a:gd name="connsiteX6" fmla="*/ 11653 w 165822"/>
              <a:gd name="connsiteY6" fmla="*/ 58710 h 71707"/>
              <a:gd name="connsiteX7" fmla="*/ 24649 w 165822"/>
              <a:gd name="connsiteY7" fmla="*/ 71707 h 71707"/>
              <a:gd name="connsiteX8" fmla="*/ 37646 w 165822"/>
              <a:gd name="connsiteY8" fmla="*/ 58710 h 71707"/>
              <a:gd name="connsiteX9" fmla="*/ 37646 w 165822"/>
              <a:gd name="connsiteY9" fmla="*/ 58262 h 71707"/>
              <a:gd name="connsiteX10" fmla="*/ 38991 w 165822"/>
              <a:gd name="connsiteY10" fmla="*/ 58262 h 71707"/>
              <a:gd name="connsiteX11" fmla="*/ 38991 w 165822"/>
              <a:gd name="connsiteY11" fmla="*/ 58710 h 71707"/>
              <a:gd name="connsiteX12" fmla="*/ 51988 w 165822"/>
              <a:gd name="connsiteY12" fmla="*/ 71707 h 71707"/>
              <a:gd name="connsiteX13" fmla="*/ 64985 w 165822"/>
              <a:gd name="connsiteY13" fmla="*/ 58710 h 71707"/>
              <a:gd name="connsiteX14" fmla="*/ 64985 w 165822"/>
              <a:gd name="connsiteY14" fmla="*/ 58262 h 71707"/>
              <a:gd name="connsiteX15" fmla="*/ 83360 w 165822"/>
              <a:gd name="connsiteY15" fmla="*/ 58262 h 71707"/>
              <a:gd name="connsiteX16" fmla="*/ 109802 w 165822"/>
              <a:gd name="connsiteY16" fmla="*/ 58262 h 71707"/>
              <a:gd name="connsiteX17" fmla="*/ 124143 w 165822"/>
              <a:gd name="connsiteY17" fmla="*/ 58262 h 71707"/>
              <a:gd name="connsiteX18" fmla="*/ 124143 w 165822"/>
              <a:gd name="connsiteY18" fmla="*/ 59606 h 71707"/>
              <a:gd name="connsiteX19" fmla="*/ 137140 w 165822"/>
              <a:gd name="connsiteY19" fmla="*/ 72603 h 71707"/>
              <a:gd name="connsiteX20" fmla="*/ 150137 w 165822"/>
              <a:gd name="connsiteY20" fmla="*/ 59606 h 71707"/>
              <a:gd name="connsiteX21" fmla="*/ 150137 w 165822"/>
              <a:gd name="connsiteY21" fmla="*/ 58262 h 71707"/>
              <a:gd name="connsiteX22" fmla="*/ 164030 w 165822"/>
              <a:gd name="connsiteY22" fmla="*/ 58262 h 71707"/>
              <a:gd name="connsiteX23" fmla="*/ 166271 w 165822"/>
              <a:gd name="connsiteY23" fmla="*/ 56021 h 71707"/>
              <a:gd name="connsiteX24" fmla="*/ 166271 w 165822"/>
              <a:gd name="connsiteY24" fmla="*/ 38094 h 71707"/>
              <a:gd name="connsiteX25" fmla="*/ 130418 w 165822"/>
              <a:gd name="connsiteY25" fmla="*/ 0 h 71707"/>
              <a:gd name="connsiteX26" fmla="*/ 159549 w 165822"/>
              <a:gd name="connsiteY26" fmla="*/ 26890 h 71707"/>
              <a:gd name="connsiteX27" fmla="*/ 132210 w 165822"/>
              <a:gd name="connsiteY27" fmla="*/ 26890 h 71707"/>
              <a:gd name="connsiteX28" fmla="*/ 132210 w 165822"/>
              <a:gd name="connsiteY28" fmla="*/ 4930 h 71707"/>
              <a:gd name="connsiteX29" fmla="*/ 132210 w 165822"/>
              <a:gd name="connsiteY29" fmla="*/ 4482 h 71707"/>
              <a:gd name="connsiteX30" fmla="*/ 159549 w 165822"/>
              <a:gd name="connsiteY30" fmla="*/ 26890 h 71707"/>
              <a:gd name="connsiteX31" fmla="*/ 111594 w 165822"/>
              <a:gd name="connsiteY31" fmla="*/ 26890 h 71707"/>
              <a:gd name="connsiteX32" fmla="*/ 111594 w 165822"/>
              <a:gd name="connsiteY32" fmla="*/ 11204 h 71707"/>
              <a:gd name="connsiteX33" fmla="*/ 109354 w 165822"/>
              <a:gd name="connsiteY33" fmla="*/ 8963 h 71707"/>
              <a:gd name="connsiteX34" fmla="*/ 82911 w 165822"/>
              <a:gd name="connsiteY34" fmla="*/ 8963 h 71707"/>
              <a:gd name="connsiteX35" fmla="*/ 80671 w 165822"/>
              <a:gd name="connsiteY35" fmla="*/ 11204 h 71707"/>
              <a:gd name="connsiteX36" fmla="*/ 80671 w 165822"/>
              <a:gd name="connsiteY36" fmla="*/ 26890 h 71707"/>
              <a:gd name="connsiteX37" fmla="*/ 64985 w 165822"/>
              <a:gd name="connsiteY37" fmla="*/ 26890 h 71707"/>
              <a:gd name="connsiteX38" fmla="*/ 64985 w 165822"/>
              <a:gd name="connsiteY38" fmla="*/ 4482 h 71707"/>
              <a:gd name="connsiteX39" fmla="*/ 127729 w 165822"/>
              <a:gd name="connsiteY39" fmla="*/ 4482 h 71707"/>
              <a:gd name="connsiteX40" fmla="*/ 127729 w 165822"/>
              <a:gd name="connsiteY40" fmla="*/ 4930 h 71707"/>
              <a:gd name="connsiteX41" fmla="*/ 127729 w 165822"/>
              <a:gd name="connsiteY41" fmla="*/ 26890 h 71707"/>
              <a:gd name="connsiteX42" fmla="*/ 111594 w 165822"/>
              <a:gd name="connsiteY42" fmla="*/ 26890 h 71707"/>
              <a:gd name="connsiteX43" fmla="*/ 24649 w 165822"/>
              <a:gd name="connsiteY43" fmla="*/ 26890 h 71707"/>
              <a:gd name="connsiteX44" fmla="*/ 24649 w 165822"/>
              <a:gd name="connsiteY44" fmla="*/ 4482 h 71707"/>
              <a:gd name="connsiteX45" fmla="*/ 60503 w 165822"/>
              <a:gd name="connsiteY45" fmla="*/ 4482 h 71707"/>
              <a:gd name="connsiteX46" fmla="*/ 60503 w 165822"/>
              <a:gd name="connsiteY46" fmla="*/ 26890 h 71707"/>
              <a:gd name="connsiteX47" fmla="*/ 24649 w 165822"/>
              <a:gd name="connsiteY47" fmla="*/ 26890 h 71707"/>
              <a:gd name="connsiteX48" fmla="*/ 20168 w 165822"/>
              <a:gd name="connsiteY48" fmla="*/ 4482 h 71707"/>
              <a:gd name="connsiteX49" fmla="*/ 20168 w 165822"/>
              <a:gd name="connsiteY49" fmla="*/ 26890 h 71707"/>
              <a:gd name="connsiteX50" fmla="*/ 4482 w 165822"/>
              <a:gd name="connsiteY50" fmla="*/ 26890 h 71707"/>
              <a:gd name="connsiteX51" fmla="*/ 4482 w 165822"/>
              <a:gd name="connsiteY51" fmla="*/ 4482 h 71707"/>
              <a:gd name="connsiteX52" fmla="*/ 20168 w 165822"/>
              <a:gd name="connsiteY52" fmla="*/ 4482 h 71707"/>
              <a:gd name="connsiteX53" fmla="*/ 24649 w 165822"/>
              <a:gd name="connsiteY53" fmla="*/ 67226 h 71707"/>
              <a:gd name="connsiteX54" fmla="*/ 16134 w 165822"/>
              <a:gd name="connsiteY54" fmla="*/ 58710 h 71707"/>
              <a:gd name="connsiteX55" fmla="*/ 24649 w 165822"/>
              <a:gd name="connsiteY55" fmla="*/ 50195 h 71707"/>
              <a:gd name="connsiteX56" fmla="*/ 33165 w 165822"/>
              <a:gd name="connsiteY56" fmla="*/ 58710 h 71707"/>
              <a:gd name="connsiteX57" fmla="*/ 24649 w 165822"/>
              <a:gd name="connsiteY57" fmla="*/ 67226 h 71707"/>
              <a:gd name="connsiteX58" fmla="*/ 51540 w 165822"/>
              <a:gd name="connsiteY58" fmla="*/ 67226 h 71707"/>
              <a:gd name="connsiteX59" fmla="*/ 43025 w 165822"/>
              <a:gd name="connsiteY59" fmla="*/ 58710 h 71707"/>
              <a:gd name="connsiteX60" fmla="*/ 51540 w 165822"/>
              <a:gd name="connsiteY60" fmla="*/ 50195 h 71707"/>
              <a:gd name="connsiteX61" fmla="*/ 60055 w 165822"/>
              <a:gd name="connsiteY61" fmla="*/ 58710 h 71707"/>
              <a:gd name="connsiteX62" fmla="*/ 51540 w 165822"/>
              <a:gd name="connsiteY62" fmla="*/ 67226 h 71707"/>
              <a:gd name="connsiteX63" fmla="*/ 51540 w 165822"/>
              <a:gd name="connsiteY63" fmla="*/ 45713 h 71707"/>
              <a:gd name="connsiteX64" fmla="*/ 39439 w 165822"/>
              <a:gd name="connsiteY64" fmla="*/ 53780 h 71707"/>
              <a:gd name="connsiteX65" fmla="*/ 36302 w 165822"/>
              <a:gd name="connsiteY65" fmla="*/ 53780 h 71707"/>
              <a:gd name="connsiteX66" fmla="*/ 24201 w 165822"/>
              <a:gd name="connsiteY66" fmla="*/ 45713 h 71707"/>
              <a:gd name="connsiteX67" fmla="*/ 12101 w 165822"/>
              <a:gd name="connsiteY67" fmla="*/ 53780 h 71707"/>
              <a:gd name="connsiteX68" fmla="*/ 4034 w 165822"/>
              <a:gd name="connsiteY68" fmla="*/ 53780 h 71707"/>
              <a:gd name="connsiteX69" fmla="*/ 4034 w 165822"/>
              <a:gd name="connsiteY69" fmla="*/ 31372 h 71707"/>
              <a:gd name="connsiteX70" fmla="*/ 80223 w 165822"/>
              <a:gd name="connsiteY70" fmla="*/ 31372 h 71707"/>
              <a:gd name="connsiteX71" fmla="*/ 80223 w 165822"/>
              <a:gd name="connsiteY71" fmla="*/ 53780 h 71707"/>
              <a:gd name="connsiteX72" fmla="*/ 63192 w 165822"/>
              <a:gd name="connsiteY72" fmla="*/ 53780 h 71707"/>
              <a:gd name="connsiteX73" fmla="*/ 51540 w 165822"/>
              <a:gd name="connsiteY73" fmla="*/ 45713 h 71707"/>
              <a:gd name="connsiteX74" fmla="*/ 85152 w 165822"/>
              <a:gd name="connsiteY74" fmla="*/ 53780 h 71707"/>
              <a:gd name="connsiteX75" fmla="*/ 85152 w 165822"/>
              <a:gd name="connsiteY75" fmla="*/ 13445 h 71707"/>
              <a:gd name="connsiteX76" fmla="*/ 107113 w 165822"/>
              <a:gd name="connsiteY76" fmla="*/ 13445 h 71707"/>
              <a:gd name="connsiteX77" fmla="*/ 107113 w 165822"/>
              <a:gd name="connsiteY77" fmla="*/ 53780 h 71707"/>
              <a:gd name="connsiteX78" fmla="*/ 85152 w 165822"/>
              <a:gd name="connsiteY78" fmla="*/ 53780 h 71707"/>
              <a:gd name="connsiteX79" fmla="*/ 136692 w 165822"/>
              <a:gd name="connsiteY79" fmla="*/ 67674 h 71707"/>
              <a:gd name="connsiteX80" fmla="*/ 128177 w 165822"/>
              <a:gd name="connsiteY80" fmla="*/ 59158 h 71707"/>
              <a:gd name="connsiteX81" fmla="*/ 136692 w 165822"/>
              <a:gd name="connsiteY81" fmla="*/ 50643 h 71707"/>
              <a:gd name="connsiteX82" fmla="*/ 145207 w 165822"/>
              <a:gd name="connsiteY82" fmla="*/ 59158 h 71707"/>
              <a:gd name="connsiteX83" fmla="*/ 136692 w 165822"/>
              <a:gd name="connsiteY83" fmla="*/ 67674 h 71707"/>
              <a:gd name="connsiteX84" fmla="*/ 161341 w 165822"/>
              <a:gd name="connsiteY84" fmla="*/ 53780 h 71707"/>
              <a:gd name="connsiteX85" fmla="*/ 148344 w 165822"/>
              <a:gd name="connsiteY85" fmla="*/ 53780 h 71707"/>
              <a:gd name="connsiteX86" fmla="*/ 136692 w 165822"/>
              <a:gd name="connsiteY86" fmla="*/ 46609 h 71707"/>
              <a:gd name="connsiteX87" fmla="*/ 125040 w 165822"/>
              <a:gd name="connsiteY87" fmla="*/ 53780 h 71707"/>
              <a:gd name="connsiteX88" fmla="*/ 111594 w 165822"/>
              <a:gd name="connsiteY88" fmla="*/ 53780 h 71707"/>
              <a:gd name="connsiteX89" fmla="*/ 111594 w 165822"/>
              <a:gd name="connsiteY89" fmla="*/ 31372 h 71707"/>
              <a:gd name="connsiteX90" fmla="*/ 160445 w 165822"/>
              <a:gd name="connsiteY90" fmla="*/ 31372 h 71707"/>
              <a:gd name="connsiteX91" fmla="*/ 160893 w 165822"/>
              <a:gd name="connsiteY91" fmla="*/ 38094 h 71707"/>
              <a:gd name="connsiteX92" fmla="*/ 160893 w 165822"/>
              <a:gd name="connsiteY92" fmla="*/ 5378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65822" h="71707">
                <a:moveTo>
                  <a:pt x="130418" y="0"/>
                </a:moveTo>
                <a:lnTo>
                  <a:pt x="2241" y="0"/>
                </a:lnTo>
                <a:cubicBezTo>
                  <a:pt x="896" y="0"/>
                  <a:pt x="0" y="896"/>
                  <a:pt x="0" y="2241"/>
                </a:cubicBezTo>
                <a:lnTo>
                  <a:pt x="0" y="56021"/>
                </a:lnTo>
                <a:cubicBezTo>
                  <a:pt x="0" y="57365"/>
                  <a:pt x="896" y="58262"/>
                  <a:pt x="2241" y="58262"/>
                </a:cubicBezTo>
                <a:lnTo>
                  <a:pt x="11653" y="58262"/>
                </a:lnTo>
                <a:cubicBezTo>
                  <a:pt x="11653" y="58262"/>
                  <a:pt x="11653" y="58710"/>
                  <a:pt x="11653" y="58710"/>
                </a:cubicBezTo>
                <a:cubicBezTo>
                  <a:pt x="11653" y="65881"/>
                  <a:pt x="17479" y="71707"/>
                  <a:pt x="24649" y="71707"/>
                </a:cubicBezTo>
                <a:cubicBezTo>
                  <a:pt x="31820" y="71707"/>
                  <a:pt x="37646" y="65881"/>
                  <a:pt x="37646" y="58710"/>
                </a:cubicBezTo>
                <a:cubicBezTo>
                  <a:pt x="37646" y="58710"/>
                  <a:pt x="37646" y="58262"/>
                  <a:pt x="37646" y="58262"/>
                </a:cubicBezTo>
                <a:lnTo>
                  <a:pt x="38991" y="58262"/>
                </a:lnTo>
                <a:cubicBezTo>
                  <a:pt x="38991" y="58262"/>
                  <a:pt x="38991" y="58710"/>
                  <a:pt x="38991" y="58710"/>
                </a:cubicBezTo>
                <a:cubicBezTo>
                  <a:pt x="38991" y="65881"/>
                  <a:pt x="44817" y="71707"/>
                  <a:pt x="51988" y="71707"/>
                </a:cubicBezTo>
                <a:cubicBezTo>
                  <a:pt x="59159" y="71707"/>
                  <a:pt x="64985" y="65881"/>
                  <a:pt x="64985" y="58710"/>
                </a:cubicBezTo>
                <a:cubicBezTo>
                  <a:pt x="64985" y="58710"/>
                  <a:pt x="64985" y="58262"/>
                  <a:pt x="64985" y="58262"/>
                </a:cubicBezTo>
                <a:lnTo>
                  <a:pt x="83360" y="58262"/>
                </a:lnTo>
                <a:lnTo>
                  <a:pt x="109802" y="58262"/>
                </a:lnTo>
                <a:lnTo>
                  <a:pt x="124143" y="58262"/>
                </a:lnTo>
                <a:cubicBezTo>
                  <a:pt x="124143" y="58710"/>
                  <a:pt x="124143" y="59158"/>
                  <a:pt x="124143" y="59606"/>
                </a:cubicBezTo>
                <a:cubicBezTo>
                  <a:pt x="124143" y="66777"/>
                  <a:pt x="129969" y="72603"/>
                  <a:pt x="137140" y="72603"/>
                </a:cubicBezTo>
                <a:cubicBezTo>
                  <a:pt x="144311" y="72603"/>
                  <a:pt x="150137" y="66777"/>
                  <a:pt x="150137" y="59606"/>
                </a:cubicBezTo>
                <a:cubicBezTo>
                  <a:pt x="150137" y="59158"/>
                  <a:pt x="150137" y="58710"/>
                  <a:pt x="150137" y="58262"/>
                </a:cubicBezTo>
                <a:lnTo>
                  <a:pt x="164030" y="58262"/>
                </a:lnTo>
                <a:cubicBezTo>
                  <a:pt x="165375" y="58262"/>
                  <a:pt x="166271" y="57365"/>
                  <a:pt x="166271" y="56021"/>
                </a:cubicBezTo>
                <a:lnTo>
                  <a:pt x="166271" y="38094"/>
                </a:lnTo>
                <a:cubicBezTo>
                  <a:pt x="165823" y="17030"/>
                  <a:pt x="149689" y="0"/>
                  <a:pt x="130418" y="0"/>
                </a:cubicBezTo>
                <a:close/>
                <a:moveTo>
                  <a:pt x="159549" y="26890"/>
                </a:moveTo>
                <a:lnTo>
                  <a:pt x="132210" y="26890"/>
                </a:lnTo>
                <a:lnTo>
                  <a:pt x="132210" y="4930"/>
                </a:lnTo>
                <a:cubicBezTo>
                  <a:pt x="132210" y="4930"/>
                  <a:pt x="132210" y="4930"/>
                  <a:pt x="132210" y="4482"/>
                </a:cubicBezTo>
                <a:cubicBezTo>
                  <a:pt x="144759" y="5378"/>
                  <a:pt x="155515" y="14341"/>
                  <a:pt x="159549" y="26890"/>
                </a:cubicBezTo>
                <a:close/>
                <a:moveTo>
                  <a:pt x="111594" y="26890"/>
                </a:moveTo>
                <a:lnTo>
                  <a:pt x="111594" y="11204"/>
                </a:lnTo>
                <a:cubicBezTo>
                  <a:pt x="111594" y="9860"/>
                  <a:pt x="110698" y="8963"/>
                  <a:pt x="109354" y="8963"/>
                </a:cubicBezTo>
                <a:lnTo>
                  <a:pt x="82911" y="8963"/>
                </a:lnTo>
                <a:cubicBezTo>
                  <a:pt x="81567" y="8963"/>
                  <a:pt x="80671" y="9860"/>
                  <a:pt x="80671" y="11204"/>
                </a:cubicBezTo>
                <a:lnTo>
                  <a:pt x="80671" y="26890"/>
                </a:lnTo>
                <a:lnTo>
                  <a:pt x="64985" y="26890"/>
                </a:lnTo>
                <a:lnTo>
                  <a:pt x="64985" y="4482"/>
                </a:lnTo>
                <a:lnTo>
                  <a:pt x="127729" y="4482"/>
                </a:lnTo>
                <a:cubicBezTo>
                  <a:pt x="127729" y="4482"/>
                  <a:pt x="127729" y="4930"/>
                  <a:pt x="127729" y="4930"/>
                </a:cubicBezTo>
                <a:lnTo>
                  <a:pt x="127729" y="26890"/>
                </a:lnTo>
                <a:lnTo>
                  <a:pt x="111594" y="26890"/>
                </a:lnTo>
                <a:close/>
                <a:moveTo>
                  <a:pt x="24649" y="26890"/>
                </a:moveTo>
                <a:lnTo>
                  <a:pt x="24649" y="4482"/>
                </a:lnTo>
                <a:lnTo>
                  <a:pt x="60503" y="4482"/>
                </a:lnTo>
                <a:lnTo>
                  <a:pt x="60503" y="26890"/>
                </a:lnTo>
                <a:lnTo>
                  <a:pt x="24649" y="26890"/>
                </a:lnTo>
                <a:close/>
                <a:moveTo>
                  <a:pt x="20168" y="4482"/>
                </a:moveTo>
                <a:lnTo>
                  <a:pt x="20168" y="26890"/>
                </a:lnTo>
                <a:lnTo>
                  <a:pt x="4482" y="26890"/>
                </a:lnTo>
                <a:lnTo>
                  <a:pt x="4482" y="4482"/>
                </a:lnTo>
                <a:lnTo>
                  <a:pt x="20168" y="4482"/>
                </a:lnTo>
                <a:close/>
                <a:moveTo>
                  <a:pt x="24649" y="67226"/>
                </a:moveTo>
                <a:cubicBezTo>
                  <a:pt x="20168" y="67226"/>
                  <a:pt x="16134" y="63640"/>
                  <a:pt x="16134" y="58710"/>
                </a:cubicBezTo>
                <a:cubicBezTo>
                  <a:pt x="16134" y="53780"/>
                  <a:pt x="19720" y="50195"/>
                  <a:pt x="24649" y="50195"/>
                </a:cubicBezTo>
                <a:cubicBezTo>
                  <a:pt x="29131" y="50195"/>
                  <a:pt x="33165" y="53780"/>
                  <a:pt x="33165" y="58710"/>
                </a:cubicBezTo>
                <a:cubicBezTo>
                  <a:pt x="33165" y="63640"/>
                  <a:pt x="29131" y="67226"/>
                  <a:pt x="24649" y="67226"/>
                </a:cubicBezTo>
                <a:close/>
                <a:moveTo>
                  <a:pt x="51540" y="67226"/>
                </a:moveTo>
                <a:cubicBezTo>
                  <a:pt x="47058" y="67226"/>
                  <a:pt x="43025" y="63640"/>
                  <a:pt x="43025" y="58710"/>
                </a:cubicBezTo>
                <a:cubicBezTo>
                  <a:pt x="43025" y="53780"/>
                  <a:pt x="46610" y="50195"/>
                  <a:pt x="51540" y="50195"/>
                </a:cubicBezTo>
                <a:cubicBezTo>
                  <a:pt x="56021" y="50195"/>
                  <a:pt x="60055" y="53780"/>
                  <a:pt x="60055" y="58710"/>
                </a:cubicBezTo>
                <a:cubicBezTo>
                  <a:pt x="60055" y="63640"/>
                  <a:pt x="56021" y="67226"/>
                  <a:pt x="51540" y="67226"/>
                </a:cubicBezTo>
                <a:close/>
                <a:moveTo>
                  <a:pt x="51540" y="45713"/>
                </a:moveTo>
                <a:cubicBezTo>
                  <a:pt x="46162" y="45713"/>
                  <a:pt x="41680" y="48850"/>
                  <a:pt x="39439" y="53780"/>
                </a:cubicBezTo>
                <a:lnTo>
                  <a:pt x="36302" y="53780"/>
                </a:lnTo>
                <a:cubicBezTo>
                  <a:pt x="34509" y="49299"/>
                  <a:pt x="29579" y="45713"/>
                  <a:pt x="24201" y="45713"/>
                </a:cubicBezTo>
                <a:cubicBezTo>
                  <a:pt x="18823" y="45713"/>
                  <a:pt x="14342" y="48850"/>
                  <a:pt x="12101" y="53780"/>
                </a:cubicBezTo>
                <a:lnTo>
                  <a:pt x="4034" y="53780"/>
                </a:lnTo>
                <a:lnTo>
                  <a:pt x="4034" y="31372"/>
                </a:lnTo>
                <a:lnTo>
                  <a:pt x="80223" y="31372"/>
                </a:lnTo>
                <a:lnTo>
                  <a:pt x="80223" y="53780"/>
                </a:lnTo>
                <a:lnTo>
                  <a:pt x="63192" y="53780"/>
                </a:lnTo>
                <a:cubicBezTo>
                  <a:pt x="61399" y="48850"/>
                  <a:pt x="56918" y="45713"/>
                  <a:pt x="51540" y="45713"/>
                </a:cubicBezTo>
                <a:close/>
                <a:moveTo>
                  <a:pt x="85152" y="53780"/>
                </a:moveTo>
                <a:lnTo>
                  <a:pt x="85152" y="13445"/>
                </a:lnTo>
                <a:lnTo>
                  <a:pt x="107113" y="13445"/>
                </a:lnTo>
                <a:lnTo>
                  <a:pt x="107113" y="53780"/>
                </a:lnTo>
                <a:lnTo>
                  <a:pt x="85152" y="53780"/>
                </a:lnTo>
                <a:close/>
                <a:moveTo>
                  <a:pt x="136692" y="67674"/>
                </a:moveTo>
                <a:cubicBezTo>
                  <a:pt x="132210" y="67674"/>
                  <a:pt x="128177" y="64088"/>
                  <a:pt x="128177" y="59158"/>
                </a:cubicBezTo>
                <a:cubicBezTo>
                  <a:pt x="128177" y="54228"/>
                  <a:pt x="131762" y="50643"/>
                  <a:pt x="136692" y="50643"/>
                </a:cubicBezTo>
                <a:cubicBezTo>
                  <a:pt x="141174" y="50643"/>
                  <a:pt x="145207" y="54228"/>
                  <a:pt x="145207" y="59158"/>
                </a:cubicBezTo>
                <a:cubicBezTo>
                  <a:pt x="145207" y="64088"/>
                  <a:pt x="141174" y="67674"/>
                  <a:pt x="136692" y="67674"/>
                </a:cubicBezTo>
                <a:close/>
                <a:moveTo>
                  <a:pt x="161341" y="53780"/>
                </a:moveTo>
                <a:lnTo>
                  <a:pt x="148344" y="53780"/>
                </a:lnTo>
                <a:cubicBezTo>
                  <a:pt x="146104" y="49299"/>
                  <a:pt x="142070" y="46609"/>
                  <a:pt x="136692" y="46609"/>
                </a:cubicBezTo>
                <a:cubicBezTo>
                  <a:pt x="131762" y="46609"/>
                  <a:pt x="127280" y="49747"/>
                  <a:pt x="125040" y="53780"/>
                </a:cubicBezTo>
                <a:lnTo>
                  <a:pt x="111594" y="53780"/>
                </a:lnTo>
                <a:lnTo>
                  <a:pt x="111594" y="31372"/>
                </a:lnTo>
                <a:lnTo>
                  <a:pt x="160445" y="31372"/>
                </a:lnTo>
                <a:cubicBezTo>
                  <a:pt x="160893" y="33613"/>
                  <a:pt x="160893" y="35854"/>
                  <a:pt x="160893" y="38094"/>
                </a:cubicBezTo>
                <a:lnTo>
                  <a:pt x="160893" y="53780"/>
                </a:lnTo>
                <a:close/>
              </a:path>
            </a:pathLst>
          </a:custGeom>
          <a:solidFill>
            <a:srgbClr val="231F20"/>
          </a:solidFill>
          <a:ln w="4477" cap="flat">
            <a:noFill/>
            <a:prstDash val="solid"/>
            <a:miter/>
          </a:ln>
        </p:spPr>
        <p:txBody>
          <a:bodyPr rtlCol="0" anchor="ctr"/>
          <a:lstStyle/>
          <a:p>
            <a:endParaRPr lang="en-US"/>
          </a:p>
        </p:txBody>
      </p:sp>
      <p:sp>
        <p:nvSpPr>
          <p:cNvPr id="3782" name="Freeform: Shape 3781">
            <a:extLst>
              <a:ext uri="{FF2B5EF4-FFF2-40B4-BE49-F238E27FC236}">
                <a16:creationId xmlns:a16="http://schemas.microsoft.com/office/drawing/2014/main" id="{FB8EC22C-C0C0-4EC5-9C89-8AA5A6437864}"/>
              </a:ext>
              <a:ext uri="{C183D7F6-B498-43B3-948B-1728B52AA6E4}">
                <adec:decorative xmlns:adec="http://schemas.microsoft.com/office/drawing/2017/decorative" val="1"/>
              </a:ext>
            </a:extLst>
          </p:cNvPr>
          <p:cNvSpPr>
            <a:spLocks noChangeAspect="1"/>
          </p:cNvSpPr>
          <p:nvPr/>
        </p:nvSpPr>
        <p:spPr>
          <a:xfrm>
            <a:off x="4006083" y="3147277"/>
            <a:ext cx="138933" cy="107561"/>
          </a:xfrm>
          <a:custGeom>
            <a:avLst/>
            <a:gdLst>
              <a:gd name="connsiteX0" fmla="*/ 129969 w 138932"/>
              <a:gd name="connsiteY0" fmla="*/ 73500 h 107560"/>
              <a:gd name="connsiteX1" fmla="*/ 129969 w 138932"/>
              <a:gd name="connsiteY1" fmla="*/ 51988 h 107560"/>
              <a:gd name="connsiteX2" fmla="*/ 120110 w 138932"/>
              <a:gd name="connsiteY2" fmla="*/ 40335 h 107560"/>
              <a:gd name="connsiteX3" fmla="*/ 100838 w 138932"/>
              <a:gd name="connsiteY3" fmla="*/ 36302 h 107560"/>
              <a:gd name="connsiteX4" fmla="*/ 100838 w 138932"/>
              <a:gd name="connsiteY4" fmla="*/ 12549 h 107560"/>
              <a:gd name="connsiteX5" fmla="*/ 107113 w 138932"/>
              <a:gd name="connsiteY5" fmla="*/ 6274 h 107560"/>
              <a:gd name="connsiteX6" fmla="*/ 108457 w 138932"/>
              <a:gd name="connsiteY6" fmla="*/ 6274 h 107560"/>
              <a:gd name="connsiteX7" fmla="*/ 110698 w 138932"/>
              <a:gd name="connsiteY7" fmla="*/ 4034 h 107560"/>
              <a:gd name="connsiteX8" fmla="*/ 108457 w 138932"/>
              <a:gd name="connsiteY8" fmla="*/ 1793 h 107560"/>
              <a:gd name="connsiteX9" fmla="*/ 107113 w 138932"/>
              <a:gd name="connsiteY9" fmla="*/ 1793 h 107560"/>
              <a:gd name="connsiteX10" fmla="*/ 96357 w 138932"/>
              <a:gd name="connsiteY10" fmla="*/ 12549 h 107560"/>
              <a:gd name="connsiteX11" fmla="*/ 96357 w 138932"/>
              <a:gd name="connsiteY11" fmla="*/ 35406 h 107560"/>
              <a:gd name="connsiteX12" fmla="*/ 82015 w 138932"/>
              <a:gd name="connsiteY12" fmla="*/ 32717 h 107560"/>
              <a:gd name="connsiteX13" fmla="*/ 71707 w 138932"/>
              <a:gd name="connsiteY13" fmla="*/ 4482 h 107560"/>
              <a:gd name="connsiteX14" fmla="*/ 76189 w 138932"/>
              <a:gd name="connsiteY14" fmla="*/ 4482 h 107560"/>
              <a:gd name="connsiteX15" fmla="*/ 78430 w 138932"/>
              <a:gd name="connsiteY15" fmla="*/ 2241 h 107560"/>
              <a:gd name="connsiteX16" fmla="*/ 76189 w 138932"/>
              <a:gd name="connsiteY16" fmla="*/ 0 h 107560"/>
              <a:gd name="connsiteX17" fmla="*/ 68570 w 138932"/>
              <a:gd name="connsiteY17" fmla="*/ 0 h 107560"/>
              <a:gd name="connsiteX18" fmla="*/ 38991 w 138932"/>
              <a:gd name="connsiteY18" fmla="*/ 0 h 107560"/>
              <a:gd name="connsiteX19" fmla="*/ 34061 w 138932"/>
              <a:gd name="connsiteY19" fmla="*/ 0 h 107560"/>
              <a:gd name="connsiteX20" fmla="*/ 19271 w 138932"/>
              <a:gd name="connsiteY20" fmla="*/ 14790 h 107560"/>
              <a:gd name="connsiteX21" fmla="*/ 19271 w 138932"/>
              <a:gd name="connsiteY21" fmla="*/ 53332 h 107560"/>
              <a:gd name="connsiteX22" fmla="*/ 0 w 138932"/>
              <a:gd name="connsiteY22" fmla="*/ 80223 h 107560"/>
              <a:gd name="connsiteX23" fmla="*/ 28235 w 138932"/>
              <a:gd name="connsiteY23" fmla="*/ 108457 h 107560"/>
              <a:gd name="connsiteX24" fmla="*/ 56021 w 138932"/>
              <a:gd name="connsiteY24" fmla="*/ 86048 h 107560"/>
              <a:gd name="connsiteX25" fmla="*/ 100838 w 138932"/>
              <a:gd name="connsiteY25" fmla="*/ 86048 h 107560"/>
              <a:gd name="connsiteX26" fmla="*/ 100390 w 138932"/>
              <a:gd name="connsiteY26" fmla="*/ 89186 h 107560"/>
              <a:gd name="connsiteX27" fmla="*/ 119661 w 138932"/>
              <a:gd name="connsiteY27" fmla="*/ 108457 h 107560"/>
              <a:gd name="connsiteX28" fmla="*/ 138933 w 138932"/>
              <a:gd name="connsiteY28" fmla="*/ 89186 h 107560"/>
              <a:gd name="connsiteX29" fmla="*/ 129969 w 138932"/>
              <a:gd name="connsiteY29" fmla="*/ 73500 h 107560"/>
              <a:gd name="connsiteX30" fmla="*/ 24201 w 138932"/>
              <a:gd name="connsiteY30" fmla="*/ 14790 h 107560"/>
              <a:gd name="connsiteX31" fmla="*/ 34509 w 138932"/>
              <a:gd name="connsiteY31" fmla="*/ 4482 h 107560"/>
              <a:gd name="connsiteX32" fmla="*/ 39439 w 138932"/>
              <a:gd name="connsiteY32" fmla="*/ 4482 h 107560"/>
              <a:gd name="connsiteX33" fmla="*/ 67226 w 138932"/>
              <a:gd name="connsiteY33" fmla="*/ 4482 h 107560"/>
              <a:gd name="connsiteX34" fmla="*/ 78430 w 138932"/>
              <a:gd name="connsiteY34" fmla="*/ 35406 h 107560"/>
              <a:gd name="connsiteX35" fmla="*/ 78430 w 138932"/>
              <a:gd name="connsiteY35" fmla="*/ 59607 h 107560"/>
              <a:gd name="connsiteX36" fmla="*/ 47506 w 138932"/>
              <a:gd name="connsiteY36" fmla="*/ 59607 h 107560"/>
              <a:gd name="connsiteX37" fmla="*/ 28683 w 138932"/>
              <a:gd name="connsiteY37" fmla="*/ 52436 h 107560"/>
              <a:gd name="connsiteX38" fmla="*/ 24201 w 138932"/>
              <a:gd name="connsiteY38" fmla="*/ 52884 h 107560"/>
              <a:gd name="connsiteX39" fmla="*/ 24201 w 138932"/>
              <a:gd name="connsiteY39" fmla="*/ 14790 h 107560"/>
              <a:gd name="connsiteX40" fmla="*/ 28235 w 138932"/>
              <a:gd name="connsiteY40" fmla="*/ 104424 h 107560"/>
              <a:gd name="connsiteX41" fmla="*/ 4482 w 138932"/>
              <a:gd name="connsiteY41" fmla="*/ 80671 h 107560"/>
              <a:gd name="connsiteX42" fmla="*/ 28235 w 138932"/>
              <a:gd name="connsiteY42" fmla="*/ 56917 h 107560"/>
              <a:gd name="connsiteX43" fmla="*/ 51988 w 138932"/>
              <a:gd name="connsiteY43" fmla="*/ 80671 h 107560"/>
              <a:gd name="connsiteX44" fmla="*/ 51540 w 138932"/>
              <a:gd name="connsiteY44" fmla="*/ 84256 h 107560"/>
              <a:gd name="connsiteX45" fmla="*/ 51540 w 138932"/>
              <a:gd name="connsiteY45" fmla="*/ 84256 h 107560"/>
              <a:gd name="connsiteX46" fmla="*/ 51540 w 138932"/>
              <a:gd name="connsiteY46" fmla="*/ 84256 h 107560"/>
              <a:gd name="connsiteX47" fmla="*/ 28235 w 138932"/>
              <a:gd name="connsiteY47" fmla="*/ 104424 h 107560"/>
              <a:gd name="connsiteX48" fmla="*/ 51540 w 138932"/>
              <a:gd name="connsiteY48" fmla="*/ 63640 h 107560"/>
              <a:gd name="connsiteX49" fmla="*/ 78430 w 138932"/>
              <a:gd name="connsiteY49" fmla="*/ 63640 h 107560"/>
              <a:gd name="connsiteX50" fmla="*/ 78430 w 138932"/>
              <a:gd name="connsiteY50" fmla="*/ 82015 h 107560"/>
              <a:gd name="connsiteX51" fmla="*/ 56917 w 138932"/>
              <a:gd name="connsiteY51" fmla="*/ 82015 h 107560"/>
              <a:gd name="connsiteX52" fmla="*/ 56917 w 138932"/>
              <a:gd name="connsiteY52" fmla="*/ 80671 h 107560"/>
              <a:gd name="connsiteX53" fmla="*/ 51540 w 138932"/>
              <a:gd name="connsiteY53" fmla="*/ 63640 h 107560"/>
              <a:gd name="connsiteX54" fmla="*/ 82911 w 138932"/>
              <a:gd name="connsiteY54" fmla="*/ 82015 h 107560"/>
              <a:gd name="connsiteX55" fmla="*/ 82911 w 138932"/>
              <a:gd name="connsiteY55" fmla="*/ 37198 h 107560"/>
              <a:gd name="connsiteX56" fmla="*/ 119661 w 138932"/>
              <a:gd name="connsiteY56" fmla="*/ 44369 h 107560"/>
              <a:gd name="connsiteX57" fmla="*/ 125936 w 138932"/>
              <a:gd name="connsiteY57" fmla="*/ 51540 h 107560"/>
              <a:gd name="connsiteX58" fmla="*/ 125936 w 138932"/>
              <a:gd name="connsiteY58" fmla="*/ 71259 h 107560"/>
              <a:gd name="connsiteX59" fmla="*/ 120110 w 138932"/>
              <a:gd name="connsiteY59" fmla="*/ 70363 h 107560"/>
              <a:gd name="connsiteX60" fmla="*/ 102631 w 138932"/>
              <a:gd name="connsiteY60" fmla="*/ 82015 h 107560"/>
              <a:gd name="connsiteX61" fmla="*/ 82911 w 138932"/>
              <a:gd name="connsiteY61" fmla="*/ 82015 h 107560"/>
              <a:gd name="connsiteX62" fmla="*/ 119661 w 138932"/>
              <a:gd name="connsiteY62" fmla="*/ 104424 h 107560"/>
              <a:gd name="connsiteX63" fmla="*/ 104872 w 138932"/>
              <a:gd name="connsiteY63" fmla="*/ 89634 h 107560"/>
              <a:gd name="connsiteX64" fmla="*/ 119661 w 138932"/>
              <a:gd name="connsiteY64" fmla="*/ 74844 h 107560"/>
              <a:gd name="connsiteX65" fmla="*/ 134451 w 138932"/>
              <a:gd name="connsiteY65" fmla="*/ 89634 h 107560"/>
              <a:gd name="connsiteX66" fmla="*/ 119661 w 138932"/>
              <a:gd name="connsiteY66" fmla="*/ 104424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38932" h="107560">
                <a:moveTo>
                  <a:pt x="129969" y="73500"/>
                </a:moveTo>
                <a:lnTo>
                  <a:pt x="129969" y="51988"/>
                </a:lnTo>
                <a:cubicBezTo>
                  <a:pt x="129969" y="46162"/>
                  <a:pt x="125936" y="41231"/>
                  <a:pt x="120110" y="40335"/>
                </a:cubicBezTo>
                <a:lnTo>
                  <a:pt x="100838" y="36302"/>
                </a:lnTo>
                <a:lnTo>
                  <a:pt x="100838" y="12549"/>
                </a:lnTo>
                <a:cubicBezTo>
                  <a:pt x="100838" y="8963"/>
                  <a:pt x="103527" y="6274"/>
                  <a:pt x="107113" y="6274"/>
                </a:cubicBezTo>
                <a:lnTo>
                  <a:pt x="108457" y="6274"/>
                </a:lnTo>
                <a:cubicBezTo>
                  <a:pt x="109802" y="6274"/>
                  <a:pt x="110698" y="5378"/>
                  <a:pt x="110698" y="4034"/>
                </a:cubicBezTo>
                <a:cubicBezTo>
                  <a:pt x="110698" y="2689"/>
                  <a:pt x="109802" y="1793"/>
                  <a:pt x="108457" y="1793"/>
                </a:cubicBezTo>
                <a:lnTo>
                  <a:pt x="107113" y="1793"/>
                </a:lnTo>
                <a:cubicBezTo>
                  <a:pt x="101286" y="1793"/>
                  <a:pt x="96357" y="6723"/>
                  <a:pt x="96357" y="12549"/>
                </a:cubicBezTo>
                <a:lnTo>
                  <a:pt x="96357" y="35406"/>
                </a:lnTo>
                <a:lnTo>
                  <a:pt x="82015" y="32717"/>
                </a:lnTo>
                <a:lnTo>
                  <a:pt x="71707" y="4482"/>
                </a:lnTo>
                <a:lnTo>
                  <a:pt x="76189" y="4482"/>
                </a:lnTo>
                <a:cubicBezTo>
                  <a:pt x="77533" y="4482"/>
                  <a:pt x="78430" y="3586"/>
                  <a:pt x="78430" y="2241"/>
                </a:cubicBezTo>
                <a:cubicBezTo>
                  <a:pt x="78430" y="896"/>
                  <a:pt x="77533" y="0"/>
                  <a:pt x="76189" y="0"/>
                </a:cubicBezTo>
                <a:lnTo>
                  <a:pt x="68570" y="0"/>
                </a:lnTo>
                <a:lnTo>
                  <a:pt x="38991" y="0"/>
                </a:lnTo>
                <a:lnTo>
                  <a:pt x="34061" y="0"/>
                </a:lnTo>
                <a:cubicBezTo>
                  <a:pt x="25994" y="0"/>
                  <a:pt x="19271" y="6723"/>
                  <a:pt x="19271" y="14790"/>
                </a:cubicBezTo>
                <a:lnTo>
                  <a:pt x="19271" y="53332"/>
                </a:lnTo>
                <a:cubicBezTo>
                  <a:pt x="8067" y="56917"/>
                  <a:pt x="0" y="67674"/>
                  <a:pt x="0" y="80223"/>
                </a:cubicBezTo>
                <a:cubicBezTo>
                  <a:pt x="0" y="95909"/>
                  <a:pt x="12549" y="108457"/>
                  <a:pt x="28235" y="108457"/>
                </a:cubicBezTo>
                <a:cubicBezTo>
                  <a:pt x="41680" y="108457"/>
                  <a:pt x="53332" y="99046"/>
                  <a:pt x="56021" y="86048"/>
                </a:cubicBezTo>
                <a:lnTo>
                  <a:pt x="100838" y="86048"/>
                </a:lnTo>
                <a:cubicBezTo>
                  <a:pt x="100838" y="86945"/>
                  <a:pt x="100390" y="88289"/>
                  <a:pt x="100390" y="89186"/>
                </a:cubicBezTo>
                <a:cubicBezTo>
                  <a:pt x="100390" y="99942"/>
                  <a:pt x="108905" y="108457"/>
                  <a:pt x="119661" y="108457"/>
                </a:cubicBezTo>
                <a:cubicBezTo>
                  <a:pt x="130417" y="108457"/>
                  <a:pt x="138933" y="99942"/>
                  <a:pt x="138933" y="89186"/>
                </a:cubicBezTo>
                <a:cubicBezTo>
                  <a:pt x="138933" y="82912"/>
                  <a:pt x="135347" y="77085"/>
                  <a:pt x="129969" y="73500"/>
                </a:cubicBezTo>
                <a:close/>
                <a:moveTo>
                  <a:pt x="24201" y="14790"/>
                </a:moveTo>
                <a:cubicBezTo>
                  <a:pt x="24201" y="8963"/>
                  <a:pt x="28683" y="4482"/>
                  <a:pt x="34509" y="4482"/>
                </a:cubicBezTo>
                <a:lnTo>
                  <a:pt x="39439" y="4482"/>
                </a:lnTo>
                <a:lnTo>
                  <a:pt x="67226" y="4482"/>
                </a:lnTo>
                <a:lnTo>
                  <a:pt x="78430" y="35406"/>
                </a:lnTo>
                <a:lnTo>
                  <a:pt x="78430" y="59607"/>
                </a:lnTo>
                <a:lnTo>
                  <a:pt x="47506" y="59607"/>
                </a:lnTo>
                <a:cubicBezTo>
                  <a:pt x="42576" y="55125"/>
                  <a:pt x="35854" y="52436"/>
                  <a:pt x="28683" y="52436"/>
                </a:cubicBezTo>
                <a:cubicBezTo>
                  <a:pt x="27338" y="52436"/>
                  <a:pt x="25545" y="52436"/>
                  <a:pt x="24201" y="52884"/>
                </a:cubicBezTo>
                <a:lnTo>
                  <a:pt x="24201" y="14790"/>
                </a:lnTo>
                <a:close/>
                <a:moveTo>
                  <a:pt x="28235" y="104424"/>
                </a:moveTo>
                <a:cubicBezTo>
                  <a:pt x="15238" y="104424"/>
                  <a:pt x="4482" y="93668"/>
                  <a:pt x="4482" y="80671"/>
                </a:cubicBezTo>
                <a:cubicBezTo>
                  <a:pt x="4482" y="67674"/>
                  <a:pt x="15238" y="56917"/>
                  <a:pt x="28235" y="56917"/>
                </a:cubicBezTo>
                <a:cubicBezTo>
                  <a:pt x="41231" y="56917"/>
                  <a:pt x="51988" y="67674"/>
                  <a:pt x="51988" y="80671"/>
                </a:cubicBezTo>
                <a:cubicBezTo>
                  <a:pt x="51988" y="82015"/>
                  <a:pt x="51988" y="83360"/>
                  <a:pt x="51540" y="84256"/>
                </a:cubicBezTo>
                <a:cubicBezTo>
                  <a:pt x="51540" y="84256"/>
                  <a:pt x="51540" y="84256"/>
                  <a:pt x="51540" y="84256"/>
                </a:cubicBezTo>
                <a:cubicBezTo>
                  <a:pt x="51540" y="84256"/>
                  <a:pt x="51540" y="84256"/>
                  <a:pt x="51540" y="84256"/>
                </a:cubicBezTo>
                <a:cubicBezTo>
                  <a:pt x="50195" y="95460"/>
                  <a:pt x="40335" y="104424"/>
                  <a:pt x="28235" y="104424"/>
                </a:cubicBezTo>
                <a:close/>
                <a:moveTo>
                  <a:pt x="51540" y="63640"/>
                </a:moveTo>
                <a:lnTo>
                  <a:pt x="78430" y="63640"/>
                </a:lnTo>
                <a:lnTo>
                  <a:pt x="78430" y="82015"/>
                </a:lnTo>
                <a:lnTo>
                  <a:pt x="56917" y="82015"/>
                </a:lnTo>
                <a:cubicBezTo>
                  <a:pt x="56917" y="81567"/>
                  <a:pt x="56917" y="81119"/>
                  <a:pt x="56917" y="80671"/>
                </a:cubicBezTo>
                <a:cubicBezTo>
                  <a:pt x="56917" y="74396"/>
                  <a:pt x="54677" y="68570"/>
                  <a:pt x="51540" y="63640"/>
                </a:cubicBezTo>
                <a:close/>
                <a:moveTo>
                  <a:pt x="82911" y="82015"/>
                </a:moveTo>
                <a:lnTo>
                  <a:pt x="82911" y="37198"/>
                </a:lnTo>
                <a:lnTo>
                  <a:pt x="119661" y="44369"/>
                </a:lnTo>
                <a:cubicBezTo>
                  <a:pt x="123247" y="44817"/>
                  <a:pt x="125936" y="47954"/>
                  <a:pt x="125936" y="51540"/>
                </a:cubicBezTo>
                <a:lnTo>
                  <a:pt x="125936" y="71259"/>
                </a:lnTo>
                <a:cubicBezTo>
                  <a:pt x="124143" y="70811"/>
                  <a:pt x="121902" y="70363"/>
                  <a:pt x="120110" y="70363"/>
                </a:cubicBezTo>
                <a:cubicBezTo>
                  <a:pt x="112043" y="70363"/>
                  <a:pt x="105320" y="75293"/>
                  <a:pt x="102631" y="82015"/>
                </a:cubicBezTo>
                <a:lnTo>
                  <a:pt x="82911" y="82015"/>
                </a:lnTo>
                <a:close/>
                <a:moveTo>
                  <a:pt x="119661" y="104424"/>
                </a:moveTo>
                <a:cubicBezTo>
                  <a:pt x="111594" y="104424"/>
                  <a:pt x="104872" y="97701"/>
                  <a:pt x="104872" y="89634"/>
                </a:cubicBezTo>
                <a:cubicBezTo>
                  <a:pt x="104872" y="81567"/>
                  <a:pt x="111594" y="74844"/>
                  <a:pt x="119661" y="74844"/>
                </a:cubicBezTo>
                <a:cubicBezTo>
                  <a:pt x="127729" y="74844"/>
                  <a:pt x="134451" y="81567"/>
                  <a:pt x="134451" y="89634"/>
                </a:cubicBezTo>
                <a:cubicBezTo>
                  <a:pt x="134451" y="97701"/>
                  <a:pt x="127729" y="104424"/>
                  <a:pt x="119661" y="104424"/>
                </a:cubicBezTo>
                <a:close/>
              </a:path>
            </a:pathLst>
          </a:custGeom>
          <a:solidFill>
            <a:srgbClr val="231F20"/>
          </a:solidFill>
          <a:ln w="4477" cap="flat">
            <a:noFill/>
            <a:prstDash val="solid"/>
            <a:miter/>
          </a:ln>
        </p:spPr>
        <p:txBody>
          <a:bodyPr rtlCol="0" anchor="ctr"/>
          <a:lstStyle/>
          <a:p>
            <a:endParaRPr lang="en-US"/>
          </a:p>
        </p:txBody>
      </p:sp>
      <p:grpSp>
        <p:nvGrpSpPr>
          <p:cNvPr id="3783" name="Group 3782">
            <a:extLst>
              <a:ext uri="{FF2B5EF4-FFF2-40B4-BE49-F238E27FC236}">
                <a16:creationId xmlns:a16="http://schemas.microsoft.com/office/drawing/2014/main" id="{B090E940-351F-4541-ADAA-E74B5C50923F}"/>
              </a:ext>
              <a:ext uri="{C183D7F6-B498-43B3-948B-1728B52AA6E4}">
                <adec:decorative xmlns:adec="http://schemas.microsoft.com/office/drawing/2017/decorative" val="1"/>
              </a:ext>
            </a:extLst>
          </p:cNvPr>
          <p:cNvGrpSpPr>
            <a:grpSpLocks noChangeAspect="1"/>
          </p:cNvGrpSpPr>
          <p:nvPr/>
        </p:nvGrpSpPr>
        <p:grpSpPr>
          <a:xfrm>
            <a:off x="837968" y="2405108"/>
            <a:ext cx="152378" cy="152378"/>
            <a:chOff x="6739594" y="5251644"/>
            <a:chExt cx="152378" cy="152378"/>
          </a:xfrm>
        </p:grpSpPr>
        <p:sp>
          <p:nvSpPr>
            <p:cNvPr id="3784" name="Freeform: Shape 3783">
              <a:extLst>
                <a:ext uri="{FF2B5EF4-FFF2-40B4-BE49-F238E27FC236}">
                  <a16:creationId xmlns:a16="http://schemas.microsoft.com/office/drawing/2014/main" id="{D4E8F21E-6DB6-42EF-9A2A-8864B8732291}"/>
                </a:ext>
              </a:extLst>
            </p:cNvPr>
            <p:cNvSpPr/>
            <p:nvPr/>
          </p:nvSpPr>
          <p:spPr>
            <a:xfrm>
              <a:off x="6739594" y="5251644"/>
              <a:ext cx="152378" cy="152378"/>
            </a:xfrm>
            <a:custGeom>
              <a:avLst/>
              <a:gdLst>
                <a:gd name="connsiteX0" fmla="*/ 150585 w 152377"/>
                <a:gd name="connsiteY0" fmla="*/ 148344 h 152377"/>
                <a:gd name="connsiteX1" fmla="*/ 139381 w 152377"/>
                <a:gd name="connsiteY1" fmla="*/ 148344 h 152377"/>
                <a:gd name="connsiteX2" fmla="*/ 139381 w 152377"/>
                <a:gd name="connsiteY2" fmla="*/ 76637 h 152377"/>
                <a:gd name="connsiteX3" fmla="*/ 137140 w 152377"/>
                <a:gd name="connsiteY3" fmla="*/ 74396 h 152377"/>
                <a:gd name="connsiteX4" fmla="*/ 55125 w 152377"/>
                <a:gd name="connsiteY4" fmla="*/ 74396 h 152377"/>
                <a:gd name="connsiteX5" fmla="*/ 57814 w 152377"/>
                <a:gd name="connsiteY5" fmla="*/ 71707 h 152377"/>
                <a:gd name="connsiteX6" fmla="*/ 58262 w 152377"/>
                <a:gd name="connsiteY6" fmla="*/ 70811 h 152377"/>
                <a:gd name="connsiteX7" fmla="*/ 58262 w 152377"/>
                <a:gd name="connsiteY7" fmla="*/ 69914 h 152377"/>
                <a:gd name="connsiteX8" fmla="*/ 58262 w 152377"/>
                <a:gd name="connsiteY8" fmla="*/ 43024 h 152377"/>
                <a:gd name="connsiteX9" fmla="*/ 58262 w 152377"/>
                <a:gd name="connsiteY9" fmla="*/ 42128 h 152377"/>
                <a:gd name="connsiteX10" fmla="*/ 57814 w 152377"/>
                <a:gd name="connsiteY10" fmla="*/ 41231 h 152377"/>
                <a:gd name="connsiteX11" fmla="*/ 44817 w 152377"/>
                <a:gd name="connsiteY11" fmla="*/ 28235 h 152377"/>
                <a:gd name="connsiteX12" fmla="*/ 44817 w 152377"/>
                <a:gd name="connsiteY12" fmla="*/ 15686 h 152377"/>
                <a:gd name="connsiteX13" fmla="*/ 42576 w 152377"/>
                <a:gd name="connsiteY13" fmla="*/ 13445 h 152377"/>
                <a:gd name="connsiteX14" fmla="*/ 31372 w 152377"/>
                <a:gd name="connsiteY14" fmla="*/ 13445 h 152377"/>
                <a:gd name="connsiteX15" fmla="*/ 31372 w 152377"/>
                <a:gd name="connsiteY15" fmla="*/ 2241 h 152377"/>
                <a:gd name="connsiteX16" fmla="*/ 29131 w 152377"/>
                <a:gd name="connsiteY16" fmla="*/ 0 h 152377"/>
                <a:gd name="connsiteX17" fmla="*/ 26890 w 152377"/>
                <a:gd name="connsiteY17" fmla="*/ 2241 h 152377"/>
                <a:gd name="connsiteX18" fmla="*/ 26890 w 152377"/>
                <a:gd name="connsiteY18" fmla="*/ 13445 h 152377"/>
                <a:gd name="connsiteX19" fmla="*/ 15686 w 152377"/>
                <a:gd name="connsiteY19" fmla="*/ 13445 h 152377"/>
                <a:gd name="connsiteX20" fmla="*/ 13445 w 152377"/>
                <a:gd name="connsiteY20" fmla="*/ 15686 h 152377"/>
                <a:gd name="connsiteX21" fmla="*/ 13445 w 152377"/>
                <a:gd name="connsiteY21" fmla="*/ 28235 h 152377"/>
                <a:gd name="connsiteX22" fmla="*/ 448 w 152377"/>
                <a:gd name="connsiteY22" fmla="*/ 41231 h 152377"/>
                <a:gd name="connsiteX23" fmla="*/ 0 w 152377"/>
                <a:gd name="connsiteY23" fmla="*/ 42128 h 152377"/>
                <a:gd name="connsiteX24" fmla="*/ 0 w 152377"/>
                <a:gd name="connsiteY24" fmla="*/ 43024 h 152377"/>
                <a:gd name="connsiteX25" fmla="*/ 0 w 152377"/>
                <a:gd name="connsiteY25" fmla="*/ 69914 h 152377"/>
                <a:gd name="connsiteX26" fmla="*/ 0 w 152377"/>
                <a:gd name="connsiteY26" fmla="*/ 70811 h 152377"/>
                <a:gd name="connsiteX27" fmla="*/ 448 w 152377"/>
                <a:gd name="connsiteY27" fmla="*/ 71707 h 152377"/>
                <a:gd name="connsiteX28" fmla="*/ 13445 w 152377"/>
                <a:gd name="connsiteY28" fmla="*/ 84704 h 152377"/>
                <a:gd name="connsiteX29" fmla="*/ 13445 w 152377"/>
                <a:gd name="connsiteY29" fmla="*/ 148344 h 152377"/>
                <a:gd name="connsiteX30" fmla="*/ 2241 w 152377"/>
                <a:gd name="connsiteY30" fmla="*/ 148344 h 152377"/>
                <a:gd name="connsiteX31" fmla="*/ 0 w 152377"/>
                <a:gd name="connsiteY31" fmla="*/ 150585 h 152377"/>
                <a:gd name="connsiteX32" fmla="*/ 2241 w 152377"/>
                <a:gd name="connsiteY32" fmla="*/ 152826 h 152377"/>
                <a:gd name="connsiteX33" fmla="*/ 150137 w 152377"/>
                <a:gd name="connsiteY33" fmla="*/ 152826 h 152377"/>
                <a:gd name="connsiteX34" fmla="*/ 152378 w 152377"/>
                <a:gd name="connsiteY34" fmla="*/ 150585 h 152377"/>
                <a:gd name="connsiteX35" fmla="*/ 150585 w 152377"/>
                <a:gd name="connsiteY35" fmla="*/ 148344 h 152377"/>
                <a:gd name="connsiteX36" fmla="*/ 134899 w 152377"/>
                <a:gd name="connsiteY36" fmla="*/ 78878 h 152377"/>
                <a:gd name="connsiteX37" fmla="*/ 134899 w 152377"/>
                <a:gd name="connsiteY37" fmla="*/ 148344 h 152377"/>
                <a:gd name="connsiteX38" fmla="*/ 45265 w 152377"/>
                <a:gd name="connsiteY38" fmla="*/ 148344 h 152377"/>
                <a:gd name="connsiteX39" fmla="*/ 45265 w 152377"/>
                <a:gd name="connsiteY39" fmla="*/ 84256 h 152377"/>
                <a:gd name="connsiteX40" fmla="*/ 50643 w 152377"/>
                <a:gd name="connsiteY40" fmla="*/ 78878 h 152377"/>
                <a:gd name="connsiteX41" fmla="*/ 134899 w 152377"/>
                <a:gd name="connsiteY41" fmla="*/ 78878 h 152377"/>
                <a:gd name="connsiteX42" fmla="*/ 18375 w 152377"/>
                <a:gd name="connsiteY42" fmla="*/ 67674 h 152377"/>
                <a:gd name="connsiteX43" fmla="*/ 18375 w 152377"/>
                <a:gd name="connsiteY43" fmla="*/ 45265 h 152377"/>
                <a:gd name="connsiteX44" fmla="*/ 40783 w 152377"/>
                <a:gd name="connsiteY44" fmla="*/ 45265 h 152377"/>
                <a:gd name="connsiteX45" fmla="*/ 40783 w 152377"/>
                <a:gd name="connsiteY45" fmla="*/ 67674 h 152377"/>
                <a:gd name="connsiteX46" fmla="*/ 18375 w 152377"/>
                <a:gd name="connsiteY46" fmla="*/ 67674 h 152377"/>
                <a:gd name="connsiteX47" fmla="*/ 4930 w 152377"/>
                <a:gd name="connsiteY47" fmla="*/ 67674 h 152377"/>
                <a:gd name="connsiteX48" fmla="*/ 4930 w 152377"/>
                <a:gd name="connsiteY48" fmla="*/ 45265 h 152377"/>
                <a:gd name="connsiteX49" fmla="*/ 13893 w 152377"/>
                <a:gd name="connsiteY49" fmla="*/ 45265 h 152377"/>
                <a:gd name="connsiteX50" fmla="*/ 13893 w 152377"/>
                <a:gd name="connsiteY50" fmla="*/ 67674 h 152377"/>
                <a:gd name="connsiteX51" fmla="*/ 4930 w 152377"/>
                <a:gd name="connsiteY51" fmla="*/ 67674 h 152377"/>
                <a:gd name="connsiteX52" fmla="*/ 45265 w 152377"/>
                <a:gd name="connsiteY52" fmla="*/ 45265 h 152377"/>
                <a:gd name="connsiteX53" fmla="*/ 54229 w 152377"/>
                <a:gd name="connsiteY53" fmla="*/ 45265 h 152377"/>
                <a:gd name="connsiteX54" fmla="*/ 54229 w 152377"/>
                <a:gd name="connsiteY54" fmla="*/ 67674 h 152377"/>
                <a:gd name="connsiteX55" fmla="*/ 45265 w 152377"/>
                <a:gd name="connsiteY55" fmla="*/ 67674 h 152377"/>
                <a:gd name="connsiteX56" fmla="*/ 45265 w 152377"/>
                <a:gd name="connsiteY56" fmla="*/ 45265 h 152377"/>
                <a:gd name="connsiteX57" fmla="*/ 51091 w 152377"/>
                <a:gd name="connsiteY57" fmla="*/ 40783 h 152377"/>
                <a:gd name="connsiteX58" fmla="*/ 8067 w 152377"/>
                <a:gd name="connsiteY58" fmla="*/ 40783 h 152377"/>
                <a:gd name="connsiteX59" fmla="*/ 17030 w 152377"/>
                <a:gd name="connsiteY59" fmla="*/ 31820 h 152377"/>
                <a:gd name="connsiteX60" fmla="*/ 42128 w 152377"/>
                <a:gd name="connsiteY60" fmla="*/ 31820 h 152377"/>
                <a:gd name="connsiteX61" fmla="*/ 51091 w 152377"/>
                <a:gd name="connsiteY61" fmla="*/ 40783 h 152377"/>
                <a:gd name="connsiteX62" fmla="*/ 40783 w 152377"/>
                <a:gd name="connsiteY62" fmla="*/ 18375 h 152377"/>
                <a:gd name="connsiteX63" fmla="*/ 40783 w 152377"/>
                <a:gd name="connsiteY63" fmla="*/ 27338 h 152377"/>
                <a:gd name="connsiteX64" fmla="*/ 18375 w 152377"/>
                <a:gd name="connsiteY64" fmla="*/ 27338 h 152377"/>
                <a:gd name="connsiteX65" fmla="*/ 18375 w 152377"/>
                <a:gd name="connsiteY65" fmla="*/ 18375 h 152377"/>
                <a:gd name="connsiteX66" fmla="*/ 40783 w 152377"/>
                <a:gd name="connsiteY66" fmla="*/ 18375 h 152377"/>
                <a:gd name="connsiteX67" fmla="*/ 8067 w 152377"/>
                <a:gd name="connsiteY67" fmla="*/ 72155 h 152377"/>
                <a:gd name="connsiteX68" fmla="*/ 51091 w 152377"/>
                <a:gd name="connsiteY68" fmla="*/ 72155 h 152377"/>
                <a:gd name="connsiteX69" fmla="*/ 48402 w 152377"/>
                <a:gd name="connsiteY69" fmla="*/ 74844 h 152377"/>
                <a:gd name="connsiteX70" fmla="*/ 48402 w 152377"/>
                <a:gd name="connsiteY70" fmla="*/ 74844 h 152377"/>
                <a:gd name="connsiteX71" fmla="*/ 42128 w 152377"/>
                <a:gd name="connsiteY71" fmla="*/ 81119 h 152377"/>
                <a:gd name="connsiteX72" fmla="*/ 17030 w 152377"/>
                <a:gd name="connsiteY72" fmla="*/ 81119 h 152377"/>
                <a:gd name="connsiteX73" fmla="*/ 8067 w 152377"/>
                <a:gd name="connsiteY73" fmla="*/ 72155 h 152377"/>
                <a:gd name="connsiteX74" fmla="*/ 18375 w 152377"/>
                <a:gd name="connsiteY74" fmla="*/ 85600 h 152377"/>
                <a:gd name="connsiteX75" fmla="*/ 40783 w 152377"/>
                <a:gd name="connsiteY75" fmla="*/ 85600 h 152377"/>
                <a:gd name="connsiteX76" fmla="*/ 40783 w 152377"/>
                <a:gd name="connsiteY76" fmla="*/ 148344 h 152377"/>
                <a:gd name="connsiteX77" fmla="*/ 18375 w 152377"/>
                <a:gd name="connsiteY77" fmla="*/ 148344 h 152377"/>
                <a:gd name="connsiteX78" fmla="*/ 18375 w 152377"/>
                <a:gd name="connsiteY78" fmla="*/ 8560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52377" h="152377">
                  <a:moveTo>
                    <a:pt x="150585" y="148344"/>
                  </a:moveTo>
                  <a:lnTo>
                    <a:pt x="139381" y="148344"/>
                  </a:lnTo>
                  <a:lnTo>
                    <a:pt x="139381" y="76637"/>
                  </a:lnTo>
                  <a:cubicBezTo>
                    <a:pt x="139381" y="75293"/>
                    <a:pt x="138485" y="74396"/>
                    <a:pt x="137140" y="74396"/>
                  </a:cubicBezTo>
                  <a:lnTo>
                    <a:pt x="55125" y="74396"/>
                  </a:lnTo>
                  <a:lnTo>
                    <a:pt x="57814" y="71707"/>
                  </a:lnTo>
                  <a:cubicBezTo>
                    <a:pt x="57814" y="71707"/>
                    <a:pt x="58262" y="71259"/>
                    <a:pt x="58262" y="70811"/>
                  </a:cubicBezTo>
                  <a:cubicBezTo>
                    <a:pt x="58262" y="70363"/>
                    <a:pt x="58262" y="70363"/>
                    <a:pt x="58262" y="69914"/>
                  </a:cubicBezTo>
                  <a:lnTo>
                    <a:pt x="58262" y="43024"/>
                  </a:lnTo>
                  <a:cubicBezTo>
                    <a:pt x="58262" y="42576"/>
                    <a:pt x="58262" y="42576"/>
                    <a:pt x="58262" y="42128"/>
                  </a:cubicBezTo>
                  <a:cubicBezTo>
                    <a:pt x="58262" y="41680"/>
                    <a:pt x="57814" y="41680"/>
                    <a:pt x="57814" y="41231"/>
                  </a:cubicBezTo>
                  <a:lnTo>
                    <a:pt x="44817" y="28235"/>
                  </a:lnTo>
                  <a:lnTo>
                    <a:pt x="44817" y="15686"/>
                  </a:lnTo>
                  <a:cubicBezTo>
                    <a:pt x="44817" y="14341"/>
                    <a:pt x="43921" y="13445"/>
                    <a:pt x="42576" y="13445"/>
                  </a:cubicBezTo>
                  <a:lnTo>
                    <a:pt x="31372" y="13445"/>
                  </a:lnTo>
                  <a:lnTo>
                    <a:pt x="31372" y="2241"/>
                  </a:lnTo>
                  <a:cubicBezTo>
                    <a:pt x="31372" y="896"/>
                    <a:pt x="30476" y="0"/>
                    <a:pt x="29131" y="0"/>
                  </a:cubicBezTo>
                  <a:cubicBezTo>
                    <a:pt x="27787" y="0"/>
                    <a:pt x="26890" y="896"/>
                    <a:pt x="26890" y="2241"/>
                  </a:cubicBezTo>
                  <a:lnTo>
                    <a:pt x="26890" y="13445"/>
                  </a:lnTo>
                  <a:lnTo>
                    <a:pt x="15686" y="13445"/>
                  </a:lnTo>
                  <a:cubicBezTo>
                    <a:pt x="14341" y="13445"/>
                    <a:pt x="13445" y="14341"/>
                    <a:pt x="13445" y="15686"/>
                  </a:cubicBezTo>
                  <a:lnTo>
                    <a:pt x="13445" y="28235"/>
                  </a:lnTo>
                  <a:lnTo>
                    <a:pt x="448" y="41231"/>
                  </a:lnTo>
                  <a:cubicBezTo>
                    <a:pt x="448" y="41231"/>
                    <a:pt x="0" y="41680"/>
                    <a:pt x="0" y="42128"/>
                  </a:cubicBezTo>
                  <a:cubicBezTo>
                    <a:pt x="0" y="42576"/>
                    <a:pt x="0" y="42576"/>
                    <a:pt x="0" y="43024"/>
                  </a:cubicBezTo>
                  <a:lnTo>
                    <a:pt x="0" y="69914"/>
                  </a:lnTo>
                  <a:cubicBezTo>
                    <a:pt x="0" y="70363"/>
                    <a:pt x="0" y="70363"/>
                    <a:pt x="0" y="70811"/>
                  </a:cubicBezTo>
                  <a:cubicBezTo>
                    <a:pt x="0" y="71259"/>
                    <a:pt x="448" y="71259"/>
                    <a:pt x="448" y="71707"/>
                  </a:cubicBezTo>
                  <a:lnTo>
                    <a:pt x="13445" y="84704"/>
                  </a:lnTo>
                  <a:lnTo>
                    <a:pt x="13445" y="148344"/>
                  </a:lnTo>
                  <a:lnTo>
                    <a:pt x="2241" y="148344"/>
                  </a:lnTo>
                  <a:cubicBezTo>
                    <a:pt x="896" y="148344"/>
                    <a:pt x="0" y="149241"/>
                    <a:pt x="0" y="150585"/>
                  </a:cubicBezTo>
                  <a:cubicBezTo>
                    <a:pt x="0" y="151930"/>
                    <a:pt x="896" y="152826"/>
                    <a:pt x="2241" y="152826"/>
                  </a:cubicBezTo>
                  <a:lnTo>
                    <a:pt x="150137" y="152826"/>
                  </a:lnTo>
                  <a:cubicBezTo>
                    <a:pt x="151482" y="152826"/>
                    <a:pt x="152378" y="151930"/>
                    <a:pt x="152378" y="150585"/>
                  </a:cubicBezTo>
                  <a:cubicBezTo>
                    <a:pt x="152378" y="149241"/>
                    <a:pt x="151930" y="148344"/>
                    <a:pt x="150585" y="148344"/>
                  </a:cubicBezTo>
                  <a:close/>
                  <a:moveTo>
                    <a:pt x="134899" y="78878"/>
                  </a:moveTo>
                  <a:lnTo>
                    <a:pt x="134899" y="148344"/>
                  </a:lnTo>
                  <a:lnTo>
                    <a:pt x="45265" y="148344"/>
                  </a:lnTo>
                  <a:lnTo>
                    <a:pt x="45265" y="84256"/>
                  </a:lnTo>
                  <a:lnTo>
                    <a:pt x="50643" y="78878"/>
                  </a:lnTo>
                  <a:lnTo>
                    <a:pt x="134899" y="78878"/>
                  </a:lnTo>
                  <a:close/>
                  <a:moveTo>
                    <a:pt x="18375" y="67674"/>
                  </a:moveTo>
                  <a:lnTo>
                    <a:pt x="18375" y="45265"/>
                  </a:lnTo>
                  <a:lnTo>
                    <a:pt x="40783" y="45265"/>
                  </a:lnTo>
                  <a:lnTo>
                    <a:pt x="40783" y="67674"/>
                  </a:lnTo>
                  <a:lnTo>
                    <a:pt x="18375" y="67674"/>
                  </a:lnTo>
                  <a:close/>
                  <a:moveTo>
                    <a:pt x="4930" y="67674"/>
                  </a:moveTo>
                  <a:lnTo>
                    <a:pt x="4930" y="45265"/>
                  </a:lnTo>
                  <a:lnTo>
                    <a:pt x="13893" y="45265"/>
                  </a:lnTo>
                  <a:lnTo>
                    <a:pt x="13893" y="67674"/>
                  </a:lnTo>
                  <a:lnTo>
                    <a:pt x="4930" y="67674"/>
                  </a:lnTo>
                  <a:close/>
                  <a:moveTo>
                    <a:pt x="45265" y="45265"/>
                  </a:moveTo>
                  <a:lnTo>
                    <a:pt x="54229" y="45265"/>
                  </a:lnTo>
                  <a:lnTo>
                    <a:pt x="54229" y="67674"/>
                  </a:lnTo>
                  <a:lnTo>
                    <a:pt x="45265" y="67674"/>
                  </a:lnTo>
                  <a:lnTo>
                    <a:pt x="45265" y="45265"/>
                  </a:lnTo>
                  <a:close/>
                  <a:moveTo>
                    <a:pt x="51091" y="40783"/>
                  </a:moveTo>
                  <a:lnTo>
                    <a:pt x="8067" y="40783"/>
                  </a:lnTo>
                  <a:lnTo>
                    <a:pt x="17030" y="31820"/>
                  </a:lnTo>
                  <a:lnTo>
                    <a:pt x="42128" y="31820"/>
                  </a:lnTo>
                  <a:lnTo>
                    <a:pt x="51091" y="40783"/>
                  </a:lnTo>
                  <a:close/>
                  <a:moveTo>
                    <a:pt x="40783" y="18375"/>
                  </a:moveTo>
                  <a:lnTo>
                    <a:pt x="40783" y="27338"/>
                  </a:lnTo>
                  <a:lnTo>
                    <a:pt x="18375" y="27338"/>
                  </a:lnTo>
                  <a:lnTo>
                    <a:pt x="18375" y="18375"/>
                  </a:lnTo>
                  <a:lnTo>
                    <a:pt x="40783" y="18375"/>
                  </a:lnTo>
                  <a:close/>
                  <a:moveTo>
                    <a:pt x="8067" y="72155"/>
                  </a:moveTo>
                  <a:lnTo>
                    <a:pt x="51091" y="72155"/>
                  </a:lnTo>
                  <a:lnTo>
                    <a:pt x="48402" y="74844"/>
                  </a:lnTo>
                  <a:cubicBezTo>
                    <a:pt x="48402" y="74844"/>
                    <a:pt x="48402" y="74844"/>
                    <a:pt x="48402" y="74844"/>
                  </a:cubicBezTo>
                  <a:lnTo>
                    <a:pt x="42128" y="81119"/>
                  </a:lnTo>
                  <a:lnTo>
                    <a:pt x="17030" y="81119"/>
                  </a:lnTo>
                  <a:lnTo>
                    <a:pt x="8067" y="72155"/>
                  </a:lnTo>
                  <a:close/>
                  <a:moveTo>
                    <a:pt x="18375" y="85600"/>
                  </a:moveTo>
                  <a:lnTo>
                    <a:pt x="40783" y="85600"/>
                  </a:lnTo>
                  <a:lnTo>
                    <a:pt x="40783" y="148344"/>
                  </a:lnTo>
                  <a:lnTo>
                    <a:pt x="18375" y="148344"/>
                  </a:lnTo>
                  <a:lnTo>
                    <a:pt x="18375" y="85600"/>
                  </a:lnTo>
                  <a:close/>
                </a:path>
              </a:pathLst>
            </a:custGeom>
            <a:solidFill>
              <a:srgbClr val="231F20"/>
            </a:solidFill>
            <a:ln w="4477" cap="flat">
              <a:noFill/>
              <a:prstDash val="solid"/>
              <a:miter/>
            </a:ln>
          </p:spPr>
          <p:txBody>
            <a:bodyPr rtlCol="0" anchor="ctr"/>
            <a:lstStyle/>
            <a:p>
              <a:endParaRPr lang="en-US"/>
            </a:p>
          </p:txBody>
        </p:sp>
        <p:sp>
          <p:nvSpPr>
            <p:cNvPr id="3785" name="Freeform: Shape 3784">
              <a:extLst>
                <a:ext uri="{FF2B5EF4-FFF2-40B4-BE49-F238E27FC236}">
                  <a16:creationId xmlns:a16="http://schemas.microsoft.com/office/drawing/2014/main" id="{5A96D429-1CA4-47BA-AEED-249607B5830E}"/>
                </a:ext>
              </a:extLst>
            </p:cNvPr>
            <p:cNvSpPr/>
            <p:nvPr/>
          </p:nvSpPr>
          <p:spPr>
            <a:xfrm>
              <a:off x="6793823" y="5346207"/>
              <a:ext cx="71707" cy="31372"/>
            </a:xfrm>
            <a:custGeom>
              <a:avLst/>
              <a:gdLst>
                <a:gd name="connsiteX0" fmla="*/ 2241 w 71707"/>
                <a:gd name="connsiteY0" fmla="*/ 31372 h 31371"/>
                <a:gd name="connsiteX1" fmla="*/ 69466 w 71707"/>
                <a:gd name="connsiteY1" fmla="*/ 31372 h 31371"/>
                <a:gd name="connsiteX2" fmla="*/ 71707 w 71707"/>
                <a:gd name="connsiteY2" fmla="*/ 29131 h 31371"/>
                <a:gd name="connsiteX3" fmla="*/ 71707 w 71707"/>
                <a:gd name="connsiteY3" fmla="*/ 2241 h 31371"/>
                <a:gd name="connsiteX4" fmla="*/ 69466 w 71707"/>
                <a:gd name="connsiteY4" fmla="*/ 0 h 31371"/>
                <a:gd name="connsiteX5" fmla="*/ 2241 w 71707"/>
                <a:gd name="connsiteY5" fmla="*/ 0 h 31371"/>
                <a:gd name="connsiteX6" fmla="*/ 0 w 71707"/>
                <a:gd name="connsiteY6" fmla="*/ 2241 h 31371"/>
                <a:gd name="connsiteX7" fmla="*/ 0 w 71707"/>
                <a:gd name="connsiteY7" fmla="*/ 29131 h 31371"/>
                <a:gd name="connsiteX8" fmla="*/ 2241 w 71707"/>
                <a:gd name="connsiteY8" fmla="*/ 31372 h 31371"/>
                <a:gd name="connsiteX9" fmla="*/ 4482 w 71707"/>
                <a:gd name="connsiteY9" fmla="*/ 4482 h 31371"/>
                <a:gd name="connsiteX10" fmla="*/ 67226 w 71707"/>
                <a:gd name="connsiteY10" fmla="*/ 4482 h 31371"/>
                <a:gd name="connsiteX11" fmla="*/ 67226 w 71707"/>
                <a:gd name="connsiteY11" fmla="*/ 26890 h 31371"/>
                <a:gd name="connsiteX12" fmla="*/ 4482 w 71707"/>
                <a:gd name="connsiteY12" fmla="*/ 26890 h 31371"/>
                <a:gd name="connsiteX13" fmla="*/ 4482 w 71707"/>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707" h="31371">
                  <a:moveTo>
                    <a:pt x="2241" y="31372"/>
                  </a:moveTo>
                  <a:lnTo>
                    <a:pt x="69466" y="31372"/>
                  </a:lnTo>
                  <a:cubicBezTo>
                    <a:pt x="70811" y="31372"/>
                    <a:pt x="71707" y="30476"/>
                    <a:pt x="71707" y="29131"/>
                  </a:cubicBezTo>
                  <a:lnTo>
                    <a:pt x="71707" y="2241"/>
                  </a:lnTo>
                  <a:cubicBezTo>
                    <a:pt x="71707" y="896"/>
                    <a:pt x="70811" y="0"/>
                    <a:pt x="69466" y="0"/>
                  </a:cubicBezTo>
                  <a:lnTo>
                    <a:pt x="2241" y="0"/>
                  </a:lnTo>
                  <a:cubicBezTo>
                    <a:pt x="896" y="0"/>
                    <a:pt x="0" y="896"/>
                    <a:pt x="0" y="2241"/>
                  </a:cubicBezTo>
                  <a:lnTo>
                    <a:pt x="0" y="29131"/>
                  </a:lnTo>
                  <a:cubicBezTo>
                    <a:pt x="0" y="30476"/>
                    <a:pt x="896" y="31372"/>
                    <a:pt x="2241" y="31372"/>
                  </a:cubicBezTo>
                  <a:close/>
                  <a:moveTo>
                    <a:pt x="4482" y="4482"/>
                  </a:moveTo>
                  <a:lnTo>
                    <a:pt x="67226" y="4482"/>
                  </a:lnTo>
                  <a:lnTo>
                    <a:pt x="67226"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grpSp>
      <p:grpSp>
        <p:nvGrpSpPr>
          <p:cNvPr id="3786" name="Group 3785">
            <a:extLst>
              <a:ext uri="{FF2B5EF4-FFF2-40B4-BE49-F238E27FC236}">
                <a16:creationId xmlns:a16="http://schemas.microsoft.com/office/drawing/2014/main" id="{83918169-3357-4073-ABAD-11A7DBFD66C8}"/>
              </a:ext>
              <a:ext uri="{C183D7F6-B498-43B3-948B-1728B52AA6E4}">
                <adec:decorative xmlns:adec="http://schemas.microsoft.com/office/drawing/2017/decorative" val="1"/>
              </a:ext>
            </a:extLst>
          </p:cNvPr>
          <p:cNvGrpSpPr>
            <a:grpSpLocks noChangeAspect="1"/>
          </p:cNvGrpSpPr>
          <p:nvPr/>
        </p:nvGrpSpPr>
        <p:grpSpPr>
          <a:xfrm>
            <a:off x="2169033" y="2432110"/>
            <a:ext cx="152378" cy="125488"/>
            <a:chOff x="8070659" y="5278646"/>
            <a:chExt cx="152378" cy="125488"/>
          </a:xfrm>
        </p:grpSpPr>
        <p:sp>
          <p:nvSpPr>
            <p:cNvPr id="3787" name="Freeform: Shape 3786">
              <a:extLst>
                <a:ext uri="{FF2B5EF4-FFF2-40B4-BE49-F238E27FC236}">
                  <a16:creationId xmlns:a16="http://schemas.microsoft.com/office/drawing/2014/main" id="{99DC764A-6A45-4D15-A463-6A6161F2E662}"/>
                </a:ext>
              </a:extLst>
            </p:cNvPr>
            <p:cNvSpPr/>
            <p:nvPr/>
          </p:nvSpPr>
          <p:spPr>
            <a:xfrm>
              <a:off x="8070659" y="5278646"/>
              <a:ext cx="152378" cy="125488"/>
            </a:xfrm>
            <a:custGeom>
              <a:avLst/>
              <a:gdLst>
                <a:gd name="connsiteX0" fmla="*/ 150137 w 152377"/>
                <a:gd name="connsiteY0" fmla="*/ 121342 h 125487"/>
                <a:gd name="connsiteX1" fmla="*/ 138933 w 152377"/>
                <a:gd name="connsiteY1" fmla="*/ 121342 h 125487"/>
                <a:gd name="connsiteX2" fmla="*/ 138933 w 152377"/>
                <a:gd name="connsiteY2" fmla="*/ 57254 h 125487"/>
                <a:gd name="connsiteX3" fmla="*/ 142966 w 152377"/>
                <a:gd name="connsiteY3" fmla="*/ 58150 h 125487"/>
                <a:gd name="connsiteX4" fmla="*/ 143414 w 152377"/>
                <a:gd name="connsiteY4" fmla="*/ 58150 h 125487"/>
                <a:gd name="connsiteX5" fmla="*/ 145655 w 152377"/>
                <a:gd name="connsiteY5" fmla="*/ 56357 h 125487"/>
                <a:gd name="connsiteX6" fmla="*/ 144311 w 152377"/>
                <a:gd name="connsiteY6" fmla="*/ 53668 h 125487"/>
                <a:gd name="connsiteX7" fmla="*/ 99046 w 152377"/>
                <a:gd name="connsiteY7" fmla="*/ 40671 h 125487"/>
                <a:gd name="connsiteX8" fmla="*/ 99046 w 152377"/>
                <a:gd name="connsiteY8" fmla="*/ 19159 h 125487"/>
                <a:gd name="connsiteX9" fmla="*/ 102183 w 152377"/>
                <a:gd name="connsiteY9" fmla="*/ 21400 h 125487"/>
                <a:gd name="connsiteX10" fmla="*/ 103527 w 152377"/>
                <a:gd name="connsiteY10" fmla="*/ 21848 h 125487"/>
                <a:gd name="connsiteX11" fmla="*/ 105320 w 152377"/>
                <a:gd name="connsiteY11" fmla="*/ 20952 h 125487"/>
                <a:gd name="connsiteX12" fmla="*/ 104872 w 152377"/>
                <a:gd name="connsiteY12" fmla="*/ 17815 h 125487"/>
                <a:gd name="connsiteX13" fmla="*/ 77982 w 152377"/>
                <a:gd name="connsiteY13" fmla="*/ 336 h 125487"/>
                <a:gd name="connsiteX14" fmla="*/ 75741 w 152377"/>
                <a:gd name="connsiteY14" fmla="*/ 336 h 125487"/>
                <a:gd name="connsiteX15" fmla="*/ 48851 w 152377"/>
                <a:gd name="connsiteY15" fmla="*/ 17815 h 125487"/>
                <a:gd name="connsiteX16" fmla="*/ 48402 w 152377"/>
                <a:gd name="connsiteY16" fmla="*/ 20952 h 125487"/>
                <a:gd name="connsiteX17" fmla="*/ 51540 w 152377"/>
                <a:gd name="connsiteY17" fmla="*/ 21400 h 125487"/>
                <a:gd name="connsiteX18" fmla="*/ 54677 w 152377"/>
                <a:gd name="connsiteY18" fmla="*/ 19159 h 125487"/>
                <a:gd name="connsiteX19" fmla="*/ 54677 w 152377"/>
                <a:gd name="connsiteY19" fmla="*/ 40671 h 125487"/>
                <a:gd name="connsiteX20" fmla="*/ 9412 w 152377"/>
                <a:gd name="connsiteY20" fmla="*/ 53668 h 125487"/>
                <a:gd name="connsiteX21" fmla="*/ 8067 w 152377"/>
                <a:gd name="connsiteY21" fmla="*/ 56357 h 125487"/>
                <a:gd name="connsiteX22" fmla="*/ 10308 w 152377"/>
                <a:gd name="connsiteY22" fmla="*/ 58150 h 125487"/>
                <a:gd name="connsiteX23" fmla="*/ 10756 w 152377"/>
                <a:gd name="connsiteY23" fmla="*/ 58150 h 125487"/>
                <a:gd name="connsiteX24" fmla="*/ 14790 w 152377"/>
                <a:gd name="connsiteY24" fmla="*/ 57254 h 125487"/>
                <a:gd name="connsiteX25" fmla="*/ 14790 w 152377"/>
                <a:gd name="connsiteY25" fmla="*/ 121342 h 125487"/>
                <a:gd name="connsiteX26" fmla="*/ 2241 w 152377"/>
                <a:gd name="connsiteY26" fmla="*/ 121342 h 125487"/>
                <a:gd name="connsiteX27" fmla="*/ 0 w 152377"/>
                <a:gd name="connsiteY27" fmla="*/ 123583 h 125487"/>
                <a:gd name="connsiteX28" fmla="*/ 2241 w 152377"/>
                <a:gd name="connsiteY28" fmla="*/ 125824 h 125487"/>
                <a:gd name="connsiteX29" fmla="*/ 136692 w 152377"/>
                <a:gd name="connsiteY29" fmla="*/ 125824 h 125487"/>
                <a:gd name="connsiteX30" fmla="*/ 150137 w 152377"/>
                <a:gd name="connsiteY30" fmla="*/ 125824 h 125487"/>
                <a:gd name="connsiteX31" fmla="*/ 152378 w 152377"/>
                <a:gd name="connsiteY31" fmla="*/ 123583 h 125487"/>
                <a:gd name="connsiteX32" fmla="*/ 150137 w 152377"/>
                <a:gd name="connsiteY32" fmla="*/ 121342 h 125487"/>
                <a:gd name="connsiteX33" fmla="*/ 17927 w 152377"/>
                <a:gd name="connsiteY33" fmla="*/ 56357 h 125487"/>
                <a:gd name="connsiteX34" fmla="*/ 56469 w 152377"/>
                <a:gd name="connsiteY34" fmla="*/ 45153 h 125487"/>
                <a:gd name="connsiteX35" fmla="*/ 58262 w 152377"/>
                <a:gd name="connsiteY35" fmla="*/ 42912 h 125487"/>
                <a:gd name="connsiteX36" fmla="*/ 58262 w 152377"/>
                <a:gd name="connsiteY36" fmla="*/ 16918 h 125487"/>
                <a:gd name="connsiteX37" fmla="*/ 76189 w 152377"/>
                <a:gd name="connsiteY37" fmla="*/ 5266 h 125487"/>
                <a:gd name="connsiteX38" fmla="*/ 94116 w 152377"/>
                <a:gd name="connsiteY38" fmla="*/ 16918 h 125487"/>
                <a:gd name="connsiteX39" fmla="*/ 94116 w 152377"/>
                <a:gd name="connsiteY39" fmla="*/ 42912 h 125487"/>
                <a:gd name="connsiteX40" fmla="*/ 95908 w 152377"/>
                <a:gd name="connsiteY40" fmla="*/ 45153 h 125487"/>
                <a:gd name="connsiteX41" fmla="*/ 134899 w 152377"/>
                <a:gd name="connsiteY41" fmla="*/ 56357 h 125487"/>
                <a:gd name="connsiteX42" fmla="*/ 134899 w 152377"/>
                <a:gd name="connsiteY42" fmla="*/ 57254 h 125487"/>
                <a:gd name="connsiteX43" fmla="*/ 134899 w 152377"/>
                <a:gd name="connsiteY43" fmla="*/ 121342 h 125487"/>
                <a:gd name="connsiteX44" fmla="*/ 100838 w 152377"/>
                <a:gd name="connsiteY44" fmla="*/ 121342 h 125487"/>
                <a:gd name="connsiteX45" fmla="*/ 100838 w 152377"/>
                <a:gd name="connsiteY45" fmla="*/ 69802 h 125487"/>
                <a:gd name="connsiteX46" fmla="*/ 98597 w 152377"/>
                <a:gd name="connsiteY46" fmla="*/ 67562 h 125487"/>
                <a:gd name="connsiteX47" fmla="*/ 53780 w 152377"/>
                <a:gd name="connsiteY47" fmla="*/ 67562 h 125487"/>
                <a:gd name="connsiteX48" fmla="*/ 51540 w 152377"/>
                <a:gd name="connsiteY48" fmla="*/ 69802 h 125487"/>
                <a:gd name="connsiteX49" fmla="*/ 51540 w 152377"/>
                <a:gd name="connsiteY49" fmla="*/ 121342 h 125487"/>
                <a:gd name="connsiteX50" fmla="*/ 17927 w 152377"/>
                <a:gd name="connsiteY50" fmla="*/ 121342 h 125487"/>
                <a:gd name="connsiteX51" fmla="*/ 17927 w 152377"/>
                <a:gd name="connsiteY51" fmla="*/ 56357 h 125487"/>
                <a:gd name="connsiteX52" fmla="*/ 17927 w 152377"/>
                <a:gd name="connsiteY52" fmla="*/ 56357 h 125487"/>
                <a:gd name="connsiteX53" fmla="*/ 78430 w 152377"/>
                <a:gd name="connsiteY53" fmla="*/ 72043 h 125487"/>
                <a:gd name="connsiteX54" fmla="*/ 96357 w 152377"/>
                <a:gd name="connsiteY54" fmla="*/ 72043 h 125487"/>
                <a:gd name="connsiteX55" fmla="*/ 96357 w 152377"/>
                <a:gd name="connsiteY55" fmla="*/ 121342 h 125487"/>
                <a:gd name="connsiteX56" fmla="*/ 78430 w 152377"/>
                <a:gd name="connsiteY56" fmla="*/ 121342 h 125487"/>
                <a:gd name="connsiteX57" fmla="*/ 78430 w 152377"/>
                <a:gd name="connsiteY57" fmla="*/ 72043 h 125487"/>
                <a:gd name="connsiteX58" fmla="*/ 73948 w 152377"/>
                <a:gd name="connsiteY58" fmla="*/ 121342 h 125487"/>
                <a:gd name="connsiteX59" fmla="*/ 56021 w 152377"/>
                <a:gd name="connsiteY59" fmla="*/ 121342 h 125487"/>
                <a:gd name="connsiteX60" fmla="*/ 56021 w 152377"/>
                <a:gd name="connsiteY60" fmla="*/ 72043 h 125487"/>
                <a:gd name="connsiteX61" fmla="*/ 73948 w 152377"/>
                <a:gd name="connsiteY61" fmla="*/ 72043 h 125487"/>
                <a:gd name="connsiteX62" fmla="*/ 73948 w 152377"/>
                <a:gd name="connsiteY62" fmla="*/ 121342 h 1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52377" h="125487">
                  <a:moveTo>
                    <a:pt x="150137" y="121342"/>
                  </a:moveTo>
                  <a:lnTo>
                    <a:pt x="138933" y="121342"/>
                  </a:lnTo>
                  <a:lnTo>
                    <a:pt x="138933" y="57254"/>
                  </a:lnTo>
                  <a:lnTo>
                    <a:pt x="142966" y="58150"/>
                  </a:lnTo>
                  <a:cubicBezTo>
                    <a:pt x="142966" y="58150"/>
                    <a:pt x="143414" y="58150"/>
                    <a:pt x="143414" y="58150"/>
                  </a:cubicBezTo>
                  <a:cubicBezTo>
                    <a:pt x="144311" y="58150"/>
                    <a:pt x="145207" y="57702"/>
                    <a:pt x="145655" y="56357"/>
                  </a:cubicBezTo>
                  <a:cubicBezTo>
                    <a:pt x="146104" y="55013"/>
                    <a:pt x="145207" y="54116"/>
                    <a:pt x="144311" y="53668"/>
                  </a:cubicBezTo>
                  <a:lnTo>
                    <a:pt x="99046" y="40671"/>
                  </a:lnTo>
                  <a:lnTo>
                    <a:pt x="99046" y="19159"/>
                  </a:lnTo>
                  <a:lnTo>
                    <a:pt x="102183" y="21400"/>
                  </a:lnTo>
                  <a:cubicBezTo>
                    <a:pt x="102631" y="21848"/>
                    <a:pt x="103079" y="21848"/>
                    <a:pt x="103527" y="21848"/>
                  </a:cubicBezTo>
                  <a:cubicBezTo>
                    <a:pt x="104424" y="21848"/>
                    <a:pt x="104872" y="21400"/>
                    <a:pt x="105320" y="20952"/>
                  </a:cubicBezTo>
                  <a:cubicBezTo>
                    <a:pt x="106216" y="20056"/>
                    <a:pt x="105768" y="18711"/>
                    <a:pt x="104872" y="17815"/>
                  </a:cubicBezTo>
                  <a:lnTo>
                    <a:pt x="77982" y="336"/>
                  </a:lnTo>
                  <a:cubicBezTo>
                    <a:pt x="77085" y="-112"/>
                    <a:pt x="76189" y="-112"/>
                    <a:pt x="75741" y="336"/>
                  </a:cubicBezTo>
                  <a:lnTo>
                    <a:pt x="48851" y="17815"/>
                  </a:lnTo>
                  <a:cubicBezTo>
                    <a:pt x="47954" y="18711"/>
                    <a:pt x="47506" y="20056"/>
                    <a:pt x="48402" y="20952"/>
                  </a:cubicBezTo>
                  <a:cubicBezTo>
                    <a:pt x="48851" y="21848"/>
                    <a:pt x="50643" y="22297"/>
                    <a:pt x="51540" y="21400"/>
                  </a:cubicBezTo>
                  <a:lnTo>
                    <a:pt x="54677" y="19159"/>
                  </a:lnTo>
                  <a:lnTo>
                    <a:pt x="54677" y="40671"/>
                  </a:lnTo>
                  <a:lnTo>
                    <a:pt x="9412" y="53668"/>
                  </a:lnTo>
                  <a:cubicBezTo>
                    <a:pt x="8067" y="54116"/>
                    <a:pt x="7619" y="55461"/>
                    <a:pt x="8067" y="56357"/>
                  </a:cubicBezTo>
                  <a:cubicBezTo>
                    <a:pt x="8515" y="57254"/>
                    <a:pt x="9412" y="58150"/>
                    <a:pt x="10308" y="58150"/>
                  </a:cubicBezTo>
                  <a:cubicBezTo>
                    <a:pt x="10308" y="58150"/>
                    <a:pt x="10756" y="58150"/>
                    <a:pt x="10756" y="58150"/>
                  </a:cubicBezTo>
                  <a:lnTo>
                    <a:pt x="14790" y="57254"/>
                  </a:lnTo>
                  <a:lnTo>
                    <a:pt x="14790" y="121342"/>
                  </a:lnTo>
                  <a:lnTo>
                    <a:pt x="2241" y="121342"/>
                  </a:lnTo>
                  <a:cubicBezTo>
                    <a:pt x="896" y="121342"/>
                    <a:pt x="0" y="122238"/>
                    <a:pt x="0" y="123583"/>
                  </a:cubicBezTo>
                  <a:cubicBezTo>
                    <a:pt x="0" y="124927"/>
                    <a:pt x="896" y="125824"/>
                    <a:pt x="2241" y="125824"/>
                  </a:cubicBezTo>
                  <a:lnTo>
                    <a:pt x="136692" y="125824"/>
                  </a:lnTo>
                  <a:lnTo>
                    <a:pt x="150137" y="125824"/>
                  </a:lnTo>
                  <a:cubicBezTo>
                    <a:pt x="151481" y="125824"/>
                    <a:pt x="152378" y="124927"/>
                    <a:pt x="152378" y="123583"/>
                  </a:cubicBezTo>
                  <a:cubicBezTo>
                    <a:pt x="152378" y="122238"/>
                    <a:pt x="151481" y="121342"/>
                    <a:pt x="150137" y="121342"/>
                  </a:cubicBezTo>
                  <a:close/>
                  <a:moveTo>
                    <a:pt x="17927" y="56357"/>
                  </a:moveTo>
                  <a:lnTo>
                    <a:pt x="56469" y="45153"/>
                  </a:lnTo>
                  <a:cubicBezTo>
                    <a:pt x="57366" y="44705"/>
                    <a:pt x="58262" y="43809"/>
                    <a:pt x="58262" y="42912"/>
                  </a:cubicBezTo>
                  <a:lnTo>
                    <a:pt x="58262" y="16918"/>
                  </a:lnTo>
                  <a:lnTo>
                    <a:pt x="76189" y="5266"/>
                  </a:lnTo>
                  <a:lnTo>
                    <a:pt x="94116" y="16918"/>
                  </a:lnTo>
                  <a:lnTo>
                    <a:pt x="94116" y="42912"/>
                  </a:lnTo>
                  <a:cubicBezTo>
                    <a:pt x="94116" y="43809"/>
                    <a:pt x="94564" y="44705"/>
                    <a:pt x="95908" y="45153"/>
                  </a:cubicBezTo>
                  <a:lnTo>
                    <a:pt x="134899" y="56357"/>
                  </a:lnTo>
                  <a:cubicBezTo>
                    <a:pt x="134899" y="56805"/>
                    <a:pt x="134899" y="56805"/>
                    <a:pt x="134899" y="57254"/>
                  </a:cubicBezTo>
                  <a:lnTo>
                    <a:pt x="134899" y="121342"/>
                  </a:lnTo>
                  <a:lnTo>
                    <a:pt x="100838" y="121342"/>
                  </a:lnTo>
                  <a:lnTo>
                    <a:pt x="100838" y="69802"/>
                  </a:lnTo>
                  <a:cubicBezTo>
                    <a:pt x="100838" y="68458"/>
                    <a:pt x="99942" y="67562"/>
                    <a:pt x="98597" y="67562"/>
                  </a:cubicBezTo>
                  <a:lnTo>
                    <a:pt x="53780" y="67562"/>
                  </a:lnTo>
                  <a:cubicBezTo>
                    <a:pt x="52436" y="67562"/>
                    <a:pt x="51540" y="68458"/>
                    <a:pt x="51540" y="69802"/>
                  </a:cubicBezTo>
                  <a:lnTo>
                    <a:pt x="51540" y="121342"/>
                  </a:lnTo>
                  <a:lnTo>
                    <a:pt x="17927" y="121342"/>
                  </a:lnTo>
                  <a:lnTo>
                    <a:pt x="17927" y="56357"/>
                  </a:lnTo>
                  <a:cubicBezTo>
                    <a:pt x="17927" y="56357"/>
                    <a:pt x="17927" y="56357"/>
                    <a:pt x="17927" y="56357"/>
                  </a:cubicBezTo>
                  <a:close/>
                  <a:moveTo>
                    <a:pt x="78430" y="72043"/>
                  </a:moveTo>
                  <a:lnTo>
                    <a:pt x="96357" y="72043"/>
                  </a:lnTo>
                  <a:lnTo>
                    <a:pt x="96357" y="121342"/>
                  </a:lnTo>
                  <a:lnTo>
                    <a:pt x="78430" y="121342"/>
                  </a:lnTo>
                  <a:lnTo>
                    <a:pt x="78430" y="72043"/>
                  </a:lnTo>
                  <a:close/>
                  <a:moveTo>
                    <a:pt x="73948" y="121342"/>
                  </a:moveTo>
                  <a:lnTo>
                    <a:pt x="56021" y="121342"/>
                  </a:lnTo>
                  <a:lnTo>
                    <a:pt x="56021" y="72043"/>
                  </a:lnTo>
                  <a:lnTo>
                    <a:pt x="73948" y="72043"/>
                  </a:lnTo>
                  <a:lnTo>
                    <a:pt x="73948" y="121342"/>
                  </a:lnTo>
                  <a:close/>
                </a:path>
              </a:pathLst>
            </a:custGeom>
            <a:solidFill>
              <a:srgbClr val="231F20"/>
            </a:solidFill>
            <a:ln w="4477" cap="flat">
              <a:noFill/>
              <a:prstDash val="solid"/>
              <a:miter/>
            </a:ln>
          </p:spPr>
          <p:txBody>
            <a:bodyPr rtlCol="0" anchor="ctr"/>
            <a:lstStyle/>
            <a:p>
              <a:endParaRPr lang="en-US"/>
            </a:p>
          </p:txBody>
        </p:sp>
        <p:sp>
          <p:nvSpPr>
            <p:cNvPr id="3788" name="Freeform: Shape 3787">
              <a:extLst>
                <a:ext uri="{FF2B5EF4-FFF2-40B4-BE49-F238E27FC236}">
                  <a16:creationId xmlns:a16="http://schemas.microsoft.com/office/drawing/2014/main" id="{E4EB23C0-8A84-4EC7-A5EB-200623AECA8E}"/>
                </a:ext>
              </a:extLst>
            </p:cNvPr>
            <p:cNvSpPr/>
            <p:nvPr/>
          </p:nvSpPr>
          <p:spPr>
            <a:xfrm>
              <a:off x="8137885" y="5292427"/>
              <a:ext cx="17927" cy="17927"/>
            </a:xfrm>
            <a:custGeom>
              <a:avLst/>
              <a:gdLst>
                <a:gd name="connsiteX0" fmla="*/ 2241 w 17926"/>
                <a:gd name="connsiteY0" fmla="*/ 17927 h 17926"/>
                <a:gd name="connsiteX1" fmla="*/ 15686 w 17926"/>
                <a:gd name="connsiteY1" fmla="*/ 17927 h 17926"/>
                <a:gd name="connsiteX2" fmla="*/ 17927 w 17926"/>
                <a:gd name="connsiteY2" fmla="*/ 15686 h 17926"/>
                <a:gd name="connsiteX3" fmla="*/ 17927 w 17926"/>
                <a:gd name="connsiteY3" fmla="*/ 2241 h 17926"/>
                <a:gd name="connsiteX4" fmla="*/ 15686 w 17926"/>
                <a:gd name="connsiteY4" fmla="*/ 0 h 17926"/>
                <a:gd name="connsiteX5" fmla="*/ 2241 w 17926"/>
                <a:gd name="connsiteY5" fmla="*/ 0 h 17926"/>
                <a:gd name="connsiteX6" fmla="*/ 0 w 17926"/>
                <a:gd name="connsiteY6" fmla="*/ 2241 h 17926"/>
                <a:gd name="connsiteX7" fmla="*/ 0 w 17926"/>
                <a:gd name="connsiteY7" fmla="*/ 15686 h 17926"/>
                <a:gd name="connsiteX8" fmla="*/ 2241 w 17926"/>
                <a:gd name="connsiteY8" fmla="*/ 17927 h 17926"/>
                <a:gd name="connsiteX9" fmla="*/ 4482 w 17926"/>
                <a:gd name="connsiteY9" fmla="*/ 4482 h 17926"/>
                <a:gd name="connsiteX10" fmla="*/ 13445 w 17926"/>
                <a:gd name="connsiteY10" fmla="*/ 4482 h 17926"/>
                <a:gd name="connsiteX11" fmla="*/ 13445 w 17926"/>
                <a:gd name="connsiteY11" fmla="*/ 13445 h 17926"/>
                <a:gd name="connsiteX12" fmla="*/ 4482 w 17926"/>
                <a:gd name="connsiteY12" fmla="*/ 13445 h 17926"/>
                <a:gd name="connsiteX13" fmla="*/ 4482 w 17926"/>
                <a:gd name="connsiteY13" fmla="*/ 4482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17926">
                  <a:moveTo>
                    <a:pt x="2241" y="17927"/>
                  </a:moveTo>
                  <a:lnTo>
                    <a:pt x="15686" y="17927"/>
                  </a:lnTo>
                  <a:cubicBezTo>
                    <a:pt x="17030" y="17927"/>
                    <a:pt x="17927" y="17030"/>
                    <a:pt x="17927" y="15686"/>
                  </a:cubicBezTo>
                  <a:lnTo>
                    <a:pt x="17927" y="2241"/>
                  </a:lnTo>
                  <a:cubicBezTo>
                    <a:pt x="17927" y="896"/>
                    <a:pt x="17030" y="0"/>
                    <a:pt x="15686" y="0"/>
                  </a:cubicBezTo>
                  <a:lnTo>
                    <a:pt x="2241" y="0"/>
                  </a:lnTo>
                  <a:cubicBezTo>
                    <a:pt x="896" y="0"/>
                    <a:pt x="0" y="896"/>
                    <a:pt x="0" y="2241"/>
                  </a:cubicBezTo>
                  <a:lnTo>
                    <a:pt x="0" y="15686"/>
                  </a:lnTo>
                  <a:cubicBezTo>
                    <a:pt x="0" y="17030"/>
                    <a:pt x="1344" y="17927"/>
                    <a:pt x="2241" y="17927"/>
                  </a:cubicBezTo>
                  <a:close/>
                  <a:moveTo>
                    <a:pt x="4482" y="4482"/>
                  </a:moveTo>
                  <a:lnTo>
                    <a:pt x="13445" y="4482"/>
                  </a:lnTo>
                  <a:lnTo>
                    <a:pt x="13445" y="13445"/>
                  </a:lnTo>
                  <a:lnTo>
                    <a:pt x="4482" y="13445"/>
                  </a:lnTo>
                  <a:lnTo>
                    <a:pt x="4482" y="4482"/>
                  </a:lnTo>
                  <a:close/>
                </a:path>
              </a:pathLst>
            </a:custGeom>
            <a:solidFill>
              <a:srgbClr val="231F20"/>
            </a:solidFill>
            <a:ln w="4477" cap="flat">
              <a:noFill/>
              <a:prstDash val="solid"/>
              <a:miter/>
            </a:ln>
          </p:spPr>
          <p:txBody>
            <a:bodyPr rtlCol="0" anchor="ctr"/>
            <a:lstStyle/>
            <a:p>
              <a:endParaRPr lang="en-US"/>
            </a:p>
          </p:txBody>
        </p:sp>
        <p:sp>
          <p:nvSpPr>
            <p:cNvPr id="3789" name="Freeform: Shape 3788">
              <a:extLst>
                <a:ext uri="{FF2B5EF4-FFF2-40B4-BE49-F238E27FC236}">
                  <a16:creationId xmlns:a16="http://schemas.microsoft.com/office/drawing/2014/main" id="{29212D5C-3D24-4266-9201-5CA8828BE9F3}"/>
                </a:ext>
              </a:extLst>
            </p:cNvPr>
            <p:cNvSpPr/>
            <p:nvPr/>
          </p:nvSpPr>
          <p:spPr>
            <a:xfrm>
              <a:off x="8093068" y="5346207"/>
              <a:ext cx="22409" cy="22409"/>
            </a:xfrm>
            <a:custGeom>
              <a:avLst/>
              <a:gdLst>
                <a:gd name="connsiteX0" fmla="*/ 2241 w 22408"/>
                <a:gd name="connsiteY0" fmla="*/ 24649 h 22408"/>
                <a:gd name="connsiteX1" fmla="*/ 22409 w 22408"/>
                <a:gd name="connsiteY1" fmla="*/ 24649 h 22408"/>
                <a:gd name="connsiteX2" fmla="*/ 24649 w 22408"/>
                <a:gd name="connsiteY2" fmla="*/ 22409 h 22408"/>
                <a:gd name="connsiteX3" fmla="*/ 24649 w 22408"/>
                <a:gd name="connsiteY3" fmla="*/ 2241 h 22408"/>
                <a:gd name="connsiteX4" fmla="*/ 22409 w 22408"/>
                <a:gd name="connsiteY4" fmla="*/ 0 h 22408"/>
                <a:gd name="connsiteX5" fmla="*/ 2241 w 22408"/>
                <a:gd name="connsiteY5" fmla="*/ 0 h 22408"/>
                <a:gd name="connsiteX6" fmla="*/ 0 w 22408"/>
                <a:gd name="connsiteY6" fmla="*/ 2241 h 22408"/>
                <a:gd name="connsiteX7" fmla="*/ 0 w 22408"/>
                <a:gd name="connsiteY7" fmla="*/ 22409 h 22408"/>
                <a:gd name="connsiteX8" fmla="*/ 2241 w 22408"/>
                <a:gd name="connsiteY8" fmla="*/ 24649 h 22408"/>
                <a:gd name="connsiteX9" fmla="*/ 4482 w 22408"/>
                <a:gd name="connsiteY9" fmla="*/ 4482 h 22408"/>
                <a:gd name="connsiteX10" fmla="*/ 20168 w 22408"/>
                <a:gd name="connsiteY10" fmla="*/ 4482 h 22408"/>
                <a:gd name="connsiteX11" fmla="*/ 20168 w 22408"/>
                <a:gd name="connsiteY11" fmla="*/ 20168 h 22408"/>
                <a:gd name="connsiteX12" fmla="*/ 4482 w 22408"/>
                <a:gd name="connsiteY12" fmla="*/ 20168 h 22408"/>
                <a:gd name="connsiteX13" fmla="*/ 4482 w 22408"/>
                <a:gd name="connsiteY13" fmla="*/ 448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22408">
                  <a:moveTo>
                    <a:pt x="2241" y="24649"/>
                  </a:moveTo>
                  <a:lnTo>
                    <a:pt x="22409" y="24649"/>
                  </a:lnTo>
                  <a:cubicBezTo>
                    <a:pt x="23753" y="24649"/>
                    <a:pt x="24649" y="23753"/>
                    <a:pt x="24649" y="22409"/>
                  </a:cubicBezTo>
                  <a:lnTo>
                    <a:pt x="24649" y="2241"/>
                  </a:lnTo>
                  <a:cubicBezTo>
                    <a:pt x="24649" y="896"/>
                    <a:pt x="23753" y="0"/>
                    <a:pt x="22409" y="0"/>
                  </a:cubicBezTo>
                  <a:lnTo>
                    <a:pt x="2241" y="0"/>
                  </a:lnTo>
                  <a:cubicBezTo>
                    <a:pt x="896" y="0"/>
                    <a:pt x="0" y="896"/>
                    <a:pt x="0" y="2241"/>
                  </a:cubicBezTo>
                  <a:lnTo>
                    <a:pt x="0" y="22409"/>
                  </a:lnTo>
                  <a:cubicBezTo>
                    <a:pt x="0" y="23753"/>
                    <a:pt x="896" y="24649"/>
                    <a:pt x="2241" y="24649"/>
                  </a:cubicBezTo>
                  <a:close/>
                  <a:moveTo>
                    <a:pt x="4482" y="4482"/>
                  </a:moveTo>
                  <a:lnTo>
                    <a:pt x="20168" y="4482"/>
                  </a:lnTo>
                  <a:lnTo>
                    <a:pt x="20168" y="20168"/>
                  </a:lnTo>
                  <a:lnTo>
                    <a:pt x="4482" y="20168"/>
                  </a:lnTo>
                  <a:lnTo>
                    <a:pt x="4482" y="4482"/>
                  </a:lnTo>
                  <a:close/>
                </a:path>
              </a:pathLst>
            </a:custGeom>
            <a:solidFill>
              <a:srgbClr val="231F20"/>
            </a:solidFill>
            <a:ln w="4477" cap="flat">
              <a:noFill/>
              <a:prstDash val="solid"/>
              <a:miter/>
            </a:ln>
          </p:spPr>
          <p:txBody>
            <a:bodyPr rtlCol="0" anchor="ctr"/>
            <a:lstStyle/>
            <a:p>
              <a:endParaRPr lang="en-US"/>
            </a:p>
          </p:txBody>
        </p:sp>
        <p:sp>
          <p:nvSpPr>
            <p:cNvPr id="3790" name="Freeform: Shape 3789">
              <a:extLst>
                <a:ext uri="{FF2B5EF4-FFF2-40B4-BE49-F238E27FC236}">
                  <a16:creationId xmlns:a16="http://schemas.microsoft.com/office/drawing/2014/main" id="{74FD365E-75CE-498D-B33F-E594DD77D0FF}"/>
                </a:ext>
              </a:extLst>
            </p:cNvPr>
            <p:cNvSpPr/>
            <p:nvPr/>
          </p:nvSpPr>
          <p:spPr>
            <a:xfrm>
              <a:off x="8175531" y="5346207"/>
              <a:ext cx="22409" cy="22409"/>
            </a:xfrm>
            <a:custGeom>
              <a:avLst/>
              <a:gdLst>
                <a:gd name="connsiteX0" fmla="*/ 2241 w 22408"/>
                <a:gd name="connsiteY0" fmla="*/ 24649 h 22408"/>
                <a:gd name="connsiteX1" fmla="*/ 22409 w 22408"/>
                <a:gd name="connsiteY1" fmla="*/ 24649 h 22408"/>
                <a:gd name="connsiteX2" fmla="*/ 24649 w 22408"/>
                <a:gd name="connsiteY2" fmla="*/ 22409 h 22408"/>
                <a:gd name="connsiteX3" fmla="*/ 24649 w 22408"/>
                <a:gd name="connsiteY3" fmla="*/ 2241 h 22408"/>
                <a:gd name="connsiteX4" fmla="*/ 22409 w 22408"/>
                <a:gd name="connsiteY4" fmla="*/ 0 h 22408"/>
                <a:gd name="connsiteX5" fmla="*/ 2241 w 22408"/>
                <a:gd name="connsiteY5" fmla="*/ 0 h 22408"/>
                <a:gd name="connsiteX6" fmla="*/ 0 w 22408"/>
                <a:gd name="connsiteY6" fmla="*/ 2241 h 22408"/>
                <a:gd name="connsiteX7" fmla="*/ 0 w 22408"/>
                <a:gd name="connsiteY7" fmla="*/ 22409 h 22408"/>
                <a:gd name="connsiteX8" fmla="*/ 2241 w 22408"/>
                <a:gd name="connsiteY8" fmla="*/ 24649 h 22408"/>
                <a:gd name="connsiteX9" fmla="*/ 4482 w 22408"/>
                <a:gd name="connsiteY9" fmla="*/ 4482 h 22408"/>
                <a:gd name="connsiteX10" fmla="*/ 20168 w 22408"/>
                <a:gd name="connsiteY10" fmla="*/ 4482 h 22408"/>
                <a:gd name="connsiteX11" fmla="*/ 20168 w 22408"/>
                <a:gd name="connsiteY11" fmla="*/ 20168 h 22408"/>
                <a:gd name="connsiteX12" fmla="*/ 4482 w 22408"/>
                <a:gd name="connsiteY12" fmla="*/ 20168 h 22408"/>
                <a:gd name="connsiteX13" fmla="*/ 4482 w 22408"/>
                <a:gd name="connsiteY13" fmla="*/ 448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22408">
                  <a:moveTo>
                    <a:pt x="2241" y="24649"/>
                  </a:moveTo>
                  <a:lnTo>
                    <a:pt x="22409" y="24649"/>
                  </a:lnTo>
                  <a:cubicBezTo>
                    <a:pt x="23753" y="24649"/>
                    <a:pt x="24649" y="23753"/>
                    <a:pt x="24649" y="22409"/>
                  </a:cubicBezTo>
                  <a:lnTo>
                    <a:pt x="24649" y="2241"/>
                  </a:lnTo>
                  <a:cubicBezTo>
                    <a:pt x="24649" y="896"/>
                    <a:pt x="23753" y="0"/>
                    <a:pt x="22409" y="0"/>
                  </a:cubicBezTo>
                  <a:lnTo>
                    <a:pt x="2241" y="0"/>
                  </a:lnTo>
                  <a:cubicBezTo>
                    <a:pt x="896" y="0"/>
                    <a:pt x="0" y="896"/>
                    <a:pt x="0" y="2241"/>
                  </a:cubicBezTo>
                  <a:lnTo>
                    <a:pt x="0" y="22409"/>
                  </a:lnTo>
                  <a:cubicBezTo>
                    <a:pt x="0" y="23753"/>
                    <a:pt x="896" y="24649"/>
                    <a:pt x="2241" y="24649"/>
                  </a:cubicBezTo>
                  <a:close/>
                  <a:moveTo>
                    <a:pt x="4482" y="4482"/>
                  </a:moveTo>
                  <a:lnTo>
                    <a:pt x="20168" y="4482"/>
                  </a:lnTo>
                  <a:lnTo>
                    <a:pt x="20168" y="20168"/>
                  </a:lnTo>
                  <a:lnTo>
                    <a:pt x="4482" y="20168"/>
                  </a:lnTo>
                  <a:lnTo>
                    <a:pt x="4482" y="4482"/>
                  </a:lnTo>
                  <a:close/>
                </a:path>
              </a:pathLst>
            </a:custGeom>
            <a:solidFill>
              <a:srgbClr val="231F20"/>
            </a:solidFill>
            <a:ln w="4477" cap="flat">
              <a:noFill/>
              <a:prstDash val="solid"/>
              <a:miter/>
            </a:ln>
          </p:spPr>
          <p:txBody>
            <a:bodyPr rtlCol="0" anchor="ctr"/>
            <a:lstStyle/>
            <a:p>
              <a:endParaRPr lang="en-US"/>
            </a:p>
          </p:txBody>
        </p:sp>
      </p:grpSp>
      <p:grpSp>
        <p:nvGrpSpPr>
          <p:cNvPr id="3791" name="Group 3790">
            <a:extLst>
              <a:ext uri="{FF2B5EF4-FFF2-40B4-BE49-F238E27FC236}">
                <a16:creationId xmlns:a16="http://schemas.microsoft.com/office/drawing/2014/main" id="{47F01C56-89A9-4322-9E92-6C65B0DA693F}"/>
              </a:ext>
              <a:ext uri="{C183D7F6-B498-43B3-948B-1728B52AA6E4}">
                <adec:decorative xmlns:adec="http://schemas.microsoft.com/office/drawing/2017/decorative" val="1"/>
              </a:ext>
            </a:extLst>
          </p:cNvPr>
          <p:cNvGrpSpPr>
            <a:grpSpLocks noChangeAspect="1"/>
          </p:cNvGrpSpPr>
          <p:nvPr/>
        </p:nvGrpSpPr>
        <p:grpSpPr>
          <a:xfrm>
            <a:off x="1886686" y="2425835"/>
            <a:ext cx="174786" cy="129969"/>
            <a:chOff x="7788312" y="5272371"/>
            <a:chExt cx="174786" cy="129969"/>
          </a:xfrm>
        </p:grpSpPr>
        <p:sp>
          <p:nvSpPr>
            <p:cNvPr id="3792" name="Freeform: Shape 3791">
              <a:extLst>
                <a:ext uri="{FF2B5EF4-FFF2-40B4-BE49-F238E27FC236}">
                  <a16:creationId xmlns:a16="http://schemas.microsoft.com/office/drawing/2014/main" id="{D87039CC-4B86-4602-8872-12625B5AE517}"/>
                </a:ext>
              </a:extLst>
            </p:cNvPr>
            <p:cNvSpPr/>
            <p:nvPr/>
          </p:nvSpPr>
          <p:spPr>
            <a:xfrm>
              <a:off x="7813858" y="5344415"/>
              <a:ext cx="17927" cy="31372"/>
            </a:xfrm>
            <a:custGeom>
              <a:avLst/>
              <a:gdLst>
                <a:gd name="connsiteX0" fmla="*/ 15686 w 17926"/>
                <a:gd name="connsiteY0" fmla="*/ 0 h 31371"/>
                <a:gd name="connsiteX1" fmla="*/ 2241 w 17926"/>
                <a:gd name="connsiteY1" fmla="*/ 0 h 31371"/>
                <a:gd name="connsiteX2" fmla="*/ 0 w 17926"/>
                <a:gd name="connsiteY2" fmla="*/ 2241 h 31371"/>
                <a:gd name="connsiteX3" fmla="*/ 0 w 17926"/>
                <a:gd name="connsiteY3" fmla="*/ 29131 h 31371"/>
                <a:gd name="connsiteX4" fmla="*/ 2241 w 17926"/>
                <a:gd name="connsiteY4" fmla="*/ 31372 h 31371"/>
                <a:gd name="connsiteX5" fmla="*/ 15686 w 17926"/>
                <a:gd name="connsiteY5" fmla="*/ 31372 h 31371"/>
                <a:gd name="connsiteX6" fmla="*/ 17927 w 17926"/>
                <a:gd name="connsiteY6" fmla="*/ 29131 h 31371"/>
                <a:gd name="connsiteX7" fmla="*/ 17927 w 17926"/>
                <a:gd name="connsiteY7" fmla="*/ 2241 h 31371"/>
                <a:gd name="connsiteX8" fmla="*/ 15686 w 17926"/>
                <a:gd name="connsiteY8" fmla="*/ 0 h 31371"/>
                <a:gd name="connsiteX9" fmla="*/ 13445 w 17926"/>
                <a:gd name="connsiteY9" fmla="*/ 26890 h 31371"/>
                <a:gd name="connsiteX10" fmla="*/ 4482 w 17926"/>
                <a:gd name="connsiteY10" fmla="*/ 26890 h 31371"/>
                <a:gd name="connsiteX11" fmla="*/ 4482 w 17926"/>
                <a:gd name="connsiteY11" fmla="*/ 4482 h 31371"/>
                <a:gd name="connsiteX12" fmla="*/ 13445 w 17926"/>
                <a:gd name="connsiteY12" fmla="*/ 4482 h 31371"/>
                <a:gd name="connsiteX13" fmla="*/ 13445 w 17926"/>
                <a:gd name="connsiteY13"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31371">
                  <a:moveTo>
                    <a:pt x="15686" y="0"/>
                  </a:moveTo>
                  <a:lnTo>
                    <a:pt x="2241" y="0"/>
                  </a:lnTo>
                  <a:cubicBezTo>
                    <a:pt x="896" y="0"/>
                    <a:pt x="0" y="896"/>
                    <a:pt x="0" y="2241"/>
                  </a:cubicBezTo>
                  <a:lnTo>
                    <a:pt x="0" y="29131"/>
                  </a:lnTo>
                  <a:cubicBezTo>
                    <a:pt x="0" y="30476"/>
                    <a:pt x="896" y="31372"/>
                    <a:pt x="2241" y="31372"/>
                  </a:cubicBezTo>
                  <a:lnTo>
                    <a:pt x="15686" y="31372"/>
                  </a:lnTo>
                  <a:cubicBezTo>
                    <a:pt x="17030" y="31372"/>
                    <a:pt x="17927" y="30476"/>
                    <a:pt x="17927" y="29131"/>
                  </a:cubicBezTo>
                  <a:lnTo>
                    <a:pt x="17927" y="2241"/>
                  </a:lnTo>
                  <a:cubicBezTo>
                    <a:pt x="17927" y="1345"/>
                    <a:pt x="17030" y="0"/>
                    <a:pt x="15686" y="0"/>
                  </a:cubicBezTo>
                  <a:close/>
                  <a:moveTo>
                    <a:pt x="13445" y="26890"/>
                  </a:moveTo>
                  <a:lnTo>
                    <a:pt x="4482" y="26890"/>
                  </a:lnTo>
                  <a:lnTo>
                    <a:pt x="4482" y="4482"/>
                  </a:lnTo>
                  <a:lnTo>
                    <a:pt x="13445" y="4482"/>
                  </a:lnTo>
                  <a:lnTo>
                    <a:pt x="13445" y="26890"/>
                  </a:lnTo>
                  <a:close/>
                </a:path>
              </a:pathLst>
            </a:custGeom>
            <a:solidFill>
              <a:srgbClr val="231F20"/>
            </a:solidFill>
            <a:ln w="4477" cap="flat">
              <a:noFill/>
              <a:prstDash val="solid"/>
              <a:miter/>
            </a:ln>
          </p:spPr>
          <p:txBody>
            <a:bodyPr rtlCol="0" anchor="ctr"/>
            <a:lstStyle/>
            <a:p>
              <a:endParaRPr lang="en-US"/>
            </a:p>
          </p:txBody>
        </p:sp>
        <p:sp>
          <p:nvSpPr>
            <p:cNvPr id="3793" name="Freeform: Shape 3792">
              <a:extLst>
                <a:ext uri="{FF2B5EF4-FFF2-40B4-BE49-F238E27FC236}">
                  <a16:creationId xmlns:a16="http://schemas.microsoft.com/office/drawing/2014/main" id="{C7819165-05AF-439B-A648-04C28D2F5F23}"/>
                </a:ext>
              </a:extLst>
            </p:cNvPr>
            <p:cNvSpPr/>
            <p:nvPr/>
          </p:nvSpPr>
          <p:spPr>
            <a:xfrm>
              <a:off x="7921419" y="5344415"/>
              <a:ext cx="17927" cy="31372"/>
            </a:xfrm>
            <a:custGeom>
              <a:avLst/>
              <a:gdLst>
                <a:gd name="connsiteX0" fmla="*/ 15686 w 17926"/>
                <a:gd name="connsiteY0" fmla="*/ 0 h 31371"/>
                <a:gd name="connsiteX1" fmla="*/ 2241 w 17926"/>
                <a:gd name="connsiteY1" fmla="*/ 0 h 31371"/>
                <a:gd name="connsiteX2" fmla="*/ 0 w 17926"/>
                <a:gd name="connsiteY2" fmla="*/ 2241 h 31371"/>
                <a:gd name="connsiteX3" fmla="*/ 0 w 17926"/>
                <a:gd name="connsiteY3" fmla="*/ 29131 h 31371"/>
                <a:gd name="connsiteX4" fmla="*/ 2241 w 17926"/>
                <a:gd name="connsiteY4" fmla="*/ 31372 h 31371"/>
                <a:gd name="connsiteX5" fmla="*/ 15686 w 17926"/>
                <a:gd name="connsiteY5" fmla="*/ 31372 h 31371"/>
                <a:gd name="connsiteX6" fmla="*/ 17927 w 17926"/>
                <a:gd name="connsiteY6" fmla="*/ 29131 h 31371"/>
                <a:gd name="connsiteX7" fmla="*/ 17927 w 17926"/>
                <a:gd name="connsiteY7" fmla="*/ 2241 h 31371"/>
                <a:gd name="connsiteX8" fmla="*/ 15686 w 17926"/>
                <a:gd name="connsiteY8" fmla="*/ 0 h 31371"/>
                <a:gd name="connsiteX9" fmla="*/ 13445 w 17926"/>
                <a:gd name="connsiteY9" fmla="*/ 26890 h 31371"/>
                <a:gd name="connsiteX10" fmla="*/ 4482 w 17926"/>
                <a:gd name="connsiteY10" fmla="*/ 26890 h 31371"/>
                <a:gd name="connsiteX11" fmla="*/ 4482 w 17926"/>
                <a:gd name="connsiteY11" fmla="*/ 4482 h 31371"/>
                <a:gd name="connsiteX12" fmla="*/ 13445 w 17926"/>
                <a:gd name="connsiteY12" fmla="*/ 4482 h 31371"/>
                <a:gd name="connsiteX13" fmla="*/ 13445 w 17926"/>
                <a:gd name="connsiteY13"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31371">
                  <a:moveTo>
                    <a:pt x="15686" y="0"/>
                  </a:moveTo>
                  <a:lnTo>
                    <a:pt x="2241" y="0"/>
                  </a:lnTo>
                  <a:cubicBezTo>
                    <a:pt x="896" y="0"/>
                    <a:pt x="0" y="896"/>
                    <a:pt x="0" y="2241"/>
                  </a:cubicBezTo>
                  <a:lnTo>
                    <a:pt x="0" y="29131"/>
                  </a:lnTo>
                  <a:cubicBezTo>
                    <a:pt x="0" y="30476"/>
                    <a:pt x="896" y="31372"/>
                    <a:pt x="2241" y="31372"/>
                  </a:cubicBezTo>
                  <a:lnTo>
                    <a:pt x="15686" y="31372"/>
                  </a:lnTo>
                  <a:cubicBezTo>
                    <a:pt x="17030" y="31372"/>
                    <a:pt x="17927" y="30476"/>
                    <a:pt x="17927" y="29131"/>
                  </a:cubicBezTo>
                  <a:lnTo>
                    <a:pt x="17927" y="2241"/>
                  </a:lnTo>
                  <a:cubicBezTo>
                    <a:pt x="17927" y="1345"/>
                    <a:pt x="17030" y="0"/>
                    <a:pt x="15686" y="0"/>
                  </a:cubicBezTo>
                  <a:close/>
                  <a:moveTo>
                    <a:pt x="13445" y="26890"/>
                  </a:moveTo>
                  <a:lnTo>
                    <a:pt x="4482" y="26890"/>
                  </a:lnTo>
                  <a:lnTo>
                    <a:pt x="4482" y="4482"/>
                  </a:lnTo>
                  <a:lnTo>
                    <a:pt x="13445" y="4482"/>
                  </a:lnTo>
                  <a:lnTo>
                    <a:pt x="13445" y="26890"/>
                  </a:lnTo>
                  <a:close/>
                </a:path>
              </a:pathLst>
            </a:custGeom>
            <a:solidFill>
              <a:srgbClr val="231F20"/>
            </a:solidFill>
            <a:ln w="4477" cap="flat">
              <a:noFill/>
              <a:prstDash val="solid"/>
              <a:miter/>
            </a:ln>
          </p:spPr>
          <p:txBody>
            <a:bodyPr rtlCol="0" anchor="ctr"/>
            <a:lstStyle/>
            <a:p>
              <a:endParaRPr lang="en-US"/>
            </a:p>
          </p:txBody>
        </p:sp>
        <p:sp>
          <p:nvSpPr>
            <p:cNvPr id="3794" name="Freeform: Shape 3793">
              <a:extLst>
                <a:ext uri="{FF2B5EF4-FFF2-40B4-BE49-F238E27FC236}">
                  <a16:creationId xmlns:a16="http://schemas.microsoft.com/office/drawing/2014/main" id="{9BF5F4AA-5691-4076-B64D-68668B15E9DF}"/>
                </a:ext>
              </a:extLst>
            </p:cNvPr>
            <p:cNvSpPr/>
            <p:nvPr/>
          </p:nvSpPr>
          <p:spPr>
            <a:xfrm>
              <a:off x="7867638" y="5304079"/>
              <a:ext cx="17927" cy="31372"/>
            </a:xfrm>
            <a:custGeom>
              <a:avLst/>
              <a:gdLst>
                <a:gd name="connsiteX0" fmla="*/ 2241 w 17926"/>
                <a:gd name="connsiteY0" fmla="*/ 31372 h 31371"/>
                <a:gd name="connsiteX1" fmla="*/ 15686 w 17926"/>
                <a:gd name="connsiteY1" fmla="*/ 31372 h 31371"/>
                <a:gd name="connsiteX2" fmla="*/ 17927 w 17926"/>
                <a:gd name="connsiteY2" fmla="*/ 29131 h 31371"/>
                <a:gd name="connsiteX3" fmla="*/ 17927 w 17926"/>
                <a:gd name="connsiteY3" fmla="*/ 2241 h 31371"/>
                <a:gd name="connsiteX4" fmla="*/ 15686 w 17926"/>
                <a:gd name="connsiteY4" fmla="*/ 0 h 31371"/>
                <a:gd name="connsiteX5" fmla="*/ 2241 w 17926"/>
                <a:gd name="connsiteY5" fmla="*/ 0 h 31371"/>
                <a:gd name="connsiteX6" fmla="*/ 0 w 17926"/>
                <a:gd name="connsiteY6" fmla="*/ 2241 h 31371"/>
                <a:gd name="connsiteX7" fmla="*/ 0 w 17926"/>
                <a:gd name="connsiteY7" fmla="*/ 29131 h 31371"/>
                <a:gd name="connsiteX8" fmla="*/ 2241 w 17926"/>
                <a:gd name="connsiteY8" fmla="*/ 31372 h 31371"/>
                <a:gd name="connsiteX9" fmla="*/ 4482 w 17926"/>
                <a:gd name="connsiteY9" fmla="*/ 4482 h 31371"/>
                <a:gd name="connsiteX10" fmla="*/ 13445 w 17926"/>
                <a:gd name="connsiteY10" fmla="*/ 4482 h 31371"/>
                <a:gd name="connsiteX11" fmla="*/ 13445 w 17926"/>
                <a:gd name="connsiteY11" fmla="*/ 26890 h 31371"/>
                <a:gd name="connsiteX12" fmla="*/ 4482 w 17926"/>
                <a:gd name="connsiteY12" fmla="*/ 26890 h 31371"/>
                <a:gd name="connsiteX13" fmla="*/ 4482 w 17926"/>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26" h="31371">
                  <a:moveTo>
                    <a:pt x="2241" y="31372"/>
                  </a:moveTo>
                  <a:lnTo>
                    <a:pt x="15686" y="31372"/>
                  </a:lnTo>
                  <a:cubicBezTo>
                    <a:pt x="17030" y="31372"/>
                    <a:pt x="17927" y="30476"/>
                    <a:pt x="17927" y="29131"/>
                  </a:cubicBezTo>
                  <a:lnTo>
                    <a:pt x="17927" y="2241"/>
                  </a:lnTo>
                  <a:cubicBezTo>
                    <a:pt x="17927" y="896"/>
                    <a:pt x="17030" y="0"/>
                    <a:pt x="15686" y="0"/>
                  </a:cubicBezTo>
                  <a:lnTo>
                    <a:pt x="2241" y="0"/>
                  </a:lnTo>
                  <a:cubicBezTo>
                    <a:pt x="896" y="0"/>
                    <a:pt x="0" y="896"/>
                    <a:pt x="0" y="2241"/>
                  </a:cubicBezTo>
                  <a:lnTo>
                    <a:pt x="0" y="29131"/>
                  </a:lnTo>
                  <a:cubicBezTo>
                    <a:pt x="0" y="30476"/>
                    <a:pt x="896" y="31372"/>
                    <a:pt x="2241" y="31372"/>
                  </a:cubicBezTo>
                  <a:close/>
                  <a:moveTo>
                    <a:pt x="4482" y="4482"/>
                  </a:moveTo>
                  <a:lnTo>
                    <a:pt x="13445" y="4482"/>
                  </a:lnTo>
                  <a:lnTo>
                    <a:pt x="13445"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795" name="Freeform: Shape 3794">
              <a:extLst>
                <a:ext uri="{FF2B5EF4-FFF2-40B4-BE49-F238E27FC236}">
                  <a16:creationId xmlns:a16="http://schemas.microsoft.com/office/drawing/2014/main" id="{A44B4B68-66E0-478D-9C77-C957A3BC2279}"/>
                </a:ext>
              </a:extLst>
            </p:cNvPr>
            <p:cNvSpPr/>
            <p:nvPr/>
          </p:nvSpPr>
          <p:spPr>
            <a:xfrm>
              <a:off x="7788312" y="5272371"/>
              <a:ext cx="174786" cy="129969"/>
            </a:xfrm>
            <a:custGeom>
              <a:avLst/>
              <a:gdLst>
                <a:gd name="connsiteX0" fmla="*/ 174786 w 174786"/>
                <a:gd name="connsiteY0" fmla="*/ 125824 h 129969"/>
                <a:gd name="connsiteX1" fmla="*/ 164479 w 174786"/>
                <a:gd name="connsiteY1" fmla="*/ 125824 h 129969"/>
                <a:gd name="connsiteX2" fmla="*/ 164479 w 174786"/>
                <a:gd name="connsiteY2" fmla="*/ 66665 h 129969"/>
                <a:gd name="connsiteX3" fmla="*/ 168960 w 174786"/>
                <a:gd name="connsiteY3" fmla="*/ 68458 h 129969"/>
                <a:gd name="connsiteX4" fmla="*/ 169856 w 174786"/>
                <a:gd name="connsiteY4" fmla="*/ 68458 h 129969"/>
                <a:gd name="connsiteX5" fmla="*/ 172097 w 174786"/>
                <a:gd name="connsiteY5" fmla="*/ 67114 h 129969"/>
                <a:gd name="connsiteX6" fmla="*/ 170753 w 174786"/>
                <a:gd name="connsiteY6" fmla="*/ 64425 h 129969"/>
                <a:gd name="connsiteX7" fmla="*/ 124143 w 174786"/>
                <a:gd name="connsiteY7" fmla="*/ 46049 h 129969"/>
                <a:gd name="connsiteX8" fmla="*/ 124143 w 174786"/>
                <a:gd name="connsiteY8" fmla="*/ 24537 h 129969"/>
                <a:gd name="connsiteX9" fmla="*/ 127729 w 174786"/>
                <a:gd name="connsiteY9" fmla="*/ 26330 h 129969"/>
                <a:gd name="connsiteX10" fmla="*/ 128625 w 174786"/>
                <a:gd name="connsiteY10" fmla="*/ 26778 h 129969"/>
                <a:gd name="connsiteX11" fmla="*/ 130418 w 174786"/>
                <a:gd name="connsiteY11" fmla="*/ 25434 h 129969"/>
                <a:gd name="connsiteX12" fmla="*/ 129521 w 174786"/>
                <a:gd name="connsiteY12" fmla="*/ 22297 h 129969"/>
                <a:gd name="connsiteX13" fmla="*/ 88738 w 174786"/>
                <a:gd name="connsiteY13" fmla="*/ 336 h 129969"/>
                <a:gd name="connsiteX14" fmla="*/ 86497 w 174786"/>
                <a:gd name="connsiteY14" fmla="*/ 336 h 129969"/>
                <a:gd name="connsiteX15" fmla="*/ 45713 w 174786"/>
                <a:gd name="connsiteY15" fmla="*/ 22297 h 129969"/>
                <a:gd name="connsiteX16" fmla="*/ 44817 w 174786"/>
                <a:gd name="connsiteY16" fmla="*/ 25434 h 129969"/>
                <a:gd name="connsiteX17" fmla="*/ 47954 w 174786"/>
                <a:gd name="connsiteY17" fmla="*/ 26330 h 129969"/>
                <a:gd name="connsiteX18" fmla="*/ 52436 w 174786"/>
                <a:gd name="connsiteY18" fmla="*/ 24089 h 129969"/>
                <a:gd name="connsiteX19" fmla="*/ 52436 w 174786"/>
                <a:gd name="connsiteY19" fmla="*/ 46049 h 129969"/>
                <a:gd name="connsiteX20" fmla="*/ 6274 w 174786"/>
                <a:gd name="connsiteY20" fmla="*/ 63528 h 129969"/>
                <a:gd name="connsiteX21" fmla="*/ 4930 w 174786"/>
                <a:gd name="connsiteY21" fmla="*/ 66217 h 129969"/>
                <a:gd name="connsiteX22" fmla="*/ 7171 w 174786"/>
                <a:gd name="connsiteY22" fmla="*/ 67562 h 129969"/>
                <a:gd name="connsiteX23" fmla="*/ 8067 w 174786"/>
                <a:gd name="connsiteY23" fmla="*/ 67562 h 129969"/>
                <a:gd name="connsiteX24" fmla="*/ 12549 w 174786"/>
                <a:gd name="connsiteY24" fmla="*/ 65769 h 129969"/>
                <a:gd name="connsiteX25" fmla="*/ 12549 w 174786"/>
                <a:gd name="connsiteY25" fmla="*/ 125824 h 129969"/>
                <a:gd name="connsiteX26" fmla="*/ 2241 w 174786"/>
                <a:gd name="connsiteY26" fmla="*/ 125824 h 129969"/>
                <a:gd name="connsiteX27" fmla="*/ 0 w 174786"/>
                <a:gd name="connsiteY27" fmla="*/ 128065 h 129969"/>
                <a:gd name="connsiteX28" fmla="*/ 2241 w 174786"/>
                <a:gd name="connsiteY28" fmla="*/ 130305 h 129969"/>
                <a:gd name="connsiteX29" fmla="*/ 14790 w 174786"/>
                <a:gd name="connsiteY29" fmla="*/ 130305 h 129969"/>
                <a:gd name="connsiteX30" fmla="*/ 68570 w 174786"/>
                <a:gd name="connsiteY30" fmla="*/ 130305 h 129969"/>
                <a:gd name="connsiteX31" fmla="*/ 108905 w 174786"/>
                <a:gd name="connsiteY31" fmla="*/ 130305 h 129969"/>
                <a:gd name="connsiteX32" fmla="*/ 162686 w 174786"/>
                <a:gd name="connsiteY32" fmla="*/ 130305 h 129969"/>
                <a:gd name="connsiteX33" fmla="*/ 175235 w 174786"/>
                <a:gd name="connsiteY33" fmla="*/ 130305 h 129969"/>
                <a:gd name="connsiteX34" fmla="*/ 177475 w 174786"/>
                <a:gd name="connsiteY34" fmla="*/ 128065 h 129969"/>
                <a:gd name="connsiteX35" fmla="*/ 174786 w 174786"/>
                <a:gd name="connsiteY35" fmla="*/ 125824 h 129969"/>
                <a:gd name="connsiteX36" fmla="*/ 87841 w 174786"/>
                <a:gd name="connsiteY36" fmla="*/ 4818 h 129969"/>
                <a:gd name="connsiteX37" fmla="*/ 119661 w 174786"/>
                <a:gd name="connsiteY37" fmla="*/ 22297 h 129969"/>
                <a:gd name="connsiteX38" fmla="*/ 119661 w 174786"/>
                <a:gd name="connsiteY38" fmla="*/ 22745 h 129969"/>
                <a:gd name="connsiteX39" fmla="*/ 119661 w 174786"/>
                <a:gd name="connsiteY39" fmla="*/ 126272 h 129969"/>
                <a:gd name="connsiteX40" fmla="*/ 110698 w 174786"/>
                <a:gd name="connsiteY40" fmla="*/ 126272 h 129969"/>
                <a:gd name="connsiteX41" fmla="*/ 110698 w 174786"/>
                <a:gd name="connsiteY41" fmla="*/ 74732 h 129969"/>
                <a:gd name="connsiteX42" fmla="*/ 108457 w 174786"/>
                <a:gd name="connsiteY42" fmla="*/ 72492 h 129969"/>
                <a:gd name="connsiteX43" fmla="*/ 68122 w 174786"/>
                <a:gd name="connsiteY43" fmla="*/ 72492 h 129969"/>
                <a:gd name="connsiteX44" fmla="*/ 65881 w 174786"/>
                <a:gd name="connsiteY44" fmla="*/ 74732 h 129969"/>
                <a:gd name="connsiteX45" fmla="*/ 65881 w 174786"/>
                <a:gd name="connsiteY45" fmla="*/ 126272 h 129969"/>
                <a:gd name="connsiteX46" fmla="*/ 56918 w 174786"/>
                <a:gd name="connsiteY46" fmla="*/ 126272 h 129969"/>
                <a:gd name="connsiteX47" fmla="*/ 56918 w 174786"/>
                <a:gd name="connsiteY47" fmla="*/ 22745 h 129969"/>
                <a:gd name="connsiteX48" fmla="*/ 56918 w 174786"/>
                <a:gd name="connsiteY48" fmla="*/ 21848 h 129969"/>
                <a:gd name="connsiteX49" fmla="*/ 87841 w 174786"/>
                <a:gd name="connsiteY49" fmla="*/ 4818 h 129969"/>
                <a:gd name="connsiteX50" fmla="*/ 16582 w 174786"/>
                <a:gd name="connsiteY50" fmla="*/ 64425 h 129969"/>
                <a:gd name="connsiteX51" fmla="*/ 52436 w 174786"/>
                <a:gd name="connsiteY51" fmla="*/ 50980 h 129969"/>
                <a:gd name="connsiteX52" fmla="*/ 52436 w 174786"/>
                <a:gd name="connsiteY52" fmla="*/ 126272 h 129969"/>
                <a:gd name="connsiteX53" fmla="*/ 16582 w 174786"/>
                <a:gd name="connsiteY53" fmla="*/ 126272 h 129969"/>
                <a:gd name="connsiteX54" fmla="*/ 16582 w 174786"/>
                <a:gd name="connsiteY54" fmla="*/ 64425 h 129969"/>
                <a:gd name="connsiteX55" fmla="*/ 70363 w 174786"/>
                <a:gd name="connsiteY55" fmla="*/ 125824 h 129969"/>
                <a:gd name="connsiteX56" fmla="*/ 70363 w 174786"/>
                <a:gd name="connsiteY56" fmla="*/ 76525 h 129969"/>
                <a:gd name="connsiteX57" fmla="*/ 106216 w 174786"/>
                <a:gd name="connsiteY57" fmla="*/ 76525 h 129969"/>
                <a:gd name="connsiteX58" fmla="*/ 106216 w 174786"/>
                <a:gd name="connsiteY58" fmla="*/ 125824 h 129969"/>
                <a:gd name="connsiteX59" fmla="*/ 70363 w 174786"/>
                <a:gd name="connsiteY59" fmla="*/ 125824 h 129969"/>
                <a:gd name="connsiteX60" fmla="*/ 124143 w 174786"/>
                <a:gd name="connsiteY60" fmla="*/ 125824 h 129969"/>
                <a:gd name="connsiteX61" fmla="*/ 124143 w 174786"/>
                <a:gd name="connsiteY61" fmla="*/ 50531 h 129969"/>
                <a:gd name="connsiteX62" fmla="*/ 159997 w 174786"/>
                <a:gd name="connsiteY62" fmla="*/ 64873 h 129969"/>
                <a:gd name="connsiteX63" fmla="*/ 159997 w 174786"/>
                <a:gd name="connsiteY63" fmla="*/ 125824 h 129969"/>
                <a:gd name="connsiteX64" fmla="*/ 124143 w 174786"/>
                <a:gd name="connsiteY64" fmla="*/ 125824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74786" h="129969">
                  <a:moveTo>
                    <a:pt x="174786" y="125824"/>
                  </a:moveTo>
                  <a:lnTo>
                    <a:pt x="164479" y="125824"/>
                  </a:lnTo>
                  <a:lnTo>
                    <a:pt x="164479" y="66665"/>
                  </a:lnTo>
                  <a:lnTo>
                    <a:pt x="168960" y="68458"/>
                  </a:lnTo>
                  <a:cubicBezTo>
                    <a:pt x="169408" y="68458"/>
                    <a:pt x="169408" y="68458"/>
                    <a:pt x="169856" y="68458"/>
                  </a:cubicBezTo>
                  <a:cubicBezTo>
                    <a:pt x="170753" y="68458"/>
                    <a:pt x="171649" y="68010"/>
                    <a:pt x="172097" y="67114"/>
                  </a:cubicBezTo>
                  <a:cubicBezTo>
                    <a:pt x="172546" y="65769"/>
                    <a:pt x="172097" y="64873"/>
                    <a:pt x="170753" y="64425"/>
                  </a:cubicBezTo>
                  <a:lnTo>
                    <a:pt x="124143" y="46049"/>
                  </a:lnTo>
                  <a:lnTo>
                    <a:pt x="124143" y="24537"/>
                  </a:lnTo>
                  <a:lnTo>
                    <a:pt x="127729" y="26330"/>
                  </a:lnTo>
                  <a:cubicBezTo>
                    <a:pt x="128177" y="26330"/>
                    <a:pt x="128625" y="26778"/>
                    <a:pt x="128625" y="26778"/>
                  </a:cubicBezTo>
                  <a:cubicBezTo>
                    <a:pt x="129521" y="26778"/>
                    <a:pt x="129969" y="26330"/>
                    <a:pt x="130418" y="25434"/>
                  </a:cubicBezTo>
                  <a:cubicBezTo>
                    <a:pt x="130866" y="24537"/>
                    <a:pt x="130418" y="23193"/>
                    <a:pt x="129521" y="22297"/>
                  </a:cubicBezTo>
                  <a:lnTo>
                    <a:pt x="88738" y="336"/>
                  </a:lnTo>
                  <a:cubicBezTo>
                    <a:pt x="88290" y="-112"/>
                    <a:pt x="87393" y="-112"/>
                    <a:pt x="86497" y="336"/>
                  </a:cubicBezTo>
                  <a:lnTo>
                    <a:pt x="45713" y="22297"/>
                  </a:lnTo>
                  <a:cubicBezTo>
                    <a:pt x="44817" y="22745"/>
                    <a:pt x="44369" y="24089"/>
                    <a:pt x="44817" y="25434"/>
                  </a:cubicBezTo>
                  <a:cubicBezTo>
                    <a:pt x="45265" y="26330"/>
                    <a:pt x="46610" y="26778"/>
                    <a:pt x="47954" y="26330"/>
                  </a:cubicBezTo>
                  <a:lnTo>
                    <a:pt x="52436" y="24089"/>
                  </a:lnTo>
                  <a:lnTo>
                    <a:pt x="52436" y="46049"/>
                  </a:lnTo>
                  <a:lnTo>
                    <a:pt x="6274" y="63528"/>
                  </a:lnTo>
                  <a:cubicBezTo>
                    <a:pt x="4930" y="63976"/>
                    <a:pt x="4482" y="65321"/>
                    <a:pt x="4930" y="66217"/>
                  </a:cubicBezTo>
                  <a:cubicBezTo>
                    <a:pt x="5378" y="67114"/>
                    <a:pt x="6274" y="67562"/>
                    <a:pt x="7171" y="67562"/>
                  </a:cubicBezTo>
                  <a:cubicBezTo>
                    <a:pt x="7619" y="67562"/>
                    <a:pt x="7619" y="67562"/>
                    <a:pt x="8067" y="67562"/>
                  </a:cubicBezTo>
                  <a:lnTo>
                    <a:pt x="12549" y="65769"/>
                  </a:lnTo>
                  <a:lnTo>
                    <a:pt x="12549" y="125824"/>
                  </a:lnTo>
                  <a:lnTo>
                    <a:pt x="2241" y="125824"/>
                  </a:lnTo>
                  <a:cubicBezTo>
                    <a:pt x="896" y="125824"/>
                    <a:pt x="0" y="126720"/>
                    <a:pt x="0" y="128065"/>
                  </a:cubicBezTo>
                  <a:cubicBezTo>
                    <a:pt x="0" y="129409"/>
                    <a:pt x="896" y="130305"/>
                    <a:pt x="2241" y="130305"/>
                  </a:cubicBezTo>
                  <a:lnTo>
                    <a:pt x="14790" y="130305"/>
                  </a:lnTo>
                  <a:lnTo>
                    <a:pt x="68570" y="130305"/>
                  </a:lnTo>
                  <a:lnTo>
                    <a:pt x="108905" y="130305"/>
                  </a:lnTo>
                  <a:lnTo>
                    <a:pt x="162686" y="130305"/>
                  </a:lnTo>
                  <a:lnTo>
                    <a:pt x="175235" y="130305"/>
                  </a:lnTo>
                  <a:cubicBezTo>
                    <a:pt x="176579" y="130305"/>
                    <a:pt x="177475" y="129409"/>
                    <a:pt x="177475" y="128065"/>
                  </a:cubicBezTo>
                  <a:cubicBezTo>
                    <a:pt x="177475" y="126720"/>
                    <a:pt x="175683" y="125824"/>
                    <a:pt x="174786" y="125824"/>
                  </a:cubicBezTo>
                  <a:close/>
                  <a:moveTo>
                    <a:pt x="87841" y="4818"/>
                  </a:moveTo>
                  <a:lnTo>
                    <a:pt x="119661" y="22297"/>
                  </a:lnTo>
                  <a:cubicBezTo>
                    <a:pt x="119661" y="22297"/>
                    <a:pt x="119661" y="22297"/>
                    <a:pt x="119661" y="22745"/>
                  </a:cubicBezTo>
                  <a:lnTo>
                    <a:pt x="119661" y="126272"/>
                  </a:lnTo>
                  <a:lnTo>
                    <a:pt x="110698" y="126272"/>
                  </a:lnTo>
                  <a:lnTo>
                    <a:pt x="110698" y="74732"/>
                  </a:lnTo>
                  <a:cubicBezTo>
                    <a:pt x="110698" y="73388"/>
                    <a:pt x="109802" y="72492"/>
                    <a:pt x="108457" y="72492"/>
                  </a:cubicBezTo>
                  <a:lnTo>
                    <a:pt x="68122" y="72492"/>
                  </a:lnTo>
                  <a:cubicBezTo>
                    <a:pt x="66777" y="72492"/>
                    <a:pt x="65881" y="73388"/>
                    <a:pt x="65881" y="74732"/>
                  </a:cubicBezTo>
                  <a:lnTo>
                    <a:pt x="65881" y="126272"/>
                  </a:lnTo>
                  <a:lnTo>
                    <a:pt x="56918" y="126272"/>
                  </a:lnTo>
                  <a:lnTo>
                    <a:pt x="56918" y="22745"/>
                  </a:lnTo>
                  <a:cubicBezTo>
                    <a:pt x="56918" y="22297"/>
                    <a:pt x="56918" y="22297"/>
                    <a:pt x="56918" y="21848"/>
                  </a:cubicBezTo>
                  <a:lnTo>
                    <a:pt x="87841" y="4818"/>
                  </a:lnTo>
                  <a:close/>
                  <a:moveTo>
                    <a:pt x="16582" y="64425"/>
                  </a:moveTo>
                  <a:lnTo>
                    <a:pt x="52436" y="50980"/>
                  </a:lnTo>
                  <a:lnTo>
                    <a:pt x="52436" y="126272"/>
                  </a:lnTo>
                  <a:lnTo>
                    <a:pt x="16582" y="126272"/>
                  </a:lnTo>
                  <a:lnTo>
                    <a:pt x="16582" y="64425"/>
                  </a:lnTo>
                  <a:close/>
                  <a:moveTo>
                    <a:pt x="70363" y="125824"/>
                  </a:moveTo>
                  <a:lnTo>
                    <a:pt x="70363" y="76525"/>
                  </a:lnTo>
                  <a:lnTo>
                    <a:pt x="106216" y="76525"/>
                  </a:lnTo>
                  <a:lnTo>
                    <a:pt x="106216" y="125824"/>
                  </a:lnTo>
                  <a:lnTo>
                    <a:pt x="70363" y="125824"/>
                  </a:lnTo>
                  <a:close/>
                  <a:moveTo>
                    <a:pt x="124143" y="125824"/>
                  </a:moveTo>
                  <a:lnTo>
                    <a:pt x="124143" y="50531"/>
                  </a:lnTo>
                  <a:lnTo>
                    <a:pt x="159997" y="64873"/>
                  </a:lnTo>
                  <a:lnTo>
                    <a:pt x="159997" y="125824"/>
                  </a:lnTo>
                  <a:lnTo>
                    <a:pt x="124143" y="125824"/>
                  </a:lnTo>
                  <a:close/>
                </a:path>
              </a:pathLst>
            </a:custGeom>
            <a:solidFill>
              <a:srgbClr val="231F20"/>
            </a:solidFill>
            <a:ln w="4477" cap="flat">
              <a:noFill/>
              <a:prstDash val="solid"/>
              <a:miter/>
            </a:ln>
          </p:spPr>
          <p:txBody>
            <a:bodyPr rtlCol="0" anchor="ctr"/>
            <a:lstStyle/>
            <a:p>
              <a:endParaRPr lang="en-US"/>
            </a:p>
          </p:txBody>
        </p:sp>
      </p:grpSp>
      <p:sp>
        <p:nvSpPr>
          <p:cNvPr id="3796" name="Freeform: Shape 3795">
            <a:extLst>
              <a:ext uri="{FF2B5EF4-FFF2-40B4-BE49-F238E27FC236}">
                <a16:creationId xmlns:a16="http://schemas.microsoft.com/office/drawing/2014/main" id="{856CC4B2-BC25-4E92-8107-3474BD41EC17}"/>
              </a:ext>
              <a:ext uri="{C183D7F6-B498-43B3-948B-1728B52AA6E4}">
                <adec:decorative xmlns:adec="http://schemas.microsoft.com/office/drawing/2017/decorative" val="1"/>
              </a:ext>
            </a:extLst>
          </p:cNvPr>
          <p:cNvSpPr>
            <a:spLocks noChangeAspect="1"/>
          </p:cNvSpPr>
          <p:nvPr/>
        </p:nvSpPr>
        <p:spPr>
          <a:xfrm>
            <a:off x="2427179" y="2417656"/>
            <a:ext cx="152378" cy="138933"/>
          </a:xfrm>
          <a:custGeom>
            <a:avLst/>
            <a:gdLst>
              <a:gd name="connsiteX0" fmla="*/ 150137 w 152377"/>
              <a:gd name="connsiteY0" fmla="*/ 100838 h 138932"/>
              <a:gd name="connsiteX1" fmla="*/ 137140 w 152377"/>
              <a:gd name="connsiteY1" fmla="*/ 108457 h 138932"/>
              <a:gd name="connsiteX2" fmla="*/ 127729 w 152377"/>
              <a:gd name="connsiteY2" fmla="*/ 114283 h 138932"/>
              <a:gd name="connsiteX3" fmla="*/ 116972 w 152377"/>
              <a:gd name="connsiteY3" fmla="*/ 108457 h 138932"/>
              <a:gd name="connsiteX4" fmla="*/ 112043 w 152377"/>
              <a:gd name="connsiteY4" fmla="*/ 103527 h 138932"/>
              <a:gd name="connsiteX5" fmla="*/ 112043 w 152377"/>
              <a:gd name="connsiteY5" fmla="*/ 85152 h 138932"/>
              <a:gd name="connsiteX6" fmla="*/ 123247 w 152377"/>
              <a:gd name="connsiteY6" fmla="*/ 85152 h 138932"/>
              <a:gd name="connsiteX7" fmla="*/ 125488 w 152377"/>
              <a:gd name="connsiteY7" fmla="*/ 82912 h 138932"/>
              <a:gd name="connsiteX8" fmla="*/ 125488 w 152377"/>
              <a:gd name="connsiteY8" fmla="*/ 69466 h 138932"/>
              <a:gd name="connsiteX9" fmla="*/ 123247 w 152377"/>
              <a:gd name="connsiteY9" fmla="*/ 67226 h 138932"/>
              <a:gd name="connsiteX10" fmla="*/ 112043 w 152377"/>
              <a:gd name="connsiteY10" fmla="*/ 67226 h 138932"/>
              <a:gd name="connsiteX11" fmla="*/ 112043 w 152377"/>
              <a:gd name="connsiteY11" fmla="*/ 56021 h 138932"/>
              <a:gd name="connsiteX12" fmla="*/ 109802 w 152377"/>
              <a:gd name="connsiteY12" fmla="*/ 53780 h 138932"/>
              <a:gd name="connsiteX13" fmla="*/ 98149 w 152377"/>
              <a:gd name="connsiteY13" fmla="*/ 53780 h 138932"/>
              <a:gd name="connsiteX14" fmla="*/ 92323 w 152377"/>
              <a:gd name="connsiteY14" fmla="*/ 31372 h 138932"/>
              <a:gd name="connsiteX15" fmla="*/ 96357 w 152377"/>
              <a:gd name="connsiteY15" fmla="*/ 31372 h 138932"/>
              <a:gd name="connsiteX16" fmla="*/ 98597 w 152377"/>
              <a:gd name="connsiteY16" fmla="*/ 29131 h 138932"/>
              <a:gd name="connsiteX17" fmla="*/ 96357 w 152377"/>
              <a:gd name="connsiteY17" fmla="*/ 26890 h 138932"/>
              <a:gd name="connsiteX18" fmla="*/ 91427 w 152377"/>
              <a:gd name="connsiteY18" fmla="*/ 26890 h 138932"/>
              <a:gd name="connsiteX19" fmla="*/ 85601 w 152377"/>
              <a:gd name="connsiteY19" fmla="*/ 4482 h 138932"/>
              <a:gd name="connsiteX20" fmla="*/ 89634 w 152377"/>
              <a:gd name="connsiteY20" fmla="*/ 4482 h 138932"/>
              <a:gd name="connsiteX21" fmla="*/ 91875 w 152377"/>
              <a:gd name="connsiteY21" fmla="*/ 2241 h 138932"/>
              <a:gd name="connsiteX22" fmla="*/ 89634 w 152377"/>
              <a:gd name="connsiteY22" fmla="*/ 0 h 138932"/>
              <a:gd name="connsiteX23" fmla="*/ 82911 w 152377"/>
              <a:gd name="connsiteY23" fmla="*/ 0 h 138932"/>
              <a:gd name="connsiteX24" fmla="*/ 69466 w 152377"/>
              <a:gd name="connsiteY24" fmla="*/ 0 h 138932"/>
              <a:gd name="connsiteX25" fmla="*/ 62744 w 152377"/>
              <a:gd name="connsiteY25" fmla="*/ 0 h 138932"/>
              <a:gd name="connsiteX26" fmla="*/ 60503 w 152377"/>
              <a:gd name="connsiteY26" fmla="*/ 2241 h 138932"/>
              <a:gd name="connsiteX27" fmla="*/ 62744 w 152377"/>
              <a:gd name="connsiteY27" fmla="*/ 4482 h 138932"/>
              <a:gd name="connsiteX28" fmla="*/ 66777 w 152377"/>
              <a:gd name="connsiteY28" fmla="*/ 4482 h 138932"/>
              <a:gd name="connsiteX29" fmla="*/ 60951 w 152377"/>
              <a:gd name="connsiteY29" fmla="*/ 26890 h 138932"/>
              <a:gd name="connsiteX30" fmla="*/ 56021 w 152377"/>
              <a:gd name="connsiteY30" fmla="*/ 26890 h 138932"/>
              <a:gd name="connsiteX31" fmla="*/ 53780 w 152377"/>
              <a:gd name="connsiteY31" fmla="*/ 29131 h 138932"/>
              <a:gd name="connsiteX32" fmla="*/ 56021 w 152377"/>
              <a:gd name="connsiteY32" fmla="*/ 31372 h 138932"/>
              <a:gd name="connsiteX33" fmla="*/ 60055 w 152377"/>
              <a:gd name="connsiteY33" fmla="*/ 31372 h 138932"/>
              <a:gd name="connsiteX34" fmla="*/ 54229 w 152377"/>
              <a:gd name="connsiteY34" fmla="*/ 53780 h 138932"/>
              <a:gd name="connsiteX35" fmla="*/ 42576 w 152377"/>
              <a:gd name="connsiteY35" fmla="*/ 53780 h 138932"/>
              <a:gd name="connsiteX36" fmla="*/ 40335 w 152377"/>
              <a:gd name="connsiteY36" fmla="*/ 56021 h 138932"/>
              <a:gd name="connsiteX37" fmla="*/ 40335 w 152377"/>
              <a:gd name="connsiteY37" fmla="*/ 67226 h 138932"/>
              <a:gd name="connsiteX38" fmla="*/ 29131 w 152377"/>
              <a:gd name="connsiteY38" fmla="*/ 67226 h 138932"/>
              <a:gd name="connsiteX39" fmla="*/ 26890 w 152377"/>
              <a:gd name="connsiteY39" fmla="*/ 69466 h 138932"/>
              <a:gd name="connsiteX40" fmla="*/ 26890 w 152377"/>
              <a:gd name="connsiteY40" fmla="*/ 82912 h 138932"/>
              <a:gd name="connsiteX41" fmla="*/ 29131 w 152377"/>
              <a:gd name="connsiteY41" fmla="*/ 85152 h 138932"/>
              <a:gd name="connsiteX42" fmla="*/ 40335 w 152377"/>
              <a:gd name="connsiteY42" fmla="*/ 85152 h 138932"/>
              <a:gd name="connsiteX43" fmla="*/ 40335 w 152377"/>
              <a:gd name="connsiteY43" fmla="*/ 103527 h 138932"/>
              <a:gd name="connsiteX44" fmla="*/ 34957 w 152377"/>
              <a:gd name="connsiteY44" fmla="*/ 108457 h 138932"/>
              <a:gd name="connsiteX45" fmla="*/ 24649 w 152377"/>
              <a:gd name="connsiteY45" fmla="*/ 114283 h 138932"/>
              <a:gd name="connsiteX46" fmla="*/ 16134 w 152377"/>
              <a:gd name="connsiteY46" fmla="*/ 108905 h 138932"/>
              <a:gd name="connsiteX47" fmla="*/ 2241 w 152377"/>
              <a:gd name="connsiteY47" fmla="*/ 100838 h 138932"/>
              <a:gd name="connsiteX48" fmla="*/ 0 w 152377"/>
              <a:gd name="connsiteY48" fmla="*/ 103079 h 138932"/>
              <a:gd name="connsiteX49" fmla="*/ 0 w 152377"/>
              <a:gd name="connsiteY49" fmla="*/ 136692 h 138932"/>
              <a:gd name="connsiteX50" fmla="*/ 2241 w 152377"/>
              <a:gd name="connsiteY50" fmla="*/ 138933 h 138932"/>
              <a:gd name="connsiteX51" fmla="*/ 150137 w 152377"/>
              <a:gd name="connsiteY51" fmla="*/ 138933 h 138932"/>
              <a:gd name="connsiteX52" fmla="*/ 152378 w 152377"/>
              <a:gd name="connsiteY52" fmla="*/ 136692 h 138932"/>
              <a:gd name="connsiteX53" fmla="*/ 152378 w 152377"/>
              <a:gd name="connsiteY53" fmla="*/ 103079 h 138932"/>
              <a:gd name="connsiteX54" fmla="*/ 150137 w 152377"/>
              <a:gd name="connsiteY54" fmla="*/ 100838 h 138932"/>
              <a:gd name="connsiteX55" fmla="*/ 71259 w 152377"/>
              <a:gd name="connsiteY55" fmla="*/ 4482 h 138932"/>
              <a:gd name="connsiteX56" fmla="*/ 81119 w 152377"/>
              <a:gd name="connsiteY56" fmla="*/ 4482 h 138932"/>
              <a:gd name="connsiteX57" fmla="*/ 86945 w 152377"/>
              <a:gd name="connsiteY57" fmla="*/ 26890 h 138932"/>
              <a:gd name="connsiteX58" fmla="*/ 65881 w 152377"/>
              <a:gd name="connsiteY58" fmla="*/ 26890 h 138932"/>
              <a:gd name="connsiteX59" fmla="*/ 71259 w 152377"/>
              <a:gd name="connsiteY59" fmla="*/ 4482 h 138932"/>
              <a:gd name="connsiteX60" fmla="*/ 64536 w 152377"/>
              <a:gd name="connsiteY60" fmla="*/ 31372 h 138932"/>
              <a:gd name="connsiteX61" fmla="*/ 87841 w 152377"/>
              <a:gd name="connsiteY61" fmla="*/ 31372 h 138932"/>
              <a:gd name="connsiteX62" fmla="*/ 93668 w 152377"/>
              <a:gd name="connsiteY62" fmla="*/ 53780 h 138932"/>
              <a:gd name="connsiteX63" fmla="*/ 59158 w 152377"/>
              <a:gd name="connsiteY63" fmla="*/ 53780 h 138932"/>
              <a:gd name="connsiteX64" fmla="*/ 64536 w 152377"/>
              <a:gd name="connsiteY64" fmla="*/ 31372 h 138932"/>
              <a:gd name="connsiteX65" fmla="*/ 44817 w 152377"/>
              <a:gd name="connsiteY65" fmla="*/ 58262 h 138932"/>
              <a:gd name="connsiteX66" fmla="*/ 107561 w 152377"/>
              <a:gd name="connsiteY66" fmla="*/ 58262 h 138932"/>
              <a:gd name="connsiteX67" fmla="*/ 107561 w 152377"/>
              <a:gd name="connsiteY67" fmla="*/ 67226 h 138932"/>
              <a:gd name="connsiteX68" fmla="*/ 44817 w 152377"/>
              <a:gd name="connsiteY68" fmla="*/ 67226 h 138932"/>
              <a:gd name="connsiteX69" fmla="*/ 44817 w 152377"/>
              <a:gd name="connsiteY69" fmla="*/ 58262 h 138932"/>
              <a:gd name="connsiteX70" fmla="*/ 31372 w 152377"/>
              <a:gd name="connsiteY70" fmla="*/ 80671 h 138932"/>
              <a:gd name="connsiteX71" fmla="*/ 31372 w 152377"/>
              <a:gd name="connsiteY71" fmla="*/ 71707 h 138932"/>
              <a:gd name="connsiteX72" fmla="*/ 121006 w 152377"/>
              <a:gd name="connsiteY72" fmla="*/ 71707 h 138932"/>
              <a:gd name="connsiteX73" fmla="*/ 121006 w 152377"/>
              <a:gd name="connsiteY73" fmla="*/ 80671 h 138932"/>
              <a:gd name="connsiteX74" fmla="*/ 109802 w 152377"/>
              <a:gd name="connsiteY74" fmla="*/ 80671 h 138932"/>
              <a:gd name="connsiteX75" fmla="*/ 42576 w 152377"/>
              <a:gd name="connsiteY75" fmla="*/ 80671 h 138932"/>
              <a:gd name="connsiteX76" fmla="*/ 31372 w 152377"/>
              <a:gd name="connsiteY76" fmla="*/ 80671 h 138932"/>
              <a:gd name="connsiteX77" fmla="*/ 44817 w 152377"/>
              <a:gd name="connsiteY77" fmla="*/ 85152 h 138932"/>
              <a:gd name="connsiteX78" fmla="*/ 107561 w 152377"/>
              <a:gd name="connsiteY78" fmla="*/ 85152 h 138932"/>
              <a:gd name="connsiteX79" fmla="*/ 107561 w 152377"/>
              <a:gd name="connsiteY79" fmla="*/ 101286 h 138932"/>
              <a:gd name="connsiteX80" fmla="*/ 103079 w 152377"/>
              <a:gd name="connsiteY80" fmla="*/ 100838 h 138932"/>
              <a:gd name="connsiteX81" fmla="*/ 88738 w 152377"/>
              <a:gd name="connsiteY81" fmla="*/ 108009 h 138932"/>
              <a:gd name="connsiteX82" fmla="*/ 76189 w 152377"/>
              <a:gd name="connsiteY82" fmla="*/ 114283 h 138932"/>
              <a:gd name="connsiteX83" fmla="*/ 63192 w 152377"/>
              <a:gd name="connsiteY83" fmla="*/ 108009 h 138932"/>
              <a:gd name="connsiteX84" fmla="*/ 49299 w 152377"/>
              <a:gd name="connsiteY84" fmla="*/ 100838 h 138932"/>
              <a:gd name="connsiteX85" fmla="*/ 44817 w 152377"/>
              <a:gd name="connsiteY85" fmla="*/ 101286 h 138932"/>
              <a:gd name="connsiteX86" fmla="*/ 44817 w 152377"/>
              <a:gd name="connsiteY86" fmla="*/ 85152 h 138932"/>
              <a:gd name="connsiteX87" fmla="*/ 147896 w 152377"/>
              <a:gd name="connsiteY87" fmla="*/ 134451 h 138932"/>
              <a:gd name="connsiteX88" fmla="*/ 4482 w 152377"/>
              <a:gd name="connsiteY88" fmla="*/ 134451 h 138932"/>
              <a:gd name="connsiteX89" fmla="*/ 4482 w 152377"/>
              <a:gd name="connsiteY89" fmla="*/ 105320 h 138932"/>
              <a:gd name="connsiteX90" fmla="*/ 12549 w 152377"/>
              <a:gd name="connsiteY90" fmla="*/ 111146 h 138932"/>
              <a:gd name="connsiteX91" fmla="*/ 24649 w 152377"/>
              <a:gd name="connsiteY91" fmla="*/ 118317 h 138932"/>
              <a:gd name="connsiteX92" fmla="*/ 38094 w 152377"/>
              <a:gd name="connsiteY92" fmla="*/ 111146 h 138932"/>
              <a:gd name="connsiteX93" fmla="*/ 49299 w 152377"/>
              <a:gd name="connsiteY93" fmla="*/ 104872 h 138932"/>
              <a:gd name="connsiteX94" fmla="*/ 60055 w 152377"/>
              <a:gd name="connsiteY94" fmla="*/ 110698 h 138932"/>
              <a:gd name="connsiteX95" fmla="*/ 76189 w 152377"/>
              <a:gd name="connsiteY95" fmla="*/ 118317 h 138932"/>
              <a:gd name="connsiteX96" fmla="*/ 91875 w 152377"/>
              <a:gd name="connsiteY96" fmla="*/ 110698 h 138932"/>
              <a:gd name="connsiteX97" fmla="*/ 103079 w 152377"/>
              <a:gd name="connsiteY97" fmla="*/ 104872 h 138932"/>
              <a:gd name="connsiteX98" fmla="*/ 113835 w 152377"/>
              <a:gd name="connsiteY98" fmla="*/ 110698 h 138932"/>
              <a:gd name="connsiteX99" fmla="*/ 127729 w 152377"/>
              <a:gd name="connsiteY99" fmla="*/ 118317 h 138932"/>
              <a:gd name="connsiteX100" fmla="*/ 140725 w 152377"/>
              <a:gd name="connsiteY100" fmla="*/ 110698 h 138932"/>
              <a:gd name="connsiteX101" fmla="*/ 147896 w 152377"/>
              <a:gd name="connsiteY101" fmla="*/ 105320 h 138932"/>
              <a:gd name="connsiteX102" fmla="*/ 147896 w 152377"/>
              <a:gd name="connsiteY102" fmla="*/ 134451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2377" h="138932">
                <a:moveTo>
                  <a:pt x="150137" y="100838"/>
                </a:moveTo>
                <a:cubicBezTo>
                  <a:pt x="142070" y="100838"/>
                  <a:pt x="139381" y="105320"/>
                  <a:pt x="137140" y="108457"/>
                </a:cubicBezTo>
                <a:cubicBezTo>
                  <a:pt x="134899" y="111594"/>
                  <a:pt x="133555" y="114283"/>
                  <a:pt x="127729" y="114283"/>
                </a:cubicBezTo>
                <a:cubicBezTo>
                  <a:pt x="121902" y="114283"/>
                  <a:pt x="119661" y="111594"/>
                  <a:pt x="116972" y="108457"/>
                </a:cubicBezTo>
                <a:cubicBezTo>
                  <a:pt x="115628" y="106664"/>
                  <a:pt x="113835" y="104872"/>
                  <a:pt x="112043" y="103527"/>
                </a:cubicBezTo>
                <a:lnTo>
                  <a:pt x="112043" y="85152"/>
                </a:lnTo>
                <a:lnTo>
                  <a:pt x="123247" y="85152"/>
                </a:lnTo>
                <a:cubicBezTo>
                  <a:pt x="124591" y="85152"/>
                  <a:pt x="125488" y="84256"/>
                  <a:pt x="125488" y="82912"/>
                </a:cubicBezTo>
                <a:lnTo>
                  <a:pt x="125488" y="69466"/>
                </a:lnTo>
                <a:cubicBezTo>
                  <a:pt x="125488" y="68122"/>
                  <a:pt x="124591" y="67226"/>
                  <a:pt x="123247" y="67226"/>
                </a:cubicBezTo>
                <a:lnTo>
                  <a:pt x="112043" y="67226"/>
                </a:lnTo>
                <a:lnTo>
                  <a:pt x="112043" y="56021"/>
                </a:lnTo>
                <a:cubicBezTo>
                  <a:pt x="112043" y="54677"/>
                  <a:pt x="111146" y="53780"/>
                  <a:pt x="109802" y="53780"/>
                </a:cubicBezTo>
                <a:lnTo>
                  <a:pt x="98149" y="53780"/>
                </a:lnTo>
                <a:lnTo>
                  <a:pt x="92323" y="31372"/>
                </a:lnTo>
                <a:lnTo>
                  <a:pt x="96357" y="31372"/>
                </a:lnTo>
                <a:cubicBezTo>
                  <a:pt x="97701" y="31372"/>
                  <a:pt x="98597" y="30476"/>
                  <a:pt x="98597" y="29131"/>
                </a:cubicBezTo>
                <a:cubicBezTo>
                  <a:pt x="98597" y="27787"/>
                  <a:pt x="97701" y="26890"/>
                  <a:pt x="96357" y="26890"/>
                </a:cubicBezTo>
                <a:lnTo>
                  <a:pt x="91427" y="26890"/>
                </a:lnTo>
                <a:lnTo>
                  <a:pt x="85601" y="4482"/>
                </a:lnTo>
                <a:lnTo>
                  <a:pt x="89634" y="4482"/>
                </a:lnTo>
                <a:cubicBezTo>
                  <a:pt x="90978" y="4482"/>
                  <a:pt x="91875" y="3585"/>
                  <a:pt x="91875" y="2241"/>
                </a:cubicBezTo>
                <a:cubicBezTo>
                  <a:pt x="91875" y="896"/>
                  <a:pt x="90978" y="0"/>
                  <a:pt x="89634" y="0"/>
                </a:cubicBezTo>
                <a:lnTo>
                  <a:pt x="82911" y="0"/>
                </a:lnTo>
                <a:lnTo>
                  <a:pt x="69466" y="0"/>
                </a:lnTo>
                <a:lnTo>
                  <a:pt x="62744" y="0"/>
                </a:lnTo>
                <a:cubicBezTo>
                  <a:pt x="61399" y="0"/>
                  <a:pt x="60503" y="896"/>
                  <a:pt x="60503" y="2241"/>
                </a:cubicBezTo>
                <a:cubicBezTo>
                  <a:pt x="60503" y="3585"/>
                  <a:pt x="61399" y="4482"/>
                  <a:pt x="62744" y="4482"/>
                </a:cubicBezTo>
                <a:lnTo>
                  <a:pt x="66777" y="4482"/>
                </a:lnTo>
                <a:lnTo>
                  <a:pt x="60951" y="26890"/>
                </a:lnTo>
                <a:lnTo>
                  <a:pt x="56021" y="26890"/>
                </a:lnTo>
                <a:cubicBezTo>
                  <a:pt x="54677" y="26890"/>
                  <a:pt x="53780" y="27787"/>
                  <a:pt x="53780" y="29131"/>
                </a:cubicBezTo>
                <a:cubicBezTo>
                  <a:pt x="53780" y="30476"/>
                  <a:pt x="54677" y="31372"/>
                  <a:pt x="56021" y="31372"/>
                </a:cubicBezTo>
                <a:lnTo>
                  <a:pt x="60055" y="31372"/>
                </a:lnTo>
                <a:lnTo>
                  <a:pt x="54229" y="53780"/>
                </a:lnTo>
                <a:lnTo>
                  <a:pt x="42576" y="53780"/>
                </a:lnTo>
                <a:cubicBezTo>
                  <a:pt x="41232" y="53780"/>
                  <a:pt x="40335" y="54677"/>
                  <a:pt x="40335" y="56021"/>
                </a:cubicBezTo>
                <a:lnTo>
                  <a:pt x="40335" y="67226"/>
                </a:lnTo>
                <a:lnTo>
                  <a:pt x="29131" y="67226"/>
                </a:lnTo>
                <a:cubicBezTo>
                  <a:pt x="27786" y="67226"/>
                  <a:pt x="26890" y="68122"/>
                  <a:pt x="26890" y="69466"/>
                </a:cubicBezTo>
                <a:lnTo>
                  <a:pt x="26890" y="82912"/>
                </a:lnTo>
                <a:cubicBezTo>
                  <a:pt x="26890" y="84256"/>
                  <a:pt x="27786" y="85152"/>
                  <a:pt x="29131" y="85152"/>
                </a:cubicBezTo>
                <a:lnTo>
                  <a:pt x="40335" y="85152"/>
                </a:lnTo>
                <a:lnTo>
                  <a:pt x="40335" y="103527"/>
                </a:lnTo>
                <a:cubicBezTo>
                  <a:pt x="38094" y="104872"/>
                  <a:pt x="36302" y="106664"/>
                  <a:pt x="34957" y="108457"/>
                </a:cubicBezTo>
                <a:cubicBezTo>
                  <a:pt x="31820" y="111594"/>
                  <a:pt x="29579" y="114283"/>
                  <a:pt x="24649" y="114283"/>
                </a:cubicBezTo>
                <a:cubicBezTo>
                  <a:pt x="20168" y="114283"/>
                  <a:pt x="18375" y="112043"/>
                  <a:pt x="16134" y="108905"/>
                </a:cubicBezTo>
                <a:cubicBezTo>
                  <a:pt x="13445" y="105320"/>
                  <a:pt x="10308" y="100838"/>
                  <a:pt x="2241" y="100838"/>
                </a:cubicBezTo>
                <a:cubicBezTo>
                  <a:pt x="896" y="100838"/>
                  <a:pt x="0" y="101735"/>
                  <a:pt x="0" y="103079"/>
                </a:cubicBezTo>
                <a:lnTo>
                  <a:pt x="0" y="136692"/>
                </a:lnTo>
                <a:cubicBezTo>
                  <a:pt x="0" y="138036"/>
                  <a:pt x="896" y="138933"/>
                  <a:pt x="2241" y="138933"/>
                </a:cubicBezTo>
                <a:lnTo>
                  <a:pt x="150137" y="138933"/>
                </a:lnTo>
                <a:cubicBezTo>
                  <a:pt x="151481" y="138933"/>
                  <a:pt x="152378" y="138036"/>
                  <a:pt x="152378" y="136692"/>
                </a:cubicBezTo>
                <a:lnTo>
                  <a:pt x="152378" y="103079"/>
                </a:lnTo>
                <a:cubicBezTo>
                  <a:pt x="152378" y="102183"/>
                  <a:pt x="151481" y="100838"/>
                  <a:pt x="150137" y="100838"/>
                </a:cubicBezTo>
                <a:close/>
                <a:moveTo>
                  <a:pt x="71259" y="4482"/>
                </a:moveTo>
                <a:lnTo>
                  <a:pt x="81119" y="4482"/>
                </a:lnTo>
                <a:lnTo>
                  <a:pt x="86945" y="26890"/>
                </a:lnTo>
                <a:lnTo>
                  <a:pt x="65881" y="26890"/>
                </a:lnTo>
                <a:lnTo>
                  <a:pt x="71259" y="4482"/>
                </a:lnTo>
                <a:close/>
                <a:moveTo>
                  <a:pt x="64536" y="31372"/>
                </a:moveTo>
                <a:lnTo>
                  <a:pt x="87841" y="31372"/>
                </a:lnTo>
                <a:lnTo>
                  <a:pt x="93668" y="53780"/>
                </a:lnTo>
                <a:lnTo>
                  <a:pt x="59158" y="53780"/>
                </a:lnTo>
                <a:lnTo>
                  <a:pt x="64536" y="31372"/>
                </a:lnTo>
                <a:close/>
                <a:moveTo>
                  <a:pt x="44817" y="58262"/>
                </a:moveTo>
                <a:lnTo>
                  <a:pt x="107561" y="58262"/>
                </a:lnTo>
                <a:lnTo>
                  <a:pt x="107561" y="67226"/>
                </a:lnTo>
                <a:lnTo>
                  <a:pt x="44817" y="67226"/>
                </a:lnTo>
                <a:lnTo>
                  <a:pt x="44817" y="58262"/>
                </a:lnTo>
                <a:close/>
                <a:moveTo>
                  <a:pt x="31372" y="80671"/>
                </a:moveTo>
                <a:lnTo>
                  <a:pt x="31372" y="71707"/>
                </a:lnTo>
                <a:lnTo>
                  <a:pt x="121006" y="71707"/>
                </a:lnTo>
                <a:lnTo>
                  <a:pt x="121006" y="80671"/>
                </a:lnTo>
                <a:lnTo>
                  <a:pt x="109802" y="80671"/>
                </a:lnTo>
                <a:lnTo>
                  <a:pt x="42576" y="80671"/>
                </a:lnTo>
                <a:lnTo>
                  <a:pt x="31372" y="80671"/>
                </a:lnTo>
                <a:close/>
                <a:moveTo>
                  <a:pt x="44817" y="85152"/>
                </a:moveTo>
                <a:lnTo>
                  <a:pt x="107561" y="85152"/>
                </a:lnTo>
                <a:lnTo>
                  <a:pt x="107561" y="101286"/>
                </a:lnTo>
                <a:cubicBezTo>
                  <a:pt x="106216" y="100838"/>
                  <a:pt x="104872" y="100838"/>
                  <a:pt x="103079" y="100838"/>
                </a:cubicBezTo>
                <a:cubicBezTo>
                  <a:pt x="95460" y="100838"/>
                  <a:pt x="91875" y="104872"/>
                  <a:pt x="88738" y="108009"/>
                </a:cubicBezTo>
                <a:cubicBezTo>
                  <a:pt x="85601" y="111146"/>
                  <a:pt x="82911" y="114283"/>
                  <a:pt x="76189" y="114283"/>
                </a:cubicBezTo>
                <a:cubicBezTo>
                  <a:pt x="69466" y="114283"/>
                  <a:pt x="66329" y="111146"/>
                  <a:pt x="63192" y="108009"/>
                </a:cubicBezTo>
                <a:cubicBezTo>
                  <a:pt x="60055" y="104872"/>
                  <a:pt x="56021" y="100838"/>
                  <a:pt x="49299" y="100838"/>
                </a:cubicBezTo>
                <a:cubicBezTo>
                  <a:pt x="47506" y="100838"/>
                  <a:pt x="46161" y="101286"/>
                  <a:pt x="44817" y="101286"/>
                </a:cubicBezTo>
                <a:lnTo>
                  <a:pt x="44817" y="85152"/>
                </a:lnTo>
                <a:close/>
                <a:moveTo>
                  <a:pt x="147896" y="134451"/>
                </a:moveTo>
                <a:lnTo>
                  <a:pt x="4482" y="134451"/>
                </a:lnTo>
                <a:lnTo>
                  <a:pt x="4482" y="105320"/>
                </a:lnTo>
                <a:cubicBezTo>
                  <a:pt x="8515" y="105768"/>
                  <a:pt x="10756" y="108457"/>
                  <a:pt x="12549" y="111146"/>
                </a:cubicBezTo>
                <a:cubicBezTo>
                  <a:pt x="15238" y="114731"/>
                  <a:pt x="17927" y="118317"/>
                  <a:pt x="24649" y="118317"/>
                </a:cubicBezTo>
                <a:cubicBezTo>
                  <a:pt x="31372" y="118317"/>
                  <a:pt x="34957" y="114283"/>
                  <a:pt x="38094" y="111146"/>
                </a:cubicBezTo>
                <a:cubicBezTo>
                  <a:pt x="41232" y="108009"/>
                  <a:pt x="43921" y="104872"/>
                  <a:pt x="49299" y="104872"/>
                </a:cubicBezTo>
                <a:cubicBezTo>
                  <a:pt x="54229" y="104872"/>
                  <a:pt x="56918" y="107561"/>
                  <a:pt x="60055" y="110698"/>
                </a:cubicBezTo>
                <a:cubicBezTo>
                  <a:pt x="63640" y="114283"/>
                  <a:pt x="67674" y="118317"/>
                  <a:pt x="76189" y="118317"/>
                </a:cubicBezTo>
                <a:cubicBezTo>
                  <a:pt x="84256" y="118317"/>
                  <a:pt x="88289" y="114283"/>
                  <a:pt x="91875" y="110698"/>
                </a:cubicBezTo>
                <a:cubicBezTo>
                  <a:pt x="95012" y="107561"/>
                  <a:pt x="97701" y="104872"/>
                  <a:pt x="103079" y="104872"/>
                </a:cubicBezTo>
                <a:cubicBezTo>
                  <a:pt x="108905" y="104872"/>
                  <a:pt x="111146" y="107561"/>
                  <a:pt x="113835" y="110698"/>
                </a:cubicBezTo>
                <a:cubicBezTo>
                  <a:pt x="116972" y="114283"/>
                  <a:pt x="120110" y="118317"/>
                  <a:pt x="127729" y="118317"/>
                </a:cubicBezTo>
                <a:cubicBezTo>
                  <a:pt x="135796" y="118317"/>
                  <a:pt x="138485" y="113835"/>
                  <a:pt x="140725" y="110698"/>
                </a:cubicBezTo>
                <a:cubicBezTo>
                  <a:pt x="142518" y="108009"/>
                  <a:pt x="143863" y="105768"/>
                  <a:pt x="147896" y="105320"/>
                </a:cubicBezTo>
                <a:lnTo>
                  <a:pt x="147896" y="134451"/>
                </a:lnTo>
                <a:close/>
              </a:path>
            </a:pathLst>
          </a:custGeom>
          <a:solidFill>
            <a:srgbClr val="231F20"/>
          </a:solidFill>
          <a:ln w="4477" cap="flat">
            <a:noFill/>
            <a:prstDash val="solid"/>
            <a:miter/>
          </a:ln>
        </p:spPr>
        <p:txBody>
          <a:bodyPr rtlCol="0" anchor="ctr"/>
          <a:lstStyle/>
          <a:p>
            <a:endParaRPr lang="en-US"/>
          </a:p>
        </p:txBody>
      </p:sp>
      <p:sp>
        <p:nvSpPr>
          <p:cNvPr id="3797" name="Freeform: Shape 3796">
            <a:extLst>
              <a:ext uri="{FF2B5EF4-FFF2-40B4-BE49-F238E27FC236}">
                <a16:creationId xmlns:a16="http://schemas.microsoft.com/office/drawing/2014/main" id="{99A3AF5E-4F71-4A8A-AACC-4FCAA2F96368}"/>
              </a:ext>
              <a:ext uri="{C183D7F6-B498-43B3-948B-1728B52AA6E4}">
                <adec:decorative xmlns:adec="http://schemas.microsoft.com/office/drawing/2017/decorative" val="1"/>
              </a:ext>
            </a:extLst>
          </p:cNvPr>
          <p:cNvSpPr>
            <a:spLocks noChangeAspect="1"/>
          </p:cNvSpPr>
          <p:nvPr/>
        </p:nvSpPr>
        <p:spPr>
          <a:xfrm>
            <a:off x="2690703" y="2405668"/>
            <a:ext cx="152378" cy="147896"/>
          </a:xfrm>
          <a:custGeom>
            <a:avLst/>
            <a:gdLst>
              <a:gd name="connsiteX0" fmla="*/ 150137 w 152377"/>
              <a:gd name="connsiteY0" fmla="*/ 120894 h 147896"/>
              <a:gd name="connsiteX1" fmla="*/ 138933 w 152377"/>
              <a:gd name="connsiteY1" fmla="*/ 120894 h 147896"/>
              <a:gd name="connsiteX2" fmla="*/ 138933 w 152377"/>
              <a:gd name="connsiteY2" fmla="*/ 69354 h 147896"/>
              <a:gd name="connsiteX3" fmla="*/ 136692 w 152377"/>
              <a:gd name="connsiteY3" fmla="*/ 67114 h 147896"/>
              <a:gd name="connsiteX4" fmla="*/ 134451 w 152377"/>
              <a:gd name="connsiteY4" fmla="*/ 69354 h 147896"/>
              <a:gd name="connsiteX5" fmla="*/ 134451 w 152377"/>
              <a:gd name="connsiteY5" fmla="*/ 120894 h 147896"/>
              <a:gd name="connsiteX6" fmla="*/ 111594 w 152377"/>
              <a:gd name="connsiteY6" fmla="*/ 120894 h 147896"/>
              <a:gd name="connsiteX7" fmla="*/ 92323 w 152377"/>
              <a:gd name="connsiteY7" fmla="*/ 35742 h 147896"/>
              <a:gd name="connsiteX8" fmla="*/ 127280 w 152377"/>
              <a:gd name="connsiteY8" fmla="*/ 30812 h 147896"/>
              <a:gd name="connsiteX9" fmla="*/ 134451 w 152377"/>
              <a:gd name="connsiteY9" fmla="*/ 56806 h 147896"/>
              <a:gd name="connsiteX10" fmla="*/ 135796 w 152377"/>
              <a:gd name="connsiteY10" fmla="*/ 58150 h 147896"/>
              <a:gd name="connsiteX11" fmla="*/ 136692 w 152377"/>
              <a:gd name="connsiteY11" fmla="*/ 58150 h 147896"/>
              <a:gd name="connsiteX12" fmla="*/ 138037 w 152377"/>
              <a:gd name="connsiteY12" fmla="*/ 57702 h 147896"/>
              <a:gd name="connsiteX13" fmla="*/ 152378 w 152377"/>
              <a:gd name="connsiteY13" fmla="*/ 29019 h 147896"/>
              <a:gd name="connsiteX14" fmla="*/ 138037 w 152377"/>
              <a:gd name="connsiteY14" fmla="*/ 336 h 147896"/>
              <a:gd name="connsiteX15" fmla="*/ 135796 w 152377"/>
              <a:gd name="connsiteY15" fmla="*/ 336 h 147896"/>
              <a:gd name="connsiteX16" fmla="*/ 122351 w 152377"/>
              <a:gd name="connsiteY16" fmla="*/ 7059 h 147896"/>
              <a:gd name="connsiteX17" fmla="*/ 121006 w 152377"/>
              <a:gd name="connsiteY17" fmla="*/ 9748 h 147896"/>
              <a:gd name="connsiteX18" fmla="*/ 125936 w 152377"/>
              <a:gd name="connsiteY18" fmla="*/ 26778 h 147896"/>
              <a:gd name="connsiteX19" fmla="*/ 89634 w 152377"/>
              <a:gd name="connsiteY19" fmla="*/ 32156 h 147896"/>
              <a:gd name="connsiteX20" fmla="*/ 89186 w 152377"/>
              <a:gd name="connsiteY20" fmla="*/ 32156 h 147896"/>
              <a:gd name="connsiteX21" fmla="*/ 86497 w 152377"/>
              <a:gd name="connsiteY21" fmla="*/ 32604 h 147896"/>
              <a:gd name="connsiteX22" fmla="*/ 82463 w 152377"/>
              <a:gd name="connsiteY22" fmla="*/ 30812 h 147896"/>
              <a:gd name="connsiteX23" fmla="*/ 77982 w 152377"/>
              <a:gd name="connsiteY23" fmla="*/ 33949 h 147896"/>
              <a:gd name="connsiteX24" fmla="*/ 75293 w 152377"/>
              <a:gd name="connsiteY24" fmla="*/ 34397 h 147896"/>
              <a:gd name="connsiteX25" fmla="*/ 75293 w 152377"/>
              <a:gd name="connsiteY25" fmla="*/ 34397 h 147896"/>
              <a:gd name="connsiteX26" fmla="*/ 28235 w 152377"/>
              <a:gd name="connsiteY26" fmla="*/ 41120 h 147896"/>
              <a:gd name="connsiteX27" fmla="*/ 26442 w 152377"/>
              <a:gd name="connsiteY27" fmla="*/ 43361 h 147896"/>
              <a:gd name="connsiteX28" fmla="*/ 26442 w 152377"/>
              <a:gd name="connsiteY28" fmla="*/ 70251 h 147896"/>
              <a:gd name="connsiteX29" fmla="*/ 28683 w 152377"/>
              <a:gd name="connsiteY29" fmla="*/ 72492 h 147896"/>
              <a:gd name="connsiteX30" fmla="*/ 30924 w 152377"/>
              <a:gd name="connsiteY30" fmla="*/ 70251 h 147896"/>
              <a:gd name="connsiteX31" fmla="*/ 30924 w 152377"/>
              <a:gd name="connsiteY31" fmla="*/ 45153 h 147896"/>
              <a:gd name="connsiteX32" fmla="*/ 72604 w 152377"/>
              <a:gd name="connsiteY32" fmla="*/ 39327 h 147896"/>
              <a:gd name="connsiteX33" fmla="*/ 54229 w 152377"/>
              <a:gd name="connsiteY33" fmla="*/ 120894 h 147896"/>
              <a:gd name="connsiteX34" fmla="*/ 44817 w 152377"/>
              <a:gd name="connsiteY34" fmla="*/ 120894 h 147896"/>
              <a:gd name="connsiteX35" fmla="*/ 44817 w 152377"/>
              <a:gd name="connsiteY35" fmla="*/ 96245 h 147896"/>
              <a:gd name="connsiteX36" fmla="*/ 29131 w 152377"/>
              <a:gd name="connsiteY36" fmla="*/ 80559 h 147896"/>
              <a:gd name="connsiteX37" fmla="*/ 13445 w 152377"/>
              <a:gd name="connsiteY37" fmla="*/ 96245 h 147896"/>
              <a:gd name="connsiteX38" fmla="*/ 13445 w 152377"/>
              <a:gd name="connsiteY38" fmla="*/ 120894 h 147896"/>
              <a:gd name="connsiteX39" fmla="*/ 2241 w 152377"/>
              <a:gd name="connsiteY39" fmla="*/ 120894 h 147896"/>
              <a:gd name="connsiteX40" fmla="*/ 0 w 152377"/>
              <a:gd name="connsiteY40" fmla="*/ 123135 h 147896"/>
              <a:gd name="connsiteX41" fmla="*/ 0 w 152377"/>
              <a:gd name="connsiteY41" fmla="*/ 150025 h 147896"/>
              <a:gd name="connsiteX42" fmla="*/ 2241 w 152377"/>
              <a:gd name="connsiteY42" fmla="*/ 152266 h 147896"/>
              <a:gd name="connsiteX43" fmla="*/ 150137 w 152377"/>
              <a:gd name="connsiteY43" fmla="*/ 152266 h 147896"/>
              <a:gd name="connsiteX44" fmla="*/ 152378 w 152377"/>
              <a:gd name="connsiteY44" fmla="*/ 150025 h 147896"/>
              <a:gd name="connsiteX45" fmla="*/ 152378 w 152377"/>
              <a:gd name="connsiteY45" fmla="*/ 123135 h 147896"/>
              <a:gd name="connsiteX46" fmla="*/ 150137 w 152377"/>
              <a:gd name="connsiteY46" fmla="*/ 120894 h 147896"/>
              <a:gd name="connsiteX47" fmla="*/ 136692 w 152377"/>
              <a:gd name="connsiteY47" fmla="*/ 4818 h 147896"/>
              <a:gd name="connsiteX48" fmla="*/ 148344 w 152377"/>
              <a:gd name="connsiteY48" fmla="*/ 29019 h 147896"/>
              <a:gd name="connsiteX49" fmla="*/ 138485 w 152377"/>
              <a:gd name="connsiteY49" fmla="*/ 51876 h 147896"/>
              <a:gd name="connsiteX50" fmla="*/ 126384 w 152377"/>
              <a:gd name="connsiteY50" fmla="*/ 9748 h 147896"/>
              <a:gd name="connsiteX51" fmla="*/ 136692 w 152377"/>
              <a:gd name="connsiteY51" fmla="*/ 4818 h 147896"/>
              <a:gd name="connsiteX52" fmla="*/ 77982 w 152377"/>
              <a:gd name="connsiteY52" fmla="*/ 37982 h 147896"/>
              <a:gd name="connsiteX53" fmla="*/ 79326 w 152377"/>
              <a:gd name="connsiteY53" fmla="*/ 37982 h 147896"/>
              <a:gd name="connsiteX54" fmla="*/ 83360 w 152377"/>
              <a:gd name="connsiteY54" fmla="*/ 40223 h 147896"/>
              <a:gd name="connsiteX55" fmla="*/ 87841 w 152377"/>
              <a:gd name="connsiteY55" fmla="*/ 37086 h 147896"/>
              <a:gd name="connsiteX56" fmla="*/ 88290 w 152377"/>
              <a:gd name="connsiteY56" fmla="*/ 37086 h 147896"/>
              <a:gd name="connsiteX57" fmla="*/ 107561 w 152377"/>
              <a:gd name="connsiteY57" fmla="*/ 121790 h 147896"/>
              <a:gd name="connsiteX58" fmla="*/ 85601 w 152377"/>
              <a:gd name="connsiteY58" fmla="*/ 121790 h 147896"/>
              <a:gd name="connsiteX59" fmla="*/ 85601 w 152377"/>
              <a:gd name="connsiteY59" fmla="*/ 97141 h 147896"/>
              <a:gd name="connsiteX60" fmla="*/ 83360 w 152377"/>
              <a:gd name="connsiteY60" fmla="*/ 94900 h 147896"/>
              <a:gd name="connsiteX61" fmla="*/ 81119 w 152377"/>
              <a:gd name="connsiteY61" fmla="*/ 97141 h 147896"/>
              <a:gd name="connsiteX62" fmla="*/ 81119 w 152377"/>
              <a:gd name="connsiteY62" fmla="*/ 121790 h 147896"/>
              <a:gd name="connsiteX63" fmla="*/ 58710 w 152377"/>
              <a:gd name="connsiteY63" fmla="*/ 121790 h 147896"/>
              <a:gd name="connsiteX64" fmla="*/ 77982 w 152377"/>
              <a:gd name="connsiteY64" fmla="*/ 37982 h 147896"/>
              <a:gd name="connsiteX65" fmla="*/ 17927 w 152377"/>
              <a:gd name="connsiteY65" fmla="*/ 96245 h 147896"/>
              <a:gd name="connsiteX66" fmla="*/ 29131 w 152377"/>
              <a:gd name="connsiteY66" fmla="*/ 85040 h 147896"/>
              <a:gd name="connsiteX67" fmla="*/ 40335 w 152377"/>
              <a:gd name="connsiteY67" fmla="*/ 96245 h 147896"/>
              <a:gd name="connsiteX68" fmla="*/ 40335 w 152377"/>
              <a:gd name="connsiteY68" fmla="*/ 120894 h 147896"/>
              <a:gd name="connsiteX69" fmla="*/ 17927 w 152377"/>
              <a:gd name="connsiteY69" fmla="*/ 120894 h 147896"/>
              <a:gd name="connsiteX70" fmla="*/ 17927 w 152377"/>
              <a:gd name="connsiteY70" fmla="*/ 96245 h 147896"/>
              <a:gd name="connsiteX71" fmla="*/ 147896 w 152377"/>
              <a:gd name="connsiteY71" fmla="*/ 147784 h 147896"/>
              <a:gd name="connsiteX72" fmla="*/ 4482 w 152377"/>
              <a:gd name="connsiteY72" fmla="*/ 147784 h 147896"/>
              <a:gd name="connsiteX73" fmla="*/ 4482 w 152377"/>
              <a:gd name="connsiteY73" fmla="*/ 125376 h 147896"/>
              <a:gd name="connsiteX74" fmla="*/ 55573 w 152377"/>
              <a:gd name="connsiteY74" fmla="*/ 125376 h 147896"/>
              <a:gd name="connsiteX75" fmla="*/ 55573 w 152377"/>
              <a:gd name="connsiteY75" fmla="*/ 125376 h 147896"/>
              <a:gd name="connsiteX76" fmla="*/ 56021 w 152377"/>
              <a:gd name="connsiteY76" fmla="*/ 125376 h 147896"/>
              <a:gd name="connsiteX77" fmla="*/ 56469 w 152377"/>
              <a:gd name="connsiteY77" fmla="*/ 125376 h 147896"/>
              <a:gd name="connsiteX78" fmla="*/ 82463 w 152377"/>
              <a:gd name="connsiteY78" fmla="*/ 125376 h 147896"/>
              <a:gd name="connsiteX79" fmla="*/ 82911 w 152377"/>
              <a:gd name="connsiteY79" fmla="*/ 125376 h 147896"/>
              <a:gd name="connsiteX80" fmla="*/ 83360 w 152377"/>
              <a:gd name="connsiteY80" fmla="*/ 125376 h 147896"/>
              <a:gd name="connsiteX81" fmla="*/ 109353 w 152377"/>
              <a:gd name="connsiteY81" fmla="*/ 125376 h 147896"/>
              <a:gd name="connsiteX82" fmla="*/ 110250 w 152377"/>
              <a:gd name="connsiteY82" fmla="*/ 125376 h 147896"/>
              <a:gd name="connsiteX83" fmla="*/ 110250 w 152377"/>
              <a:gd name="connsiteY83" fmla="*/ 125376 h 147896"/>
              <a:gd name="connsiteX84" fmla="*/ 147896 w 152377"/>
              <a:gd name="connsiteY84" fmla="*/ 125376 h 147896"/>
              <a:gd name="connsiteX85" fmla="*/ 147896 w 152377"/>
              <a:gd name="connsiteY85" fmla="*/ 147784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52377" h="147896">
                <a:moveTo>
                  <a:pt x="150137" y="120894"/>
                </a:moveTo>
                <a:lnTo>
                  <a:pt x="138933" y="120894"/>
                </a:lnTo>
                <a:lnTo>
                  <a:pt x="138933" y="69354"/>
                </a:lnTo>
                <a:cubicBezTo>
                  <a:pt x="138933" y="68010"/>
                  <a:pt x="138037" y="67114"/>
                  <a:pt x="136692" y="67114"/>
                </a:cubicBezTo>
                <a:cubicBezTo>
                  <a:pt x="135347" y="67114"/>
                  <a:pt x="134451" y="68010"/>
                  <a:pt x="134451" y="69354"/>
                </a:cubicBezTo>
                <a:lnTo>
                  <a:pt x="134451" y="120894"/>
                </a:lnTo>
                <a:lnTo>
                  <a:pt x="111594" y="120894"/>
                </a:lnTo>
                <a:lnTo>
                  <a:pt x="92323" y="35742"/>
                </a:lnTo>
                <a:lnTo>
                  <a:pt x="127280" y="30812"/>
                </a:lnTo>
                <a:lnTo>
                  <a:pt x="134451" y="56806"/>
                </a:lnTo>
                <a:cubicBezTo>
                  <a:pt x="134451" y="57702"/>
                  <a:pt x="135347" y="58150"/>
                  <a:pt x="135796" y="58150"/>
                </a:cubicBezTo>
                <a:cubicBezTo>
                  <a:pt x="136244" y="58150"/>
                  <a:pt x="136244" y="58150"/>
                  <a:pt x="136692" y="58150"/>
                </a:cubicBezTo>
                <a:cubicBezTo>
                  <a:pt x="137140" y="58150"/>
                  <a:pt x="137588" y="58150"/>
                  <a:pt x="138037" y="57702"/>
                </a:cubicBezTo>
                <a:cubicBezTo>
                  <a:pt x="138485" y="57254"/>
                  <a:pt x="152378" y="47842"/>
                  <a:pt x="152378" y="29019"/>
                </a:cubicBezTo>
                <a:cubicBezTo>
                  <a:pt x="152378" y="10196"/>
                  <a:pt x="138485" y="784"/>
                  <a:pt x="138037" y="336"/>
                </a:cubicBezTo>
                <a:cubicBezTo>
                  <a:pt x="137588" y="-112"/>
                  <a:pt x="136692" y="-112"/>
                  <a:pt x="135796" y="336"/>
                </a:cubicBezTo>
                <a:lnTo>
                  <a:pt x="122351" y="7059"/>
                </a:lnTo>
                <a:cubicBezTo>
                  <a:pt x="121454" y="7507"/>
                  <a:pt x="121006" y="8851"/>
                  <a:pt x="121006" y="9748"/>
                </a:cubicBezTo>
                <a:lnTo>
                  <a:pt x="125936" y="26778"/>
                </a:lnTo>
                <a:lnTo>
                  <a:pt x="89634" y="32156"/>
                </a:lnTo>
                <a:cubicBezTo>
                  <a:pt x="89634" y="32156"/>
                  <a:pt x="89634" y="32156"/>
                  <a:pt x="89186" y="32156"/>
                </a:cubicBezTo>
                <a:lnTo>
                  <a:pt x="86497" y="32604"/>
                </a:lnTo>
                <a:cubicBezTo>
                  <a:pt x="85601" y="31260"/>
                  <a:pt x="84256" y="30812"/>
                  <a:pt x="82463" y="30812"/>
                </a:cubicBezTo>
                <a:cubicBezTo>
                  <a:pt x="80222" y="30812"/>
                  <a:pt x="78430" y="32156"/>
                  <a:pt x="77982" y="33949"/>
                </a:cubicBezTo>
                <a:lnTo>
                  <a:pt x="75293" y="34397"/>
                </a:lnTo>
                <a:cubicBezTo>
                  <a:pt x="75293" y="34397"/>
                  <a:pt x="75293" y="34397"/>
                  <a:pt x="75293" y="34397"/>
                </a:cubicBezTo>
                <a:lnTo>
                  <a:pt x="28235" y="41120"/>
                </a:lnTo>
                <a:cubicBezTo>
                  <a:pt x="27338" y="41120"/>
                  <a:pt x="26442" y="42016"/>
                  <a:pt x="26442" y="43361"/>
                </a:cubicBezTo>
                <a:lnTo>
                  <a:pt x="26442" y="70251"/>
                </a:lnTo>
                <a:cubicBezTo>
                  <a:pt x="26442" y="71595"/>
                  <a:pt x="27338" y="72492"/>
                  <a:pt x="28683" y="72492"/>
                </a:cubicBezTo>
                <a:cubicBezTo>
                  <a:pt x="30027" y="72492"/>
                  <a:pt x="30924" y="71595"/>
                  <a:pt x="30924" y="70251"/>
                </a:cubicBezTo>
                <a:lnTo>
                  <a:pt x="30924" y="45153"/>
                </a:lnTo>
                <a:lnTo>
                  <a:pt x="72604" y="39327"/>
                </a:lnTo>
                <a:lnTo>
                  <a:pt x="54229" y="120894"/>
                </a:lnTo>
                <a:lnTo>
                  <a:pt x="44817" y="120894"/>
                </a:lnTo>
                <a:lnTo>
                  <a:pt x="44817" y="96245"/>
                </a:lnTo>
                <a:cubicBezTo>
                  <a:pt x="44817" y="90867"/>
                  <a:pt x="41680" y="80559"/>
                  <a:pt x="29131" y="80559"/>
                </a:cubicBezTo>
                <a:cubicBezTo>
                  <a:pt x="16582" y="80559"/>
                  <a:pt x="13445" y="90867"/>
                  <a:pt x="13445" y="96245"/>
                </a:cubicBezTo>
                <a:lnTo>
                  <a:pt x="13445" y="120894"/>
                </a:lnTo>
                <a:lnTo>
                  <a:pt x="2241" y="120894"/>
                </a:lnTo>
                <a:cubicBezTo>
                  <a:pt x="896" y="120894"/>
                  <a:pt x="0" y="121790"/>
                  <a:pt x="0" y="123135"/>
                </a:cubicBezTo>
                <a:lnTo>
                  <a:pt x="0" y="150025"/>
                </a:lnTo>
                <a:cubicBezTo>
                  <a:pt x="0" y="151369"/>
                  <a:pt x="896" y="152266"/>
                  <a:pt x="2241" y="152266"/>
                </a:cubicBezTo>
                <a:lnTo>
                  <a:pt x="150137" y="152266"/>
                </a:lnTo>
                <a:cubicBezTo>
                  <a:pt x="151482" y="152266"/>
                  <a:pt x="152378" y="151369"/>
                  <a:pt x="152378" y="150025"/>
                </a:cubicBezTo>
                <a:lnTo>
                  <a:pt x="152378" y="123135"/>
                </a:lnTo>
                <a:cubicBezTo>
                  <a:pt x="152378" y="121790"/>
                  <a:pt x="151482" y="120894"/>
                  <a:pt x="150137" y="120894"/>
                </a:cubicBezTo>
                <a:close/>
                <a:moveTo>
                  <a:pt x="136692" y="4818"/>
                </a:moveTo>
                <a:cubicBezTo>
                  <a:pt x="139829" y="7059"/>
                  <a:pt x="148344" y="15574"/>
                  <a:pt x="148344" y="29019"/>
                </a:cubicBezTo>
                <a:cubicBezTo>
                  <a:pt x="148344" y="41120"/>
                  <a:pt x="142070" y="48739"/>
                  <a:pt x="138485" y="51876"/>
                </a:cubicBezTo>
                <a:lnTo>
                  <a:pt x="126384" y="9748"/>
                </a:lnTo>
                <a:lnTo>
                  <a:pt x="136692" y="4818"/>
                </a:lnTo>
                <a:close/>
                <a:moveTo>
                  <a:pt x="77982" y="37982"/>
                </a:moveTo>
                <a:lnTo>
                  <a:pt x="79326" y="37982"/>
                </a:lnTo>
                <a:cubicBezTo>
                  <a:pt x="80222" y="39327"/>
                  <a:pt x="81567" y="40223"/>
                  <a:pt x="83360" y="40223"/>
                </a:cubicBezTo>
                <a:cubicBezTo>
                  <a:pt x="85601" y="40223"/>
                  <a:pt x="87393" y="38879"/>
                  <a:pt x="87841" y="37086"/>
                </a:cubicBezTo>
                <a:lnTo>
                  <a:pt x="88290" y="37086"/>
                </a:lnTo>
                <a:lnTo>
                  <a:pt x="107561" y="121790"/>
                </a:lnTo>
                <a:lnTo>
                  <a:pt x="85601" y="121790"/>
                </a:lnTo>
                <a:lnTo>
                  <a:pt x="85601" y="97141"/>
                </a:lnTo>
                <a:cubicBezTo>
                  <a:pt x="85601" y="95797"/>
                  <a:pt x="84704" y="94900"/>
                  <a:pt x="83360" y="94900"/>
                </a:cubicBezTo>
                <a:cubicBezTo>
                  <a:pt x="82015" y="94900"/>
                  <a:pt x="81119" y="95797"/>
                  <a:pt x="81119" y="97141"/>
                </a:cubicBezTo>
                <a:lnTo>
                  <a:pt x="81119" y="121790"/>
                </a:lnTo>
                <a:lnTo>
                  <a:pt x="58710" y="121790"/>
                </a:lnTo>
                <a:lnTo>
                  <a:pt x="77982" y="37982"/>
                </a:lnTo>
                <a:close/>
                <a:moveTo>
                  <a:pt x="17927" y="96245"/>
                </a:moveTo>
                <a:cubicBezTo>
                  <a:pt x="17927" y="95797"/>
                  <a:pt x="17927" y="85040"/>
                  <a:pt x="29131" y="85040"/>
                </a:cubicBezTo>
                <a:cubicBezTo>
                  <a:pt x="39887" y="85040"/>
                  <a:pt x="40335" y="94900"/>
                  <a:pt x="40335" y="96245"/>
                </a:cubicBezTo>
                <a:lnTo>
                  <a:pt x="40335" y="120894"/>
                </a:lnTo>
                <a:lnTo>
                  <a:pt x="17927" y="120894"/>
                </a:lnTo>
                <a:lnTo>
                  <a:pt x="17927" y="96245"/>
                </a:lnTo>
                <a:close/>
                <a:moveTo>
                  <a:pt x="147896" y="147784"/>
                </a:moveTo>
                <a:lnTo>
                  <a:pt x="4482" y="147784"/>
                </a:lnTo>
                <a:lnTo>
                  <a:pt x="4482" y="125376"/>
                </a:lnTo>
                <a:lnTo>
                  <a:pt x="55573" y="125376"/>
                </a:lnTo>
                <a:cubicBezTo>
                  <a:pt x="55573" y="125376"/>
                  <a:pt x="55573" y="125376"/>
                  <a:pt x="55573" y="125376"/>
                </a:cubicBezTo>
                <a:cubicBezTo>
                  <a:pt x="55573" y="125376"/>
                  <a:pt x="56021" y="125376"/>
                  <a:pt x="56021" y="125376"/>
                </a:cubicBezTo>
                <a:cubicBezTo>
                  <a:pt x="56021" y="125376"/>
                  <a:pt x="56469" y="125376"/>
                  <a:pt x="56469" y="125376"/>
                </a:cubicBezTo>
                <a:lnTo>
                  <a:pt x="82463" y="125376"/>
                </a:lnTo>
                <a:cubicBezTo>
                  <a:pt x="82463" y="125376"/>
                  <a:pt x="82911" y="125376"/>
                  <a:pt x="82911" y="125376"/>
                </a:cubicBezTo>
                <a:cubicBezTo>
                  <a:pt x="82911" y="125376"/>
                  <a:pt x="83360" y="125376"/>
                  <a:pt x="83360" y="125376"/>
                </a:cubicBezTo>
                <a:lnTo>
                  <a:pt x="109353" y="125376"/>
                </a:lnTo>
                <a:cubicBezTo>
                  <a:pt x="109802" y="125376"/>
                  <a:pt x="109802" y="125376"/>
                  <a:pt x="110250" y="125376"/>
                </a:cubicBezTo>
                <a:cubicBezTo>
                  <a:pt x="110250" y="125376"/>
                  <a:pt x="110250" y="125376"/>
                  <a:pt x="110250" y="125376"/>
                </a:cubicBezTo>
                <a:lnTo>
                  <a:pt x="147896" y="125376"/>
                </a:lnTo>
                <a:lnTo>
                  <a:pt x="147896" y="147784"/>
                </a:lnTo>
                <a:close/>
              </a:path>
            </a:pathLst>
          </a:custGeom>
          <a:solidFill>
            <a:srgbClr val="231F20"/>
          </a:solidFill>
          <a:ln w="4477" cap="flat">
            <a:noFill/>
            <a:prstDash val="solid"/>
            <a:miter/>
          </a:ln>
        </p:spPr>
        <p:txBody>
          <a:bodyPr rtlCol="0" anchor="ctr"/>
          <a:lstStyle/>
          <a:p>
            <a:endParaRPr lang="en-US"/>
          </a:p>
        </p:txBody>
      </p:sp>
      <p:sp>
        <p:nvSpPr>
          <p:cNvPr id="3798" name="Freeform: Shape 3797">
            <a:extLst>
              <a:ext uri="{FF2B5EF4-FFF2-40B4-BE49-F238E27FC236}">
                <a16:creationId xmlns:a16="http://schemas.microsoft.com/office/drawing/2014/main" id="{3EF6E797-891C-42AB-9264-842CD0FD045F}"/>
              </a:ext>
              <a:ext uri="{C183D7F6-B498-43B3-948B-1728B52AA6E4}">
                <adec:decorative xmlns:adec="http://schemas.microsoft.com/office/drawing/2017/decorative" val="1"/>
              </a:ext>
            </a:extLst>
          </p:cNvPr>
          <p:cNvSpPr>
            <a:spLocks noChangeAspect="1"/>
          </p:cNvSpPr>
          <p:nvPr/>
        </p:nvSpPr>
        <p:spPr>
          <a:xfrm>
            <a:off x="2946535" y="2404211"/>
            <a:ext cx="152378" cy="147896"/>
          </a:xfrm>
          <a:custGeom>
            <a:avLst/>
            <a:gdLst>
              <a:gd name="connsiteX0" fmla="*/ 145728 w 152377"/>
              <a:gd name="connsiteY0" fmla="*/ 103079 h 147896"/>
              <a:gd name="connsiteX1" fmla="*/ 152899 w 152377"/>
              <a:gd name="connsiteY1" fmla="*/ 84256 h 147896"/>
              <a:gd name="connsiteX2" fmla="*/ 126009 w 152377"/>
              <a:gd name="connsiteY2" fmla="*/ 55125 h 147896"/>
              <a:gd name="connsiteX3" fmla="*/ 126009 w 152377"/>
              <a:gd name="connsiteY3" fmla="*/ 50195 h 147896"/>
              <a:gd name="connsiteX4" fmla="*/ 110323 w 152377"/>
              <a:gd name="connsiteY4" fmla="*/ 34509 h 147896"/>
              <a:gd name="connsiteX5" fmla="*/ 71780 w 152377"/>
              <a:gd name="connsiteY5" fmla="*/ 34509 h 147896"/>
              <a:gd name="connsiteX6" fmla="*/ 71780 w 152377"/>
              <a:gd name="connsiteY6" fmla="*/ 30027 h 147896"/>
              <a:gd name="connsiteX7" fmla="*/ 67747 w 152377"/>
              <a:gd name="connsiteY7" fmla="*/ 18375 h 147896"/>
              <a:gd name="connsiteX8" fmla="*/ 58335 w 152377"/>
              <a:gd name="connsiteY8" fmla="*/ 14342 h 147896"/>
              <a:gd name="connsiteX9" fmla="*/ 58335 w 152377"/>
              <a:gd name="connsiteY9" fmla="*/ 5378 h 147896"/>
              <a:gd name="connsiteX10" fmla="*/ 69540 w 152377"/>
              <a:gd name="connsiteY10" fmla="*/ 5378 h 147896"/>
              <a:gd name="connsiteX11" fmla="*/ 71780 w 152377"/>
              <a:gd name="connsiteY11" fmla="*/ 3137 h 147896"/>
              <a:gd name="connsiteX12" fmla="*/ 69540 w 152377"/>
              <a:gd name="connsiteY12" fmla="*/ 896 h 147896"/>
              <a:gd name="connsiteX13" fmla="*/ 42649 w 152377"/>
              <a:gd name="connsiteY13" fmla="*/ 896 h 147896"/>
              <a:gd name="connsiteX14" fmla="*/ 40408 w 152377"/>
              <a:gd name="connsiteY14" fmla="*/ 3137 h 147896"/>
              <a:gd name="connsiteX15" fmla="*/ 42649 w 152377"/>
              <a:gd name="connsiteY15" fmla="*/ 5378 h 147896"/>
              <a:gd name="connsiteX16" fmla="*/ 53854 w 152377"/>
              <a:gd name="connsiteY16" fmla="*/ 5378 h 147896"/>
              <a:gd name="connsiteX17" fmla="*/ 53854 w 152377"/>
              <a:gd name="connsiteY17" fmla="*/ 14342 h 147896"/>
              <a:gd name="connsiteX18" fmla="*/ 44442 w 152377"/>
              <a:gd name="connsiteY18" fmla="*/ 18375 h 147896"/>
              <a:gd name="connsiteX19" fmla="*/ 40408 w 152377"/>
              <a:gd name="connsiteY19" fmla="*/ 29579 h 147896"/>
              <a:gd name="connsiteX20" fmla="*/ 40408 w 152377"/>
              <a:gd name="connsiteY20" fmla="*/ 43024 h 147896"/>
              <a:gd name="connsiteX21" fmla="*/ 40408 w 152377"/>
              <a:gd name="connsiteY21" fmla="*/ 43024 h 147896"/>
              <a:gd name="connsiteX22" fmla="*/ 40408 w 152377"/>
              <a:gd name="connsiteY22" fmla="*/ 43024 h 147896"/>
              <a:gd name="connsiteX23" fmla="*/ 40408 w 152377"/>
              <a:gd name="connsiteY23" fmla="*/ 62744 h 147896"/>
              <a:gd name="connsiteX24" fmla="*/ 40408 w 152377"/>
              <a:gd name="connsiteY24" fmla="*/ 62744 h 147896"/>
              <a:gd name="connsiteX25" fmla="*/ 40408 w 152377"/>
              <a:gd name="connsiteY25" fmla="*/ 62744 h 147896"/>
              <a:gd name="connsiteX26" fmla="*/ 40408 w 152377"/>
              <a:gd name="connsiteY26" fmla="*/ 82912 h 147896"/>
              <a:gd name="connsiteX27" fmla="*/ 40408 w 152377"/>
              <a:gd name="connsiteY27" fmla="*/ 82912 h 147896"/>
              <a:gd name="connsiteX28" fmla="*/ 40408 w 152377"/>
              <a:gd name="connsiteY28" fmla="*/ 82912 h 147896"/>
              <a:gd name="connsiteX29" fmla="*/ 40408 w 152377"/>
              <a:gd name="connsiteY29" fmla="*/ 94116 h 147896"/>
              <a:gd name="connsiteX30" fmla="*/ 31445 w 152377"/>
              <a:gd name="connsiteY30" fmla="*/ 94116 h 147896"/>
              <a:gd name="connsiteX31" fmla="*/ 31445 w 152377"/>
              <a:gd name="connsiteY31" fmla="*/ 29131 h 147896"/>
              <a:gd name="connsiteX32" fmla="*/ 27411 w 152377"/>
              <a:gd name="connsiteY32" fmla="*/ 17478 h 147896"/>
              <a:gd name="connsiteX33" fmla="*/ 18000 w 152377"/>
              <a:gd name="connsiteY33" fmla="*/ 13445 h 147896"/>
              <a:gd name="connsiteX34" fmla="*/ 18000 w 152377"/>
              <a:gd name="connsiteY34" fmla="*/ 4482 h 147896"/>
              <a:gd name="connsiteX35" fmla="*/ 29204 w 152377"/>
              <a:gd name="connsiteY35" fmla="*/ 4482 h 147896"/>
              <a:gd name="connsiteX36" fmla="*/ 31445 w 152377"/>
              <a:gd name="connsiteY36" fmla="*/ 2241 h 147896"/>
              <a:gd name="connsiteX37" fmla="*/ 29204 w 152377"/>
              <a:gd name="connsiteY37" fmla="*/ 0 h 147896"/>
              <a:gd name="connsiteX38" fmla="*/ 2314 w 152377"/>
              <a:gd name="connsiteY38" fmla="*/ 0 h 147896"/>
              <a:gd name="connsiteX39" fmla="*/ 73 w 152377"/>
              <a:gd name="connsiteY39" fmla="*/ 2241 h 147896"/>
              <a:gd name="connsiteX40" fmla="*/ 2314 w 152377"/>
              <a:gd name="connsiteY40" fmla="*/ 4482 h 147896"/>
              <a:gd name="connsiteX41" fmla="*/ 13518 w 152377"/>
              <a:gd name="connsiteY41" fmla="*/ 4482 h 147896"/>
              <a:gd name="connsiteX42" fmla="*/ 13518 w 152377"/>
              <a:gd name="connsiteY42" fmla="*/ 13445 h 147896"/>
              <a:gd name="connsiteX43" fmla="*/ 4107 w 152377"/>
              <a:gd name="connsiteY43" fmla="*/ 17478 h 147896"/>
              <a:gd name="connsiteX44" fmla="*/ 73 w 152377"/>
              <a:gd name="connsiteY44" fmla="*/ 28683 h 147896"/>
              <a:gd name="connsiteX45" fmla="*/ 73 w 152377"/>
              <a:gd name="connsiteY45" fmla="*/ 41680 h 147896"/>
              <a:gd name="connsiteX46" fmla="*/ 73 w 152377"/>
              <a:gd name="connsiteY46" fmla="*/ 42128 h 147896"/>
              <a:gd name="connsiteX47" fmla="*/ 73 w 152377"/>
              <a:gd name="connsiteY47" fmla="*/ 42576 h 147896"/>
              <a:gd name="connsiteX48" fmla="*/ 73 w 152377"/>
              <a:gd name="connsiteY48" fmla="*/ 62296 h 147896"/>
              <a:gd name="connsiteX49" fmla="*/ 73 w 152377"/>
              <a:gd name="connsiteY49" fmla="*/ 62744 h 147896"/>
              <a:gd name="connsiteX50" fmla="*/ 73 w 152377"/>
              <a:gd name="connsiteY50" fmla="*/ 63192 h 147896"/>
              <a:gd name="connsiteX51" fmla="*/ 73 w 152377"/>
              <a:gd name="connsiteY51" fmla="*/ 82912 h 147896"/>
              <a:gd name="connsiteX52" fmla="*/ 73 w 152377"/>
              <a:gd name="connsiteY52" fmla="*/ 82912 h 147896"/>
              <a:gd name="connsiteX53" fmla="*/ 73 w 152377"/>
              <a:gd name="connsiteY53" fmla="*/ 82912 h 147896"/>
              <a:gd name="connsiteX54" fmla="*/ 73 w 152377"/>
              <a:gd name="connsiteY54" fmla="*/ 95908 h 147896"/>
              <a:gd name="connsiteX55" fmla="*/ 3658 w 152377"/>
              <a:gd name="connsiteY55" fmla="*/ 107113 h 147896"/>
              <a:gd name="connsiteX56" fmla="*/ 13518 w 152377"/>
              <a:gd name="connsiteY56" fmla="*/ 111594 h 147896"/>
              <a:gd name="connsiteX57" fmla="*/ 13518 w 152377"/>
              <a:gd name="connsiteY57" fmla="*/ 120558 h 147896"/>
              <a:gd name="connsiteX58" fmla="*/ 2314 w 152377"/>
              <a:gd name="connsiteY58" fmla="*/ 120558 h 147896"/>
              <a:gd name="connsiteX59" fmla="*/ 73 w 152377"/>
              <a:gd name="connsiteY59" fmla="*/ 122798 h 147896"/>
              <a:gd name="connsiteX60" fmla="*/ 73 w 152377"/>
              <a:gd name="connsiteY60" fmla="*/ 149689 h 147896"/>
              <a:gd name="connsiteX61" fmla="*/ 2314 w 152377"/>
              <a:gd name="connsiteY61" fmla="*/ 151930 h 147896"/>
              <a:gd name="connsiteX62" fmla="*/ 150210 w 152377"/>
              <a:gd name="connsiteY62" fmla="*/ 151930 h 147896"/>
              <a:gd name="connsiteX63" fmla="*/ 152451 w 152377"/>
              <a:gd name="connsiteY63" fmla="*/ 149689 h 147896"/>
              <a:gd name="connsiteX64" fmla="*/ 152451 w 152377"/>
              <a:gd name="connsiteY64" fmla="*/ 122798 h 147896"/>
              <a:gd name="connsiteX65" fmla="*/ 152451 w 152377"/>
              <a:gd name="connsiteY65" fmla="*/ 109353 h 147896"/>
              <a:gd name="connsiteX66" fmla="*/ 152003 w 152377"/>
              <a:gd name="connsiteY66" fmla="*/ 107561 h 147896"/>
              <a:gd name="connsiteX67" fmla="*/ 145728 w 152377"/>
              <a:gd name="connsiteY67" fmla="*/ 103079 h 147896"/>
              <a:gd name="connsiteX68" fmla="*/ 147969 w 152377"/>
              <a:gd name="connsiteY68" fmla="*/ 122350 h 147896"/>
              <a:gd name="connsiteX69" fmla="*/ 98671 w 152377"/>
              <a:gd name="connsiteY69" fmla="*/ 122350 h 147896"/>
              <a:gd name="connsiteX70" fmla="*/ 98671 w 152377"/>
              <a:gd name="connsiteY70" fmla="*/ 112043 h 147896"/>
              <a:gd name="connsiteX71" fmla="*/ 104497 w 152377"/>
              <a:gd name="connsiteY71" fmla="*/ 106216 h 147896"/>
              <a:gd name="connsiteX72" fmla="*/ 123320 w 152377"/>
              <a:gd name="connsiteY72" fmla="*/ 113387 h 147896"/>
              <a:gd name="connsiteX73" fmla="*/ 142143 w 152377"/>
              <a:gd name="connsiteY73" fmla="*/ 106216 h 147896"/>
              <a:gd name="connsiteX74" fmla="*/ 147969 w 152377"/>
              <a:gd name="connsiteY74" fmla="*/ 112043 h 147896"/>
              <a:gd name="connsiteX75" fmla="*/ 147969 w 152377"/>
              <a:gd name="connsiteY75" fmla="*/ 122350 h 147896"/>
              <a:gd name="connsiteX76" fmla="*/ 147969 w 152377"/>
              <a:gd name="connsiteY76" fmla="*/ 84256 h 147896"/>
              <a:gd name="connsiteX77" fmla="*/ 123320 w 152377"/>
              <a:gd name="connsiteY77" fmla="*/ 108905 h 147896"/>
              <a:gd name="connsiteX78" fmla="*/ 98671 w 152377"/>
              <a:gd name="connsiteY78" fmla="*/ 84256 h 147896"/>
              <a:gd name="connsiteX79" fmla="*/ 123320 w 152377"/>
              <a:gd name="connsiteY79" fmla="*/ 59607 h 147896"/>
              <a:gd name="connsiteX80" fmla="*/ 147969 w 152377"/>
              <a:gd name="connsiteY80" fmla="*/ 84256 h 147896"/>
              <a:gd name="connsiteX81" fmla="*/ 109875 w 152377"/>
              <a:gd name="connsiteY81" fmla="*/ 39439 h 147896"/>
              <a:gd name="connsiteX82" fmla="*/ 121079 w 152377"/>
              <a:gd name="connsiteY82" fmla="*/ 50643 h 147896"/>
              <a:gd name="connsiteX83" fmla="*/ 121079 w 152377"/>
              <a:gd name="connsiteY83" fmla="*/ 55125 h 147896"/>
              <a:gd name="connsiteX84" fmla="*/ 94189 w 152377"/>
              <a:gd name="connsiteY84" fmla="*/ 84256 h 147896"/>
              <a:gd name="connsiteX85" fmla="*/ 101360 w 152377"/>
              <a:gd name="connsiteY85" fmla="*/ 103079 h 147896"/>
              <a:gd name="connsiteX86" fmla="*/ 95085 w 152377"/>
              <a:gd name="connsiteY86" fmla="*/ 109353 h 147896"/>
              <a:gd name="connsiteX87" fmla="*/ 94637 w 152377"/>
              <a:gd name="connsiteY87" fmla="*/ 111146 h 147896"/>
              <a:gd name="connsiteX88" fmla="*/ 94637 w 152377"/>
              <a:gd name="connsiteY88" fmla="*/ 122350 h 147896"/>
              <a:gd name="connsiteX89" fmla="*/ 58783 w 152377"/>
              <a:gd name="connsiteY89" fmla="*/ 122350 h 147896"/>
              <a:gd name="connsiteX90" fmla="*/ 58783 w 152377"/>
              <a:gd name="connsiteY90" fmla="*/ 113387 h 147896"/>
              <a:gd name="connsiteX91" fmla="*/ 68643 w 152377"/>
              <a:gd name="connsiteY91" fmla="*/ 108905 h 147896"/>
              <a:gd name="connsiteX92" fmla="*/ 72228 w 152377"/>
              <a:gd name="connsiteY92" fmla="*/ 97701 h 147896"/>
              <a:gd name="connsiteX93" fmla="*/ 72228 w 152377"/>
              <a:gd name="connsiteY93" fmla="*/ 39439 h 147896"/>
              <a:gd name="connsiteX94" fmla="*/ 109875 w 152377"/>
              <a:gd name="connsiteY94" fmla="*/ 39439 h 147896"/>
              <a:gd name="connsiteX95" fmla="*/ 48027 w 152377"/>
              <a:gd name="connsiteY95" fmla="*/ 22409 h 147896"/>
              <a:gd name="connsiteX96" fmla="*/ 56094 w 152377"/>
              <a:gd name="connsiteY96" fmla="*/ 19271 h 147896"/>
              <a:gd name="connsiteX97" fmla="*/ 64161 w 152377"/>
              <a:gd name="connsiteY97" fmla="*/ 22409 h 147896"/>
              <a:gd name="connsiteX98" fmla="*/ 67299 w 152377"/>
              <a:gd name="connsiteY98" fmla="*/ 30476 h 147896"/>
              <a:gd name="connsiteX99" fmla="*/ 67299 w 152377"/>
              <a:gd name="connsiteY99" fmla="*/ 98149 h 147896"/>
              <a:gd name="connsiteX100" fmla="*/ 65058 w 152377"/>
              <a:gd name="connsiteY100" fmla="*/ 105768 h 147896"/>
              <a:gd name="connsiteX101" fmla="*/ 56094 w 152377"/>
              <a:gd name="connsiteY101" fmla="*/ 108905 h 147896"/>
              <a:gd name="connsiteX102" fmla="*/ 47131 w 152377"/>
              <a:gd name="connsiteY102" fmla="*/ 105768 h 147896"/>
              <a:gd name="connsiteX103" fmla="*/ 44890 w 152377"/>
              <a:gd name="connsiteY103" fmla="*/ 97701 h 147896"/>
              <a:gd name="connsiteX104" fmla="*/ 44890 w 152377"/>
              <a:gd name="connsiteY104" fmla="*/ 86497 h 147896"/>
              <a:gd name="connsiteX105" fmla="*/ 49372 w 152377"/>
              <a:gd name="connsiteY105" fmla="*/ 86497 h 147896"/>
              <a:gd name="connsiteX106" fmla="*/ 51613 w 152377"/>
              <a:gd name="connsiteY106" fmla="*/ 84256 h 147896"/>
              <a:gd name="connsiteX107" fmla="*/ 49372 w 152377"/>
              <a:gd name="connsiteY107" fmla="*/ 82015 h 147896"/>
              <a:gd name="connsiteX108" fmla="*/ 44890 w 152377"/>
              <a:gd name="connsiteY108" fmla="*/ 82015 h 147896"/>
              <a:gd name="connsiteX109" fmla="*/ 44890 w 152377"/>
              <a:gd name="connsiteY109" fmla="*/ 66329 h 147896"/>
              <a:gd name="connsiteX110" fmla="*/ 49372 w 152377"/>
              <a:gd name="connsiteY110" fmla="*/ 66329 h 147896"/>
              <a:gd name="connsiteX111" fmla="*/ 51613 w 152377"/>
              <a:gd name="connsiteY111" fmla="*/ 64088 h 147896"/>
              <a:gd name="connsiteX112" fmla="*/ 49372 w 152377"/>
              <a:gd name="connsiteY112" fmla="*/ 61847 h 147896"/>
              <a:gd name="connsiteX113" fmla="*/ 44890 w 152377"/>
              <a:gd name="connsiteY113" fmla="*/ 61847 h 147896"/>
              <a:gd name="connsiteX114" fmla="*/ 44890 w 152377"/>
              <a:gd name="connsiteY114" fmla="*/ 46161 h 147896"/>
              <a:gd name="connsiteX115" fmla="*/ 49372 w 152377"/>
              <a:gd name="connsiteY115" fmla="*/ 46161 h 147896"/>
              <a:gd name="connsiteX116" fmla="*/ 51613 w 152377"/>
              <a:gd name="connsiteY116" fmla="*/ 43921 h 147896"/>
              <a:gd name="connsiteX117" fmla="*/ 49372 w 152377"/>
              <a:gd name="connsiteY117" fmla="*/ 41680 h 147896"/>
              <a:gd name="connsiteX118" fmla="*/ 44890 w 152377"/>
              <a:gd name="connsiteY118" fmla="*/ 41680 h 147896"/>
              <a:gd name="connsiteX119" fmla="*/ 44890 w 152377"/>
              <a:gd name="connsiteY119" fmla="*/ 30476 h 147896"/>
              <a:gd name="connsiteX120" fmla="*/ 48027 w 152377"/>
              <a:gd name="connsiteY120" fmla="*/ 22409 h 147896"/>
              <a:gd name="connsiteX121" fmla="*/ 4555 w 152377"/>
              <a:gd name="connsiteY121" fmla="*/ 97701 h 147896"/>
              <a:gd name="connsiteX122" fmla="*/ 4555 w 152377"/>
              <a:gd name="connsiteY122" fmla="*/ 86497 h 147896"/>
              <a:gd name="connsiteX123" fmla="*/ 9037 w 152377"/>
              <a:gd name="connsiteY123" fmla="*/ 86497 h 147896"/>
              <a:gd name="connsiteX124" fmla="*/ 11277 w 152377"/>
              <a:gd name="connsiteY124" fmla="*/ 84256 h 147896"/>
              <a:gd name="connsiteX125" fmla="*/ 9037 w 152377"/>
              <a:gd name="connsiteY125" fmla="*/ 82015 h 147896"/>
              <a:gd name="connsiteX126" fmla="*/ 4555 w 152377"/>
              <a:gd name="connsiteY126" fmla="*/ 82015 h 147896"/>
              <a:gd name="connsiteX127" fmla="*/ 4555 w 152377"/>
              <a:gd name="connsiteY127" fmla="*/ 66329 h 147896"/>
              <a:gd name="connsiteX128" fmla="*/ 9037 w 152377"/>
              <a:gd name="connsiteY128" fmla="*/ 66329 h 147896"/>
              <a:gd name="connsiteX129" fmla="*/ 11277 w 152377"/>
              <a:gd name="connsiteY129" fmla="*/ 64088 h 147896"/>
              <a:gd name="connsiteX130" fmla="*/ 9037 w 152377"/>
              <a:gd name="connsiteY130" fmla="*/ 61847 h 147896"/>
              <a:gd name="connsiteX131" fmla="*/ 4555 w 152377"/>
              <a:gd name="connsiteY131" fmla="*/ 61847 h 147896"/>
              <a:gd name="connsiteX132" fmla="*/ 4555 w 152377"/>
              <a:gd name="connsiteY132" fmla="*/ 46161 h 147896"/>
              <a:gd name="connsiteX133" fmla="*/ 9037 w 152377"/>
              <a:gd name="connsiteY133" fmla="*/ 46161 h 147896"/>
              <a:gd name="connsiteX134" fmla="*/ 11277 w 152377"/>
              <a:gd name="connsiteY134" fmla="*/ 43921 h 147896"/>
              <a:gd name="connsiteX135" fmla="*/ 9037 w 152377"/>
              <a:gd name="connsiteY135" fmla="*/ 41680 h 147896"/>
              <a:gd name="connsiteX136" fmla="*/ 4555 w 152377"/>
              <a:gd name="connsiteY136" fmla="*/ 41680 h 147896"/>
              <a:gd name="connsiteX137" fmla="*/ 4555 w 152377"/>
              <a:gd name="connsiteY137" fmla="*/ 30476 h 147896"/>
              <a:gd name="connsiteX138" fmla="*/ 7692 w 152377"/>
              <a:gd name="connsiteY138" fmla="*/ 22409 h 147896"/>
              <a:gd name="connsiteX139" fmla="*/ 15759 w 152377"/>
              <a:gd name="connsiteY139" fmla="*/ 19271 h 147896"/>
              <a:gd name="connsiteX140" fmla="*/ 23826 w 152377"/>
              <a:gd name="connsiteY140" fmla="*/ 22409 h 147896"/>
              <a:gd name="connsiteX141" fmla="*/ 26963 w 152377"/>
              <a:gd name="connsiteY141" fmla="*/ 30476 h 147896"/>
              <a:gd name="connsiteX142" fmla="*/ 26963 w 152377"/>
              <a:gd name="connsiteY142" fmla="*/ 97701 h 147896"/>
              <a:gd name="connsiteX143" fmla="*/ 26963 w 152377"/>
              <a:gd name="connsiteY143" fmla="*/ 97701 h 147896"/>
              <a:gd name="connsiteX144" fmla="*/ 26963 w 152377"/>
              <a:gd name="connsiteY144" fmla="*/ 97701 h 147896"/>
              <a:gd name="connsiteX145" fmla="*/ 26963 w 152377"/>
              <a:gd name="connsiteY145" fmla="*/ 97701 h 147896"/>
              <a:gd name="connsiteX146" fmla="*/ 24723 w 152377"/>
              <a:gd name="connsiteY146" fmla="*/ 105320 h 147896"/>
              <a:gd name="connsiteX147" fmla="*/ 15759 w 152377"/>
              <a:gd name="connsiteY147" fmla="*/ 108457 h 147896"/>
              <a:gd name="connsiteX148" fmla="*/ 6796 w 152377"/>
              <a:gd name="connsiteY148" fmla="*/ 105320 h 147896"/>
              <a:gd name="connsiteX149" fmla="*/ 4555 w 152377"/>
              <a:gd name="connsiteY149" fmla="*/ 97701 h 147896"/>
              <a:gd name="connsiteX150" fmla="*/ 18000 w 152377"/>
              <a:gd name="connsiteY150" fmla="*/ 113387 h 147896"/>
              <a:gd name="connsiteX151" fmla="*/ 27860 w 152377"/>
              <a:gd name="connsiteY151" fmla="*/ 108905 h 147896"/>
              <a:gd name="connsiteX152" fmla="*/ 31445 w 152377"/>
              <a:gd name="connsiteY152" fmla="*/ 99942 h 147896"/>
              <a:gd name="connsiteX153" fmla="*/ 40408 w 152377"/>
              <a:gd name="connsiteY153" fmla="*/ 99942 h 147896"/>
              <a:gd name="connsiteX154" fmla="*/ 43994 w 152377"/>
              <a:gd name="connsiteY154" fmla="*/ 108905 h 147896"/>
              <a:gd name="connsiteX155" fmla="*/ 53854 w 152377"/>
              <a:gd name="connsiteY155" fmla="*/ 113387 h 147896"/>
              <a:gd name="connsiteX156" fmla="*/ 53854 w 152377"/>
              <a:gd name="connsiteY156" fmla="*/ 122350 h 147896"/>
              <a:gd name="connsiteX157" fmla="*/ 18000 w 152377"/>
              <a:gd name="connsiteY157" fmla="*/ 122350 h 147896"/>
              <a:gd name="connsiteX158" fmla="*/ 18000 w 152377"/>
              <a:gd name="connsiteY158" fmla="*/ 113387 h 147896"/>
              <a:gd name="connsiteX159" fmla="*/ 147969 w 152377"/>
              <a:gd name="connsiteY159" fmla="*/ 149241 h 147896"/>
              <a:gd name="connsiteX160" fmla="*/ 4555 w 152377"/>
              <a:gd name="connsiteY160" fmla="*/ 149241 h 147896"/>
              <a:gd name="connsiteX161" fmla="*/ 4555 w 152377"/>
              <a:gd name="connsiteY161" fmla="*/ 126832 h 147896"/>
              <a:gd name="connsiteX162" fmla="*/ 147969 w 152377"/>
              <a:gd name="connsiteY162" fmla="*/ 126832 h 147896"/>
              <a:gd name="connsiteX163" fmla="*/ 147969 w 152377"/>
              <a:gd name="connsiteY163" fmla="*/ 149241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52377" h="147896">
                <a:moveTo>
                  <a:pt x="145728" y="103079"/>
                </a:moveTo>
                <a:cubicBezTo>
                  <a:pt x="150210" y="98149"/>
                  <a:pt x="152899" y="91427"/>
                  <a:pt x="152899" y="84256"/>
                </a:cubicBezTo>
                <a:cubicBezTo>
                  <a:pt x="152899" y="69018"/>
                  <a:pt x="141247" y="56469"/>
                  <a:pt x="126009" y="55125"/>
                </a:cubicBezTo>
                <a:lnTo>
                  <a:pt x="126009" y="50195"/>
                </a:lnTo>
                <a:cubicBezTo>
                  <a:pt x="126009" y="41680"/>
                  <a:pt x="118838" y="34509"/>
                  <a:pt x="110323" y="34509"/>
                </a:cubicBezTo>
                <a:lnTo>
                  <a:pt x="71780" y="34509"/>
                </a:lnTo>
                <a:lnTo>
                  <a:pt x="71780" y="30027"/>
                </a:lnTo>
                <a:cubicBezTo>
                  <a:pt x="71780" y="29579"/>
                  <a:pt x="71780" y="23305"/>
                  <a:pt x="67747" y="18375"/>
                </a:cubicBezTo>
                <a:cubicBezTo>
                  <a:pt x="65506" y="16134"/>
                  <a:pt x="62369" y="14790"/>
                  <a:pt x="58335" y="14342"/>
                </a:cubicBezTo>
                <a:lnTo>
                  <a:pt x="58335" y="5378"/>
                </a:lnTo>
                <a:lnTo>
                  <a:pt x="69540" y="5378"/>
                </a:lnTo>
                <a:cubicBezTo>
                  <a:pt x="70884" y="5378"/>
                  <a:pt x="71780" y="4482"/>
                  <a:pt x="71780" y="3137"/>
                </a:cubicBezTo>
                <a:cubicBezTo>
                  <a:pt x="71780" y="1793"/>
                  <a:pt x="70884" y="896"/>
                  <a:pt x="69540" y="896"/>
                </a:cubicBezTo>
                <a:lnTo>
                  <a:pt x="42649" y="896"/>
                </a:lnTo>
                <a:cubicBezTo>
                  <a:pt x="41305" y="896"/>
                  <a:pt x="40408" y="1793"/>
                  <a:pt x="40408" y="3137"/>
                </a:cubicBezTo>
                <a:cubicBezTo>
                  <a:pt x="40408" y="4482"/>
                  <a:pt x="41305" y="5378"/>
                  <a:pt x="42649" y="5378"/>
                </a:cubicBezTo>
                <a:lnTo>
                  <a:pt x="53854" y="5378"/>
                </a:lnTo>
                <a:lnTo>
                  <a:pt x="53854" y="14342"/>
                </a:lnTo>
                <a:cubicBezTo>
                  <a:pt x="50268" y="14790"/>
                  <a:pt x="47131" y="16134"/>
                  <a:pt x="44442" y="18375"/>
                </a:cubicBezTo>
                <a:cubicBezTo>
                  <a:pt x="39960" y="22857"/>
                  <a:pt x="40408" y="29579"/>
                  <a:pt x="40408" y="29579"/>
                </a:cubicBezTo>
                <a:lnTo>
                  <a:pt x="40408" y="43024"/>
                </a:lnTo>
                <a:cubicBezTo>
                  <a:pt x="40408" y="43024"/>
                  <a:pt x="40408" y="43024"/>
                  <a:pt x="40408" y="43024"/>
                </a:cubicBezTo>
                <a:cubicBezTo>
                  <a:pt x="40408" y="43024"/>
                  <a:pt x="40408" y="43024"/>
                  <a:pt x="40408" y="43024"/>
                </a:cubicBezTo>
                <a:lnTo>
                  <a:pt x="40408" y="62744"/>
                </a:lnTo>
                <a:cubicBezTo>
                  <a:pt x="40408" y="62744"/>
                  <a:pt x="40408" y="62744"/>
                  <a:pt x="40408" y="62744"/>
                </a:cubicBezTo>
                <a:cubicBezTo>
                  <a:pt x="40408" y="62744"/>
                  <a:pt x="40408" y="62744"/>
                  <a:pt x="40408" y="62744"/>
                </a:cubicBezTo>
                <a:lnTo>
                  <a:pt x="40408" y="82912"/>
                </a:lnTo>
                <a:cubicBezTo>
                  <a:pt x="40408" y="82912"/>
                  <a:pt x="40408" y="82912"/>
                  <a:pt x="40408" y="82912"/>
                </a:cubicBezTo>
                <a:cubicBezTo>
                  <a:pt x="40408" y="82912"/>
                  <a:pt x="40408" y="82912"/>
                  <a:pt x="40408" y="82912"/>
                </a:cubicBezTo>
                <a:lnTo>
                  <a:pt x="40408" y="94116"/>
                </a:lnTo>
                <a:lnTo>
                  <a:pt x="31445" y="94116"/>
                </a:lnTo>
                <a:lnTo>
                  <a:pt x="31445" y="29131"/>
                </a:lnTo>
                <a:cubicBezTo>
                  <a:pt x="31445" y="28683"/>
                  <a:pt x="31445" y="22409"/>
                  <a:pt x="27411" y="17478"/>
                </a:cubicBezTo>
                <a:cubicBezTo>
                  <a:pt x="25171" y="15238"/>
                  <a:pt x="22034" y="13893"/>
                  <a:pt x="18000" y="13445"/>
                </a:cubicBezTo>
                <a:lnTo>
                  <a:pt x="18000" y="4482"/>
                </a:lnTo>
                <a:lnTo>
                  <a:pt x="29204" y="4482"/>
                </a:lnTo>
                <a:cubicBezTo>
                  <a:pt x="30549" y="4482"/>
                  <a:pt x="31445" y="3585"/>
                  <a:pt x="31445" y="2241"/>
                </a:cubicBezTo>
                <a:cubicBezTo>
                  <a:pt x="31445" y="896"/>
                  <a:pt x="30549" y="0"/>
                  <a:pt x="29204" y="0"/>
                </a:cubicBezTo>
                <a:lnTo>
                  <a:pt x="2314" y="0"/>
                </a:lnTo>
                <a:cubicBezTo>
                  <a:pt x="970" y="0"/>
                  <a:pt x="73" y="896"/>
                  <a:pt x="73" y="2241"/>
                </a:cubicBezTo>
                <a:cubicBezTo>
                  <a:pt x="73" y="3585"/>
                  <a:pt x="970" y="4482"/>
                  <a:pt x="2314" y="4482"/>
                </a:cubicBezTo>
                <a:lnTo>
                  <a:pt x="13518" y="4482"/>
                </a:lnTo>
                <a:lnTo>
                  <a:pt x="13518" y="13445"/>
                </a:lnTo>
                <a:cubicBezTo>
                  <a:pt x="9933" y="13893"/>
                  <a:pt x="6796" y="15238"/>
                  <a:pt x="4107" y="17478"/>
                </a:cubicBezTo>
                <a:cubicBezTo>
                  <a:pt x="-375" y="21960"/>
                  <a:pt x="73" y="28683"/>
                  <a:pt x="73" y="28683"/>
                </a:cubicBezTo>
                <a:lnTo>
                  <a:pt x="73" y="41680"/>
                </a:lnTo>
                <a:cubicBezTo>
                  <a:pt x="73" y="41680"/>
                  <a:pt x="73" y="41680"/>
                  <a:pt x="73" y="42128"/>
                </a:cubicBezTo>
                <a:cubicBezTo>
                  <a:pt x="73" y="42128"/>
                  <a:pt x="73" y="42128"/>
                  <a:pt x="73" y="42576"/>
                </a:cubicBezTo>
                <a:lnTo>
                  <a:pt x="73" y="62296"/>
                </a:lnTo>
                <a:cubicBezTo>
                  <a:pt x="73" y="62296"/>
                  <a:pt x="73" y="62296"/>
                  <a:pt x="73" y="62744"/>
                </a:cubicBezTo>
                <a:cubicBezTo>
                  <a:pt x="73" y="63192"/>
                  <a:pt x="73" y="62744"/>
                  <a:pt x="73" y="63192"/>
                </a:cubicBezTo>
                <a:lnTo>
                  <a:pt x="73" y="82912"/>
                </a:lnTo>
                <a:cubicBezTo>
                  <a:pt x="73" y="82912"/>
                  <a:pt x="73" y="82912"/>
                  <a:pt x="73" y="82912"/>
                </a:cubicBezTo>
                <a:cubicBezTo>
                  <a:pt x="73" y="82912"/>
                  <a:pt x="73" y="82912"/>
                  <a:pt x="73" y="82912"/>
                </a:cubicBezTo>
                <a:lnTo>
                  <a:pt x="73" y="95908"/>
                </a:lnTo>
                <a:cubicBezTo>
                  <a:pt x="73" y="96357"/>
                  <a:pt x="-823" y="102631"/>
                  <a:pt x="3658" y="107113"/>
                </a:cubicBezTo>
                <a:cubicBezTo>
                  <a:pt x="5899" y="109802"/>
                  <a:pt x="9485" y="111146"/>
                  <a:pt x="13518" y="111594"/>
                </a:cubicBezTo>
                <a:lnTo>
                  <a:pt x="13518" y="120558"/>
                </a:lnTo>
                <a:lnTo>
                  <a:pt x="2314" y="120558"/>
                </a:lnTo>
                <a:cubicBezTo>
                  <a:pt x="970" y="120558"/>
                  <a:pt x="73" y="121454"/>
                  <a:pt x="73" y="122798"/>
                </a:cubicBezTo>
                <a:lnTo>
                  <a:pt x="73" y="149689"/>
                </a:lnTo>
                <a:cubicBezTo>
                  <a:pt x="73" y="151033"/>
                  <a:pt x="970" y="151930"/>
                  <a:pt x="2314" y="151930"/>
                </a:cubicBezTo>
                <a:lnTo>
                  <a:pt x="150210" y="151930"/>
                </a:lnTo>
                <a:cubicBezTo>
                  <a:pt x="151555" y="151930"/>
                  <a:pt x="152451" y="151033"/>
                  <a:pt x="152451" y="149689"/>
                </a:cubicBezTo>
                <a:lnTo>
                  <a:pt x="152451" y="122798"/>
                </a:lnTo>
                <a:lnTo>
                  <a:pt x="152451" y="109353"/>
                </a:lnTo>
                <a:cubicBezTo>
                  <a:pt x="152451" y="108905"/>
                  <a:pt x="152003" y="108009"/>
                  <a:pt x="152003" y="107561"/>
                </a:cubicBezTo>
                <a:lnTo>
                  <a:pt x="145728" y="103079"/>
                </a:lnTo>
                <a:close/>
                <a:moveTo>
                  <a:pt x="147969" y="122350"/>
                </a:moveTo>
                <a:lnTo>
                  <a:pt x="98671" y="122350"/>
                </a:lnTo>
                <a:lnTo>
                  <a:pt x="98671" y="112043"/>
                </a:lnTo>
                <a:lnTo>
                  <a:pt x="104497" y="106216"/>
                </a:lnTo>
                <a:cubicBezTo>
                  <a:pt x="109427" y="110698"/>
                  <a:pt x="116149" y="113387"/>
                  <a:pt x="123320" y="113387"/>
                </a:cubicBezTo>
                <a:cubicBezTo>
                  <a:pt x="130491" y="113387"/>
                  <a:pt x="137213" y="110698"/>
                  <a:pt x="142143" y="106216"/>
                </a:cubicBezTo>
                <a:lnTo>
                  <a:pt x="147969" y="112043"/>
                </a:lnTo>
                <a:lnTo>
                  <a:pt x="147969" y="122350"/>
                </a:lnTo>
                <a:close/>
                <a:moveTo>
                  <a:pt x="147969" y="84256"/>
                </a:moveTo>
                <a:cubicBezTo>
                  <a:pt x="147969" y="97701"/>
                  <a:pt x="136765" y="108905"/>
                  <a:pt x="123320" y="108905"/>
                </a:cubicBezTo>
                <a:cubicBezTo>
                  <a:pt x="109875" y="108905"/>
                  <a:pt x="98671" y="97701"/>
                  <a:pt x="98671" y="84256"/>
                </a:cubicBezTo>
                <a:cubicBezTo>
                  <a:pt x="98671" y="70811"/>
                  <a:pt x="109875" y="59607"/>
                  <a:pt x="123320" y="59607"/>
                </a:cubicBezTo>
                <a:cubicBezTo>
                  <a:pt x="136765" y="59607"/>
                  <a:pt x="147969" y="70811"/>
                  <a:pt x="147969" y="84256"/>
                </a:cubicBezTo>
                <a:close/>
                <a:moveTo>
                  <a:pt x="109875" y="39439"/>
                </a:moveTo>
                <a:cubicBezTo>
                  <a:pt x="116149" y="39439"/>
                  <a:pt x="121079" y="44369"/>
                  <a:pt x="121079" y="50643"/>
                </a:cubicBezTo>
                <a:lnTo>
                  <a:pt x="121079" y="55125"/>
                </a:lnTo>
                <a:cubicBezTo>
                  <a:pt x="106290" y="56469"/>
                  <a:pt x="94189" y="69018"/>
                  <a:pt x="94189" y="84256"/>
                </a:cubicBezTo>
                <a:cubicBezTo>
                  <a:pt x="94189" y="91427"/>
                  <a:pt x="96878" y="98149"/>
                  <a:pt x="101360" y="103079"/>
                </a:cubicBezTo>
                <a:lnTo>
                  <a:pt x="95085" y="109353"/>
                </a:lnTo>
                <a:cubicBezTo>
                  <a:pt x="94637" y="109802"/>
                  <a:pt x="94637" y="110250"/>
                  <a:pt x="94637" y="111146"/>
                </a:cubicBezTo>
                <a:lnTo>
                  <a:pt x="94637" y="122350"/>
                </a:lnTo>
                <a:lnTo>
                  <a:pt x="58783" y="122350"/>
                </a:lnTo>
                <a:lnTo>
                  <a:pt x="58783" y="113387"/>
                </a:lnTo>
                <a:cubicBezTo>
                  <a:pt x="62817" y="112939"/>
                  <a:pt x="66402" y="111594"/>
                  <a:pt x="68643" y="108905"/>
                </a:cubicBezTo>
                <a:cubicBezTo>
                  <a:pt x="72677" y="104424"/>
                  <a:pt x="72228" y="97701"/>
                  <a:pt x="72228" y="97701"/>
                </a:cubicBezTo>
                <a:lnTo>
                  <a:pt x="72228" y="39439"/>
                </a:lnTo>
                <a:lnTo>
                  <a:pt x="109875" y="39439"/>
                </a:lnTo>
                <a:close/>
                <a:moveTo>
                  <a:pt x="48027" y="22409"/>
                </a:moveTo>
                <a:cubicBezTo>
                  <a:pt x="49820" y="20616"/>
                  <a:pt x="52509" y="19271"/>
                  <a:pt x="56094" y="19271"/>
                </a:cubicBezTo>
                <a:cubicBezTo>
                  <a:pt x="59680" y="19271"/>
                  <a:pt x="62369" y="20168"/>
                  <a:pt x="64161" y="22409"/>
                </a:cubicBezTo>
                <a:cubicBezTo>
                  <a:pt x="67299" y="25546"/>
                  <a:pt x="67299" y="30476"/>
                  <a:pt x="67299" y="30476"/>
                </a:cubicBezTo>
                <a:lnTo>
                  <a:pt x="67299" y="98149"/>
                </a:lnTo>
                <a:cubicBezTo>
                  <a:pt x="67299" y="98149"/>
                  <a:pt x="67747" y="102631"/>
                  <a:pt x="65058" y="105768"/>
                </a:cubicBezTo>
                <a:cubicBezTo>
                  <a:pt x="63265" y="108009"/>
                  <a:pt x="60128" y="108905"/>
                  <a:pt x="56094" y="108905"/>
                </a:cubicBezTo>
                <a:cubicBezTo>
                  <a:pt x="52061" y="108905"/>
                  <a:pt x="48924" y="108009"/>
                  <a:pt x="47131" y="105768"/>
                </a:cubicBezTo>
                <a:cubicBezTo>
                  <a:pt x="44442" y="102631"/>
                  <a:pt x="44890" y="98149"/>
                  <a:pt x="44890" y="97701"/>
                </a:cubicBezTo>
                <a:lnTo>
                  <a:pt x="44890" y="86497"/>
                </a:lnTo>
                <a:lnTo>
                  <a:pt x="49372" y="86497"/>
                </a:lnTo>
                <a:cubicBezTo>
                  <a:pt x="50716" y="86497"/>
                  <a:pt x="51613" y="85600"/>
                  <a:pt x="51613" y="84256"/>
                </a:cubicBezTo>
                <a:cubicBezTo>
                  <a:pt x="51613" y="82912"/>
                  <a:pt x="50716" y="82015"/>
                  <a:pt x="49372" y="82015"/>
                </a:cubicBezTo>
                <a:lnTo>
                  <a:pt x="44890" y="82015"/>
                </a:lnTo>
                <a:lnTo>
                  <a:pt x="44890" y="66329"/>
                </a:lnTo>
                <a:lnTo>
                  <a:pt x="49372" y="66329"/>
                </a:lnTo>
                <a:cubicBezTo>
                  <a:pt x="50716" y="66329"/>
                  <a:pt x="51613" y="65433"/>
                  <a:pt x="51613" y="64088"/>
                </a:cubicBezTo>
                <a:cubicBezTo>
                  <a:pt x="51613" y="62744"/>
                  <a:pt x="50716" y="61847"/>
                  <a:pt x="49372" y="61847"/>
                </a:cubicBezTo>
                <a:lnTo>
                  <a:pt x="44890" y="61847"/>
                </a:lnTo>
                <a:lnTo>
                  <a:pt x="44890" y="46161"/>
                </a:lnTo>
                <a:lnTo>
                  <a:pt x="49372" y="46161"/>
                </a:lnTo>
                <a:cubicBezTo>
                  <a:pt x="50716" y="46161"/>
                  <a:pt x="51613" y="45265"/>
                  <a:pt x="51613" y="43921"/>
                </a:cubicBezTo>
                <a:cubicBezTo>
                  <a:pt x="51613" y="42576"/>
                  <a:pt x="50716" y="41680"/>
                  <a:pt x="49372" y="41680"/>
                </a:cubicBezTo>
                <a:lnTo>
                  <a:pt x="44890" y="41680"/>
                </a:lnTo>
                <a:lnTo>
                  <a:pt x="44890" y="30476"/>
                </a:lnTo>
                <a:cubicBezTo>
                  <a:pt x="44890" y="30476"/>
                  <a:pt x="44890" y="25546"/>
                  <a:pt x="48027" y="22409"/>
                </a:cubicBezTo>
                <a:close/>
                <a:moveTo>
                  <a:pt x="4555" y="97701"/>
                </a:moveTo>
                <a:lnTo>
                  <a:pt x="4555" y="86497"/>
                </a:lnTo>
                <a:lnTo>
                  <a:pt x="9037" y="86497"/>
                </a:lnTo>
                <a:cubicBezTo>
                  <a:pt x="10381" y="86497"/>
                  <a:pt x="11277" y="85600"/>
                  <a:pt x="11277" y="84256"/>
                </a:cubicBezTo>
                <a:cubicBezTo>
                  <a:pt x="11277" y="82912"/>
                  <a:pt x="10381" y="82015"/>
                  <a:pt x="9037" y="82015"/>
                </a:cubicBezTo>
                <a:lnTo>
                  <a:pt x="4555" y="82015"/>
                </a:lnTo>
                <a:lnTo>
                  <a:pt x="4555" y="66329"/>
                </a:lnTo>
                <a:lnTo>
                  <a:pt x="9037" y="66329"/>
                </a:lnTo>
                <a:cubicBezTo>
                  <a:pt x="10381" y="66329"/>
                  <a:pt x="11277" y="65433"/>
                  <a:pt x="11277" y="64088"/>
                </a:cubicBezTo>
                <a:cubicBezTo>
                  <a:pt x="11277" y="62744"/>
                  <a:pt x="10381" y="61847"/>
                  <a:pt x="9037" y="61847"/>
                </a:cubicBezTo>
                <a:lnTo>
                  <a:pt x="4555" y="61847"/>
                </a:lnTo>
                <a:lnTo>
                  <a:pt x="4555" y="46161"/>
                </a:lnTo>
                <a:lnTo>
                  <a:pt x="9037" y="46161"/>
                </a:lnTo>
                <a:cubicBezTo>
                  <a:pt x="10381" y="46161"/>
                  <a:pt x="11277" y="45265"/>
                  <a:pt x="11277" y="43921"/>
                </a:cubicBezTo>
                <a:cubicBezTo>
                  <a:pt x="11277" y="42576"/>
                  <a:pt x="10381" y="41680"/>
                  <a:pt x="9037" y="41680"/>
                </a:cubicBezTo>
                <a:lnTo>
                  <a:pt x="4555" y="41680"/>
                </a:lnTo>
                <a:lnTo>
                  <a:pt x="4555" y="30476"/>
                </a:lnTo>
                <a:cubicBezTo>
                  <a:pt x="4555" y="30476"/>
                  <a:pt x="4555" y="25546"/>
                  <a:pt x="7692" y="22409"/>
                </a:cubicBezTo>
                <a:cubicBezTo>
                  <a:pt x="9485" y="20616"/>
                  <a:pt x="12174" y="19271"/>
                  <a:pt x="15759" y="19271"/>
                </a:cubicBezTo>
                <a:cubicBezTo>
                  <a:pt x="19344" y="19271"/>
                  <a:pt x="22034" y="20168"/>
                  <a:pt x="23826" y="22409"/>
                </a:cubicBezTo>
                <a:cubicBezTo>
                  <a:pt x="26963" y="25546"/>
                  <a:pt x="26963" y="30476"/>
                  <a:pt x="26963" y="30476"/>
                </a:cubicBezTo>
                <a:lnTo>
                  <a:pt x="26963" y="97701"/>
                </a:lnTo>
                <a:cubicBezTo>
                  <a:pt x="26963" y="97701"/>
                  <a:pt x="26963" y="97701"/>
                  <a:pt x="26963" y="97701"/>
                </a:cubicBezTo>
                <a:cubicBezTo>
                  <a:pt x="26963" y="97701"/>
                  <a:pt x="26963" y="97701"/>
                  <a:pt x="26963" y="97701"/>
                </a:cubicBezTo>
                <a:lnTo>
                  <a:pt x="26963" y="97701"/>
                </a:lnTo>
                <a:cubicBezTo>
                  <a:pt x="26963" y="97701"/>
                  <a:pt x="27411" y="102183"/>
                  <a:pt x="24723" y="105320"/>
                </a:cubicBezTo>
                <a:cubicBezTo>
                  <a:pt x="22930" y="107561"/>
                  <a:pt x="19793" y="108457"/>
                  <a:pt x="15759" y="108457"/>
                </a:cubicBezTo>
                <a:cubicBezTo>
                  <a:pt x="11725" y="108457"/>
                  <a:pt x="8589" y="107561"/>
                  <a:pt x="6796" y="105320"/>
                </a:cubicBezTo>
                <a:cubicBezTo>
                  <a:pt x="4107" y="102631"/>
                  <a:pt x="4555" y="98149"/>
                  <a:pt x="4555" y="97701"/>
                </a:cubicBezTo>
                <a:close/>
                <a:moveTo>
                  <a:pt x="18000" y="113387"/>
                </a:moveTo>
                <a:cubicBezTo>
                  <a:pt x="22034" y="112939"/>
                  <a:pt x="25619" y="111594"/>
                  <a:pt x="27860" y="108905"/>
                </a:cubicBezTo>
                <a:cubicBezTo>
                  <a:pt x="30549" y="105768"/>
                  <a:pt x="30997" y="102183"/>
                  <a:pt x="31445" y="99942"/>
                </a:cubicBezTo>
                <a:lnTo>
                  <a:pt x="40408" y="99942"/>
                </a:lnTo>
                <a:cubicBezTo>
                  <a:pt x="40408" y="102183"/>
                  <a:pt x="41305" y="105768"/>
                  <a:pt x="43994" y="108905"/>
                </a:cubicBezTo>
                <a:cubicBezTo>
                  <a:pt x="46235" y="111594"/>
                  <a:pt x="49820" y="112939"/>
                  <a:pt x="53854" y="113387"/>
                </a:cubicBezTo>
                <a:lnTo>
                  <a:pt x="53854" y="122350"/>
                </a:lnTo>
                <a:lnTo>
                  <a:pt x="18000" y="122350"/>
                </a:lnTo>
                <a:lnTo>
                  <a:pt x="18000" y="113387"/>
                </a:lnTo>
                <a:close/>
                <a:moveTo>
                  <a:pt x="147969" y="149241"/>
                </a:moveTo>
                <a:lnTo>
                  <a:pt x="4555" y="149241"/>
                </a:lnTo>
                <a:lnTo>
                  <a:pt x="4555" y="126832"/>
                </a:lnTo>
                <a:lnTo>
                  <a:pt x="147969" y="126832"/>
                </a:lnTo>
                <a:lnTo>
                  <a:pt x="147969" y="149241"/>
                </a:lnTo>
                <a:close/>
              </a:path>
            </a:pathLst>
          </a:custGeom>
          <a:solidFill>
            <a:srgbClr val="231F20"/>
          </a:solidFill>
          <a:ln w="4477" cap="flat">
            <a:noFill/>
            <a:prstDash val="solid"/>
            <a:miter/>
          </a:ln>
        </p:spPr>
        <p:txBody>
          <a:bodyPr rtlCol="0" anchor="ctr"/>
          <a:lstStyle/>
          <a:p>
            <a:endParaRPr lang="en-US"/>
          </a:p>
        </p:txBody>
      </p:sp>
      <p:sp>
        <p:nvSpPr>
          <p:cNvPr id="3799" name="Freeform: Shape 3798">
            <a:extLst>
              <a:ext uri="{FF2B5EF4-FFF2-40B4-BE49-F238E27FC236}">
                <a16:creationId xmlns:a16="http://schemas.microsoft.com/office/drawing/2014/main" id="{1A259C5E-082E-45CA-A561-01634B0E644A}"/>
              </a:ext>
              <a:ext uri="{C183D7F6-B498-43B3-948B-1728B52AA6E4}">
                <adec:decorative xmlns:adec="http://schemas.microsoft.com/office/drawing/2017/decorative" val="1"/>
              </a:ext>
            </a:extLst>
          </p:cNvPr>
          <p:cNvSpPr>
            <a:spLocks noChangeAspect="1"/>
          </p:cNvSpPr>
          <p:nvPr/>
        </p:nvSpPr>
        <p:spPr>
          <a:xfrm>
            <a:off x="3474553" y="2472333"/>
            <a:ext cx="152378" cy="85152"/>
          </a:xfrm>
          <a:custGeom>
            <a:avLst/>
            <a:gdLst>
              <a:gd name="connsiteX0" fmla="*/ 150137 w 152377"/>
              <a:gd name="connsiteY0" fmla="*/ 81119 h 85152"/>
              <a:gd name="connsiteX1" fmla="*/ 145655 w 152377"/>
              <a:gd name="connsiteY1" fmla="*/ 81119 h 85152"/>
              <a:gd name="connsiteX2" fmla="*/ 145655 w 152377"/>
              <a:gd name="connsiteY2" fmla="*/ 56469 h 85152"/>
              <a:gd name="connsiteX3" fmla="*/ 143414 w 152377"/>
              <a:gd name="connsiteY3" fmla="*/ 54228 h 85152"/>
              <a:gd name="connsiteX4" fmla="*/ 132210 w 152377"/>
              <a:gd name="connsiteY4" fmla="*/ 54228 h 85152"/>
              <a:gd name="connsiteX5" fmla="*/ 132210 w 152377"/>
              <a:gd name="connsiteY5" fmla="*/ 2241 h 85152"/>
              <a:gd name="connsiteX6" fmla="*/ 129969 w 152377"/>
              <a:gd name="connsiteY6" fmla="*/ 0 h 85152"/>
              <a:gd name="connsiteX7" fmla="*/ 29131 w 152377"/>
              <a:gd name="connsiteY7" fmla="*/ 0 h 85152"/>
              <a:gd name="connsiteX8" fmla="*/ 26890 w 152377"/>
              <a:gd name="connsiteY8" fmla="*/ 2241 h 85152"/>
              <a:gd name="connsiteX9" fmla="*/ 26890 w 152377"/>
              <a:gd name="connsiteY9" fmla="*/ 13445 h 85152"/>
              <a:gd name="connsiteX10" fmla="*/ 22409 w 152377"/>
              <a:gd name="connsiteY10" fmla="*/ 13445 h 85152"/>
              <a:gd name="connsiteX11" fmla="*/ 20616 w 152377"/>
              <a:gd name="connsiteY11" fmla="*/ 13893 h 85152"/>
              <a:gd name="connsiteX12" fmla="*/ 7171 w 152377"/>
              <a:gd name="connsiteY12" fmla="*/ 27338 h 85152"/>
              <a:gd name="connsiteX13" fmla="*/ 6723 w 152377"/>
              <a:gd name="connsiteY13" fmla="*/ 29131 h 85152"/>
              <a:gd name="connsiteX14" fmla="*/ 6723 w 152377"/>
              <a:gd name="connsiteY14" fmla="*/ 81119 h 85152"/>
              <a:gd name="connsiteX15" fmla="*/ 2241 w 152377"/>
              <a:gd name="connsiteY15" fmla="*/ 81119 h 85152"/>
              <a:gd name="connsiteX16" fmla="*/ 0 w 152377"/>
              <a:gd name="connsiteY16" fmla="*/ 83360 h 85152"/>
              <a:gd name="connsiteX17" fmla="*/ 2241 w 152377"/>
              <a:gd name="connsiteY17" fmla="*/ 85600 h 85152"/>
              <a:gd name="connsiteX18" fmla="*/ 49299 w 152377"/>
              <a:gd name="connsiteY18" fmla="*/ 85600 h 85152"/>
              <a:gd name="connsiteX19" fmla="*/ 62744 w 152377"/>
              <a:gd name="connsiteY19" fmla="*/ 85600 h 85152"/>
              <a:gd name="connsiteX20" fmla="*/ 103079 w 152377"/>
              <a:gd name="connsiteY20" fmla="*/ 85600 h 85152"/>
              <a:gd name="connsiteX21" fmla="*/ 116524 w 152377"/>
              <a:gd name="connsiteY21" fmla="*/ 85600 h 85152"/>
              <a:gd name="connsiteX22" fmla="*/ 150137 w 152377"/>
              <a:gd name="connsiteY22" fmla="*/ 85600 h 85152"/>
              <a:gd name="connsiteX23" fmla="*/ 152378 w 152377"/>
              <a:gd name="connsiteY23" fmla="*/ 83360 h 85152"/>
              <a:gd name="connsiteX24" fmla="*/ 150137 w 152377"/>
              <a:gd name="connsiteY24" fmla="*/ 81119 h 85152"/>
              <a:gd name="connsiteX25" fmla="*/ 141174 w 152377"/>
              <a:gd name="connsiteY25" fmla="*/ 81119 h 85152"/>
              <a:gd name="connsiteX26" fmla="*/ 118765 w 152377"/>
              <a:gd name="connsiteY26" fmla="*/ 81119 h 85152"/>
              <a:gd name="connsiteX27" fmla="*/ 118765 w 152377"/>
              <a:gd name="connsiteY27" fmla="*/ 58710 h 85152"/>
              <a:gd name="connsiteX28" fmla="*/ 141174 w 152377"/>
              <a:gd name="connsiteY28" fmla="*/ 58710 h 85152"/>
              <a:gd name="connsiteX29" fmla="*/ 141174 w 152377"/>
              <a:gd name="connsiteY29" fmla="*/ 81119 h 85152"/>
              <a:gd name="connsiteX30" fmla="*/ 11204 w 152377"/>
              <a:gd name="connsiteY30" fmla="*/ 30476 h 85152"/>
              <a:gd name="connsiteX31" fmla="*/ 23305 w 152377"/>
              <a:gd name="connsiteY31" fmla="*/ 18375 h 85152"/>
              <a:gd name="connsiteX32" fmla="*/ 34957 w 152377"/>
              <a:gd name="connsiteY32" fmla="*/ 18375 h 85152"/>
              <a:gd name="connsiteX33" fmla="*/ 47058 w 152377"/>
              <a:gd name="connsiteY33" fmla="*/ 30476 h 85152"/>
              <a:gd name="connsiteX34" fmla="*/ 47058 w 152377"/>
              <a:gd name="connsiteY34" fmla="*/ 81119 h 85152"/>
              <a:gd name="connsiteX35" fmla="*/ 11204 w 152377"/>
              <a:gd name="connsiteY35" fmla="*/ 81119 h 85152"/>
              <a:gd name="connsiteX36" fmla="*/ 11204 w 152377"/>
              <a:gd name="connsiteY36" fmla="*/ 30476 h 85152"/>
              <a:gd name="connsiteX37" fmla="*/ 51540 w 152377"/>
              <a:gd name="connsiteY37" fmla="*/ 81119 h 85152"/>
              <a:gd name="connsiteX38" fmla="*/ 51540 w 152377"/>
              <a:gd name="connsiteY38" fmla="*/ 29131 h 85152"/>
              <a:gd name="connsiteX39" fmla="*/ 51092 w 152377"/>
              <a:gd name="connsiteY39" fmla="*/ 27338 h 85152"/>
              <a:gd name="connsiteX40" fmla="*/ 37646 w 152377"/>
              <a:gd name="connsiteY40" fmla="*/ 13893 h 85152"/>
              <a:gd name="connsiteX41" fmla="*/ 35854 w 152377"/>
              <a:gd name="connsiteY41" fmla="*/ 13445 h 85152"/>
              <a:gd name="connsiteX42" fmla="*/ 31372 w 152377"/>
              <a:gd name="connsiteY42" fmla="*/ 13445 h 85152"/>
              <a:gd name="connsiteX43" fmla="*/ 31372 w 152377"/>
              <a:gd name="connsiteY43" fmla="*/ 4482 h 85152"/>
              <a:gd name="connsiteX44" fmla="*/ 80671 w 152377"/>
              <a:gd name="connsiteY44" fmla="*/ 4482 h 85152"/>
              <a:gd name="connsiteX45" fmla="*/ 80671 w 152377"/>
              <a:gd name="connsiteY45" fmla="*/ 13445 h 85152"/>
              <a:gd name="connsiteX46" fmla="*/ 76189 w 152377"/>
              <a:gd name="connsiteY46" fmla="*/ 13445 h 85152"/>
              <a:gd name="connsiteX47" fmla="*/ 74396 w 152377"/>
              <a:gd name="connsiteY47" fmla="*/ 13893 h 85152"/>
              <a:gd name="connsiteX48" fmla="*/ 60951 w 152377"/>
              <a:gd name="connsiteY48" fmla="*/ 27338 h 85152"/>
              <a:gd name="connsiteX49" fmla="*/ 60503 w 152377"/>
              <a:gd name="connsiteY49" fmla="*/ 29131 h 85152"/>
              <a:gd name="connsiteX50" fmla="*/ 60503 w 152377"/>
              <a:gd name="connsiteY50" fmla="*/ 81119 h 85152"/>
              <a:gd name="connsiteX51" fmla="*/ 51540 w 152377"/>
              <a:gd name="connsiteY51" fmla="*/ 81119 h 85152"/>
              <a:gd name="connsiteX52" fmla="*/ 100838 w 152377"/>
              <a:gd name="connsiteY52" fmla="*/ 81119 h 85152"/>
              <a:gd name="connsiteX53" fmla="*/ 64985 w 152377"/>
              <a:gd name="connsiteY53" fmla="*/ 81119 h 85152"/>
              <a:gd name="connsiteX54" fmla="*/ 64985 w 152377"/>
              <a:gd name="connsiteY54" fmla="*/ 30476 h 85152"/>
              <a:gd name="connsiteX55" fmla="*/ 77085 w 152377"/>
              <a:gd name="connsiteY55" fmla="*/ 18375 h 85152"/>
              <a:gd name="connsiteX56" fmla="*/ 88738 w 152377"/>
              <a:gd name="connsiteY56" fmla="*/ 18375 h 85152"/>
              <a:gd name="connsiteX57" fmla="*/ 100838 w 152377"/>
              <a:gd name="connsiteY57" fmla="*/ 30476 h 85152"/>
              <a:gd name="connsiteX58" fmla="*/ 100838 w 152377"/>
              <a:gd name="connsiteY58" fmla="*/ 81119 h 85152"/>
              <a:gd name="connsiteX59" fmla="*/ 105320 w 152377"/>
              <a:gd name="connsiteY59" fmla="*/ 81119 h 85152"/>
              <a:gd name="connsiteX60" fmla="*/ 105320 w 152377"/>
              <a:gd name="connsiteY60" fmla="*/ 29131 h 85152"/>
              <a:gd name="connsiteX61" fmla="*/ 104872 w 152377"/>
              <a:gd name="connsiteY61" fmla="*/ 27338 h 85152"/>
              <a:gd name="connsiteX62" fmla="*/ 91427 w 152377"/>
              <a:gd name="connsiteY62" fmla="*/ 13893 h 85152"/>
              <a:gd name="connsiteX63" fmla="*/ 89634 w 152377"/>
              <a:gd name="connsiteY63" fmla="*/ 13445 h 85152"/>
              <a:gd name="connsiteX64" fmla="*/ 85152 w 152377"/>
              <a:gd name="connsiteY64" fmla="*/ 13445 h 85152"/>
              <a:gd name="connsiteX65" fmla="*/ 85152 w 152377"/>
              <a:gd name="connsiteY65" fmla="*/ 4482 h 85152"/>
              <a:gd name="connsiteX66" fmla="*/ 127729 w 152377"/>
              <a:gd name="connsiteY66" fmla="*/ 4482 h 85152"/>
              <a:gd name="connsiteX67" fmla="*/ 127729 w 152377"/>
              <a:gd name="connsiteY67" fmla="*/ 54228 h 85152"/>
              <a:gd name="connsiteX68" fmla="*/ 116524 w 152377"/>
              <a:gd name="connsiteY68" fmla="*/ 54228 h 85152"/>
              <a:gd name="connsiteX69" fmla="*/ 114283 w 152377"/>
              <a:gd name="connsiteY69" fmla="*/ 56469 h 85152"/>
              <a:gd name="connsiteX70" fmla="*/ 114283 w 152377"/>
              <a:gd name="connsiteY70" fmla="*/ 81119 h 85152"/>
              <a:gd name="connsiteX71" fmla="*/ 105320 w 152377"/>
              <a:gd name="connsiteY71" fmla="*/ 81119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2377" h="85152">
                <a:moveTo>
                  <a:pt x="150137" y="81119"/>
                </a:moveTo>
                <a:lnTo>
                  <a:pt x="145655" y="81119"/>
                </a:lnTo>
                <a:lnTo>
                  <a:pt x="145655" y="56469"/>
                </a:lnTo>
                <a:cubicBezTo>
                  <a:pt x="145655" y="55125"/>
                  <a:pt x="144759" y="54228"/>
                  <a:pt x="143414" y="54228"/>
                </a:cubicBezTo>
                <a:lnTo>
                  <a:pt x="132210" y="54228"/>
                </a:lnTo>
                <a:lnTo>
                  <a:pt x="132210" y="2241"/>
                </a:lnTo>
                <a:cubicBezTo>
                  <a:pt x="132210" y="896"/>
                  <a:pt x="131314" y="0"/>
                  <a:pt x="129969" y="0"/>
                </a:cubicBezTo>
                <a:lnTo>
                  <a:pt x="29131" y="0"/>
                </a:lnTo>
                <a:cubicBezTo>
                  <a:pt x="27787" y="0"/>
                  <a:pt x="26890" y="896"/>
                  <a:pt x="26890" y="2241"/>
                </a:cubicBezTo>
                <a:lnTo>
                  <a:pt x="26890" y="13445"/>
                </a:lnTo>
                <a:lnTo>
                  <a:pt x="22409" y="13445"/>
                </a:lnTo>
                <a:cubicBezTo>
                  <a:pt x="21960" y="13445"/>
                  <a:pt x="21064" y="13893"/>
                  <a:pt x="20616" y="13893"/>
                </a:cubicBezTo>
                <a:lnTo>
                  <a:pt x="7171" y="27338"/>
                </a:lnTo>
                <a:cubicBezTo>
                  <a:pt x="6723" y="27786"/>
                  <a:pt x="6723" y="28235"/>
                  <a:pt x="6723" y="29131"/>
                </a:cubicBezTo>
                <a:lnTo>
                  <a:pt x="6723" y="81119"/>
                </a:lnTo>
                <a:lnTo>
                  <a:pt x="2241" y="81119"/>
                </a:lnTo>
                <a:cubicBezTo>
                  <a:pt x="896" y="81119"/>
                  <a:pt x="0" y="82015"/>
                  <a:pt x="0" y="83360"/>
                </a:cubicBezTo>
                <a:cubicBezTo>
                  <a:pt x="0" y="84704"/>
                  <a:pt x="896" y="85600"/>
                  <a:pt x="2241" y="85600"/>
                </a:cubicBezTo>
                <a:lnTo>
                  <a:pt x="49299" y="85600"/>
                </a:lnTo>
                <a:lnTo>
                  <a:pt x="62744" y="85600"/>
                </a:lnTo>
                <a:lnTo>
                  <a:pt x="103079" y="85600"/>
                </a:lnTo>
                <a:lnTo>
                  <a:pt x="116524" y="85600"/>
                </a:lnTo>
                <a:lnTo>
                  <a:pt x="150137" y="85600"/>
                </a:lnTo>
                <a:cubicBezTo>
                  <a:pt x="151481" y="85600"/>
                  <a:pt x="152378" y="84704"/>
                  <a:pt x="152378" y="83360"/>
                </a:cubicBezTo>
                <a:cubicBezTo>
                  <a:pt x="152378" y="82015"/>
                  <a:pt x="151481" y="81119"/>
                  <a:pt x="150137" y="81119"/>
                </a:cubicBezTo>
                <a:close/>
                <a:moveTo>
                  <a:pt x="141174" y="81119"/>
                </a:moveTo>
                <a:lnTo>
                  <a:pt x="118765" y="81119"/>
                </a:lnTo>
                <a:lnTo>
                  <a:pt x="118765" y="58710"/>
                </a:lnTo>
                <a:lnTo>
                  <a:pt x="141174" y="58710"/>
                </a:lnTo>
                <a:lnTo>
                  <a:pt x="141174" y="81119"/>
                </a:lnTo>
                <a:close/>
                <a:moveTo>
                  <a:pt x="11204" y="30476"/>
                </a:moveTo>
                <a:lnTo>
                  <a:pt x="23305" y="18375"/>
                </a:lnTo>
                <a:lnTo>
                  <a:pt x="34957" y="18375"/>
                </a:lnTo>
                <a:lnTo>
                  <a:pt x="47058" y="30476"/>
                </a:lnTo>
                <a:lnTo>
                  <a:pt x="47058" y="81119"/>
                </a:lnTo>
                <a:lnTo>
                  <a:pt x="11204" y="81119"/>
                </a:lnTo>
                <a:lnTo>
                  <a:pt x="11204" y="30476"/>
                </a:lnTo>
                <a:close/>
                <a:moveTo>
                  <a:pt x="51540" y="81119"/>
                </a:moveTo>
                <a:lnTo>
                  <a:pt x="51540" y="29131"/>
                </a:lnTo>
                <a:cubicBezTo>
                  <a:pt x="51540" y="28683"/>
                  <a:pt x="51092" y="27786"/>
                  <a:pt x="51092" y="27338"/>
                </a:cubicBezTo>
                <a:lnTo>
                  <a:pt x="37646" y="13893"/>
                </a:lnTo>
                <a:cubicBezTo>
                  <a:pt x="37198" y="13445"/>
                  <a:pt x="36750" y="13445"/>
                  <a:pt x="35854" y="13445"/>
                </a:cubicBezTo>
                <a:lnTo>
                  <a:pt x="31372" y="13445"/>
                </a:lnTo>
                <a:lnTo>
                  <a:pt x="31372" y="4482"/>
                </a:lnTo>
                <a:lnTo>
                  <a:pt x="80671" y="4482"/>
                </a:lnTo>
                <a:lnTo>
                  <a:pt x="80671" y="13445"/>
                </a:lnTo>
                <a:lnTo>
                  <a:pt x="76189" y="13445"/>
                </a:lnTo>
                <a:cubicBezTo>
                  <a:pt x="75741" y="13445"/>
                  <a:pt x="74844" y="13893"/>
                  <a:pt x="74396" y="13893"/>
                </a:cubicBezTo>
                <a:lnTo>
                  <a:pt x="60951" y="27338"/>
                </a:lnTo>
                <a:cubicBezTo>
                  <a:pt x="60503" y="27786"/>
                  <a:pt x="60503" y="28235"/>
                  <a:pt x="60503" y="29131"/>
                </a:cubicBezTo>
                <a:lnTo>
                  <a:pt x="60503" y="81119"/>
                </a:lnTo>
                <a:lnTo>
                  <a:pt x="51540" y="81119"/>
                </a:lnTo>
                <a:close/>
                <a:moveTo>
                  <a:pt x="100838" y="81119"/>
                </a:moveTo>
                <a:lnTo>
                  <a:pt x="64985" y="81119"/>
                </a:lnTo>
                <a:lnTo>
                  <a:pt x="64985" y="30476"/>
                </a:lnTo>
                <a:lnTo>
                  <a:pt x="77085" y="18375"/>
                </a:lnTo>
                <a:lnTo>
                  <a:pt x="88738" y="18375"/>
                </a:lnTo>
                <a:lnTo>
                  <a:pt x="100838" y="30476"/>
                </a:lnTo>
                <a:lnTo>
                  <a:pt x="100838" y="81119"/>
                </a:lnTo>
                <a:close/>
                <a:moveTo>
                  <a:pt x="105320" y="81119"/>
                </a:moveTo>
                <a:lnTo>
                  <a:pt x="105320" y="29131"/>
                </a:lnTo>
                <a:cubicBezTo>
                  <a:pt x="105320" y="28683"/>
                  <a:pt x="104872" y="27786"/>
                  <a:pt x="104872" y="27338"/>
                </a:cubicBezTo>
                <a:lnTo>
                  <a:pt x="91427" y="13893"/>
                </a:lnTo>
                <a:cubicBezTo>
                  <a:pt x="90978" y="13445"/>
                  <a:pt x="90530" y="13445"/>
                  <a:pt x="89634" y="13445"/>
                </a:cubicBezTo>
                <a:lnTo>
                  <a:pt x="85152" y="13445"/>
                </a:lnTo>
                <a:lnTo>
                  <a:pt x="85152" y="4482"/>
                </a:lnTo>
                <a:lnTo>
                  <a:pt x="127729" y="4482"/>
                </a:lnTo>
                <a:lnTo>
                  <a:pt x="127729" y="54228"/>
                </a:lnTo>
                <a:lnTo>
                  <a:pt x="116524" y="54228"/>
                </a:lnTo>
                <a:cubicBezTo>
                  <a:pt x="115180" y="54228"/>
                  <a:pt x="114283" y="55125"/>
                  <a:pt x="114283" y="56469"/>
                </a:cubicBezTo>
                <a:lnTo>
                  <a:pt x="114283" y="81119"/>
                </a:lnTo>
                <a:lnTo>
                  <a:pt x="105320" y="81119"/>
                </a:lnTo>
                <a:close/>
              </a:path>
            </a:pathLst>
          </a:custGeom>
          <a:solidFill>
            <a:srgbClr val="231F20"/>
          </a:solidFill>
          <a:ln w="4477" cap="flat">
            <a:noFill/>
            <a:prstDash val="solid"/>
            <a:miter/>
          </a:ln>
        </p:spPr>
        <p:txBody>
          <a:bodyPr rtlCol="0" anchor="ctr"/>
          <a:lstStyle/>
          <a:p>
            <a:endParaRPr lang="en-US"/>
          </a:p>
        </p:txBody>
      </p:sp>
      <p:sp>
        <p:nvSpPr>
          <p:cNvPr id="3800" name="Freeform: Shape 3799">
            <a:extLst>
              <a:ext uri="{FF2B5EF4-FFF2-40B4-BE49-F238E27FC236}">
                <a16:creationId xmlns:a16="http://schemas.microsoft.com/office/drawing/2014/main" id="{1DB0D757-C18D-4D02-BD96-28F3A2A543D3}"/>
              </a:ext>
              <a:ext uri="{C183D7F6-B498-43B3-948B-1728B52AA6E4}">
                <adec:decorative xmlns:adec="http://schemas.microsoft.com/office/drawing/2017/decorative" val="1"/>
              </a:ext>
            </a:extLst>
          </p:cNvPr>
          <p:cNvSpPr>
            <a:spLocks noChangeAspect="1"/>
          </p:cNvSpPr>
          <p:nvPr/>
        </p:nvSpPr>
        <p:spPr>
          <a:xfrm>
            <a:off x="3738077" y="2405108"/>
            <a:ext cx="143414" cy="152378"/>
          </a:xfrm>
          <a:custGeom>
            <a:avLst/>
            <a:gdLst>
              <a:gd name="connsiteX0" fmla="*/ 147000 w 143414"/>
              <a:gd name="connsiteY0" fmla="*/ 120110 h 152377"/>
              <a:gd name="connsiteX1" fmla="*/ 147000 w 143414"/>
              <a:gd name="connsiteY1" fmla="*/ 120110 h 152377"/>
              <a:gd name="connsiteX2" fmla="*/ 147000 w 143414"/>
              <a:gd name="connsiteY2" fmla="*/ 120110 h 152377"/>
              <a:gd name="connsiteX3" fmla="*/ 147000 w 143414"/>
              <a:gd name="connsiteY3" fmla="*/ 120110 h 152377"/>
              <a:gd name="connsiteX4" fmla="*/ 147000 w 143414"/>
              <a:gd name="connsiteY4" fmla="*/ 119213 h 152377"/>
              <a:gd name="connsiteX5" fmla="*/ 146552 w 143414"/>
              <a:gd name="connsiteY5" fmla="*/ 118765 h 152377"/>
              <a:gd name="connsiteX6" fmla="*/ 146552 w 143414"/>
              <a:gd name="connsiteY6" fmla="*/ 118317 h 152377"/>
              <a:gd name="connsiteX7" fmla="*/ 146552 w 143414"/>
              <a:gd name="connsiteY7" fmla="*/ 118317 h 152377"/>
              <a:gd name="connsiteX8" fmla="*/ 146552 w 143414"/>
              <a:gd name="connsiteY8" fmla="*/ 118317 h 152377"/>
              <a:gd name="connsiteX9" fmla="*/ 87842 w 143414"/>
              <a:gd name="connsiteY9" fmla="*/ 82015 h 152377"/>
              <a:gd name="connsiteX10" fmla="*/ 88738 w 143414"/>
              <a:gd name="connsiteY10" fmla="*/ 77085 h 152377"/>
              <a:gd name="connsiteX11" fmla="*/ 77085 w 143414"/>
              <a:gd name="connsiteY11" fmla="*/ 61847 h 152377"/>
              <a:gd name="connsiteX12" fmla="*/ 75293 w 143414"/>
              <a:gd name="connsiteY12" fmla="*/ 896 h 152377"/>
              <a:gd name="connsiteX13" fmla="*/ 75293 w 143414"/>
              <a:gd name="connsiteY13" fmla="*/ 896 h 152377"/>
              <a:gd name="connsiteX14" fmla="*/ 74844 w 143414"/>
              <a:gd name="connsiteY14" fmla="*/ 448 h 152377"/>
              <a:gd name="connsiteX15" fmla="*/ 74396 w 143414"/>
              <a:gd name="connsiteY15" fmla="*/ 0 h 152377"/>
              <a:gd name="connsiteX16" fmla="*/ 74396 w 143414"/>
              <a:gd name="connsiteY16" fmla="*/ 0 h 152377"/>
              <a:gd name="connsiteX17" fmla="*/ 74396 w 143414"/>
              <a:gd name="connsiteY17" fmla="*/ 0 h 152377"/>
              <a:gd name="connsiteX18" fmla="*/ 73948 w 143414"/>
              <a:gd name="connsiteY18" fmla="*/ 0 h 152377"/>
              <a:gd name="connsiteX19" fmla="*/ 73500 w 143414"/>
              <a:gd name="connsiteY19" fmla="*/ 0 h 152377"/>
              <a:gd name="connsiteX20" fmla="*/ 73052 w 143414"/>
              <a:gd name="connsiteY20" fmla="*/ 0 h 152377"/>
              <a:gd name="connsiteX21" fmla="*/ 72604 w 143414"/>
              <a:gd name="connsiteY21" fmla="*/ 0 h 152377"/>
              <a:gd name="connsiteX22" fmla="*/ 72604 w 143414"/>
              <a:gd name="connsiteY22" fmla="*/ 0 h 152377"/>
              <a:gd name="connsiteX23" fmla="*/ 72604 w 143414"/>
              <a:gd name="connsiteY23" fmla="*/ 0 h 152377"/>
              <a:gd name="connsiteX24" fmla="*/ 72156 w 143414"/>
              <a:gd name="connsiteY24" fmla="*/ 448 h 152377"/>
              <a:gd name="connsiteX25" fmla="*/ 71707 w 143414"/>
              <a:gd name="connsiteY25" fmla="*/ 896 h 152377"/>
              <a:gd name="connsiteX26" fmla="*/ 71707 w 143414"/>
              <a:gd name="connsiteY26" fmla="*/ 896 h 152377"/>
              <a:gd name="connsiteX27" fmla="*/ 69915 w 143414"/>
              <a:gd name="connsiteY27" fmla="*/ 61847 h 152377"/>
              <a:gd name="connsiteX28" fmla="*/ 58262 w 143414"/>
              <a:gd name="connsiteY28" fmla="*/ 77085 h 152377"/>
              <a:gd name="connsiteX29" fmla="*/ 59159 w 143414"/>
              <a:gd name="connsiteY29" fmla="*/ 82015 h 152377"/>
              <a:gd name="connsiteX30" fmla="*/ 448 w 143414"/>
              <a:gd name="connsiteY30" fmla="*/ 118317 h 152377"/>
              <a:gd name="connsiteX31" fmla="*/ 448 w 143414"/>
              <a:gd name="connsiteY31" fmla="*/ 118317 h 152377"/>
              <a:gd name="connsiteX32" fmla="*/ 448 w 143414"/>
              <a:gd name="connsiteY32" fmla="*/ 118317 h 152377"/>
              <a:gd name="connsiteX33" fmla="*/ 448 w 143414"/>
              <a:gd name="connsiteY33" fmla="*/ 118765 h 152377"/>
              <a:gd name="connsiteX34" fmla="*/ 0 w 143414"/>
              <a:gd name="connsiteY34" fmla="*/ 119213 h 152377"/>
              <a:gd name="connsiteX35" fmla="*/ 0 w 143414"/>
              <a:gd name="connsiteY35" fmla="*/ 119661 h 152377"/>
              <a:gd name="connsiteX36" fmla="*/ 0 w 143414"/>
              <a:gd name="connsiteY36" fmla="*/ 119661 h 152377"/>
              <a:gd name="connsiteX37" fmla="*/ 0 w 143414"/>
              <a:gd name="connsiteY37" fmla="*/ 119661 h 152377"/>
              <a:gd name="connsiteX38" fmla="*/ 0 w 143414"/>
              <a:gd name="connsiteY38" fmla="*/ 119661 h 152377"/>
              <a:gd name="connsiteX39" fmla="*/ 448 w 143414"/>
              <a:gd name="connsiteY39" fmla="*/ 120110 h 152377"/>
              <a:gd name="connsiteX40" fmla="*/ 448 w 143414"/>
              <a:gd name="connsiteY40" fmla="*/ 120110 h 152377"/>
              <a:gd name="connsiteX41" fmla="*/ 896 w 143414"/>
              <a:gd name="connsiteY41" fmla="*/ 120558 h 152377"/>
              <a:gd name="connsiteX42" fmla="*/ 896 w 143414"/>
              <a:gd name="connsiteY42" fmla="*/ 120558 h 152377"/>
              <a:gd name="connsiteX43" fmla="*/ 896 w 143414"/>
              <a:gd name="connsiteY43" fmla="*/ 120558 h 152377"/>
              <a:gd name="connsiteX44" fmla="*/ 2241 w 143414"/>
              <a:gd name="connsiteY44" fmla="*/ 121006 h 152377"/>
              <a:gd name="connsiteX45" fmla="*/ 2689 w 143414"/>
              <a:gd name="connsiteY45" fmla="*/ 121006 h 152377"/>
              <a:gd name="connsiteX46" fmla="*/ 62296 w 143414"/>
              <a:gd name="connsiteY46" fmla="*/ 86945 h 152377"/>
              <a:gd name="connsiteX47" fmla="*/ 71259 w 143414"/>
              <a:gd name="connsiteY47" fmla="*/ 91875 h 152377"/>
              <a:gd name="connsiteX48" fmla="*/ 71259 w 143414"/>
              <a:gd name="connsiteY48" fmla="*/ 148344 h 152377"/>
              <a:gd name="connsiteX49" fmla="*/ 53332 w 143414"/>
              <a:gd name="connsiteY49" fmla="*/ 148344 h 152377"/>
              <a:gd name="connsiteX50" fmla="*/ 51092 w 143414"/>
              <a:gd name="connsiteY50" fmla="*/ 150585 h 152377"/>
              <a:gd name="connsiteX51" fmla="*/ 53332 w 143414"/>
              <a:gd name="connsiteY51" fmla="*/ 152826 h 152377"/>
              <a:gd name="connsiteX52" fmla="*/ 93668 w 143414"/>
              <a:gd name="connsiteY52" fmla="*/ 152826 h 152377"/>
              <a:gd name="connsiteX53" fmla="*/ 95909 w 143414"/>
              <a:gd name="connsiteY53" fmla="*/ 150585 h 152377"/>
              <a:gd name="connsiteX54" fmla="*/ 93668 w 143414"/>
              <a:gd name="connsiteY54" fmla="*/ 148344 h 152377"/>
              <a:gd name="connsiteX55" fmla="*/ 75741 w 143414"/>
              <a:gd name="connsiteY55" fmla="*/ 148344 h 152377"/>
              <a:gd name="connsiteX56" fmla="*/ 75741 w 143414"/>
              <a:gd name="connsiteY56" fmla="*/ 91875 h 152377"/>
              <a:gd name="connsiteX57" fmla="*/ 84704 w 143414"/>
              <a:gd name="connsiteY57" fmla="*/ 86945 h 152377"/>
              <a:gd name="connsiteX58" fmla="*/ 144311 w 143414"/>
              <a:gd name="connsiteY58" fmla="*/ 121006 h 152377"/>
              <a:gd name="connsiteX59" fmla="*/ 144759 w 143414"/>
              <a:gd name="connsiteY59" fmla="*/ 121006 h 152377"/>
              <a:gd name="connsiteX60" fmla="*/ 146104 w 143414"/>
              <a:gd name="connsiteY60" fmla="*/ 120558 h 152377"/>
              <a:gd name="connsiteX61" fmla="*/ 146104 w 143414"/>
              <a:gd name="connsiteY61" fmla="*/ 120558 h 152377"/>
              <a:gd name="connsiteX62" fmla="*/ 146104 w 143414"/>
              <a:gd name="connsiteY62" fmla="*/ 120558 h 152377"/>
              <a:gd name="connsiteX63" fmla="*/ 146552 w 143414"/>
              <a:gd name="connsiteY63" fmla="*/ 120110 h 152377"/>
              <a:gd name="connsiteX64" fmla="*/ 146552 w 143414"/>
              <a:gd name="connsiteY64" fmla="*/ 120110 h 152377"/>
              <a:gd name="connsiteX65" fmla="*/ 147000 w 143414"/>
              <a:gd name="connsiteY65" fmla="*/ 120110 h 152377"/>
              <a:gd name="connsiteX66" fmla="*/ 73948 w 143414"/>
              <a:gd name="connsiteY66" fmla="*/ 7171 h 152377"/>
              <a:gd name="connsiteX67" fmla="*/ 73948 w 143414"/>
              <a:gd name="connsiteY67" fmla="*/ 59158 h 152377"/>
              <a:gd name="connsiteX68" fmla="*/ 73948 w 143414"/>
              <a:gd name="connsiteY68" fmla="*/ 7171 h 152377"/>
              <a:gd name="connsiteX69" fmla="*/ 8067 w 143414"/>
              <a:gd name="connsiteY69" fmla="*/ 116076 h 152377"/>
              <a:gd name="connsiteX70" fmla="*/ 57814 w 143414"/>
              <a:gd name="connsiteY70" fmla="*/ 86497 h 152377"/>
              <a:gd name="connsiteX71" fmla="*/ 8067 w 143414"/>
              <a:gd name="connsiteY71" fmla="*/ 116076 h 152377"/>
              <a:gd name="connsiteX72" fmla="*/ 73948 w 143414"/>
              <a:gd name="connsiteY72" fmla="*/ 88289 h 152377"/>
              <a:gd name="connsiteX73" fmla="*/ 63192 w 143414"/>
              <a:gd name="connsiteY73" fmla="*/ 77085 h 152377"/>
              <a:gd name="connsiteX74" fmla="*/ 73948 w 143414"/>
              <a:gd name="connsiteY74" fmla="*/ 65881 h 152377"/>
              <a:gd name="connsiteX75" fmla="*/ 84704 w 143414"/>
              <a:gd name="connsiteY75" fmla="*/ 77085 h 152377"/>
              <a:gd name="connsiteX76" fmla="*/ 73948 w 143414"/>
              <a:gd name="connsiteY76" fmla="*/ 88289 h 152377"/>
              <a:gd name="connsiteX77" fmla="*/ 90082 w 143414"/>
              <a:gd name="connsiteY77" fmla="*/ 86497 h 152377"/>
              <a:gd name="connsiteX78" fmla="*/ 139829 w 143414"/>
              <a:gd name="connsiteY78" fmla="*/ 116076 h 152377"/>
              <a:gd name="connsiteX79" fmla="*/ 90082 w 143414"/>
              <a:gd name="connsiteY79" fmla="*/ 86497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43414" h="152377">
                <a:moveTo>
                  <a:pt x="147000" y="120110"/>
                </a:moveTo>
                <a:cubicBezTo>
                  <a:pt x="147000" y="120110"/>
                  <a:pt x="147000" y="120110"/>
                  <a:pt x="147000" y="120110"/>
                </a:cubicBezTo>
                <a:cubicBezTo>
                  <a:pt x="147000" y="119661"/>
                  <a:pt x="147000" y="119661"/>
                  <a:pt x="147000" y="120110"/>
                </a:cubicBezTo>
                <a:cubicBezTo>
                  <a:pt x="147000" y="119661"/>
                  <a:pt x="147000" y="119661"/>
                  <a:pt x="147000" y="120110"/>
                </a:cubicBezTo>
                <a:cubicBezTo>
                  <a:pt x="147000" y="119661"/>
                  <a:pt x="147000" y="119213"/>
                  <a:pt x="147000" y="119213"/>
                </a:cubicBezTo>
                <a:cubicBezTo>
                  <a:pt x="147000" y="119213"/>
                  <a:pt x="147000" y="118765"/>
                  <a:pt x="146552" y="118765"/>
                </a:cubicBezTo>
                <a:cubicBezTo>
                  <a:pt x="146552" y="118765"/>
                  <a:pt x="146552" y="118765"/>
                  <a:pt x="146552" y="118317"/>
                </a:cubicBezTo>
                <a:cubicBezTo>
                  <a:pt x="146552" y="118317"/>
                  <a:pt x="146552" y="118317"/>
                  <a:pt x="146552" y="118317"/>
                </a:cubicBezTo>
                <a:cubicBezTo>
                  <a:pt x="146552" y="118317"/>
                  <a:pt x="146552" y="118317"/>
                  <a:pt x="146552" y="118317"/>
                </a:cubicBezTo>
                <a:cubicBezTo>
                  <a:pt x="126384" y="89186"/>
                  <a:pt x="96805" y="83360"/>
                  <a:pt x="87842" y="82015"/>
                </a:cubicBezTo>
                <a:cubicBezTo>
                  <a:pt x="88290" y="80671"/>
                  <a:pt x="88738" y="78878"/>
                  <a:pt x="88738" y="77085"/>
                </a:cubicBezTo>
                <a:cubicBezTo>
                  <a:pt x="88738" y="69914"/>
                  <a:pt x="83808" y="63640"/>
                  <a:pt x="77085" y="61847"/>
                </a:cubicBezTo>
                <a:cubicBezTo>
                  <a:pt x="81567" y="53780"/>
                  <a:pt x="90979" y="30027"/>
                  <a:pt x="75293" y="896"/>
                </a:cubicBezTo>
                <a:cubicBezTo>
                  <a:pt x="75293" y="896"/>
                  <a:pt x="75293" y="896"/>
                  <a:pt x="75293" y="896"/>
                </a:cubicBezTo>
                <a:cubicBezTo>
                  <a:pt x="75293" y="896"/>
                  <a:pt x="75293" y="448"/>
                  <a:pt x="74844" y="448"/>
                </a:cubicBezTo>
                <a:cubicBezTo>
                  <a:pt x="74844" y="448"/>
                  <a:pt x="74844" y="448"/>
                  <a:pt x="74396" y="0"/>
                </a:cubicBezTo>
                <a:cubicBezTo>
                  <a:pt x="74396" y="0"/>
                  <a:pt x="74396" y="0"/>
                  <a:pt x="74396" y="0"/>
                </a:cubicBezTo>
                <a:cubicBezTo>
                  <a:pt x="74396" y="0"/>
                  <a:pt x="74396" y="0"/>
                  <a:pt x="74396" y="0"/>
                </a:cubicBezTo>
                <a:cubicBezTo>
                  <a:pt x="74396" y="0"/>
                  <a:pt x="73948" y="0"/>
                  <a:pt x="73948" y="0"/>
                </a:cubicBezTo>
                <a:cubicBezTo>
                  <a:pt x="73948" y="0"/>
                  <a:pt x="73500" y="0"/>
                  <a:pt x="73500" y="0"/>
                </a:cubicBezTo>
                <a:cubicBezTo>
                  <a:pt x="73500" y="0"/>
                  <a:pt x="73052" y="0"/>
                  <a:pt x="73052" y="0"/>
                </a:cubicBezTo>
                <a:cubicBezTo>
                  <a:pt x="73052" y="0"/>
                  <a:pt x="72604" y="0"/>
                  <a:pt x="72604" y="0"/>
                </a:cubicBezTo>
                <a:cubicBezTo>
                  <a:pt x="72604" y="0"/>
                  <a:pt x="72604" y="0"/>
                  <a:pt x="72604" y="0"/>
                </a:cubicBezTo>
                <a:cubicBezTo>
                  <a:pt x="72604" y="0"/>
                  <a:pt x="72604" y="0"/>
                  <a:pt x="72604" y="0"/>
                </a:cubicBezTo>
                <a:cubicBezTo>
                  <a:pt x="72604" y="0"/>
                  <a:pt x="72156" y="0"/>
                  <a:pt x="72156" y="448"/>
                </a:cubicBezTo>
                <a:cubicBezTo>
                  <a:pt x="72156" y="896"/>
                  <a:pt x="72156" y="448"/>
                  <a:pt x="71707" y="896"/>
                </a:cubicBezTo>
                <a:cubicBezTo>
                  <a:pt x="71707" y="896"/>
                  <a:pt x="71707" y="896"/>
                  <a:pt x="71707" y="896"/>
                </a:cubicBezTo>
                <a:cubicBezTo>
                  <a:pt x="56021" y="30027"/>
                  <a:pt x="65881" y="53780"/>
                  <a:pt x="69915" y="61847"/>
                </a:cubicBezTo>
                <a:cubicBezTo>
                  <a:pt x="63192" y="63640"/>
                  <a:pt x="58262" y="69466"/>
                  <a:pt x="58262" y="77085"/>
                </a:cubicBezTo>
                <a:cubicBezTo>
                  <a:pt x="58262" y="78878"/>
                  <a:pt x="58710" y="80222"/>
                  <a:pt x="59159" y="82015"/>
                </a:cubicBezTo>
                <a:cubicBezTo>
                  <a:pt x="50195" y="83360"/>
                  <a:pt x="20616" y="89634"/>
                  <a:pt x="448" y="118317"/>
                </a:cubicBezTo>
                <a:cubicBezTo>
                  <a:pt x="448" y="118317"/>
                  <a:pt x="448" y="118317"/>
                  <a:pt x="448" y="118317"/>
                </a:cubicBezTo>
                <a:cubicBezTo>
                  <a:pt x="448" y="118317"/>
                  <a:pt x="448" y="118317"/>
                  <a:pt x="448" y="118317"/>
                </a:cubicBezTo>
                <a:cubicBezTo>
                  <a:pt x="448" y="118317"/>
                  <a:pt x="448" y="118317"/>
                  <a:pt x="448" y="118765"/>
                </a:cubicBezTo>
                <a:cubicBezTo>
                  <a:pt x="448" y="118765"/>
                  <a:pt x="448" y="119213"/>
                  <a:pt x="0" y="119213"/>
                </a:cubicBezTo>
                <a:cubicBezTo>
                  <a:pt x="0" y="119213"/>
                  <a:pt x="0" y="119661"/>
                  <a:pt x="0" y="119661"/>
                </a:cubicBezTo>
                <a:cubicBezTo>
                  <a:pt x="0" y="119661"/>
                  <a:pt x="0" y="119661"/>
                  <a:pt x="0" y="119661"/>
                </a:cubicBezTo>
                <a:cubicBezTo>
                  <a:pt x="0" y="119661"/>
                  <a:pt x="0" y="119661"/>
                  <a:pt x="0" y="119661"/>
                </a:cubicBezTo>
                <a:cubicBezTo>
                  <a:pt x="0" y="119661"/>
                  <a:pt x="0" y="119661"/>
                  <a:pt x="0" y="119661"/>
                </a:cubicBezTo>
                <a:cubicBezTo>
                  <a:pt x="0" y="119661"/>
                  <a:pt x="0" y="120110"/>
                  <a:pt x="448" y="120110"/>
                </a:cubicBezTo>
                <a:cubicBezTo>
                  <a:pt x="448" y="120110"/>
                  <a:pt x="448" y="120110"/>
                  <a:pt x="448" y="120110"/>
                </a:cubicBezTo>
                <a:cubicBezTo>
                  <a:pt x="448" y="120110"/>
                  <a:pt x="896" y="120558"/>
                  <a:pt x="896" y="120558"/>
                </a:cubicBezTo>
                <a:cubicBezTo>
                  <a:pt x="896" y="120558"/>
                  <a:pt x="896" y="120558"/>
                  <a:pt x="896" y="120558"/>
                </a:cubicBezTo>
                <a:cubicBezTo>
                  <a:pt x="896" y="120558"/>
                  <a:pt x="896" y="120558"/>
                  <a:pt x="896" y="120558"/>
                </a:cubicBezTo>
                <a:cubicBezTo>
                  <a:pt x="1345" y="120558"/>
                  <a:pt x="1793" y="121006"/>
                  <a:pt x="2241" y="121006"/>
                </a:cubicBezTo>
                <a:cubicBezTo>
                  <a:pt x="2241" y="121006"/>
                  <a:pt x="2689" y="121006"/>
                  <a:pt x="2689" y="121006"/>
                </a:cubicBezTo>
                <a:cubicBezTo>
                  <a:pt x="40335" y="114731"/>
                  <a:pt x="57366" y="94564"/>
                  <a:pt x="62296" y="86945"/>
                </a:cubicBezTo>
                <a:cubicBezTo>
                  <a:pt x="64537" y="89634"/>
                  <a:pt x="67674" y="91427"/>
                  <a:pt x="71259" y="91875"/>
                </a:cubicBezTo>
                <a:lnTo>
                  <a:pt x="71259" y="148344"/>
                </a:lnTo>
                <a:lnTo>
                  <a:pt x="53332" y="148344"/>
                </a:lnTo>
                <a:cubicBezTo>
                  <a:pt x="51988" y="148344"/>
                  <a:pt x="51092" y="149241"/>
                  <a:pt x="51092" y="150585"/>
                </a:cubicBezTo>
                <a:cubicBezTo>
                  <a:pt x="51092" y="151930"/>
                  <a:pt x="51988" y="152826"/>
                  <a:pt x="53332" y="152826"/>
                </a:cubicBezTo>
                <a:lnTo>
                  <a:pt x="93668" y="152826"/>
                </a:lnTo>
                <a:cubicBezTo>
                  <a:pt x="95012" y="152826"/>
                  <a:pt x="95909" y="151930"/>
                  <a:pt x="95909" y="150585"/>
                </a:cubicBezTo>
                <a:cubicBezTo>
                  <a:pt x="95909" y="149241"/>
                  <a:pt x="95012" y="148344"/>
                  <a:pt x="93668" y="148344"/>
                </a:cubicBezTo>
                <a:lnTo>
                  <a:pt x="75741" y="148344"/>
                </a:lnTo>
                <a:lnTo>
                  <a:pt x="75741" y="91875"/>
                </a:lnTo>
                <a:cubicBezTo>
                  <a:pt x="79326" y="91427"/>
                  <a:pt x="82463" y="89634"/>
                  <a:pt x="84704" y="86945"/>
                </a:cubicBezTo>
                <a:cubicBezTo>
                  <a:pt x="89634" y="94564"/>
                  <a:pt x="106216" y="114731"/>
                  <a:pt x="144311" y="121006"/>
                </a:cubicBezTo>
                <a:cubicBezTo>
                  <a:pt x="144311" y="121006"/>
                  <a:pt x="144759" y="121006"/>
                  <a:pt x="144759" y="121006"/>
                </a:cubicBezTo>
                <a:cubicBezTo>
                  <a:pt x="145207" y="121006"/>
                  <a:pt x="145655" y="121006"/>
                  <a:pt x="146104" y="120558"/>
                </a:cubicBezTo>
                <a:cubicBezTo>
                  <a:pt x="146104" y="120558"/>
                  <a:pt x="146104" y="120558"/>
                  <a:pt x="146104" y="120558"/>
                </a:cubicBezTo>
                <a:cubicBezTo>
                  <a:pt x="146104" y="120558"/>
                  <a:pt x="146104" y="120558"/>
                  <a:pt x="146104" y="120558"/>
                </a:cubicBezTo>
                <a:cubicBezTo>
                  <a:pt x="146104" y="120558"/>
                  <a:pt x="146552" y="120110"/>
                  <a:pt x="146552" y="120110"/>
                </a:cubicBezTo>
                <a:cubicBezTo>
                  <a:pt x="146552" y="120110"/>
                  <a:pt x="146552" y="120110"/>
                  <a:pt x="146552" y="120110"/>
                </a:cubicBezTo>
                <a:cubicBezTo>
                  <a:pt x="147000" y="120558"/>
                  <a:pt x="147000" y="120110"/>
                  <a:pt x="147000" y="120110"/>
                </a:cubicBezTo>
                <a:close/>
                <a:moveTo>
                  <a:pt x="73948" y="7171"/>
                </a:moveTo>
                <a:cubicBezTo>
                  <a:pt x="85601" y="32268"/>
                  <a:pt x="77982" y="51988"/>
                  <a:pt x="73948" y="59158"/>
                </a:cubicBezTo>
                <a:cubicBezTo>
                  <a:pt x="69915" y="51988"/>
                  <a:pt x="62296" y="32268"/>
                  <a:pt x="73948" y="7171"/>
                </a:cubicBezTo>
                <a:close/>
                <a:moveTo>
                  <a:pt x="8067" y="116076"/>
                </a:moveTo>
                <a:cubicBezTo>
                  <a:pt x="25098" y="95012"/>
                  <a:pt x="47954" y="88289"/>
                  <a:pt x="57814" y="86497"/>
                </a:cubicBezTo>
                <a:cubicBezTo>
                  <a:pt x="52436" y="94116"/>
                  <a:pt x="37646" y="109353"/>
                  <a:pt x="8067" y="116076"/>
                </a:cubicBezTo>
                <a:close/>
                <a:moveTo>
                  <a:pt x="73948" y="88289"/>
                </a:moveTo>
                <a:cubicBezTo>
                  <a:pt x="68122" y="88289"/>
                  <a:pt x="63192" y="83360"/>
                  <a:pt x="63192" y="77085"/>
                </a:cubicBezTo>
                <a:cubicBezTo>
                  <a:pt x="63192" y="70811"/>
                  <a:pt x="68122" y="65881"/>
                  <a:pt x="73948" y="65881"/>
                </a:cubicBezTo>
                <a:cubicBezTo>
                  <a:pt x="79775" y="65881"/>
                  <a:pt x="84704" y="70811"/>
                  <a:pt x="84704" y="77085"/>
                </a:cubicBezTo>
                <a:cubicBezTo>
                  <a:pt x="84256" y="83360"/>
                  <a:pt x="79775" y="88289"/>
                  <a:pt x="73948" y="88289"/>
                </a:cubicBezTo>
                <a:close/>
                <a:moveTo>
                  <a:pt x="90082" y="86497"/>
                </a:moveTo>
                <a:cubicBezTo>
                  <a:pt x="99942" y="88289"/>
                  <a:pt x="122351" y="94564"/>
                  <a:pt x="139829" y="116076"/>
                </a:cubicBezTo>
                <a:cubicBezTo>
                  <a:pt x="110250" y="109353"/>
                  <a:pt x="95460" y="94116"/>
                  <a:pt x="90082" y="86497"/>
                </a:cubicBezTo>
                <a:close/>
              </a:path>
            </a:pathLst>
          </a:custGeom>
          <a:solidFill>
            <a:srgbClr val="231F20"/>
          </a:solidFill>
          <a:ln w="4477" cap="flat">
            <a:noFill/>
            <a:prstDash val="solid"/>
            <a:miter/>
          </a:ln>
        </p:spPr>
        <p:txBody>
          <a:bodyPr rtlCol="0" anchor="ctr"/>
          <a:lstStyle/>
          <a:p>
            <a:endParaRPr lang="en-US"/>
          </a:p>
        </p:txBody>
      </p:sp>
      <p:grpSp>
        <p:nvGrpSpPr>
          <p:cNvPr id="3801" name="Group 3800">
            <a:extLst>
              <a:ext uri="{FF2B5EF4-FFF2-40B4-BE49-F238E27FC236}">
                <a16:creationId xmlns:a16="http://schemas.microsoft.com/office/drawing/2014/main" id="{B91CEAD4-7442-4A39-8E97-F4AAB0B42F11}"/>
              </a:ext>
              <a:ext uri="{C183D7F6-B498-43B3-948B-1728B52AA6E4}">
                <adec:decorative xmlns:adec="http://schemas.microsoft.com/office/drawing/2017/decorative" val="1"/>
              </a:ext>
            </a:extLst>
          </p:cNvPr>
          <p:cNvGrpSpPr>
            <a:grpSpLocks noChangeAspect="1"/>
          </p:cNvGrpSpPr>
          <p:nvPr/>
        </p:nvGrpSpPr>
        <p:grpSpPr>
          <a:xfrm>
            <a:off x="1108215" y="2405780"/>
            <a:ext cx="152378" cy="147896"/>
            <a:chOff x="7009841" y="5252316"/>
            <a:chExt cx="152378" cy="147896"/>
          </a:xfrm>
        </p:grpSpPr>
        <p:sp>
          <p:nvSpPr>
            <p:cNvPr id="3802" name="Freeform: Shape 3801">
              <a:extLst>
                <a:ext uri="{FF2B5EF4-FFF2-40B4-BE49-F238E27FC236}">
                  <a16:creationId xmlns:a16="http://schemas.microsoft.com/office/drawing/2014/main" id="{B1C8B851-CA19-4039-A777-0D593F13DFA1}"/>
                </a:ext>
              </a:extLst>
            </p:cNvPr>
            <p:cNvSpPr/>
            <p:nvPr/>
          </p:nvSpPr>
          <p:spPr>
            <a:xfrm>
              <a:off x="7009841" y="5252316"/>
              <a:ext cx="152378" cy="147896"/>
            </a:xfrm>
            <a:custGeom>
              <a:avLst/>
              <a:gdLst>
                <a:gd name="connsiteX0" fmla="*/ 150585 w 152377"/>
                <a:gd name="connsiteY0" fmla="*/ 147672 h 147896"/>
                <a:gd name="connsiteX1" fmla="*/ 139381 w 152377"/>
                <a:gd name="connsiteY1" fmla="*/ 147672 h 147896"/>
                <a:gd name="connsiteX2" fmla="*/ 139381 w 152377"/>
                <a:gd name="connsiteY2" fmla="*/ 73724 h 147896"/>
                <a:gd name="connsiteX3" fmla="*/ 148792 w 152377"/>
                <a:gd name="connsiteY3" fmla="*/ 84032 h 147896"/>
                <a:gd name="connsiteX4" fmla="*/ 150585 w 152377"/>
                <a:gd name="connsiteY4" fmla="*/ 84928 h 147896"/>
                <a:gd name="connsiteX5" fmla="*/ 151930 w 152377"/>
                <a:gd name="connsiteY5" fmla="*/ 84480 h 147896"/>
                <a:gd name="connsiteX6" fmla="*/ 151930 w 152377"/>
                <a:gd name="connsiteY6" fmla="*/ 81343 h 147896"/>
                <a:gd name="connsiteX7" fmla="*/ 77982 w 152377"/>
                <a:gd name="connsiteY7" fmla="*/ 672 h 147896"/>
                <a:gd name="connsiteX8" fmla="*/ 74844 w 152377"/>
                <a:gd name="connsiteY8" fmla="*/ 672 h 147896"/>
                <a:gd name="connsiteX9" fmla="*/ 896 w 152377"/>
                <a:gd name="connsiteY9" fmla="*/ 81343 h 147896"/>
                <a:gd name="connsiteX10" fmla="*/ 896 w 152377"/>
                <a:gd name="connsiteY10" fmla="*/ 84480 h 147896"/>
                <a:gd name="connsiteX11" fmla="*/ 4034 w 152377"/>
                <a:gd name="connsiteY11" fmla="*/ 84480 h 147896"/>
                <a:gd name="connsiteX12" fmla="*/ 13445 w 152377"/>
                <a:gd name="connsiteY12" fmla="*/ 74172 h 147896"/>
                <a:gd name="connsiteX13" fmla="*/ 13445 w 152377"/>
                <a:gd name="connsiteY13" fmla="*/ 147672 h 147896"/>
                <a:gd name="connsiteX14" fmla="*/ 2241 w 152377"/>
                <a:gd name="connsiteY14" fmla="*/ 147672 h 147896"/>
                <a:gd name="connsiteX15" fmla="*/ 0 w 152377"/>
                <a:gd name="connsiteY15" fmla="*/ 149913 h 147896"/>
                <a:gd name="connsiteX16" fmla="*/ 2241 w 152377"/>
                <a:gd name="connsiteY16" fmla="*/ 152154 h 147896"/>
                <a:gd name="connsiteX17" fmla="*/ 150137 w 152377"/>
                <a:gd name="connsiteY17" fmla="*/ 152154 h 147896"/>
                <a:gd name="connsiteX18" fmla="*/ 152378 w 152377"/>
                <a:gd name="connsiteY18" fmla="*/ 149913 h 147896"/>
                <a:gd name="connsiteX19" fmla="*/ 150585 w 152377"/>
                <a:gd name="connsiteY19" fmla="*/ 147672 h 147896"/>
                <a:gd name="connsiteX20" fmla="*/ 18375 w 152377"/>
                <a:gd name="connsiteY20" fmla="*/ 69242 h 147896"/>
                <a:gd name="connsiteX21" fmla="*/ 76637 w 152377"/>
                <a:gd name="connsiteY21" fmla="*/ 5602 h 147896"/>
                <a:gd name="connsiteX22" fmla="*/ 134899 w 152377"/>
                <a:gd name="connsiteY22" fmla="*/ 69242 h 147896"/>
                <a:gd name="connsiteX23" fmla="*/ 134899 w 152377"/>
                <a:gd name="connsiteY23" fmla="*/ 69690 h 147896"/>
                <a:gd name="connsiteX24" fmla="*/ 134899 w 152377"/>
                <a:gd name="connsiteY24" fmla="*/ 147672 h 147896"/>
                <a:gd name="connsiteX25" fmla="*/ 125936 w 152377"/>
                <a:gd name="connsiteY25" fmla="*/ 147672 h 147896"/>
                <a:gd name="connsiteX26" fmla="*/ 125936 w 152377"/>
                <a:gd name="connsiteY26" fmla="*/ 82687 h 147896"/>
                <a:gd name="connsiteX27" fmla="*/ 123695 w 152377"/>
                <a:gd name="connsiteY27" fmla="*/ 80447 h 147896"/>
                <a:gd name="connsiteX28" fmla="*/ 96805 w 152377"/>
                <a:gd name="connsiteY28" fmla="*/ 80447 h 147896"/>
                <a:gd name="connsiteX29" fmla="*/ 94564 w 152377"/>
                <a:gd name="connsiteY29" fmla="*/ 82687 h 147896"/>
                <a:gd name="connsiteX30" fmla="*/ 94564 w 152377"/>
                <a:gd name="connsiteY30" fmla="*/ 147672 h 147896"/>
                <a:gd name="connsiteX31" fmla="*/ 18375 w 152377"/>
                <a:gd name="connsiteY31" fmla="*/ 147672 h 147896"/>
                <a:gd name="connsiteX32" fmla="*/ 18375 w 152377"/>
                <a:gd name="connsiteY32" fmla="*/ 69242 h 147896"/>
                <a:gd name="connsiteX33" fmla="*/ 18375 w 152377"/>
                <a:gd name="connsiteY33" fmla="*/ 69242 h 147896"/>
                <a:gd name="connsiteX34" fmla="*/ 121454 w 152377"/>
                <a:gd name="connsiteY34" fmla="*/ 147672 h 147896"/>
                <a:gd name="connsiteX35" fmla="*/ 99046 w 152377"/>
                <a:gd name="connsiteY35" fmla="*/ 147672 h 147896"/>
                <a:gd name="connsiteX36" fmla="*/ 99046 w 152377"/>
                <a:gd name="connsiteY36" fmla="*/ 84928 h 147896"/>
                <a:gd name="connsiteX37" fmla="*/ 121454 w 152377"/>
                <a:gd name="connsiteY37" fmla="*/ 84928 h 147896"/>
                <a:gd name="connsiteX38" fmla="*/ 121454 w 152377"/>
                <a:gd name="connsiteY38" fmla="*/ 147672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377" h="147896">
                  <a:moveTo>
                    <a:pt x="150585" y="147672"/>
                  </a:moveTo>
                  <a:lnTo>
                    <a:pt x="139381" y="147672"/>
                  </a:lnTo>
                  <a:lnTo>
                    <a:pt x="139381" y="73724"/>
                  </a:lnTo>
                  <a:lnTo>
                    <a:pt x="148792" y="84032"/>
                  </a:lnTo>
                  <a:cubicBezTo>
                    <a:pt x="149241" y="84480"/>
                    <a:pt x="149689" y="84928"/>
                    <a:pt x="150585" y="84928"/>
                  </a:cubicBezTo>
                  <a:cubicBezTo>
                    <a:pt x="151033" y="84928"/>
                    <a:pt x="151482" y="84928"/>
                    <a:pt x="151930" y="84480"/>
                  </a:cubicBezTo>
                  <a:cubicBezTo>
                    <a:pt x="152826" y="83584"/>
                    <a:pt x="152826" y="82239"/>
                    <a:pt x="151930" y="81343"/>
                  </a:cubicBezTo>
                  <a:lnTo>
                    <a:pt x="77982" y="672"/>
                  </a:lnTo>
                  <a:cubicBezTo>
                    <a:pt x="77085" y="-224"/>
                    <a:pt x="75741" y="-224"/>
                    <a:pt x="74844" y="672"/>
                  </a:cubicBezTo>
                  <a:lnTo>
                    <a:pt x="896" y="81343"/>
                  </a:lnTo>
                  <a:cubicBezTo>
                    <a:pt x="0" y="82239"/>
                    <a:pt x="0" y="83584"/>
                    <a:pt x="896" y="84480"/>
                  </a:cubicBezTo>
                  <a:cubicBezTo>
                    <a:pt x="1793" y="85376"/>
                    <a:pt x="3137" y="85376"/>
                    <a:pt x="4034" y="84480"/>
                  </a:cubicBezTo>
                  <a:lnTo>
                    <a:pt x="13445" y="74172"/>
                  </a:lnTo>
                  <a:lnTo>
                    <a:pt x="13445" y="147672"/>
                  </a:lnTo>
                  <a:lnTo>
                    <a:pt x="2241" y="147672"/>
                  </a:lnTo>
                  <a:cubicBezTo>
                    <a:pt x="896" y="147672"/>
                    <a:pt x="0" y="148569"/>
                    <a:pt x="0" y="149913"/>
                  </a:cubicBezTo>
                  <a:cubicBezTo>
                    <a:pt x="0" y="151257"/>
                    <a:pt x="896" y="152154"/>
                    <a:pt x="2241" y="152154"/>
                  </a:cubicBezTo>
                  <a:lnTo>
                    <a:pt x="150137" y="152154"/>
                  </a:lnTo>
                  <a:cubicBezTo>
                    <a:pt x="151482" y="152154"/>
                    <a:pt x="152378" y="151257"/>
                    <a:pt x="152378" y="149913"/>
                  </a:cubicBezTo>
                  <a:cubicBezTo>
                    <a:pt x="152378" y="148569"/>
                    <a:pt x="151930" y="147672"/>
                    <a:pt x="150585" y="147672"/>
                  </a:cubicBezTo>
                  <a:close/>
                  <a:moveTo>
                    <a:pt x="18375" y="69242"/>
                  </a:moveTo>
                  <a:lnTo>
                    <a:pt x="76637" y="5602"/>
                  </a:lnTo>
                  <a:lnTo>
                    <a:pt x="134899" y="69242"/>
                  </a:lnTo>
                  <a:cubicBezTo>
                    <a:pt x="134899" y="69242"/>
                    <a:pt x="134899" y="69242"/>
                    <a:pt x="134899" y="69690"/>
                  </a:cubicBezTo>
                  <a:lnTo>
                    <a:pt x="134899" y="147672"/>
                  </a:lnTo>
                  <a:lnTo>
                    <a:pt x="125936" y="147672"/>
                  </a:lnTo>
                  <a:lnTo>
                    <a:pt x="125936" y="82687"/>
                  </a:lnTo>
                  <a:cubicBezTo>
                    <a:pt x="125936" y="81343"/>
                    <a:pt x="125039" y="80447"/>
                    <a:pt x="123695" y="80447"/>
                  </a:cubicBezTo>
                  <a:lnTo>
                    <a:pt x="96805" y="80447"/>
                  </a:lnTo>
                  <a:cubicBezTo>
                    <a:pt x="95460" y="80447"/>
                    <a:pt x="94564" y="81343"/>
                    <a:pt x="94564" y="82687"/>
                  </a:cubicBezTo>
                  <a:lnTo>
                    <a:pt x="94564" y="147672"/>
                  </a:lnTo>
                  <a:lnTo>
                    <a:pt x="18375" y="147672"/>
                  </a:lnTo>
                  <a:lnTo>
                    <a:pt x="18375" y="69242"/>
                  </a:lnTo>
                  <a:cubicBezTo>
                    <a:pt x="18375" y="69242"/>
                    <a:pt x="18375" y="69242"/>
                    <a:pt x="18375" y="69242"/>
                  </a:cubicBezTo>
                  <a:close/>
                  <a:moveTo>
                    <a:pt x="121454" y="147672"/>
                  </a:moveTo>
                  <a:lnTo>
                    <a:pt x="99046" y="147672"/>
                  </a:lnTo>
                  <a:lnTo>
                    <a:pt x="99046" y="84928"/>
                  </a:lnTo>
                  <a:lnTo>
                    <a:pt x="121454" y="84928"/>
                  </a:lnTo>
                  <a:lnTo>
                    <a:pt x="121454" y="147672"/>
                  </a:lnTo>
                  <a:close/>
                </a:path>
              </a:pathLst>
            </a:custGeom>
            <a:solidFill>
              <a:srgbClr val="231F20"/>
            </a:solidFill>
            <a:ln w="4477" cap="flat">
              <a:noFill/>
              <a:prstDash val="solid"/>
              <a:miter/>
            </a:ln>
          </p:spPr>
          <p:txBody>
            <a:bodyPr rtlCol="0" anchor="ctr"/>
            <a:lstStyle/>
            <a:p>
              <a:endParaRPr lang="en-US"/>
            </a:p>
          </p:txBody>
        </p:sp>
        <p:sp>
          <p:nvSpPr>
            <p:cNvPr id="3803" name="Freeform: Shape 3802">
              <a:extLst>
                <a:ext uri="{FF2B5EF4-FFF2-40B4-BE49-F238E27FC236}">
                  <a16:creationId xmlns:a16="http://schemas.microsoft.com/office/drawing/2014/main" id="{D7A625B9-3DBF-44A6-822D-F8DFF5C195A5}"/>
                </a:ext>
              </a:extLst>
            </p:cNvPr>
            <p:cNvSpPr/>
            <p:nvPr/>
          </p:nvSpPr>
          <p:spPr>
            <a:xfrm>
              <a:off x="7037179" y="5332762"/>
              <a:ext cx="53780" cy="58262"/>
            </a:xfrm>
            <a:custGeom>
              <a:avLst/>
              <a:gdLst>
                <a:gd name="connsiteX0" fmla="*/ 2241 w 53780"/>
                <a:gd name="connsiteY0" fmla="*/ 58262 h 58262"/>
                <a:gd name="connsiteX1" fmla="*/ 56021 w 53780"/>
                <a:gd name="connsiteY1" fmla="*/ 58262 h 58262"/>
                <a:gd name="connsiteX2" fmla="*/ 58262 w 53780"/>
                <a:gd name="connsiteY2" fmla="*/ 56021 h 58262"/>
                <a:gd name="connsiteX3" fmla="*/ 58262 w 53780"/>
                <a:gd name="connsiteY3" fmla="*/ 2241 h 58262"/>
                <a:gd name="connsiteX4" fmla="*/ 56021 w 53780"/>
                <a:gd name="connsiteY4" fmla="*/ 0 h 58262"/>
                <a:gd name="connsiteX5" fmla="*/ 30027 w 53780"/>
                <a:gd name="connsiteY5" fmla="*/ 0 h 58262"/>
                <a:gd name="connsiteX6" fmla="*/ 29131 w 53780"/>
                <a:gd name="connsiteY6" fmla="*/ 0 h 58262"/>
                <a:gd name="connsiteX7" fmla="*/ 28235 w 53780"/>
                <a:gd name="connsiteY7" fmla="*/ 0 h 58262"/>
                <a:gd name="connsiteX8" fmla="*/ 2241 w 53780"/>
                <a:gd name="connsiteY8" fmla="*/ 0 h 58262"/>
                <a:gd name="connsiteX9" fmla="*/ 0 w 53780"/>
                <a:gd name="connsiteY9" fmla="*/ 2241 h 58262"/>
                <a:gd name="connsiteX10" fmla="*/ 0 w 53780"/>
                <a:gd name="connsiteY10" fmla="*/ 56021 h 58262"/>
                <a:gd name="connsiteX11" fmla="*/ 2241 w 53780"/>
                <a:gd name="connsiteY11" fmla="*/ 58262 h 58262"/>
                <a:gd name="connsiteX12" fmla="*/ 4482 w 53780"/>
                <a:gd name="connsiteY12" fmla="*/ 31372 h 58262"/>
                <a:gd name="connsiteX13" fmla="*/ 26890 w 53780"/>
                <a:gd name="connsiteY13" fmla="*/ 31372 h 58262"/>
                <a:gd name="connsiteX14" fmla="*/ 26890 w 53780"/>
                <a:gd name="connsiteY14" fmla="*/ 53780 h 58262"/>
                <a:gd name="connsiteX15" fmla="*/ 4482 w 53780"/>
                <a:gd name="connsiteY15" fmla="*/ 53780 h 58262"/>
                <a:gd name="connsiteX16" fmla="*/ 4482 w 53780"/>
                <a:gd name="connsiteY16" fmla="*/ 31372 h 58262"/>
                <a:gd name="connsiteX17" fmla="*/ 31372 w 53780"/>
                <a:gd name="connsiteY17" fmla="*/ 53780 h 58262"/>
                <a:gd name="connsiteX18" fmla="*/ 31372 w 53780"/>
                <a:gd name="connsiteY18" fmla="*/ 31372 h 58262"/>
                <a:gd name="connsiteX19" fmla="*/ 53780 w 53780"/>
                <a:gd name="connsiteY19" fmla="*/ 31372 h 58262"/>
                <a:gd name="connsiteX20" fmla="*/ 53780 w 53780"/>
                <a:gd name="connsiteY20" fmla="*/ 53780 h 58262"/>
                <a:gd name="connsiteX21" fmla="*/ 31372 w 53780"/>
                <a:gd name="connsiteY21" fmla="*/ 53780 h 58262"/>
                <a:gd name="connsiteX22" fmla="*/ 53780 w 53780"/>
                <a:gd name="connsiteY22" fmla="*/ 26890 h 58262"/>
                <a:gd name="connsiteX23" fmla="*/ 31372 w 53780"/>
                <a:gd name="connsiteY23" fmla="*/ 26890 h 58262"/>
                <a:gd name="connsiteX24" fmla="*/ 31372 w 53780"/>
                <a:gd name="connsiteY24" fmla="*/ 4482 h 58262"/>
                <a:gd name="connsiteX25" fmla="*/ 53780 w 53780"/>
                <a:gd name="connsiteY25" fmla="*/ 4482 h 58262"/>
                <a:gd name="connsiteX26" fmla="*/ 53780 w 53780"/>
                <a:gd name="connsiteY26" fmla="*/ 26890 h 58262"/>
                <a:gd name="connsiteX27" fmla="*/ 26890 w 53780"/>
                <a:gd name="connsiteY27" fmla="*/ 4482 h 58262"/>
                <a:gd name="connsiteX28" fmla="*/ 26890 w 53780"/>
                <a:gd name="connsiteY28" fmla="*/ 26890 h 58262"/>
                <a:gd name="connsiteX29" fmla="*/ 4482 w 53780"/>
                <a:gd name="connsiteY29" fmla="*/ 26890 h 58262"/>
                <a:gd name="connsiteX30" fmla="*/ 4482 w 53780"/>
                <a:gd name="connsiteY30" fmla="*/ 4482 h 58262"/>
                <a:gd name="connsiteX31" fmla="*/ 26890 w 53780"/>
                <a:gd name="connsiteY31" fmla="*/ 448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780" h="58262">
                  <a:moveTo>
                    <a:pt x="2241" y="58262"/>
                  </a:moveTo>
                  <a:lnTo>
                    <a:pt x="56021" y="58262"/>
                  </a:lnTo>
                  <a:cubicBezTo>
                    <a:pt x="57366" y="58262"/>
                    <a:pt x="58262" y="57366"/>
                    <a:pt x="58262" y="56021"/>
                  </a:cubicBezTo>
                  <a:lnTo>
                    <a:pt x="58262" y="2241"/>
                  </a:lnTo>
                  <a:cubicBezTo>
                    <a:pt x="58262" y="896"/>
                    <a:pt x="57366" y="0"/>
                    <a:pt x="56021" y="0"/>
                  </a:cubicBezTo>
                  <a:lnTo>
                    <a:pt x="30027" y="0"/>
                  </a:lnTo>
                  <a:cubicBezTo>
                    <a:pt x="29579" y="0"/>
                    <a:pt x="29579" y="0"/>
                    <a:pt x="29131" y="0"/>
                  </a:cubicBezTo>
                  <a:cubicBezTo>
                    <a:pt x="28683" y="0"/>
                    <a:pt x="28683" y="0"/>
                    <a:pt x="28235" y="0"/>
                  </a:cubicBezTo>
                  <a:lnTo>
                    <a:pt x="2241" y="0"/>
                  </a:lnTo>
                  <a:cubicBezTo>
                    <a:pt x="896" y="0"/>
                    <a:pt x="0" y="896"/>
                    <a:pt x="0" y="2241"/>
                  </a:cubicBezTo>
                  <a:lnTo>
                    <a:pt x="0" y="56021"/>
                  </a:lnTo>
                  <a:cubicBezTo>
                    <a:pt x="0" y="57366"/>
                    <a:pt x="896" y="58262"/>
                    <a:pt x="2241" y="58262"/>
                  </a:cubicBezTo>
                  <a:close/>
                  <a:moveTo>
                    <a:pt x="4482" y="31372"/>
                  </a:moveTo>
                  <a:lnTo>
                    <a:pt x="26890" y="31372"/>
                  </a:lnTo>
                  <a:lnTo>
                    <a:pt x="26890" y="53780"/>
                  </a:lnTo>
                  <a:lnTo>
                    <a:pt x="4482" y="53780"/>
                  </a:lnTo>
                  <a:lnTo>
                    <a:pt x="4482" y="31372"/>
                  </a:lnTo>
                  <a:close/>
                  <a:moveTo>
                    <a:pt x="31372" y="53780"/>
                  </a:moveTo>
                  <a:lnTo>
                    <a:pt x="31372" y="31372"/>
                  </a:lnTo>
                  <a:lnTo>
                    <a:pt x="53780" y="31372"/>
                  </a:lnTo>
                  <a:lnTo>
                    <a:pt x="53780" y="53780"/>
                  </a:lnTo>
                  <a:lnTo>
                    <a:pt x="31372" y="53780"/>
                  </a:lnTo>
                  <a:close/>
                  <a:moveTo>
                    <a:pt x="53780" y="26890"/>
                  </a:moveTo>
                  <a:lnTo>
                    <a:pt x="31372" y="26890"/>
                  </a:lnTo>
                  <a:lnTo>
                    <a:pt x="31372" y="4482"/>
                  </a:lnTo>
                  <a:lnTo>
                    <a:pt x="53780" y="4482"/>
                  </a:lnTo>
                  <a:lnTo>
                    <a:pt x="53780" y="26890"/>
                  </a:lnTo>
                  <a:close/>
                  <a:moveTo>
                    <a:pt x="26890" y="4482"/>
                  </a:moveTo>
                  <a:lnTo>
                    <a:pt x="26890" y="26890"/>
                  </a:lnTo>
                  <a:lnTo>
                    <a:pt x="4482" y="26890"/>
                  </a:lnTo>
                  <a:lnTo>
                    <a:pt x="4482" y="4482"/>
                  </a:lnTo>
                  <a:lnTo>
                    <a:pt x="26890" y="4482"/>
                  </a:lnTo>
                  <a:close/>
                </a:path>
              </a:pathLst>
            </a:custGeom>
            <a:solidFill>
              <a:srgbClr val="231F20"/>
            </a:solidFill>
            <a:ln w="4477" cap="flat">
              <a:noFill/>
              <a:prstDash val="solid"/>
              <a:miter/>
            </a:ln>
          </p:spPr>
          <p:txBody>
            <a:bodyPr rtlCol="0" anchor="ctr"/>
            <a:lstStyle/>
            <a:p>
              <a:endParaRPr lang="en-US"/>
            </a:p>
          </p:txBody>
        </p:sp>
      </p:grpSp>
      <p:sp>
        <p:nvSpPr>
          <p:cNvPr id="3804" name="Freeform: Shape 3803">
            <a:extLst>
              <a:ext uri="{FF2B5EF4-FFF2-40B4-BE49-F238E27FC236}">
                <a16:creationId xmlns:a16="http://schemas.microsoft.com/office/drawing/2014/main" id="{64FDF297-C228-43BD-B3BA-EAE5927A004F}"/>
              </a:ext>
              <a:ext uri="{C183D7F6-B498-43B3-948B-1728B52AA6E4}">
                <adec:decorative xmlns:adec="http://schemas.microsoft.com/office/drawing/2017/decorative" val="1"/>
              </a:ext>
            </a:extLst>
          </p:cNvPr>
          <p:cNvSpPr>
            <a:spLocks noChangeAspect="1"/>
          </p:cNvSpPr>
          <p:nvPr/>
        </p:nvSpPr>
        <p:spPr>
          <a:xfrm>
            <a:off x="5311434" y="2405556"/>
            <a:ext cx="147896" cy="147896"/>
          </a:xfrm>
          <a:custGeom>
            <a:avLst/>
            <a:gdLst>
              <a:gd name="connsiteX0" fmla="*/ 150754 w 147896"/>
              <a:gd name="connsiteY0" fmla="*/ 84256 h 147896"/>
              <a:gd name="connsiteX1" fmla="*/ 135964 w 147896"/>
              <a:gd name="connsiteY1" fmla="*/ 5378 h 147896"/>
              <a:gd name="connsiteX2" fmla="*/ 129241 w 147896"/>
              <a:gd name="connsiteY2" fmla="*/ 0 h 147896"/>
              <a:gd name="connsiteX3" fmla="*/ 21680 w 147896"/>
              <a:gd name="connsiteY3" fmla="*/ 0 h 147896"/>
              <a:gd name="connsiteX4" fmla="*/ 14958 w 147896"/>
              <a:gd name="connsiteY4" fmla="*/ 5378 h 147896"/>
              <a:gd name="connsiteX5" fmla="*/ 168 w 147896"/>
              <a:gd name="connsiteY5" fmla="*/ 84256 h 147896"/>
              <a:gd name="connsiteX6" fmla="*/ 1513 w 147896"/>
              <a:gd name="connsiteY6" fmla="*/ 89634 h 147896"/>
              <a:gd name="connsiteX7" fmla="*/ 6891 w 147896"/>
              <a:gd name="connsiteY7" fmla="*/ 91875 h 147896"/>
              <a:gd name="connsiteX8" fmla="*/ 65153 w 147896"/>
              <a:gd name="connsiteY8" fmla="*/ 91875 h 147896"/>
              <a:gd name="connsiteX9" fmla="*/ 65153 w 147896"/>
              <a:gd name="connsiteY9" fmla="*/ 136692 h 147896"/>
              <a:gd name="connsiteX10" fmla="*/ 56638 w 147896"/>
              <a:gd name="connsiteY10" fmla="*/ 136692 h 147896"/>
              <a:gd name="connsiteX11" fmla="*/ 54397 w 147896"/>
              <a:gd name="connsiteY11" fmla="*/ 138933 h 147896"/>
              <a:gd name="connsiteX12" fmla="*/ 54397 w 147896"/>
              <a:gd name="connsiteY12" fmla="*/ 149689 h 147896"/>
              <a:gd name="connsiteX13" fmla="*/ 56638 w 147896"/>
              <a:gd name="connsiteY13" fmla="*/ 151930 h 147896"/>
              <a:gd name="connsiteX14" fmla="*/ 95180 w 147896"/>
              <a:gd name="connsiteY14" fmla="*/ 151930 h 147896"/>
              <a:gd name="connsiteX15" fmla="*/ 97421 w 147896"/>
              <a:gd name="connsiteY15" fmla="*/ 149689 h 147896"/>
              <a:gd name="connsiteX16" fmla="*/ 97421 w 147896"/>
              <a:gd name="connsiteY16" fmla="*/ 138933 h 147896"/>
              <a:gd name="connsiteX17" fmla="*/ 95180 w 147896"/>
              <a:gd name="connsiteY17" fmla="*/ 136692 h 147896"/>
              <a:gd name="connsiteX18" fmla="*/ 86665 w 147896"/>
              <a:gd name="connsiteY18" fmla="*/ 136692 h 147896"/>
              <a:gd name="connsiteX19" fmla="*/ 86665 w 147896"/>
              <a:gd name="connsiteY19" fmla="*/ 91875 h 147896"/>
              <a:gd name="connsiteX20" fmla="*/ 144927 w 147896"/>
              <a:gd name="connsiteY20" fmla="*/ 91875 h 147896"/>
              <a:gd name="connsiteX21" fmla="*/ 150305 w 147896"/>
              <a:gd name="connsiteY21" fmla="*/ 89634 h 147896"/>
              <a:gd name="connsiteX22" fmla="*/ 150754 w 147896"/>
              <a:gd name="connsiteY22" fmla="*/ 84256 h 147896"/>
              <a:gd name="connsiteX23" fmla="*/ 83976 w 147896"/>
              <a:gd name="connsiteY23" fmla="*/ 87841 h 147896"/>
              <a:gd name="connsiteX24" fmla="*/ 78150 w 147896"/>
              <a:gd name="connsiteY24" fmla="*/ 87841 h 147896"/>
              <a:gd name="connsiteX25" fmla="*/ 78150 w 147896"/>
              <a:gd name="connsiteY25" fmla="*/ 59607 h 147896"/>
              <a:gd name="connsiteX26" fmla="*/ 110866 w 147896"/>
              <a:gd name="connsiteY26" fmla="*/ 59607 h 147896"/>
              <a:gd name="connsiteX27" fmla="*/ 114451 w 147896"/>
              <a:gd name="connsiteY27" fmla="*/ 87841 h 147896"/>
              <a:gd name="connsiteX28" fmla="*/ 83976 w 147896"/>
              <a:gd name="connsiteY28" fmla="*/ 87841 h 147896"/>
              <a:gd name="connsiteX29" fmla="*/ 67394 w 147896"/>
              <a:gd name="connsiteY29" fmla="*/ 87841 h 147896"/>
              <a:gd name="connsiteX30" fmla="*/ 36918 w 147896"/>
              <a:gd name="connsiteY30" fmla="*/ 87841 h 147896"/>
              <a:gd name="connsiteX31" fmla="*/ 40503 w 147896"/>
              <a:gd name="connsiteY31" fmla="*/ 59607 h 147896"/>
              <a:gd name="connsiteX32" fmla="*/ 73220 w 147896"/>
              <a:gd name="connsiteY32" fmla="*/ 59607 h 147896"/>
              <a:gd name="connsiteX33" fmla="*/ 73220 w 147896"/>
              <a:gd name="connsiteY33" fmla="*/ 87841 h 147896"/>
              <a:gd name="connsiteX34" fmla="*/ 67394 w 147896"/>
              <a:gd name="connsiteY34" fmla="*/ 87841 h 147896"/>
              <a:gd name="connsiteX35" fmla="*/ 15854 w 147896"/>
              <a:gd name="connsiteY35" fmla="*/ 26442 h 147896"/>
              <a:gd name="connsiteX36" fmla="*/ 40055 w 147896"/>
              <a:gd name="connsiteY36" fmla="*/ 26442 h 147896"/>
              <a:gd name="connsiteX37" fmla="*/ 36470 w 147896"/>
              <a:gd name="connsiteY37" fmla="*/ 54677 h 147896"/>
              <a:gd name="connsiteX38" fmla="*/ 10476 w 147896"/>
              <a:gd name="connsiteY38" fmla="*/ 54677 h 147896"/>
              <a:gd name="connsiteX39" fmla="*/ 15854 w 147896"/>
              <a:gd name="connsiteY39" fmla="*/ 26442 h 147896"/>
              <a:gd name="connsiteX40" fmla="*/ 44985 w 147896"/>
              <a:gd name="connsiteY40" fmla="*/ 26442 h 147896"/>
              <a:gd name="connsiteX41" fmla="*/ 73668 w 147896"/>
              <a:gd name="connsiteY41" fmla="*/ 26442 h 147896"/>
              <a:gd name="connsiteX42" fmla="*/ 73668 w 147896"/>
              <a:gd name="connsiteY42" fmla="*/ 54677 h 147896"/>
              <a:gd name="connsiteX43" fmla="*/ 41400 w 147896"/>
              <a:gd name="connsiteY43" fmla="*/ 54677 h 147896"/>
              <a:gd name="connsiteX44" fmla="*/ 44985 w 147896"/>
              <a:gd name="connsiteY44" fmla="*/ 26442 h 147896"/>
              <a:gd name="connsiteX45" fmla="*/ 73668 w 147896"/>
              <a:gd name="connsiteY45" fmla="*/ 21960 h 147896"/>
              <a:gd name="connsiteX46" fmla="*/ 45434 w 147896"/>
              <a:gd name="connsiteY46" fmla="*/ 21960 h 147896"/>
              <a:gd name="connsiteX47" fmla="*/ 47674 w 147896"/>
              <a:gd name="connsiteY47" fmla="*/ 4482 h 147896"/>
              <a:gd name="connsiteX48" fmla="*/ 73668 w 147896"/>
              <a:gd name="connsiteY48" fmla="*/ 4482 h 147896"/>
              <a:gd name="connsiteX49" fmla="*/ 73668 w 147896"/>
              <a:gd name="connsiteY49" fmla="*/ 21960 h 147896"/>
              <a:gd name="connsiteX50" fmla="*/ 78150 w 147896"/>
              <a:gd name="connsiteY50" fmla="*/ 4482 h 147896"/>
              <a:gd name="connsiteX51" fmla="*/ 104144 w 147896"/>
              <a:gd name="connsiteY51" fmla="*/ 4482 h 147896"/>
              <a:gd name="connsiteX52" fmla="*/ 106385 w 147896"/>
              <a:gd name="connsiteY52" fmla="*/ 21960 h 147896"/>
              <a:gd name="connsiteX53" fmla="*/ 78150 w 147896"/>
              <a:gd name="connsiteY53" fmla="*/ 21960 h 147896"/>
              <a:gd name="connsiteX54" fmla="*/ 78150 w 147896"/>
              <a:gd name="connsiteY54" fmla="*/ 4482 h 147896"/>
              <a:gd name="connsiteX55" fmla="*/ 78150 w 147896"/>
              <a:gd name="connsiteY55" fmla="*/ 54677 h 147896"/>
              <a:gd name="connsiteX56" fmla="*/ 78150 w 147896"/>
              <a:gd name="connsiteY56" fmla="*/ 26442 h 147896"/>
              <a:gd name="connsiteX57" fmla="*/ 106833 w 147896"/>
              <a:gd name="connsiteY57" fmla="*/ 26442 h 147896"/>
              <a:gd name="connsiteX58" fmla="*/ 110418 w 147896"/>
              <a:gd name="connsiteY58" fmla="*/ 54677 h 147896"/>
              <a:gd name="connsiteX59" fmla="*/ 78150 w 147896"/>
              <a:gd name="connsiteY59" fmla="*/ 54677 h 147896"/>
              <a:gd name="connsiteX60" fmla="*/ 111314 w 147896"/>
              <a:gd name="connsiteY60" fmla="*/ 26442 h 147896"/>
              <a:gd name="connsiteX61" fmla="*/ 135516 w 147896"/>
              <a:gd name="connsiteY61" fmla="*/ 26442 h 147896"/>
              <a:gd name="connsiteX62" fmla="*/ 140894 w 147896"/>
              <a:gd name="connsiteY62" fmla="*/ 54677 h 147896"/>
              <a:gd name="connsiteX63" fmla="*/ 114900 w 147896"/>
              <a:gd name="connsiteY63" fmla="*/ 54677 h 147896"/>
              <a:gd name="connsiteX64" fmla="*/ 111314 w 147896"/>
              <a:gd name="connsiteY64" fmla="*/ 26442 h 147896"/>
              <a:gd name="connsiteX65" fmla="*/ 131930 w 147896"/>
              <a:gd name="connsiteY65" fmla="*/ 6274 h 147896"/>
              <a:gd name="connsiteX66" fmla="*/ 135068 w 147896"/>
              <a:gd name="connsiteY66" fmla="*/ 21960 h 147896"/>
              <a:gd name="connsiteX67" fmla="*/ 110866 w 147896"/>
              <a:gd name="connsiteY67" fmla="*/ 21960 h 147896"/>
              <a:gd name="connsiteX68" fmla="*/ 108626 w 147896"/>
              <a:gd name="connsiteY68" fmla="*/ 4482 h 147896"/>
              <a:gd name="connsiteX69" fmla="*/ 129689 w 147896"/>
              <a:gd name="connsiteY69" fmla="*/ 4482 h 147896"/>
              <a:gd name="connsiteX70" fmla="*/ 131930 w 147896"/>
              <a:gd name="connsiteY70" fmla="*/ 6274 h 147896"/>
              <a:gd name="connsiteX71" fmla="*/ 19888 w 147896"/>
              <a:gd name="connsiteY71" fmla="*/ 6274 h 147896"/>
              <a:gd name="connsiteX72" fmla="*/ 22128 w 147896"/>
              <a:gd name="connsiteY72" fmla="*/ 4482 h 147896"/>
              <a:gd name="connsiteX73" fmla="*/ 43193 w 147896"/>
              <a:gd name="connsiteY73" fmla="*/ 4482 h 147896"/>
              <a:gd name="connsiteX74" fmla="*/ 40952 w 147896"/>
              <a:gd name="connsiteY74" fmla="*/ 21960 h 147896"/>
              <a:gd name="connsiteX75" fmla="*/ 16751 w 147896"/>
              <a:gd name="connsiteY75" fmla="*/ 21960 h 147896"/>
              <a:gd name="connsiteX76" fmla="*/ 19888 w 147896"/>
              <a:gd name="connsiteY76" fmla="*/ 6274 h 147896"/>
              <a:gd name="connsiteX77" fmla="*/ 5546 w 147896"/>
              <a:gd name="connsiteY77" fmla="*/ 86945 h 147896"/>
              <a:gd name="connsiteX78" fmla="*/ 5098 w 147896"/>
              <a:gd name="connsiteY78" fmla="*/ 85152 h 147896"/>
              <a:gd name="connsiteX79" fmla="*/ 10028 w 147896"/>
              <a:gd name="connsiteY79" fmla="*/ 59607 h 147896"/>
              <a:gd name="connsiteX80" fmla="*/ 36470 w 147896"/>
              <a:gd name="connsiteY80" fmla="*/ 59607 h 147896"/>
              <a:gd name="connsiteX81" fmla="*/ 32885 w 147896"/>
              <a:gd name="connsiteY81" fmla="*/ 87841 h 147896"/>
              <a:gd name="connsiteX82" fmla="*/ 7339 w 147896"/>
              <a:gd name="connsiteY82" fmla="*/ 87841 h 147896"/>
              <a:gd name="connsiteX83" fmla="*/ 5546 w 147896"/>
              <a:gd name="connsiteY83" fmla="*/ 86945 h 147896"/>
              <a:gd name="connsiteX84" fmla="*/ 92940 w 147896"/>
              <a:gd name="connsiteY84" fmla="*/ 147896 h 147896"/>
              <a:gd name="connsiteX85" fmla="*/ 58879 w 147896"/>
              <a:gd name="connsiteY85" fmla="*/ 147896 h 147896"/>
              <a:gd name="connsiteX86" fmla="*/ 58879 w 147896"/>
              <a:gd name="connsiteY86" fmla="*/ 141622 h 147896"/>
              <a:gd name="connsiteX87" fmla="*/ 67394 w 147896"/>
              <a:gd name="connsiteY87" fmla="*/ 141622 h 147896"/>
              <a:gd name="connsiteX88" fmla="*/ 83976 w 147896"/>
              <a:gd name="connsiteY88" fmla="*/ 141622 h 147896"/>
              <a:gd name="connsiteX89" fmla="*/ 92492 w 147896"/>
              <a:gd name="connsiteY89" fmla="*/ 141622 h 147896"/>
              <a:gd name="connsiteX90" fmla="*/ 92492 w 147896"/>
              <a:gd name="connsiteY90" fmla="*/ 147896 h 147896"/>
              <a:gd name="connsiteX91" fmla="*/ 81735 w 147896"/>
              <a:gd name="connsiteY91" fmla="*/ 137140 h 147896"/>
              <a:gd name="connsiteX92" fmla="*/ 69634 w 147896"/>
              <a:gd name="connsiteY92" fmla="*/ 137140 h 147896"/>
              <a:gd name="connsiteX93" fmla="*/ 69634 w 147896"/>
              <a:gd name="connsiteY93" fmla="*/ 92323 h 147896"/>
              <a:gd name="connsiteX94" fmla="*/ 81735 w 147896"/>
              <a:gd name="connsiteY94" fmla="*/ 92323 h 147896"/>
              <a:gd name="connsiteX95" fmla="*/ 81735 w 147896"/>
              <a:gd name="connsiteY95" fmla="*/ 137140 h 147896"/>
              <a:gd name="connsiteX96" fmla="*/ 146272 w 147896"/>
              <a:gd name="connsiteY96" fmla="*/ 86945 h 147896"/>
              <a:gd name="connsiteX97" fmla="*/ 144479 w 147896"/>
              <a:gd name="connsiteY97" fmla="*/ 87841 h 147896"/>
              <a:gd name="connsiteX98" fmla="*/ 118933 w 147896"/>
              <a:gd name="connsiteY98" fmla="*/ 87841 h 147896"/>
              <a:gd name="connsiteX99" fmla="*/ 115348 w 147896"/>
              <a:gd name="connsiteY99" fmla="*/ 59607 h 147896"/>
              <a:gd name="connsiteX100" fmla="*/ 141790 w 147896"/>
              <a:gd name="connsiteY100" fmla="*/ 59607 h 147896"/>
              <a:gd name="connsiteX101" fmla="*/ 146720 w 147896"/>
              <a:gd name="connsiteY101" fmla="*/ 85152 h 147896"/>
              <a:gd name="connsiteX102" fmla="*/ 146272 w 147896"/>
              <a:gd name="connsiteY102" fmla="*/ 86945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47896" h="147896">
                <a:moveTo>
                  <a:pt x="150754" y="84256"/>
                </a:moveTo>
                <a:lnTo>
                  <a:pt x="135964" y="5378"/>
                </a:lnTo>
                <a:cubicBezTo>
                  <a:pt x="135516" y="2241"/>
                  <a:pt x="132378" y="0"/>
                  <a:pt x="129241" y="0"/>
                </a:cubicBezTo>
                <a:lnTo>
                  <a:pt x="21680" y="0"/>
                </a:lnTo>
                <a:cubicBezTo>
                  <a:pt x="18543" y="0"/>
                  <a:pt x="15854" y="2241"/>
                  <a:pt x="14958" y="5378"/>
                </a:cubicBezTo>
                <a:lnTo>
                  <a:pt x="168" y="84256"/>
                </a:lnTo>
                <a:cubicBezTo>
                  <a:pt x="-280" y="86049"/>
                  <a:pt x="168" y="88290"/>
                  <a:pt x="1513" y="89634"/>
                </a:cubicBezTo>
                <a:cubicBezTo>
                  <a:pt x="2857" y="90979"/>
                  <a:pt x="4650" y="91875"/>
                  <a:pt x="6891" y="91875"/>
                </a:cubicBezTo>
                <a:lnTo>
                  <a:pt x="65153" y="91875"/>
                </a:lnTo>
                <a:lnTo>
                  <a:pt x="65153" y="136692"/>
                </a:lnTo>
                <a:lnTo>
                  <a:pt x="56638" y="136692"/>
                </a:lnTo>
                <a:cubicBezTo>
                  <a:pt x="55293" y="136692"/>
                  <a:pt x="54397" y="137588"/>
                  <a:pt x="54397" y="138933"/>
                </a:cubicBezTo>
                <a:lnTo>
                  <a:pt x="54397" y="149689"/>
                </a:lnTo>
                <a:cubicBezTo>
                  <a:pt x="54397" y="151033"/>
                  <a:pt x="55293" y="151930"/>
                  <a:pt x="56638" y="151930"/>
                </a:cubicBezTo>
                <a:lnTo>
                  <a:pt x="95180" y="151930"/>
                </a:lnTo>
                <a:cubicBezTo>
                  <a:pt x="96525" y="151930"/>
                  <a:pt x="97421" y="151033"/>
                  <a:pt x="97421" y="149689"/>
                </a:cubicBezTo>
                <a:lnTo>
                  <a:pt x="97421" y="138933"/>
                </a:lnTo>
                <a:cubicBezTo>
                  <a:pt x="97421" y="137588"/>
                  <a:pt x="96525" y="136692"/>
                  <a:pt x="95180" y="136692"/>
                </a:cubicBezTo>
                <a:lnTo>
                  <a:pt x="86665" y="136692"/>
                </a:lnTo>
                <a:lnTo>
                  <a:pt x="86665" y="91875"/>
                </a:lnTo>
                <a:lnTo>
                  <a:pt x="144927" y="91875"/>
                </a:lnTo>
                <a:cubicBezTo>
                  <a:pt x="146720" y="91875"/>
                  <a:pt x="148961" y="90979"/>
                  <a:pt x="150305" y="89634"/>
                </a:cubicBezTo>
                <a:cubicBezTo>
                  <a:pt x="150754" y="88290"/>
                  <a:pt x="151202" y="86049"/>
                  <a:pt x="150754" y="84256"/>
                </a:cubicBezTo>
                <a:close/>
                <a:moveTo>
                  <a:pt x="83976" y="87841"/>
                </a:moveTo>
                <a:lnTo>
                  <a:pt x="78150" y="87841"/>
                </a:lnTo>
                <a:lnTo>
                  <a:pt x="78150" y="59607"/>
                </a:lnTo>
                <a:lnTo>
                  <a:pt x="110866" y="59607"/>
                </a:lnTo>
                <a:lnTo>
                  <a:pt x="114451" y="87841"/>
                </a:lnTo>
                <a:lnTo>
                  <a:pt x="83976" y="87841"/>
                </a:lnTo>
                <a:close/>
                <a:moveTo>
                  <a:pt x="67394" y="87841"/>
                </a:moveTo>
                <a:lnTo>
                  <a:pt x="36918" y="87841"/>
                </a:lnTo>
                <a:lnTo>
                  <a:pt x="40503" y="59607"/>
                </a:lnTo>
                <a:lnTo>
                  <a:pt x="73220" y="59607"/>
                </a:lnTo>
                <a:lnTo>
                  <a:pt x="73220" y="87841"/>
                </a:lnTo>
                <a:lnTo>
                  <a:pt x="67394" y="87841"/>
                </a:lnTo>
                <a:close/>
                <a:moveTo>
                  <a:pt x="15854" y="26442"/>
                </a:moveTo>
                <a:lnTo>
                  <a:pt x="40055" y="26442"/>
                </a:lnTo>
                <a:lnTo>
                  <a:pt x="36470" y="54677"/>
                </a:lnTo>
                <a:lnTo>
                  <a:pt x="10476" y="54677"/>
                </a:lnTo>
                <a:lnTo>
                  <a:pt x="15854" y="26442"/>
                </a:lnTo>
                <a:close/>
                <a:moveTo>
                  <a:pt x="44985" y="26442"/>
                </a:moveTo>
                <a:lnTo>
                  <a:pt x="73668" y="26442"/>
                </a:lnTo>
                <a:lnTo>
                  <a:pt x="73668" y="54677"/>
                </a:lnTo>
                <a:lnTo>
                  <a:pt x="41400" y="54677"/>
                </a:lnTo>
                <a:lnTo>
                  <a:pt x="44985" y="26442"/>
                </a:lnTo>
                <a:close/>
                <a:moveTo>
                  <a:pt x="73668" y="21960"/>
                </a:moveTo>
                <a:lnTo>
                  <a:pt x="45434" y="21960"/>
                </a:lnTo>
                <a:lnTo>
                  <a:pt x="47674" y="4482"/>
                </a:lnTo>
                <a:lnTo>
                  <a:pt x="73668" y="4482"/>
                </a:lnTo>
                <a:lnTo>
                  <a:pt x="73668" y="21960"/>
                </a:lnTo>
                <a:close/>
                <a:moveTo>
                  <a:pt x="78150" y="4482"/>
                </a:moveTo>
                <a:lnTo>
                  <a:pt x="104144" y="4482"/>
                </a:lnTo>
                <a:lnTo>
                  <a:pt x="106385" y="21960"/>
                </a:lnTo>
                <a:lnTo>
                  <a:pt x="78150" y="21960"/>
                </a:lnTo>
                <a:lnTo>
                  <a:pt x="78150" y="4482"/>
                </a:lnTo>
                <a:close/>
                <a:moveTo>
                  <a:pt x="78150" y="54677"/>
                </a:moveTo>
                <a:lnTo>
                  <a:pt x="78150" y="26442"/>
                </a:lnTo>
                <a:lnTo>
                  <a:pt x="106833" y="26442"/>
                </a:lnTo>
                <a:lnTo>
                  <a:pt x="110418" y="54677"/>
                </a:lnTo>
                <a:lnTo>
                  <a:pt x="78150" y="54677"/>
                </a:lnTo>
                <a:close/>
                <a:moveTo>
                  <a:pt x="111314" y="26442"/>
                </a:moveTo>
                <a:lnTo>
                  <a:pt x="135516" y="26442"/>
                </a:lnTo>
                <a:lnTo>
                  <a:pt x="140894" y="54677"/>
                </a:lnTo>
                <a:lnTo>
                  <a:pt x="114900" y="54677"/>
                </a:lnTo>
                <a:lnTo>
                  <a:pt x="111314" y="26442"/>
                </a:lnTo>
                <a:close/>
                <a:moveTo>
                  <a:pt x="131930" y="6274"/>
                </a:moveTo>
                <a:lnTo>
                  <a:pt x="135068" y="21960"/>
                </a:lnTo>
                <a:lnTo>
                  <a:pt x="110866" y="21960"/>
                </a:lnTo>
                <a:lnTo>
                  <a:pt x="108626" y="4482"/>
                </a:lnTo>
                <a:lnTo>
                  <a:pt x="129689" y="4482"/>
                </a:lnTo>
                <a:cubicBezTo>
                  <a:pt x="130586" y="4482"/>
                  <a:pt x="131482" y="5378"/>
                  <a:pt x="131930" y="6274"/>
                </a:cubicBezTo>
                <a:close/>
                <a:moveTo>
                  <a:pt x="19888" y="6274"/>
                </a:moveTo>
                <a:cubicBezTo>
                  <a:pt x="19888" y="5378"/>
                  <a:pt x="21232" y="4482"/>
                  <a:pt x="22128" y="4482"/>
                </a:cubicBezTo>
                <a:lnTo>
                  <a:pt x="43193" y="4482"/>
                </a:lnTo>
                <a:lnTo>
                  <a:pt x="40952" y="21960"/>
                </a:lnTo>
                <a:lnTo>
                  <a:pt x="16751" y="21960"/>
                </a:lnTo>
                <a:lnTo>
                  <a:pt x="19888" y="6274"/>
                </a:lnTo>
                <a:close/>
                <a:moveTo>
                  <a:pt x="5546" y="86945"/>
                </a:moveTo>
                <a:cubicBezTo>
                  <a:pt x="5098" y="86497"/>
                  <a:pt x="5098" y="86049"/>
                  <a:pt x="5098" y="85152"/>
                </a:cubicBezTo>
                <a:lnTo>
                  <a:pt x="10028" y="59607"/>
                </a:lnTo>
                <a:lnTo>
                  <a:pt x="36470" y="59607"/>
                </a:lnTo>
                <a:lnTo>
                  <a:pt x="32885" y="87841"/>
                </a:lnTo>
                <a:lnTo>
                  <a:pt x="7339" y="87841"/>
                </a:lnTo>
                <a:cubicBezTo>
                  <a:pt x="6443" y="87841"/>
                  <a:pt x="5994" y="86945"/>
                  <a:pt x="5546" y="86945"/>
                </a:cubicBezTo>
                <a:close/>
                <a:moveTo>
                  <a:pt x="92940" y="147896"/>
                </a:moveTo>
                <a:lnTo>
                  <a:pt x="58879" y="147896"/>
                </a:lnTo>
                <a:lnTo>
                  <a:pt x="58879" y="141622"/>
                </a:lnTo>
                <a:lnTo>
                  <a:pt x="67394" y="141622"/>
                </a:lnTo>
                <a:lnTo>
                  <a:pt x="83976" y="141622"/>
                </a:lnTo>
                <a:lnTo>
                  <a:pt x="92492" y="141622"/>
                </a:lnTo>
                <a:lnTo>
                  <a:pt x="92492" y="147896"/>
                </a:lnTo>
                <a:close/>
                <a:moveTo>
                  <a:pt x="81735" y="137140"/>
                </a:moveTo>
                <a:lnTo>
                  <a:pt x="69634" y="137140"/>
                </a:lnTo>
                <a:lnTo>
                  <a:pt x="69634" y="92323"/>
                </a:lnTo>
                <a:lnTo>
                  <a:pt x="81735" y="92323"/>
                </a:lnTo>
                <a:lnTo>
                  <a:pt x="81735" y="137140"/>
                </a:lnTo>
                <a:close/>
                <a:moveTo>
                  <a:pt x="146272" y="86945"/>
                </a:moveTo>
                <a:cubicBezTo>
                  <a:pt x="145823" y="87393"/>
                  <a:pt x="145375" y="87841"/>
                  <a:pt x="144479" y="87841"/>
                </a:cubicBezTo>
                <a:lnTo>
                  <a:pt x="118933" y="87841"/>
                </a:lnTo>
                <a:lnTo>
                  <a:pt x="115348" y="59607"/>
                </a:lnTo>
                <a:lnTo>
                  <a:pt x="141790" y="59607"/>
                </a:lnTo>
                <a:lnTo>
                  <a:pt x="146720" y="85152"/>
                </a:lnTo>
                <a:cubicBezTo>
                  <a:pt x="146720" y="86049"/>
                  <a:pt x="146272" y="86497"/>
                  <a:pt x="146272" y="86945"/>
                </a:cubicBezTo>
                <a:close/>
              </a:path>
            </a:pathLst>
          </a:custGeom>
          <a:solidFill>
            <a:srgbClr val="231F20"/>
          </a:solidFill>
          <a:ln w="4477" cap="flat">
            <a:noFill/>
            <a:prstDash val="solid"/>
            <a:miter/>
          </a:ln>
        </p:spPr>
        <p:txBody>
          <a:bodyPr rtlCol="0" anchor="ctr"/>
          <a:lstStyle/>
          <a:p>
            <a:endParaRPr lang="en-US"/>
          </a:p>
        </p:txBody>
      </p:sp>
      <p:grpSp>
        <p:nvGrpSpPr>
          <p:cNvPr id="3805" name="Group 3804">
            <a:extLst>
              <a:ext uri="{FF2B5EF4-FFF2-40B4-BE49-F238E27FC236}">
                <a16:creationId xmlns:a16="http://schemas.microsoft.com/office/drawing/2014/main" id="{22064C85-439D-4346-AE88-ADA1A75725E3}"/>
              </a:ext>
              <a:ext uri="{C183D7F6-B498-43B3-948B-1728B52AA6E4}">
                <adec:decorative xmlns:adec="http://schemas.microsoft.com/office/drawing/2017/decorative" val="1"/>
              </a:ext>
            </a:extLst>
          </p:cNvPr>
          <p:cNvGrpSpPr>
            <a:grpSpLocks noChangeAspect="1"/>
          </p:cNvGrpSpPr>
          <p:nvPr/>
        </p:nvGrpSpPr>
        <p:grpSpPr>
          <a:xfrm>
            <a:off x="5057042" y="3141675"/>
            <a:ext cx="152826" cy="114508"/>
            <a:chOff x="10958668" y="5988211"/>
            <a:chExt cx="152826" cy="114508"/>
          </a:xfrm>
        </p:grpSpPr>
        <p:sp>
          <p:nvSpPr>
            <p:cNvPr id="3806" name="Freeform: Shape 3805">
              <a:extLst>
                <a:ext uri="{FF2B5EF4-FFF2-40B4-BE49-F238E27FC236}">
                  <a16:creationId xmlns:a16="http://schemas.microsoft.com/office/drawing/2014/main" id="{AADC7C06-3B40-4E5D-8AFC-0D503FB20A34}"/>
                </a:ext>
              </a:extLst>
            </p:cNvPr>
            <p:cNvSpPr/>
            <p:nvPr/>
          </p:nvSpPr>
          <p:spPr>
            <a:xfrm>
              <a:off x="10958668" y="6098237"/>
              <a:ext cx="152378" cy="4482"/>
            </a:xfrm>
            <a:custGeom>
              <a:avLst/>
              <a:gdLst>
                <a:gd name="connsiteX0" fmla="*/ 150137 w 152377"/>
                <a:gd name="connsiteY0" fmla="*/ 0 h 4481"/>
                <a:gd name="connsiteX1" fmla="*/ 2241 w 152377"/>
                <a:gd name="connsiteY1" fmla="*/ 0 h 4481"/>
                <a:gd name="connsiteX2" fmla="*/ 0 w 152377"/>
                <a:gd name="connsiteY2" fmla="*/ 2241 h 4481"/>
                <a:gd name="connsiteX3" fmla="*/ 2241 w 152377"/>
                <a:gd name="connsiteY3" fmla="*/ 4482 h 4481"/>
                <a:gd name="connsiteX4" fmla="*/ 150137 w 152377"/>
                <a:gd name="connsiteY4" fmla="*/ 4482 h 4481"/>
                <a:gd name="connsiteX5" fmla="*/ 152378 w 152377"/>
                <a:gd name="connsiteY5" fmla="*/ 2241 h 4481"/>
                <a:gd name="connsiteX6" fmla="*/ 150137 w 15237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377" h="4481">
                  <a:moveTo>
                    <a:pt x="150137" y="0"/>
                  </a:moveTo>
                  <a:lnTo>
                    <a:pt x="2241" y="0"/>
                  </a:lnTo>
                  <a:cubicBezTo>
                    <a:pt x="896" y="0"/>
                    <a:pt x="0" y="896"/>
                    <a:pt x="0" y="2241"/>
                  </a:cubicBezTo>
                  <a:cubicBezTo>
                    <a:pt x="0" y="3585"/>
                    <a:pt x="896" y="4482"/>
                    <a:pt x="2241" y="4482"/>
                  </a:cubicBezTo>
                  <a:lnTo>
                    <a:pt x="150137" y="4482"/>
                  </a:lnTo>
                  <a:cubicBezTo>
                    <a:pt x="151481" y="4482"/>
                    <a:pt x="152378" y="3585"/>
                    <a:pt x="152378" y="2241"/>
                  </a:cubicBezTo>
                  <a:cubicBezTo>
                    <a:pt x="152378" y="896"/>
                    <a:pt x="151481" y="0"/>
                    <a:pt x="150137" y="0"/>
                  </a:cubicBezTo>
                  <a:close/>
                </a:path>
              </a:pathLst>
            </a:custGeom>
            <a:solidFill>
              <a:srgbClr val="231F20"/>
            </a:solidFill>
            <a:ln w="4477" cap="flat">
              <a:noFill/>
              <a:prstDash val="solid"/>
              <a:miter/>
            </a:ln>
          </p:spPr>
          <p:txBody>
            <a:bodyPr rtlCol="0" anchor="ctr"/>
            <a:lstStyle/>
            <a:p>
              <a:endParaRPr lang="en-US"/>
            </a:p>
          </p:txBody>
        </p:sp>
        <p:sp>
          <p:nvSpPr>
            <p:cNvPr id="3807" name="Freeform: Shape 3806">
              <a:extLst>
                <a:ext uri="{FF2B5EF4-FFF2-40B4-BE49-F238E27FC236}">
                  <a16:creationId xmlns:a16="http://schemas.microsoft.com/office/drawing/2014/main" id="{009361FB-0354-48AB-AE80-DA5E379A7A32}"/>
                </a:ext>
              </a:extLst>
            </p:cNvPr>
            <p:cNvSpPr/>
            <p:nvPr/>
          </p:nvSpPr>
          <p:spPr>
            <a:xfrm>
              <a:off x="10959116" y="5988211"/>
              <a:ext cx="152378" cy="98597"/>
            </a:xfrm>
            <a:custGeom>
              <a:avLst/>
              <a:gdLst>
                <a:gd name="connsiteX0" fmla="*/ 113835 w 152377"/>
                <a:gd name="connsiteY0" fmla="*/ 32941 h 98597"/>
                <a:gd name="connsiteX1" fmla="*/ 73052 w 152377"/>
                <a:gd name="connsiteY1" fmla="*/ 32941 h 98597"/>
                <a:gd name="connsiteX2" fmla="*/ 86497 w 152377"/>
                <a:gd name="connsiteY2" fmla="*/ 19495 h 98597"/>
                <a:gd name="connsiteX3" fmla="*/ 86497 w 152377"/>
                <a:gd name="connsiteY3" fmla="*/ 16358 h 98597"/>
                <a:gd name="connsiteX4" fmla="*/ 70811 w 152377"/>
                <a:gd name="connsiteY4" fmla="*/ 673 h 98597"/>
                <a:gd name="connsiteX5" fmla="*/ 67674 w 152377"/>
                <a:gd name="connsiteY5" fmla="*/ 673 h 98597"/>
                <a:gd name="connsiteX6" fmla="*/ 51988 w 152377"/>
                <a:gd name="connsiteY6" fmla="*/ 16358 h 98597"/>
                <a:gd name="connsiteX7" fmla="*/ 51540 w 152377"/>
                <a:gd name="connsiteY7" fmla="*/ 18151 h 98597"/>
                <a:gd name="connsiteX8" fmla="*/ 51988 w 152377"/>
                <a:gd name="connsiteY8" fmla="*/ 19943 h 98597"/>
                <a:gd name="connsiteX9" fmla="*/ 65433 w 152377"/>
                <a:gd name="connsiteY9" fmla="*/ 33389 h 98597"/>
                <a:gd name="connsiteX10" fmla="*/ 2241 w 152377"/>
                <a:gd name="connsiteY10" fmla="*/ 33389 h 98597"/>
                <a:gd name="connsiteX11" fmla="*/ 0 w 152377"/>
                <a:gd name="connsiteY11" fmla="*/ 35629 h 98597"/>
                <a:gd name="connsiteX12" fmla="*/ 0 w 152377"/>
                <a:gd name="connsiteY12" fmla="*/ 98822 h 98597"/>
                <a:gd name="connsiteX13" fmla="*/ 2241 w 152377"/>
                <a:gd name="connsiteY13" fmla="*/ 101063 h 98597"/>
                <a:gd name="connsiteX14" fmla="*/ 56021 w 152377"/>
                <a:gd name="connsiteY14" fmla="*/ 101063 h 98597"/>
                <a:gd name="connsiteX15" fmla="*/ 82911 w 152377"/>
                <a:gd name="connsiteY15" fmla="*/ 101063 h 98597"/>
                <a:gd name="connsiteX16" fmla="*/ 150137 w 152377"/>
                <a:gd name="connsiteY16" fmla="*/ 101063 h 98597"/>
                <a:gd name="connsiteX17" fmla="*/ 152378 w 152377"/>
                <a:gd name="connsiteY17" fmla="*/ 98822 h 98597"/>
                <a:gd name="connsiteX18" fmla="*/ 152378 w 152377"/>
                <a:gd name="connsiteY18" fmla="*/ 71483 h 98597"/>
                <a:gd name="connsiteX19" fmla="*/ 113835 w 152377"/>
                <a:gd name="connsiteY19" fmla="*/ 32941 h 98597"/>
                <a:gd name="connsiteX20" fmla="*/ 69018 w 152377"/>
                <a:gd name="connsiteY20" fmla="*/ 5602 h 98597"/>
                <a:gd name="connsiteX21" fmla="*/ 81567 w 152377"/>
                <a:gd name="connsiteY21" fmla="*/ 18151 h 98597"/>
                <a:gd name="connsiteX22" fmla="*/ 69018 w 152377"/>
                <a:gd name="connsiteY22" fmla="*/ 30700 h 98597"/>
                <a:gd name="connsiteX23" fmla="*/ 56469 w 152377"/>
                <a:gd name="connsiteY23" fmla="*/ 18151 h 98597"/>
                <a:gd name="connsiteX24" fmla="*/ 69018 w 152377"/>
                <a:gd name="connsiteY24" fmla="*/ 5602 h 98597"/>
                <a:gd name="connsiteX25" fmla="*/ 147448 w 152377"/>
                <a:gd name="connsiteY25" fmla="*/ 71035 h 98597"/>
                <a:gd name="connsiteX26" fmla="*/ 147448 w 152377"/>
                <a:gd name="connsiteY26" fmla="*/ 77310 h 98597"/>
                <a:gd name="connsiteX27" fmla="*/ 125488 w 152377"/>
                <a:gd name="connsiteY27" fmla="*/ 77310 h 98597"/>
                <a:gd name="connsiteX28" fmla="*/ 109802 w 152377"/>
                <a:gd name="connsiteY28" fmla="*/ 61624 h 98597"/>
                <a:gd name="connsiteX29" fmla="*/ 109802 w 152377"/>
                <a:gd name="connsiteY29" fmla="*/ 37422 h 98597"/>
                <a:gd name="connsiteX30" fmla="*/ 113835 w 152377"/>
                <a:gd name="connsiteY30" fmla="*/ 37422 h 98597"/>
                <a:gd name="connsiteX31" fmla="*/ 147448 w 152377"/>
                <a:gd name="connsiteY31" fmla="*/ 71035 h 98597"/>
                <a:gd name="connsiteX32" fmla="*/ 84704 w 152377"/>
                <a:gd name="connsiteY32" fmla="*/ 54005 h 98597"/>
                <a:gd name="connsiteX33" fmla="*/ 105320 w 152377"/>
                <a:gd name="connsiteY33" fmla="*/ 54005 h 98597"/>
                <a:gd name="connsiteX34" fmla="*/ 105320 w 152377"/>
                <a:gd name="connsiteY34" fmla="*/ 62072 h 98597"/>
                <a:gd name="connsiteX35" fmla="*/ 112939 w 152377"/>
                <a:gd name="connsiteY35" fmla="*/ 77758 h 98597"/>
                <a:gd name="connsiteX36" fmla="*/ 84704 w 152377"/>
                <a:gd name="connsiteY36" fmla="*/ 77758 h 98597"/>
                <a:gd name="connsiteX37" fmla="*/ 84704 w 152377"/>
                <a:gd name="connsiteY37" fmla="*/ 54005 h 98597"/>
                <a:gd name="connsiteX38" fmla="*/ 105320 w 152377"/>
                <a:gd name="connsiteY38" fmla="*/ 37422 h 98597"/>
                <a:gd name="connsiteX39" fmla="*/ 105320 w 152377"/>
                <a:gd name="connsiteY39" fmla="*/ 49075 h 98597"/>
                <a:gd name="connsiteX40" fmla="*/ 82463 w 152377"/>
                <a:gd name="connsiteY40" fmla="*/ 49075 h 98597"/>
                <a:gd name="connsiteX41" fmla="*/ 81119 w 152377"/>
                <a:gd name="connsiteY41" fmla="*/ 49075 h 98597"/>
                <a:gd name="connsiteX42" fmla="*/ 57366 w 152377"/>
                <a:gd name="connsiteY42" fmla="*/ 49075 h 98597"/>
                <a:gd name="connsiteX43" fmla="*/ 55573 w 152377"/>
                <a:gd name="connsiteY43" fmla="*/ 49075 h 98597"/>
                <a:gd name="connsiteX44" fmla="*/ 4034 w 152377"/>
                <a:gd name="connsiteY44" fmla="*/ 49075 h 98597"/>
                <a:gd name="connsiteX45" fmla="*/ 4034 w 152377"/>
                <a:gd name="connsiteY45" fmla="*/ 37422 h 98597"/>
                <a:gd name="connsiteX46" fmla="*/ 105320 w 152377"/>
                <a:gd name="connsiteY46" fmla="*/ 37422 h 98597"/>
                <a:gd name="connsiteX47" fmla="*/ 4034 w 152377"/>
                <a:gd name="connsiteY47" fmla="*/ 77758 h 98597"/>
                <a:gd name="connsiteX48" fmla="*/ 4034 w 152377"/>
                <a:gd name="connsiteY48" fmla="*/ 54005 h 98597"/>
                <a:gd name="connsiteX49" fmla="*/ 26442 w 152377"/>
                <a:gd name="connsiteY49" fmla="*/ 54005 h 98597"/>
                <a:gd name="connsiteX50" fmla="*/ 26442 w 152377"/>
                <a:gd name="connsiteY50" fmla="*/ 77758 h 98597"/>
                <a:gd name="connsiteX51" fmla="*/ 4034 w 152377"/>
                <a:gd name="connsiteY51" fmla="*/ 77758 h 98597"/>
                <a:gd name="connsiteX52" fmla="*/ 30924 w 152377"/>
                <a:gd name="connsiteY52" fmla="*/ 54005 h 98597"/>
                <a:gd name="connsiteX53" fmla="*/ 53332 w 152377"/>
                <a:gd name="connsiteY53" fmla="*/ 54005 h 98597"/>
                <a:gd name="connsiteX54" fmla="*/ 53332 w 152377"/>
                <a:gd name="connsiteY54" fmla="*/ 77758 h 98597"/>
                <a:gd name="connsiteX55" fmla="*/ 30924 w 152377"/>
                <a:gd name="connsiteY55" fmla="*/ 77758 h 98597"/>
                <a:gd name="connsiteX56" fmla="*/ 30924 w 152377"/>
                <a:gd name="connsiteY56" fmla="*/ 54005 h 98597"/>
                <a:gd name="connsiteX57" fmla="*/ 4034 w 152377"/>
                <a:gd name="connsiteY57" fmla="*/ 82239 h 98597"/>
                <a:gd name="connsiteX58" fmla="*/ 53332 w 152377"/>
                <a:gd name="connsiteY58" fmla="*/ 82239 h 98597"/>
                <a:gd name="connsiteX59" fmla="*/ 53332 w 152377"/>
                <a:gd name="connsiteY59" fmla="*/ 96581 h 98597"/>
                <a:gd name="connsiteX60" fmla="*/ 4034 w 152377"/>
                <a:gd name="connsiteY60" fmla="*/ 96581 h 98597"/>
                <a:gd name="connsiteX61" fmla="*/ 4034 w 152377"/>
                <a:gd name="connsiteY61" fmla="*/ 82239 h 98597"/>
                <a:gd name="connsiteX62" fmla="*/ 57814 w 152377"/>
                <a:gd name="connsiteY62" fmla="*/ 54005 h 98597"/>
                <a:gd name="connsiteX63" fmla="*/ 66777 w 152377"/>
                <a:gd name="connsiteY63" fmla="*/ 54005 h 98597"/>
                <a:gd name="connsiteX64" fmla="*/ 66777 w 152377"/>
                <a:gd name="connsiteY64" fmla="*/ 96581 h 98597"/>
                <a:gd name="connsiteX65" fmla="*/ 57814 w 152377"/>
                <a:gd name="connsiteY65" fmla="*/ 96581 h 98597"/>
                <a:gd name="connsiteX66" fmla="*/ 57814 w 152377"/>
                <a:gd name="connsiteY66" fmla="*/ 54005 h 98597"/>
                <a:gd name="connsiteX67" fmla="*/ 71259 w 152377"/>
                <a:gd name="connsiteY67" fmla="*/ 96581 h 98597"/>
                <a:gd name="connsiteX68" fmla="*/ 71259 w 152377"/>
                <a:gd name="connsiteY68" fmla="*/ 54005 h 98597"/>
                <a:gd name="connsiteX69" fmla="*/ 80223 w 152377"/>
                <a:gd name="connsiteY69" fmla="*/ 54005 h 98597"/>
                <a:gd name="connsiteX70" fmla="*/ 80223 w 152377"/>
                <a:gd name="connsiteY70" fmla="*/ 96581 h 98597"/>
                <a:gd name="connsiteX71" fmla="*/ 71259 w 152377"/>
                <a:gd name="connsiteY71" fmla="*/ 96581 h 98597"/>
                <a:gd name="connsiteX72" fmla="*/ 84704 w 152377"/>
                <a:gd name="connsiteY72" fmla="*/ 96581 h 98597"/>
                <a:gd name="connsiteX73" fmla="*/ 84704 w 152377"/>
                <a:gd name="connsiteY73" fmla="*/ 82239 h 98597"/>
                <a:gd name="connsiteX74" fmla="*/ 123247 w 152377"/>
                <a:gd name="connsiteY74" fmla="*/ 82239 h 98597"/>
                <a:gd name="connsiteX75" fmla="*/ 124143 w 152377"/>
                <a:gd name="connsiteY75" fmla="*/ 82239 h 98597"/>
                <a:gd name="connsiteX76" fmla="*/ 125488 w 152377"/>
                <a:gd name="connsiteY76" fmla="*/ 82239 h 98597"/>
                <a:gd name="connsiteX77" fmla="*/ 147448 w 152377"/>
                <a:gd name="connsiteY77" fmla="*/ 82239 h 98597"/>
                <a:gd name="connsiteX78" fmla="*/ 147448 w 152377"/>
                <a:gd name="connsiteY78" fmla="*/ 96581 h 98597"/>
                <a:gd name="connsiteX79" fmla="*/ 84704 w 152377"/>
                <a:gd name="connsiteY79" fmla="*/ 96581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2377" h="98597">
                  <a:moveTo>
                    <a:pt x="113835" y="32941"/>
                  </a:moveTo>
                  <a:lnTo>
                    <a:pt x="73052" y="32941"/>
                  </a:lnTo>
                  <a:lnTo>
                    <a:pt x="86497" y="19495"/>
                  </a:lnTo>
                  <a:cubicBezTo>
                    <a:pt x="87393" y="18599"/>
                    <a:pt x="87393" y="17255"/>
                    <a:pt x="86497" y="16358"/>
                  </a:cubicBezTo>
                  <a:lnTo>
                    <a:pt x="70811" y="673"/>
                  </a:lnTo>
                  <a:cubicBezTo>
                    <a:pt x="69914" y="-224"/>
                    <a:pt x="68570" y="-224"/>
                    <a:pt x="67674" y="673"/>
                  </a:cubicBezTo>
                  <a:lnTo>
                    <a:pt x="51988" y="16358"/>
                  </a:lnTo>
                  <a:cubicBezTo>
                    <a:pt x="51540" y="16807"/>
                    <a:pt x="51540" y="17255"/>
                    <a:pt x="51540" y="18151"/>
                  </a:cubicBezTo>
                  <a:cubicBezTo>
                    <a:pt x="51540" y="19047"/>
                    <a:pt x="51988" y="19495"/>
                    <a:pt x="51988" y="19943"/>
                  </a:cubicBezTo>
                  <a:lnTo>
                    <a:pt x="65433" y="33389"/>
                  </a:lnTo>
                  <a:lnTo>
                    <a:pt x="2241" y="33389"/>
                  </a:lnTo>
                  <a:cubicBezTo>
                    <a:pt x="896" y="33389"/>
                    <a:pt x="0" y="34285"/>
                    <a:pt x="0" y="35629"/>
                  </a:cubicBezTo>
                  <a:lnTo>
                    <a:pt x="0" y="98822"/>
                  </a:lnTo>
                  <a:cubicBezTo>
                    <a:pt x="0" y="100166"/>
                    <a:pt x="896" y="101063"/>
                    <a:pt x="2241" y="101063"/>
                  </a:cubicBezTo>
                  <a:lnTo>
                    <a:pt x="56021" y="101063"/>
                  </a:lnTo>
                  <a:lnTo>
                    <a:pt x="82911" y="101063"/>
                  </a:lnTo>
                  <a:lnTo>
                    <a:pt x="150137" y="101063"/>
                  </a:lnTo>
                  <a:cubicBezTo>
                    <a:pt x="151482" y="101063"/>
                    <a:pt x="152378" y="100166"/>
                    <a:pt x="152378" y="98822"/>
                  </a:cubicBezTo>
                  <a:lnTo>
                    <a:pt x="152378" y="71483"/>
                  </a:lnTo>
                  <a:cubicBezTo>
                    <a:pt x="151930" y="50419"/>
                    <a:pt x="134899" y="32941"/>
                    <a:pt x="113835" y="32941"/>
                  </a:cubicBezTo>
                  <a:close/>
                  <a:moveTo>
                    <a:pt x="69018" y="5602"/>
                  </a:moveTo>
                  <a:lnTo>
                    <a:pt x="81567" y="18151"/>
                  </a:lnTo>
                  <a:lnTo>
                    <a:pt x="69018" y="30700"/>
                  </a:lnTo>
                  <a:lnTo>
                    <a:pt x="56469" y="18151"/>
                  </a:lnTo>
                  <a:lnTo>
                    <a:pt x="69018" y="5602"/>
                  </a:lnTo>
                  <a:close/>
                  <a:moveTo>
                    <a:pt x="147448" y="71035"/>
                  </a:moveTo>
                  <a:lnTo>
                    <a:pt x="147448" y="77310"/>
                  </a:lnTo>
                  <a:lnTo>
                    <a:pt x="125488" y="77310"/>
                  </a:lnTo>
                  <a:cubicBezTo>
                    <a:pt x="116972" y="77310"/>
                    <a:pt x="109802" y="70139"/>
                    <a:pt x="109802" y="61624"/>
                  </a:cubicBezTo>
                  <a:lnTo>
                    <a:pt x="109802" y="37422"/>
                  </a:lnTo>
                  <a:lnTo>
                    <a:pt x="113835" y="37422"/>
                  </a:lnTo>
                  <a:cubicBezTo>
                    <a:pt x="132210" y="37422"/>
                    <a:pt x="147448" y="52660"/>
                    <a:pt x="147448" y="71035"/>
                  </a:cubicBezTo>
                  <a:close/>
                  <a:moveTo>
                    <a:pt x="84704" y="54005"/>
                  </a:moveTo>
                  <a:lnTo>
                    <a:pt x="105320" y="54005"/>
                  </a:lnTo>
                  <a:lnTo>
                    <a:pt x="105320" y="62072"/>
                  </a:lnTo>
                  <a:cubicBezTo>
                    <a:pt x="105320" y="68346"/>
                    <a:pt x="108457" y="74173"/>
                    <a:pt x="112939" y="77758"/>
                  </a:cubicBezTo>
                  <a:lnTo>
                    <a:pt x="84704" y="77758"/>
                  </a:lnTo>
                  <a:lnTo>
                    <a:pt x="84704" y="54005"/>
                  </a:lnTo>
                  <a:close/>
                  <a:moveTo>
                    <a:pt x="105320" y="37422"/>
                  </a:moveTo>
                  <a:lnTo>
                    <a:pt x="105320" y="49075"/>
                  </a:lnTo>
                  <a:lnTo>
                    <a:pt x="82463" y="49075"/>
                  </a:lnTo>
                  <a:lnTo>
                    <a:pt x="81119" y="49075"/>
                  </a:lnTo>
                  <a:lnTo>
                    <a:pt x="57366" y="49075"/>
                  </a:lnTo>
                  <a:lnTo>
                    <a:pt x="55573" y="49075"/>
                  </a:lnTo>
                  <a:lnTo>
                    <a:pt x="4034" y="49075"/>
                  </a:lnTo>
                  <a:lnTo>
                    <a:pt x="4034" y="37422"/>
                  </a:lnTo>
                  <a:lnTo>
                    <a:pt x="105320" y="37422"/>
                  </a:lnTo>
                  <a:close/>
                  <a:moveTo>
                    <a:pt x="4034" y="77758"/>
                  </a:moveTo>
                  <a:lnTo>
                    <a:pt x="4034" y="54005"/>
                  </a:lnTo>
                  <a:lnTo>
                    <a:pt x="26442" y="54005"/>
                  </a:lnTo>
                  <a:lnTo>
                    <a:pt x="26442" y="77758"/>
                  </a:lnTo>
                  <a:lnTo>
                    <a:pt x="4034" y="77758"/>
                  </a:lnTo>
                  <a:close/>
                  <a:moveTo>
                    <a:pt x="30924" y="54005"/>
                  </a:moveTo>
                  <a:lnTo>
                    <a:pt x="53332" y="54005"/>
                  </a:lnTo>
                  <a:lnTo>
                    <a:pt x="53332" y="77758"/>
                  </a:lnTo>
                  <a:lnTo>
                    <a:pt x="30924" y="77758"/>
                  </a:lnTo>
                  <a:lnTo>
                    <a:pt x="30924" y="54005"/>
                  </a:lnTo>
                  <a:close/>
                  <a:moveTo>
                    <a:pt x="4034" y="82239"/>
                  </a:moveTo>
                  <a:lnTo>
                    <a:pt x="53332" y="82239"/>
                  </a:lnTo>
                  <a:lnTo>
                    <a:pt x="53332" y="96581"/>
                  </a:lnTo>
                  <a:lnTo>
                    <a:pt x="4034" y="96581"/>
                  </a:lnTo>
                  <a:lnTo>
                    <a:pt x="4034" y="82239"/>
                  </a:lnTo>
                  <a:close/>
                  <a:moveTo>
                    <a:pt x="57814" y="54005"/>
                  </a:moveTo>
                  <a:lnTo>
                    <a:pt x="66777" y="54005"/>
                  </a:lnTo>
                  <a:lnTo>
                    <a:pt x="66777" y="96581"/>
                  </a:lnTo>
                  <a:lnTo>
                    <a:pt x="57814" y="96581"/>
                  </a:lnTo>
                  <a:lnTo>
                    <a:pt x="57814" y="54005"/>
                  </a:lnTo>
                  <a:close/>
                  <a:moveTo>
                    <a:pt x="71259" y="96581"/>
                  </a:moveTo>
                  <a:lnTo>
                    <a:pt x="71259" y="54005"/>
                  </a:lnTo>
                  <a:lnTo>
                    <a:pt x="80223" y="54005"/>
                  </a:lnTo>
                  <a:lnTo>
                    <a:pt x="80223" y="96581"/>
                  </a:lnTo>
                  <a:lnTo>
                    <a:pt x="71259" y="96581"/>
                  </a:lnTo>
                  <a:close/>
                  <a:moveTo>
                    <a:pt x="84704" y="96581"/>
                  </a:moveTo>
                  <a:lnTo>
                    <a:pt x="84704" y="82239"/>
                  </a:lnTo>
                  <a:lnTo>
                    <a:pt x="123247" y="82239"/>
                  </a:lnTo>
                  <a:cubicBezTo>
                    <a:pt x="123695" y="82239"/>
                    <a:pt x="123695" y="82239"/>
                    <a:pt x="124143" y="82239"/>
                  </a:cubicBezTo>
                  <a:cubicBezTo>
                    <a:pt x="124592" y="82239"/>
                    <a:pt x="125040" y="82239"/>
                    <a:pt x="125488" y="82239"/>
                  </a:cubicBezTo>
                  <a:lnTo>
                    <a:pt x="147448" y="82239"/>
                  </a:lnTo>
                  <a:lnTo>
                    <a:pt x="147448" y="96581"/>
                  </a:lnTo>
                  <a:lnTo>
                    <a:pt x="84704" y="96581"/>
                  </a:lnTo>
                  <a:close/>
                </a:path>
              </a:pathLst>
            </a:custGeom>
            <a:solidFill>
              <a:srgbClr val="231F20"/>
            </a:solidFill>
            <a:ln w="4477" cap="flat">
              <a:noFill/>
              <a:prstDash val="solid"/>
              <a:miter/>
            </a:ln>
          </p:spPr>
          <p:txBody>
            <a:bodyPr rtlCol="0" anchor="ctr"/>
            <a:lstStyle/>
            <a:p>
              <a:endParaRPr lang="en-US"/>
            </a:p>
          </p:txBody>
        </p:sp>
      </p:grpSp>
      <p:sp>
        <p:nvSpPr>
          <p:cNvPr id="3808" name="Freeform: Shape 3807">
            <a:extLst>
              <a:ext uri="{FF2B5EF4-FFF2-40B4-BE49-F238E27FC236}">
                <a16:creationId xmlns:a16="http://schemas.microsoft.com/office/drawing/2014/main" id="{0980B706-4BE0-477A-939A-412A40CFBD8A}"/>
              </a:ext>
              <a:ext uri="{C183D7F6-B498-43B3-948B-1728B52AA6E4}">
                <adec:decorative xmlns:adec="http://schemas.microsoft.com/office/drawing/2017/decorative" val="1"/>
              </a:ext>
            </a:extLst>
          </p:cNvPr>
          <p:cNvSpPr>
            <a:spLocks noChangeAspect="1"/>
          </p:cNvSpPr>
          <p:nvPr/>
        </p:nvSpPr>
        <p:spPr>
          <a:xfrm>
            <a:off x="571419" y="3472586"/>
            <a:ext cx="161341" cy="103079"/>
          </a:xfrm>
          <a:custGeom>
            <a:avLst/>
            <a:gdLst>
              <a:gd name="connsiteX0" fmla="*/ 162126 w 161341"/>
              <a:gd name="connsiteY0" fmla="*/ 0 h 103079"/>
              <a:gd name="connsiteX1" fmla="*/ 7507 w 161341"/>
              <a:gd name="connsiteY1" fmla="*/ 0 h 103079"/>
              <a:gd name="connsiteX2" fmla="*/ 5266 w 161341"/>
              <a:gd name="connsiteY2" fmla="*/ 2241 h 103079"/>
              <a:gd name="connsiteX3" fmla="*/ 7507 w 161341"/>
              <a:gd name="connsiteY3" fmla="*/ 4482 h 103079"/>
              <a:gd name="connsiteX4" fmla="*/ 100278 w 161341"/>
              <a:gd name="connsiteY4" fmla="*/ 4482 h 103079"/>
              <a:gd name="connsiteX5" fmla="*/ 100278 w 161341"/>
              <a:gd name="connsiteY5" fmla="*/ 20168 h 103079"/>
              <a:gd name="connsiteX6" fmla="*/ 97589 w 161341"/>
              <a:gd name="connsiteY6" fmla="*/ 20168 h 103079"/>
              <a:gd name="connsiteX7" fmla="*/ 95348 w 161341"/>
              <a:gd name="connsiteY7" fmla="*/ 21960 h 103079"/>
              <a:gd name="connsiteX8" fmla="*/ 90867 w 161341"/>
              <a:gd name="connsiteY8" fmla="*/ 40335 h 103079"/>
              <a:gd name="connsiteX9" fmla="*/ 23641 w 161341"/>
              <a:gd name="connsiteY9" fmla="*/ 40335 h 103079"/>
              <a:gd name="connsiteX10" fmla="*/ 14229 w 161341"/>
              <a:gd name="connsiteY10" fmla="*/ 21512 h 103079"/>
              <a:gd name="connsiteX11" fmla="*/ 12437 w 161341"/>
              <a:gd name="connsiteY11" fmla="*/ 20168 h 103079"/>
              <a:gd name="connsiteX12" fmla="*/ 2577 w 161341"/>
              <a:gd name="connsiteY12" fmla="*/ 20168 h 103079"/>
              <a:gd name="connsiteX13" fmla="*/ 784 w 161341"/>
              <a:gd name="connsiteY13" fmla="*/ 21064 h 103079"/>
              <a:gd name="connsiteX14" fmla="*/ 336 w 161341"/>
              <a:gd name="connsiteY14" fmla="*/ 23305 h 103079"/>
              <a:gd name="connsiteX15" fmla="*/ 9748 w 161341"/>
              <a:gd name="connsiteY15" fmla="*/ 49747 h 103079"/>
              <a:gd name="connsiteX16" fmla="*/ 336 w 161341"/>
              <a:gd name="connsiteY16" fmla="*/ 66329 h 103079"/>
              <a:gd name="connsiteX17" fmla="*/ 336 w 161341"/>
              <a:gd name="connsiteY17" fmla="*/ 68570 h 103079"/>
              <a:gd name="connsiteX18" fmla="*/ 2129 w 161341"/>
              <a:gd name="connsiteY18" fmla="*/ 69466 h 103079"/>
              <a:gd name="connsiteX19" fmla="*/ 11989 w 161341"/>
              <a:gd name="connsiteY19" fmla="*/ 69466 h 103079"/>
              <a:gd name="connsiteX20" fmla="*/ 13781 w 161341"/>
              <a:gd name="connsiteY20" fmla="*/ 68570 h 103079"/>
              <a:gd name="connsiteX21" fmla="*/ 23193 w 161341"/>
              <a:gd name="connsiteY21" fmla="*/ 54677 h 103079"/>
              <a:gd name="connsiteX22" fmla="*/ 74732 w 161341"/>
              <a:gd name="connsiteY22" fmla="*/ 56917 h 103079"/>
              <a:gd name="connsiteX23" fmla="*/ 74732 w 161341"/>
              <a:gd name="connsiteY23" fmla="*/ 73051 h 103079"/>
              <a:gd name="connsiteX24" fmla="*/ 79214 w 161341"/>
              <a:gd name="connsiteY24" fmla="*/ 81567 h 103079"/>
              <a:gd name="connsiteX25" fmla="*/ 98934 w 161341"/>
              <a:gd name="connsiteY25" fmla="*/ 89186 h 103079"/>
              <a:gd name="connsiteX26" fmla="*/ 95348 w 161341"/>
              <a:gd name="connsiteY26" fmla="*/ 99942 h 103079"/>
              <a:gd name="connsiteX27" fmla="*/ 86833 w 161341"/>
              <a:gd name="connsiteY27" fmla="*/ 99942 h 103079"/>
              <a:gd name="connsiteX28" fmla="*/ 84592 w 161341"/>
              <a:gd name="connsiteY28" fmla="*/ 102183 h 103079"/>
              <a:gd name="connsiteX29" fmla="*/ 86833 w 161341"/>
              <a:gd name="connsiteY29" fmla="*/ 104423 h 103079"/>
              <a:gd name="connsiteX30" fmla="*/ 96693 w 161341"/>
              <a:gd name="connsiteY30" fmla="*/ 104423 h 103079"/>
              <a:gd name="connsiteX31" fmla="*/ 96693 w 161341"/>
              <a:gd name="connsiteY31" fmla="*/ 104423 h 103079"/>
              <a:gd name="connsiteX32" fmla="*/ 96693 w 161341"/>
              <a:gd name="connsiteY32" fmla="*/ 104423 h 103079"/>
              <a:gd name="connsiteX33" fmla="*/ 131650 w 161341"/>
              <a:gd name="connsiteY33" fmla="*/ 104423 h 103079"/>
              <a:gd name="connsiteX34" fmla="*/ 131650 w 161341"/>
              <a:gd name="connsiteY34" fmla="*/ 104423 h 103079"/>
              <a:gd name="connsiteX35" fmla="*/ 131650 w 161341"/>
              <a:gd name="connsiteY35" fmla="*/ 104423 h 103079"/>
              <a:gd name="connsiteX36" fmla="*/ 141510 w 161341"/>
              <a:gd name="connsiteY36" fmla="*/ 104423 h 103079"/>
              <a:gd name="connsiteX37" fmla="*/ 143302 w 161341"/>
              <a:gd name="connsiteY37" fmla="*/ 103975 h 103079"/>
              <a:gd name="connsiteX38" fmla="*/ 148232 w 161341"/>
              <a:gd name="connsiteY38" fmla="*/ 99046 h 103079"/>
              <a:gd name="connsiteX39" fmla="*/ 148232 w 161341"/>
              <a:gd name="connsiteY39" fmla="*/ 95909 h 103079"/>
              <a:gd name="connsiteX40" fmla="*/ 145095 w 161341"/>
              <a:gd name="connsiteY40" fmla="*/ 95909 h 103079"/>
              <a:gd name="connsiteX41" fmla="*/ 140613 w 161341"/>
              <a:gd name="connsiteY41" fmla="*/ 100390 h 103079"/>
              <a:gd name="connsiteX42" fmla="*/ 132995 w 161341"/>
              <a:gd name="connsiteY42" fmla="*/ 100390 h 103079"/>
              <a:gd name="connsiteX43" fmla="*/ 129409 w 161341"/>
              <a:gd name="connsiteY43" fmla="*/ 90082 h 103079"/>
              <a:gd name="connsiteX44" fmla="*/ 152266 w 161341"/>
              <a:gd name="connsiteY44" fmla="*/ 90082 h 103079"/>
              <a:gd name="connsiteX45" fmla="*/ 159437 w 161341"/>
              <a:gd name="connsiteY45" fmla="*/ 82912 h 103079"/>
              <a:gd name="connsiteX46" fmla="*/ 159437 w 161341"/>
              <a:gd name="connsiteY46" fmla="*/ 77982 h 103079"/>
              <a:gd name="connsiteX47" fmla="*/ 148232 w 161341"/>
              <a:gd name="connsiteY47" fmla="*/ 51540 h 103079"/>
              <a:gd name="connsiteX48" fmla="*/ 148232 w 161341"/>
              <a:gd name="connsiteY48" fmla="*/ 51540 h 103079"/>
              <a:gd name="connsiteX49" fmla="*/ 122238 w 161341"/>
              <a:gd name="connsiteY49" fmla="*/ 40783 h 103079"/>
              <a:gd name="connsiteX50" fmla="*/ 114171 w 161341"/>
              <a:gd name="connsiteY50" fmla="*/ 40783 h 103079"/>
              <a:gd name="connsiteX51" fmla="*/ 109690 w 161341"/>
              <a:gd name="connsiteY51" fmla="*/ 22409 h 103079"/>
              <a:gd name="connsiteX52" fmla="*/ 107449 w 161341"/>
              <a:gd name="connsiteY52" fmla="*/ 20616 h 103079"/>
              <a:gd name="connsiteX53" fmla="*/ 104760 w 161341"/>
              <a:gd name="connsiteY53" fmla="*/ 20616 h 103079"/>
              <a:gd name="connsiteX54" fmla="*/ 104760 w 161341"/>
              <a:gd name="connsiteY54" fmla="*/ 4930 h 103079"/>
              <a:gd name="connsiteX55" fmla="*/ 162574 w 161341"/>
              <a:gd name="connsiteY55" fmla="*/ 4930 h 103079"/>
              <a:gd name="connsiteX56" fmla="*/ 164815 w 161341"/>
              <a:gd name="connsiteY56" fmla="*/ 2689 h 103079"/>
              <a:gd name="connsiteX57" fmla="*/ 162126 w 161341"/>
              <a:gd name="connsiteY57" fmla="*/ 0 h 103079"/>
              <a:gd name="connsiteX58" fmla="*/ 22745 w 161341"/>
              <a:gd name="connsiteY58" fmla="*/ 49747 h 103079"/>
              <a:gd name="connsiteX59" fmla="*/ 20952 w 161341"/>
              <a:gd name="connsiteY59" fmla="*/ 50643 h 103079"/>
              <a:gd name="connsiteX60" fmla="*/ 11540 w 161341"/>
              <a:gd name="connsiteY60" fmla="*/ 64537 h 103079"/>
              <a:gd name="connsiteX61" fmla="*/ 6162 w 161341"/>
              <a:gd name="connsiteY61" fmla="*/ 64537 h 103079"/>
              <a:gd name="connsiteX62" fmla="*/ 14229 w 161341"/>
              <a:gd name="connsiteY62" fmla="*/ 50643 h 103079"/>
              <a:gd name="connsiteX63" fmla="*/ 14229 w 161341"/>
              <a:gd name="connsiteY63" fmla="*/ 48851 h 103079"/>
              <a:gd name="connsiteX64" fmla="*/ 5266 w 161341"/>
              <a:gd name="connsiteY64" fmla="*/ 24201 h 103079"/>
              <a:gd name="connsiteX65" fmla="*/ 10644 w 161341"/>
              <a:gd name="connsiteY65" fmla="*/ 24201 h 103079"/>
              <a:gd name="connsiteX66" fmla="*/ 20056 w 161341"/>
              <a:gd name="connsiteY66" fmla="*/ 43024 h 103079"/>
              <a:gd name="connsiteX67" fmla="*/ 21848 w 161341"/>
              <a:gd name="connsiteY67" fmla="*/ 44369 h 103079"/>
              <a:gd name="connsiteX68" fmla="*/ 85488 w 161341"/>
              <a:gd name="connsiteY68" fmla="*/ 44369 h 103079"/>
              <a:gd name="connsiteX69" fmla="*/ 76077 w 161341"/>
              <a:gd name="connsiteY69" fmla="*/ 52436 h 103079"/>
              <a:gd name="connsiteX70" fmla="*/ 22745 w 161341"/>
              <a:gd name="connsiteY70" fmla="*/ 49747 h 103079"/>
              <a:gd name="connsiteX71" fmla="*/ 128961 w 161341"/>
              <a:gd name="connsiteY71" fmla="*/ 99942 h 103079"/>
              <a:gd name="connsiteX72" fmla="*/ 100278 w 161341"/>
              <a:gd name="connsiteY72" fmla="*/ 99942 h 103079"/>
              <a:gd name="connsiteX73" fmla="*/ 103863 w 161341"/>
              <a:gd name="connsiteY73" fmla="*/ 89186 h 103079"/>
              <a:gd name="connsiteX74" fmla="*/ 105656 w 161341"/>
              <a:gd name="connsiteY74" fmla="*/ 89186 h 103079"/>
              <a:gd name="connsiteX75" fmla="*/ 125376 w 161341"/>
              <a:gd name="connsiteY75" fmla="*/ 89186 h 103079"/>
              <a:gd name="connsiteX76" fmla="*/ 128961 w 161341"/>
              <a:gd name="connsiteY76" fmla="*/ 99942 h 103079"/>
              <a:gd name="connsiteX77" fmla="*/ 145543 w 161341"/>
              <a:gd name="connsiteY77" fmla="*/ 54228 h 103079"/>
              <a:gd name="connsiteX78" fmla="*/ 153610 w 161341"/>
              <a:gd name="connsiteY78" fmla="*/ 69018 h 103079"/>
              <a:gd name="connsiteX79" fmla="*/ 114171 w 161341"/>
              <a:gd name="connsiteY79" fmla="*/ 64985 h 103079"/>
              <a:gd name="connsiteX80" fmla="*/ 114171 w 161341"/>
              <a:gd name="connsiteY80" fmla="*/ 54228 h 103079"/>
              <a:gd name="connsiteX81" fmla="*/ 145543 w 161341"/>
              <a:gd name="connsiteY81" fmla="*/ 54228 h 103079"/>
              <a:gd name="connsiteX82" fmla="*/ 140165 w 161341"/>
              <a:gd name="connsiteY82" fmla="*/ 49747 h 103079"/>
              <a:gd name="connsiteX83" fmla="*/ 111931 w 161341"/>
              <a:gd name="connsiteY83" fmla="*/ 49747 h 103079"/>
              <a:gd name="connsiteX84" fmla="*/ 109690 w 161341"/>
              <a:gd name="connsiteY84" fmla="*/ 51988 h 103079"/>
              <a:gd name="connsiteX85" fmla="*/ 109690 w 161341"/>
              <a:gd name="connsiteY85" fmla="*/ 66777 h 103079"/>
              <a:gd name="connsiteX86" fmla="*/ 111931 w 161341"/>
              <a:gd name="connsiteY86" fmla="*/ 69018 h 103079"/>
              <a:gd name="connsiteX87" fmla="*/ 154507 w 161341"/>
              <a:gd name="connsiteY87" fmla="*/ 73500 h 103079"/>
              <a:gd name="connsiteX88" fmla="*/ 154507 w 161341"/>
              <a:gd name="connsiteY88" fmla="*/ 77085 h 103079"/>
              <a:gd name="connsiteX89" fmla="*/ 154507 w 161341"/>
              <a:gd name="connsiteY89" fmla="*/ 82015 h 103079"/>
              <a:gd name="connsiteX90" fmla="*/ 151818 w 161341"/>
              <a:gd name="connsiteY90" fmla="*/ 84704 h 103079"/>
              <a:gd name="connsiteX91" fmla="*/ 106104 w 161341"/>
              <a:gd name="connsiteY91" fmla="*/ 84704 h 103079"/>
              <a:gd name="connsiteX92" fmla="*/ 82351 w 161341"/>
              <a:gd name="connsiteY92" fmla="*/ 77533 h 103079"/>
              <a:gd name="connsiteX93" fmla="*/ 79662 w 161341"/>
              <a:gd name="connsiteY93" fmla="*/ 72603 h 103079"/>
              <a:gd name="connsiteX94" fmla="*/ 79662 w 161341"/>
              <a:gd name="connsiteY94" fmla="*/ 55573 h 103079"/>
              <a:gd name="connsiteX95" fmla="*/ 93107 w 161341"/>
              <a:gd name="connsiteY95" fmla="*/ 44369 h 103079"/>
              <a:gd name="connsiteX96" fmla="*/ 112379 w 161341"/>
              <a:gd name="connsiteY96" fmla="*/ 44369 h 103079"/>
              <a:gd name="connsiteX97" fmla="*/ 122238 w 161341"/>
              <a:gd name="connsiteY97" fmla="*/ 44369 h 103079"/>
              <a:gd name="connsiteX98" fmla="*/ 140165 w 161341"/>
              <a:gd name="connsiteY98" fmla="*/ 49747 h 103079"/>
              <a:gd name="connsiteX99" fmla="*/ 109241 w 161341"/>
              <a:gd name="connsiteY99" fmla="*/ 39887 h 103079"/>
              <a:gd name="connsiteX100" fmla="*/ 94900 w 161341"/>
              <a:gd name="connsiteY100" fmla="*/ 39887 h 103079"/>
              <a:gd name="connsiteX101" fmla="*/ 98934 w 161341"/>
              <a:gd name="connsiteY101" fmla="*/ 24201 h 103079"/>
              <a:gd name="connsiteX102" fmla="*/ 105208 w 161341"/>
              <a:gd name="connsiteY102" fmla="*/ 24201 h 103079"/>
              <a:gd name="connsiteX103" fmla="*/ 109241 w 161341"/>
              <a:gd name="connsiteY103" fmla="*/ 39887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61341" h="103079">
                <a:moveTo>
                  <a:pt x="162126" y="0"/>
                </a:moveTo>
                <a:lnTo>
                  <a:pt x="7507" y="0"/>
                </a:lnTo>
                <a:cubicBezTo>
                  <a:pt x="6162" y="0"/>
                  <a:pt x="5266" y="896"/>
                  <a:pt x="5266" y="2241"/>
                </a:cubicBezTo>
                <a:cubicBezTo>
                  <a:pt x="5266" y="3585"/>
                  <a:pt x="6162" y="4482"/>
                  <a:pt x="7507" y="4482"/>
                </a:cubicBezTo>
                <a:lnTo>
                  <a:pt x="100278" y="4482"/>
                </a:lnTo>
                <a:lnTo>
                  <a:pt x="100278" y="20168"/>
                </a:lnTo>
                <a:lnTo>
                  <a:pt x="97589" y="20168"/>
                </a:lnTo>
                <a:cubicBezTo>
                  <a:pt x="96693" y="20168"/>
                  <a:pt x="95796" y="21064"/>
                  <a:pt x="95348" y="21960"/>
                </a:cubicBezTo>
                <a:lnTo>
                  <a:pt x="90867" y="40335"/>
                </a:lnTo>
                <a:lnTo>
                  <a:pt x="23641" y="40335"/>
                </a:lnTo>
                <a:lnTo>
                  <a:pt x="14229" y="21512"/>
                </a:lnTo>
                <a:cubicBezTo>
                  <a:pt x="13781" y="20616"/>
                  <a:pt x="12885" y="20168"/>
                  <a:pt x="12437" y="20168"/>
                </a:cubicBezTo>
                <a:lnTo>
                  <a:pt x="2577" y="20168"/>
                </a:lnTo>
                <a:cubicBezTo>
                  <a:pt x="1681" y="20168"/>
                  <a:pt x="1232" y="20616"/>
                  <a:pt x="784" y="21064"/>
                </a:cubicBezTo>
                <a:cubicBezTo>
                  <a:pt x="336" y="21512"/>
                  <a:pt x="336" y="22409"/>
                  <a:pt x="336" y="23305"/>
                </a:cubicBezTo>
                <a:lnTo>
                  <a:pt x="9748" y="49747"/>
                </a:lnTo>
                <a:lnTo>
                  <a:pt x="336" y="66329"/>
                </a:lnTo>
                <a:cubicBezTo>
                  <a:pt x="-112" y="67226"/>
                  <a:pt x="-112" y="67674"/>
                  <a:pt x="336" y="68570"/>
                </a:cubicBezTo>
                <a:cubicBezTo>
                  <a:pt x="784" y="69466"/>
                  <a:pt x="1681" y="69466"/>
                  <a:pt x="2129" y="69466"/>
                </a:cubicBezTo>
                <a:lnTo>
                  <a:pt x="11989" y="69466"/>
                </a:lnTo>
                <a:cubicBezTo>
                  <a:pt x="12885" y="69466"/>
                  <a:pt x="13333" y="69018"/>
                  <a:pt x="13781" y="68570"/>
                </a:cubicBezTo>
                <a:lnTo>
                  <a:pt x="23193" y="54677"/>
                </a:lnTo>
                <a:lnTo>
                  <a:pt x="74732" y="56917"/>
                </a:lnTo>
                <a:lnTo>
                  <a:pt x="74732" y="73051"/>
                </a:lnTo>
                <a:cubicBezTo>
                  <a:pt x="74732" y="76637"/>
                  <a:pt x="76525" y="79774"/>
                  <a:pt x="79214" y="81567"/>
                </a:cubicBezTo>
                <a:cubicBezTo>
                  <a:pt x="85040" y="85600"/>
                  <a:pt x="91763" y="87841"/>
                  <a:pt x="98934" y="89186"/>
                </a:cubicBezTo>
                <a:lnTo>
                  <a:pt x="95348" y="99942"/>
                </a:lnTo>
                <a:lnTo>
                  <a:pt x="86833" y="99942"/>
                </a:lnTo>
                <a:cubicBezTo>
                  <a:pt x="85488" y="99942"/>
                  <a:pt x="84592" y="100838"/>
                  <a:pt x="84592" y="102183"/>
                </a:cubicBezTo>
                <a:cubicBezTo>
                  <a:pt x="84592" y="103527"/>
                  <a:pt x="85488" y="104423"/>
                  <a:pt x="86833" y="104423"/>
                </a:cubicBezTo>
                <a:lnTo>
                  <a:pt x="96693" y="104423"/>
                </a:lnTo>
                <a:cubicBezTo>
                  <a:pt x="96693" y="104423"/>
                  <a:pt x="96693" y="104423"/>
                  <a:pt x="96693" y="104423"/>
                </a:cubicBezTo>
                <a:lnTo>
                  <a:pt x="96693" y="104423"/>
                </a:lnTo>
                <a:lnTo>
                  <a:pt x="131650" y="104423"/>
                </a:lnTo>
                <a:lnTo>
                  <a:pt x="131650" y="104423"/>
                </a:lnTo>
                <a:cubicBezTo>
                  <a:pt x="131650" y="104423"/>
                  <a:pt x="131650" y="104423"/>
                  <a:pt x="131650" y="104423"/>
                </a:cubicBezTo>
                <a:lnTo>
                  <a:pt x="141510" y="104423"/>
                </a:lnTo>
                <a:cubicBezTo>
                  <a:pt x="141958" y="104423"/>
                  <a:pt x="142854" y="103975"/>
                  <a:pt x="143302" y="103975"/>
                </a:cubicBezTo>
                <a:lnTo>
                  <a:pt x="148232" y="99046"/>
                </a:lnTo>
                <a:cubicBezTo>
                  <a:pt x="149129" y="98149"/>
                  <a:pt x="149129" y="96805"/>
                  <a:pt x="148232" y="95909"/>
                </a:cubicBezTo>
                <a:cubicBezTo>
                  <a:pt x="147336" y="95012"/>
                  <a:pt x="145991" y="95012"/>
                  <a:pt x="145095" y="95909"/>
                </a:cubicBezTo>
                <a:lnTo>
                  <a:pt x="140613" y="100390"/>
                </a:lnTo>
                <a:lnTo>
                  <a:pt x="132995" y="100390"/>
                </a:lnTo>
                <a:lnTo>
                  <a:pt x="129409" y="90082"/>
                </a:lnTo>
                <a:lnTo>
                  <a:pt x="152266" y="90082"/>
                </a:lnTo>
                <a:cubicBezTo>
                  <a:pt x="156299" y="90082"/>
                  <a:pt x="159437" y="86945"/>
                  <a:pt x="159437" y="82912"/>
                </a:cubicBezTo>
                <a:lnTo>
                  <a:pt x="159437" y="77982"/>
                </a:lnTo>
                <a:cubicBezTo>
                  <a:pt x="159437" y="67674"/>
                  <a:pt x="154955" y="58262"/>
                  <a:pt x="148232" y="51540"/>
                </a:cubicBezTo>
                <a:cubicBezTo>
                  <a:pt x="148232" y="51540"/>
                  <a:pt x="148232" y="51540"/>
                  <a:pt x="148232" y="51540"/>
                </a:cubicBezTo>
                <a:cubicBezTo>
                  <a:pt x="141510" y="44817"/>
                  <a:pt x="132546" y="40783"/>
                  <a:pt x="122238" y="40783"/>
                </a:cubicBezTo>
                <a:lnTo>
                  <a:pt x="114171" y="40783"/>
                </a:lnTo>
                <a:lnTo>
                  <a:pt x="109690" y="22409"/>
                </a:lnTo>
                <a:cubicBezTo>
                  <a:pt x="109241" y="21512"/>
                  <a:pt x="108345" y="20616"/>
                  <a:pt x="107449" y="20616"/>
                </a:cubicBezTo>
                <a:lnTo>
                  <a:pt x="104760" y="20616"/>
                </a:lnTo>
                <a:lnTo>
                  <a:pt x="104760" y="4930"/>
                </a:lnTo>
                <a:lnTo>
                  <a:pt x="162574" y="4930"/>
                </a:lnTo>
                <a:cubicBezTo>
                  <a:pt x="163918" y="4930"/>
                  <a:pt x="164815" y="4034"/>
                  <a:pt x="164815" y="2689"/>
                </a:cubicBezTo>
                <a:cubicBezTo>
                  <a:pt x="164815" y="1344"/>
                  <a:pt x="163470" y="0"/>
                  <a:pt x="162126" y="0"/>
                </a:cubicBezTo>
                <a:close/>
                <a:moveTo>
                  <a:pt x="22745" y="49747"/>
                </a:moveTo>
                <a:cubicBezTo>
                  <a:pt x="21848" y="49747"/>
                  <a:pt x="21400" y="50195"/>
                  <a:pt x="20952" y="50643"/>
                </a:cubicBezTo>
                <a:lnTo>
                  <a:pt x="11540" y="64537"/>
                </a:lnTo>
                <a:lnTo>
                  <a:pt x="6162" y="64537"/>
                </a:lnTo>
                <a:lnTo>
                  <a:pt x="14229" y="50643"/>
                </a:lnTo>
                <a:cubicBezTo>
                  <a:pt x="14678" y="50195"/>
                  <a:pt x="14678" y="49299"/>
                  <a:pt x="14229" y="48851"/>
                </a:cubicBezTo>
                <a:lnTo>
                  <a:pt x="5266" y="24201"/>
                </a:lnTo>
                <a:lnTo>
                  <a:pt x="10644" y="24201"/>
                </a:lnTo>
                <a:lnTo>
                  <a:pt x="20056" y="43024"/>
                </a:lnTo>
                <a:cubicBezTo>
                  <a:pt x="20504" y="43920"/>
                  <a:pt x="21400" y="44369"/>
                  <a:pt x="21848" y="44369"/>
                </a:cubicBezTo>
                <a:lnTo>
                  <a:pt x="85488" y="44369"/>
                </a:lnTo>
                <a:lnTo>
                  <a:pt x="76077" y="52436"/>
                </a:lnTo>
                <a:lnTo>
                  <a:pt x="22745" y="49747"/>
                </a:lnTo>
                <a:close/>
                <a:moveTo>
                  <a:pt x="128961" y="99942"/>
                </a:moveTo>
                <a:lnTo>
                  <a:pt x="100278" y="99942"/>
                </a:lnTo>
                <a:lnTo>
                  <a:pt x="103863" y="89186"/>
                </a:lnTo>
                <a:cubicBezTo>
                  <a:pt x="104312" y="89186"/>
                  <a:pt x="105208" y="89186"/>
                  <a:pt x="105656" y="89186"/>
                </a:cubicBezTo>
                <a:lnTo>
                  <a:pt x="125376" y="89186"/>
                </a:lnTo>
                <a:lnTo>
                  <a:pt x="128961" y="99942"/>
                </a:lnTo>
                <a:close/>
                <a:moveTo>
                  <a:pt x="145543" y="54228"/>
                </a:moveTo>
                <a:cubicBezTo>
                  <a:pt x="149577" y="58262"/>
                  <a:pt x="152266" y="63192"/>
                  <a:pt x="153610" y="69018"/>
                </a:cubicBezTo>
                <a:lnTo>
                  <a:pt x="114171" y="64985"/>
                </a:lnTo>
                <a:lnTo>
                  <a:pt x="114171" y="54228"/>
                </a:lnTo>
                <a:lnTo>
                  <a:pt x="145543" y="54228"/>
                </a:lnTo>
                <a:close/>
                <a:moveTo>
                  <a:pt x="140165" y="49747"/>
                </a:moveTo>
                <a:lnTo>
                  <a:pt x="111931" y="49747"/>
                </a:lnTo>
                <a:cubicBezTo>
                  <a:pt x="110586" y="49747"/>
                  <a:pt x="109690" y="50643"/>
                  <a:pt x="109690" y="51988"/>
                </a:cubicBezTo>
                <a:lnTo>
                  <a:pt x="109690" y="66777"/>
                </a:lnTo>
                <a:cubicBezTo>
                  <a:pt x="109690" y="68122"/>
                  <a:pt x="110586" y="69018"/>
                  <a:pt x="111931" y="69018"/>
                </a:cubicBezTo>
                <a:lnTo>
                  <a:pt x="154507" y="73500"/>
                </a:lnTo>
                <a:cubicBezTo>
                  <a:pt x="154507" y="74844"/>
                  <a:pt x="154507" y="75741"/>
                  <a:pt x="154507" y="77085"/>
                </a:cubicBezTo>
                <a:lnTo>
                  <a:pt x="154507" y="82015"/>
                </a:lnTo>
                <a:cubicBezTo>
                  <a:pt x="154507" y="83360"/>
                  <a:pt x="153162" y="84704"/>
                  <a:pt x="151818" y="84704"/>
                </a:cubicBezTo>
                <a:lnTo>
                  <a:pt x="106104" y="84704"/>
                </a:lnTo>
                <a:cubicBezTo>
                  <a:pt x="97589" y="84704"/>
                  <a:pt x="89522" y="82015"/>
                  <a:pt x="82351" y="77533"/>
                </a:cubicBezTo>
                <a:cubicBezTo>
                  <a:pt x="80559" y="76637"/>
                  <a:pt x="79662" y="74396"/>
                  <a:pt x="79662" y="72603"/>
                </a:cubicBezTo>
                <a:lnTo>
                  <a:pt x="79662" y="55573"/>
                </a:lnTo>
                <a:lnTo>
                  <a:pt x="93107" y="44369"/>
                </a:lnTo>
                <a:lnTo>
                  <a:pt x="112379" y="44369"/>
                </a:lnTo>
                <a:lnTo>
                  <a:pt x="122238" y="44369"/>
                </a:lnTo>
                <a:cubicBezTo>
                  <a:pt x="128961" y="44369"/>
                  <a:pt x="135235" y="46610"/>
                  <a:pt x="140165" y="49747"/>
                </a:cubicBezTo>
                <a:close/>
                <a:moveTo>
                  <a:pt x="109241" y="39887"/>
                </a:moveTo>
                <a:lnTo>
                  <a:pt x="94900" y="39887"/>
                </a:lnTo>
                <a:lnTo>
                  <a:pt x="98934" y="24201"/>
                </a:lnTo>
                <a:lnTo>
                  <a:pt x="105208" y="24201"/>
                </a:lnTo>
                <a:lnTo>
                  <a:pt x="109241" y="39887"/>
                </a:lnTo>
                <a:close/>
              </a:path>
            </a:pathLst>
          </a:custGeom>
          <a:solidFill>
            <a:srgbClr val="231F20"/>
          </a:solidFill>
          <a:ln w="4477" cap="flat">
            <a:noFill/>
            <a:prstDash val="solid"/>
            <a:miter/>
          </a:ln>
        </p:spPr>
        <p:txBody>
          <a:bodyPr rtlCol="0" anchor="ctr"/>
          <a:lstStyle/>
          <a:p>
            <a:endParaRPr lang="en-US"/>
          </a:p>
        </p:txBody>
      </p:sp>
      <p:sp>
        <p:nvSpPr>
          <p:cNvPr id="3809" name="Freeform: Shape 3808">
            <a:extLst>
              <a:ext uri="{FF2B5EF4-FFF2-40B4-BE49-F238E27FC236}">
                <a16:creationId xmlns:a16="http://schemas.microsoft.com/office/drawing/2014/main" id="{4D92A838-AF34-4491-B8F4-E01004708710}"/>
              </a:ext>
              <a:ext uri="{C183D7F6-B498-43B3-948B-1728B52AA6E4}">
                <adec:decorative xmlns:adec="http://schemas.microsoft.com/office/drawing/2017/decorative" val="1"/>
              </a:ext>
            </a:extLst>
          </p:cNvPr>
          <p:cNvSpPr>
            <a:spLocks noChangeAspect="1"/>
          </p:cNvSpPr>
          <p:nvPr/>
        </p:nvSpPr>
        <p:spPr>
          <a:xfrm>
            <a:off x="4532683" y="3151311"/>
            <a:ext cx="152378" cy="103079"/>
          </a:xfrm>
          <a:custGeom>
            <a:avLst/>
            <a:gdLst>
              <a:gd name="connsiteX0" fmla="*/ 154170 w 152377"/>
              <a:gd name="connsiteY0" fmla="*/ 100390 h 103079"/>
              <a:gd name="connsiteX1" fmla="*/ 128177 w 152377"/>
              <a:gd name="connsiteY1" fmla="*/ 77533 h 103079"/>
              <a:gd name="connsiteX2" fmla="*/ 125488 w 152377"/>
              <a:gd name="connsiteY2" fmla="*/ 76189 h 103079"/>
              <a:gd name="connsiteX3" fmla="*/ 123695 w 152377"/>
              <a:gd name="connsiteY3" fmla="*/ 77982 h 103079"/>
              <a:gd name="connsiteX4" fmla="*/ 121902 w 152377"/>
              <a:gd name="connsiteY4" fmla="*/ 74396 h 103079"/>
              <a:gd name="connsiteX5" fmla="*/ 121902 w 152377"/>
              <a:gd name="connsiteY5" fmla="*/ 53332 h 103079"/>
              <a:gd name="connsiteX6" fmla="*/ 133555 w 152377"/>
              <a:gd name="connsiteY6" fmla="*/ 53332 h 103079"/>
              <a:gd name="connsiteX7" fmla="*/ 135796 w 152377"/>
              <a:gd name="connsiteY7" fmla="*/ 51092 h 103079"/>
              <a:gd name="connsiteX8" fmla="*/ 133555 w 152377"/>
              <a:gd name="connsiteY8" fmla="*/ 48851 h 103079"/>
              <a:gd name="connsiteX9" fmla="*/ 125936 w 152377"/>
              <a:gd name="connsiteY9" fmla="*/ 48851 h 103079"/>
              <a:gd name="connsiteX10" fmla="*/ 132210 w 152377"/>
              <a:gd name="connsiteY10" fmla="*/ 14789 h 103079"/>
              <a:gd name="connsiteX11" fmla="*/ 140277 w 152377"/>
              <a:gd name="connsiteY11" fmla="*/ 15686 h 103079"/>
              <a:gd name="connsiteX12" fmla="*/ 142518 w 152377"/>
              <a:gd name="connsiteY12" fmla="*/ 13445 h 103079"/>
              <a:gd name="connsiteX13" fmla="*/ 140277 w 152377"/>
              <a:gd name="connsiteY13" fmla="*/ 11204 h 103079"/>
              <a:gd name="connsiteX14" fmla="*/ 104872 w 152377"/>
              <a:gd name="connsiteY14" fmla="*/ 8067 h 103079"/>
              <a:gd name="connsiteX15" fmla="*/ 95460 w 152377"/>
              <a:gd name="connsiteY15" fmla="*/ 14789 h 103079"/>
              <a:gd name="connsiteX16" fmla="*/ 93219 w 152377"/>
              <a:gd name="connsiteY16" fmla="*/ 22857 h 103079"/>
              <a:gd name="connsiteX17" fmla="*/ 93219 w 152377"/>
              <a:gd name="connsiteY17" fmla="*/ 23305 h 103079"/>
              <a:gd name="connsiteX18" fmla="*/ 93219 w 152377"/>
              <a:gd name="connsiteY18" fmla="*/ 27786 h 103079"/>
              <a:gd name="connsiteX19" fmla="*/ 80222 w 152377"/>
              <a:gd name="connsiteY19" fmla="*/ 27786 h 103079"/>
              <a:gd name="connsiteX20" fmla="*/ 80222 w 152377"/>
              <a:gd name="connsiteY20" fmla="*/ 25097 h 103079"/>
              <a:gd name="connsiteX21" fmla="*/ 70811 w 152377"/>
              <a:gd name="connsiteY21" fmla="*/ 10308 h 103079"/>
              <a:gd name="connsiteX22" fmla="*/ 54677 w 152377"/>
              <a:gd name="connsiteY22" fmla="*/ 3137 h 103079"/>
              <a:gd name="connsiteX23" fmla="*/ 39887 w 152377"/>
              <a:gd name="connsiteY23" fmla="*/ 0 h 103079"/>
              <a:gd name="connsiteX24" fmla="*/ 2241 w 152377"/>
              <a:gd name="connsiteY24" fmla="*/ 0 h 103079"/>
              <a:gd name="connsiteX25" fmla="*/ 0 w 152377"/>
              <a:gd name="connsiteY25" fmla="*/ 2241 h 103079"/>
              <a:gd name="connsiteX26" fmla="*/ 2241 w 152377"/>
              <a:gd name="connsiteY26" fmla="*/ 4482 h 103079"/>
              <a:gd name="connsiteX27" fmla="*/ 39887 w 152377"/>
              <a:gd name="connsiteY27" fmla="*/ 4482 h 103079"/>
              <a:gd name="connsiteX28" fmla="*/ 52884 w 152377"/>
              <a:gd name="connsiteY28" fmla="*/ 7171 h 103079"/>
              <a:gd name="connsiteX29" fmla="*/ 69018 w 152377"/>
              <a:gd name="connsiteY29" fmla="*/ 14341 h 103079"/>
              <a:gd name="connsiteX30" fmla="*/ 75741 w 152377"/>
              <a:gd name="connsiteY30" fmla="*/ 25097 h 103079"/>
              <a:gd name="connsiteX31" fmla="*/ 75741 w 152377"/>
              <a:gd name="connsiteY31" fmla="*/ 27786 h 103079"/>
              <a:gd name="connsiteX32" fmla="*/ 56917 w 152377"/>
              <a:gd name="connsiteY32" fmla="*/ 27786 h 103079"/>
              <a:gd name="connsiteX33" fmla="*/ 36302 w 152377"/>
              <a:gd name="connsiteY33" fmla="*/ 30475 h 103079"/>
              <a:gd name="connsiteX34" fmla="*/ 12549 w 152377"/>
              <a:gd name="connsiteY34" fmla="*/ 36302 h 103079"/>
              <a:gd name="connsiteX35" fmla="*/ 3137 w 152377"/>
              <a:gd name="connsiteY35" fmla="*/ 48402 h 103079"/>
              <a:gd name="connsiteX36" fmla="*/ 3137 w 152377"/>
              <a:gd name="connsiteY36" fmla="*/ 74844 h 103079"/>
              <a:gd name="connsiteX37" fmla="*/ 5378 w 152377"/>
              <a:gd name="connsiteY37" fmla="*/ 77085 h 103079"/>
              <a:gd name="connsiteX38" fmla="*/ 18375 w 152377"/>
              <a:gd name="connsiteY38" fmla="*/ 77085 h 103079"/>
              <a:gd name="connsiteX39" fmla="*/ 13445 w 152377"/>
              <a:gd name="connsiteY39" fmla="*/ 88737 h 103079"/>
              <a:gd name="connsiteX40" fmla="*/ 29579 w 152377"/>
              <a:gd name="connsiteY40" fmla="*/ 104872 h 103079"/>
              <a:gd name="connsiteX41" fmla="*/ 45265 w 152377"/>
              <a:gd name="connsiteY41" fmla="*/ 90978 h 103079"/>
              <a:gd name="connsiteX42" fmla="*/ 86945 w 152377"/>
              <a:gd name="connsiteY42" fmla="*/ 90978 h 103079"/>
              <a:gd name="connsiteX43" fmla="*/ 105320 w 152377"/>
              <a:gd name="connsiteY43" fmla="*/ 104872 h 103079"/>
              <a:gd name="connsiteX44" fmla="*/ 123247 w 152377"/>
              <a:gd name="connsiteY44" fmla="*/ 93219 h 103079"/>
              <a:gd name="connsiteX45" fmla="*/ 123247 w 152377"/>
              <a:gd name="connsiteY45" fmla="*/ 98597 h 103079"/>
              <a:gd name="connsiteX46" fmla="*/ 129969 w 152377"/>
              <a:gd name="connsiteY46" fmla="*/ 105320 h 103079"/>
              <a:gd name="connsiteX47" fmla="*/ 153274 w 152377"/>
              <a:gd name="connsiteY47" fmla="*/ 105320 h 103079"/>
              <a:gd name="connsiteX48" fmla="*/ 155515 w 152377"/>
              <a:gd name="connsiteY48" fmla="*/ 103527 h 103079"/>
              <a:gd name="connsiteX49" fmla="*/ 154170 w 152377"/>
              <a:gd name="connsiteY49" fmla="*/ 100390 h 103079"/>
              <a:gd name="connsiteX50" fmla="*/ 97701 w 152377"/>
              <a:gd name="connsiteY50" fmla="*/ 23305 h 103079"/>
              <a:gd name="connsiteX51" fmla="*/ 99494 w 152377"/>
              <a:gd name="connsiteY51" fmla="*/ 15238 h 103079"/>
              <a:gd name="connsiteX52" fmla="*/ 104424 w 152377"/>
              <a:gd name="connsiteY52" fmla="*/ 11652 h 103079"/>
              <a:gd name="connsiteX53" fmla="*/ 127280 w 152377"/>
              <a:gd name="connsiteY53" fmla="*/ 13445 h 103079"/>
              <a:gd name="connsiteX54" fmla="*/ 121006 w 152377"/>
              <a:gd name="connsiteY54" fmla="*/ 47954 h 103079"/>
              <a:gd name="connsiteX55" fmla="*/ 97701 w 152377"/>
              <a:gd name="connsiteY55" fmla="*/ 47954 h 103079"/>
              <a:gd name="connsiteX56" fmla="*/ 97701 w 152377"/>
              <a:gd name="connsiteY56" fmla="*/ 23305 h 103079"/>
              <a:gd name="connsiteX57" fmla="*/ 14341 w 152377"/>
              <a:gd name="connsiteY57" fmla="*/ 40783 h 103079"/>
              <a:gd name="connsiteX58" fmla="*/ 38094 w 152377"/>
              <a:gd name="connsiteY58" fmla="*/ 34957 h 103079"/>
              <a:gd name="connsiteX59" fmla="*/ 57814 w 152377"/>
              <a:gd name="connsiteY59" fmla="*/ 32716 h 103079"/>
              <a:gd name="connsiteX60" fmla="*/ 93667 w 152377"/>
              <a:gd name="connsiteY60" fmla="*/ 32716 h 103079"/>
              <a:gd name="connsiteX61" fmla="*/ 93667 w 152377"/>
              <a:gd name="connsiteY61" fmla="*/ 48851 h 103079"/>
              <a:gd name="connsiteX62" fmla="*/ 85600 w 152377"/>
              <a:gd name="connsiteY62" fmla="*/ 48851 h 103079"/>
              <a:gd name="connsiteX63" fmla="*/ 84256 w 152377"/>
              <a:gd name="connsiteY63" fmla="*/ 49299 h 103079"/>
              <a:gd name="connsiteX64" fmla="*/ 71259 w 152377"/>
              <a:gd name="connsiteY64" fmla="*/ 59158 h 103079"/>
              <a:gd name="connsiteX65" fmla="*/ 8515 w 152377"/>
              <a:gd name="connsiteY65" fmla="*/ 59158 h 103079"/>
              <a:gd name="connsiteX66" fmla="*/ 8515 w 152377"/>
              <a:gd name="connsiteY66" fmla="*/ 48851 h 103079"/>
              <a:gd name="connsiteX67" fmla="*/ 14341 w 152377"/>
              <a:gd name="connsiteY67" fmla="*/ 40783 h 103079"/>
              <a:gd name="connsiteX68" fmla="*/ 30027 w 152377"/>
              <a:gd name="connsiteY68" fmla="*/ 100390 h 103079"/>
              <a:gd name="connsiteX69" fmla="*/ 18375 w 152377"/>
              <a:gd name="connsiteY69" fmla="*/ 88737 h 103079"/>
              <a:gd name="connsiteX70" fmla="*/ 30027 w 152377"/>
              <a:gd name="connsiteY70" fmla="*/ 77085 h 103079"/>
              <a:gd name="connsiteX71" fmla="*/ 41680 w 152377"/>
              <a:gd name="connsiteY71" fmla="*/ 88737 h 103079"/>
              <a:gd name="connsiteX72" fmla="*/ 30027 w 152377"/>
              <a:gd name="connsiteY72" fmla="*/ 100390 h 103079"/>
              <a:gd name="connsiteX73" fmla="*/ 45713 w 152377"/>
              <a:gd name="connsiteY73" fmla="*/ 86497 h 103079"/>
              <a:gd name="connsiteX74" fmla="*/ 30027 w 152377"/>
              <a:gd name="connsiteY74" fmla="*/ 72603 h 103079"/>
              <a:gd name="connsiteX75" fmla="*/ 8067 w 152377"/>
              <a:gd name="connsiteY75" fmla="*/ 72603 h 103079"/>
              <a:gd name="connsiteX76" fmla="*/ 8067 w 152377"/>
              <a:gd name="connsiteY76" fmla="*/ 63192 h 103079"/>
              <a:gd name="connsiteX77" fmla="*/ 71259 w 152377"/>
              <a:gd name="connsiteY77" fmla="*/ 63192 h 103079"/>
              <a:gd name="connsiteX78" fmla="*/ 72603 w 152377"/>
              <a:gd name="connsiteY78" fmla="*/ 62744 h 103079"/>
              <a:gd name="connsiteX79" fmla="*/ 85600 w 152377"/>
              <a:gd name="connsiteY79" fmla="*/ 52884 h 103079"/>
              <a:gd name="connsiteX80" fmla="*/ 116972 w 152377"/>
              <a:gd name="connsiteY80" fmla="*/ 52884 h 103079"/>
              <a:gd name="connsiteX81" fmla="*/ 116972 w 152377"/>
              <a:gd name="connsiteY81" fmla="*/ 69466 h 103079"/>
              <a:gd name="connsiteX82" fmla="*/ 105320 w 152377"/>
              <a:gd name="connsiteY82" fmla="*/ 65433 h 103079"/>
              <a:gd name="connsiteX83" fmla="*/ 85600 w 152377"/>
              <a:gd name="connsiteY83" fmla="*/ 85152 h 103079"/>
              <a:gd name="connsiteX84" fmla="*/ 85600 w 152377"/>
              <a:gd name="connsiteY84" fmla="*/ 86497 h 103079"/>
              <a:gd name="connsiteX85" fmla="*/ 45713 w 152377"/>
              <a:gd name="connsiteY85" fmla="*/ 86497 h 103079"/>
              <a:gd name="connsiteX86" fmla="*/ 105768 w 152377"/>
              <a:gd name="connsiteY86" fmla="*/ 100390 h 103079"/>
              <a:gd name="connsiteX87" fmla="*/ 90530 w 152377"/>
              <a:gd name="connsiteY87" fmla="*/ 85152 h 103079"/>
              <a:gd name="connsiteX88" fmla="*/ 105768 w 152377"/>
              <a:gd name="connsiteY88" fmla="*/ 69914 h 103079"/>
              <a:gd name="connsiteX89" fmla="*/ 121006 w 152377"/>
              <a:gd name="connsiteY89" fmla="*/ 85152 h 103079"/>
              <a:gd name="connsiteX90" fmla="*/ 105768 w 152377"/>
              <a:gd name="connsiteY90" fmla="*/ 100390 h 103079"/>
              <a:gd name="connsiteX91" fmla="*/ 130417 w 152377"/>
              <a:gd name="connsiteY91" fmla="*/ 100390 h 103079"/>
              <a:gd name="connsiteX92" fmla="*/ 128177 w 152377"/>
              <a:gd name="connsiteY92" fmla="*/ 98149 h 103079"/>
              <a:gd name="connsiteX93" fmla="*/ 128177 w 152377"/>
              <a:gd name="connsiteY93" fmla="*/ 87841 h 103079"/>
              <a:gd name="connsiteX94" fmla="*/ 142518 w 152377"/>
              <a:gd name="connsiteY94" fmla="*/ 100390 h 103079"/>
              <a:gd name="connsiteX95" fmla="*/ 130417 w 152377"/>
              <a:gd name="connsiteY95" fmla="*/ 100390 h 10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52377" h="103079">
                <a:moveTo>
                  <a:pt x="154170" y="100390"/>
                </a:moveTo>
                <a:cubicBezTo>
                  <a:pt x="154170" y="100390"/>
                  <a:pt x="134003" y="95012"/>
                  <a:pt x="128177" y="77533"/>
                </a:cubicBezTo>
                <a:cubicBezTo>
                  <a:pt x="127729" y="76637"/>
                  <a:pt x="126832" y="75741"/>
                  <a:pt x="125488" y="76189"/>
                </a:cubicBezTo>
                <a:cubicBezTo>
                  <a:pt x="124591" y="76189"/>
                  <a:pt x="123695" y="77085"/>
                  <a:pt x="123695" y="77982"/>
                </a:cubicBezTo>
                <a:cubicBezTo>
                  <a:pt x="123247" y="76637"/>
                  <a:pt x="122350" y="75292"/>
                  <a:pt x="121902" y="74396"/>
                </a:cubicBezTo>
                <a:lnTo>
                  <a:pt x="121902" y="53332"/>
                </a:lnTo>
                <a:lnTo>
                  <a:pt x="133555" y="53332"/>
                </a:lnTo>
                <a:cubicBezTo>
                  <a:pt x="134899" y="53332"/>
                  <a:pt x="135796" y="52436"/>
                  <a:pt x="135796" y="51092"/>
                </a:cubicBezTo>
                <a:cubicBezTo>
                  <a:pt x="135796" y="49747"/>
                  <a:pt x="134899" y="48851"/>
                  <a:pt x="133555" y="48851"/>
                </a:cubicBezTo>
                <a:lnTo>
                  <a:pt x="125936" y="48851"/>
                </a:lnTo>
                <a:lnTo>
                  <a:pt x="132210" y="14789"/>
                </a:lnTo>
                <a:lnTo>
                  <a:pt x="140277" y="15686"/>
                </a:lnTo>
                <a:cubicBezTo>
                  <a:pt x="141622" y="15686"/>
                  <a:pt x="142518" y="14789"/>
                  <a:pt x="142518" y="13445"/>
                </a:cubicBezTo>
                <a:cubicBezTo>
                  <a:pt x="142518" y="12100"/>
                  <a:pt x="141622" y="11204"/>
                  <a:pt x="140277" y="11204"/>
                </a:cubicBezTo>
                <a:lnTo>
                  <a:pt x="104872" y="8067"/>
                </a:lnTo>
                <a:cubicBezTo>
                  <a:pt x="100390" y="7619"/>
                  <a:pt x="96357" y="10756"/>
                  <a:pt x="95460" y="14789"/>
                </a:cubicBezTo>
                <a:lnTo>
                  <a:pt x="93219" y="22857"/>
                </a:lnTo>
                <a:cubicBezTo>
                  <a:pt x="93219" y="22857"/>
                  <a:pt x="93219" y="23305"/>
                  <a:pt x="93219" y="23305"/>
                </a:cubicBezTo>
                <a:lnTo>
                  <a:pt x="93219" y="27786"/>
                </a:lnTo>
                <a:lnTo>
                  <a:pt x="80222" y="27786"/>
                </a:lnTo>
                <a:lnTo>
                  <a:pt x="80222" y="25097"/>
                </a:lnTo>
                <a:cubicBezTo>
                  <a:pt x="80222" y="18823"/>
                  <a:pt x="76637" y="12997"/>
                  <a:pt x="70811" y="10308"/>
                </a:cubicBezTo>
                <a:lnTo>
                  <a:pt x="54677" y="3137"/>
                </a:lnTo>
                <a:cubicBezTo>
                  <a:pt x="49747" y="896"/>
                  <a:pt x="44817" y="0"/>
                  <a:pt x="39887" y="0"/>
                </a:cubicBezTo>
                <a:lnTo>
                  <a:pt x="2241" y="0"/>
                </a:lnTo>
                <a:cubicBezTo>
                  <a:pt x="896" y="0"/>
                  <a:pt x="0" y="896"/>
                  <a:pt x="0" y="2241"/>
                </a:cubicBezTo>
                <a:cubicBezTo>
                  <a:pt x="0" y="3585"/>
                  <a:pt x="896" y="4482"/>
                  <a:pt x="2241" y="4482"/>
                </a:cubicBezTo>
                <a:lnTo>
                  <a:pt x="39887" y="4482"/>
                </a:lnTo>
                <a:cubicBezTo>
                  <a:pt x="44369" y="4482"/>
                  <a:pt x="48850" y="5378"/>
                  <a:pt x="52884" y="7171"/>
                </a:cubicBezTo>
                <a:lnTo>
                  <a:pt x="69018" y="14341"/>
                </a:lnTo>
                <a:cubicBezTo>
                  <a:pt x="73052" y="16134"/>
                  <a:pt x="75741" y="20168"/>
                  <a:pt x="75741" y="25097"/>
                </a:cubicBezTo>
                <a:lnTo>
                  <a:pt x="75741" y="27786"/>
                </a:lnTo>
                <a:lnTo>
                  <a:pt x="56917" y="27786"/>
                </a:lnTo>
                <a:cubicBezTo>
                  <a:pt x="50195" y="27786"/>
                  <a:pt x="43024" y="28683"/>
                  <a:pt x="36302" y="30475"/>
                </a:cubicBezTo>
                <a:lnTo>
                  <a:pt x="12549" y="36302"/>
                </a:lnTo>
                <a:cubicBezTo>
                  <a:pt x="6723" y="37646"/>
                  <a:pt x="3137" y="42576"/>
                  <a:pt x="3137" y="48402"/>
                </a:cubicBezTo>
                <a:lnTo>
                  <a:pt x="3137" y="74844"/>
                </a:lnTo>
                <a:cubicBezTo>
                  <a:pt x="3137" y="76189"/>
                  <a:pt x="4033" y="77085"/>
                  <a:pt x="5378" y="77085"/>
                </a:cubicBezTo>
                <a:lnTo>
                  <a:pt x="18375" y="77085"/>
                </a:lnTo>
                <a:cubicBezTo>
                  <a:pt x="15238" y="80223"/>
                  <a:pt x="13445" y="84256"/>
                  <a:pt x="13445" y="88737"/>
                </a:cubicBezTo>
                <a:cubicBezTo>
                  <a:pt x="13445" y="97701"/>
                  <a:pt x="20616" y="104872"/>
                  <a:pt x="29579" y="104872"/>
                </a:cubicBezTo>
                <a:cubicBezTo>
                  <a:pt x="37646" y="104872"/>
                  <a:pt x="44369" y="99046"/>
                  <a:pt x="45265" y="90978"/>
                </a:cubicBezTo>
                <a:lnTo>
                  <a:pt x="86945" y="90978"/>
                </a:lnTo>
                <a:cubicBezTo>
                  <a:pt x="89186" y="99046"/>
                  <a:pt x="96805" y="104872"/>
                  <a:pt x="105320" y="104872"/>
                </a:cubicBezTo>
                <a:cubicBezTo>
                  <a:pt x="113387" y="104872"/>
                  <a:pt x="120110" y="99942"/>
                  <a:pt x="123247" y="93219"/>
                </a:cubicBezTo>
                <a:lnTo>
                  <a:pt x="123247" y="98597"/>
                </a:lnTo>
                <a:cubicBezTo>
                  <a:pt x="123247" y="102183"/>
                  <a:pt x="126384" y="105320"/>
                  <a:pt x="129969" y="105320"/>
                </a:cubicBezTo>
                <a:lnTo>
                  <a:pt x="153274" y="105320"/>
                </a:lnTo>
                <a:cubicBezTo>
                  <a:pt x="154619" y="105320"/>
                  <a:pt x="155515" y="104423"/>
                  <a:pt x="155515" y="103527"/>
                </a:cubicBezTo>
                <a:cubicBezTo>
                  <a:pt x="155515" y="102631"/>
                  <a:pt x="155515" y="100838"/>
                  <a:pt x="154170" y="100390"/>
                </a:cubicBezTo>
                <a:close/>
                <a:moveTo>
                  <a:pt x="97701" y="23305"/>
                </a:moveTo>
                <a:lnTo>
                  <a:pt x="99494" y="15238"/>
                </a:lnTo>
                <a:cubicBezTo>
                  <a:pt x="99942" y="12997"/>
                  <a:pt x="102183" y="11652"/>
                  <a:pt x="104424" y="11652"/>
                </a:cubicBezTo>
                <a:lnTo>
                  <a:pt x="127280" y="13445"/>
                </a:lnTo>
                <a:lnTo>
                  <a:pt x="121006" y="47954"/>
                </a:lnTo>
                <a:lnTo>
                  <a:pt x="97701" y="47954"/>
                </a:lnTo>
                <a:lnTo>
                  <a:pt x="97701" y="23305"/>
                </a:lnTo>
                <a:close/>
                <a:moveTo>
                  <a:pt x="14341" y="40783"/>
                </a:moveTo>
                <a:lnTo>
                  <a:pt x="38094" y="34957"/>
                </a:lnTo>
                <a:cubicBezTo>
                  <a:pt x="44369" y="33165"/>
                  <a:pt x="51091" y="32716"/>
                  <a:pt x="57814" y="32716"/>
                </a:cubicBezTo>
                <a:lnTo>
                  <a:pt x="93667" y="32716"/>
                </a:lnTo>
                <a:lnTo>
                  <a:pt x="93667" y="48851"/>
                </a:lnTo>
                <a:lnTo>
                  <a:pt x="85600" y="48851"/>
                </a:lnTo>
                <a:cubicBezTo>
                  <a:pt x="85152" y="48851"/>
                  <a:pt x="84704" y="48851"/>
                  <a:pt x="84256" y="49299"/>
                </a:cubicBezTo>
                <a:lnTo>
                  <a:pt x="71259" y="59158"/>
                </a:lnTo>
                <a:lnTo>
                  <a:pt x="8515" y="59158"/>
                </a:lnTo>
                <a:lnTo>
                  <a:pt x="8515" y="48851"/>
                </a:lnTo>
                <a:cubicBezTo>
                  <a:pt x="8067" y="44817"/>
                  <a:pt x="10756" y="41680"/>
                  <a:pt x="14341" y="40783"/>
                </a:cubicBezTo>
                <a:close/>
                <a:moveTo>
                  <a:pt x="30027" y="100390"/>
                </a:moveTo>
                <a:cubicBezTo>
                  <a:pt x="23753" y="100390"/>
                  <a:pt x="18375" y="95012"/>
                  <a:pt x="18375" y="88737"/>
                </a:cubicBezTo>
                <a:cubicBezTo>
                  <a:pt x="18375" y="82463"/>
                  <a:pt x="23753" y="77085"/>
                  <a:pt x="30027" y="77085"/>
                </a:cubicBezTo>
                <a:cubicBezTo>
                  <a:pt x="36302" y="77085"/>
                  <a:pt x="41680" y="82463"/>
                  <a:pt x="41680" y="88737"/>
                </a:cubicBezTo>
                <a:cubicBezTo>
                  <a:pt x="41680" y="95012"/>
                  <a:pt x="36302" y="100390"/>
                  <a:pt x="30027" y="100390"/>
                </a:cubicBezTo>
                <a:close/>
                <a:moveTo>
                  <a:pt x="45713" y="86497"/>
                </a:moveTo>
                <a:cubicBezTo>
                  <a:pt x="44817" y="78878"/>
                  <a:pt x="38094" y="72603"/>
                  <a:pt x="30027" y="72603"/>
                </a:cubicBezTo>
                <a:lnTo>
                  <a:pt x="8067" y="72603"/>
                </a:lnTo>
                <a:lnTo>
                  <a:pt x="8067" y="63192"/>
                </a:lnTo>
                <a:lnTo>
                  <a:pt x="71259" y="63192"/>
                </a:lnTo>
                <a:cubicBezTo>
                  <a:pt x="71707" y="63192"/>
                  <a:pt x="72155" y="63192"/>
                  <a:pt x="72603" y="62744"/>
                </a:cubicBezTo>
                <a:lnTo>
                  <a:pt x="85600" y="52884"/>
                </a:lnTo>
                <a:lnTo>
                  <a:pt x="116972" y="52884"/>
                </a:lnTo>
                <a:lnTo>
                  <a:pt x="116972" y="69466"/>
                </a:lnTo>
                <a:cubicBezTo>
                  <a:pt x="113835" y="67226"/>
                  <a:pt x="109802" y="65433"/>
                  <a:pt x="105320" y="65433"/>
                </a:cubicBezTo>
                <a:cubicBezTo>
                  <a:pt x="94564" y="65433"/>
                  <a:pt x="85600" y="74396"/>
                  <a:pt x="85600" y="85152"/>
                </a:cubicBezTo>
                <a:cubicBezTo>
                  <a:pt x="85600" y="85600"/>
                  <a:pt x="85600" y="86048"/>
                  <a:pt x="85600" y="86497"/>
                </a:cubicBezTo>
                <a:lnTo>
                  <a:pt x="45713" y="86497"/>
                </a:lnTo>
                <a:close/>
                <a:moveTo>
                  <a:pt x="105768" y="100390"/>
                </a:moveTo>
                <a:cubicBezTo>
                  <a:pt x="97701" y="100390"/>
                  <a:pt x="90530" y="93668"/>
                  <a:pt x="90530" y="85152"/>
                </a:cubicBezTo>
                <a:cubicBezTo>
                  <a:pt x="90530" y="76637"/>
                  <a:pt x="97253" y="69914"/>
                  <a:pt x="105768" y="69914"/>
                </a:cubicBezTo>
                <a:cubicBezTo>
                  <a:pt x="114283" y="69914"/>
                  <a:pt x="121006" y="76637"/>
                  <a:pt x="121006" y="85152"/>
                </a:cubicBezTo>
                <a:cubicBezTo>
                  <a:pt x="121006" y="93668"/>
                  <a:pt x="114283" y="100390"/>
                  <a:pt x="105768" y="100390"/>
                </a:cubicBezTo>
                <a:close/>
                <a:moveTo>
                  <a:pt x="130417" y="100390"/>
                </a:moveTo>
                <a:cubicBezTo>
                  <a:pt x="129073" y="100390"/>
                  <a:pt x="128177" y="99494"/>
                  <a:pt x="128177" y="98149"/>
                </a:cubicBezTo>
                <a:lnTo>
                  <a:pt x="128177" y="87841"/>
                </a:lnTo>
                <a:cubicBezTo>
                  <a:pt x="132210" y="93668"/>
                  <a:pt x="137588" y="97701"/>
                  <a:pt x="142518" y="100390"/>
                </a:cubicBezTo>
                <a:lnTo>
                  <a:pt x="130417" y="100390"/>
                </a:lnTo>
                <a:close/>
              </a:path>
            </a:pathLst>
          </a:custGeom>
          <a:solidFill>
            <a:srgbClr val="231F20"/>
          </a:solidFill>
          <a:ln w="4477" cap="flat">
            <a:noFill/>
            <a:prstDash val="solid"/>
            <a:miter/>
          </a:ln>
        </p:spPr>
        <p:txBody>
          <a:bodyPr rtlCol="0" anchor="ctr"/>
          <a:lstStyle/>
          <a:p>
            <a:endParaRPr lang="en-US"/>
          </a:p>
        </p:txBody>
      </p:sp>
      <p:sp>
        <p:nvSpPr>
          <p:cNvPr id="3810" name="Freeform: Shape 3809">
            <a:extLst>
              <a:ext uri="{FF2B5EF4-FFF2-40B4-BE49-F238E27FC236}">
                <a16:creationId xmlns:a16="http://schemas.microsoft.com/office/drawing/2014/main" id="{46029D4D-F4BA-4C98-ADD3-DFC7367B9768}"/>
              </a:ext>
              <a:ext uri="{C183D7F6-B498-43B3-948B-1728B52AA6E4}">
                <adec:decorative xmlns:adec="http://schemas.microsoft.com/office/drawing/2017/decorative" val="1"/>
              </a:ext>
            </a:extLst>
          </p:cNvPr>
          <p:cNvSpPr>
            <a:spLocks noChangeAspect="1"/>
          </p:cNvSpPr>
          <p:nvPr/>
        </p:nvSpPr>
        <p:spPr>
          <a:xfrm>
            <a:off x="4787692" y="3165652"/>
            <a:ext cx="156860" cy="89634"/>
          </a:xfrm>
          <a:custGeom>
            <a:avLst/>
            <a:gdLst>
              <a:gd name="connsiteX0" fmla="*/ 151033 w 156859"/>
              <a:gd name="connsiteY0" fmla="*/ 57814 h 89634"/>
              <a:gd name="connsiteX1" fmla="*/ 151033 w 156859"/>
              <a:gd name="connsiteY1" fmla="*/ 47058 h 89634"/>
              <a:gd name="connsiteX2" fmla="*/ 140726 w 156859"/>
              <a:gd name="connsiteY2" fmla="*/ 34958 h 89634"/>
              <a:gd name="connsiteX3" fmla="*/ 124143 w 156859"/>
              <a:gd name="connsiteY3" fmla="*/ 33165 h 89634"/>
              <a:gd name="connsiteX4" fmla="*/ 124143 w 156859"/>
              <a:gd name="connsiteY4" fmla="*/ 25097 h 89634"/>
              <a:gd name="connsiteX5" fmla="*/ 128625 w 156859"/>
              <a:gd name="connsiteY5" fmla="*/ 20616 h 89634"/>
              <a:gd name="connsiteX6" fmla="*/ 130866 w 156859"/>
              <a:gd name="connsiteY6" fmla="*/ 18375 h 89634"/>
              <a:gd name="connsiteX7" fmla="*/ 128625 w 156859"/>
              <a:gd name="connsiteY7" fmla="*/ 16134 h 89634"/>
              <a:gd name="connsiteX8" fmla="*/ 119661 w 156859"/>
              <a:gd name="connsiteY8" fmla="*/ 25097 h 89634"/>
              <a:gd name="connsiteX9" fmla="*/ 119661 w 156859"/>
              <a:gd name="connsiteY9" fmla="*/ 33165 h 89634"/>
              <a:gd name="connsiteX10" fmla="*/ 116973 w 156859"/>
              <a:gd name="connsiteY10" fmla="*/ 33165 h 89634"/>
              <a:gd name="connsiteX11" fmla="*/ 110698 w 156859"/>
              <a:gd name="connsiteY11" fmla="*/ 33165 h 89634"/>
              <a:gd name="connsiteX12" fmla="*/ 108009 w 156859"/>
              <a:gd name="connsiteY12" fmla="*/ 4482 h 89634"/>
              <a:gd name="connsiteX13" fmla="*/ 115628 w 156859"/>
              <a:gd name="connsiteY13" fmla="*/ 4482 h 89634"/>
              <a:gd name="connsiteX14" fmla="*/ 117869 w 156859"/>
              <a:gd name="connsiteY14" fmla="*/ 2241 h 89634"/>
              <a:gd name="connsiteX15" fmla="*/ 115628 w 156859"/>
              <a:gd name="connsiteY15" fmla="*/ 0 h 89634"/>
              <a:gd name="connsiteX16" fmla="*/ 79326 w 156859"/>
              <a:gd name="connsiteY16" fmla="*/ 0 h 89634"/>
              <a:gd name="connsiteX17" fmla="*/ 64088 w 156859"/>
              <a:gd name="connsiteY17" fmla="*/ 11652 h 89634"/>
              <a:gd name="connsiteX18" fmla="*/ 56470 w 156859"/>
              <a:gd name="connsiteY18" fmla="*/ 41232 h 89634"/>
              <a:gd name="connsiteX19" fmla="*/ 39887 w 156859"/>
              <a:gd name="connsiteY19" fmla="*/ 64985 h 89634"/>
              <a:gd name="connsiteX20" fmla="*/ 39887 w 156859"/>
              <a:gd name="connsiteY20" fmla="*/ 65881 h 89634"/>
              <a:gd name="connsiteX21" fmla="*/ 2241 w 156859"/>
              <a:gd name="connsiteY21" fmla="*/ 65881 h 89634"/>
              <a:gd name="connsiteX22" fmla="*/ 0 w 156859"/>
              <a:gd name="connsiteY22" fmla="*/ 68122 h 89634"/>
              <a:gd name="connsiteX23" fmla="*/ 2241 w 156859"/>
              <a:gd name="connsiteY23" fmla="*/ 70363 h 89634"/>
              <a:gd name="connsiteX24" fmla="*/ 10308 w 156859"/>
              <a:gd name="connsiteY24" fmla="*/ 70363 h 89634"/>
              <a:gd name="connsiteX25" fmla="*/ 16582 w 156859"/>
              <a:gd name="connsiteY25" fmla="*/ 89186 h 89634"/>
              <a:gd name="connsiteX26" fmla="*/ 18375 w 156859"/>
              <a:gd name="connsiteY26" fmla="*/ 90082 h 89634"/>
              <a:gd name="connsiteX27" fmla="*/ 19720 w 156859"/>
              <a:gd name="connsiteY27" fmla="*/ 89634 h 89634"/>
              <a:gd name="connsiteX28" fmla="*/ 20168 w 156859"/>
              <a:gd name="connsiteY28" fmla="*/ 86497 h 89634"/>
              <a:gd name="connsiteX29" fmla="*/ 14790 w 156859"/>
              <a:gd name="connsiteY29" fmla="*/ 69914 h 89634"/>
              <a:gd name="connsiteX30" fmla="*/ 23753 w 156859"/>
              <a:gd name="connsiteY30" fmla="*/ 69914 h 89634"/>
              <a:gd name="connsiteX31" fmla="*/ 30027 w 156859"/>
              <a:gd name="connsiteY31" fmla="*/ 88738 h 89634"/>
              <a:gd name="connsiteX32" fmla="*/ 31820 w 156859"/>
              <a:gd name="connsiteY32" fmla="*/ 89634 h 89634"/>
              <a:gd name="connsiteX33" fmla="*/ 33165 w 156859"/>
              <a:gd name="connsiteY33" fmla="*/ 89186 h 89634"/>
              <a:gd name="connsiteX34" fmla="*/ 33613 w 156859"/>
              <a:gd name="connsiteY34" fmla="*/ 86049 h 89634"/>
              <a:gd name="connsiteX35" fmla="*/ 28235 w 156859"/>
              <a:gd name="connsiteY35" fmla="*/ 69466 h 89634"/>
              <a:gd name="connsiteX36" fmla="*/ 40784 w 156859"/>
              <a:gd name="connsiteY36" fmla="*/ 69466 h 89634"/>
              <a:gd name="connsiteX37" fmla="*/ 65881 w 156859"/>
              <a:gd name="connsiteY37" fmla="*/ 89634 h 89634"/>
              <a:gd name="connsiteX38" fmla="*/ 88290 w 156859"/>
              <a:gd name="connsiteY38" fmla="*/ 76189 h 89634"/>
              <a:gd name="connsiteX39" fmla="*/ 89186 w 156859"/>
              <a:gd name="connsiteY39" fmla="*/ 76189 h 89634"/>
              <a:gd name="connsiteX40" fmla="*/ 127280 w 156859"/>
              <a:gd name="connsiteY40" fmla="*/ 76189 h 89634"/>
              <a:gd name="connsiteX41" fmla="*/ 143863 w 156859"/>
              <a:gd name="connsiteY41" fmla="*/ 89634 h 89634"/>
              <a:gd name="connsiteX42" fmla="*/ 160893 w 156859"/>
              <a:gd name="connsiteY42" fmla="*/ 72604 h 89634"/>
              <a:gd name="connsiteX43" fmla="*/ 151033 w 156859"/>
              <a:gd name="connsiteY43" fmla="*/ 57814 h 89634"/>
              <a:gd name="connsiteX44" fmla="*/ 139829 w 156859"/>
              <a:gd name="connsiteY44" fmla="*/ 38991 h 89634"/>
              <a:gd name="connsiteX45" fmla="*/ 146104 w 156859"/>
              <a:gd name="connsiteY45" fmla="*/ 46610 h 89634"/>
              <a:gd name="connsiteX46" fmla="*/ 146104 w 156859"/>
              <a:gd name="connsiteY46" fmla="*/ 56021 h 89634"/>
              <a:gd name="connsiteX47" fmla="*/ 143414 w 156859"/>
              <a:gd name="connsiteY47" fmla="*/ 55573 h 89634"/>
              <a:gd name="connsiteX48" fmla="*/ 126384 w 156859"/>
              <a:gd name="connsiteY48" fmla="*/ 72155 h 89634"/>
              <a:gd name="connsiteX49" fmla="*/ 110698 w 156859"/>
              <a:gd name="connsiteY49" fmla="*/ 72155 h 89634"/>
              <a:gd name="connsiteX50" fmla="*/ 110698 w 156859"/>
              <a:gd name="connsiteY50" fmla="*/ 36750 h 89634"/>
              <a:gd name="connsiteX51" fmla="*/ 116524 w 156859"/>
              <a:gd name="connsiteY51" fmla="*/ 36750 h 89634"/>
              <a:gd name="connsiteX52" fmla="*/ 139829 w 156859"/>
              <a:gd name="connsiteY52" fmla="*/ 38991 h 89634"/>
              <a:gd name="connsiteX53" fmla="*/ 106216 w 156859"/>
              <a:gd name="connsiteY53" fmla="*/ 32717 h 89634"/>
              <a:gd name="connsiteX54" fmla="*/ 84256 w 156859"/>
              <a:gd name="connsiteY54" fmla="*/ 32269 h 89634"/>
              <a:gd name="connsiteX55" fmla="*/ 84256 w 156859"/>
              <a:gd name="connsiteY55" fmla="*/ 4034 h 89634"/>
              <a:gd name="connsiteX56" fmla="*/ 103079 w 156859"/>
              <a:gd name="connsiteY56" fmla="*/ 4034 h 89634"/>
              <a:gd name="connsiteX57" fmla="*/ 106216 w 156859"/>
              <a:gd name="connsiteY57" fmla="*/ 32717 h 89634"/>
              <a:gd name="connsiteX58" fmla="*/ 65433 w 156859"/>
              <a:gd name="connsiteY58" fmla="*/ 86049 h 89634"/>
              <a:gd name="connsiteX59" fmla="*/ 44369 w 156859"/>
              <a:gd name="connsiteY59" fmla="*/ 64985 h 89634"/>
              <a:gd name="connsiteX60" fmla="*/ 65433 w 156859"/>
              <a:gd name="connsiteY60" fmla="*/ 43921 h 89634"/>
              <a:gd name="connsiteX61" fmla="*/ 86497 w 156859"/>
              <a:gd name="connsiteY61" fmla="*/ 64985 h 89634"/>
              <a:gd name="connsiteX62" fmla="*/ 65433 w 156859"/>
              <a:gd name="connsiteY62" fmla="*/ 86049 h 89634"/>
              <a:gd name="connsiteX63" fmla="*/ 65433 w 156859"/>
              <a:gd name="connsiteY63" fmla="*/ 39439 h 89634"/>
              <a:gd name="connsiteX64" fmla="*/ 61399 w 156859"/>
              <a:gd name="connsiteY64" fmla="*/ 39887 h 89634"/>
              <a:gd name="connsiteX65" fmla="*/ 68122 w 156859"/>
              <a:gd name="connsiteY65" fmla="*/ 12549 h 89634"/>
              <a:gd name="connsiteX66" fmla="*/ 78878 w 156859"/>
              <a:gd name="connsiteY66" fmla="*/ 4034 h 89634"/>
              <a:gd name="connsiteX67" fmla="*/ 79774 w 156859"/>
              <a:gd name="connsiteY67" fmla="*/ 4034 h 89634"/>
              <a:gd name="connsiteX68" fmla="*/ 79774 w 156859"/>
              <a:gd name="connsiteY68" fmla="*/ 34509 h 89634"/>
              <a:gd name="connsiteX69" fmla="*/ 82015 w 156859"/>
              <a:gd name="connsiteY69" fmla="*/ 36750 h 89634"/>
              <a:gd name="connsiteX70" fmla="*/ 106216 w 156859"/>
              <a:gd name="connsiteY70" fmla="*/ 37198 h 89634"/>
              <a:gd name="connsiteX71" fmla="*/ 106216 w 156859"/>
              <a:gd name="connsiteY71" fmla="*/ 72604 h 89634"/>
              <a:gd name="connsiteX72" fmla="*/ 89634 w 156859"/>
              <a:gd name="connsiteY72" fmla="*/ 72604 h 89634"/>
              <a:gd name="connsiteX73" fmla="*/ 90978 w 156859"/>
              <a:gd name="connsiteY73" fmla="*/ 64985 h 89634"/>
              <a:gd name="connsiteX74" fmla="*/ 65433 w 156859"/>
              <a:gd name="connsiteY74" fmla="*/ 39439 h 89634"/>
              <a:gd name="connsiteX75" fmla="*/ 143863 w 156859"/>
              <a:gd name="connsiteY75" fmla="*/ 86049 h 89634"/>
              <a:gd name="connsiteX76" fmla="*/ 131314 w 156859"/>
              <a:gd name="connsiteY76" fmla="*/ 73500 h 89634"/>
              <a:gd name="connsiteX77" fmla="*/ 143863 w 156859"/>
              <a:gd name="connsiteY77" fmla="*/ 60951 h 89634"/>
              <a:gd name="connsiteX78" fmla="*/ 156412 w 156859"/>
              <a:gd name="connsiteY78" fmla="*/ 73500 h 89634"/>
              <a:gd name="connsiteX79" fmla="*/ 143863 w 156859"/>
              <a:gd name="connsiteY79" fmla="*/ 86049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6859" h="89634">
                <a:moveTo>
                  <a:pt x="151033" y="57814"/>
                </a:moveTo>
                <a:lnTo>
                  <a:pt x="151033" y="47058"/>
                </a:lnTo>
                <a:cubicBezTo>
                  <a:pt x="151033" y="41232"/>
                  <a:pt x="146552" y="35854"/>
                  <a:pt x="140726" y="34958"/>
                </a:cubicBezTo>
                <a:cubicBezTo>
                  <a:pt x="135347" y="34061"/>
                  <a:pt x="129969" y="33613"/>
                  <a:pt x="124143" y="33165"/>
                </a:cubicBezTo>
                <a:lnTo>
                  <a:pt x="124143" y="25097"/>
                </a:lnTo>
                <a:cubicBezTo>
                  <a:pt x="124143" y="22857"/>
                  <a:pt x="125936" y="20616"/>
                  <a:pt x="128625" y="20616"/>
                </a:cubicBezTo>
                <a:cubicBezTo>
                  <a:pt x="129969" y="20616"/>
                  <a:pt x="130866" y="19720"/>
                  <a:pt x="130866" y="18375"/>
                </a:cubicBezTo>
                <a:cubicBezTo>
                  <a:pt x="130866" y="17031"/>
                  <a:pt x="129969" y="16134"/>
                  <a:pt x="128625" y="16134"/>
                </a:cubicBezTo>
                <a:cubicBezTo>
                  <a:pt x="123695" y="16134"/>
                  <a:pt x="119661" y="20168"/>
                  <a:pt x="119661" y="25097"/>
                </a:cubicBezTo>
                <a:lnTo>
                  <a:pt x="119661" y="33165"/>
                </a:lnTo>
                <a:cubicBezTo>
                  <a:pt x="118765" y="33165"/>
                  <a:pt x="117869" y="33165"/>
                  <a:pt x="116973" y="33165"/>
                </a:cubicBezTo>
                <a:lnTo>
                  <a:pt x="110698" y="33165"/>
                </a:lnTo>
                <a:lnTo>
                  <a:pt x="108009" y="4482"/>
                </a:lnTo>
                <a:lnTo>
                  <a:pt x="115628" y="4482"/>
                </a:lnTo>
                <a:cubicBezTo>
                  <a:pt x="116973" y="4482"/>
                  <a:pt x="117869" y="3586"/>
                  <a:pt x="117869" y="2241"/>
                </a:cubicBezTo>
                <a:cubicBezTo>
                  <a:pt x="117869" y="897"/>
                  <a:pt x="116973" y="0"/>
                  <a:pt x="115628" y="0"/>
                </a:cubicBezTo>
                <a:lnTo>
                  <a:pt x="79326" y="0"/>
                </a:lnTo>
                <a:cubicBezTo>
                  <a:pt x="72156" y="0"/>
                  <a:pt x="65881" y="4930"/>
                  <a:pt x="64088" y="11652"/>
                </a:cubicBezTo>
                <a:lnTo>
                  <a:pt x="56470" y="41232"/>
                </a:lnTo>
                <a:cubicBezTo>
                  <a:pt x="46610" y="44817"/>
                  <a:pt x="39887" y="54228"/>
                  <a:pt x="39887" y="64985"/>
                </a:cubicBezTo>
                <a:cubicBezTo>
                  <a:pt x="39887" y="65433"/>
                  <a:pt x="39887" y="65881"/>
                  <a:pt x="39887" y="65881"/>
                </a:cubicBezTo>
                <a:lnTo>
                  <a:pt x="2241" y="65881"/>
                </a:lnTo>
                <a:cubicBezTo>
                  <a:pt x="896" y="65881"/>
                  <a:pt x="0" y="66777"/>
                  <a:pt x="0" y="68122"/>
                </a:cubicBezTo>
                <a:cubicBezTo>
                  <a:pt x="0" y="69466"/>
                  <a:pt x="896" y="70363"/>
                  <a:pt x="2241" y="70363"/>
                </a:cubicBezTo>
                <a:lnTo>
                  <a:pt x="10308" y="70363"/>
                </a:lnTo>
                <a:cubicBezTo>
                  <a:pt x="10756" y="77086"/>
                  <a:pt x="12549" y="83808"/>
                  <a:pt x="16582" y="89186"/>
                </a:cubicBezTo>
                <a:cubicBezTo>
                  <a:pt x="17030" y="89634"/>
                  <a:pt x="17927" y="90082"/>
                  <a:pt x="18375" y="90082"/>
                </a:cubicBezTo>
                <a:cubicBezTo>
                  <a:pt x="18823" y="90082"/>
                  <a:pt x="19271" y="90082"/>
                  <a:pt x="19720" y="89634"/>
                </a:cubicBezTo>
                <a:cubicBezTo>
                  <a:pt x="20616" y="88738"/>
                  <a:pt x="21064" y="87393"/>
                  <a:pt x="20168" y="86497"/>
                </a:cubicBezTo>
                <a:cubicBezTo>
                  <a:pt x="17030" y="81567"/>
                  <a:pt x="15238" y="75741"/>
                  <a:pt x="14790" y="69914"/>
                </a:cubicBezTo>
                <a:lnTo>
                  <a:pt x="23753" y="69914"/>
                </a:lnTo>
                <a:cubicBezTo>
                  <a:pt x="24201" y="76637"/>
                  <a:pt x="25994" y="83360"/>
                  <a:pt x="30027" y="88738"/>
                </a:cubicBezTo>
                <a:cubicBezTo>
                  <a:pt x="30476" y="89186"/>
                  <a:pt x="31372" y="89634"/>
                  <a:pt x="31820" y="89634"/>
                </a:cubicBezTo>
                <a:cubicBezTo>
                  <a:pt x="32268" y="89634"/>
                  <a:pt x="32716" y="89634"/>
                  <a:pt x="33165" y="89186"/>
                </a:cubicBezTo>
                <a:cubicBezTo>
                  <a:pt x="34061" y="88290"/>
                  <a:pt x="34509" y="86945"/>
                  <a:pt x="33613" y="86049"/>
                </a:cubicBezTo>
                <a:cubicBezTo>
                  <a:pt x="30476" y="81119"/>
                  <a:pt x="28683" y="75293"/>
                  <a:pt x="28235" y="69466"/>
                </a:cubicBezTo>
                <a:lnTo>
                  <a:pt x="40784" y="69466"/>
                </a:lnTo>
                <a:cubicBezTo>
                  <a:pt x="43473" y="80671"/>
                  <a:pt x="53332" y="89634"/>
                  <a:pt x="65881" y="89634"/>
                </a:cubicBezTo>
                <a:cubicBezTo>
                  <a:pt x="75741" y="89634"/>
                  <a:pt x="84256" y="84256"/>
                  <a:pt x="88290" y="76189"/>
                </a:cubicBezTo>
                <a:cubicBezTo>
                  <a:pt x="88738" y="76189"/>
                  <a:pt x="88738" y="76189"/>
                  <a:pt x="89186" y="76189"/>
                </a:cubicBezTo>
                <a:lnTo>
                  <a:pt x="127280" y="76189"/>
                </a:lnTo>
                <a:cubicBezTo>
                  <a:pt x="129073" y="83808"/>
                  <a:pt x="135796" y="89634"/>
                  <a:pt x="143863" y="89634"/>
                </a:cubicBezTo>
                <a:cubicBezTo>
                  <a:pt x="153274" y="89634"/>
                  <a:pt x="160893" y="82015"/>
                  <a:pt x="160893" y="72604"/>
                </a:cubicBezTo>
                <a:cubicBezTo>
                  <a:pt x="160893" y="66329"/>
                  <a:pt x="156860" y="60503"/>
                  <a:pt x="151033" y="57814"/>
                </a:cubicBezTo>
                <a:close/>
                <a:moveTo>
                  <a:pt x="139829" y="38991"/>
                </a:moveTo>
                <a:cubicBezTo>
                  <a:pt x="143414" y="39439"/>
                  <a:pt x="146104" y="43024"/>
                  <a:pt x="146104" y="46610"/>
                </a:cubicBezTo>
                <a:lnTo>
                  <a:pt x="146104" y="56021"/>
                </a:lnTo>
                <a:cubicBezTo>
                  <a:pt x="145207" y="56021"/>
                  <a:pt x="144311" y="55573"/>
                  <a:pt x="143414" y="55573"/>
                </a:cubicBezTo>
                <a:cubicBezTo>
                  <a:pt x="134003" y="55573"/>
                  <a:pt x="126384" y="63192"/>
                  <a:pt x="126384" y="72155"/>
                </a:cubicBezTo>
                <a:lnTo>
                  <a:pt x="110698" y="72155"/>
                </a:lnTo>
                <a:lnTo>
                  <a:pt x="110698" y="36750"/>
                </a:lnTo>
                <a:lnTo>
                  <a:pt x="116524" y="36750"/>
                </a:lnTo>
                <a:cubicBezTo>
                  <a:pt x="124591" y="37198"/>
                  <a:pt x="132210" y="37646"/>
                  <a:pt x="139829" y="38991"/>
                </a:cubicBezTo>
                <a:close/>
                <a:moveTo>
                  <a:pt x="106216" y="32717"/>
                </a:moveTo>
                <a:lnTo>
                  <a:pt x="84256" y="32269"/>
                </a:lnTo>
                <a:lnTo>
                  <a:pt x="84256" y="4034"/>
                </a:lnTo>
                <a:lnTo>
                  <a:pt x="103079" y="4034"/>
                </a:lnTo>
                <a:lnTo>
                  <a:pt x="106216" y="32717"/>
                </a:lnTo>
                <a:close/>
                <a:moveTo>
                  <a:pt x="65433" y="86049"/>
                </a:moveTo>
                <a:cubicBezTo>
                  <a:pt x="53780" y="86049"/>
                  <a:pt x="44369" y="76637"/>
                  <a:pt x="44369" y="64985"/>
                </a:cubicBezTo>
                <a:cubicBezTo>
                  <a:pt x="44369" y="53332"/>
                  <a:pt x="53780" y="43921"/>
                  <a:pt x="65433" y="43921"/>
                </a:cubicBezTo>
                <a:cubicBezTo>
                  <a:pt x="77085" y="43921"/>
                  <a:pt x="86497" y="53332"/>
                  <a:pt x="86497" y="64985"/>
                </a:cubicBezTo>
                <a:cubicBezTo>
                  <a:pt x="86497" y="76637"/>
                  <a:pt x="77085" y="86049"/>
                  <a:pt x="65433" y="86049"/>
                </a:cubicBezTo>
                <a:close/>
                <a:moveTo>
                  <a:pt x="65433" y="39439"/>
                </a:moveTo>
                <a:cubicBezTo>
                  <a:pt x="64088" y="39439"/>
                  <a:pt x="62744" y="39439"/>
                  <a:pt x="61399" y="39887"/>
                </a:cubicBezTo>
                <a:lnTo>
                  <a:pt x="68122" y="12549"/>
                </a:lnTo>
                <a:cubicBezTo>
                  <a:pt x="69466" y="7619"/>
                  <a:pt x="73948" y="4034"/>
                  <a:pt x="78878" y="4034"/>
                </a:cubicBezTo>
                <a:lnTo>
                  <a:pt x="79774" y="4034"/>
                </a:lnTo>
                <a:lnTo>
                  <a:pt x="79774" y="34509"/>
                </a:lnTo>
                <a:cubicBezTo>
                  <a:pt x="79774" y="35854"/>
                  <a:pt x="80671" y="36750"/>
                  <a:pt x="82015" y="36750"/>
                </a:cubicBezTo>
                <a:lnTo>
                  <a:pt x="106216" y="37198"/>
                </a:lnTo>
                <a:lnTo>
                  <a:pt x="106216" y="72604"/>
                </a:lnTo>
                <a:lnTo>
                  <a:pt x="89634" y="72604"/>
                </a:lnTo>
                <a:cubicBezTo>
                  <a:pt x="90530" y="70363"/>
                  <a:pt x="90978" y="67674"/>
                  <a:pt x="90978" y="64985"/>
                </a:cubicBezTo>
                <a:cubicBezTo>
                  <a:pt x="90978" y="50643"/>
                  <a:pt x="79774" y="39439"/>
                  <a:pt x="65433" y="39439"/>
                </a:cubicBezTo>
                <a:close/>
                <a:moveTo>
                  <a:pt x="143863" y="86049"/>
                </a:moveTo>
                <a:cubicBezTo>
                  <a:pt x="136692" y="86049"/>
                  <a:pt x="131314" y="80223"/>
                  <a:pt x="131314" y="73500"/>
                </a:cubicBezTo>
                <a:cubicBezTo>
                  <a:pt x="131314" y="66777"/>
                  <a:pt x="137140" y="60951"/>
                  <a:pt x="143863" y="60951"/>
                </a:cubicBezTo>
                <a:cubicBezTo>
                  <a:pt x="151033" y="60951"/>
                  <a:pt x="156412" y="66777"/>
                  <a:pt x="156412" y="73500"/>
                </a:cubicBezTo>
                <a:cubicBezTo>
                  <a:pt x="156412" y="80223"/>
                  <a:pt x="150585" y="86049"/>
                  <a:pt x="143863" y="86049"/>
                </a:cubicBezTo>
                <a:close/>
              </a:path>
            </a:pathLst>
          </a:custGeom>
          <a:solidFill>
            <a:srgbClr val="231F20"/>
          </a:solidFill>
          <a:ln w="4477" cap="flat">
            <a:noFill/>
            <a:prstDash val="solid"/>
            <a:miter/>
          </a:ln>
        </p:spPr>
        <p:txBody>
          <a:bodyPr rtlCol="0" anchor="ctr"/>
          <a:lstStyle/>
          <a:p>
            <a:endParaRPr lang="en-US"/>
          </a:p>
        </p:txBody>
      </p:sp>
      <p:grpSp>
        <p:nvGrpSpPr>
          <p:cNvPr id="3811" name="Group 3810">
            <a:extLst>
              <a:ext uri="{FF2B5EF4-FFF2-40B4-BE49-F238E27FC236}">
                <a16:creationId xmlns:a16="http://schemas.microsoft.com/office/drawing/2014/main" id="{37017222-328B-4C3D-A033-0402CEA3D0F4}"/>
              </a:ext>
              <a:ext uri="{C183D7F6-B498-43B3-948B-1728B52AA6E4}">
                <adec:decorative xmlns:adec="http://schemas.microsoft.com/office/drawing/2017/decorative" val="1"/>
              </a:ext>
            </a:extLst>
          </p:cNvPr>
          <p:cNvGrpSpPr>
            <a:grpSpLocks noChangeAspect="1"/>
          </p:cNvGrpSpPr>
          <p:nvPr/>
        </p:nvGrpSpPr>
        <p:grpSpPr>
          <a:xfrm>
            <a:off x="4265573" y="3142796"/>
            <a:ext cx="156860" cy="112043"/>
            <a:chOff x="10167199" y="5989332"/>
            <a:chExt cx="156860" cy="112043"/>
          </a:xfrm>
        </p:grpSpPr>
        <p:sp>
          <p:nvSpPr>
            <p:cNvPr id="3812" name="Freeform: Shape 3811">
              <a:extLst>
                <a:ext uri="{FF2B5EF4-FFF2-40B4-BE49-F238E27FC236}">
                  <a16:creationId xmlns:a16="http://schemas.microsoft.com/office/drawing/2014/main" id="{EC659807-EDF2-4F0C-8D88-7EC8D6A6946C}"/>
                </a:ext>
              </a:extLst>
            </p:cNvPr>
            <p:cNvSpPr/>
            <p:nvPr/>
          </p:nvSpPr>
          <p:spPr>
            <a:xfrm>
              <a:off x="10167199" y="5989332"/>
              <a:ext cx="156860" cy="112043"/>
            </a:xfrm>
            <a:custGeom>
              <a:avLst/>
              <a:gdLst>
                <a:gd name="connsiteX0" fmla="*/ 157308 w 156859"/>
                <a:gd name="connsiteY0" fmla="*/ 0 h 112042"/>
                <a:gd name="connsiteX1" fmla="*/ 130418 w 156859"/>
                <a:gd name="connsiteY1" fmla="*/ 0 h 112042"/>
                <a:gd name="connsiteX2" fmla="*/ 128177 w 156859"/>
                <a:gd name="connsiteY2" fmla="*/ 2241 h 112042"/>
                <a:gd name="connsiteX3" fmla="*/ 128177 w 156859"/>
                <a:gd name="connsiteY3" fmla="*/ 18375 h 112042"/>
                <a:gd name="connsiteX4" fmla="*/ 119213 w 156859"/>
                <a:gd name="connsiteY4" fmla="*/ 18375 h 112042"/>
                <a:gd name="connsiteX5" fmla="*/ 119213 w 156859"/>
                <a:gd name="connsiteY5" fmla="*/ 4034 h 112042"/>
                <a:gd name="connsiteX6" fmla="*/ 116973 w 156859"/>
                <a:gd name="connsiteY6" fmla="*/ 1793 h 112042"/>
                <a:gd name="connsiteX7" fmla="*/ 114732 w 156859"/>
                <a:gd name="connsiteY7" fmla="*/ 4034 h 112042"/>
                <a:gd name="connsiteX8" fmla="*/ 114732 w 156859"/>
                <a:gd name="connsiteY8" fmla="*/ 18375 h 112042"/>
                <a:gd name="connsiteX9" fmla="*/ 96805 w 156859"/>
                <a:gd name="connsiteY9" fmla="*/ 18375 h 112042"/>
                <a:gd name="connsiteX10" fmla="*/ 94564 w 156859"/>
                <a:gd name="connsiteY10" fmla="*/ 20168 h 112042"/>
                <a:gd name="connsiteX11" fmla="*/ 81567 w 156859"/>
                <a:gd name="connsiteY11" fmla="*/ 62296 h 112042"/>
                <a:gd name="connsiteX12" fmla="*/ 71707 w 156859"/>
                <a:gd name="connsiteY12" fmla="*/ 62296 h 112042"/>
                <a:gd name="connsiteX13" fmla="*/ 66777 w 156859"/>
                <a:gd name="connsiteY13" fmla="*/ 38543 h 112042"/>
                <a:gd name="connsiteX14" fmla="*/ 54677 w 156859"/>
                <a:gd name="connsiteY14" fmla="*/ 28683 h 112042"/>
                <a:gd name="connsiteX15" fmla="*/ 25994 w 156859"/>
                <a:gd name="connsiteY15" fmla="*/ 28683 h 112042"/>
                <a:gd name="connsiteX16" fmla="*/ 25994 w 156859"/>
                <a:gd name="connsiteY16" fmla="*/ 28683 h 112042"/>
                <a:gd name="connsiteX17" fmla="*/ 25546 w 156859"/>
                <a:gd name="connsiteY17" fmla="*/ 28683 h 112042"/>
                <a:gd name="connsiteX18" fmla="*/ 25098 w 156859"/>
                <a:gd name="connsiteY18" fmla="*/ 28683 h 112042"/>
                <a:gd name="connsiteX19" fmla="*/ 24649 w 156859"/>
                <a:gd name="connsiteY19" fmla="*/ 29131 h 112042"/>
                <a:gd name="connsiteX20" fmla="*/ 24201 w 156859"/>
                <a:gd name="connsiteY20" fmla="*/ 29579 h 112042"/>
                <a:gd name="connsiteX21" fmla="*/ 23753 w 156859"/>
                <a:gd name="connsiteY21" fmla="*/ 30027 h 112042"/>
                <a:gd name="connsiteX22" fmla="*/ 23753 w 156859"/>
                <a:gd name="connsiteY22" fmla="*/ 30476 h 112042"/>
                <a:gd name="connsiteX23" fmla="*/ 23753 w 156859"/>
                <a:gd name="connsiteY23" fmla="*/ 30476 h 112042"/>
                <a:gd name="connsiteX24" fmla="*/ 14790 w 156859"/>
                <a:gd name="connsiteY24" fmla="*/ 70363 h 112042"/>
                <a:gd name="connsiteX25" fmla="*/ 0 w 156859"/>
                <a:gd name="connsiteY25" fmla="*/ 91427 h 112042"/>
                <a:gd name="connsiteX26" fmla="*/ 22409 w 156859"/>
                <a:gd name="connsiteY26" fmla="*/ 113835 h 112042"/>
                <a:gd name="connsiteX27" fmla="*/ 41232 w 156859"/>
                <a:gd name="connsiteY27" fmla="*/ 103975 h 112042"/>
                <a:gd name="connsiteX28" fmla="*/ 78878 w 156859"/>
                <a:gd name="connsiteY28" fmla="*/ 103975 h 112042"/>
                <a:gd name="connsiteX29" fmla="*/ 94564 w 156859"/>
                <a:gd name="connsiteY29" fmla="*/ 113835 h 112042"/>
                <a:gd name="connsiteX30" fmla="*/ 112043 w 156859"/>
                <a:gd name="connsiteY30" fmla="*/ 96357 h 112042"/>
                <a:gd name="connsiteX31" fmla="*/ 108457 w 156859"/>
                <a:gd name="connsiteY31" fmla="*/ 86048 h 112042"/>
                <a:gd name="connsiteX32" fmla="*/ 108457 w 156859"/>
                <a:gd name="connsiteY32" fmla="*/ 70811 h 112042"/>
                <a:gd name="connsiteX33" fmla="*/ 99494 w 156859"/>
                <a:gd name="connsiteY33" fmla="*/ 61848 h 112042"/>
                <a:gd name="connsiteX34" fmla="*/ 85601 w 156859"/>
                <a:gd name="connsiteY34" fmla="*/ 61848 h 112042"/>
                <a:gd name="connsiteX35" fmla="*/ 97701 w 156859"/>
                <a:gd name="connsiteY35" fmla="*/ 22857 h 112042"/>
                <a:gd name="connsiteX36" fmla="*/ 127280 w 156859"/>
                <a:gd name="connsiteY36" fmla="*/ 22857 h 112042"/>
                <a:gd name="connsiteX37" fmla="*/ 127280 w 156859"/>
                <a:gd name="connsiteY37" fmla="*/ 35854 h 112042"/>
                <a:gd name="connsiteX38" fmla="*/ 129521 w 156859"/>
                <a:gd name="connsiteY38" fmla="*/ 38094 h 112042"/>
                <a:gd name="connsiteX39" fmla="*/ 154171 w 156859"/>
                <a:gd name="connsiteY39" fmla="*/ 38094 h 112042"/>
                <a:gd name="connsiteX40" fmla="*/ 154171 w 156859"/>
                <a:gd name="connsiteY40" fmla="*/ 52436 h 112042"/>
                <a:gd name="connsiteX41" fmla="*/ 156412 w 156859"/>
                <a:gd name="connsiteY41" fmla="*/ 54677 h 112042"/>
                <a:gd name="connsiteX42" fmla="*/ 158652 w 156859"/>
                <a:gd name="connsiteY42" fmla="*/ 52436 h 112042"/>
                <a:gd name="connsiteX43" fmla="*/ 158652 w 156859"/>
                <a:gd name="connsiteY43" fmla="*/ 35854 h 112042"/>
                <a:gd name="connsiteX44" fmla="*/ 158652 w 156859"/>
                <a:gd name="connsiteY44" fmla="*/ 2241 h 112042"/>
                <a:gd name="connsiteX45" fmla="*/ 157308 w 156859"/>
                <a:gd name="connsiteY45" fmla="*/ 0 h 112042"/>
                <a:gd name="connsiteX46" fmla="*/ 27787 w 156859"/>
                <a:gd name="connsiteY46" fmla="*/ 32717 h 112042"/>
                <a:gd name="connsiteX47" fmla="*/ 54677 w 156859"/>
                <a:gd name="connsiteY47" fmla="*/ 32717 h 112042"/>
                <a:gd name="connsiteX48" fmla="*/ 62296 w 156859"/>
                <a:gd name="connsiteY48" fmla="*/ 38991 h 112042"/>
                <a:gd name="connsiteX49" fmla="*/ 67226 w 156859"/>
                <a:gd name="connsiteY49" fmla="*/ 64089 h 112042"/>
                <a:gd name="connsiteX50" fmla="*/ 64088 w 156859"/>
                <a:gd name="connsiteY50" fmla="*/ 85152 h 112042"/>
                <a:gd name="connsiteX51" fmla="*/ 43921 w 156859"/>
                <a:gd name="connsiteY51" fmla="*/ 85152 h 112042"/>
                <a:gd name="connsiteX52" fmla="*/ 22409 w 156859"/>
                <a:gd name="connsiteY52" fmla="*/ 68570 h 112042"/>
                <a:gd name="connsiteX53" fmla="*/ 19720 w 156859"/>
                <a:gd name="connsiteY53" fmla="*/ 69018 h 112042"/>
                <a:gd name="connsiteX54" fmla="*/ 27787 w 156859"/>
                <a:gd name="connsiteY54" fmla="*/ 32717 h 112042"/>
                <a:gd name="connsiteX55" fmla="*/ 22857 w 156859"/>
                <a:gd name="connsiteY55" fmla="*/ 108906 h 112042"/>
                <a:gd name="connsiteX56" fmla="*/ 4930 w 156859"/>
                <a:gd name="connsiteY56" fmla="*/ 90979 h 112042"/>
                <a:gd name="connsiteX57" fmla="*/ 22857 w 156859"/>
                <a:gd name="connsiteY57" fmla="*/ 73052 h 112042"/>
                <a:gd name="connsiteX58" fmla="*/ 40784 w 156859"/>
                <a:gd name="connsiteY58" fmla="*/ 90979 h 112042"/>
                <a:gd name="connsiteX59" fmla="*/ 22857 w 156859"/>
                <a:gd name="connsiteY59" fmla="*/ 108906 h 112042"/>
                <a:gd name="connsiteX60" fmla="*/ 95012 w 156859"/>
                <a:gd name="connsiteY60" fmla="*/ 108906 h 112042"/>
                <a:gd name="connsiteX61" fmla="*/ 82015 w 156859"/>
                <a:gd name="connsiteY61" fmla="*/ 95909 h 112042"/>
                <a:gd name="connsiteX62" fmla="*/ 95012 w 156859"/>
                <a:gd name="connsiteY62" fmla="*/ 82912 h 112042"/>
                <a:gd name="connsiteX63" fmla="*/ 108009 w 156859"/>
                <a:gd name="connsiteY63" fmla="*/ 95909 h 112042"/>
                <a:gd name="connsiteX64" fmla="*/ 95012 w 156859"/>
                <a:gd name="connsiteY64" fmla="*/ 108906 h 112042"/>
                <a:gd name="connsiteX65" fmla="*/ 99942 w 156859"/>
                <a:gd name="connsiteY65" fmla="*/ 66329 h 112042"/>
                <a:gd name="connsiteX66" fmla="*/ 104424 w 156859"/>
                <a:gd name="connsiteY66" fmla="*/ 70811 h 112042"/>
                <a:gd name="connsiteX67" fmla="*/ 104424 w 156859"/>
                <a:gd name="connsiteY67" fmla="*/ 81567 h 112042"/>
                <a:gd name="connsiteX68" fmla="*/ 95012 w 156859"/>
                <a:gd name="connsiteY68" fmla="*/ 78878 h 112042"/>
                <a:gd name="connsiteX69" fmla="*/ 77533 w 156859"/>
                <a:gd name="connsiteY69" fmla="*/ 96357 h 112042"/>
                <a:gd name="connsiteX70" fmla="*/ 77982 w 156859"/>
                <a:gd name="connsiteY70" fmla="*/ 99046 h 112042"/>
                <a:gd name="connsiteX71" fmla="*/ 43921 w 156859"/>
                <a:gd name="connsiteY71" fmla="*/ 99046 h 112042"/>
                <a:gd name="connsiteX72" fmla="*/ 45265 w 156859"/>
                <a:gd name="connsiteY72" fmla="*/ 91427 h 112042"/>
                <a:gd name="connsiteX73" fmla="*/ 45265 w 156859"/>
                <a:gd name="connsiteY73" fmla="*/ 90082 h 112042"/>
                <a:gd name="connsiteX74" fmla="*/ 66777 w 156859"/>
                <a:gd name="connsiteY74" fmla="*/ 90082 h 112042"/>
                <a:gd name="connsiteX75" fmla="*/ 69018 w 156859"/>
                <a:gd name="connsiteY75" fmla="*/ 88289 h 112042"/>
                <a:gd name="connsiteX76" fmla="*/ 72156 w 156859"/>
                <a:gd name="connsiteY76" fmla="*/ 66777 h 112042"/>
                <a:gd name="connsiteX77" fmla="*/ 80223 w 156859"/>
                <a:gd name="connsiteY77" fmla="*/ 66777 h 112042"/>
                <a:gd name="connsiteX78" fmla="*/ 77982 w 156859"/>
                <a:gd name="connsiteY78" fmla="*/ 73948 h 112042"/>
                <a:gd name="connsiteX79" fmla="*/ 79326 w 156859"/>
                <a:gd name="connsiteY79" fmla="*/ 76637 h 112042"/>
                <a:gd name="connsiteX80" fmla="*/ 79774 w 156859"/>
                <a:gd name="connsiteY80" fmla="*/ 76637 h 112042"/>
                <a:gd name="connsiteX81" fmla="*/ 82015 w 156859"/>
                <a:gd name="connsiteY81" fmla="*/ 74844 h 112042"/>
                <a:gd name="connsiteX82" fmla="*/ 84704 w 156859"/>
                <a:gd name="connsiteY82" fmla="*/ 66329 h 112042"/>
                <a:gd name="connsiteX83" fmla="*/ 99942 w 156859"/>
                <a:gd name="connsiteY83" fmla="*/ 66329 h 112042"/>
                <a:gd name="connsiteX84" fmla="*/ 132659 w 156859"/>
                <a:gd name="connsiteY84" fmla="*/ 4482 h 112042"/>
                <a:gd name="connsiteX85" fmla="*/ 155067 w 156859"/>
                <a:gd name="connsiteY85" fmla="*/ 4482 h 112042"/>
                <a:gd name="connsiteX86" fmla="*/ 155067 w 156859"/>
                <a:gd name="connsiteY86" fmla="*/ 20168 h 112042"/>
                <a:gd name="connsiteX87" fmla="*/ 140726 w 156859"/>
                <a:gd name="connsiteY87" fmla="*/ 20168 h 112042"/>
                <a:gd name="connsiteX88" fmla="*/ 138485 w 156859"/>
                <a:gd name="connsiteY88" fmla="*/ 22409 h 112042"/>
                <a:gd name="connsiteX89" fmla="*/ 140726 w 156859"/>
                <a:gd name="connsiteY89" fmla="*/ 24649 h 112042"/>
                <a:gd name="connsiteX90" fmla="*/ 155067 w 156859"/>
                <a:gd name="connsiteY90" fmla="*/ 24649 h 112042"/>
                <a:gd name="connsiteX91" fmla="*/ 155067 w 156859"/>
                <a:gd name="connsiteY91" fmla="*/ 33613 h 112042"/>
                <a:gd name="connsiteX92" fmla="*/ 132659 w 156859"/>
                <a:gd name="connsiteY92" fmla="*/ 33613 h 112042"/>
                <a:gd name="connsiteX93" fmla="*/ 132659 w 156859"/>
                <a:gd name="connsiteY93" fmla="*/ 4482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6859" h="112042">
                  <a:moveTo>
                    <a:pt x="157308" y="0"/>
                  </a:moveTo>
                  <a:lnTo>
                    <a:pt x="130418" y="0"/>
                  </a:lnTo>
                  <a:cubicBezTo>
                    <a:pt x="129073" y="0"/>
                    <a:pt x="128177" y="896"/>
                    <a:pt x="128177" y="2241"/>
                  </a:cubicBezTo>
                  <a:lnTo>
                    <a:pt x="128177" y="18375"/>
                  </a:lnTo>
                  <a:lnTo>
                    <a:pt x="119213" y="18375"/>
                  </a:lnTo>
                  <a:lnTo>
                    <a:pt x="119213" y="4034"/>
                  </a:lnTo>
                  <a:cubicBezTo>
                    <a:pt x="119213" y="2689"/>
                    <a:pt x="118317" y="1793"/>
                    <a:pt x="116973" y="1793"/>
                  </a:cubicBezTo>
                  <a:cubicBezTo>
                    <a:pt x="115628" y="1793"/>
                    <a:pt x="114732" y="2689"/>
                    <a:pt x="114732" y="4034"/>
                  </a:cubicBezTo>
                  <a:lnTo>
                    <a:pt x="114732" y="18375"/>
                  </a:lnTo>
                  <a:lnTo>
                    <a:pt x="96805" y="18375"/>
                  </a:lnTo>
                  <a:cubicBezTo>
                    <a:pt x="95909" y="18375"/>
                    <a:pt x="95012" y="18823"/>
                    <a:pt x="94564" y="20168"/>
                  </a:cubicBezTo>
                  <a:lnTo>
                    <a:pt x="81567" y="62296"/>
                  </a:lnTo>
                  <a:lnTo>
                    <a:pt x="71707" y="62296"/>
                  </a:lnTo>
                  <a:lnTo>
                    <a:pt x="66777" y="38543"/>
                  </a:lnTo>
                  <a:cubicBezTo>
                    <a:pt x="65433" y="32717"/>
                    <a:pt x="60503" y="28683"/>
                    <a:pt x="54677" y="28683"/>
                  </a:cubicBezTo>
                  <a:lnTo>
                    <a:pt x="25994" y="28683"/>
                  </a:lnTo>
                  <a:cubicBezTo>
                    <a:pt x="25994" y="28683"/>
                    <a:pt x="25994" y="28683"/>
                    <a:pt x="25994" y="28683"/>
                  </a:cubicBezTo>
                  <a:cubicBezTo>
                    <a:pt x="25994" y="28683"/>
                    <a:pt x="25546" y="28683"/>
                    <a:pt x="25546" y="28683"/>
                  </a:cubicBezTo>
                  <a:cubicBezTo>
                    <a:pt x="25546" y="28683"/>
                    <a:pt x="25098" y="28683"/>
                    <a:pt x="25098" y="28683"/>
                  </a:cubicBezTo>
                  <a:cubicBezTo>
                    <a:pt x="25098" y="28683"/>
                    <a:pt x="24649" y="28683"/>
                    <a:pt x="24649" y="29131"/>
                  </a:cubicBezTo>
                  <a:cubicBezTo>
                    <a:pt x="24649" y="29131"/>
                    <a:pt x="24649" y="29131"/>
                    <a:pt x="24201" y="29579"/>
                  </a:cubicBezTo>
                  <a:cubicBezTo>
                    <a:pt x="24201" y="29579"/>
                    <a:pt x="24201" y="29579"/>
                    <a:pt x="23753" y="30027"/>
                  </a:cubicBezTo>
                  <a:cubicBezTo>
                    <a:pt x="23753" y="30027"/>
                    <a:pt x="23753" y="30476"/>
                    <a:pt x="23753" y="30476"/>
                  </a:cubicBezTo>
                  <a:cubicBezTo>
                    <a:pt x="23753" y="30476"/>
                    <a:pt x="23753" y="30476"/>
                    <a:pt x="23753" y="30476"/>
                  </a:cubicBezTo>
                  <a:lnTo>
                    <a:pt x="14790" y="70363"/>
                  </a:lnTo>
                  <a:cubicBezTo>
                    <a:pt x="6274" y="73500"/>
                    <a:pt x="0" y="81567"/>
                    <a:pt x="0" y="91427"/>
                  </a:cubicBezTo>
                  <a:cubicBezTo>
                    <a:pt x="0" y="103975"/>
                    <a:pt x="9860" y="113835"/>
                    <a:pt x="22409" y="113835"/>
                  </a:cubicBezTo>
                  <a:cubicBezTo>
                    <a:pt x="30027" y="113835"/>
                    <a:pt x="37198" y="109802"/>
                    <a:pt x="41232" y="103975"/>
                  </a:cubicBezTo>
                  <a:lnTo>
                    <a:pt x="78878" y="103975"/>
                  </a:lnTo>
                  <a:cubicBezTo>
                    <a:pt x="81567" y="109802"/>
                    <a:pt x="87842" y="113835"/>
                    <a:pt x="94564" y="113835"/>
                  </a:cubicBezTo>
                  <a:cubicBezTo>
                    <a:pt x="103976" y="113835"/>
                    <a:pt x="112043" y="106216"/>
                    <a:pt x="112043" y="96357"/>
                  </a:cubicBezTo>
                  <a:cubicBezTo>
                    <a:pt x="112043" y="92323"/>
                    <a:pt x="110698" y="89186"/>
                    <a:pt x="108457" y="86048"/>
                  </a:cubicBezTo>
                  <a:lnTo>
                    <a:pt x="108457" y="70811"/>
                  </a:lnTo>
                  <a:cubicBezTo>
                    <a:pt x="108457" y="65881"/>
                    <a:pt x="104424" y="61848"/>
                    <a:pt x="99494" y="61848"/>
                  </a:cubicBezTo>
                  <a:lnTo>
                    <a:pt x="85601" y="61848"/>
                  </a:lnTo>
                  <a:lnTo>
                    <a:pt x="97701" y="22857"/>
                  </a:lnTo>
                  <a:lnTo>
                    <a:pt x="127280" y="22857"/>
                  </a:lnTo>
                  <a:lnTo>
                    <a:pt x="127280" y="35854"/>
                  </a:lnTo>
                  <a:cubicBezTo>
                    <a:pt x="127280" y="37198"/>
                    <a:pt x="128177" y="38094"/>
                    <a:pt x="129521" y="38094"/>
                  </a:cubicBezTo>
                  <a:lnTo>
                    <a:pt x="154171" y="38094"/>
                  </a:lnTo>
                  <a:lnTo>
                    <a:pt x="154171" y="52436"/>
                  </a:lnTo>
                  <a:cubicBezTo>
                    <a:pt x="154171" y="53780"/>
                    <a:pt x="155067" y="54677"/>
                    <a:pt x="156412" y="54677"/>
                  </a:cubicBezTo>
                  <a:cubicBezTo>
                    <a:pt x="157756" y="54677"/>
                    <a:pt x="158652" y="53780"/>
                    <a:pt x="158652" y="52436"/>
                  </a:cubicBezTo>
                  <a:lnTo>
                    <a:pt x="158652" y="35854"/>
                  </a:lnTo>
                  <a:lnTo>
                    <a:pt x="158652" y="2241"/>
                  </a:lnTo>
                  <a:cubicBezTo>
                    <a:pt x="159549" y="896"/>
                    <a:pt x="158652" y="0"/>
                    <a:pt x="157308" y="0"/>
                  </a:cubicBezTo>
                  <a:close/>
                  <a:moveTo>
                    <a:pt x="27787" y="32717"/>
                  </a:moveTo>
                  <a:lnTo>
                    <a:pt x="54677" y="32717"/>
                  </a:lnTo>
                  <a:cubicBezTo>
                    <a:pt x="58262" y="32717"/>
                    <a:pt x="61847" y="35406"/>
                    <a:pt x="62296" y="38991"/>
                  </a:cubicBezTo>
                  <a:lnTo>
                    <a:pt x="67226" y="64089"/>
                  </a:lnTo>
                  <a:lnTo>
                    <a:pt x="64088" y="85152"/>
                  </a:lnTo>
                  <a:lnTo>
                    <a:pt x="43921" y="85152"/>
                  </a:lnTo>
                  <a:cubicBezTo>
                    <a:pt x="41232" y="75741"/>
                    <a:pt x="32716" y="68570"/>
                    <a:pt x="22409" y="68570"/>
                  </a:cubicBezTo>
                  <a:cubicBezTo>
                    <a:pt x="21512" y="68570"/>
                    <a:pt x="20616" y="68570"/>
                    <a:pt x="19720" y="69018"/>
                  </a:cubicBezTo>
                  <a:lnTo>
                    <a:pt x="27787" y="32717"/>
                  </a:lnTo>
                  <a:close/>
                  <a:moveTo>
                    <a:pt x="22857" y="108906"/>
                  </a:moveTo>
                  <a:cubicBezTo>
                    <a:pt x="12997" y="108906"/>
                    <a:pt x="4930" y="100838"/>
                    <a:pt x="4930" y="90979"/>
                  </a:cubicBezTo>
                  <a:cubicBezTo>
                    <a:pt x="4930" y="81119"/>
                    <a:pt x="12997" y="73052"/>
                    <a:pt x="22857" y="73052"/>
                  </a:cubicBezTo>
                  <a:cubicBezTo>
                    <a:pt x="32716" y="73052"/>
                    <a:pt x="40784" y="81119"/>
                    <a:pt x="40784" y="90979"/>
                  </a:cubicBezTo>
                  <a:cubicBezTo>
                    <a:pt x="40784" y="100838"/>
                    <a:pt x="32716" y="108906"/>
                    <a:pt x="22857" y="108906"/>
                  </a:cubicBezTo>
                  <a:close/>
                  <a:moveTo>
                    <a:pt x="95012" y="108906"/>
                  </a:moveTo>
                  <a:cubicBezTo>
                    <a:pt x="87842" y="108906"/>
                    <a:pt x="82015" y="103079"/>
                    <a:pt x="82015" y="95909"/>
                  </a:cubicBezTo>
                  <a:cubicBezTo>
                    <a:pt x="82015" y="88738"/>
                    <a:pt x="87842" y="82912"/>
                    <a:pt x="95012" y="82912"/>
                  </a:cubicBezTo>
                  <a:cubicBezTo>
                    <a:pt x="102183" y="82912"/>
                    <a:pt x="108009" y="88738"/>
                    <a:pt x="108009" y="95909"/>
                  </a:cubicBezTo>
                  <a:cubicBezTo>
                    <a:pt x="108009" y="103079"/>
                    <a:pt x="102183" y="108906"/>
                    <a:pt x="95012" y="108906"/>
                  </a:cubicBezTo>
                  <a:close/>
                  <a:moveTo>
                    <a:pt x="99942" y="66329"/>
                  </a:moveTo>
                  <a:cubicBezTo>
                    <a:pt x="102631" y="66329"/>
                    <a:pt x="104424" y="68122"/>
                    <a:pt x="104424" y="70811"/>
                  </a:cubicBezTo>
                  <a:lnTo>
                    <a:pt x="104424" y="81567"/>
                  </a:lnTo>
                  <a:cubicBezTo>
                    <a:pt x="101735" y="79775"/>
                    <a:pt x="98597" y="78878"/>
                    <a:pt x="95012" y="78878"/>
                  </a:cubicBezTo>
                  <a:cubicBezTo>
                    <a:pt x="85601" y="78878"/>
                    <a:pt x="77533" y="86497"/>
                    <a:pt x="77533" y="96357"/>
                  </a:cubicBezTo>
                  <a:cubicBezTo>
                    <a:pt x="77533" y="97253"/>
                    <a:pt x="77533" y="98149"/>
                    <a:pt x="77982" y="99046"/>
                  </a:cubicBezTo>
                  <a:lnTo>
                    <a:pt x="43921" y="99046"/>
                  </a:lnTo>
                  <a:cubicBezTo>
                    <a:pt x="44817" y="96805"/>
                    <a:pt x="45265" y="94116"/>
                    <a:pt x="45265" y="91427"/>
                  </a:cubicBezTo>
                  <a:cubicBezTo>
                    <a:pt x="45265" y="90979"/>
                    <a:pt x="45265" y="90530"/>
                    <a:pt x="45265" y="90082"/>
                  </a:cubicBezTo>
                  <a:lnTo>
                    <a:pt x="66777" y="90082"/>
                  </a:lnTo>
                  <a:cubicBezTo>
                    <a:pt x="67674" y="90082"/>
                    <a:pt x="69018" y="89186"/>
                    <a:pt x="69018" y="88289"/>
                  </a:cubicBezTo>
                  <a:lnTo>
                    <a:pt x="72156" y="66777"/>
                  </a:lnTo>
                  <a:lnTo>
                    <a:pt x="80223" y="66777"/>
                  </a:lnTo>
                  <a:lnTo>
                    <a:pt x="77982" y="73948"/>
                  </a:lnTo>
                  <a:cubicBezTo>
                    <a:pt x="77533" y="75293"/>
                    <a:pt x="78430" y="76189"/>
                    <a:pt x="79326" y="76637"/>
                  </a:cubicBezTo>
                  <a:cubicBezTo>
                    <a:pt x="79326" y="76637"/>
                    <a:pt x="79774" y="76637"/>
                    <a:pt x="79774" y="76637"/>
                  </a:cubicBezTo>
                  <a:cubicBezTo>
                    <a:pt x="80671" y="76637"/>
                    <a:pt x="81567" y="76189"/>
                    <a:pt x="82015" y="74844"/>
                  </a:cubicBezTo>
                  <a:lnTo>
                    <a:pt x="84704" y="66329"/>
                  </a:lnTo>
                  <a:lnTo>
                    <a:pt x="99942" y="66329"/>
                  </a:lnTo>
                  <a:close/>
                  <a:moveTo>
                    <a:pt x="132659" y="4482"/>
                  </a:moveTo>
                  <a:lnTo>
                    <a:pt x="155067" y="4482"/>
                  </a:lnTo>
                  <a:lnTo>
                    <a:pt x="155067" y="20168"/>
                  </a:lnTo>
                  <a:lnTo>
                    <a:pt x="140726" y="20168"/>
                  </a:lnTo>
                  <a:cubicBezTo>
                    <a:pt x="139381" y="20168"/>
                    <a:pt x="138485" y="21064"/>
                    <a:pt x="138485" y="22409"/>
                  </a:cubicBezTo>
                  <a:cubicBezTo>
                    <a:pt x="138485" y="23753"/>
                    <a:pt x="139381" y="24649"/>
                    <a:pt x="140726" y="24649"/>
                  </a:cubicBezTo>
                  <a:lnTo>
                    <a:pt x="155067" y="24649"/>
                  </a:lnTo>
                  <a:lnTo>
                    <a:pt x="155067" y="33613"/>
                  </a:lnTo>
                  <a:lnTo>
                    <a:pt x="132659" y="33613"/>
                  </a:lnTo>
                  <a:lnTo>
                    <a:pt x="132659" y="4482"/>
                  </a:lnTo>
                  <a:close/>
                </a:path>
              </a:pathLst>
            </a:custGeom>
            <a:solidFill>
              <a:srgbClr val="231F20"/>
            </a:solidFill>
            <a:ln w="4477" cap="flat">
              <a:noFill/>
              <a:prstDash val="solid"/>
              <a:miter/>
            </a:ln>
          </p:spPr>
          <p:txBody>
            <a:bodyPr rtlCol="0" anchor="ctr"/>
            <a:lstStyle/>
            <a:p>
              <a:endParaRPr lang="en-US"/>
            </a:p>
          </p:txBody>
        </p:sp>
        <p:sp>
          <p:nvSpPr>
            <p:cNvPr id="3813" name="Freeform: Shape 3812">
              <a:extLst>
                <a:ext uri="{FF2B5EF4-FFF2-40B4-BE49-F238E27FC236}">
                  <a16:creationId xmlns:a16="http://schemas.microsoft.com/office/drawing/2014/main" id="{8CB75EFE-357C-4E39-8B66-C80FD5F97280}"/>
                </a:ext>
              </a:extLst>
            </p:cNvPr>
            <p:cNvSpPr/>
            <p:nvPr/>
          </p:nvSpPr>
          <p:spPr>
            <a:xfrm>
              <a:off x="10308821" y="6032356"/>
              <a:ext cx="4482" cy="17927"/>
            </a:xfrm>
            <a:custGeom>
              <a:avLst/>
              <a:gdLst>
                <a:gd name="connsiteX0" fmla="*/ 2241 w 4481"/>
                <a:gd name="connsiteY0" fmla="*/ 0 h 17926"/>
                <a:gd name="connsiteX1" fmla="*/ 0 w 4481"/>
                <a:gd name="connsiteY1" fmla="*/ 2241 h 17926"/>
                <a:gd name="connsiteX2" fmla="*/ 0 w 4481"/>
                <a:gd name="connsiteY2" fmla="*/ 15686 h 17926"/>
                <a:gd name="connsiteX3" fmla="*/ 2241 w 4481"/>
                <a:gd name="connsiteY3" fmla="*/ 17927 h 17926"/>
                <a:gd name="connsiteX4" fmla="*/ 4482 w 4481"/>
                <a:gd name="connsiteY4" fmla="*/ 15686 h 17926"/>
                <a:gd name="connsiteX5" fmla="*/ 4482 w 4481"/>
                <a:gd name="connsiteY5" fmla="*/ 2241 h 17926"/>
                <a:gd name="connsiteX6" fmla="*/ 2241 w 4481"/>
                <a:gd name="connsiteY6" fmla="*/ 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2241" y="0"/>
                  </a:moveTo>
                  <a:cubicBezTo>
                    <a:pt x="896" y="0"/>
                    <a:pt x="0" y="897"/>
                    <a:pt x="0" y="2241"/>
                  </a:cubicBezTo>
                  <a:lnTo>
                    <a:pt x="0" y="15686"/>
                  </a:lnTo>
                  <a:cubicBezTo>
                    <a:pt x="0" y="17031"/>
                    <a:pt x="896" y="17927"/>
                    <a:pt x="2241" y="17927"/>
                  </a:cubicBezTo>
                  <a:cubicBezTo>
                    <a:pt x="3585" y="17927"/>
                    <a:pt x="4482" y="17031"/>
                    <a:pt x="4482" y="15686"/>
                  </a:cubicBezTo>
                  <a:lnTo>
                    <a:pt x="4482" y="2241"/>
                  </a:lnTo>
                  <a:cubicBezTo>
                    <a:pt x="4482" y="897"/>
                    <a:pt x="3585" y="0"/>
                    <a:pt x="2241" y="0"/>
                  </a:cubicBezTo>
                  <a:close/>
                </a:path>
              </a:pathLst>
            </a:custGeom>
            <a:solidFill>
              <a:srgbClr val="231F20"/>
            </a:solidFill>
            <a:ln w="4477" cap="flat">
              <a:noFill/>
              <a:prstDash val="solid"/>
              <a:miter/>
            </a:ln>
          </p:spPr>
          <p:txBody>
            <a:bodyPr rtlCol="0" anchor="ctr"/>
            <a:lstStyle/>
            <a:p>
              <a:endParaRPr lang="en-US"/>
            </a:p>
          </p:txBody>
        </p:sp>
      </p:grpSp>
      <p:grpSp>
        <p:nvGrpSpPr>
          <p:cNvPr id="3814" name="Group 3813">
            <a:extLst>
              <a:ext uri="{FF2B5EF4-FFF2-40B4-BE49-F238E27FC236}">
                <a16:creationId xmlns:a16="http://schemas.microsoft.com/office/drawing/2014/main" id="{FCD3E0D4-083D-4241-8E83-284C8FC3BA06}"/>
              </a:ext>
              <a:ext uri="{C183D7F6-B498-43B3-948B-1728B52AA6E4}">
                <adec:decorative xmlns:adec="http://schemas.microsoft.com/office/drawing/2017/decorative" val="1"/>
              </a:ext>
            </a:extLst>
          </p:cNvPr>
          <p:cNvGrpSpPr>
            <a:grpSpLocks noChangeAspect="1"/>
          </p:cNvGrpSpPr>
          <p:nvPr/>
        </p:nvGrpSpPr>
        <p:grpSpPr>
          <a:xfrm>
            <a:off x="1168514" y="3456900"/>
            <a:ext cx="94116" cy="134451"/>
            <a:chOff x="7041212" y="6299690"/>
            <a:chExt cx="94116" cy="134451"/>
          </a:xfrm>
        </p:grpSpPr>
        <p:sp>
          <p:nvSpPr>
            <p:cNvPr id="3815" name="Freeform: Shape 3814">
              <a:extLst>
                <a:ext uri="{FF2B5EF4-FFF2-40B4-BE49-F238E27FC236}">
                  <a16:creationId xmlns:a16="http://schemas.microsoft.com/office/drawing/2014/main" id="{EE9F13A5-C78B-45F8-A743-633F4570CA0E}"/>
                </a:ext>
              </a:extLst>
            </p:cNvPr>
            <p:cNvSpPr/>
            <p:nvPr/>
          </p:nvSpPr>
          <p:spPr>
            <a:xfrm>
              <a:off x="7041212" y="6299690"/>
              <a:ext cx="94116" cy="134451"/>
            </a:xfrm>
            <a:custGeom>
              <a:avLst/>
              <a:gdLst>
                <a:gd name="connsiteX0" fmla="*/ 78430 w 94115"/>
                <a:gd name="connsiteY0" fmla="*/ 116749 h 134451"/>
                <a:gd name="connsiteX1" fmla="*/ 71707 w 94115"/>
                <a:gd name="connsiteY1" fmla="*/ 118093 h 134451"/>
                <a:gd name="connsiteX2" fmla="*/ 69915 w 94115"/>
                <a:gd name="connsiteY2" fmla="*/ 118990 h 134451"/>
                <a:gd name="connsiteX3" fmla="*/ 69915 w 94115"/>
                <a:gd name="connsiteY3" fmla="*/ 117645 h 134451"/>
                <a:gd name="connsiteX4" fmla="*/ 57366 w 94115"/>
                <a:gd name="connsiteY4" fmla="*/ 107337 h 134451"/>
                <a:gd name="connsiteX5" fmla="*/ 56021 w 94115"/>
                <a:gd name="connsiteY5" fmla="*/ 107337 h 134451"/>
                <a:gd name="connsiteX6" fmla="*/ 56021 w 94115"/>
                <a:gd name="connsiteY6" fmla="*/ 98373 h 134451"/>
                <a:gd name="connsiteX7" fmla="*/ 60503 w 94115"/>
                <a:gd name="connsiteY7" fmla="*/ 98373 h 134451"/>
                <a:gd name="connsiteX8" fmla="*/ 62296 w 94115"/>
                <a:gd name="connsiteY8" fmla="*/ 97477 h 134451"/>
                <a:gd name="connsiteX9" fmla="*/ 66329 w 94115"/>
                <a:gd name="connsiteY9" fmla="*/ 91651 h 134451"/>
                <a:gd name="connsiteX10" fmla="*/ 86049 w 94115"/>
                <a:gd name="connsiteY10" fmla="*/ 105993 h 134451"/>
                <a:gd name="connsiteX11" fmla="*/ 87393 w 94115"/>
                <a:gd name="connsiteY11" fmla="*/ 106441 h 134451"/>
                <a:gd name="connsiteX12" fmla="*/ 88290 w 94115"/>
                <a:gd name="connsiteY12" fmla="*/ 105993 h 134451"/>
                <a:gd name="connsiteX13" fmla="*/ 89634 w 94115"/>
                <a:gd name="connsiteY13" fmla="*/ 104200 h 134451"/>
                <a:gd name="connsiteX14" fmla="*/ 89634 w 94115"/>
                <a:gd name="connsiteY14" fmla="*/ 61624 h 134451"/>
                <a:gd name="connsiteX15" fmla="*/ 88738 w 94115"/>
                <a:gd name="connsiteY15" fmla="*/ 59831 h 134451"/>
                <a:gd name="connsiteX16" fmla="*/ 74396 w 94115"/>
                <a:gd name="connsiteY16" fmla="*/ 49971 h 134451"/>
                <a:gd name="connsiteX17" fmla="*/ 46610 w 94115"/>
                <a:gd name="connsiteY17" fmla="*/ 673 h 134451"/>
                <a:gd name="connsiteX18" fmla="*/ 43472 w 94115"/>
                <a:gd name="connsiteY18" fmla="*/ 673 h 134451"/>
                <a:gd name="connsiteX19" fmla="*/ 15238 w 94115"/>
                <a:gd name="connsiteY19" fmla="*/ 50419 h 134451"/>
                <a:gd name="connsiteX20" fmla="*/ 1345 w 94115"/>
                <a:gd name="connsiteY20" fmla="*/ 59831 h 134451"/>
                <a:gd name="connsiteX21" fmla="*/ 448 w 94115"/>
                <a:gd name="connsiteY21" fmla="*/ 61624 h 134451"/>
                <a:gd name="connsiteX22" fmla="*/ 448 w 94115"/>
                <a:gd name="connsiteY22" fmla="*/ 104200 h 134451"/>
                <a:gd name="connsiteX23" fmla="*/ 1793 w 94115"/>
                <a:gd name="connsiteY23" fmla="*/ 105993 h 134451"/>
                <a:gd name="connsiteX24" fmla="*/ 2689 w 94115"/>
                <a:gd name="connsiteY24" fmla="*/ 106441 h 134451"/>
                <a:gd name="connsiteX25" fmla="*/ 4034 w 94115"/>
                <a:gd name="connsiteY25" fmla="*/ 105993 h 134451"/>
                <a:gd name="connsiteX26" fmla="*/ 23305 w 94115"/>
                <a:gd name="connsiteY26" fmla="*/ 92099 h 134451"/>
                <a:gd name="connsiteX27" fmla="*/ 27338 w 94115"/>
                <a:gd name="connsiteY27" fmla="*/ 97925 h 134451"/>
                <a:gd name="connsiteX28" fmla="*/ 29131 w 94115"/>
                <a:gd name="connsiteY28" fmla="*/ 98822 h 134451"/>
                <a:gd name="connsiteX29" fmla="*/ 31820 w 94115"/>
                <a:gd name="connsiteY29" fmla="*/ 98822 h 134451"/>
                <a:gd name="connsiteX30" fmla="*/ 31820 w 94115"/>
                <a:gd name="connsiteY30" fmla="*/ 110922 h 134451"/>
                <a:gd name="connsiteX31" fmla="*/ 23305 w 94115"/>
                <a:gd name="connsiteY31" fmla="*/ 110922 h 134451"/>
                <a:gd name="connsiteX32" fmla="*/ 0 w 94115"/>
                <a:gd name="connsiteY32" fmla="*/ 132883 h 134451"/>
                <a:gd name="connsiteX33" fmla="*/ 2241 w 94115"/>
                <a:gd name="connsiteY33" fmla="*/ 135124 h 134451"/>
                <a:gd name="connsiteX34" fmla="*/ 4482 w 94115"/>
                <a:gd name="connsiteY34" fmla="*/ 132883 h 134451"/>
                <a:gd name="connsiteX35" fmla="*/ 23305 w 94115"/>
                <a:gd name="connsiteY35" fmla="*/ 115404 h 134451"/>
                <a:gd name="connsiteX36" fmla="*/ 34061 w 94115"/>
                <a:gd name="connsiteY36" fmla="*/ 115404 h 134451"/>
                <a:gd name="connsiteX37" fmla="*/ 36302 w 94115"/>
                <a:gd name="connsiteY37" fmla="*/ 113163 h 134451"/>
                <a:gd name="connsiteX38" fmla="*/ 36302 w 94115"/>
                <a:gd name="connsiteY38" fmla="*/ 98822 h 134451"/>
                <a:gd name="connsiteX39" fmla="*/ 51988 w 94115"/>
                <a:gd name="connsiteY39" fmla="*/ 98822 h 134451"/>
                <a:gd name="connsiteX40" fmla="*/ 51988 w 94115"/>
                <a:gd name="connsiteY40" fmla="*/ 110026 h 134451"/>
                <a:gd name="connsiteX41" fmla="*/ 54229 w 94115"/>
                <a:gd name="connsiteY41" fmla="*/ 112267 h 134451"/>
                <a:gd name="connsiteX42" fmla="*/ 57814 w 94115"/>
                <a:gd name="connsiteY42" fmla="*/ 112267 h 134451"/>
                <a:gd name="connsiteX43" fmla="*/ 65881 w 94115"/>
                <a:gd name="connsiteY43" fmla="*/ 118990 h 134451"/>
                <a:gd name="connsiteX44" fmla="*/ 66329 w 94115"/>
                <a:gd name="connsiteY44" fmla="*/ 123471 h 134451"/>
                <a:gd name="connsiteX45" fmla="*/ 67674 w 94115"/>
                <a:gd name="connsiteY45" fmla="*/ 125264 h 134451"/>
                <a:gd name="connsiteX46" fmla="*/ 69466 w 94115"/>
                <a:gd name="connsiteY46" fmla="*/ 125264 h 134451"/>
                <a:gd name="connsiteX47" fmla="*/ 73948 w 94115"/>
                <a:gd name="connsiteY47" fmla="*/ 123471 h 134451"/>
                <a:gd name="connsiteX48" fmla="*/ 78878 w 94115"/>
                <a:gd name="connsiteY48" fmla="*/ 122575 h 134451"/>
                <a:gd name="connsiteX49" fmla="*/ 90530 w 94115"/>
                <a:gd name="connsiteY49" fmla="*/ 133779 h 134451"/>
                <a:gd name="connsiteX50" fmla="*/ 92771 w 94115"/>
                <a:gd name="connsiteY50" fmla="*/ 136020 h 134451"/>
                <a:gd name="connsiteX51" fmla="*/ 95012 w 94115"/>
                <a:gd name="connsiteY51" fmla="*/ 133779 h 134451"/>
                <a:gd name="connsiteX52" fmla="*/ 78430 w 94115"/>
                <a:gd name="connsiteY52" fmla="*/ 116749 h 134451"/>
                <a:gd name="connsiteX53" fmla="*/ 85152 w 94115"/>
                <a:gd name="connsiteY53" fmla="*/ 62520 h 134451"/>
                <a:gd name="connsiteX54" fmla="*/ 85152 w 94115"/>
                <a:gd name="connsiteY54" fmla="*/ 99718 h 134451"/>
                <a:gd name="connsiteX55" fmla="*/ 68570 w 94115"/>
                <a:gd name="connsiteY55" fmla="*/ 87618 h 134451"/>
                <a:gd name="connsiteX56" fmla="*/ 74844 w 94115"/>
                <a:gd name="connsiteY56" fmla="*/ 55797 h 134451"/>
                <a:gd name="connsiteX57" fmla="*/ 85152 w 94115"/>
                <a:gd name="connsiteY57" fmla="*/ 62520 h 134451"/>
                <a:gd name="connsiteX58" fmla="*/ 4482 w 94115"/>
                <a:gd name="connsiteY58" fmla="*/ 99718 h 134451"/>
                <a:gd name="connsiteX59" fmla="*/ 4482 w 94115"/>
                <a:gd name="connsiteY59" fmla="*/ 62520 h 134451"/>
                <a:gd name="connsiteX60" fmla="*/ 14341 w 94115"/>
                <a:gd name="connsiteY60" fmla="*/ 55797 h 134451"/>
                <a:gd name="connsiteX61" fmla="*/ 21064 w 94115"/>
                <a:gd name="connsiteY61" fmla="*/ 87618 h 134451"/>
                <a:gd name="connsiteX62" fmla="*/ 4482 w 94115"/>
                <a:gd name="connsiteY62" fmla="*/ 99718 h 134451"/>
                <a:gd name="connsiteX63" fmla="*/ 19271 w 94115"/>
                <a:gd name="connsiteY63" fmla="*/ 52660 h 134451"/>
                <a:gd name="connsiteX64" fmla="*/ 19719 w 94115"/>
                <a:gd name="connsiteY64" fmla="*/ 50419 h 134451"/>
                <a:gd name="connsiteX65" fmla="*/ 45265 w 94115"/>
                <a:gd name="connsiteY65" fmla="*/ 5154 h 134451"/>
                <a:gd name="connsiteX66" fmla="*/ 60055 w 94115"/>
                <a:gd name="connsiteY66" fmla="*/ 93892 h 134451"/>
                <a:gd name="connsiteX67" fmla="*/ 30476 w 94115"/>
                <a:gd name="connsiteY67" fmla="*/ 93892 h 134451"/>
                <a:gd name="connsiteX68" fmla="*/ 19271 w 94115"/>
                <a:gd name="connsiteY68" fmla="*/ 52660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94115" h="134451">
                  <a:moveTo>
                    <a:pt x="78430" y="116749"/>
                  </a:moveTo>
                  <a:cubicBezTo>
                    <a:pt x="76189" y="116749"/>
                    <a:pt x="73948" y="117197"/>
                    <a:pt x="71707" y="118093"/>
                  </a:cubicBezTo>
                  <a:lnTo>
                    <a:pt x="69915" y="118990"/>
                  </a:lnTo>
                  <a:lnTo>
                    <a:pt x="69915" y="117645"/>
                  </a:lnTo>
                  <a:cubicBezTo>
                    <a:pt x="69018" y="111818"/>
                    <a:pt x="63640" y="107337"/>
                    <a:pt x="57366" y="107337"/>
                  </a:cubicBezTo>
                  <a:lnTo>
                    <a:pt x="56021" y="107337"/>
                  </a:lnTo>
                  <a:lnTo>
                    <a:pt x="56021" y="98373"/>
                  </a:lnTo>
                  <a:lnTo>
                    <a:pt x="60503" y="98373"/>
                  </a:lnTo>
                  <a:cubicBezTo>
                    <a:pt x="61399" y="98373"/>
                    <a:pt x="61847" y="97925"/>
                    <a:pt x="62296" y="97477"/>
                  </a:cubicBezTo>
                  <a:cubicBezTo>
                    <a:pt x="63640" y="95684"/>
                    <a:pt x="64985" y="93444"/>
                    <a:pt x="66329" y="91651"/>
                  </a:cubicBezTo>
                  <a:lnTo>
                    <a:pt x="86049" y="105993"/>
                  </a:lnTo>
                  <a:cubicBezTo>
                    <a:pt x="86497" y="106441"/>
                    <a:pt x="86945" y="106441"/>
                    <a:pt x="87393" y="106441"/>
                  </a:cubicBezTo>
                  <a:cubicBezTo>
                    <a:pt x="87841" y="106441"/>
                    <a:pt x="88290" y="106441"/>
                    <a:pt x="88290" y="105993"/>
                  </a:cubicBezTo>
                  <a:cubicBezTo>
                    <a:pt x="89186" y="105544"/>
                    <a:pt x="89634" y="104648"/>
                    <a:pt x="89634" y="104200"/>
                  </a:cubicBezTo>
                  <a:lnTo>
                    <a:pt x="89634" y="61624"/>
                  </a:lnTo>
                  <a:cubicBezTo>
                    <a:pt x="89634" y="60727"/>
                    <a:pt x="89186" y="60279"/>
                    <a:pt x="88738" y="59831"/>
                  </a:cubicBezTo>
                  <a:lnTo>
                    <a:pt x="74396" y="49971"/>
                  </a:lnTo>
                  <a:cubicBezTo>
                    <a:pt x="71707" y="32941"/>
                    <a:pt x="62296" y="15462"/>
                    <a:pt x="46610" y="673"/>
                  </a:cubicBezTo>
                  <a:cubicBezTo>
                    <a:pt x="45713" y="-224"/>
                    <a:pt x="44369" y="-224"/>
                    <a:pt x="43472" y="673"/>
                  </a:cubicBezTo>
                  <a:cubicBezTo>
                    <a:pt x="27787" y="16358"/>
                    <a:pt x="18375" y="33389"/>
                    <a:pt x="15238" y="50419"/>
                  </a:cubicBezTo>
                  <a:lnTo>
                    <a:pt x="1345" y="59831"/>
                  </a:lnTo>
                  <a:cubicBezTo>
                    <a:pt x="896" y="60279"/>
                    <a:pt x="448" y="60727"/>
                    <a:pt x="448" y="61624"/>
                  </a:cubicBezTo>
                  <a:lnTo>
                    <a:pt x="448" y="104200"/>
                  </a:lnTo>
                  <a:cubicBezTo>
                    <a:pt x="448" y="105096"/>
                    <a:pt x="896" y="105993"/>
                    <a:pt x="1793" y="105993"/>
                  </a:cubicBezTo>
                  <a:cubicBezTo>
                    <a:pt x="2241" y="105993"/>
                    <a:pt x="2689" y="106441"/>
                    <a:pt x="2689" y="106441"/>
                  </a:cubicBezTo>
                  <a:cubicBezTo>
                    <a:pt x="3137" y="106441"/>
                    <a:pt x="3585" y="106441"/>
                    <a:pt x="4034" y="105993"/>
                  </a:cubicBezTo>
                  <a:lnTo>
                    <a:pt x="23305" y="92099"/>
                  </a:lnTo>
                  <a:cubicBezTo>
                    <a:pt x="24649" y="93892"/>
                    <a:pt x="25546" y="95684"/>
                    <a:pt x="27338" y="97925"/>
                  </a:cubicBezTo>
                  <a:cubicBezTo>
                    <a:pt x="27787" y="98373"/>
                    <a:pt x="28235" y="98822"/>
                    <a:pt x="29131" y="98822"/>
                  </a:cubicBezTo>
                  <a:lnTo>
                    <a:pt x="31820" y="98822"/>
                  </a:lnTo>
                  <a:lnTo>
                    <a:pt x="31820" y="110922"/>
                  </a:lnTo>
                  <a:lnTo>
                    <a:pt x="23305" y="110922"/>
                  </a:lnTo>
                  <a:cubicBezTo>
                    <a:pt x="10308" y="110922"/>
                    <a:pt x="0" y="120782"/>
                    <a:pt x="0" y="132883"/>
                  </a:cubicBezTo>
                  <a:cubicBezTo>
                    <a:pt x="0" y="134227"/>
                    <a:pt x="896" y="135124"/>
                    <a:pt x="2241" y="135124"/>
                  </a:cubicBezTo>
                  <a:cubicBezTo>
                    <a:pt x="3585" y="135124"/>
                    <a:pt x="4482" y="134227"/>
                    <a:pt x="4482" y="132883"/>
                  </a:cubicBezTo>
                  <a:cubicBezTo>
                    <a:pt x="4482" y="123023"/>
                    <a:pt x="12997" y="115404"/>
                    <a:pt x="23305" y="115404"/>
                  </a:cubicBezTo>
                  <a:lnTo>
                    <a:pt x="34061" y="115404"/>
                  </a:lnTo>
                  <a:cubicBezTo>
                    <a:pt x="35405" y="115404"/>
                    <a:pt x="36302" y="114508"/>
                    <a:pt x="36302" y="113163"/>
                  </a:cubicBezTo>
                  <a:lnTo>
                    <a:pt x="36302" y="98822"/>
                  </a:lnTo>
                  <a:lnTo>
                    <a:pt x="51988" y="98822"/>
                  </a:lnTo>
                  <a:lnTo>
                    <a:pt x="51988" y="110026"/>
                  </a:lnTo>
                  <a:cubicBezTo>
                    <a:pt x="51988" y="111370"/>
                    <a:pt x="52884" y="112267"/>
                    <a:pt x="54229" y="112267"/>
                  </a:cubicBezTo>
                  <a:lnTo>
                    <a:pt x="57814" y="112267"/>
                  </a:lnTo>
                  <a:cubicBezTo>
                    <a:pt x="61847" y="112267"/>
                    <a:pt x="65433" y="114956"/>
                    <a:pt x="65881" y="118990"/>
                  </a:cubicBezTo>
                  <a:lnTo>
                    <a:pt x="66329" y="123471"/>
                  </a:lnTo>
                  <a:cubicBezTo>
                    <a:pt x="66329" y="124367"/>
                    <a:pt x="66777" y="124815"/>
                    <a:pt x="67674" y="125264"/>
                  </a:cubicBezTo>
                  <a:cubicBezTo>
                    <a:pt x="68122" y="125712"/>
                    <a:pt x="69018" y="125712"/>
                    <a:pt x="69466" y="125264"/>
                  </a:cubicBezTo>
                  <a:lnTo>
                    <a:pt x="73948" y="123471"/>
                  </a:lnTo>
                  <a:cubicBezTo>
                    <a:pt x="75741" y="122575"/>
                    <a:pt x="77085" y="122575"/>
                    <a:pt x="78878" y="122575"/>
                  </a:cubicBezTo>
                  <a:cubicBezTo>
                    <a:pt x="85600" y="122575"/>
                    <a:pt x="90530" y="127504"/>
                    <a:pt x="90530" y="133779"/>
                  </a:cubicBezTo>
                  <a:cubicBezTo>
                    <a:pt x="90530" y="135124"/>
                    <a:pt x="91427" y="136020"/>
                    <a:pt x="92771" y="136020"/>
                  </a:cubicBezTo>
                  <a:cubicBezTo>
                    <a:pt x="94116" y="136020"/>
                    <a:pt x="95012" y="135124"/>
                    <a:pt x="95012" y="133779"/>
                  </a:cubicBezTo>
                  <a:cubicBezTo>
                    <a:pt x="94564" y="123919"/>
                    <a:pt x="87393" y="116749"/>
                    <a:pt x="78430" y="116749"/>
                  </a:cubicBezTo>
                  <a:close/>
                  <a:moveTo>
                    <a:pt x="85152" y="62520"/>
                  </a:moveTo>
                  <a:lnTo>
                    <a:pt x="85152" y="99718"/>
                  </a:lnTo>
                  <a:lnTo>
                    <a:pt x="68570" y="87618"/>
                  </a:lnTo>
                  <a:cubicBezTo>
                    <a:pt x="73500" y="77758"/>
                    <a:pt x="75741" y="67001"/>
                    <a:pt x="74844" y="55797"/>
                  </a:cubicBezTo>
                  <a:lnTo>
                    <a:pt x="85152" y="62520"/>
                  </a:lnTo>
                  <a:close/>
                  <a:moveTo>
                    <a:pt x="4482" y="99718"/>
                  </a:moveTo>
                  <a:lnTo>
                    <a:pt x="4482" y="62520"/>
                  </a:lnTo>
                  <a:lnTo>
                    <a:pt x="14341" y="55797"/>
                  </a:lnTo>
                  <a:cubicBezTo>
                    <a:pt x="13445" y="67001"/>
                    <a:pt x="15686" y="77758"/>
                    <a:pt x="21064" y="87618"/>
                  </a:cubicBezTo>
                  <a:lnTo>
                    <a:pt x="4482" y="99718"/>
                  </a:lnTo>
                  <a:close/>
                  <a:moveTo>
                    <a:pt x="19271" y="52660"/>
                  </a:moveTo>
                  <a:cubicBezTo>
                    <a:pt x="19719" y="52212"/>
                    <a:pt x="19719" y="51315"/>
                    <a:pt x="19719" y="50419"/>
                  </a:cubicBezTo>
                  <a:cubicBezTo>
                    <a:pt x="22409" y="35181"/>
                    <a:pt x="30924" y="19495"/>
                    <a:pt x="45265" y="5154"/>
                  </a:cubicBezTo>
                  <a:cubicBezTo>
                    <a:pt x="73500" y="33837"/>
                    <a:pt x="79326" y="68346"/>
                    <a:pt x="60055" y="93892"/>
                  </a:cubicBezTo>
                  <a:lnTo>
                    <a:pt x="30476" y="93892"/>
                  </a:lnTo>
                  <a:cubicBezTo>
                    <a:pt x="20616" y="81343"/>
                    <a:pt x="17030" y="67450"/>
                    <a:pt x="19271" y="52660"/>
                  </a:cubicBezTo>
                  <a:close/>
                </a:path>
              </a:pathLst>
            </a:custGeom>
            <a:solidFill>
              <a:srgbClr val="231F20"/>
            </a:solidFill>
            <a:ln w="4477" cap="flat">
              <a:noFill/>
              <a:prstDash val="solid"/>
              <a:miter/>
            </a:ln>
          </p:spPr>
          <p:txBody>
            <a:bodyPr rtlCol="0" anchor="ctr"/>
            <a:lstStyle/>
            <a:p>
              <a:endParaRPr lang="en-US"/>
            </a:p>
          </p:txBody>
        </p:sp>
        <p:sp>
          <p:nvSpPr>
            <p:cNvPr id="3816" name="Freeform: Shape 3815">
              <a:extLst>
                <a:ext uri="{FF2B5EF4-FFF2-40B4-BE49-F238E27FC236}">
                  <a16:creationId xmlns:a16="http://schemas.microsoft.com/office/drawing/2014/main" id="{B714284F-5370-48B3-AD6F-11966DA51F2A}"/>
                </a:ext>
              </a:extLst>
            </p:cNvPr>
            <p:cNvSpPr/>
            <p:nvPr/>
          </p:nvSpPr>
          <p:spPr>
            <a:xfrm>
              <a:off x="7076618" y="6330837"/>
              <a:ext cx="17927" cy="17927"/>
            </a:xfrm>
            <a:custGeom>
              <a:avLst/>
              <a:gdLst>
                <a:gd name="connsiteX0" fmla="*/ 9412 w 17926"/>
                <a:gd name="connsiteY0" fmla="*/ 17927 h 17926"/>
                <a:gd name="connsiteX1" fmla="*/ 18823 w 17926"/>
                <a:gd name="connsiteY1" fmla="*/ 8963 h 17926"/>
                <a:gd name="connsiteX2" fmla="*/ 9412 w 17926"/>
                <a:gd name="connsiteY2" fmla="*/ 0 h 17926"/>
                <a:gd name="connsiteX3" fmla="*/ 0 w 17926"/>
                <a:gd name="connsiteY3" fmla="*/ 8963 h 17926"/>
                <a:gd name="connsiteX4" fmla="*/ 9412 w 17926"/>
                <a:gd name="connsiteY4" fmla="*/ 17927 h 17926"/>
                <a:gd name="connsiteX5" fmla="*/ 9412 w 17926"/>
                <a:gd name="connsiteY5" fmla="*/ 4930 h 17926"/>
                <a:gd name="connsiteX6" fmla="*/ 14341 w 17926"/>
                <a:gd name="connsiteY6" fmla="*/ 9412 h 17926"/>
                <a:gd name="connsiteX7" fmla="*/ 9412 w 17926"/>
                <a:gd name="connsiteY7" fmla="*/ 13894 h 17926"/>
                <a:gd name="connsiteX8" fmla="*/ 4482 w 17926"/>
                <a:gd name="connsiteY8" fmla="*/ 9412 h 17926"/>
                <a:gd name="connsiteX9" fmla="*/ 9412 w 17926"/>
                <a:gd name="connsiteY9" fmla="*/ 493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26" h="17926">
                  <a:moveTo>
                    <a:pt x="9412" y="17927"/>
                  </a:moveTo>
                  <a:cubicBezTo>
                    <a:pt x="14341" y="17927"/>
                    <a:pt x="18823" y="13894"/>
                    <a:pt x="18823" y="8963"/>
                  </a:cubicBezTo>
                  <a:cubicBezTo>
                    <a:pt x="18823" y="4034"/>
                    <a:pt x="14790" y="0"/>
                    <a:pt x="9412" y="0"/>
                  </a:cubicBezTo>
                  <a:cubicBezTo>
                    <a:pt x="4482" y="0"/>
                    <a:pt x="0" y="4034"/>
                    <a:pt x="0" y="8963"/>
                  </a:cubicBezTo>
                  <a:cubicBezTo>
                    <a:pt x="0" y="13894"/>
                    <a:pt x="4034" y="17927"/>
                    <a:pt x="9412" y="17927"/>
                  </a:cubicBezTo>
                  <a:close/>
                  <a:moveTo>
                    <a:pt x="9412" y="4930"/>
                  </a:moveTo>
                  <a:cubicBezTo>
                    <a:pt x="12101" y="4930"/>
                    <a:pt x="14341" y="6723"/>
                    <a:pt x="14341" y="9412"/>
                  </a:cubicBezTo>
                  <a:cubicBezTo>
                    <a:pt x="14341" y="11653"/>
                    <a:pt x="12101" y="13894"/>
                    <a:pt x="9412" y="13894"/>
                  </a:cubicBezTo>
                  <a:cubicBezTo>
                    <a:pt x="6723" y="13894"/>
                    <a:pt x="4482" y="12101"/>
                    <a:pt x="4482" y="9412"/>
                  </a:cubicBezTo>
                  <a:cubicBezTo>
                    <a:pt x="4482" y="6723"/>
                    <a:pt x="6723" y="4930"/>
                    <a:pt x="9412" y="4930"/>
                  </a:cubicBezTo>
                  <a:close/>
                </a:path>
              </a:pathLst>
            </a:custGeom>
            <a:solidFill>
              <a:srgbClr val="231F20"/>
            </a:solidFill>
            <a:ln w="4477" cap="flat">
              <a:noFill/>
              <a:prstDash val="solid"/>
              <a:miter/>
            </a:ln>
          </p:spPr>
          <p:txBody>
            <a:bodyPr rtlCol="0" anchor="ctr"/>
            <a:lstStyle/>
            <a:p>
              <a:endParaRPr lang="en-US"/>
            </a:p>
          </p:txBody>
        </p:sp>
      </p:grpSp>
      <p:grpSp>
        <p:nvGrpSpPr>
          <p:cNvPr id="3817" name="Group 3816">
            <a:extLst>
              <a:ext uri="{FF2B5EF4-FFF2-40B4-BE49-F238E27FC236}">
                <a16:creationId xmlns:a16="http://schemas.microsoft.com/office/drawing/2014/main" id="{193967AB-245D-4A04-9284-F5C8184A78A9}"/>
              </a:ext>
              <a:ext uri="{C183D7F6-B498-43B3-948B-1728B52AA6E4}">
                <adec:decorative xmlns:adec="http://schemas.microsoft.com/office/drawing/2017/decorative" val="1"/>
              </a:ext>
            </a:extLst>
          </p:cNvPr>
          <p:cNvGrpSpPr>
            <a:grpSpLocks noChangeAspect="1"/>
          </p:cNvGrpSpPr>
          <p:nvPr/>
        </p:nvGrpSpPr>
        <p:grpSpPr>
          <a:xfrm>
            <a:off x="1408800" y="3450177"/>
            <a:ext cx="147896" cy="147896"/>
            <a:chOff x="7266008" y="6302865"/>
            <a:chExt cx="147896" cy="147896"/>
          </a:xfrm>
        </p:grpSpPr>
        <p:sp>
          <p:nvSpPr>
            <p:cNvPr id="3818" name="Freeform: Shape 3817">
              <a:extLst>
                <a:ext uri="{FF2B5EF4-FFF2-40B4-BE49-F238E27FC236}">
                  <a16:creationId xmlns:a16="http://schemas.microsoft.com/office/drawing/2014/main" id="{CBDD7D10-F677-411B-B43F-1D5D37F6C12D}"/>
                </a:ext>
              </a:extLst>
            </p:cNvPr>
            <p:cNvSpPr/>
            <p:nvPr/>
          </p:nvSpPr>
          <p:spPr>
            <a:xfrm>
              <a:off x="7266008" y="6302865"/>
              <a:ext cx="147896" cy="147896"/>
            </a:xfrm>
            <a:custGeom>
              <a:avLst/>
              <a:gdLst>
                <a:gd name="connsiteX0" fmla="*/ 151667 w 147896"/>
                <a:gd name="connsiteY0" fmla="*/ 634 h 147896"/>
                <a:gd name="connsiteX1" fmla="*/ 149426 w 147896"/>
                <a:gd name="connsiteY1" fmla="*/ 186 h 147896"/>
                <a:gd name="connsiteX2" fmla="*/ 122088 w 147896"/>
                <a:gd name="connsiteY2" fmla="*/ 6908 h 147896"/>
                <a:gd name="connsiteX3" fmla="*/ 72341 w 147896"/>
                <a:gd name="connsiteY3" fmla="*/ 35591 h 147896"/>
                <a:gd name="connsiteX4" fmla="*/ 62033 w 147896"/>
                <a:gd name="connsiteY4" fmla="*/ 46795 h 147896"/>
                <a:gd name="connsiteX5" fmla="*/ 60689 w 147896"/>
                <a:gd name="connsiteY5" fmla="*/ 46347 h 147896"/>
                <a:gd name="connsiteX6" fmla="*/ 36039 w 147896"/>
                <a:gd name="connsiteY6" fmla="*/ 46347 h 147896"/>
                <a:gd name="connsiteX7" fmla="*/ 34247 w 147896"/>
                <a:gd name="connsiteY7" fmla="*/ 46795 h 147896"/>
                <a:gd name="connsiteX8" fmla="*/ 634 w 147896"/>
                <a:gd name="connsiteY8" fmla="*/ 80408 h 147896"/>
                <a:gd name="connsiteX9" fmla="*/ 186 w 147896"/>
                <a:gd name="connsiteY9" fmla="*/ 82201 h 147896"/>
                <a:gd name="connsiteX10" fmla="*/ 1530 w 147896"/>
                <a:gd name="connsiteY10" fmla="*/ 83993 h 147896"/>
                <a:gd name="connsiteX11" fmla="*/ 22146 w 147896"/>
                <a:gd name="connsiteY11" fmla="*/ 92957 h 147896"/>
                <a:gd name="connsiteX12" fmla="*/ 22146 w 147896"/>
                <a:gd name="connsiteY12" fmla="*/ 92957 h 147896"/>
                <a:gd name="connsiteX13" fmla="*/ 26628 w 147896"/>
                <a:gd name="connsiteY13" fmla="*/ 97438 h 147896"/>
                <a:gd name="connsiteX14" fmla="*/ 19009 w 147896"/>
                <a:gd name="connsiteY14" fmla="*/ 105058 h 147896"/>
                <a:gd name="connsiteX15" fmla="*/ 19009 w 147896"/>
                <a:gd name="connsiteY15" fmla="*/ 108195 h 147896"/>
                <a:gd name="connsiteX16" fmla="*/ 43210 w 147896"/>
                <a:gd name="connsiteY16" fmla="*/ 132396 h 147896"/>
                <a:gd name="connsiteX17" fmla="*/ 45003 w 147896"/>
                <a:gd name="connsiteY17" fmla="*/ 132844 h 147896"/>
                <a:gd name="connsiteX18" fmla="*/ 46795 w 147896"/>
                <a:gd name="connsiteY18" fmla="*/ 132396 h 147896"/>
                <a:gd name="connsiteX19" fmla="*/ 54414 w 147896"/>
                <a:gd name="connsiteY19" fmla="*/ 124777 h 147896"/>
                <a:gd name="connsiteX20" fmla="*/ 58896 w 147896"/>
                <a:gd name="connsiteY20" fmla="*/ 129259 h 147896"/>
                <a:gd name="connsiteX21" fmla="*/ 58896 w 147896"/>
                <a:gd name="connsiteY21" fmla="*/ 129259 h 147896"/>
                <a:gd name="connsiteX22" fmla="*/ 67859 w 147896"/>
                <a:gd name="connsiteY22" fmla="*/ 149875 h 147896"/>
                <a:gd name="connsiteX23" fmla="*/ 69652 w 147896"/>
                <a:gd name="connsiteY23" fmla="*/ 151219 h 147896"/>
                <a:gd name="connsiteX24" fmla="*/ 70100 w 147896"/>
                <a:gd name="connsiteY24" fmla="*/ 151219 h 147896"/>
                <a:gd name="connsiteX25" fmla="*/ 71893 w 147896"/>
                <a:gd name="connsiteY25" fmla="*/ 150771 h 147896"/>
                <a:gd name="connsiteX26" fmla="*/ 105506 w 147896"/>
                <a:gd name="connsiteY26" fmla="*/ 117158 h 147896"/>
                <a:gd name="connsiteX27" fmla="*/ 105954 w 147896"/>
                <a:gd name="connsiteY27" fmla="*/ 115365 h 147896"/>
                <a:gd name="connsiteX28" fmla="*/ 105954 w 147896"/>
                <a:gd name="connsiteY28" fmla="*/ 90716 h 147896"/>
                <a:gd name="connsiteX29" fmla="*/ 105506 w 147896"/>
                <a:gd name="connsiteY29" fmla="*/ 89372 h 147896"/>
                <a:gd name="connsiteX30" fmla="*/ 116710 w 147896"/>
                <a:gd name="connsiteY30" fmla="*/ 79063 h 147896"/>
                <a:gd name="connsiteX31" fmla="*/ 145393 w 147896"/>
                <a:gd name="connsiteY31" fmla="*/ 29317 h 147896"/>
                <a:gd name="connsiteX32" fmla="*/ 152115 w 147896"/>
                <a:gd name="connsiteY32" fmla="*/ 1978 h 147896"/>
                <a:gd name="connsiteX33" fmla="*/ 151667 w 147896"/>
                <a:gd name="connsiteY33" fmla="*/ 634 h 147896"/>
                <a:gd name="connsiteX34" fmla="*/ 37384 w 147896"/>
                <a:gd name="connsiteY34" fmla="*/ 51277 h 147896"/>
                <a:gd name="connsiteX35" fmla="*/ 58448 w 147896"/>
                <a:gd name="connsiteY35" fmla="*/ 51277 h 147896"/>
                <a:gd name="connsiteX36" fmla="*/ 23490 w 147896"/>
                <a:gd name="connsiteY36" fmla="*/ 88924 h 147896"/>
                <a:gd name="connsiteX37" fmla="*/ 6460 w 147896"/>
                <a:gd name="connsiteY37" fmla="*/ 81752 h 147896"/>
                <a:gd name="connsiteX38" fmla="*/ 37384 w 147896"/>
                <a:gd name="connsiteY38" fmla="*/ 51277 h 147896"/>
                <a:gd name="connsiteX39" fmla="*/ 60689 w 147896"/>
                <a:gd name="connsiteY39" fmla="*/ 125225 h 147896"/>
                <a:gd name="connsiteX40" fmla="*/ 53966 w 147896"/>
                <a:gd name="connsiteY40" fmla="*/ 118503 h 147896"/>
                <a:gd name="connsiteX41" fmla="*/ 31558 w 147896"/>
                <a:gd name="connsiteY41" fmla="*/ 96094 h 147896"/>
                <a:gd name="connsiteX42" fmla="*/ 31558 w 147896"/>
                <a:gd name="connsiteY42" fmla="*/ 96094 h 147896"/>
                <a:gd name="connsiteX43" fmla="*/ 27076 w 147896"/>
                <a:gd name="connsiteY43" fmla="*/ 91612 h 147896"/>
                <a:gd name="connsiteX44" fmla="*/ 35591 w 147896"/>
                <a:gd name="connsiteY44" fmla="*/ 82201 h 147896"/>
                <a:gd name="connsiteX45" fmla="*/ 69652 w 147896"/>
                <a:gd name="connsiteY45" fmla="*/ 116262 h 147896"/>
                <a:gd name="connsiteX46" fmla="*/ 60689 w 147896"/>
                <a:gd name="connsiteY46" fmla="*/ 125225 h 147896"/>
                <a:gd name="connsiteX47" fmla="*/ 51725 w 147896"/>
                <a:gd name="connsiteY47" fmla="*/ 122088 h 147896"/>
                <a:gd name="connsiteX48" fmla="*/ 45899 w 147896"/>
                <a:gd name="connsiteY48" fmla="*/ 127914 h 147896"/>
                <a:gd name="connsiteX49" fmla="*/ 24835 w 147896"/>
                <a:gd name="connsiteY49" fmla="*/ 106850 h 147896"/>
                <a:gd name="connsiteX50" fmla="*/ 30661 w 147896"/>
                <a:gd name="connsiteY50" fmla="*/ 101024 h 147896"/>
                <a:gd name="connsiteX51" fmla="*/ 46795 w 147896"/>
                <a:gd name="connsiteY51" fmla="*/ 117158 h 147896"/>
                <a:gd name="connsiteX52" fmla="*/ 51725 w 147896"/>
                <a:gd name="connsiteY52" fmla="*/ 122088 h 147896"/>
                <a:gd name="connsiteX53" fmla="*/ 101472 w 147896"/>
                <a:gd name="connsiteY53" fmla="*/ 114917 h 147896"/>
                <a:gd name="connsiteX54" fmla="*/ 70997 w 147896"/>
                <a:gd name="connsiteY54" fmla="*/ 145393 h 147896"/>
                <a:gd name="connsiteX55" fmla="*/ 63826 w 147896"/>
                <a:gd name="connsiteY55" fmla="*/ 128362 h 147896"/>
                <a:gd name="connsiteX56" fmla="*/ 101472 w 147896"/>
                <a:gd name="connsiteY56" fmla="*/ 93405 h 147896"/>
                <a:gd name="connsiteX57" fmla="*/ 101472 w 147896"/>
                <a:gd name="connsiteY57" fmla="*/ 114917 h 147896"/>
                <a:gd name="connsiteX58" fmla="*/ 113573 w 147896"/>
                <a:gd name="connsiteY58" fmla="*/ 76375 h 147896"/>
                <a:gd name="connsiteX59" fmla="*/ 73237 w 147896"/>
                <a:gd name="connsiteY59" fmla="*/ 113573 h 147896"/>
                <a:gd name="connsiteX60" fmla="*/ 38728 w 147896"/>
                <a:gd name="connsiteY60" fmla="*/ 79063 h 147896"/>
                <a:gd name="connsiteX61" fmla="*/ 75926 w 147896"/>
                <a:gd name="connsiteY61" fmla="*/ 38728 h 147896"/>
                <a:gd name="connsiteX62" fmla="*/ 115814 w 147896"/>
                <a:gd name="connsiteY62" fmla="*/ 13631 h 147896"/>
                <a:gd name="connsiteX63" fmla="*/ 139118 w 147896"/>
                <a:gd name="connsiteY63" fmla="*/ 36935 h 147896"/>
                <a:gd name="connsiteX64" fmla="*/ 113573 w 147896"/>
                <a:gd name="connsiteY64" fmla="*/ 76375 h 147896"/>
                <a:gd name="connsiteX65" fmla="*/ 141359 w 147896"/>
                <a:gd name="connsiteY65" fmla="*/ 28869 h 147896"/>
                <a:gd name="connsiteX66" fmla="*/ 140463 w 147896"/>
                <a:gd name="connsiteY66" fmla="*/ 31558 h 147896"/>
                <a:gd name="connsiteX67" fmla="*/ 120743 w 147896"/>
                <a:gd name="connsiteY67" fmla="*/ 11838 h 147896"/>
                <a:gd name="connsiteX68" fmla="*/ 123432 w 147896"/>
                <a:gd name="connsiteY68" fmla="*/ 10942 h 147896"/>
                <a:gd name="connsiteX69" fmla="*/ 147185 w 147896"/>
                <a:gd name="connsiteY69" fmla="*/ 5115 h 147896"/>
                <a:gd name="connsiteX70" fmla="*/ 141359 w 147896"/>
                <a:gd name="connsiteY70" fmla="*/ 28869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47896" h="147896">
                  <a:moveTo>
                    <a:pt x="151667" y="634"/>
                  </a:moveTo>
                  <a:cubicBezTo>
                    <a:pt x="151219" y="186"/>
                    <a:pt x="150323" y="-262"/>
                    <a:pt x="149426" y="186"/>
                  </a:cubicBezTo>
                  <a:lnTo>
                    <a:pt x="122088" y="6908"/>
                  </a:lnTo>
                  <a:cubicBezTo>
                    <a:pt x="102817" y="11390"/>
                    <a:pt x="85786" y="21249"/>
                    <a:pt x="72341" y="35591"/>
                  </a:cubicBezTo>
                  <a:lnTo>
                    <a:pt x="62033" y="46795"/>
                  </a:lnTo>
                  <a:cubicBezTo>
                    <a:pt x="61585" y="46347"/>
                    <a:pt x="61137" y="46347"/>
                    <a:pt x="60689" y="46347"/>
                  </a:cubicBezTo>
                  <a:lnTo>
                    <a:pt x="36039" y="46347"/>
                  </a:lnTo>
                  <a:cubicBezTo>
                    <a:pt x="35591" y="46347"/>
                    <a:pt x="34695" y="46795"/>
                    <a:pt x="34247" y="46795"/>
                  </a:cubicBezTo>
                  <a:lnTo>
                    <a:pt x="634" y="80408"/>
                  </a:lnTo>
                  <a:cubicBezTo>
                    <a:pt x="186" y="80856"/>
                    <a:pt x="-263" y="81752"/>
                    <a:pt x="186" y="82201"/>
                  </a:cubicBezTo>
                  <a:cubicBezTo>
                    <a:pt x="186" y="83097"/>
                    <a:pt x="634" y="83545"/>
                    <a:pt x="1530" y="83993"/>
                  </a:cubicBezTo>
                  <a:lnTo>
                    <a:pt x="22146" y="92957"/>
                  </a:lnTo>
                  <a:cubicBezTo>
                    <a:pt x="22146" y="92957"/>
                    <a:pt x="22146" y="92957"/>
                    <a:pt x="22146" y="92957"/>
                  </a:cubicBezTo>
                  <a:lnTo>
                    <a:pt x="26628" y="97438"/>
                  </a:lnTo>
                  <a:lnTo>
                    <a:pt x="19009" y="105058"/>
                  </a:lnTo>
                  <a:cubicBezTo>
                    <a:pt x="18112" y="105954"/>
                    <a:pt x="18112" y="107298"/>
                    <a:pt x="19009" y="108195"/>
                  </a:cubicBezTo>
                  <a:lnTo>
                    <a:pt x="43210" y="132396"/>
                  </a:lnTo>
                  <a:cubicBezTo>
                    <a:pt x="43658" y="132844"/>
                    <a:pt x="44106" y="132844"/>
                    <a:pt x="45003" y="132844"/>
                  </a:cubicBezTo>
                  <a:cubicBezTo>
                    <a:pt x="45899" y="132844"/>
                    <a:pt x="46347" y="132844"/>
                    <a:pt x="46795" y="132396"/>
                  </a:cubicBezTo>
                  <a:lnTo>
                    <a:pt x="54414" y="124777"/>
                  </a:lnTo>
                  <a:lnTo>
                    <a:pt x="58896" y="129259"/>
                  </a:lnTo>
                  <a:cubicBezTo>
                    <a:pt x="58896" y="129259"/>
                    <a:pt x="58896" y="129259"/>
                    <a:pt x="58896" y="129259"/>
                  </a:cubicBezTo>
                  <a:lnTo>
                    <a:pt x="67859" y="149875"/>
                  </a:lnTo>
                  <a:cubicBezTo>
                    <a:pt x="68308" y="150771"/>
                    <a:pt x="68756" y="151219"/>
                    <a:pt x="69652" y="151219"/>
                  </a:cubicBezTo>
                  <a:cubicBezTo>
                    <a:pt x="69652" y="151219"/>
                    <a:pt x="70100" y="151219"/>
                    <a:pt x="70100" y="151219"/>
                  </a:cubicBezTo>
                  <a:cubicBezTo>
                    <a:pt x="70548" y="151219"/>
                    <a:pt x="71445" y="150771"/>
                    <a:pt x="71893" y="150771"/>
                  </a:cubicBezTo>
                  <a:lnTo>
                    <a:pt x="105506" y="117158"/>
                  </a:lnTo>
                  <a:cubicBezTo>
                    <a:pt x="105954" y="116710"/>
                    <a:pt x="105954" y="116262"/>
                    <a:pt x="105954" y="115365"/>
                  </a:cubicBezTo>
                  <a:lnTo>
                    <a:pt x="105954" y="90716"/>
                  </a:lnTo>
                  <a:cubicBezTo>
                    <a:pt x="105954" y="90268"/>
                    <a:pt x="105954" y="89820"/>
                    <a:pt x="105506" y="89372"/>
                  </a:cubicBezTo>
                  <a:lnTo>
                    <a:pt x="116710" y="79063"/>
                  </a:lnTo>
                  <a:cubicBezTo>
                    <a:pt x="131051" y="65618"/>
                    <a:pt x="140911" y="48588"/>
                    <a:pt x="145393" y="29317"/>
                  </a:cubicBezTo>
                  <a:lnTo>
                    <a:pt x="152115" y="1978"/>
                  </a:lnTo>
                  <a:cubicBezTo>
                    <a:pt x="152564" y="1978"/>
                    <a:pt x="152115" y="1530"/>
                    <a:pt x="151667" y="634"/>
                  </a:cubicBezTo>
                  <a:close/>
                  <a:moveTo>
                    <a:pt x="37384" y="51277"/>
                  </a:moveTo>
                  <a:lnTo>
                    <a:pt x="58448" y="51277"/>
                  </a:lnTo>
                  <a:lnTo>
                    <a:pt x="23490" y="88924"/>
                  </a:lnTo>
                  <a:lnTo>
                    <a:pt x="6460" y="81752"/>
                  </a:lnTo>
                  <a:lnTo>
                    <a:pt x="37384" y="51277"/>
                  </a:lnTo>
                  <a:close/>
                  <a:moveTo>
                    <a:pt x="60689" y="125225"/>
                  </a:moveTo>
                  <a:lnTo>
                    <a:pt x="53966" y="118503"/>
                  </a:lnTo>
                  <a:lnTo>
                    <a:pt x="31558" y="96094"/>
                  </a:lnTo>
                  <a:cubicBezTo>
                    <a:pt x="31558" y="96094"/>
                    <a:pt x="31558" y="96094"/>
                    <a:pt x="31558" y="96094"/>
                  </a:cubicBezTo>
                  <a:lnTo>
                    <a:pt x="27076" y="91612"/>
                  </a:lnTo>
                  <a:lnTo>
                    <a:pt x="35591" y="82201"/>
                  </a:lnTo>
                  <a:lnTo>
                    <a:pt x="69652" y="116262"/>
                  </a:lnTo>
                  <a:lnTo>
                    <a:pt x="60689" y="125225"/>
                  </a:lnTo>
                  <a:close/>
                  <a:moveTo>
                    <a:pt x="51725" y="122088"/>
                  </a:moveTo>
                  <a:lnTo>
                    <a:pt x="45899" y="127914"/>
                  </a:lnTo>
                  <a:lnTo>
                    <a:pt x="24835" y="106850"/>
                  </a:lnTo>
                  <a:lnTo>
                    <a:pt x="30661" y="101024"/>
                  </a:lnTo>
                  <a:lnTo>
                    <a:pt x="46795" y="117158"/>
                  </a:lnTo>
                  <a:lnTo>
                    <a:pt x="51725" y="122088"/>
                  </a:lnTo>
                  <a:close/>
                  <a:moveTo>
                    <a:pt x="101472" y="114917"/>
                  </a:moveTo>
                  <a:lnTo>
                    <a:pt x="70997" y="145393"/>
                  </a:lnTo>
                  <a:lnTo>
                    <a:pt x="63826" y="128362"/>
                  </a:lnTo>
                  <a:lnTo>
                    <a:pt x="101472" y="93405"/>
                  </a:lnTo>
                  <a:lnTo>
                    <a:pt x="101472" y="114917"/>
                  </a:lnTo>
                  <a:close/>
                  <a:moveTo>
                    <a:pt x="113573" y="76375"/>
                  </a:moveTo>
                  <a:lnTo>
                    <a:pt x="73237" y="113573"/>
                  </a:lnTo>
                  <a:lnTo>
                    <a:pt x="38728" y="79063"/>
                  </a:lnTo>
                  <a:lnTo>
                    <a:pt x="75926" y="38728"/>
                  </a:lnTo>
                  <a:cubicBezTo>
                    <a:pt x="86683" y="27076"/>
                    <a:pt x="100576" y="18112"/>
                    <a:pt x="115814" y="13631"/>
                  </a:cubicBezTo>
                  <a:lnTo>
                    <a:pt x="139118" y="36935"/>
                  </a:lnTo>
                  <a:cubicBezTo>
                    <a:pt x="134189" y="51725"/>
                    <a:pt x="125673" y="65618"/>
                    <a:pt x="113573" y="76375"/>
                  </a:cubicBezTo>
                  <a:close/>
                  <a:moveTo>
                    <a:pt x="141359" y="28869"/>
                  </a:moveTo>
                  <a:cubicBezTo>
                    <a:pt x="141359" y="29765"/>
                    <a:pt x="140911" y="30661"/>
                    <a:pt x="140463" y="31558"/>
                  </a:cubicBezTo>
                  <a:lnTo>
                    <a:pt x="120743" y="11838"/>
                  </a:lnTo>
                  <a:cubicBezTo>
                    <a:pt x="121640" y="11390"/>
                    <a:pt x="122536" y="11390"/>
                    <a:pt x="123432" y="10942"/>
                  </a:cubicBezTo>
                  <a:lnTo>
                    <a:pt x="147185" y="5115"/>
                  </a:lnTo>
                  <a:lnTo>
                    <a:pt x="141359" y="28869"/>
                  </a:lnTo>
                  <a:close/>
                </a:path>
              </a:pathLst>
            </a:custGeom>
            <a:solidFill>
              <a:srgbClr val="231F20"/>
            </a:solidFill>
            <a:ln w="4477" cap="flat">
              <a:noFill/>
              <a:prstDash val="solid"/>
              <a:miter/>
            </a:ln>
          </p:spPr>
          <p:txBody>
            <a:bodyPr rtlCol="0" anchor="ctr"/>
            <a:lstStyle/>
            <a:p>
              <a:endParaRPr lang="en-US"/>
            </a:p>
          </p:txBody>
        </p:sp>
        <p:sp>
          <p:nvSpPr>
            <p:cNvPr id="3819" name="Freeform: Shape 3818">
              <a:extLst>
                <a:ext uri="{FF2B5EF4-FFF2-40B4-BE49-F238E27FC236}">
                  <a16:creationId xmlns:a16="http://schemas.microsoft.com/office/drawing/2014/main" id="{6943A17D-C785-473A-96C6-2682A38E299B}"/>
                </a:ext>
              </a:extLst>
            </p:cNvPr>
            <p:cNvSpPr/>
            <p:nvPr/>
          </p:nvSpPr>
          <p:spPr>
            <a:xfrm>
              <a:off x="7340590" y="6349773"/>
              <a:ext cx="31372" cy="26890"/>
            </a:xfrm>
            <a:custGeom>
              <a:avLst/>
              <a:gdLst>
                <a:gd name="connsiteX0" fmla="*/ 4482 w 31371"/>
                <a:gd name="connsiteY0" fmla="*/ 4370 h 26890"/>
                <a:gd name="connsiteX1" fmla="*/ 0 w 31371"/>
                <a:gd name="connsiteY1" fmla="*/ 15574 h 26890"/>
                <a:gd name="connsiteX2" fmla="*/ 4482 w 31371"/>
                <a:gd name="connsiteY2" fmla="*/ 26778 h 26890"/>
                <a:gd name="connsiteX3" fmla="*/ 15686 w 31371"/>
                <a:gd name="connsiteY3" fmla="*/ 31260 h 26890"/>
                <a:gd name="connsiteX4" fmla="*/ 26890 w 31371"/>
                <a:gd name="connsiteY4" fmla="*/ 26778 h 26890"/>
                <a:gd name="connsiteX5" fmla="*/ 26890 w 31371"/>
                <a:gd name="connsiteY5" fmla="*/ 26778 h 26890"/>
                <a:gd name="connsiteX6" fmla="*/ 31372 w 31371"/>
                <a:gd name="connsiteY6" fmla="*/ 15574 h 26890"/>
                <a:gd name="connsiteX7" fmla="*/ 26890 w 31371"/>
                <a:gd name="connsiteY7" fmla="*/ 4370 h 26890"/>
                <a:gd name="connsiteX8" fmla="*/ 4482 w 31371"/>
                <a:gd name="connsiteY8" fmla="*/ 4370 h 26890"/>
                <a:gd name="connsiteX9" fmla="*/ 23305 w 31371"/>
                <a:gd name="connsiteY9" fmla="*/ 23641 h 26890"/>
                <a:gd name="connsiteX10" fmla="*/ 7171 w 31371"/>
                <a:gd name="connsiteY10" fmla="*/ 23641 h 26890"/>
                <a:gd name="connsiteX11" fmla="*/ 4034 w 31371"/>
                <a:gd name="connsiteY11" fmla="*/ 15574 h 26890"/>
                <a:gd name="connsiteX12" fmla="*/ 7171 w 31371"/>
                <a:gd name="connsiteY12" fmla="*/ 7507 h 26890"/>
                <a:gd name="connsiteX13" fmla="*/ 15238 w 31371"/>
                <a:gd name="connsiteY13" fmla="*/ 4370 h 26890"/>
                <a:gd name="connsiteX14" fmla="*/ 23305 w 31371"/>
                <a:gd name="connsiteY14" fmla="*/ 7507 h 26890"/>
                <a:gd name="connsiteX15" fmla="*/ 26442 w 31371"/>
                <a:gd name="connsiteY15" fmla="*/ 15574 h 26890"/>
                <a:gd name="connsiteX16" fmla="*/ 23305 w 31371"/>
                <a:gd name="connsiteY16" fmla="*/ 2364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71" h="26890">
                  <a:moveTo>
                    <a:pt x="4482" y="4370"/>
                  </a:moveTo>
                  <a:cubicBezTo>
                    <a:pt x="1344" y="7507"/>
                    <a:pt x="0" y="11540"/>
                    <a:pt x="0" y="15574"/>
                  </a:cubicBezTo>
                  <a:cubicBezTo>
                    <a:pt x="0" y="19608"/>
                    <a:pt x="1793" y="23641"/>
                    <a:pt x="4482" y="26778"/>
                  </a:cubicBezTo>
                  <a:cubicBezTo>
                    <a:pt x="7619" y="29915"/>
                    <a:pt x="11652" y="31260"/>
                    <a:pt x="15686" y="31260"/>
                  </a:cubicBezTo>
                  <a:cubicBezTo>
                    <a:pt x="19719" y="31260"/>
                    <a:pt x="23753" y="29915"/>
                    <a:pt x="26890" y="26778"/>
                  </a:cubicBezTo>
                  <a:lnTo>
                    <a:pt x="26890" y="26778"/>
                  </a:lnTo>
                  <a:cubicBezTo>
                    <a:pt x="30027" y="23641"/>
                    <a:pt x="31372" y="19608"/>
                    <a:pt x="31372" y="15574"/>
                  </a:cubicBezTo>
                  <a:cubicBezTo>
                    <a:pt x="31372" y="11540"/>
                    <a:pt x="29579" y="7507"/>
                    <a:pt x="26890" y="4370"/>
                  </a:cubicBezTo>
                  <a:cubicBezTo>
                    <a:pt x="20616" y="-1457"/>
                    <a:pt x="10308" y="-1457"/>
                    <a:pt x="4482" y="4370"/>
                  </a:cubicBezTo>
                  <a:close/>
                  <a:moveTo>
                    <a:pt x="23305" y="23641"/>
                  </a:moveTo>
                  <a:cubicBezTo>
                    <a:pt x="18823" y="28123"/>
                    <a:pt x="11652" y="28123"/>
                    <a:pt x="7171" y="23641"/>
                  </a:cubicBezTo>
                  <a:cubicBezTo>
                    <a:pt x="4930" y="21400"/>
                    <a:pt x="4034" y="18711"/>
                    <a:pt x="4034" y="15574"/>
                  </a:cubicBezTo>
                  <a:cubicBezTo>
                    <a:pt x="4034" y="12437"/>
                    <a:pt x="5378" y="9748"/>
                    <a:pt x="7171" y="7507"/>
                  </a:cubicBezTo>
                  <a:cubicBezTo>
                    <a:pt x="9412" y="5266"/>
                    <a:pt x="12101" y="4370"/>
                    <a:pt x="15238" y="4370"/>
                  </a:cubicBezTo>
                  <a:cubicBezTo>
                    <a:pt x="18375" y="4370"/>
                    <a:pt x="21064" y="5714"/>
                    <a:pt x="23305" y="7507"/>
                  </a:cubicBezTo>
                  <a:cubicBezTo>
                    <a:pt x="25546" y="9748"/>
                    <a:pt x="26442" y="12437"/>
                    <a:pt x="26442" y="15574"/>
                  </a:cubicBezTo>
                  <a:cubicBezTo>
                    <a:pt x="26442" y="18711"/>
                    <a:pt x="25546" y="21400"/>
                    <a:pt x="23305" y="23641"/>
                  </a:cubicBezTo>
                  <a:close/>
                </a:path>
              </a:pathLst>
            </a:custGeom>
            <a:solidFill>
              <a:srgbClr val="231F20"/>
            </a:solidFill>
            <a:ln w="4477" cap="flat">
              <a:noFill/>
              <a:prstDash val="solid"/>
              <a:miter/>
            </a:ln>
          </p:spPr>
          <p:txBody>
            <a:bodyPr rtlCol="0" anchor="ctr"/>
            <a:lstStyle/>
            <a:p>
              <a:endParaRPr lang="en-US"/>
            </a:p>
          </p:txBody>
        </p:sp>
      </p:grpSp>
      <p:sp>
        <p:nvSpPr>
          <p:cNvPr id="3820" name="Freeform: Shape 3819">
            <a:extLst>
              <a:ext uri="{FF2B5EF4-FFF2-40B4-BE49-F238E27FC236}">
                <a16:creationId xmlns:a16="http://schemas.microsoft.com/office/drawing/2014/main" id="{5E3276F9-C68D-46E3-B0FF-BFABC3E00658}"/>
              </a:ext>
              <a:ext uri="{C183D7F6-B498-43B3-948B-1728B52AA6E4}">
                <adec:decorative xmlns:adec="http://schemas.microsoft.com/office/drawing/2017/decorative" val="1"/>
              </a:ext>
            </a:extLst>
          </p:cNvPr>
          <p:cNvSpPr>
            <a:spLocks noChangeAspect="1"/>
          </p:cNvSpPr>
          <p:nvPr/>
        </p:nvSpPr>
        <p:spPr>
          <a:xfrm>
            <a:off x="878930" y="3459141"/>
            <a:ext cx="143414" cy="129969"/>
          </a:xfrm>
          <a:custGeom>
            <a:avLst/>
            <a:gdLst>
              <a:gd name="connsiteX0" fmla="*/ 147448 w 143414"/>
              <a:gd name="connsiteY0" fmla="*/ 65433 h 129969"/>
              <a:gd name="connsiteX1" fmla="*/ 125936 w 143414"/>
              <a:gd name="connsiteY1" fmla="*/ 53780 h 129969"/>
              <a:gd name="connsiteX2" fmla="*/ 106664 w 143414"/>
              <a:gd name="connsiteY2" fmla="*/ 53780 h 129969"/>
              <a:gd name="connsiteX3" fmla="*/ 77533 w 143414"/>
              <a:gd name="connsiteY3" fmla="*/ 1344 h 129969"/>
              <a:gd name="connsiteX4" fmla="*/ 75741 w 143414"/>
              <a:gd name="connsiteY4" fmla="*/ 0 h 129969"/>
              <a:gd name="connsiteX5" fmla="*/ 60055 w 143414"/>
              <a:gd name="connsiteY5" fmla="*/ 0 h 129969"/>
              <a:gd name="connsiteX6" fmla="*/ 58262 w 143414"/>
              <a:gd name="connsiteY6" fmla="*/ 896 h 129969"/>
              <a:gd name="connsiteX7" fmla="*/ 57814 w 143414"/>
              <a:gd name="connsiteY7" fmla="*/ 2689 h 129969"/>
              <a:gd name="connsiteX8" fmla="*/ 69915 w 143414"/>
              <a:gd name="connsiteY8" fmla="*/ 53780 h 129969"/>
              <a:gd name="connsiteX9" fmla="*/ 35854 w 143414"/>
              <a:gd name="connsiteY9" fmla="*/ 53780 h 129969"/>
              <a:gd name="connsiteX10" fmla="*/ 19719 w 143414"/>
              <a:gd name="connsiteY10" fmla="*/ 39887 h 129969"/>
              <a:gd name="connsiteX11" fmla="*/ 18375 w 143414"/>
              <a:gd name="connsiteY11" fmla="*/ 39439 h 129969"/>
              <a:gd name="connsiteX12" fmla="*/ 5826 w 143414"/>
              <a:gd name="connsiteY12" fmla="*/ 39439 h 129969"/>
              <a:gd name="connsiteX13" fmla="*/ 4034 w 143414"/>
              <a:gd name="connsiteY13" fmla="*/ 40335 h 129969"/>
              <a:gd name="connsiteX14" fmla="*/ 4034 w 143414"/>
              <a:gd name="connsiteY14" fmla="*/ 42576 h 129969"/>
              <a:gd name="connsiteX15" fmla="*/ 16134 w 143414"/>
              <a:gd name="connsiteY15" fmla="*/ 64088 h 129969"/>
              <a:gd name="connsiteX16" fmla="*/ 2241 w 143414"/>
              <a:gd name="connsiteY16" fmla="*/ 64088 h 129969"/>
              <a:gd name="connsiteX17" fmla="*/ 0 w 143414"/>
              <a:gd name="connsiteY17" fmla="*/ 66329 h 129969"/>
              <a:gd name="connsiteX18" fmla="*/ 2241 w 143414"/>
              <a:gd name="connsiteY18" fmla="*/ 68570 h 129969"/>
              <a:gd name="connsiteX19" fmla="*/ 13893 w 143414"/>
              <a:gd name="connsiteY19" fmla="*/ 68570 h 129969"/>
              <a:gd name="connsiteX20" fmla="*/ 3585 w 143414"/>
              <a:gd name="connsiteY20" fmla="*/ 86497 h 129969"/>
              <a:gd name="connsiteX21" fmla="*/ 3585 w 143414"/>
              <a:gd name="connsiteY21" fmla="*/ 88737 h 129969"/>
              <a:gd name="connsiteX22" fmla="*/ 5378 w 143414"/>
              <a:gd name="connsiteY22" fmla="*/ 89634 h 129969"/>
              <a:gd name="connsiteX23" fmla="*/ 17927 w 143414"/>
              <a:gd name="connsiteY23" fmla="*/ 89634 h 129969"/>
              <a:gd name="connsiteX24" fmla="*/ 19271 w 143414"/>
              <a:gd name="connsiteY24" fmla="*/ 89185 h 129969"/>
              <a:gd name="connsiteX25" fmla="*/ 34509 w 143414"/>
              <a:gd name="connsiteY25" fmla="*/ 78878 h 129969"/>
              <a:gd name="connsiteX26" fmla="*/ 69915 w 143414"/>
              <a:gd name="connsiteY26" fmla="*/ 78878 h 129969"/>
              <a:gd name="connsiteX27" fmla="*/ 58710 w 143414"/>
              <a:gd name="connsiteY27" fmla="*/ 129969 h 129969"/>
              <a:gd name="connsiteX28" fmla="*/ 59158 w 143414"/>
              <a:gd name="connsiteY28" fmla="*/ 131762 h 129969"/>
              <a:gd name="connsiteX29" fmla="*/ 60951 w 143414"/>
              <a:gd name="connsiteY29" fmla="*/ 132658 h 129969"/>
              <a:gd name="connsiteX30" fmla="*/ 75741 w 143414"/>
              <a:gd name="connsiteY30" fmla="*/ 132658 h 129969"/>
              <a:gd name="connsiteX31" fmla="*/ 77533 w 143414"/>
              <a:gd name="connsiteY31" fmla="*/ 131314 h 129969"/>
              <a:gd name="connsiteX32" fmla="*/ 104424 w 143414"/>
              <a:gd name="connsiteY32" fmla="*/ 78878 h 129969"/>
              <a:gd name="connsiteX33" fmla="*/ 120558 w 143414"/>
              <a:gd name="connsiteY33" fmla="*/ 78878 h 129969"/>
              <a:gd name="connsiteX34" fmla="*/ 136244 w 143414"/>
              <a:gd name="connsiteY34" fmla="*/ 76189 h 129969"/>
              <a:gd name="connsiteX35" fmla="*/ 147448 w 143414"/>
              <a:gd name="connsiteY35" fmla="*/ 65433 h 129969"/>
              <a:gd name="connsiteX36" fmla="*/ 62744 w 143414"/>
              <a:gd name="connsiteY36" fmla="*/ 4482 h 129969"/>
              <a:gd name="connsiteX37" fmla="*/ 74396 w 143414"/>
              <a:gd name="connsiteY37" fmla="*/ 4482 h 129969"/>
              <a:gd name="connsiteX38" fmla="*/ 101735 w 143414"/>
              <a:gd name="connsiteY38" fmla="*/ 53780 h 129969"/>
              <a:gd name="connsiteX39" fmla="*/ 74396 w 143414"/>
              <a:gd name="connsiteY39" fmla="*/ 53780 h 129969"/>
              <a:gd name="connsiteX40" fmla="*/ 62744 w 143414"/>
              <a:gd name="connsiteY40" fmla="*/ 4482 h 129969"/>
              <a:gd name="connsiteX41" fmla="*/ 74844 w 143414"/>
              <a:gd name="connsiteY41" fmla="*/ 128625 h 129969"/>
              <a:gd name="connsiteX42" fmla="*/ 64088 w 143414"/>
              <a:gd name="connsiteY42" fmla="*/ 128625 h 129969"/>
              <a:gd name="connsiteX43" fmla="*/ 74844 w 143414"/>
              <a:gd name="connsiteY43" fmla="*/ 79326 h 129969"/>
              <a:gd name="connsiteX44" fmla="*/ 99942 w 143414"/>
              <a:gd name="connsiteY44" fmla="*/ 79326 h 129969"/>
              <a:gd name="connsiteX45" fmla="*/ 74844 w 143414"/>
              <a:gd name="connsiteY45" fmla="*/ 128625 h 129969"/>
              <a:gd name="connsiteX46" fmla="*/ 135347 w 143414"/>
              <a:gd name="connsiteY46" fmla="*/ 72603 h 129969"/>
              <a:gd name="connsiteX47" fmla="*/ 121454 w 143414"/>
              <a:gd name="connsiteY47" fmla="*/ 75292 h 129969"/>
              <a:gd name="connsiteX48" fmla="*/ 103975 w 143414"/>
              <a:gd name="connsiteY48" fmla="*/ 75292 h 129969"/>
              <a:gd name="connsiteX49" fmla="*/ 103527 w 143414"/>
              <a:gd name="connsiteY49" fmla="*/ 75292 h 129969"/>
              <a:gd name="connsiteX50" fmla="*/ 102631 w 143414"/>
              <a:gd name="connsiteY50" fmla="*/ 75292 h 129969"/>
              <a:gd name="connsiteX51" fmla="*/ 73948 w 143414"/>
              <a:gd name="connsiteY51" fmla="*/ 75292 h 129969"/>
              <a:gd name="connsiteX52" fmla="*/ 73500 w 143414"/>
              <a:gd name="connsiteY52" fmla="*/ 75292 h 129969"/>
              <a:gd name="connsiteX53" fmla="*/ 73500 w 143414"/>
              <a:gd name="connsiteY53" fmla="*/ 75292 h 129969"/>
              <a:gd name="connsiteX54" fmla="*/ 34061 w 143414"/>
              <a:gd name="connsiteY54" fmla="*/ 75292 h 129969"/>
              <a:gd name="connsiteX55" fmla="*/ 32716 w 143414"/>
              <a:gd name="connsiteY55" fmla="*/ 75740 h 129969"/>
              <a:gd name="connsiteX56" fmla="*/ 17479 w 143414"/>
              <a:gd name="connsiteY56" fmla="*/ 86048 h 129969"/>
              <a:gd name="connsiteX57" fmla="*/ 9412 w 143414"/>
              <a:gd name="connsiteY57" fmla="*/ 86048 h 129969"/>
              <a:gd name="connsiteX58" fmla="*/ 18823 w 143414"/>
              <a:gd name="connsiteY58" fmla="*/ 69018 h 129969"/>
              <a:gd name="connsiteX59" fmla="*/ 34061 w 143414"/>
              <a:gd name="connsiteY59" fmla="*/ 69018 h 129969"/>
              <a:gd name="connsiteX60" fmla="*/ 36302 w 143414"/>
              <a:gd name="connsiteY60" fmla="*/ 66777 h 129969"/>
              <a:gd name="connsiteX61" fmla="*/ 34061 w 143414"/>
              <a:gd name="connsiteY61" fmla="*/ 64536 h 129969"/>
              <a:gd name="connsiteX62" fmla="*/ 20616 w 143414"/>
              <a:gd name="connsiteY62" fmla="*/ 64536 h 129969"/>
              <a:gd name="connsiteX63" fmla="*/ 20616 w 143414"/>
              <a:gd name="connsiteY63" fmla="*/ 64088 h 129969"/>
              <a:gd name="connsiteX64" fmla="*/ 9412 w 143414"/>
              <a:gd name="connsiteY64" fmla="*/ 44368 h 129969"/>
              <a:gd name="connsiteX65" fmla="*/ 17479 w 143414"/>
              <a:gd name="connsiteY65" fmla="*/ 44368 h 129969"/>
              <a:gd name="connsiteX66" fmla="*/ 33613 w 143414"/>
              <a:gd name="connsiteY66" fmla="*/ 58262 h 129969"/>
              <a:gd name="connsiteX67" fmla="*/ 34957 w 143414"/>
              <a:gd name="connsiteY67" fmla="*/ 58710 h 129969"/>
              <a:gd name="connsiteX68" fmla="*/ 72604 w 143414"/>
              <a:gd name="connsiteY68" fmla="*/ 58710 h 129969"/>
              <a:gd name="connsiteX69" fmla="*/ 73052 w 143414"/>
              <a:gd name="connsiteY69" fmla="*/ 58710 h 129969"/>
              <a:gd name="connsiteX70" fmla="*/ 73500 w 143414"/>
              <a:gd name="connsiteY70" fmla="*/ 58710 h 129969"/>
              <a:gd name="connsiteX71" fmla="*/ 105320 w 143414"/>
              <a:gd name="connsiteY71" fmla="*/ 58710 h 129969"/>
              <a:gd name="connsiteX72" fmla="*/ 105768 w 143414"/>
              <a:gd name="connsiteY72" fmla="*/ 58710 h 129969"/>
              <a:gd name="connsiteX73" fmla="*/ 125936 w 143414"/>
              <a:gd name="connsiteY73" fmla="*/ 58710 h 129969"/>
              <a:gd name="connsiteX74" fmla="*/ 142966 w 143414"/>
              <a:gd name="connsiteY74" fmla="*/ 66777 h 129969"/>
              <a:gd name="connsiteX75" fmla="*/ 135347 w 143414"/>
              <a:gd name="connsiteY75" fmla="*/ 72603 h 12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43414" h="129969">
                <a:moveTo>
                  <a:pt x="147448" y="65433"/>
                </a:moveTo>
                <a:cubicBezTo>
                  <a:pt x="146103" y="58262"/>
                  <a:pt x="131762" y="53780"/>
                  <a:pt x="125936" y="53780"/>
                </a:cubicBezTo>
                <a:lnTo>
                  <a:pt x="106664" y="53780"/>
                </a:lnTo>
                <a:lnTo>
                  <a:pt x="77533" y="1344"/>
                </a:lnTo>
                <a:cubicBezTo>
                  <a:pt x="77085" y="448"/>
                  <a:pt x="76189" y="0"/>
                  <a:pt x="75741" y="0"/>
                </a:cubicBezTo>
                <a:lnTo>
                  <a:pt x="60055" y="0"/>
                </a:lnTo>
                <a:cubicBezTo>
                  <a:pt x="59158" y="0"/>
                  <a:pt x="58710" y="448"/>
                  <a:pt x="58262" y="896"/>
                </a:cubicBezTo>
                <a:cubicBezTo>
                  <a:pt x="57814" y="1344"/>
                  <a:pt x="57814" y="2241"/>
                  <a:pt x="57814" y="2689"/>
                </a:cubicBezTo>
                <a:lnTo>
                  <a:pt x="69915" y="53780"/>
                </a:lnTo>
                <a:lnTo>
                  <a:pt x="35854" y="53780"/>
                </a:lnTo>
                <a:lnTo>
                  <a:pt x="19719" y="39887"/>
                </a:lnTo>
                <a:cubicBezTo>
                  <a:pt x="19271" y="39439"/>
                  <a:pt x="18823" y="39439"/>
                  <a:pt x="18375" y="39439"/>
                </a:cubicBezTo>
                <a:lnTo>
                  <a:pt x="5826" y="39439"/>
                </a:lnTo>
                <a:cubicBezTo>
                  <a:pt x="4930" y="39439"/>
                  <a:pt x="4482" y="39887"/>
                  <a:pt x="4034" y="40335"/>
                </a:cubicBezTo>
                <a:cubicBezTo>
                  <a:pt x="3585" y="40783"/>
                  <a:pt x="3585" y="41680"/>
                  <a:pt x="4034" y="42576"/>
                </a:cubicBezTo>
                <a:lnTo>
                  <a:pt x="16134" y="64088"/>
                </a:lnTo>
                <a:lnTo>
                  <a:pt x="2241" y="64088"/>
                </a:lnTo>
                <a:cubicBezTo>
                  <a:pt x="896" y="64088"/>
                  <a:pt x="0" y="64985"/>
                  <a:pt x="0" y="66329"/>
                </a:cubicBezTo>
                <a:cubicBezTo>
                  <a:pt x="0" y="67674"/>
                  <a:pt x="896" y="68570"/>
                  <a:pt x="2241" y="68570"/>
                </a:cubicBezTo>
                <a:lnTo>
                  <a:pt x="13893" y="68570"/>
                </a:lnTo>
                <a:lnTo>
                  <a:pt x="3585" y="86497"/>
                </a:lnTo>
                <a:cubicBezTo>
                  <a:pt x="3137" y="87393"/>
                  <a:pt x="3137" y="87841"/>
                  <a:pt x="3585" y="88737"/>
                </a:cubicBezTo>
                <a:cubicBezTo>
                  <a:pt x="4034" y="89634"/>
                  <a:pt x="4930" y="89634"/>
                  <a:pt x="5378" y="89634"/>
                </a:cubicBezTo>
                <a:lnTo>
                  <a:pt x="17927" y="89634"/>
                </a:lnTo>
                <a:cubicBezTo>
                  <a:pt x="18375" y="89634"/>
                  <a:pt x="18823" y="89634"/>
                  <a:pt x="19271" y="89185"/>
                </a:cubicBezTo>
                <a:lnTo>
                  <a:pt x="34509" y="78878"/>
                </a:lnTo>
                <a:lnTo>
                  <a:pt x="69915" y="78878"/>
                </a:lnTo>
                <a:lnTo>
                  <a:pt x="58710" y="129969"/>
                </a:lnTo>
                <a:cubicBezTo>
                  <a:pt x="58710" y="130417"/>
                  <a:pt x="58710" y="131314"/>
                  <a:pt x="59158" y="131762"/>
                </a:cubicBezTo>
                <a:cubicBezTo>
                  <a:pt x="59607" y="132210"/>
                  <a:pt x="60055" y="132658"/>
                  <a:pt x="60951" y="132658"/>
                </a:cubicBezTo>
                <a:lnTo>
                  <a:pt x="75741" y="132658"/>
                </a:lnTo>
                <a:cubicBezTo>
                  <a:pt x="76637" y="132658"/>
                  <a:pt x="77533" y="132210"/>
                  <a:pt x="77533" y="131314"/>
                </a:cubicBezTo>
                <a:lnTo>
                  <a:pt x="104424" y="78878"/>
                </a:lnTo>
                <a:lnTo>
                  <a:pt x="120558" y="78878"/>
                </a:lnTo>
                <a:cubicBezTo>
                  <a:pt x="125936" y="78878"/>
                  <a:pt x="131314" y="77981"/>
                  <a:pt x="136244" y="76189"/>
                </a:cubicBezTo>
                <a:cubicBezTo>
                  <a:pt x="144759" y="73499"/>
                  <a:pt x="148344" y="69914"/>
                  <a:pt x="147448" y="65433"/>
                </a:cubicBezTo>
                <a:close/>
                <a:moveTo>
                  <a:pt x="62744" y="4482"/>
                </a:moveTo>
                <a:lnTo>
                  <a:pt x="74396" y="4482"/>
                </a:lnTo>
                <a:lnTo>
                  <a:pt x="101735" y="53780"/>
                </a:lnTo>
                <a:lnTo>
                  <a:pt x="74396" y="53780"/>
                </a:lnTo>
                <a:lnTo>
                  <a:pt x="62744" y="4482"/>
                </a:lnTo>
                <a:close/>
                <a:moveTo>
                  <a:pt x="74844" y="128625"/>
                </a:moveTo>
                <a:lnTo>
                  <a:pt x="64088" y="128625"/>
                </a:lnTo>
                <a:lnTo>
                  <a:pt x="74844" y="79326"/>
                </a:lnTo>
                <a:lnTo>
                  <a:pt x="99942" y="79326"/>
                </a:lnTo>
                <a:lnTo>
                  <a:pt x="74844" y="128625"/>
                </a:lnTo>
                <a:close/>
                <a:moveTo>
                  <a:pt x="135347" y="72603"/>
                </a:moveTo>
                <a:cubicBezTo>
                  <a:pt x="130866" y="74396"/>
                  <a:pt x="126384" y="75292"/>
                  <a:pt x="121454" y="75292"/>
                </a:cubicBezTo>
                <a:lnTo>
                  <a:pt x="103975" y="75292"/>
                </a:lnTo>
                <a:cubicBezTo>
                  <a:pt x="103527" y="75292"/>
                  <a:pt x="103527" y="75292"/>
                  <a:pt x="103527" y="75292"/>
                </a:cubicBezTo>
                <a:cubicBezTo>
                  <a:pt x="103079" y="75292"/>
                  <a:pt x="103079" y="75292"/>
                  <a:pt x="102631" y="75292"/>
                </a:cubicBezTo>
                <a:lnTo>
                  <a:pt x="73948" y="75292"/>
                </a:lnTo>
                <a:cubicBezTo>
                  <a:pt x="73948" y="75292"/>
                  <a:pt x="73948" y="75292"/>
                  <a:pt x="73500" y="75292"/>
                </a:cubicBezTo>
                <a:cubicBezTo>
                  <a:pt x="73500" y="75292"/>
                  <a:pt x="73500" y="75292"/>
                  <a:pt x="73500" y="75292"/>
                </a:cubicBezTo>
                <a:lnTo>
                  <a:pt x="34061" y="75292"/>
                </a:lnTo>
                <a:cubicBezTo>
                  <a:pt x="33613" y="75292"/>
                  <a:pt x="33165" y="75292"/>
                  <a:pt x="32716" y="75740"/>
                </a:cubicBezTo>
                <a:lnTo>
                  <a:pt x="17479" y="86048"/>
                </a:lnTo>
                <a:lnTo>
                  <a:pt x="9412" y="86048"/>
                </a:lnTo>
                <a:lnTo>
                  <a:pt x="18823" y="69018"/>
                </a:lnTo>
                <a:lnTo>
                  <a:pt x="34061" y="69018"/>
                </a:lnTo>
                <a:cubicBezTo>
                  <a:pt x="35405" y="69018"/>
                  <a:pt x="36302" y="68122"/>
                  <a:pt x="36302" y="66777"/>
                </a:cubicBezTo>
                <a:cubicBezTo>
                  <a:pt x="36302" y="65433"/>
                  <a:pt x="35405" y="64536"/>
                  <a:pt x="34061" y="64536"/>
                </a:cubicBezTo>
                <a:lnTo>
                  <a:pt x="20616" y="64536"/>
                </a:lnTo>
                <a:cubicBezTo>
                  <a:pt x="20616" y="64536"/>
                  <a:pt x="20616" y="64088"/>
                  <a:pt x="20616" y="64088"/>
                </a:cubicBezTo>
                <a:lnTo>
                  <a:pt x="9412" y="44368"/>
                </a:lnTo>
                <a:lnTo>
                  <a:pt x="17479" y="44368"/>
                </a:lnTo>
                <a:lnTo>
                  <a:pt x="33613" y="58262"/>
                </a:lnTo>
                <a:cubicBezTo>
                  <a:pt x="34061" y="58710"/>
                  <a:pt x="34509" y="58710"/>
                  <a:pt x="34957" y="58710"/>
                </a:cubicBezTo>
                <a:lnTo>
                  <a:pt x="72604" y="58710"/>
                </a:lnTo>
                <a:cubicBezTo>
                  <a:pt x="72604" y="58710"/>
                  <a:pt x="73052" y="58710"/>
                  <a:pt x="73052" y="58710"/>
                </a:cubicBezTo>
                <a:cubicBezTo>
                  <a:pt x="73052" y="58710"/>
                  <a:pt x="73500" y="58710"/>
                  <a:pt x="73500" y="58710"/>
                </a:cubicBezTo>
                <a:lnTo>
                  <a:pt x="105320" y="58710"/>
                </a:lnTo>
                <a:lnTo>
                  <a:pt x="105768" y="58710"/>
                </a:lnTo>
                <a:lnTo>
                  <a:pt x="125936" y="58710"/>
                </a:lnTo>
                <a:cubicBezTo>
                  <a:pt x="131314" y="58710"/>
                  <a:pt x="142070" y="63192"/>
                  <a:pt x="142966" y="66777"/>
                </a:cubicBezTo>
                <a:cubicBezTo>
                  <a:pt x="143414" y="68122"/>
                  <a:pt x="140277" y="70363"/>
                  <a:pt x="135347" y="72603"/>
                </a:cubicBezTo>
                <a:close/>
              </a:path>
            </a:pathLst>
          </a:custGeom>
          <a:solidFill>
            <a:srgbClr val="231F20"/>
          </a:solidFill>
          <a:ln w="4477" cap="flat">
            <a:noFill/>
            <a:prstDash val="solid"/>
            <a:miter/>
          </a:ln>
        </p:spPr>
        <p:txBody>
          <a:bodyPr rtlCol="0" anchor="ctr"/>
          <a:lstStyle/>
          <a:p>
            <a:endParaRPr lang="en-US"/>
          </a:p>
        </p:txBody>
      </p:sp>
      <p:sp>
        <p:nvSpPr>
          <p:cNvPr id="3821" name="Freeform: Shape 3820">
            <a:extLst>
              <a:ext uri="{FF2B5EF4-FFF2-40B4-BE49-F238E27FC236}">
                <a16:creationId xmlns:a16="http://schemas.microsoft.com/office/drawing/2014/main" id="{4E45FF12-A89F-48B0-A131-33678DB1225E}"/>
              </a:ext>
              <a:ext uri="{C183D7F6-B498-43B3-948B-1728B52AA6E4}">
                <adec:decorative xmlns:adec="http://schemas.microsoft.com/office/drawing/2017/decorative" val="1"/>
              </a:ext>
            </a:extLst>
          </p:cNvPr>
          <p:cNvSpPr>
            <a:spLocks noChangeAspect="1"/>
          </p:cNvSpPr>
          <p:nvPr/>
        </p:nvSpPr>
        <p:spPr>
          <a:xfrm>
            <a:off x="2282035" y="3447936"/>
            <a:ext cx="94116" cy="152378"/>
          </a:xfrm>
          <a:custGeom>
            <a:avLst/>
            <a:gdLst>
              <a:gd name="connsiteX0" fmla="*/ 73500 w 94115"/>
              <a:gd name="connsiteY0" fmla="*/ 121006 h 152377"/>
              <a:gd name="connsiteX1" fmla="*/ 68122 w 94115"/>
              <a:gd name="connsiteY1" fmla="*/ 121006 h 152377"/>
              <a:gd name="connsiteX2" fmla="*/ 65433 w 94115"/>
              <a:gd name="connsiteY2" fmla="*/ 121006 h 152377"/>
              <a:gd name="connsiteX3" fmla="*/ 72603 w 94115"/>
              <a:gd name="connsiteY3" fmla="*/ 96805 h 152377"/>
              <a:gd name="connsiteX4" fmla="*/ 97701 w 94115"/>
              <a:gd name="connsiteY4" fmla="*/ 40783 h 152377"/>
              <a:gd name="connsiteX5" fmla="*/ 48851 w 94115"/>
              <a:gd name="connsiteY5" fmla="*/ 0 h 152377"/>
              <a:gd name="connsiteX6" fmla="*/ 0 w 94115"/>
              <a:gd name="connsiteY6" fmla="*/ 40783 h 152377"/>
              <a:gd name="connsiteX7" fmla="*/ 25098 w 94115"/>
              <a:gd name="connsiteY7" fmla="*/ 96805 h 152377"/>
              <a:gd name="connsiteX8" fmla="*/ 32268 w 94115"/>
              <a:gd name="connsiteY8" fmla="*/ 121006 h 152377"/>
              <a:gd name="connsiteX9" fmla="*/ 29579 w 94115"/>
              <a:gd name="connsiteY9" fmla="*/ 121006 h 152377"/>
              <a:gd name="connsiteX10" fmla="*/ 24201 w 94115"/>
              <a:gd name="connsiteY10" fmla="*/ 121006 h 152377"/>
              <a:gd name="connsiteX11" fmla="*/ 21960 w 94115"/>
              <a:gd name="connsiteY11" fmla="*/ 123247 h 152377"/>
              <a:gd name="connsiteX12" fmla="*/ 24201 w 94115"/>
              <a:gd name="connsiteY12" fmla="*/ 125488 h 152377"/>
              <a:gd name="connsiteX13" fmla="*/ 27338 w 94115"/>
              <a:gd name="connsiteY13" fmla="*/ 125488 h 152377"/>
              <a:gd name="connsiteX14" fmla="*/ 27338 w 94115"/>
              <a:gd name="connsiteY14" fmla="*/ 146103 h 152377"/>
              <a:gd name="connsiteX15" fmla="*/ 34061 w 94115"/>
              <a:gd name="connsiteY15" fmla="*/ 152826 h 152377"/>
              <a:gd name="connsiteX16" fmla="*/ 63640 w 94115"/>
              <a:gd name="connsiteY16" fmla="*/ 152826 h 152377"/>
              <a:gd name="connsiteX17" fmla="*/ 70363 w 94115"/>
              <a:gd name="connsiteY17" fmla="*/ 146103 h 152377"/>
              <a:gd name="connsiteX18" fmla="*/ 70363 w 94115"/>
              <a:gd name="connsiteY18" fmla="*/ 125488 h 152377"/>
              <a:gd name="connsiteX19" fmla="*/ 73500 w 94115"/>
              <a:gd name="connsiteY19" fmla="*/ 125488 h 152377"/>
              <a:gd name="connsiteX20" fmla="*/ 75741 w 94115"/>
              <a:gd name="connsiteY20" fmla="*/ 123247 h 152377"/>
              <a:gd name="connsiteX21" fmla="*/ 73500 w 94115"/>
              <a:gd name="connsiteY21" fmla="*/ 121006 h 152377"/>
              <a:gd name="connsiteX22" fmla="*/ 48851 w 94115"/>
              <a:gd name="connsiteY22" fmla="*/ 4482 h 152377"/>
              <a:gd name="connsiteX23" fmla="*/ 73948 w 94115"/>
              <a:gd name="connsiteY23" fmla="*/ 40783 h 152377"/>
              <a:gd name="connsiteX24" fmla="*/ 60055 w 94115"/>
              <a:gd name="connsiteY24" fmla="*/ 93220 h 152377"/>
              <a:gd name="connsiteX25" fmla="*/ 37646 w 94115"/>
              <a:gd name="connsiteY25" fmla="*/ 93220 h 152377"/>
              <a:gd name="connsiteX26" fmla="*/ 23753 w 94115"/>
              <a:gd name="connsiteY26" fmla="*/ 40783 h 152377"/>
              <a:gd name="connsiteX27" fmla="*/ 48851 w 94115"/>
              <a:gd name="connsiteY27" fmla="*/ 4482 h 152377"/>
              <a:gd name="connsiteX28" fmla="*/ 61847 w 94115"/>
              <a:gd name="connsiteY28" fmla="*/ 97701 h 152377"/>
              <a:gd name="connsiteX29" fmla="*/ 67674 w 94115"/>
              <a:gd name="connsiteY29" fmla="*/ 97701 h 152377"/>
              <a:gd name="connsiteX30" fmla="*/ 60951 w 94115"/>
              <a:gd name="connsiteY30" fmla="*/ 120558 h 152377"/>
              <a:gd name="connsiteX31" fmla="*/ 51091 w 94115"/>
              <a:gd name="connsiteY31" fmla="*/ 120558 h 152377"/>
              <a:gd name="connsiteX32" fmla="*/ 51091 w 94115"/>
              <a:gd name="connsiteY32" fmla="*/ 97701 h 152377"/>
              <a:gd name="connsiteX33" fmla="*/ 61847 w 94115"/>
              <a:gd name="connsiteY33" fmla="*/ 97701 h 152377"/>
              <a:gd name="connsiteX34" fmla="*/ 93219 w 94115"/>
              <a:gd name="connsiteY34" fmla="*/ 40783 h 152377"/>
              <a:gd name="connsiteX35" fmla="*/ 69466 w 94115"/>
              <a:gd name="connsiteY35" fmla="*/ 93220 h 152377"/>
              <a:gd name="connsiteX36" fmla="*/ 64985 w 94115"/>
              <a:gd name="connsiteY36" fmla="*/ 93220 h 152377"/>
              <a:gd name="connsiteX37" fmla="*/ 78430 w 94115"/>
              <a:gd name="connsiteY37" fmla="*/ 40783 h 152377"/>
              <a:gd name="connsiteX38" fmla="*/ 66329 w 94115"/>
              <a:gd name="connsiteY38" fmla="*/ 7171 h 152377"/>
              <a:gd name="connsiteX39" fmla="*/ 93219 w 94115"/>
              <a:gd name="connsiteY39" fmla="*/ 40783 h 152377"/>
              <a:gd name="connsiteX40" fmla="*/ 31372 w 94115"/>
              <a:gd name="connsiteY40" fmla="*/ 7171 h 152377"/>
              <a:gd name="connsiteX41" fmla="*/ 19271 w 94115"/>
              <a:gd name="connsiteY41" fmla="*/ 40783 h 152377"/>
              <a:gd name="connsiteX42" fmla="*/ 32716 w 94115"/>
              <a:gd name="connsiteY42" fmla="*/ 93220 h 152377"/>
              <a:gd name="connsiteX43" fmla="*/ 28235 w 94115"/>
              <a:gd name="connsiteY43" fmla="*/ 93220 h 152377"/>
              <a:gd name="connsiteX44" fmla="*/ 4482 w 94115"/>
              <a:gd name="connsiteY44" fmla="*/ 40783 h 152377"/>
              <a:gd name="connsiteX45" fmla="*/ 31372 w 94115"/>
              <a:gd name="connsiteY45" fmla="*/ 7171 h 152377"/>
              <a:gd name="connsiteX46" fmla="*/ 30027 w 94115"/>
              <a:gd name="connsiteY46" fmla="*/ 97701 h 152377"/>
              <a:gd name="connsiteX47" fmla="*/ 35854 w 94115"/>
              <a:gd name="connsiteY47" fmla="*/ 97701 h 152377"/>
              <a:gd name="connsiteX48" fmla="*/ 46610 w 94115"/>
              <a:gd name="connsiteY48" fmla="*/ 97701 h 152377"/>
              <a:gd name="connsiteX49" fmla="*/ 46610 w 94115"/>
              <a:gd name="connsiteY49" fmla="*/ 120558 h 152377"/>
              <a:gd name="connsiteX50" fmla="*/ 36750 w 94115"/>
              <a:gd name="connsiteY50" fmla="*/ 120558 h 152377"/>
              <a:gd name="connsiteX51" fmla="*/ 30027 w 94115"/>
              <a:gd name="connsiteY51" fmla="*/ 97701 h 152377"/>
              <a:gd name="connsiteX52" fmla="*/ 65881 w 94115"/>
              <a:gd name="connsiteY52" fmla="*/ 146103 h 152377"/>
              <a:gd name="connsiteX53" fmla="*/ 63640 w 94115"/>
              <a:gd name="connsiteY53" fmla="*/ 148344 h 152377"/>
              <a:gd name="connsiteX54" fmla="*/ 34061 w 94115"/>
              <a:gd name="connsiteY54" fmla="*/ 148344 h 152377"/>
              <a:gd name="connsiteX55" fmla="*/ 31820 w 94115"/>
              <a:gd name="connsiteY55" fmla="*/ 146103 h 152377"/>
              <a:gd name="connsiteX56" fmla="*/ 31820 w 94115"/>
              <a:gd name="connsiteY56" fmla="*/ 125488 h 152377"/>
              <a:gd name="connsiteX57" fmla="*/ 34957 w 94115"/>
              <a:gd name="connsiteY57" fmla="*/ 125488 h 152377"/>
              <a:gd name="connsiteX58" fmla="*/ 62296 w 94115"/>
              <a:gd name="connsiteY58" fmla="*/ 125488 h 152377"/>
              <a:gd name="connsiteX59" fmla="*/ 65433 w 94115"/>
              <a:gd name="connsiteY59" fmla="*/ 125488 h 152377"/>
              <a:gd name="connsiteX60" fmla="*/ 65433 w 94115"/>
              <a:gd name="connsiteY60" fmla="*/ 146103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4115" h="152377">
                <a:moveTo>
                  <a:pt x="73500" y="121006"/>
                </a:moveTo>
                <a:lnTo>
                  <a:pt x="68122" y="121006"/>
                </a:lnTo>
                <a:lnTo>
                  <a:pt x="65433" y="121006"/>
                </a:lnTo>
                <a:lnTo>
                  <a:pt x="72603" y="96805"/>
                </a:lnTo>
                <a:cubicBezTo>
                  <a:pt x="85152" y="80671"/>
                  <a:pt x="97701" y="57366"/>
                  <a:pt x="97701" y="40783"/>
                </a:cubicBezTo>
                <a:cubicBezTo>
                  <a:pt x="97701" y="16583"/>
                  <a:pt x="77982" y="0"/>
                  <a:pt x="48851" y="0"/>
                </a:cubicBezTo>
                <a:cubicBezTo>
                  <a:pt x="19719" y="0"/>
                  <a:pt x="0" y="16134"/>
                  <a:pt x="0" y="40783"/>
                </a:cubicBezTo>
                <a:cubicBezTo>
                  <a:pt x="0" y="56918"/>
                  <a:pt x="12549" y="80671"/>
                  <a:pt x="25098" y="96805"/>
                </a:cubicBezTo>
                <a:lnTo>
                  <a:pt x="32268" y="121006"/>
                </a:lnTo>
                <a:lnTo>
                  <a:pt x="29579" y="121006"/>
                </a:lnTo>
                <a:lnTo>
                  <a:pt x="24201" y="121006"/>
                </a:lnTo>
                <a:cubicBezTo>
                  <a:pt x="22857" y="121006"/>
                  <a:pt x="21960" y="121903"/>
                  <a:pt x="21960" y="123247"/>
                </a:cubicBezTo>
                <a:cubicBezTo>
                  <a:pt x="21960" y="124592"/>
                  <a:pt x="22857" y="125488"/>
                  <a:pt x="24201" y="125488"/>
                </a:cubicBezTo>
                <a:lnTo>
                  <a:pt x="27338" y="125488"/>
                </a:lnTo>
                <a:lnTo>
                  <a:pt x="27338" y="146103"/>
                </a:lnTo>
                <a:cubicBezTo>
                  <a:pt x="27338" y="149689"/>
                  <a:pt x="30476" y="152826"/>
                  <a:pt x="34061" y="152826"/>
                </a:cubicBezTo>
                <a:lnTo>
                  <a:pt x="63640" y="152826"/>
                </a:lnTo>
                <a:cubicBezTo>
                  <a:pt x="67226" y="152826"/>
                  <a:pt x="70363" y="149689"/>
                  <a:pt x="70363" y="146103"/>
                </a:cubicBezTo>
                <a:lnTo>
                  <a:pt x="70363" y="125488"/>
                </a:lnTo>
                <a:lnTo>
                  <a:pt x="73500" y="125488"/>
                </a:lnTo>
                <a:cubicBezTo>
                  <a:pt x="74844" y="125488"/>
                  <a:pt x="75741" y="124592"/>
                  <a:pt x="75741" y="123247"/>
                </a:cubicBezTo>
                <a:cubicBezTo>
                  <a:pt x="75741" y="121903"/>
                  <a:pt x="74844" y="121006"/>
                  <a:pt x="73500" y="121006"/>
                </a:cubicBezTo>
                <a:close/>
                <a:moveTo>
                  <a:pt x="48851" y="4482"/>
                </a:moveTo>
                <a:cubicBezTo>
                  <a:pt x="64088" y="4482"/>
                  <a:pt x="73948" y="18823"/>
                  <a:pt x="73948" y="40783"/>
                </a:cubicBezTo>
                <a:cubicBezTo>
                  <a:pt x="73948" y="56021"/>
                  <a:pt x="66777" y="78430"/>
                  <a:pt x="60055" y="93220"/>
                </a:cubicBezTo>
                <a:lnTo>
                  <a:pt x="37646" y="93220"/>
                </a:lnTo>
                <a:cubicBezTo>
                  <a:pt x="30924" y="77982"/>
                  <a:pt x="23753" y="55573"/>
                  <a:pt x="23753" y="40783"/>
                </a:cubicBezTo>
                <a:cubicBezTo>
                  <a:pt x="23753" y="18823"/>
                  <a:pt x="33613" y="4482"/>
                  <a:pt x="48851" y="4482"/>
                </a:cubicBezTo>
                <a:close/>
                <a:moveTo>
                  <a:pt x="61847" y="97701"/>
                </a:moveTo>
                <a:lnTo>
                  <a:pt x="67674" y="97701"/>
                </a:lnTo>
                <a:lnTo>
                  <a:pt x="60951" y="120558"/>
                </a:lnTo>
                <a:lnTo>
                  <a:pt x="51091" y="120558"/>
                </a:lnTo>
                <a:lnTo>
                  <a:pt x="51091" y="97701"/>
                </a:lnTo>
                <a:lnTo>
                  <a:pt x="61847" y="97701"/>
                </a:lnTo>
                <a:close/>
                <a:moveTo>
                  <a:pt x="93219" y="40783"/>
                </a:moveTo>
                <a:cubicBezTo>
                  <a:pt x="93219" y="55573"/>
                  <a:pt x="81119" y="78430"/>
                  <a:pt x="69466" y="93220"/>
                </a:cubicBezTo>
                <a:lnTo>
                  <a:pt x="64985" y="93220"/>
                </a:lnTo>
                <a:cubicBezTo>
                  <a:pt x="71707" y="77534"/>
                  <a:pt x="78430" y="56021"/>
                  <a:pt x="78430" y="40783"/>
                </a:cubicBezTo>
                <a:cubicBezTo>
                  <a:pt x="78430" y="24649"/>
                  <a:pt x="73500" y="13445"/>
                  <a:pt x="66329" y="7171"/>
                </a:cubicBezTo>
                <a:cubicBezTo>
                  <a:pt x="83360" y="12101"/>
                  <a:pt x="93219" y="24201"/>
                  <a:pt x="93219" y="40783"/>
                </a:cubicBezTo>
                <a:close/>
                <a:moveTo>
                  <a:pt x="31372" y="7171"/>
                </a:moveTo>
                <a:cubicBezTo>
                  <a:pt x="24201" y="13445"/>
                  <a:pt x="19271" y="24649"/>
                  <a:pt x="19271" y="40783"/>
                </a:cubicBezTo>
                <a:cubicBezTo>
                  <a:pt x="19271" y="56021"/>
                  <a:pt x="25994" y="77534"/>
                  <a:pt x="32716" y="93220"/>
                </a:cubicBezTo>
                <a:lnTo>
                  <a:pt x="28235" y="93220"/>
                </a:lnTo>
                <a:cubicBezTo>
                  <a:pt x="16582" y="77982"/>
                  <a:pt x="4482" y="55573"/>
                  <a:pt x="4482" y="40783"/>
                </a:cubicBezTo>
                <a:cubicBezTo>
                  <a:pt x="4482" y="24201"/>
                  <a:pt x="14790" y="12101"/>
                  <a:pt x="31372" y="7171"/>
                </a:cubicBezTo>
                <a:close/>
                <a:moveTo>
                  <a:pt x="30027" y="97701"/>
                </a:moveTo>
                <a:lnTo>
                  <a:pt x="35854" y="97701"/>
                </a:lnTo>
                <a:lnTo>
                  <a:pt x="46610" y="97701"/>
                </a:lnTo>
                <a:lnTo>
                  <a:pt x="46610" y="120558"/>
                </a:lnTo>
                <a:lnTo>
                  <a:pt x="36750" y="120558"/>
                </a:lnTo>
                <a:lnTo>
                  <a:pt x="30027" y="97701"/>
                </a:lnTo>
                <a:close/>
                <a:moveTo>
                  <a:pt x="65881" y="146103"/>
                </a:moveTo>
                <a:cubicBezTo>
                  <a:pt x="65881" y="147448"/>
                  <a:pt x="64985" y="148344"/>
                  <a:pt x="63640" y="148344"/>
                </a:cubicBezTo>
                <a:lnTo>
                  <a:pt x="34061" y="148344"/>
                </a:lnTo>
                <a:cubicBezTo>
                  <a:pt x="32716" y="148344"/>
                  <a:pt x="31820" y="147448"/>
                  <a:pt x="31820" y="146103"/>
                </a:cubicBezTo>
                <a:lnTo>
                  <a:pt x="31820" y="125488"/>
                </a:lnTo>
                <a:lnTo>
                  <a:pt x="34957" y="125488"/>
                </a:lnTo>
                <a:lnTo>
                  <a:pt x="62296" y="125488"/>
                </a:lnTo>
                <a:lnTo>
                  <a:pt x="65433" y="125488"/>
                </a:lnTo>
                <a:lnTo>
                  <a:pt x="65433" y="146103"/>
                </a:lnTo>
                <a:close/>
              </a:path>
            </a:pathLst>
          </a:custGeom>
          <a:solidFill>
            <a:srgbClr val="231F20"/>
          </a:solidFill>
          <a:ln w="4477" cap="flat">
            <a:noFill/>
            <a:prstDash val="solid"/>
            <a:miter/>
          </a:ln>
        </p:spPr>
        <p:txBody>
          <a:bodyPr rtlCol="0" anchor="ctr"/>
          <a:lstStyle/>
          <a:p>
            <a:endParaRPr lang="en-US"/>
          </a:p>
        </p:txBody>
      </p:sp>
      <p:grpSp>
        <p:nvGrpSpPr>
          <p:cNvPr id="3822" name="Group 3821">
            <a:extLst>
              <a:ext uri="{FF2B5EF4-FFF2-40B4-BE49-F238E27FC236}">
                <a16:creationId xmlns:a16="http://schemas.microsoft.com/office/drawing/2014/main" id="{BBCA4D36-9DC7-49BB-AC62-62B3A0B4EAD8}"/>
              </a:ext>
              <a:ext uri="{C183D7F6-B498-43B3-948B-1728B52AA6E4}">
                <adec:decorative xmlns:adec="http://schemas.microsoft.com/office/drawing/2017/decorative" val="1"/>
              </a:ext>
            </a:extLst>
          </p:cNvPr>
          <p:cNvGrpSpPr>
            <a:grpSpLocks noChangeAspect="1"/>
          </p:cNvGrpSpPr>
          <p:nvPr/>
        </p:nvGrpSpPr>
        <p:grpSpPr>
          <a:xfrm>
            <a:off x="1368153" y="2406228"/>
            <a:ext cx="152378" cy="147896"/>
            <a:chOff x="7269779" y="5252764"/>
            <a:chExt cx="152378" cy="147896"/>
          </a:xfrm>
        </p:grpSpPr>
        <p:sp>
          <p:nvSpPr>
            <p:cNvPr id="3823" name="Freeform: Shape 3822">
              <a:extLst>
                <a:ext uri="{FF2B5EF4-FFF2-40B4-BE49-F238E27FC236}">
                  <a16:creationId xmlns:a16="http://schemas.microsoft.com/office/drawing/2014/main" id="{18F9CC7D-7CDB-441A-9636-D54F05AC728C}"/>
                </a:ext>
              </a:extLst>
            </p:cNvPr>
            <p:cNvSpPr/>
            <p:nvPr/>
          </p:nvSpPr>
          <p:spPr>
            <a:xfrm>
              <a:off x="7269779" y="5252764"/>
              <a:ext cx="152378" cy="147896"/>
            </a:xfrm>
            <a:custGeom>
              <a:avLst/>
              <a:gdLst>
                <a:gd name="connsiteX0" fmla="*/ 150585 w 152377"/>
                <a:gd name="connsiteY0" fmla="*/ 145880 h 147896"/>
                <a:gd name="connsiteX1" fmla="*/ 139381 w 152377"/>
                <a:gd name="connsiteY1" fmla="*/ 145880 h 147896"/>
                <a:gd name="connsiteX2" fmla="*/ 139381 w 152377"/>
                <a:gd name="connsiteY2" fmla="*/ 73724 h 147896"/>
                <a:gd name="connsiteX3" fmla="*/ 148792 w 152377"/>
                <a:gd name="connsiteY3" fmla="*/ 84032 h 147896"/>
                <a:gd name="connsiteX4" fmla="*/ 150585 w 152377"/>
                <a:gd name="connsiteY4" fmla="*/ 84928 h 147896"/>
                <a:gd name="connsiteX5" fmla="*/ 151930 w 152377"/>
                <a:gd name="connsiteY5" fmla="*/ 84480 h 147896"/>
                <a:gd name="connsiteX6" fmla="*/ 151930 w 152377"/>
                <a:gd name="connsiteY6" fmla="*/ 81343 h 147896"/>
                <a:gd name="connsiteX7" fmla="*/ 77982 w 152377"/>
                <a:gd name="connsiteY7" fmla="*/ 672 h 147896"/>
                <a:gd name="connsiteX8" fmla="*/ 74844 w 152377"/>
                <a:gd name="connsiteY8" fmla="*/ 672 h 147896"/>
                <a:gd name="connsiteX9" fmla="*/ 896 w 152377"/>
                <a:gd name="connsiteY9" fmla="*/ 81343 h 147896"/>
                <a:gd name="connsiteX10" fmla="*/ 896 w 152377"/>
                <a:gd name="connsiteY10" fmla="*/ 84480 h 147896"/>
                <a:gd name="connsiteX11" fmla="*/ 4034 w 152377"/>
                <a:gd name="connsiteY11" fmla="*/ 84480 h 147896"/>
                <a:gd name="connsiteX12" fmla="*/ 13445 w 152377"/>
                <a:gd name="connsiteY12" fmla="*/ 74172 h 147896"/>
                <a:gd name="connsiteX13" fmla="*/ 13445 w 152377"/>
                <a:gd name="connsiteY13" fmla="*/ 146328 h 147896"/>
                <a:gd name="connsiteX14" fmla="*/ 2241 w 152377"/>
                <a:gd name="connsiteY14" fmla="*/ 146328 h 147896"/>
                <a:gd name="connsiteX15" fmla="*/ 0 w 152377"/>
                <a:gd name="connsiteY15" fmla="*/ 148569 h 147896"/>
                <a:gd name="connsiteX16" fmla="*/ 2241 w 152377"/>
                <a:gd name="connsiteY16" fmla="*/ 150809 h 147896"/>
                <a:gd name="connsiteX17" fmla="*/ 150137 w 152377"/>
                <a:gd name="connsiteY17" fmla="*/ 150809 h 147896"/>
                <a:gd name="connsiteX18" fmla="*/ 152378 w 152377"/>
                <a:gd name="connsiteY18" fmla="*/ 148569 h 147896"/>
                <a:gd name="connsiteX19" fmla="*/ 150585 w 152377"/>
                <a:gd name="connsiteY19" fmla="*/ 145880 h 147896"/>
                <a:gd name="connsiteX20" fmla="*/ 18375 w 152377"/>
                <a:gd name="connsiteY20" fmla="*/ 68794 h 147896"/>
                <a:gd name="connsiteX21" fmla="*/ 76637 w 152377"/>
                <a:gd name="connsiteY21" fmla="*/ 5154 h 147896"/>
                <a:gd name="connsiteX22" fmla="*/ 134899 w 152377"/>
                <a:gd name="connsiteY22" fmla="*/ 68794 h 147896"/>
                <a:gd name="connsiteX23" fmla="*/ 134899 w 152377"/>
                <a:gd name="connsiteY23" fmla="*/ 145880 h 147896"/>
                <a:gd name="connsiteX24" fmla="*/ 88738 w 152377"/>
                <a:gd name="connsiteY24" fmla="*/ 145880 h 147896"/>
                <a:gd name="connsiteX25" fmla="*/ 88738 w 152377"/>
                <a:gd name="connsiteY25" fmla="*/ 107785 h 147896"/>
                <a:gd name="connsiteX26" fmla="*/ 86497 w 152377"/>
                <a:gd name="connsiteY26" fmla="*/ 105544 h 147896"/>
                <a:gd name="connsiteX27" fmla="*/ 66329 w 152377"/>
                <a:gd name="connsiteY27" fmla="*/ 105544 h 147896"/>
                <a:gd name="connsiteX28" fmla="*/ 64088 w 152377"/>
                <a:gd name="connsiteY28" fmla="*/ 107785 h 147896"/>
                <a:gd name="connsiteX29" fmla="*/ 64088 w 152377"/>
                <a:gd name="connsiteY29" fmla="*/ 145880 h 147896"/>
                <a:gd name="connsiteX30" fmla="*/ 17927 w 152377"/>
                <a:gd name="connsiteY30" fmla="*/ 145880 h 147896"/>
                <a:gd name="connsiteX31" fmla="*/ 18375 w 152377"/>
                <a:gd name="connsiteY31" fmla="*/ 68794 h 147896"/>
                <a:gd name="connsiteX32" fmla="*/ 18375 w 152377"/>
                <a:gd name="connsiteY32" fmla="*/ 68794 h 147896"/>
                <a:gd name="connsiteX33" fmla="*/ 84256 w 152377"/>
                <a:gd name="connsiteY33" fmla="*/ 145880 h 147896"/>
                <a:gd name="connsiteX34" fmla="*/ 68570 w 152377"/>
                <a:gd name="connsiteY34" fmla="*/ 145880 h 147896"/>
                <a:gd name="connsiteX35" fmla="*/ 68570 w 152377"/>
                <a:gd name="connsiteY35" fmla="*/ 110026 h 147896"/>
                <a:gd name="connsiteX36" fmla="*/ 84256 w 152377"/>
                <a:gd name="connsiteY36" fmla="*/ 110026 h 147896"/>
                <a:gd name="connsiteX37" fmla="*/ 84256 w 152377"/>
                <a:gd name="connsiteY37" fmla="*/ 145880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2377" h="147896">
                  <a:moveTo>
                    <a:pt x="150585" y="145880"/>
                  </a:moveTo>
                  <a:lnTo>
                    <a:pt x="139381" y="145880"/>
                  </a:lnTo>
                  <a:lnTo>
                    <a:pt x="139381" y="73724"/>
                  </a:lnTo>
                  <a:lnTo>
                    <a:pt x="148792" y="84032"/>
                  </a:lnTo>
                  <a:cubicBezTo>
                    <a:pt x="149241" y="84480"/>
                    <a:pt x="149689" y="84928"/>
                    <a:pt x="150585" y="84928"/>
                  </a:cubicBezTo>
                  <a:cubicBezTo>
                    <a:pt x="151033" y="84928"/>
                    <a:pt x="151482" y="84928"/>
                    <a:pt x="151930" y="84480"/>
                  </a:cubicBezTo>
                  <a:cubicBezTo>
                    <a:pt x="152826" y="83584"/>
                    <a:pt x="152826" y="82239"/>
                    <a:pt x="151930" y="81343"/>
                  </a:cubicBezTo>
                  <a:lnTo>
                    <a:pt x="77982" y="672"/>
                  </a:lnTo>
                  <a:cubicBezTo>
                    <a:pt x="77085" y="-224"/>
                    <a:pt x="75741" y="-224"/>
                    <a:pt x="74844" y="672"/>
                  </a:cubicBezTo>
                  <a:lnTo>
                    <a:pt x="896" y="81343"/>
                  </a:lnTo>
                  <a:cubicBezTo>
                    <a:pt x="0" y="82239"/>
                    <a:pt x="0" y="83584"/>
                    <a:pt x="896" y="84480"/>
                  </a:cubicBezTo>
                  <a:cubicBezTo>
                    <a:pt x="1793" y="85377"/>
                    <a:pt x="3137" y="85377"/>
                    <a:pt x="4034" y="84480"/>
                  </a:cubicBezTo>
                  <a:lnTo>
                    <a:pt x="13445" y="74172"/>
                  </a:lnTo>
                  <a:lnTo>
                    <a:pt x="13445" y="146328"/>
                  </a:lnTo>
                  <a:lnTo>
                    <a:pt x="2241" y="146328"/>
                  </a:lnTo>
                  <a:cubicBezTo>
                    <a:pt x="896" y="146328"/>
                    <a:pt x="0" y="147224"/>
                    <a:pt x="0" y="148569"/>
                  </a:cubicBezTo>
                  <a:cubicBezTo>
                    <a:pt x="0" y="149913"/>
                    <a:pt x="896" y="150809"/>
                    <a:pt x="2241" y="150809"/>
                  </a:cubicBezTo>
                  <a:lnTo>
                    <a:pt x="150137" y="150809"/>
                  </a:lnTo>
                  <a:cubicBezTo>
                    <a:pt x="151482" y="150809"/>
                    <a:pt x="152378" y="149913"/>
                    <a:pt x="152378" y="148569"/>
                  </a:cubicBezTo>
                  <a:cubicBezTo>
                    <a:pt x="152378" y="147224"/>
                    <a:pt x="151930" y="145880"/>
                    <a:pt x="150585" y="145880"/>
                  </a:cubicBezTo>
                  <a:close/>
                  <a:moveTo>
                    <a:pt x="18375" y="68794"/>
                  </a:moveTo>
                  <a:lnTo>
                    <a:pt x="76637" y="5154"/>
                  </a:lnTo>
                  <a:lnTo>
                    <a:pt x="134899" y="68794"/>
                  </a:lnTo>
                  <a:lnTo>
                    <a:pt x="134899" y="145880"/>
                  </a:lnTo>
                  <a:lnTo>
                    <a:pt x="88738" y="145880"/>
                  </a:lnTo>
                  <a:lnTo>
                    <a:pt x="88738" y="107785"/>
                  </a:lnTo>
                  <a:cubicBezTo>
                    <a:pt x="88738" y="106441"/>
                    <a:pt x="87841" y="105544"/>
                    <a:pt x="86497" y="105544"/>
                  </a:cubicBezTo>
                  <a:lnTo>
                    <a:pt x="66329" y="105544"/>
                  </a:lnTo>
                  <a:cubicBezTo>
                    <a:pt x="64985" y="105544"/>
                    <a:pt x="64088" y="106441"/>
                    <a:pt x="64088" y="107785"/>
                  </a:cubicBezTo>
                  <a:lnTo>
                    <a:pt x="64088" y="145880"/>
                  </a:lnTo>
                  <a:lnTo>
                    <a:pt x="17927" y="145880"/>
                  </a:lnTo>
                  <a:lnTo>
                    <a:pt x="18375" y="68794"/>
                  </a:lnTo>
                  <a:cubicBezTo>
                    <a:pt x="18375" y="68794"/>
                    <a:pt x="18375" y="68794"/>
                    <a:pt x="18375" y="68794"/>
                  </a:cubicBezTo>
                  <a:close/>
                  <a:moveTo>
                    <a:pt x="84256" y="145880"/>
                  </a:moveTo>
                  <a:lnTo>
                    <a:pt x="68570" y="145880"/>
                  </a:lnTo>
                  <a:lnTo>
                    <a:pt x="68570" y="110026"/>
                  </a:lnTo>
                  <a:lnTo>
                    <a:pt x="84256" y="110026"/>
                  </a:lnTo>
                  <a:lnTo>
                    <a:pt x="84256" y="145880"/>
                  </a:lnTo>
                  <a:close/>
                </a:path>
              </a:pathLst>
            </a:custGeom>
            <a:solidFill>
              <a:srgbClr val="231F20"/>
            </a:solidFill>
            <a:ln w="4477" cap="flat">
              <a:noFill/>
              <a:prstDash val="solid"/>
              <a:miter/>
            </a:ln>
          </p:spPr>
          <p:txBody>
            <a:bodyPr rtlCol="0" anchor="ctr"/>
            <a:lstStyle/>
            <a:p>
              <a:endParaRPr lang="en-US"/>
            </a:p>
          </p:txBody>
        </p:sp>
        <p:sp>
          <p:nvSpPr>
            <p:cNvPr id="3824" name="Freeform: Shape 3823">
              <a:extLst>
                <a:ext uri="{FF2B5EF4-FFF2-40B4-BE49-F238E27FC236}">
                  <a16:creationId xmlns:a16="http://schemas.microsoft.com/office/drawing/2014/main" id="{5A725F9C-EB36-4A1E-B502-57CC455574FA}"/>
                </a:ext>
              </a:extLst>
            </p:cNvPr>
            <p:cNvSpPr/>
            <p:nvPr/>
          </p:nvSpPr>
          <p:spPr>
            <a:xfrm>
              <a:off x="7330730" y="5277637"/>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482 h 31371"/>
                <a:gd name="connsiteX6" fmla="*/ 26890 w 31371"/>
                <a:gd name="connsiteY6" fmla="*/ 15686 h 31371"/>
                <a:gd name="connsiteX7" fmla="*/ 15686 w 31371"/>
                <a:gd name="connsiteY7" fmla="*/ 26890 h 31371"/>
                <a:gd name="connsiteX8" fmla="*/ 4482 w 31371"/>
                <a:gd name="connsiteY8" fmla="*/ 15686 h 31371"/>
                <a:gd name="connsiteX9" fmla="*/ 15686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482"/>
                  </a:moveTo>
                  <a:cubicBezTo>
                    <a:pt x="21960" y="4482"/>
                    <a:pt x="26890" y="9411"/>
                    <a:pt x="26890" y="15686"/>
                  </a:cubicBezTo>
                  <a:cubicBezTo>
                    <a:pt x="26890" y="21960"/>
                    <a:pt x="21960" y="26890"/>
                    <a:pt x="15686" y="26890"/>
                  </a:cubicBezTo>
                  <a:cubicBezTo>
                    <a:pt x="9412" y="26890"/>
                    <a:pt x="4482" y="21960"/>
                    <a:pt x="4482" y="15686"/>
                  </a:cubicBezTo>
                  <a:cubicBezTo>
                    <a:pt x="4482" y="9411"/>
                    <a:pt x="9412" y="4482"/>
                    <a:pt x="15686" y="4482"/>
                  </a:cubicBezTo>
                  <a:close/>
                </a:path>
              </a:pathLst>
            </a:custGeom>
            <a:solidFill>
              <a:srgbClr val="231F20"/>
            </a:solidFill>
            <a:ln w="4477" cap="flat">
              <a:noFill/>
              <a:prstDash val="solid"/>
              <a:miter/>
            </a:ln>
          </p:spPr>
          <p:txBody>
            <a:bodyPr rtlCol="0" anchor="ctr"/>
            <a:lstStyle/>
            <a:p>
              <a:endParaRPr lang="en-US"/>
            </a:p>
          </p:txBody>
        </p:sp>
        <p:sp>
          <p:nvSpPr>
            <p:cNvPr id="3825" name="Freeform: Shape 3824">
              <a:extLst>
                <a:ext uri="{FF2B5EF4-FFF2-40B4-BE49-F238E27FC236}">
                  <a16:creationId xmlns:a16="http://schemas.microsoft.com/office/drawing/2014/main" id="{1F098DA1-BC3A-4245-86AE-2BB88BF7E710}"/>
                </a:ext>
              </a:extLst>
            </p:cNvPr>
            <p:cNvSpPr/>
            <p:nvPr/>
          </p:nvSpPr>
          <p:spPr>
            <a:xfrm>
              <a:off x="7371066" y="5358308"/>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6" name="Freeform: Shape 3825">
              <a:extLst>
                <a:ext uri="{FF2B5EF4-FFF2-40B4-BE49-F238E27FC236}">
                  <a16:creationId xmlns:a16="http://schemas.microsoft.com/office/drawing/2014/main" id="{E1A9F0F7-99E8-46EA-8B21-BCEA5EEE1F34}"/>
                </a:ext>
              </a:extLst>
            </p:cNvPr>
            <p:cNvSpPr/>
            <p:nvPr/>
          </p:nvSpPr>
          <p:spPr>
            <a:xfrm>
              <a:off x="7297118" y="5358308"/>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7" name="Freeform: Shape 3826">
              <a:extLst>
                <a:ext uri="{FF2B5EF4-FFF2-40B4-BE49-F238E27FC236}">
                  <a16:creationId xmlns:a16="http://schemas.microsoft.com/office/drawing/2014/main" id="{8586264B-58D8-451F-B943-2C4FEC087897}"/>
                </a:ext>
              </a:extLst>
            </p:cNvPr>
            <p:cNvSpPr/>
            <p:nvPr/>
          </p:nvSpPr>
          <p:spPr>
            <a:xfrm>
              <a:off x="7371066" y="5317973"/>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8" name="Freeform: Shape 3827">
              <a:extLst>
                <a:ext uri="{FF2B5EF4-FFF2-40B4-BE49-F238E27FC236}">
                  <a16:creationId xmlns:a16="http://schemas.microsoft.com/office/drawing/2014/main" id="{7AE8EE9C-F442-4412-8DE9-3EBE4158771C}"/>
                </a:ext>
              </a:extLst>
            </p:cNvPr>
            <p:cNvSpPr/>
            <p:nvPr/>
          </p:nvSpPr>
          <p:spPr>
            <a:xfrm>
              <a:off x="7297118" y="5317973"/>
              <a:ext cx="22409" cy="31372"/>
            </a:xfrm>
            <a:custGeom>
              <a:avLst/>
              <a:gdLst>
                <a:gd name="connsiteX0" fmla="*/ 2241 w 22408"/>
                <a:gd name="connsiteY0" fmla="*/ 31372 h 31371"/>
                <a:gd name="connsiteX1" fmla="*/ 22409 w 22408"/>
                <a:gd name="connsiteY1" fmla="*/ 31372 h 31371"/>
                <a:gd name="connsiteX2" fmla="*/ 24649 w 22408"/>
                <a:gd name="connsiteY2" fmla="*/ 29131 h 31371"/>
                <a:gd name="connsiteX3" fmla="*/ 24649 w 22408"/>
                <a:gd name="connsiteY3" fmla="*/ 2241 h 31371"/>
                <a:gd name="connsiteX4" fmla="*/ 22409 w 22408"/>
                <a:gd name="connsiteY4" fmla="*/ 0 h 31371"/>
                <a:gd name="connsiteX5" fmla="*/ 2241 w 22408"/>
                <a:gd name="connsiteY5" fmla="*/ 0 h 31371"/>
                <a:gd name="connsiteX6" fmla="*/ 0 w 22408"/>
                <a:gd name="connsiteY6" fmla="*/ 2241 h 31371"/>
                <a:gd name="connsiteX7" fmla="*/ 0 w 22408"/>
                <a:gd name="connsiteY7" fmla="*/ 29131 h 31371"/>
                <a:gd name="connsiteX8" fmla="*/ 2241 w 22408"/>
                <a:gd name="connsiteY8" fmla="*/ 31372 h 31371"/>
                <a:gd name="connsiteX9" fmla="*/ 4482 w 22408"/>
                <a:gd name="connsiteY9" fmla="*/ 4482 h 31371"/>
                <a:gd name="connsiteX10" fmla="*/ 20168 w 22408"/>
                <a:gd name="connsiteY10" fmla="*/ 4482 h 31371"/>
                <a:gd name="connsiteX11" fmla="*/ 20168 w 22408"/>
                <a:gd name="connsiteY11" fmla="*/ 26890 h 31371"/>
                <a:gd name="connsiteX12" fmla="*/ 4482 w 22408"/>
                <a:gd name="connsiteY12" fmla="*/ 26890 h 31371"/>
                <a:gd name="connsiteX13" fmla="*/ 4482 w 22408"/>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1" y="31372"/>
                  </a:moveTo>
                  <a:lnTo>
                    <a:pt x="22409" y="31372"/>
                  </a:lnTo>
                  <a:cubicBezTo>
                    <a:pt x="23753" y="31372"/>
                    <a:pt x="24649" y="30476"/>
                    <a:pt x="24649" y="29131"/>
                  </a:cubicBezTo>
                  <a:lnTo>
                    <a:pt x="24649" y="2241"/>
                  </a:lnTo>
                  <a:cubicBezTo>
                    <a:pt x="24649" y="896"/>
                    <a:pt x="23753" y="0"/>
                    <a:pt x="22409" y="0"/>
                  </a:cubicBezTo>
                  <a:lnTo>
                    <a:pt x="2241" y="0"/>
                  </a:lnTo>
                  <a:cubicBezTo>
                    <a:pt x="896" y="0"/>
                    <a:pt x="0" y="896"/>
                    <a:pt x="0" y="2241"/>
                  </a:cubicBezTo>
                  <a:lnTo>
                    <a:pt x="0" y="29131"/>
                  </a:lnTo>
                  <a:cubicBezTo>
                    <a:pt x="0" y="30027"/>
                    <a:pt x="896" y="31372"/>
                    <a:pt x="2241" y="31372"/>
                  </a:cubicBezTo>
                  <a:close/>
                  <a:moveTo>
                    <a:pt x="4482" y="4482"/>
                  </a:moveTo>
                  <a:lnTo>
                    <a:pt x="20168" y="4482"/>
                  </a:lnTo>
                  <a:lnTo>
                    <a:pt x="20168"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29" name="Freeform: Shape 3828">
              <a:extLst>
                <a:ext uri="{FF2B5EF4-FFF2-40B4-BE49-F238E27FC236}">
                  <a16:creationId xmlns:a16="http://schemas.microsoft.com/office/drawing/2014/main" id="{28BCD6B8-954B-4190-A6EE-99E528897440}"/>
                </a:ext>
              </a:extLst>
            </p:cNvPr>
            <p:cNvSpPr/>
            <p:nvPr/>
          </p:nvSpPr>
          <p:spPr>
            <a:xfrm>
              <a:off x="7333868" y="5319317"/>
              <a:ext cx="22409" cy="31372"/>
            </a:xfrm>
            <a:custGeom>
              <a:avLst/>
              <a:gdLst>
                <a:gd name="connsiteX0" fmla="*/ 22409 w 22408"/>
                <a:gd name="connsiteY0" fmla="*/ 0 h 31371"/>
                <a:gd name="connsiteX1" fmla="*/ 2241 w 22408"/>
                <a:gd name="connsiteY1" fmla="*/ 0 h 31371"/>
                <a:gd name="connsiteX2" fmla="*/ 0 w 22408"/>
                <a:gd name="connsiteY2" fmla="*/ 2241 h 31371"/>
                <a:gd name="connsiteX3" fmla="*/ 0 w 22408"/>
                <a:gd name="connsiteY3" fmla="*/ 29131 h 31371"/>
                <a:gd name="connsiteX4" fmla="*/ 2241 w 22408"/>
                <a:gd name="connsiteY4" fmla="*/ 31372 h 31371"/>
                <a:gd name="connsiteX5" fmla="*/ 22409 w 22408"/>
                <a:gd name="connsiteY5" fmla="*/ 31372 h 31371"/>
                <a:gd name="connsiteX6" fmla="*/ 24649 w 22408"/>
                <a:gd name="connsiteY6" fmla="*/ 29131 h 31371"/>
                <a:gd name="connsiteX7" fmla="*/ 24649 w 22408"/>
                <a:gd name="connsiteY7" fmla="*/ 2241 h 31371"/>
                <a:gd name="connsiteX8" fmla="*/ 22409 w 22408"/>
                <a:gd name="connsiteY8" fmla="*/ 0 h 31371"/>
                <a:gd name="connsiteX9" fmla="*/ 20168 w 22408"/>
                <a:gd name="connsiteY9" fmla="*/ 26890 h 31371"/>
                <a:gd name="connsiteX10" fmla="*/ 4482 w 22408"/>
                <a:gd name="connsiteY10" fmla="*/ 26890 h 31371"/>
                <a:gd name="connsiteX11" fmla="*/ 4482 w 22408"/>
                <a:gd name="connsiteY11" fmla="*/ 4482 h 31371"/>
                <a:gd name="connsiteX12" fmla="*/ 20168 w 22408"/>
                <a:gd name="connsiteY12" fmla="*/ 4482 h 31371"/>
                <a:gd name="connsiteX13" fmla="*/ 20168 w 22408"/>
                <a:gd name="connsiteY13" fmla="*/ 2689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8" h="31371">
                  <a:moveTo>
                    <a:pt x="22409" y="0"/>
                  </a:moveTo>
                  <a:lnTo>
                    <a:pt x="2241" y="0"/>
                  </a:lnTo>
                  <a:cubicBezTo>
                    <a:pt x="896" y="0"/>
                    <a:pt x="0" y="896"/>
                    <a:pt x="0" y="2241"/>
                  </a:cubicBezTo>
                  <a:lnTo>
                    <a:pt x="0" y="29131"/>
                  </a:lnTo>
                  <a:cubicBezTo>
                    <a:pt x="0" y="30476"/>
                    <a:pt x="896" y="31372"/>
                    <a:pt x="2241" y="31372"/>
                  </a:cubicBezTo>
                  <a:lnTo>
                    <a:pt x="22409" y="31372"/>
                  </a:lnTo>
                  <a:cubicBezTo>
                    <a:pt x="23753" y="31372"/>
                    <a:pt x="24649" y="30476"/>
                    <a:pt x="24649" y="29131"/>
                  </a:cubicBezTo>
                  <a:lnTo>
                    <a:pt x="24649" y="2241"/>
                  </a:lnTo>
                  <a:cubicBezTo>
                    <a:pt x="24649" y="896"/>
                    <a:pt x="23753" y="0"/>
                    <a:pt x="22409" y="0"/>
                  </a:cubicBezTo>
                  <a:close/>
                  <a:moveTo>
                    <a:pt x="20168" y="26890"/>
                  </a:moveTo>
                  <a:lnTo>
                    <a:pt x="4482" y="26890"/>
                  </a:lnTo>
                  <a:lnTo>
                    <a:pt x="4482" y="4482"/>
                  </a:lnTo>
                  <a:lnTo>
                    <a:pt x="20168" y="4482"/>
                  </a:lnTo>
                  <a:lnTo>
                    <a:pt x="20168" y="26890"/>
                  </a:lnTo>
                  <a:close/>
                </a:path>
              </a:pathLst>
            </a:custGeom>
            <a:solidFill>
              <a:srgbClr val="231F20"/>
            </a:solidFill>
            <a:ln w="4477" cap="flat">
              <a:noFill/>
              <a:prstDash val="solid"/>
              <a:miter/>
            </a:ln>
          </p:spPr>
          <p:txBody>
            <a:bodyPr rtlCol="0" anchor="ctr"/>
            <a:lstStyle/>
            <a:p>
              <a:endParaRPr lang="en-US"/>
            </a:p>
          </p:txBody>
        </p:sp>
      </p:grpSp>
      <p:grpSp>
        <p:nvGrpSpPr>
          <p:cNvPr id="3830" name="Group 3829">
            <a:extLst>
              <a:ext uri="{FF2B5EF4-FFF2-40B4-BE49-F238E27FC236}">
                <a16:creationId xmlns:a16="http://schemas.microsoft.com/office/drawing/2014/main" id="{A72AE2F1-7CEE-4939-B540-9FF8550C6C07}"/>
              </a:ext>
              <a:ext uri="{C183D7F6-B498-43B3-948B-1728B52AA6E4}">
                <adec:decorative xmlns:adec="http://schemas.microsoft.com/office/drawing/2017/decorative" val="1"/>
              </a:ext>
            </a:extLst>
          </p:cNvPr>
          <p:cNvGrpSpPr>
            <a:grpSpLocks noChangeAspect="1"/>
          </p:cNvGrpSpPr>
          <p:nvPr/>
        </p:nvGrpSpPr>
        <p:grpSpPr>
          <a:xfrm>
            <a:off x="1629436" y="2405332"/>
            <a:ext cx="170305" cy="152378"/>
            <a:chOff x="7531062" y="5251868"/>
            <a:chExt cx="170305" cy="152378"/>
          </a:xfrm>
        </p:grpSpPr>
        <p:sp>
          <p:nvSpPr>
            <p:cNvPr id="3831" name="Freeform: Shape 3830">
              <a:extLst>
                <a:ext uri="{FF2B5EF4-FFF2-40B4-BE49-F238E27FC236}">
                  <a16:creationId xmlns:a16="http://schemas.microsoft.com/office/drawing/2014/main" id="{67FEFB31-49F9-4C7F-A363-1502C84ABEB2}"/>
                </a:ext>
              </a:extLst>
            </p:cNvPr>
            <p:cNvSpPr/>
            <p:nvPr/>
          </p:nvSpPr>
          <p:spPr>
            <a:xfrm>
              <a:off x="7531062" y="5251868"/>
              <a:ext cx="170305" cy="152378"/>
            </a:xfrm>
            <a:custGeom>
              <a:avLst/>
              <a:gdLst>
                <a:gd name="connsiteX0" fmla="*/ 169408 w 170304"/>
                <a:gd name="connsiteY0" fmla="*/ 147672 h 152377"/>
                <a:gd name="connsiteX1" fmla="*/ 162238 w 170304"/>
                <a:gd name="connsiteY1" fmla="*/ 147672 h 152377"/>
                <a:gd name="connsiteX2" fmla="*/ 162238 w 170304"/>
                <a:gd name="connsiteY2" fmla="*/ 116300 h 152377"/>
                <a:gd name="connsiteX3" fmla="*/ 161789 w 170304"/>
                <a:gd name="connsiteY3" fmla="*/ 114507 h 152377"/>
                <a:gd name="connsiteX4" fmla="*/ 155067 w 170304"/>
                <a:gd name="connsiteY4" fmla="*/ 107785 h 152377"/>
                <a:gd name="connsiteX5" fmla="*/ 151930 w 170304"/>
                <a:gd name="connsiteY5" fmla="*/ 107785 h 152377"/>
                <a:gd name="connsiteX6" fmla="*/ 147000 w 170304"/>
                <a:gd name="connsiteY6" fmla="*/ 112715 h 152377"/>
                <a:gd name="connsiteX7" fmla="*/ 142070 w 170304"/>
                <a:gd name="connsiteY7" fmla="*/ 107785 h 152377"/>
                <a:gd name="connsiteX8" fmla="*/ 138933 w 170304"/>
                <a:gd name="connsiteY8" fmla="*/ 107785 h 152377"/>
                <a:gd name="connsiteX9" fmla="*/ 136244 w 170304"/>
                <a:gd name="connsiteY9" fmla="*/ 110474 h 152377"/>
                <a:gd name="connsiteX10" fmla="*/ 136244 w 170304"/>
                <a:gd name="connsiteY10" fmla="*/ 58934 h 152377"/>
                <a:gd name="connsiteX11" fmla="*/ 146552 w 170304"/>
                <a:gd name="connsiteY11" fmla="*/ 70138 h 152377"/>
                <a:gd name="connsiteX12" fmla="*/ 148344 w 170304"/>
                <a:gd name="connsiteY12" fmla="*/ 71035 h 152377"/>
                <a:gd name="connsiteX13" fmla="*/ 149689 w 170304"/>
                <a:gd name="connsiteY13" fmla="*/ 70587 h 152377"/>
                <a:gd name="connsiteX14" fmla="*/ 149689 w 170304"/>
                <a:gd name="connsiteY14" fmla="*/ 67450 h 152377"/>
                <a:gd name="connsiteX15" fmla="*/ 88289 w 170304"/>
                <a:gd name="connsiteY15" fmla="*/ 672 h 152377"/>
                <a:gd name="connsiteX16" fmla="*/ 85152 w 170304"/>
                <a:gd name="connsiteY16" fmla="*/ 672 h 152377"/>
                <a:gd name="connsiteX17" fmla="*/ 23305 w 170304"/>
                <a:gd name="connsiteY17" fmla="*/ 67450 h 152377"/>
                <a:gd name="connsiteX18" fmla="*/ 23305 w 170304"/>
                <a:gd name="connsiteY18" fmla="*/ 70587 h 152377"/>
                <a:gd name="connsiteX19" fmla="*/ 26442 w 170304"/>
                <a:gd name="connsiteY19" fmla="*/ 70587 h 152377"/>
                <a:gd name="connsiteX20" fmla="*/ 36302 w 170304"/>
                <a:gd name="connsiteY20" fmla="*/ 59831 h 152377"/>
                <a:gd name="connsiteX21" fmla="*/ 36302 w 170304"/>
                <a:gd name="connsiteY21" fmla="*/ 111370 h 152377"/>
                <a:gd name="connsiteX22" fmla="*/ 33613 w 170304"/>
                <a:gd name="connsiteY22" fmla="*/ 108681 h 152377"/>
                <a:gd name="connsiteX23" fmla="*/ 30476 w 170304"/>
                <a:gd name="connsiteY23" fmla="*/ 108681 h 152377"/>
                <a:gd name="connsiteX24" fmla="*/ 25546 w 170304"/>
                <a:gd name="connsiteY24" fmla="*/ 113611 h 152377"/>
                <a:gd name="connsiteX25" fmla="*/ 20616 w 170304"/>
                <a:gd name="connsiteY25" fmla="*/ 108681 h 152377"/>
                <a:gd name="connsiteX26" fmla="*/ 17479 w 170304"/>
                <a:gd name="connsiteY26" fmla="*/ 108681 h 152377"/>
                <a:gd name="connsiteX27" fmla="*/ 10756 w 170304"/>
                <a:gd name="connsiteY27" fmla="*/ 115404 h 152377"/>
                <a:gd name="connsiteX28" fmla="*/ 10308 w 170304"/>
                <a:gd name="connsiteY28" fmla="*/ 117196 h 152377"/>
                <a:gd name="connsiteX29" fmla="*/ 10308 w 170304"/>
                <a:gd name="connsiteY29" fmla="*/ 148568 h 152377"/>
                <a:gd name="connsiteX30" fmla="*/ 2241 w 170304"/>
                <a:gd name="connsiteY30" fmla="*/ 148568 h 152377"/>
                <a:gd name="connsiteX31" fmla="*/ 0 w 170304"/>
                <a:gd name="connsiteY31" fmla="*/ 150809 h 152377"/>
                <a:gd name="connsiteX32" fmla="*/ 2241 w 170304"/>
                <a:gd name="connsiteY32" fmla="*/ 153050 h 152377"/>
                <a:gd name="connsiteX33" fmla="*/ 12549 w 170304"/>
                <a:gd name="connsiteY33" fmla="*/ 153050 h 152377"/>
                <a:gd name="connsiteX34" fmla="*/ 25994 w 170304"/>
                <a:gd name="connsiteY34" fmla="*/ 153050 h 152377"/>
                <a:gd name="connsiteX35" fmla="*/ 39439 w 170304"/>
                <a:gd name="connsiteY35" fmla="*/ 153050 h 152377"/>
                <a:gd name="connsiteX36" fmla="*/ 147000 w 170304"/>
                <a:gd name="connsiteY36" fmla="*/ 153050 h 152377"/>
                <a:gd name="connsiteX37" fmla="*/ 160445 w 170304"/>
                <a:gd name="connsiteY37" fmla="*/ 153050 h 152377"/>
                <a:gd name="connsiteX38" fmla="*/ 169856 w 170304"/>
                <a:gd name="connsiteY38" fmla="*/ 153050 h 152377"/>
                <a:gd name="connsiteX39" fmla="*/ 172097 w 170304"/>
                <a:gd name="connsiteY39" fmla="*/ 150809 h 152377"/>
                <a:gd name="connsiteX40" fmla="*/ 169408 w 170304"/>
                <a:gd name="connsiteY40" fmla="*/ 147672 h 152377"/>
                <a:gd name="connsiteX41" fmla="*/ 139381 w 170304"/>
                <a:gd name="connsiteY41" fmla="*/ 113163 h 152377"/>
                <a:gd name="connsiteX42" fmla="*/ 143863 w 170304"/>
                <a:gd name="connsiteY42" fmla="*/ 117645 h 152377"/>
                <a:gd name="connsiteX43" fmla="*/ 143863 w 170304"/>
                <a:gd name="connsiteY43" fmla="*/ 147672 h 152377"/>
                <a:gd name="connsiteX44" fmla="*/ 134899 w 170304"/>
                <a:gd name="connsiteY44" fmla="*/ 147672 h 152377"/>
                <a:gd name="connsiteX45" fmla="*/ 134899 w 170304"/>
                <a:gd name="connsiteY45" fmla="*/ 117645 h 152377"/>
                <a:gd name="connsiteX46" fmla="*/ 139381 w 170304"/>
                <a:gd name="connsiteY46" fmla="*/ 113163 h 152377"/>
                <a:gd name="connsiteX47" fmla="*/ 85601 w 170304"/>
                <a:gd name="connsiteY47" fmla="*/ 6050 h 152377"/>
                <a:gd name="connsiteX48" fmla="*/ 130418 w 170304"/>
                <a:gd name="connsiteY48" fmla="*/ 54901 h 152377"/>
                <a:gd name="connsiteX49" fmla="*/ 130418 w 170304"/>
                <a:gd name="connsiteY49" fmla="*/ 116748 h 152377"/>
                <a:gd name="connsiteX50" fmla="*/ 130418 w 170304"/>
                <a:gd name="connsiteY50" fmla="*/ 148120 h 152377"/>
                <a:gd name="connsiteX51" fmla="*/ 81119 w 170304"/>
                <a:gd name="connsiteY51" fmla="*/ 148120 h 152377"/>
                <a:gd name="connsiteX52" fmla="*/ 81119 w 170304"/>
                <a:gd name="connsiteY52" fmla="*/ 96581 h 152377"/>
                <a:gd name="connsiteX53" fmla="*/ 78878 w 170304"/>
                <a:gd name="connsiteY53" fmla="*/ 94340 h 152377"/>
                <a:gd name="connsiteX54" fmla="*/ 51988 w 170304"/>
                <a:gd name="connsiteY54" fmla="*/ 94340 h 152377"/>
                <a:gd name="connsiteX55" fmla="*/ 49747 w 170304"/>
                <a:gd name="connsiteY55" fmla="*/ 96581 h 152377"/>
                <a:gd name="connsiteX56" fmla="*/ 49747 w 170304"/>
                <a:gd name="connsiteY56" fmla="*/ 148120 h 152377"/>
                <a:gd name="connsiteX57" fmla="*/ 40783 w 170304"/>
                <a:gd name="connsiteY57" fmla="*/ 148120 h 152377"/>
                <a:gd name="connsiteX58" fmla="*/ 40783 w 170304"/>
                <a:gd name="connsiteY58" fmla="*/ 116748 h 152377"/>
                <a:gd name="connsiteX59" fmla="*/ 40783 w 170304"/>
                <a:gd name="connsiteY59" fmla="*/ 54901 h 152377"/>
                <a:gd name="connsiteX60" fmla="*/ 85601 w 170304"/>
                <a:gd name="connsiteY60" fmla="*/ 6050 h 152377"/>
                <a:gd name="connsiteX61" fmla="*/ 76637 w 170304"/>
                <a:gd name="connsiteY61" fmla="*/ 147672 h 152377"/>
                <a:gd name="connsiteX62" fmla="*/ 54229 w 170304"/>
                <a:gd name="connsiteY62" fmla="*/ 147672 h 152377"/>
                <a:gd name="connsiteX63" fmla="*/ 54229 w 170304"/>
                <a:gd name="connsiteY63" fmla="*/ 98373 h 152377"/>
                <a:gd name="connsiteX64" fmla="*/ 76637 w 170304"/>
                <a:gd name="connsiteY64" fmla="*/ 98373 h 152377"/>
                <a:gd name="connsiteX65" fmla="*/ 76637 w 170304"/>
                <a:gd name="connsiteY65" fmla="*/ 147672 h 152377"/>
                <a:gd name="connsiteX66" fmla="*/ 13893 w 170304"/>
                <a:gd name="connsiteY66" fmla="*/ 117645 h 152377"/>
                <a:gd name="connsiteX67" fmla="*/ 18375 w 170304"/>
                <a:gd name="connsiteY67" fmla="*/ 113163 h 152377"/>
                <a:gd name="connsiteX68" fmla="*/ 22857 w 170304"/>
                <a:gd name="connsiteY68" fmla="*/ 117645 h 152377"/>
                <a:gd name="connsiteX69" fmla="*/ 22857 w 170304"/>
                <a:gd name="connsiteY69" fmla="*/ 147672 h 152377"/>
                <a:gd name="connsiteX70" fmla="*/ 13893 w 170304"/>
                <a:gd name="connsiteY70" fmla="*/ 147672 h 152377"/>
                <a:gd name="connsiteX71" fmla="*/ 13893 w 170304"/>
                <a:gd name="connsiteY71" fmla="*/ 117645 h 152377"/>
                <a:gd name="connsiteX72" fmla="*/ 27338 w 170304"/>
                <a:gd name="connsiteY72" fmla="*/ 147672 h 152377"/>
                <a:gd name="connsiteX73" fmla="*/ 27338 w 170304"/>
                <a:gd name="connsiteY73" fmla="*/ 117645 h 152377"/>
                <a:gd name="connsiteX74" fmla="*/ 31820 w 170304"/>
                <a:gd name="connsiteY74" fmla="*/ 113163 h 152377"/>
                <a:gd name="connsiteX75" fmla="*/ 36302 w 170304"/>
                <a:gd name="connsiteY75" fmla="*/ 117645 h 152377"/>
                <a:gd name="connsiteX76" fmla="*/ 36302 w 170304"/>
                <a:gd name="connsiteY76" fmla="*/ 147672 h 152377"/>
                <a:gd name="connsiteX77" fmla="*/ 27338 w 170304"/>
                <a:gd name="connsiteY77" fmla="*/ 147672 h 152377"/>
                <a:gd name="connsiteX78" fmla="*/ 148344 w 170304"/>
                <a:gd name="connsiteY78" fmla="*/ 147672 h 152377"/>
                <a:gd name="connsiteX79" fmla="*/ 148344 w 170304"/>
                <a:gd name="connsiteY79" fmla="*/ 117645 h 152377"/>
                <a:gd name="connsiteX80" fmla="*/ 152826 w 170304"/>
                <a:gd name="connsiteY80" fmla="*/ 113163 h 152377"/>
                <a:gd name="connsiteX81" fmla="*/ 157308 w 170304"/>
                <a:gd name="connsiteY81" fmla="*/ 117645 h 152377"/>
                <a:gd name="connsiteX82" fmla="*/ 157308 w 170304"/>
                <a:gd name="connsiteY82" fmla="*/ 147672 h 152377"/>
                <a:gd name="connsiteX83" fmla="*/ 148344 w 170304"/>
                <a:gd name="connsiteY83" fmla="*/ 14767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0304" h="152377">
                  <a:moveTo>
                    <a:pt x="169408" y="147672"/>
                  </a:moveTo>
                  <a:lnTo>
                    <a:pt x="162238" y="147672"/>
                  </a:lnTo>
                  <a:lnTo>
                    <a:pt x="162238" y="116300"/>
                  </a:lnTo>
                  <a:cubicBezTo>
                    <a:pt x="162238" y="115852"/>
                    <a:pt x="161789" y="114956"/>
                    <a:pt x="161789" y="114507"/>
                  </a:cubicBezTo>
                  <a:lnTo>
                    <a:pt x="155067" y="107785"/>
                  </a:lnTo>
                  <a:cubicBezTo>
                    <a:pt x="154171" y="106889"/>
                    <a:pt x="152826" y="106889"/>
                    <a:pt x="151930" y="107785"/>
                  </a:cubicBezTo>
                  <a:lnTo>
                    <a:pt x="147000" y="112715"/>
                  </a:lnTo>
                  <a:lnTo>
                    <a:pt x="142070" y="107785"/>
                  </a:lnTo>
                  <a:cubicBezTo>
                    <a:pt x="141174" y="106889"/>
                    <a:pt x="139829" y="106889"/>
                    <a:pt x="138933" y="107785"/>
                  </a:cubicBezTo>
                  <a:lnTo>
                    <a:pt x="136244" y="110474"/>
                  </a:lnTo>
                  <a:lnTo>
                    <a:pt x="136244" y="58934"/>
                  </a:lnTo>
                  <a:lnTo>
                    <a:pt x="146552" y="70138"/>
                  </a:lnTo>
                  <a:cubicBezTo>
                    <a:pt x="147000" y="70587"/>
                    <a:pt x="147448" y="71035"/>
                    <a:pt x="148344" y="71035"/>
                  </a:cubicBezTo>
                  <a:cubicBezTo>
                    <a:pt x="148792" y="71035"/>
                    <a:pt x="149241" y="71035"/>
                    <a:pt x="149689" y="70587"/>
                  </a:cubicBezTo>
                  <a:cubicBezTo>
                    <a:pt x="150585" y="69690"/>
                    <a:pt x="150585" y="68346"/>
                    <a:pt x="149689" y="67450"/>
                  </a:cubicBezTo>
                  <a:lnTo>
                    <a:pt x="88289" y="672"/>
                  </a:lnTo>
                  <a:cubicBezTo>
                    <a:pt x="87393" y="-224"/>
                    <a:pt x="86049" y="-224"/>
                    <a:pt x="85152" y="672"/>
                  </a:cubicBezTo>
                  <a:lnTo>
                    <a:pt x="23305" y="67450"/>
                  </a:lnTo>
                  <a:cubicBezTo>
                    <a:pt x="22409" y="68346"/>
                    <a:pt x="22409" y="69690"/>
                    <a:pt x="23305" y="70587"/>
                  </a:cubicBezTo>
                  <a:cubicBezTo>
                    <a:pt x="24201" y="71483"/>
                    <a:pt x="25546" y="71483"/>
                    <a:pt x="26442" y="70587"/>
                  </a:cubicBezTo>
                  <a:lnTo>
                    <a:pt x="36302" y="59831"/>
                  </a:lnTo>
                  <a:lnTo>
                    <a:pt x="36302" y="111370"/>
                  </a:lnTo>
                  <a:lnTo>
                    <a:pt x="33613" y="108681"/>
                  </a:lnTo>
                  <a:cubicBezTo>
                    <a:pt x="32716" y="107785"/>
                    <a:pt x="31372" y="107785"/>
                    <a:pt x="30476" y="108681"/>
                  </a:cubicBezTo>
                  <a:lnTo>
                    <a:pt x="25546" y="113611"/>
                  </a:lnTo>
                  <a:lnTo>
                    <a:pt x="20616" y="108681"/>
                  </a:lnTo>
                  <a:cubicBezTo>
                    <a:pt x="19719" y="107785"/>
                    <a:pt x="18375" y="107785"/>
                    <a:pt x="17479" y="108681"/>
                  </a:cubicBezTo>
                  <a:lnTo>
                    <a:pt x="10756" y="115404"/>
                  </a:lnTo>
                  <a:cubicBezTo>
                    <a:pt x="10308" y="115852"/>
                    <a:pt x="10308" y="116300"/>
                    <a:pt x="10308" y="117196"/>
                  </a:cubicBezTo>
                  <a:lnTo>
                    <a:pt x="10308" y="148568"/>
                  </a:lnTo>
                  <a:lnTo>
                    <a:pt x="2241" y="148568"/>
                  </a:lnTo>
                  <a:cubicBezTo>
                    <a:pt x="896" y="148568"/>
                    <a:pt x="0" y="149465"/>
                    <a:pt x="0" y="150809"/>
                  </a:cubicBezTo>
                  <a:cubicBezTo>
                    <a:pt x="0" y="152154"/>
                    <a:pt x="896" y="153050"/>
                    <a:pt x="2241" y="153050"/>
                  </a:cubicBezTo>
                  <a:lnTo>
                    <a:pt x="12549" y="153050"/>
                  </a:lnTo>
                  <a:lnTo>
                    <a:pt x="25994" y="153050"/>
                  </a:lnTo>
                  <a:lnTo>
                    <a:pt x="39439" y="153050"/>
                  </a:lnTo>
                  <a:lnTo>
                    <a:pt x="147000" y="153050"/>
                  </a:lnTo>
                  <a:lnTo>
                    <a:pt x="160445" y="153050"/>
                  </a:lnTo>
                  <a:lnTo>
                    <a:pt x="169856" y="153050"/>
                  </a:lnTo>
                  <a:cubicBezTo>
                    <a:pt x="171201" y="153050"/>
                    <a:pt x="172097" y="152154"/>
                    <a:pt x="172097" y="150809"/>
                  </a:cubicBezTo>
                  <a:cubicBezTo>
                    <a:pt x="172097" y="149465"/>
                    <a:pt x="170305" y="147672"/>
                    <a:pt x="169408" y="147672"/>
                  </a:cubicBezTo>
                  <a:close/>
                  <a:moveTo>
                    <a:pt x="139381" y="113163"/>
                  </a:moveTo>
                  <a:lnTo>
                    <a:pt x="143863" y="117645"/>
                  </a:lnTo>
                  <a:lnTo>
                    <a:pt x="143863" y="147672"/>
                  </a:lnTo>
                  <a:lnTo>
                    <a:pt x="134899" y="147672"/>
                  </a:lnTo>
                  <a:lnTo>
                    <a:pt x="134899" y="117645"/>
                  </a:lnTo>
                  <a:lnTo>
                    <a:pt x="139381" y="113163"/>
                  </a:lnTo>
                  <a:close/>
                  <a:moveTo>
                    <a:pt x="85601" y="6050"/>
                  </a:moveTo>
                  <a:lnTo>
                    <a:pt x="130418" y="54901"/>
                  </a:lnTo>
                  <a:lnTo>
                    <a:pt x="130418" y="116748"/>
                  </a:lnTo>
                  <a:lnTo>
                    <a:pt x="130418" y="148120"/>
                  </a:lnTo>
                  <a:lnTo>
                    <a:pt x="81119" y="148120"/>
                  </a:lnTo>
                  <a:lnTo>
                    <a:pt x="81119" y="96581"/>
                  </a:lnTo>
                  <a:cubicBezTo>
                    <a:pt x="81119" y="95236"/>
                    <a:pt x="80222" y="94340"/>
                    <a:pt x="78878" y="94340"/>
                  </a:cubicBezTo>
                  <a:lnTo>
                    <a:pt x="51988" y="94340"/>
                  </a:lnTo>
                  <a:cubicBezTo>
                    <a:pt x="50643" y="94340"/>
                    <a:pt x="49747" y="95236"/>
                    <a:pt x="49747" y="96581"/>
                  </a:cubicBezTo>
                  <a:lnTo>
                    <a:pt x="49747" y="148120"/>
                  </a:lnTo>
                  <a:lnTo>
                    <a:pt x="40783" y="148120"/>
                  </a:lnTo>
                  <a:lnTo>
                    <a:pt x="40783" y="116748"/>
                  </a:lnTo>
                  <a:lnTo>
                    <a:pt x="40783" y="54901"/>
                  </a:lnTo>
                  <a:lnTo>
                    <a:pt x="85601" y="6050"/>
                  </a:lnTo>
                  <a:close/>
                  <a:moveTo>
                    <a:pt x="76637" y="147672"/>
                  </a:moveTo>
                  <a:lnTo>
                    <a:pt x="54229" y="147672"/>
                  </a:lnTo>
                  <a:lnTo>
                    <a:pt x="54229" y="98373"/>
                  </a:lnTo>
                  <a:lnTo>
                    <a:pt x="76637" y="98373"/>
                  </a:lnTo>
                  <a:lnTo>
                    <a:pt x="76637" y="147672"/>
                  </a:lnTo>
                  <a:close/>
                  <a:moveTo>
                    <a:pt x="13893" y="117645"/>
                  </a:moveTo>
                  <a:lnTo>
                    <a:pt x="18375" y="113163"/>
                  </a:lnTo>
                  <a:lnTo>
                    <a:pt x="22857" y="117645"/>
                  </a:lnTo>
                  <a:lnTo>
                    <a:pt x="22857" y="147672"/>
                  </a:lnTo>
                  <a:lnTo>
                    <a:pt x="13893" y="147672"/>
                  </a:lnTo>
                  <a:lnTo>
                    <a:pt x="13893" y="117645"/>
                  </a:lnTo>
                  <a:close/>
                  <a:moveTo>
                    <a:pt x="27338" y="147672"/>
                  </a:moveTo>
                  <a:lnTo>
                    <a:pt x="27338" y="117645"/>
                  </a:lnTo>
                  <a:lnTo>
                    <a:pt x="31820" y="113163"/>
                  </a:lnTo>
                  <a:lnTo>
                    <a:pt x="36302" y="117645"/>
                  </a:lnTo>
                  <a:lnTo>
                    <a:pt x="36302" y="147672"/>
                  </a:lnTo>
                  <a:lnTo>
                    <a:pt x="27338" y="147672"/>
                  </a:lnTo>
                  <a:close/>
                  <a:moveTo>
                    <a:pt x="148344" y="147672"/>
                  </a:moveTo>
                  <a:lnTo>
                    <a:pt x="148344" y="117645"/>
                  </a:lnTo>
                  <a:lnTo>
                    <a:pt x="152826" y="113163"/>
                  </a:lnTo>
                  <a:lnTo>
                    <a:pt x="157308" y="117645"/>
                  </a:lnTo>
                  <a:lnTo>
                    <a:pt x="157308" y="147672"/>
                  </a:lnTo>
                  <a:lnTo>
                    <a:pt x="148344" y="147672"/>
                  </a:lnTo>
                  <a:close/>
                </a:path>
              </a:pathLst>
            </a:custGeom>
            <a:solidFill>
              <a:srgbClr val="231F20"/>
            </a:solidFill>
            <a:ln w="4477" cap="flat">
              <a:noFill/>
              <a:prstDash val="solid"/>
              <a:miter/>
            </a:ln>
          </p:spPr>
          <p:txBody>
            <a:bodyPr rtlCol="0" anchor="ctr"/>
            <a:lstStyle/>
            <a:p>
              <a:endParaRPr lang="en-US"/>
            </a:p>
          </p:txBody>
        </p:sp>
        <p:sp>
          <p:nvSpPr>
            <p:cNvPr id="3832" name="Freeform: Shape 3831">
              <a:extLst>
                <a:ext uri="{FF2B5EF4-FFF2-40B4-BE49-F238E27FC236}">
                  <a16:creationId xmlns:a16="http://schemas.microsoft.com/office/drawing/2014/main" id="{6D6D3311-58AF-4290-ABE7-AD4E34C7B0C6}"/>
                </a:ext>
              </a:extLst>
            </p:cNvPr>
            <p:cNvSpPr/>
            <p:nvPr/>
          </p:nvSpPr>
          <p:spPr>
            <a:xfrm>
              <a:off x="7621145" y="5345759"/>
              <a:ext cx="31372" cy="31372"/>
            </a:xfrm>
            <a:custGeom>
              <a:avLst/>
              <a:gdLst>
                <a:gd name="connsiteX0" fmla="*/ 2241 w 31371"/>
                <a:gd name="connsiteY0" fmla="*/ 31372 h 31371"/>
                <a:gd name="connsiteX1" fmla="*/ 29131 w 31371"/>
                <a:gd name="connsiteY1" fmla="*/ 31372 h 31371"/>
                <a:gd name="connsiteX2" fmla="*/ 31372 w 31371"/>
                <a:gd name="connsiteY2" fmla="*/ 29131 h 31371"/>
                <a:gd name="connsiteX3" fmla="*/ 31372 w 31371"/>
                <a:gd name="connsiteY3" fmla="*/ 2241 h 31371"/>
                <a:gd name="connsiteX4" fmla="*/ 29131 w 31371"/>
                <a:gd name="connsiteY4" fmla="*/ 0 h 31371"/>
                <a:gd name="connsiteX5" fmla="*/ 2241 w 31371"/>
                <a:gd name="connsiteY5" fmla="*/ 0 h 31371"/>
                <a:gd name="connsiteX6" fmla="*/ 0 w 31371"/>
                <a:gd name="connsiteY6" fmla="*/ 2241 h 31371"/>
                <a:gd name="connsiteX7" fmla="*/ 0 w 31371"/>
                <a:gd name="connsiteY7" fmla="*/ 29131 h 31371"/>
                <a:gd name="connsiteX8" fmla="*/ 2241 w 31371"/>
                <a:gd name="connsiteY8" fmla="*/ 31372 h 31371"/>
                <a:gd name="connsiteX9" fmla="*/ 4482 w 31371"/>
                <a:gd name="connsiteY9" fmla="*/ 4482 h 31371"/>
                <a:gd name="connsiteX10" fmla="*/ 26890 w 31371"/>
                <a:gd name="connsiteY10" fmla="*/ 4482 h 31371"/>
                <a:gd name="connsiteX11" fmla="*/ 26890 w 31371"/>
                <a:gd name="connsiteY11" fmla="*/ 26890 h 31371"/>
                <a:gd name="connsiteX12" fmla="*/ 4482 w 31371"/>
                <a:gd name="connsiteY12" fmla="*/ 26890 h 31371"/>
                <a:gd name="connsiteX13" fmla="*/ 4482 w 31371"/>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31371">
                  <a:moveTo>
                    <a:pt x="2241" y="31372"/>
                  </a:moveTo>
                  <a:lnTo>
                    <a:pt x="29131" y="31372"/>
                  </a:lnTo>
                  <a:cubicBezTo>
                    <a:pt x="30476" y="31372"/>
                    <a:pt x="31372" y="30476"/>
                    <a:pt x="31372" y="29131"/>
                  </a:cubicBezTo>
                  <a:lnTo>
                    <a:pt x="31372" y="2241"/>
                  </a:lnTo>
                  <a:cubicBezTo>
                    <a:pt x="31372" y="896"/>
                    <a:pt x="30476" y="0"/>
                    <a:pt x="29131" y="0"/>
                  </a:cubicBezTo>
                  <a:lnTo>
                    <a:pt x="2241" y="0"/>
                  </a:lnTo>
                  <a:cubicBezTo>
                    <a:pt x="896" y="0"/>
                    <a:pt x="0" y="896"/>
                    <a:pt x="0" y="2241"/>
                  </a:cubicBezTo>
                  <a:lnTo>
                    <a:pt x="0" y="29131"/>
                  </a:lnTo>
                  <a:cubicBezTo>
                    <a:pt x="0" y="30476"/>
                    <a:pt x="896" y="31372"/>
                    <a:pt x="2241" y="31372"/>
                  </a:cubicBezTo>
                  <a:close/>
                  <a:moveTo>
                    <a:pt x="4482" y="4482"/>
                  </a:moveTo>
                  <a:lnTo>
                    <a:pt x="26890" y="4482"/>
                  </a:lnTo>
                  <a:lnTo>
                    <a:pt x="26890"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33" name="Freeform: Shape 3832">
              <a:extLst>
                <a:ext uri="{FF2B5EF4-FFF2-40B4-BE49-F238E27FC236}">
                  <a16:creationId xmlns:a16="http://schemas.microsoft.com/office/drawing/2014/main" id="{15CCC539-0507-4C96-A690-77C531A39505}"/>
                </a:ext>
              </a:extLst>
            </p:cNvPr>
            <p:cNvSpPr/>
            <p:nvPr/>
          </p:nvSpPr>
          <p:spPr>
            <a:xfrm>
              <a:off x="7621145" y="5305424"/>
              <a:ext cx="31372" cy="31372"/>
            </a:xfrm>
            <a:custGeom>
              <a:avLst/>
              <a:gdLst>
                <a:gd name="connsiteX0" fmla="*/ 2241 w 31371"/>
                <a:gd name="connsiteY0" fmla="*/ 31372 h 31371"/>
                <a:gd name="connsiteX1" fmla="*/ 29131 w 31371"/>
                <a:gd name="connsiteY1" fmla="*/ 31372 h 31371"/>
                <a:gd name="connsiteX2" fmla="*/ 31372 w 31371"/>
                <a:gd name="connsiteY2" fmla="*/ 29131 h 31371"/>
                <a:gd name="connsiteX3" fmla="*/ 31372 w 31371"/>
                <a:gd name="connsiteY3" fmla="*/ 2241 h 31371"/>
                <a:gd name="connsiteX4" fmla="*/ 29131 w 31371"/>
                <a:gd name="connsiteY4" fmla="*/ 0 h 31371"/>
                <a:gd name="connsiteX5" fmla="*/ 2241 w 31371"/>
                <a:gd name="connsiteY5" fmla="*/ 0 h 31371"/>
                <a:gd name="connsiteX6" fmla="*/ 0 w 31371"/>
                <a:gd name="connsiteY6" fmla="*/ 2241 h 31371"/>
                <a:gd name="connsiteX7" fmla="*/ 0 w 31371"/>
                <a:gd name="connsiteY7" fmla="*/ 29131 h 31371"/>
                <a:gd name="connsiteX8" fmla="*/ 2241 w 31371"/>
                <a:gd name="connsiteY8" fmla="*/ 31372 h 31371"/>
                <a:gd name="connsiteX9" fmla="*/ 4482 w 31371"/>
                <a:gd name="connsiteY9" fmla="*/ 4482 h 31371"/>
                <a:gd name="connsiteX10" fmla="*/ 26890 w 31371"/>
                <a:gd name="connsiteY10" fmla="*/ 4482 h 31371"/>
                <a:gd name="connsiteX11" fmla="*/ 26890 w 31371"/>
                <a:gd name="connsiteY11" fmla="*/ 26890 h 31371"/>
                <a:gd name="connsiteX12" fmla="*/ 4482 w 31371"/>
                <a:gd name="connsiteY12" fmla="*/ 26890 h 31371"/>
                <a:gd name="connsiteX13" fmla="*/ 4482 w 31371"/>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31371">
                  <a:moveTo>
                    <a:pt x="2241" y="31372"/>
                  </a:moveTo>
                  <a:lnTo>
                    <a:pt x="29131" y="31372"/>
                  </a:lnTo>
                  <a:cubicBezTo>
                    <a:pt x="30476" y="31372"/>
                    <a:pt x="31372" y="30476"/>
                    <a:pt x="31372" y="29131"/>
                  </a:cubicBezTo>
                  <a:lnTo>
                    <a:pt x="31372" y="2241"/>
                  </a:lnTo>
                  <a:cubicBezTo>
                    <a:pt x="31372" y="896"/>
                    <a:pt x="30476" y="0"/>
                    <a:pt x="29131" y="0"/>
                  </a:cubicBezTo>
                  <a:lnTo>
                    <a:pt x="2241" y="0"/>
                  </a:lnTo>
                  <a:cubicBezTo>
                    <a:pt x="896" y="0"/>
                    <a:pt x="0" y="896"/>
                    <a:pt x="0" y="2241"/>
                  </a:cubicBezTo>
                  <a:lnTo>
                    <a:pt x="0" y="29131"/>
                  </a:lnTo>
                  <a:cubicBezTo>
                    <a:pt x="0" y="30476"/>
                    <a:pt x="896" y="31372"/>
                    <a:pt x="2241" y="31372"/>
                  </a:cubicBezTo>
                  <a:close/>
                  <a:moveTo>
                    <a:pt x="4482" y="4482"/>
                  </a:moveTo>
                  <a:lnTo>
                    <a:pt x="26890" y="4482"/>
                  </a:lnTo>
                  <a:lnTo>
                    <a:pt x="26890"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sp>
          <p:nvSpPr>
            <p:cNvPr id="3834" name="Freeform: Shape 3833">
              <a:extLst>
                <a:ext uri="{FF2B5EF4-FFF2-40B4-BE49-F238E27FC236}">
                  <a16:creationId xmlns:a16="http://schemas.microsoft.com/office/drawing/2014/main" id="{8B667D35-37BC-4B3F-B67C-141D7765E008}"/>
                </a:ext>
              </a:extLst>
            </p:cNvPr>
            <p:cNvSpPr/>
            <p:nvPr/>
          </p:nvSpPr>
          <p:spPr>
            <a:xfrm>
              <a:off x="7580809" y="5305424"/>
              <a:ext cx="31372" cy="31372"/>
            </a:xfrm>
            <a:custGeom>
              <a:avLst/>
              <a:gdLst>
                <a:gd name="connsiteX0" fmla="*/ 2241 w 31371"/>
                <a:gd name="connsiteY0" fmla="*/ 31372 h 31371"/>
                <a:gd name="connsiteX1" fmla="*/ 29131 w 31371"/>
                <a:gd name="connsiteY1" fmla="*/ 31372 h 31371"/>
                <a:gd name="connsiteX2" fmla="*/ 31372 w 31371"/>
                <a:gd name="connsiteY2" fmla="*/ 29131 h 31371"/>
                <a:gd name="connsiteX3" fmla="*/ 31372 w 31371"/>
                <a:gd name="connsiteY3" fmla="*/ 2241 h 31371"/>
                <a:gd name="connsiteX4" fmla="*/ 29131 w 31371"/>
                <a:gd name="connsiteY4" fmla="*/ 0 h 31371"/>
                <a:gd name="connsiteX5" fmla="*/ 2241 w 31371"/>
                <a:gd name="connsiteY5" fmla="*/ 0 h 31371"/>
                <a:gd name="connsiteX6" fmla="*/ 0 w 31371"/>
                <a:gd name="connsiteY6" fmla="*/ 2241 h 31371"/>
                <a:gd name="connsiteX7" fmla="*/ 0 w 31371"/>
                <a:gd name="connsiteY7" fmla="*/ 29131 h 31371"/>
                <a:gd name="connsiteX8" fmla="*/ 2241 w 31371"/>
                <a:gd name="connsiteY8" fmla="*/ 31372 h 31371"/>
                <a:gd name="connsiteX9" fmla="*/ 4482 w 31371"/>
                <a:gd name="connsiteY9" fmla="*/ 4482 h 31371"/>
                <a:gd name="connsiteX10" fmla="*/ 26890 w 31371"/>
                <a:gd name="connsiteY10" fmla="*/ 4482 h 31371"/>
                <a:gd name="connsiteX11" fmla="*/ 26890 w 31371"/>
                <a:gd name="connsiteY11" fmla="*/ 26890 h 31371"/>
                <a:gd name="connsiteX12" fmla="*/ 4482 w 31371"/>
                <a:gd name="connsiteY12" fmla="*/ 26890 h 31371"/>
                <a:gd name="connsiteX13" fmla="*/ 4482 w 31371"/>
                <a:gd name="connsiteY13"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71" h="31371">
                  <a:moveTo>
                    <a:pt x="2241" y="31372"/>
                  </a:moveTo>
                  <a:lnTo>
                    <a:pt x="29131" y="31372"/>
                  </a:lnTo>
                  <a:cubicBezTo>
                    <a:pt x="30476" y="31372"/>
                    <a:pt x="31372" y="30476"/>
                    <a:pt x="31372" y="29131"/>
                  </a:cubicBezTo>
                  <a:lnTo>
                    <a:pt x="31372" y="2241"/>
                  </a:lnTo>
                  <a:cubicBezTo>
                    <a:pt x="31372" y="896"/>
                    <a:pt x="30476" y="0"/>
                    <a:pt x="29131" y="0"/>
                  </a:cubicBezTo>
                  <a:lnTo>
                    <a:pt x="2241" y="0"/>
                  </a:lnTo>
                  <a:cubicBezTo>
                    <a:pt x="896" y="0"/>
                    <a:pt x="0" y="896"/>
                    <a:pt x="0" y="2241"/>
                  </a:cubicBezTo>
                  <a:lnTo>
                    <a:pt x="0" y="29131"/>
                  </a:lnTo>
                  <a:cubicBezTo>
                    <a:pt x="0" y="30476"/>
                    <a:pt x="896" y="31372"/>
                    <a:pt x="2241" y="31372"/>
                  </a:cubicBezTo>
                  <a:close/>
                  <a:moveTo>
                    <a:pt x="4482" y="4482"/>
                  </a:moveTo>
                  <a:lnTo>
                    <a:pt x="26890" y="4482"/>
                  </a:lnTo>
                  <a:lnTo>
                    <a:pt x="26890" y="26890"/>
                  </a:lnTo>
                  <a:lnTo>
                    <a:pt x="4482" y="26890"/>
                  </a:lnTo>
                  <a:lnTo>
                    <a:pt x="4482" y="4482"/>
                  </a:lnTo>
                  <a:close/>
                </a:path>
              </a:pathLst>
            </a:custGeom>
            <a:solidFill>
              <a:srgbClr val="231F20"/>
            </a:solidFill>
            <a:ln w="4477" cap="flat">
              <a:noFill/>
              <a:prstDash val="solid"/>
              <a:miter/>
            </a:ln>
          </p:spPr>
          <p:txBody>
            <a:bodyPr rtlCol="0" anchor="ctr"/>
            <a:lstStyle/>
            <a:p>
              <a:endParaRPr lang="en-US"/>
            </a:p>
          </p:txBody>
        </p:sp>
      </p:grpSp>
      <p:sp>
        <p:nvSpPr>
          <p:cNvPr id="3835" name="Freeform: Shape 3834">
            <a:extLst>
              <a:ext uri="{FF2B5EF4-FFF2-40B4-BE49-F238E27FC236}">
                <a16:creationId xmlns:a16="http://schemas.microsoft.com/office/drawing/2014/main" id="{910BFFB2-6865-49E4-924E-D21D7239071B}"/>
              </a:ext>
              <a:ext uri="{C183D7F6-B498-43B3-948B-1728B52AA6E4}">
                <adec:decorative xmlns:adec="http://schemas.microsoft.com/office/drawing/2017/decorative" val="1"/>
              </a:ext>
            </a:extLst>
          </p:cNvPr>
          <p:cNvSpPr>
            <a:spLocks noChangeAspect="1"/>
          </p:cNvSpPr>
          <p:nvPr/>
        </p:nvSpPr>
        <p:spPr>
          <a:xfrm>
            <a:off x="2689359" y="3158034"/>
            <a:ext cx="152378" cy="85152"/>
          </a:xfrm>
          <a:custGeom>
            <a:avLst/>
            <a:gdLst>
              <a:gd name="connsiteX0" fmla="*/ 152826 w 152377"/>
              <a:gd name="connsiteY0" fmla="*/ 42128 h 85152"/>
              <a:gd name="connsiteX1" fmla="*/ 124591 w 152377"/>
              <a:gd name="connsiteY1" fmla="*/ 2241 h 85152"/>
              <a:gd name="connsiteX2" fmla="*/ 124143 w 152377"/>
              <a:gd name="connsiteY2" fmla="*/ 2241 h 85152"/>
              <a:gd name="connsiteX3" fmla="*/ 109802 w 152377"/>
              <a:gd name="connsiteY3" fmla="*/ 0 h 85152"/>
              <a:gd name="connsiteX4" fmla="*/ 96357 w 152377"/>
              <a:gd name="connsiteY4" fmla="*/ 0 h 85152"/>
              <a:gd name="connsiteX5" fmla="*/ 6723 w 152377"/>
              <a:gd name="connsiteY5" fmla="*/ 0 h 85152"/>
              <a:gd name="connsiteX6" fmla="*/ 0 w 152377"/>
              <a:gd name="connsiteY6" fmla="*/ 6723 h 85152"/>
              <a:gd name="connsiteX7" fmla="*/ 0 w 152377"/>
              <a:gd name="connsiteY7" fmla="*/ 58262 h 85152"/>
              <a:gd name="connsiteX8" fmla="*/ 6723 w 152377"/>
              <a:gd name="connsiteY8" fmla="*/ 64985 h 85152"/>
              <a:gd name="connsiteX9" fmla="*/ 14341 w 152377"/>
              <a:gd name="connsiteY9" fmla="*/ 64985 h 85152"/>
              <a:gd name="connsiteX10" fmla="*/ 13445 w 152377"/>
              <a:gd name="connsiteY10" fmla="*/ 69466 h 85152"/>
              <a:gd name="connsiteX11" fmla="*/ 29131 w 152377"/>
              <a:gd name="connsiteY11" fmla="*/ 85152 h 85152"/>
              <a:gd name="connsiteX12" fmla="*/ 44817 w 152377"/>
              <a:gd name="connsiteY12" fmla="*/ 69466 h 85152"/>
              <a:gd name="connsiteX13" fmla="*/ 43921 w 152377"/>
              <a:gd name="connsiteY13" fmla="*/ 64985 h 85152"/>
              <a:gd name="connsiteX14" fmla="*/ 96357 w 152377"/>
              <a:gd name="connsiteY14" fmla="*/ 64985 h 85152"/>
              <a:gd name="connsiteX15" fmla="*/ 96357 w 152377"/>
              <a:gd name="connsiteY15" fmla="*/ 64985 h 85152"/>
              <a:gd name="connsiteX16" fmla="*/ 108009 w 152377"/>
              <a:gd name="connsiteY16" fmla="*/ 64985 h 85152"/>
              <a:gd name="connsiteX17" fmla="*/ 107113 w 152377"/>
              <a:gd name="connsiteY17" fmla="*/ 69466 h 85152"/>
              <a:gd name="connsiteX18" fmla="*/ 122799 w 152377"/>
              <a:gd name="connsiteY18" fmla="*/ 85152 h 85152"/>
              <a:gd name="connsiteX19" fmla="*/ 138485 w 152377"/>
              <a:gd name="connsiteY19" fmla="*/ 69466 h 85152"/>
              <a:gd name="connsiteX20" fmla="*/ 137588 w 152377"/>
              <a:gd name="connsiteY20" fmla="*/ 64985 h 85152"/>
              <a:gd name="connsiteX21" fmla="*/ 146552 w 152377"/>
              <a:gd name="connsiteY21" fmla="*/ 64985 h 85152"/>
              <a:gd name="connsiteX22" fmla="*/ 151481 w 152377"/>
              <a:gd name="connsiteY22" fmla="*/ 60055 h 85152"/>
              <a:gd name="connsiteX23" fmla="*/ 152826 w 152377"/>
              <a:gd name="connsiteY23" fmla="*/ 42128 h 85152"/>
              <a:gd name="connsiteX24" fmla="*/ 148344 w 152377"/>
              <a:gd name="connsiteY24" fmla="*/ 38991 h 85152"/>
              <a:gd name="connsiteX25" fmla="*/ 128177 w 152377"/>
              <a:gd name="connsiteY25" fmla="*/ 34061 h 85152"/>
              <a:gd name="connsiteX26" fmla="*/ 125936 w 152377"/>
              <a:gd name="connsiteY26" fmla="*/ 29131 h 85152"/>
              <a:gd name="connsiteX27" fmla="*/ 125936 w 152377"/>
              <a:gd name="connsiteY27" fmla="*/ 7171 h 85152"/>
              <a:gd name="connsiteX28" fmla="*/ 148344 w 152377"/>
              <a:gd name="connsiteY28" fmla="*/ 38991 h 85152"/>
              <a:gd name="connsiteX29" fmla="*/ 29579 w 152377"/>
              <a:gd name="connsiteY29" fmla="*/ 80223 h 85152"/>
              <a:gd name="connsiteX30" fmla="*/ 18375 w 152377"/>
              <a:gd name="connsiteY30" fmla="*/ 69018 h 85152"/>
              <a:gd name="connsiteX31" fmla="*/ 29579 w 152377"/>
              <a:gd name="connsiteY31" fmla="*/ 57814 h 85152"/>
              <a:gd name="connsiteX32" fmla="*/ 40784 w 152377"/>
              <a:gd name="connsiteY32" fmla="*/ 69018 h 85152"/>
              <a:gd name="connsiteX33" fmla="*/ 29579 w 152377"/>
              <a:gd name="connsiteY33" fmla="*/ 80223 h 85152"/>
              <a:gd name="connsiteX34" fmla="*/ 29579 w 152377"/>
              <a:gd name="connsiteY34" fmla="*/ 53332 h 85152"/>
              <a:gd name="connsiteX35" fmla="*/ 16582 w 152377"/>
              <a:gd name="connsiteY35" fmla="*/ 60055 h 85152"/>
              <a:gd name="connsiteX36" fmla="*/ 16134 w 152377"/>
              <a:gd name="connsiteY36" fmla="*/ 60055 h 85152"/>
              <a:gd name="connsiteX37" fmla="*/ 7171 w 152377"/>
              <a:gd name="connsiteY37" fmla="*/ 60055 h 85152"/>
              <a:gd name="connsiteX38" fmla="*/ 4930 w 152377"/>
              <a:gd name="connsiteY38" fmla="*/ 57814 h 85152"/>
              <a:gd name="connsiteX39" fmla="*/ 4930 w 152377"/>
              <a:gd name="connsiteY39" fmla="*/ 6274 h 85152"/>
              <a:gd name="connsiteX40" fmla="*/ 7171 w 152377"/>
              <a:gd name="connsiteY40" fmla="*/ 4034 h 85152"/>
              <a:gd name="connsiteX41" fmla="*/ 94564 w 152377"/>
              <a:gd name="connsiteY41" fmla="*/ 4034 h 85152"/>
              <a:gd name="connsiteX42" fmla="*/ 94564 w 152377"/>
              <a:gd name="connsiteY42" fmla="*/ 60055 h 85152"/>
              <a:gd name="connsiteX43" fmla="*/ 90082 w 152377"/>
              <a:gd name="connsiteY43" fmla="*/ 60055 h 85152"/>
              <a:gd name="connsiteX44" fmla="*/ 90082 w 152377"/>
              <a:gd name="connsiteY44" fmla="*/ 60055 h 85152"/>
              <a:gd name="connsiteX45" fmla="*/ 43024 w 152377"/>
              <a:gd name="connsiteY45" fmla="*/ 60055 h 85152"/>
              <a:gd name="connsiteX46" fmla="*/ 42576 w 152377"/>
              <a:gd name="connsiteY46" fmla="*/ 60055 h 85152"/>
              <a:gd name="connsiteX47" fmla="*/ 29579 w 152377"/>
              <a:gd name="connsiteY47" fmla="*/ 53332 h 85152"/>
              <a:gd name="connsiteX48" fmla="*/ 123695 w 152377"/>
              <a:gd name="connsiteY48" fmla="*/ 80223 h 85152"/>
              <a:gd name="connsiteX49" fmla="*/ 112491 w 152377"/>
              <a:gd name="connsiteY49" fmla="*/ 69018 h 85152"/>
              <a:gd name="connsiteX50" fmla="*/ 123695 w 152377"/>
              <a:gd name="connsiteY50" fmla="*/ 57814 h 85152"/>
              <a:gd name="connsiteX51" fmla="*/ 134899 w 152377"/>
              <a:gd name="connsiteY51" fmla="*/ 69018 h 85152"/>
              <a:gd name="connsiteX52" fmla="*/ 123695 w 152377"/>
              <a:gd name="connsiteY52" fmla="*/ 80223 h 85152"/>
              <a:gd name="connsiteX53" fmla="*/ 147896 w 152377"/>
              <a:gd name="connsiteY53" fmla="*/ 60055 h 85152"/>
              <a:gd name="connsiteX54" fmla="*/ 136692 w 152377"/>
              <a:gd name="connsiteY54" fmla="*/ 60055 h 85152"/>
              <a:gd name="connsiteX55" fmla="*/ 123695 w 152377"/>
              <a:gd name="connsiteY55" fmla="*/ 53332 h 85152"/>
              <a:gd name="connsiteX56" fmla="*/ 110698 w 152377"/>
              <a:gd name="connsiteY56" fmla="*/ 60055 h 85152"/>
              <a:gd name="connsiteX57" fmla="*/ 99046 w 152377"/>
              <a:gd name="connsiteY57" fmla="*/ 60055 h 85152"/>
              <a:gd name="connsiteX58" fmla="*/ 99046 w 152377"/>
              <a:gd name="connsiteY58" fmla="*/ 4034 h 85152"/>
              <a:gd name="connsiteX59" fmla="*/ 110250 w 152377"/>
              <a:gd name="connsiteY59" fmla="*/ 4034 h 85152"/>
              <a:gd name="connsiteX60" fmla="*/ 121454 w 152377"/>
              <a:gd name="connsiteY60" fmla="*/ 5826 h 85152"/>
              <a:gd name="connsiteX61" fmla="*/ 121454 w 152377"/>
              <a:gd name="connsiteY61" fmla="*/ 29579 h 85152"/>
              <a:gd name="connsiteX62" fmla="*/ 127280 w 152377"/>
              <a:gd name="connsiteY62" fmla="*/ 38991 h 85152"/>
              <a:gd name="connsiteX63" fmla="*/ 148344 w 152377"/>
              <a:gd name="connsiteY63" fmla="*/ 44369 h 85152"/>
              <a:gd name="connsiteX64" fmla="*/ 148344 w 152377"/>
              <a:gd name="connsiteY64" fmla="*/ 60055 h 85152"/>
              <a:gd name="connsiteX65" fmla="*/ 147896 w 152377"/>
              <a:gd name="connsiteY65" fmla="*/ 60055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52377" h="85152">
                <a:moveTo>
                  <a:pt x="152826" y="42128"/>
                </a:moveTo>
                <a:cubicBezTo>
                  <a:pt x="152826" y="23753"/>
                  <a:pt x="141174" y="8067"/>
                  <a:pt x="124591" y="2241"/>
                </a:cubicBezTo>
                <a:cubicBezTo>
                  <a:pt x="124591" y="2241"/>
                  <a:pt x="124143" y="2241"/>
                  <a:pt x="124143" y="2241"/>
                </a:cubicBezTo>
                <a:cubicBezTo>
                  <a:pt x="119661" y="896"/>
                  <a:pt x="115180" y="0"/>
                  <a:pt x="109802" y="0"/>
                </a:cubicBezTo>
                <a:lnTo>
                  <a:pt x="96357" y="0"/>
                </a:lnTo>
                <a:lnTo>
                  <a:pt x="6723" y="0"/>
                </a:lnTo>
                <a:cubicBezTo>
                  <a:pt x="3137" y="0"/>
                  <a:pt x="0" y="3137"/>
                  <a:pt x="0" y="6723"/>
                </a:cubicBezTo>
                <a:lnTo>
                  <a:pt x="0" y="58262"/>
                </a:lnTo>
                <a:cubicBezTo>
                  <a:pt x="0" y="61847"/>
                  <a:pt x="3137" y="64985"/>
                  <a:pt x="6723" y="64985"/>
                </a:cubicBezTo>
                <a:lnTo>
                  <a:pt x="14341" y="64985"/>
                </a:lnTo>
                <a:cubicBezTo>
                  <a:pt x="13893" y="66329"/>
                  <a:pt x="13445" y="67674"/>
                  <a:pt x="13445" y="69466"/>
                </a:cubicBezTo>
                <a:cubicBezTo>
                  <a:pt x="13445" y="77982"/>
                  <a:pt x="20616" y="85152"/>
                  <a:pt x="29131" y="85152"/>
                </a:cubicBezTo>
                <a:cubicBezTo>
                  <a:pt x="37646" y="85152"/>
                  <a:pt x="44817" y="77982"/>
                  <a:pt x="44817" y="69466"/>
                </a:cubicBezTo>
                <a:cubicBezTo>
                  <a:pt x="44817" y="68122"/>
                  <a:pt x="44369" y="66329"/>
                  <a:pt x="43921" y="64985"/>
                </a:cubicBezTo>
                <a:lnTo>
                  <a:pt x="96357" y="64985"/>
                </a:lnTo>
                <a:cubicBezTo>
                  <a:pt x="96357" y="64985"/>
                  <a:pt x="96357" y="64985"/>
                  <a:pt x="96357" y="64985"/>
                </a:cubicBezTo>
                <a:lnTo>
                  <a:pt x="108009" y="64985"/>
                </a:lnTo>
                <a:cubicBezTo>
                  <a:pt x="107561" y="66329"/>
                  <a:pt x="107113" y="68122"/>
                  <a:pt x="107113" y="69466"/>
                </a:cubicBezTo>
                <a:cubicBezTo>
                  <a:pt x="107113" y="77982"/>
                  <a:pt x="114283" y="85152"/>
                  <a:pt x="122799" y="85152"/>
                </a:cubicBezTo>
                <a:cubicBezTo>
                  <a:pt x="131314" y="85152"/>
                  <a:pt x="138485" y="77982"/>
                  <a:pt x="138485" y="69466"/>
                </a:cubicBezTo>
                <a:cubicBezTo>
                  <a:pt x="138485" y="68122"/>
                  <a:pt x="138036" y="66329"/>
                  <a:pt x="137588" y="64985"/>
                </a:cubicBezTo>
                <a:lnTo>
                  <a:pt x="146552" y="64985"/>
                </a:lnTo>
                <a:cubicBezTo>
                  <a:pt x="149241" y="64985"/>
                  <a:pt x="151481" y="62744"/>
                  <a:pt x="151481" y="60055"/>
                </a:cubicBezTo>
                <a:lnTo>
                  <a:pt x="152826" y="42128"/>
                </a:lnTo>
                <a:close/>
                <a:moveTo>
                  <a:pt x="148344" y="38991"/>
                </a:moveTo>
                <a:lnTo>
                  <a:pt x="128177" y="34061"/>
                </a:lnTo>
                <a:cubicBezTo>
                  <a:pt x="127280" y="33613"/>
                  <a:pt x="125936" y="31820"/>
                  <a:pt x="125936" y="29131"/>
                </a:cubicBezTo>
                <a:lnTo>
                  <a:pt x="125936" y="7171"/>
                </a:lnTo>
                <a:cubicBezTo>
                  <a:pt x="138485" y="12997"/>
                  <a:pt x="147000" y="25097"/>
                  <a:pt x="148344" y="38991"/>
                </a:cubicBezTo>
                <a:close/>
                <a:moveTo>
                  <a:pt x="29579" y="80223"/>
                </a:moveTo>
                <a:cubicBezTo>
                  <a:pt x="23305" y="80223"/>
                  <a:pt x="18375" y="75292"/>
                  <a:pt x="18375" y="69018"/>
                </a:cubicBezTo>
                <a:cubicBezTo>
                  <a:pt x="18375" y="62744"/>
                  <a:pt x="23305" y="57814"/>
                  <a:pt x="29579" y="57814"/>
                </a:cubicBezTo>
                <a:cubicBezTo>
                  <a:pt x="35854" y="57814"/>
                  <a:pt x="40784" y="62744"/>
                  <a:pt x="40784" y="69018"/>
                </a:cubicBezTo>
                <a:cubicBezTo>
                  <a:pt x="40784" y="75292"/>
                  <a:pt x="35854" y="80223"/>
                  <a:pt x="29579" y="80223"/>
                </a:cubicBezTo>
                <a:close/>
                <a:moveTo>
                  <a:pt x="29579" y="53332"/>
                </a:moveTo>
                <a:cubicBezTo>
                  <a:pt x="24201" y="53332"/>
                  <a:pt x="19271" y="56021"/>
                  <a:pt x="16582" y="60055"/>
                </a:cubicBezTo>
                <a:cubicBezTo>
                  <a:pt x="16582" y="60055"/>
                  <a:pt x="16134" y="60055"/>
                  <a:pt x="16134" y="60055"/>
                </a:cubicBezTo>
                <a:lnTo>
                  <a:pt x="7171" y="60055"/>
                </a:lnTo>
                <a:cubicBezTo>
                  <a:pt x="5826" y="60055"/>
                  <a:pt x="4930" y="59158"/>
                  <a:pt x="4930" y="57814"/>
                </a:cubicBezTo>
                <a:lnTo>
                  <a:pt x="4930" y="6274"/>
                </a:lnTo>
                <a:cubicBezTo>
                  <a:pt x="4930" y="4930"/>
                  <a:pt x="5826" y="4034"/>
                  <a:pt x="7171" y="4034"/>
                </a:cubicBezTo>
                <a:lnTo>
                  <a:pt x="94564" y="4034"/>
                </a:lnTo>
                <a:lnTo>
                  <a:pt x="94564" y="60055"/>
                </a:lnTo>
                <a:lnTo>
                  <a:pt x="90082" y="60055"/>
                </a:lnTo>
                <a:cubicBezTo>
                  <a:pt x="90082" y="60055"/>
                  <a:pt x="90082" y="60055"/>
                  <a:pt x="90082" y="60055"/>
                </a:cubicBezTo>
                <a:lnTo>
                  <a:pt x="43024" y="60055"/>
                </a:lnTo>
                <a:cubicBezTo>
                  <a:pt x="43024" y="60055"/>
                  <a:pt x="42576" y="60055"/>
                  <a:pt x="42576" y="60055"/>
                </a:cubicBezTo>
                <a:cubicBezTo>
                  <a:pt x="39887" y="56021"/>
                  <a:pt x="34957" y="53332"/>
                  <a:pt x="29579" y="53332"/>
                </a:cubicBezTo>
                <a:close/>
                <a:moveTo>
                  <a:pt x="123695" y="80223"/>
                </a:moveTo>
                <a:cubicBezTo>
                  <a:pt x="117421" y="80223"/>
                  <a:pt x="112491" y="75292"/>
                  <a:pt x="112491" y="69018"/>
                </a:cubicBezTo>
                <a:cubicBezTo>
                  <a:pt x="112491" y="62744"/>
                  <a:pt x="117421" y="57814"/>
                  <a:pt x="123695" y="57814"/>
                </a:cubicBezTo>
                <a:cubicBezTo>
                  <a:pt x="129969" y="57814"/>
                  <a:pt x="134899" y="62744"/>
                  <a:pt x="134899" y="69018"/>
                </a:cubicBezTo>
                <a:cubicBezTo>
                  <a:pt x="134899" y="75292"/>
                  <a:pt x="129969" y="80223"/>
                  <a:pt x="123695" y="80223"/>
                </a:cubicBezTo>
                <a:close/>
                <a:moveTo>
                  <a:pt x="147896" y="60055"/>
                </a:moveTo>
                <a:lnTo>
                  <a:pt x="136692" y="60055"/>
                </a:lnTo>
                <a:cubicBezTo>
                  <a:pt x="134003" y="56021"/>
                  <a:pt x="129073" y="53332"/>
                  <a:pt x="123695" y="53332"/>
                </a:cubicBezTo>
                <a:cubicBezTo>
                  <a:pt x="118317" y="53332"/>
                  <a:pt x="113835" y="56021"/>
                  <a:pt x="110698" y="60055"/>
                </a:cubicBezTo>
                <a:lnTo>
                  <a:pt x="99046" y="60055"/>
                </a:lnTo>
                <a:lnTo>
                  <a:pt x="99046" y="4034"/>
                </a:lnTo>
                <a:lnTo>
                  <a:pt x="110250" y="4034"/>
                </a:lnTo>
                <a:cubicBezTo>
                  <a:pt x="114283" y="4034"/>
                  <a:pt x="117869" y="4482"/>
                  <a:pt x="121454" y="5826"/>
                </a:cubicBezTo>
                <a:lnTo>
                  <a:pt x="121454" y="29579"/>
                </a:lnTo>
                <a:cubicBezTo>
                  <a:pt x="121454" y="34061"/>
                  <a:pt x="123695" y="38094"/>
                  <a:pt x="127280" y="38991"/>
                </a:cubicBezTo>
                <a:lnTo>
                  <a:pt x="148344" y="44369"/>
                </a:lnTo>
                <a:lnTo>
                  <a:pt x="148344" y="60055"/>
                </a:lnTo>
                <a:cubicBezTo>
                  <a:pt x="148344" y="59606"/>
                  <a:pt x="148344" y="60055"/>
                  <a:pt x="147896" y="60055"/>
                </a:cubicBezTo>
                <a:close/>
              </a:path>
            </a:pathLst>
          </a:custGeom>
          <a:solidFill>
            <a:srgbClr val="231F20"/>
          </a:solidFill>
          <a:ln w="4477" cap="flat">
            <a:noFill/>
            <a:prstDash val="solid"/>
            <a:miter/>
          </a:ln>
        </p:spPr>
        <p:txBody>
          <a:bodyPr rtlCol="0" anchor="ctr"/>
          <a:lstStyle/>
          <a:p>
            <a:endParaRPr lang="en-US"/>
          </a:p>
        </p:txBody>
      </p:sp>
      <p:sp>
        <p:nvSpPr>
          <p:cNvPr id="3836" name="Freeform: Shape 3835">
            <a:extLst>
              <a:ext uri="{FF2B5EF4-FFF2-40B4-BE49-F238E27FC236}">
                <a16:creationId xmlns:a16="http://schemas.microsoft.com/office/drawing/2014/main" id="{992996D4-F34A-47BF-82FC-897B2B624A09}"/>
              </a:ext>
              <a:ext uri="{C183D7F6-B498-43B3-948B-1728B52AA6E4}">
                <adec:decorative xmlns:adec="http://schemas.microsoft.com/office/drawing/2017/decorative" val="1"/>
              </a:ext>
            </a:extLst>
          </p:cNvPr>
          <p:cNvSpPr>
            <a:spLocks noChangeAspect="1"/>
          </p:cNvSpPr>
          <p:nvPr/>
        </p:nvSpPr>
        <p:spPr>
          <a:xfrm>
            <a:off x="2945264" y="3157586"/>
            <a:ext cx="152378" cy="85152"/>
          </a:xfrm>
          <a:custGeom>
            <a:avLst/>
            <a:gdLst>
              <a:gd name="connsiteX0" fmla="*/ 152826 w 152377"/>
              <a:gd name="connsiteY0" fmla="*/ 42576 h 85152"/>
              <a:gd name="connsiteX1" fmla="*/ 124591 w 152377"/>
              <a:gd name="connsiteY1" fmla="*/ 2689 h 85152"/>
              <a:gd name="connsiteX2" fmla="*/ 124143 w 152377"/>
              <a:gd name="connsiteY2" fmla="*/ 2689 h 85152"/>
              <a:gd name="connsiteX3" fmla="*/ 109802 w 152377"/>
              <a:gd name="connsiteY3" fmla="*/ 0 h 85152"/>
              <a:gd name="connsiteX4" fmla="*/ 100838 w 152377"/>
              <a:gd name="connsiteY4" fmla="*/ 0 h 85152"/>
              <a:gd name="connsiteX5" fmla="*/ 94116 w 152377"/>
              <a:gd name="connsiteY5" fmla="*/ 6723 h 85152"/>
              <a:gd name="connsiteX6" fmla="*/ 94116 w 152377"/>
              <a:gd name="connsiteY6" fmla="*/ 26890 h 85152"/>
              <a:gd name="connsiteX7" fmla="*/ 6723 w 152377"/>
              <a:gd name="connsiteY7" fmla="*/ 26890 h 85152"/>
              <a:gd name="connsiteX8" fmla="*/ 0 w 152377"/>
              <a:gd name="connsiteY8" fmla="*/ 33613 h 85152"/>
              <a:gd name="connsiteX9" fmla="*/ 0 w 152377"/>
              <a:gd name="connsiteY9" fmla="*/ 58262 h 85152"/>
              <a:gd name="connsiteX10" fmla="*/ 6723 w 152377"/>
              <a:gd name="connsiteY10" fmla="*/ 64985 h 85152"/>
              <a:gd name="connsiteX11" fmla="*/ 14342 w 152377"/>
              <a:gd name="connsiteY11" fmla="*/ 64985 h 85152"/>
              <a:gd name="connsiteX12" fmla="*/ 13445 w 152377"/>
              <a:gd name="connsiteY12" fmla="*/ 69466 h 85152"/>
              <a:gd name="connsiteX13" fmla="*/ 29131 w 152377"/>
              <a:gd name="connsiteY13" fmla="*/ 85152 h 85152"/>
              <a:gd name="connsiteX14" fmla="*/ 44817 w 152377"/>
              <a:gd name="connsiteY14" fmla="*/ 69466 h 85152"/>
              <a:gd name="connsiteX15" fmla="*/ 43921 w 152377"/>
              <a:gd name="connsiteY15" fmla="*/ 64985 h 85152"/>
              <a:gd name="connsiteX16" fmla="*/ 89634 w 152377"/>
              <a:gd name="connsiteY16" fmla="*/ 64985 h 85152"/>
              <a:gd name="connsiteX17" fmla="*/ 96357 w 152377"/>
              <a:gd name="connsiteY17" fmla="*/ 64985 h 85152"/>
              <a:gd name="connsiteX18" fmla="*/ 108457 w 152377"/>
              <a:gd name="connsiteY18" fmla="*/ 64985 h 85152"/>
              <a:gd name="connsiteX19" fmla="*/ 107561 w 152377"/>
              <a:gd name="connsiteY19" fmla="*/ 69466 h 85152"/>
              <a:gd name="connsiteX20" fmla="*/ 123247 w 152377"/>
              <a:gd name="connsiteY20" fmla="*/ 85152 h 85152"/>
              <a:gd name="connsiteX21" fmla="*/ 138933 w 152377"/>
              <a:gd name="connsiteY21" fmla="*/ 69466 h 85152"/>
              <a:gd name="connsiteX22" fmla="*/ 138036 w 152377"/>
              <a:gd name="connsiteY22" fmla="*/ 64985 h 85152"/>
              <a:gd name="connsiteX23" fmla="*/ 147000 w 152377"/>
              <a:gd name="connsiteY23" fmla="*/ 64985 h 85152"/>
              <a:gd name="connsiteX24" fmla="*/ 151930 w 152377"/>
              <a:gd name="connsiteY24" fmla="*/ 60054 h 85152"/>
              <a:gd name="connsiteX25" fmla="*/ 152826 w 152377"/>
              <a:gd name="connsiteY25" fmla="*/ 42576 h 85152"/>
              <a:gd name="connsiteX26" fmla="*/ 147896 w 152377"/>
              <a:gd name="connsiteY26" fmla="*/ 39439 h 85152"/>
              <a:gd name="connsiteX27" fmla="*/ 128177 w 152377"/>
              <a:gd name="connsiteY27" fmla="*/ 34509 h 85152"/>
              <a:gd name="connsiteX28" fmla="*/ 125936 w 152377"/>
              <a:gd name="connsiteY28" fmla="*/ 29579 h 85152"/>
              <a:gd name="connsiteX29" fmla="*/ 125936 w 152377"/>
              <a:gd name="connsiteY29" fmla="*/ 7619 h 85152"/>
              <a:gd name="connsiteX30" fmla="*/ 147896 w 152377"/>
              <a:gd name="connsiteY30" fmla="*/ 39439 h 85152"/>
              <a:gd name="connsiteX31" fmla="*/ 29579 w 152377"/>
              <a:gd name="connsiteY31" fmla="*/ 80671 h 85152"/>
              <a:gd name="connsiteX32" fmla="*/ 18375 w 152377"/>
              <a:gd name="connsiteY32" fmla="*/ 69466 h 85152"/>
              <a:gd name="connsiteX33" fmla="*/ 29579 w 152377"/>
              <a:gd name="connsiteY33" fmla="*/ 58262 h 85152"/>
              <a:gd name="connsiteX34" fmla="*/ 40783 w 152377"/>
              <a:gd name="connsiteY34" fmla="*/ 69466 h 85152"/>
              <a:gd name="connsiteX35" fmla="*/ 29579 w 152377"/>
              <a:gd name="connsiteY35" fmla="*/ 80671 h 85152"/>
              <a:gd name="connsiteX36" fmla="*/ 90082 w 152377"/>
              <a:gd name="connsiteY36" fmla="*/ 60503 h 85152"/>
              <a:gd name="connsiteX37" fmla="*/ 42576 w 152377"/>
              <a:gd name="connsiteY37" fmla="*/ 60503 h 85152"/>
              <a:gd name="connsiteX38" fmla="*/ 29579 w 152377"/>
              <a:gd name="connsiteY38" fmla="*/ 53780 h 85152"/>
              <a:gd name="connsiteX39" fmla="*/ 16582 w 152377"/>
              <a:gd name="connsiteY39" fmla="*/ 60503 h 85152"/>
              <a:gd name="connsiteX40" fmla="*/ 7171 w 152377"/>
              <a:gd name="connsiteY40" fmla="*/ 60503 h 85152"/>
              <a:gd name="connsiteX41" fmla="*/ 4930 w 152377"/>
              <a:gd name="connsiteY41" fmla="*/ 58262 h 85152"/>
              <a:gd name="connsiteX42" fmla="*/ 4930 w 152377"/>
              <a:gd name="connsiteY42" fmla="*/ 33613 h 85152"/>
              <a:gd name="connsiteX43" fmla="*/ 7171 w 152377"/>
              <a:gd name="connsiteY43" fmla="*/ 31372 h 85152"/>
              <a:gd name="connsiteX44" fmla="*/ 94564 w 152377"/>
              <a:gd name="connsiteY44" fmla="*/ 31372 h 85152"/>
              <a:gd name="connsiteX45" fmla="*/ 94564 w 152377"/>
              <a:gd name="connsiteY45" fmla="*/ 60503 h 85152"/>
              <a:gd name="connsiteX46" fmla="*/ 90082 w 152377"/>
              <a:gd name="connsiteY46" fmla="*/ 60503 h 85152"/>
              <a:gd name="connsiteX47" fmla="*/ 123695 w 152377"/>
              <a:gd name="connsiteY47" fmla="*/ 80671 h 85152"/>
              <a:gd name="connsiteX48" fmla="*/ 112491 w 152377"/>
              <a:gd name="connsiteY48" fmla="*/ 69466 h 85152"/>
              <a:gd name="connsiteX49" fmla="*/ 123695 w 152377"/>
              <a:gd name="connsiteY49" fmla="*/ 58262 h 85152"/>
              <a:gd name="connsiteX50" fmla="*/ 134899 w 152377"/>
              <a:gd name="connsiteY50" fmla="*/ 69466 h 85152"/>
              <a:gd name="connsiteX51" fmla="*/ 123695 w 152377"/>
              <a:gd name="connsiteY51" fmla="*/ 80671 h 85152"/>
              <a:gd name="connsiteX52" fmla="*/ 147896 w 152377"/>
              <a:gd name="connsiteY52" fmla="*/ 60503 h 85152"/>
              <a:gd name="connsiteX53" fmla="*/ 136692 w 152377"/>
              <a:gd name="connsiteY53" fmla="*/ 60503 h 85152"/>
              <a:gd name="connsiteX54" fmla="*/ 123695 w 152377"/>
              <a:gd name="connsiteY54" fmla="*/ 53780 h 85152"/>
              <a:gd name="connsiteX55" fmla="*/ 110698 w 152377"/>
              <a:gd name="connsiteY55" fmla="*/ 60503 h 85152"/>
              <a:gd name="connsiteX56" fmla="*/ 99046 w 152377"/>
              <a:gd name="connsiteY56" fmla="*/ 60503 h 85152"/>
              <a:gd name="connsiteX57" fmla="*/ 99046 w 152377"/>
              <a:gd name="connsiteY57" fmla="*/ 49299 h 85152"/>
              <a:gd name="connsiteX58" fmla="*/ 99046 w 152377"/>
              <a:gd name="connsiteY58" fmla="*/ 6723 h 85152"/>
              <a:gd name="connsiteX59" fmla="*/ 101286 w 152377"/>
              <a:gd name="connsiteY59" fmla="*/ 4482 h 85152"/>
              <a:gd name="connsiteX60" fmla="*/ 110250 w 152377"/>
              <a:gd name="connsiteY60" fmla="*/ 4482 h 85152"/>
              <a:gd name="connsiteX61" fmla="*/ 121454 w 152377"/>
              <a:gd name="connsiteY61" fmla="*/ 6274 h 85152"/>
              <a:gd name="connsiteX62" fmla="*/ 121454 w 152377"/>
              <a:gd name="connsiteY62" fmla="*/ 30027 h 85152"/>
              <a:gd name="connsiteX63" fmla="*/ 127280 w 152377"/>
              <a:gd name="connsiteY63" fmla="*/ 39439 h 85152"/>
              <a:gd name="connsiteX64" fmla="*/ 148344 w 152377"/>
              <a:gd name="connsiteY64" fmla="*/ 44817 h 85152"/>
              <a:gd name="connsiteX65" fmla="*/ 148344 w 152377"/>
              <a:gd name="connsiteY65" fmla="*/ 60503 h 85152"/>
              <a:gd name="connsiteX66" fmla="*/ 147896 w 152377"/>
              <a:gd name="connsiteY66" fmla="*/ 60503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52377" h="85152">
                <a:moveTo>
                  <a:pt x="152826" y="42576"/>
                </a:moveTo>
                <a:cubicBezTo>
                  <a:pt x="152826" y="24201"/>
                  <a:pt x="141174" y="8515"/>
                  <a:pt x="124591" y="2689"/>
                </a:cubicBezTo>
                <a:cubicBezTo>
                  <a:pt x="124591" y="2689"/>
                  <a:pt x="124143" y="2689"/>
                  <a:pt x="124143" y="2689"/>
                </a:cubicBezTo>
                <a:cubicBezTo>
                  <a:pt x="119661" y="896"/>
                  <a:pt x="114731" y="0"/>
                  <a:pt x="109802" y="0"/>
                </a:cubicBezTo>
                <a:lnTo>
                  <a:pt x="100838" y="0"/>
                </a:lnTo>
                <a:cubicBezTo>
                  <a:pt x="97253" y="0"/>
                  <a:pt x="94116" y="3137"/>
                  <a:pt x="94116" y="6723"/>
                </a:cubicBezTo>
                <a:lnTo>
                  <a:pt x="94116" y="26890"/>
                </a:lnTo>
                <a:lnTo>
                  <a:pt x="6723" y="26890"/>
                </a:lnTo>
                <a:cubicBezTo>
                  <a:pt x="3137" y="26890"/>
                  <a:pt x="0" y="30027"/>
                  <a:pt x="0" y="33613"/>
                </a:cubicBezTo>
                <a:lnTo>
                  <a:pt x="0" y="58262"/>
                </a:lnTo>
                <a:cubicBezTo>
                  <a:pt x="0" y="61847"/>
                  <a:pt x="3137" y="64985"/>
                  <a:pt x="6723" y="64985"/>
                </a:cubicBezTo>
                <a:lnTo>
                  <a:pt x="14342" y="64985"/>
                </a:lnTo>
                <a:cubicBezTo>
                  <a:pt x="13893" y="66329"/>
                  <a:pt x="13445" y="68122"/>
                  <a:pt x="13445" y="69466"/>
                </a:cubicBezTo>
                <a:cubicBezTo>
                  <a:pt x="13445" y="77981"/>
                  <a:pt x="20616" y="85152"/>
                  <a:pt x="29131" y="85152"/>
                </a:cubicBezTo>
                <a:cubicBezTo>
                  <a:pt x="37646" y="85152"/>
                  <a:pt x="44817" y="77981"/>
                  <a:pt x="44817" y="69466"/>
                </a:cubicBezTo>
                <a:cubicBezTo>
                  <a:pt x="44817" y="68122"/>
                  <a:pt x="44369" y="66329"/>
                  <a:pt x="43921" y="64985"/>
                </a:cubicBezTo>
                <a:lnTo>
                  <a:pt x="89634" y="64985"/>
                </a:lnTo>
                <a:lnTo>
                  <a:pt x="96357" y="64985"/>
                </a:lnTo>
                <a:lnTo>
                  <a:pt x="108457" y="64985"/>
                </a:lnTo>
                <a:cubicBezTo>
                  <a:pt x="108009" y="66329"/>
                  <a:pt x="107561" y="68122"/>
                  <a:pt x="107561" y="69466"/>
                </a:cubicBezTo>
                <a:cubicBezTo>
                  <a:pt x="107561" y="77981"/>
                  <a:pt x="114731" y="85152"/>
                  <a:pt x="123247" y="85152"/>
                </a:cubicBezTo>
                <a:cubicBezTo>
                  <a:pt x="131762" y="85152"/>
                  <a:pt x="138933" y="77981"/>
                  <a:pt x="138933" y="69466"/>
                </a:cubicBezTo>
                <a:cubicBezTo>
                  <a:pt x="138933" y="68122"/>
                  <a:pt x="138484" y="66329"/>
                  <a:pt x="138036" y="64985"/>
                </a:cubicBezTo>
                <a:lnTo>
                  <a:pt x="147000" y="64985"/>
                </a:lnTo>
                <a:cubicBezTo>
                  <a:pt x="149689" y="64985"/>
                  <a:pt x="151930" y="62744"/>
                  <a:pt x="151930" y="60054"/>
                </a:cubicBezTo>
                <a:lnTo>
                  <a:pt x="152826" y="42576"/>
                </a:lnTo>
                <a:close/>
                <a:moveTo>
                  <a:pt x="147896" y="39439"/>
                </a:moveTo>
                <a:lnTo>
                  <a:pt x="128177" y="34509"/>
                </a:lnTo>
                <a:cubicBezTo>
                  <a:pt x="127280" y="34061"/>
                  <a:pt x="125936" y="32268"/>
                  <a:pt x="125936" y="29579"/>
                </a:cubicBezTo>
                <a:lnTo>
                  <a:pt x="125936" y="7619"/>
                </a:lnTo>
                <a:cubicBezTo>
                  <a:pt x="138036" y="13445"/>
                  <a:pt x="147000" y="25545"/>
                  <a:pt x="147896" y="39439"/>
                </a:cubicBezTo>
                <a:close/>
                <a:moveTo>
                  <a:pt x="29579" y="80671"/>
                </a:moveTo>
                <a:cubicBezTo>
                  <a:pt x="23305" y="80671"/>
                  <a:pt x="18375" y="75740"/>
                  <a:pt x="18375" y="69466"/>
                </a:cubicBezTo>
                <a:cubicBezTo>
                  <a:pt x="18375" y="63192"/>
                  <a:pt x="23305" y="58262"/>
                  <a:pt x="29579" y="58262"/>
                </a:cubicBezTo>
                <a:cubicBezTo>
                  <a:pt x="35854" y="58262"/>
                  <a:pt x="40783" y="63192"/>
                  <a:pt x="40783" y="69466"/>
                </a:cubicBezTo>
                <a:cubicBezTo>
                  <a:pt x="40783" y="75740"/>
                  <a:pt x="35854" y="80671"/>
                  <a:pt x="29579" y="80671"/>
                </a:cubicBezTo>
                <a:close/>
                <a:moveTo>
                  <a:pt x="90082" y="60503"/>
                </a:moveTo>
                <a:lnTo>
                  <a:pt x="42576" y="60503"/>
                </a:lnTo>
                <a:cubicBezTo>
                  <a:pt x="39887" y="56469"/>
                  <a:pt x="34957" y="53780"/>
                  <a:pt x="29579" y="53780"/>
                </a:cubicBezTo>
                <a:cubicBezTo>
                  <a:pt x="24201" y="53780"/>
                  <a:pt x="19719" y="56469"/>
                  <a:pt x="16582" y="60503"/>
                </a:cubicBezTo>
                <a:lnTo>
                  <a:pt x="7171" y="60503"/>
                </a:lnTo>
                <a:cubicBezTo>
                  <a:pt x="5826" y="60503"/>
                  <a:pt x="4930" y="59606"/>
                  <a:pt x="4930" y="58262"/>
                </a:cubicBezTo>
                <a:lnTo>
                  <a:pt x="4930" y="33613"/>
                </a:lnTo>
                <a:cubicBezTo>
                  <a:pt x="4930" y="32268"/>
                  <a:pt x="5826" y="31372"/>
                  <a:pt x="7171" y="31372"/>
                </a:cubicBezTo>
                <a:lnTo>
                  <a:pt x="94564" y="31372"/>
                </a:lnTo>
                <a:lnTo>
                  <a:pt x="94564" y="60503"/>
                </a:lnTo>
                <a:lnTo>
                  <a:pt x="90082" y="60503"/>
                </a:lnTo>
                <a:close/>
                <a:moveTo>
                  <a:pt x="123695" y="80671"/>
                </a:moveTo>
                <a:cubicBezTo>
                  <a:pt x="117421" y="80671"/>
                  <a:pt x="112491" y="75740"/>
                  <a:pt x="112491" y="69466"/>
                </a:cubicBezTo>
                <a:cubicBezTo>
                  <a:pt x="112491" y="63192"/>
                  <a:pt x="117421" y="58262"/>
                  <a:pt x="123695" y="58262"/>
                </a:cubicBezTo>
                <a:cubicBezTo>
                  <a:pt x="129969" y="58262"/>
                  <a:pt x="134899" y="63192"/>
                  <a:pt x="134899" y="69466"/>
                </a:cubicBezTo>
                <a:cubicBezTo>
                  <a:pt x="134899" y="75740"/>
                  <a:pt x="129969" y="80671"/>
                  <a:pt x="123695" y="80671"/>
                </a:cubicBezTo>
                <a:close/>
                <a:moveTo>
                  <a:pt x="147896" y="60503"/>
                </a:moveTo>
                <a:lnTo>
                  <a:pt x="136692" y="60503"/>
                </a:lnTo>
                <a:cubicBezTo>
                  <a:pt x="134003" y="56469"/>
                  <a:pt x="129073" y="53780"/>
                  <a:pt x="123695" y="53780"/>
                </a:cubicBezTo>
                <a:cubicBezTo>
                  <a:pt x="118317" y="53780"/>
                  <a:pt x="113835" y="56469"/>
                  <a:pt x="110698" y="60503"/>
                </a:cubicBezTo>
                <a:lnTo>
                  <a:pt x="99046" y="60503"/>
                </a:lnTo>
                <a:lnTo>
                  <a:pt x="99046" y="49299"/>
                </a:lnTo>
                <a:lnTo>
                  <a:pt x="99046" y="6723"/>
                </a:lnTo>
                <a:cubicBezTo>
                  <a:pt x="99046" y="5378"/>
                  <a:pt x="99942" y="4482"/>
                  <a:pt x="101286" y="4482"/>
                </a:cubicBezTo>
                <a:lnTo>
                  <a:pt x="110250" y="4482"/>
                </a:lnTo>
                <a:cubicBezTo>
                  <a:pt x="114283" y="4482"/>
                  <a:pt x="117869" y="4930"/>
                  <a:pt x="121454" y="6274"/>
                </a:cubicBezTo>
                <a:lnTo>
                  <a:pt x="121454" y="30027"/>
                </a:lnTo>
                <a:cubicBezTo>
                  <a:pt x="121454" y="34509"/>
                  <a:pt x="123695" y="38543"/>
                  <a:pt x="127280" y="39439"/>
                </a:cubicBezTo>
                <a:lnTo>
                  <a:pt x="148344" y="44817"/>
                </a:lnTo>
                <a:lnTo>
                  <a:pt x="148344" y="60503"/>
                </a:lnTo>
                <a:cubicBezTo>
                  <a:pt x="148344" y="60054"/>
                  <a:pt x="147896" y="60503"/>
                  <a:pt x="147896" y="60503"/>
                </a:cubicBezTo>
                <a:close/>
              </a:path>
            </a:pathLst>
          </a:custGeom>
          <a:solidFill>
            <a:srgbClr val="231F20"/>
          </a:solidFill>
          <a:ln w="4477" cap="flat">
            <a:noFill/>
            <a:prstDash val="solid"/>
            <a:miter/>
          </a:ln>
        </p:spPr>
        <p:txBody>
          <a:bodyPr rtlCol="0" anchor="ctr"/>
          <a:lstStyle/>
          <a:p>
            <a:endParaRPr lang="en-US"/>
          </a:p>
        </p:txBody>
      </p:sp>
      <p:grpSp>
        <p:nvGrpSpPr>
          <p:cNvPr id="3837" name="Group 3836">
            <a:extLst>
              <a:ext uri="{FF2B5EF4-FFF2-40B4-BE49-F238E27FC236}">
                <a16:creationId xmlns:a16="http://schemas.microsoft.com/office/drawing/2014/main" id="{A3A0563A-EE85-4265-B082-AE563B873C00}"/>
              </a:ext>
              <a:ext uri="{C183D7F6-B498-43B3-948B-1728B52AA6E4}">
                <adec:decorative xmlns:adec="http://schemas.microsoft.com/office/drawing/2017/decorative" val="1"/>
              </a:ext>
            </a:extLst>
          </p:cNvPr>
          <p:cNvGrpSpPr>
            <a:grpSpLocks noChangeAspect="1"/>
          </p:cNvGrpSpPr>
          <p:nvPr/>
        </p:nvGrpSpPr>
        <p:grpSpPr>
          <a:xfrm>
            <a:off x="5311154" y="3170582"/>
            <a:ext cx="152378" cy="85601"/>
            <a:chOff x="11212780" y="6017118"/>
            <a:chExt cx="152378" cy="85601"/>
          </a:xfrm>
        </p:grpSpPr>
        <p:sp>
          <p:nvSpPr>
            <p:cNvPr id="3838" name="Freeform: Shape 3837">
              <a:extLst>
                <a:ext uri="{FF2B5EF4-FFF2-40B4-BE49-F238E27FC236}">
                  <a16:creationId xmlns:a16="http://schemas.microsoft.com/office/drawing/2014/main" id="{CF85BB0D-2A08-4429-9375-804A9C7E574C}"/>
                </a:ext>
              </a:extLst>
            </p:cNvPr>
            <p:cNvSpPr/>
            <p:nvPr/>
          </p:nvSpPr>
          <p:spPr>
            <a:xfrm>
              <a:off x="11212780" y="6017118"/>
              <a:ext cx="152378" cy="71707"/>
            </a:xfrm>
            <a:custGeom>
              <a:avLst/>
              <a:gdLst>
                <a:gd name="connsiteX0" fmla="*/ 2241 w 152377"/>
                <a:gd name="connsiteY0" fmla="*/ 72156 h 71707"/>
                <a:gd name="connsiteX1" fmla="*/ 137589 w 152377"/>
                <a:gd name="connsiteY1" fmla="*/ 72156 h 71707"/>
                <a:gd name="connsiteX2" fmla="*/ 150585 w 152377"/>
                <a:gd name="connsiteY2" fmla="*/ 64537 h 71707"/>
                <a:gd name="connsiteX3" fmla="*/ 150585 w 152377"/>
                <a:gd name="connsiteY3" fmla="*/ 49299 h 71707"/>
                <a:gd name="connsiteX4" fmla="*/ 130866 w 152377"/>
                <a:gd name="connsiteY4" fmla="*/ 16135 h 71707"/>
                <a:gd name="connsiteX5" fmla="*/ 130866 w 152377"/>
                <a:gd name="connsiteY5" fmla="*/ 15686 h 71707"/>
                <a:gd name="connsiteX6" fmla="*/ 129521 w 152377"/>
                <a:gd name="connsiteY6" fmla="*/ 13445 h 71707"/>
                <a:gd name="connsiteX7" fmla="*/ 125488 w 152377"/>
                <a:gd name="connsiteY7" fmla="*/ 7171 h 71707"/>
                <a:gd name="connsiteX8" fmla="*/ 112491 w 152377"/>
                <a:gd name="connsiteY8" fmla="*/ 0 h 71707"/>
                <a:gd name="connsiteX9" fmla="*/ 2241 w 152377"/>
                <a:gd name="connsiteY9" fmla="*/ 0 h 71707"/>
                <a:gd name="connsiteX10" fmla="*/ 0 w 152377"/>
                <a:gd name="connsiteY10" fmla="*/ 2241 h 71707"/>
                <a:gd name="connsiteX11" fmla="*/ 0 w 152377"/>
                <a:gd name="connsiteY11" fmla="*/ 15686 h 71707"/>
                <a:gd name="connsiteX12" fmla="*/ 0 w 152377"/>
                <a:gd name="connsiteY12" fmla="*/ 42576 h 71707"/>
                <a:gd name="connsiteX13" fmla="*/ 0 w 152377"/>
                <a:gd name="connsiteY13" fmla="*/ 69466 h 71707"/>
                <a:gd name="connsiteX14" fmla="*/ 2241 w 152377"/>
                <a:gd name="connsiteY14" fmla="*/ 72156 h 71707"/>
                <a:gd name="connsiteX15" fmla="*/ 80671 w 152377"/>
                <a:gd name="connsiteY15" fmla="*/ 67674 h 71707"/>
                <a:gd name="connsiteX16" fmla="*/ 58262 w 152377"/>
                <a:gd name="connsiteY16" fmla="*/ 67674 h 71707"/>
                <a:gd name="connsiteX17" fmla="*/ 58262 w 152377"/>
                <a:gd name="connsiteY17" fmla="*/ 18375 h 71707"/>
                <a:gd name="connsiteX18" fmla="*/ 80671 w 152377"/>
                <a:gd name="connsiteY18" fmla="*/ 18375 h 71707"/>
                <a:gd name="connsiteX19" fmla="*/ 80671 w 152377"/>
                <a:gd name="connsiteY19" fmla="*/ 67674 h 71707"/>
                <a:gd name="connsiteX20" fmla="*/ 139829 w 152377"/>
                <a:gd name="connsiteY20" fmla="*/ 40784 h 71707"/>
                <a:gd name="connsiteX21" fmla="*/ 98597 w 152377"/>
                <a:gd name="connsiteY21" fmla="*/ 40784 h 71707"/>
                <a:gd name="connsiteX22" fmla="*/ 98597 w 152377"/>
                <a:gd name="connsiteY22" fmla="*/ 18375 h 71707"/>
                <a:gd name="connsiteX23" fmla="*/ 126384 w 152377"/>
                <a:gd name="connsiteY23" fmla="*/ 18375 h 71707"/>
                <a:gd name="connsiteX24" fmla="*/ 139829 w 152377"/>
                <a:gd name="connsiteY24" fmla="*/ 40784 h 71707"/>
                <a:gd name="connsiteX25" fmla="*/ 112043 w 152377"/>
                <a:gd name="connsiteY25" fmla="*/ 4930 h 71707"/>
                <a:gd name="connsiteX26" fmla="*/ 121006 w 152377"/>
                <a:gd name="connsiteY26" fmla="*/ 9860 h 71707"/>
                <a:gd name="connsiteX27" fmla="*/ 123247 w 152377"/>
                <a:gd name="connsiteY27" fmla="*/ 13894 h 71707"/>
                <a:gd name="connsiteX28" fmla="*/ 95909 w 152377"/>
                <a:gd name="connsiteY28" fmla="*/ 13894 h 71707"/>
                <a:gd name="connsiteX29" fmla="*/ 93668 w 152377"/>
                <a:gd name="connsiteY29" fmla="*/ 16135 h 71707"/>
                <a:gd name="connsiteX30" fmla="*/ 93668 w 152377"/>
                <a:gd name="connsiteY30" fmla="*/ 43025 h 71707"/>
                <a:gd name="connsiteX31" fmla="*/ 95909 w 152377"/>
                <a:gd name="connsiteY31" fmla="*/ 45266 h 71707"/>
                <a:gd name="connsiteX32" fmla="*/ 142070 w 152377"/>
                <a:gd name="connsiteY32" fmla="*/ 45266 h 71707"/>
                <a:gd name="connsiteX33" fmla="*/ 146103 w 152377"/>
                <a:gd name="connsiteY33" fmla="*/ 51988 h 71707"/>
                <a:gd name="connsiteX34" fmla="*/ 146103 w 152377"/>
                <a:gd name="connsiteY34" fmla="*/ 62744 h 71707"/>
                <a:gd name="connsiteX35" fmla="*/ 137140 w 152377"/>
                <a:gd name="connsiteY35" fmla="*/ 68122 h 71707"/>
                <a:gd name="connsiteX36" fmla="*/ 84704 w 152377"/>
                <a:gd name="connsiteY36" fmla="*/ 68122 h 71707"/>
                <a:gd name="connsiteX37" fmla="*/ 84704 w 152377"/>
                <a:gd name="connsiteY37" fmla="*/ 16583 h 71707"/>
                <a:gd name="connsiteX38" fmla="*/ 82463 w 152377"/>
                <a:gd name="connsiteY38" fmla="*/ 14342 h 71707"/>
                <a:gd name="connsiteX39" fmla="*/ 55573 w 152377"/>
                <a:gd name="connsiteY39" fmla="*/ 14342 h 71707"/>
                <a:gd name="connsiteX40" fmla="*/ 53332 w 152377"/>
                <a:gd name="connsiteY40" fmla="*/ 16583 h 71707"/>
                <a:gd name="connsiteX41" fmla="*/ 53332 w 152377"/>
                <a:gd name="connsiteY41" fmla="*/ 68122 h 71707"/>
                <a:gd name="connsiteX42" fmla="*/ 4034 w 152377"/>
                <a:gd name="connsiteY42" fmla="*/ 68122 h 71707"/>
                <a:gd name="connsiteX43" fmla="*/ 4034 w 152377"/>
                <a:gd name="connsiteY43" fmla="*/ 45714 h 71707"/>
                <a:gd name="connsiteX44" fmla="*/ 42128 w 152377"/>
                <a:gd name="connsiteY44" fmla="*/ 45714 h 71707"/>
                <a:gd name="connsiteX45" fmla="*/ 44369 w 152377"/>
                <a:gd name="connsiteY45" fmla="*/ 43473 h 71707"/>
                <a:gd name="connsiteX46" fmla="*/ 44369 w 152377"/>
                <a:gd name="connsiteY46" fmla="*/ 16583 h 71707"/>
                <a:gd name="connsiteX47" fmla="*/ 42128 w 152377"/>
                <a:gd name="connsiteY47" fmla="*/ 14342 h 71707"/>
                <a:gd name="connsiteX48" fmla="*/ 4034 w 152377"/>
                <a:gd name="connsiteY48" fmla="*/ 14342 h 71707"/>
                <a:gd name="connsiteX49" fmla="*/ 4034 w 152377"/>
                <a:gd name="connsiteY49" fmla="*/ 5378 h 71707"/>
                <a:gd name="connsiteX50" fmla="*/ 112043 w 152377"/>
                <a:gd name="connsiteY50" fmla="*/ 5378 h 71707"/>
                <a:gd name="connsiteX51" fmla="*/ 4482 w 152377"/>
                <a:gd name="connsiteY51" fmla="*/ 18375 h 71707"/>
                <a:gd name="connsiteX52" fmla="*/ 20168 w 152377"/>
                <a:gd name="connsiteY52" fmla="*/ 18375 h 71707"/>
                <a:gd name="connsiteX53" fmla="*/ 20168 w 152377"/>
                <a:gd name="connsiteY53" fmla="*/ 40784 h 71707"/>
                <a:gd name="connsiteX54" fmla="*/ 4482 w 152377"/>
                <a:gd name="connsiteY54" fmla="*/ 40784 h 71707"/>
                <a:gd name="connsiteX55" fmla="*/ 4482 w 152377"/>
                <a:gd name="connsiteY55" fmla="*/ 18375 h 71707"/>
                <a:gd name="connsiteX56" fmla="*/ 40335 w 152377"/>
                <a:gd name="connsiteY56" fmla="*/ 18375 h 71707"/>
                <a:gd name="connsiteX57" fmla="*/ 40335 w 152377"/>
                <a:gd name="connsiteY57" fmla="*/ 40784 h 71707"/>
                <a:gd name="connsiteX58" fmla="*/ 24649 w 152377"/>
                <a:gd name="connsiteY58" fmla="*/ 40784 h 71707"/>
                <a:gd name="connsiteX59" fmla="*/ 24649 w 152377"/>
                <a:gd name="connsiteY59" fmla="*/ 18375 h 71707"/>
                <a:gd name="connsiteX60" fmla="*/ 40335 w 152377"/>
                <a:gd name="connsiteY60" fmla="*/ 18375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2377" h="71707">
                  <a:moveTo>
                    <a:pt x="2241" y="72156"/>
                  </a:moveTo>
                  <a:lnTo>
                    <a:pt x="137589" y="72156"/>
                  </a:lnTo>
                  <a:cubicBezTo>
                    <a:pt x="142966" y="72156"/>
                    <a:pt x="147896" y="69466"/>
                    <a:pt x="150585" y="64537"/>
                  </a:cubicBezTo>
                  <a:cubicBezTo>
                    <a:pt x="153275" y="59607"/>
                    <a:pt x="153275" y="54229"/>
                    <a:pt x="150585" y="49299"/>
                  </a:cubicBezTo>
                  <a:lnTo>
                    <a:pt x="130866" y="16135"/>
                  </a:lnTo>
                  <a:cubicBezTo>
                    <a:pt x="130866" y="16135"/>
                    <a:pt x="130866" y="16135"/>
                    <a:pt x="130866" y="15686"/>
                  </a:cubicBezTo>
                  <a:cubicBezTo>
                    <a:pt x="130866" y="14790"/>
                    <a:pt x="130417" y="13894"/>
                    <a:pt x="129521" y="13445"/>
                  </a:cubicBezTo>
                  <a:lnTo>
                    <a:pt x="125488" y="7171"/>
                  </a:lnTo>
                  <a:cubicBezTo>
                    <a:pt x="122799" y="2689"/>
                    <a:pt x="117869" y="0"/>
                    <a:pt x="112491" y="0"/>
                  </a:cubicBezTo>
                  <a:lnTo>
                    <a:pt x="2241" y="0"/>
                  </a:lnTo>
                  <a:cubicBezTo>
                    <a:pt x="897" y="0"/>
                    <a:pt x="0" y="897"/>
                    <a:pt x="0" y="2241"/>
                  </a:cubicBezTo>
                  <a:lnTo>
                    <a:pt x="0" y="15686"/>
                  </a:lnTo>
                  <a:lnTo>
                    <a:pt x="0" y="42576"/>
                  </a:lnTo>
                  <a:lnTo>
                    <a:pt x="0" y="69466"/>
                  </a:lnTo>
                  <a:cubicBezTo>
                    <a:pt x="0" y="71259"/>
                    <a:pt x="897" y="72156"/>
                    <a:pt x="2241" y="72156"/>
                  </a:cubicBezTo>
                  <a:close/>
                  <a:moveTo>
                    <a:pt x="80671" y="67674"/>
                  </a:moveTo>
                  <a:lnTo>
                    <a:pt x="58262" y="67674"/>
                  </a:lnTo>
                  <a:lnTo>
                    <a:pt x="58262" y="18375"/>
                  </a:lnTo>
                  <a:lnTo>
                    <a:pt x="80671" y="18375"/>
                  </a:lnTo>
                  <a:lnTo>
                    <a:pt x="80671" y="67674"/>
                  </a:lnTo>
                  <a:close/>
                  <a:moveTo>
                    <a:pt x="139829" y="40784"/>
                  </a:moveTo>
                  <a:lnTo>
                    <a:pt x="98597" y="40784"/>
                  </a:lnTo>
                  <a:lnTo>
                    <a:pt x="98597" y="18375"/>
                  </a:lnTo>
                  <a:lnTo>
                    <a:pt x="126384" y="18375"/>
                  </a:lnTo>
                  <a:lnTo>
                    <a:pt x="139829" y="40784"/>
                  </a:lnTo>
                  <a:close/>
                  <a:moveTo>
                    <a:pt x="112043" y="4930"/>
                  </a:moveTo>
                  <a:cubicBezTo>
                    <a:pt x="115628" y="4930"/>
                    <a:pt x="119213" y="6723"/>
                    <a:pt x="121006" y="9860"/>
                  </a:cubicBezTo>
                  <a:lnTo>
                    <a:pt x="123247" y="13894"/>
                  </a:lnTo>
                  <a:lnTo>
                    <a:pt x="95909" y="13894"/>
                  </a:lnTo>
                  <a:cubicBezTo>
                    <a:pt x="94564" y="13894"/>
                    <a:pt x="93668" y="14790"/>
                    <a:pt x="93668" y="16135"/>
                  </a:cubicBezTo>
                  <a:lnTo>
                    <a:pt x="93668" y="43025"/>
                  </a:lnTo>
                  <a:cubicBezTo>
                    <a:pt x="93668" y="44369"/>
                    <a:pt x="94564" y="45266"/>
                    <a:pt x="95909" y="45266"/>
                  </a:cubicBezTo>
                  <a:lnTo>
                    <a:pt x="142070" y="45266"/>
                  </a:lnTo>
                  <a:lnTo>
                    <a:pt x="146103" y="51988"/>
                  </a:lnTo>
                  <a:cubicBezTo>
                    <a:pt x="147896" y="55125"/>
                    <a:pt x="147896" y="59159"/>
                    <a:pt x="146103" y="62744"/>
                  </a:cubicBezTo>
                  <a:cubicBezTo>
                    <a:pt x="144311" y="65881"/>
                    <a:pt x="140726" y="68122"/>
                    <a:pt x="137140" y="68122"/>
                  </a:cubicBezTo>
                  <a:lnTo>
                    <a:pt x="84704" y="68122"/>
                  </a:lnTo>
                  <a:lnTo>
                    <a:pt x="84704" y="16583"/>
                  </a:lnTo>
                  <a:cubicBezTo>
                    <a:pt x="84704" y="15238"/>
                    <a:pt x="83808" y="14342"/>
                    <a:pt x="82463" y="14342"/>
                  </a:cubicBezTo>
                  <a:lnTo>
                    <a:pt x="55573" y="14342"/>
                  </a:lnTo>
                  <a:cubicBezTo>
                    <a:pt x="54228" y="14342"/>
                    <a:pt x="53332" y="15238"/>
                    <a:pt x="53332" y="16583"/>
                  </a:cubicBezTo>
                  <a:lnTo>
                    <a:pt x="53332" y="68122"/>
                  </a:lnTo>
                  <a:lnTo>
                    <a:pt x="4034" y="68122"/>
                  </a:lnTo>
                  <a:lnTo>
                    <a:pt x="4034" y="45714"/>
                  </a:lnTo>
                  <a:lnTo>
                    <a:pt x="42128" y="45714"/>
                  </a:lnTo>
                  <a:cubicBezTo>
                    <a:pt x="43473" y="45714"/>
                    <a:pt x="44369" y="44817"/>
                    <a:pt x="44369" y="43473"/>
                  </a:cubicBezTo>
                  <a:lnTo>
                    <a:pt x="44369" y="16583"/>
                  </a:lnTo>
                  <a:cubicBezTo>
                    <a:pt x="44369" y="15238"/>
                    <a:pt x="43473" y="14342"/>
                    <a:pt x="42128" y="14342"/>
                  </a:cubicBezTo>
                  <a:lnTo>
                    <a:pt x="4034" y="14342"/>
                  </a:lnTo>
                  <a:lnTo>
                    <a:pt x="4034" y="5378"/>
                  </a:lnTo>
                  <a:lnTo>
                    <a:pt x="112043" y="5378"/>
                  </a:lnTo>
                  <a:close/>
                  <a:moveTo>
                    <a:pt x="4482" y="18375"/>
                  </a:moveTo>
                  <a:lnTo>
                    <a:pt x="20168" y="18375"/>
                  </a:lnTo>
                  <a:lnTo>
                    <a:pt x="20168" y="40784"/>
                  </a:lnTo>
                  <a:lnTo>
                    <a:pt x="4482" y="40784"/>
                  </a:lnTo>
                  <a:lnTo>
                    <a:pt x="4482" y="18375"/>
                  </a:lnTo>
                  <a:close/>
                  <a:moveTo>
                    <a:pt x="40335" y="18375"/>
                  </a:moveTo>
                  <a:lnTo>
                    <a:pt x="40335" y="40784"/>
                  </a:lnTo>
                  <a:lnTo>
                    <a:pt x="24649" y="40784"/>
                  </a:lnTo>
                  <a:lnTo>
                    <a:pt x="24649" y="18375"/>
                  </a:lnTo>
                  <a:lnTo>
                    <a:pt x="40335" y="18375"/>
                  </a:lnTo>
                  <a:close/>
                </a:path>
              </a:pathLst>
            </a:custGeom>
            <a:solidFill>
              <a:srgbClr val="231F20"/>
            </a:solidFill>
            <a:ln w="4477" cap="flat">
              <a:noFill/>
              <a:prstDash val="solid"/>
              <a:miter/>
            </a:ln>
          </p:spPr>
          <p:txBody>
            <a:bodyPr rtlCol="0" anchor="ctr"/>
            <a:lstStyle/>
            <a:p>
              <a:endParaRPr lang="en-US"/>
            </a:p>
          </p:txBody>
        </p:sp>
        <p:sp>
          <p:nvSpPr>
            <p:cNvPr id="3839" name="Freeform: Shape 3838">
              <a:extLst>
                <a:ext uri="{FF2B5EF4-FFF2-40B4-BE49-F238E27FC236}">
                  <a16:creationId xmlns:a16="http://schemas.microsoft.com/office/drawing/2014/main" id="{B936BCA4-C46F-4168-B1CB-85585D66AA37}"/>
                </a:ext>
              </a:extLst>
            </p:cNvPr>
            <p:cNvSpPr/>
            <p:nvPr/>
          </p:nvSpPr>
          <p:spPr>
            <a:xfrm>
              <a:off x="11212780" y="6098237"/>
              <a:ext cx="152378" cy="4482"/>
            </a:xfrm>
            <a:custGeom>
              <a:avLst/>
              <a:gdLst>
                <a:gd name="connsiteX0" fmla="*/ 150137 w 152377"/>
                <a:gd name="connsiteY0" fmla="*/ 0 h 4481"/>
                <a:gd name="connsiteX1" fmla="*/ 2241 w 152377"/>
                <a:gd name="connsiteY1" fmla="*/ 0 h 4481"/>
                <a:gd name="connsiteX2" fmla="*/ 0 w 152377"/>
                <a:gd name="connsiteY2" fmla="*/ 2241 h 4481"/>
                <a:gd name="connsiteX3" fmla="*/ 2241 w 152377"/>
                <a:gd name="connsiteY3" fmla="*/ 4482 h 4481"/>
                <a:gd name="connsiteX4" fmla="*/ 150137 w 152377"/>
                <a:gd name="connsiteY4" fmla="*/ 4482 h 4481"/>
                <a:gd name="connsiteX5" fmla="*/ 152378 w 152377"/>
                <a:gd name="connsiteY5" fmla="*/ 2241 h 4481"/>
                <a:gd name="connsiteX6" fmla="*/ 150137 w 15237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377" h="4481">
                  <a:moveTo>
                    <a:pt x="150137" y="0"/>
                  </a:moveTo>
                  <a:lnTo>
                    <a:pt x="2241" y="0"/>
                  </a:lnTo>
                  <a:cubicBezTo>
                    <a:pt x="897" y="0"/>
                    <a:pt x="0" y="896"/>
                    <a:pt x="0" y="2241"/>
                  </a:cubicBezTo>
                  <a:cubicBezTo>
                    <a:pt x="0" y="3585"/>
                    <a:pt x="897" y="4482"/>
                    <a:pt x="2241" y="4482"/>
                  </a:cubicBezTo>
                  <a:lnTo>
                    <a:pt x="150137" y="4482"/>
                  </a:lnTo>
                  <a:cubicBezTo>
                    <a:pt x="151482" y="4482"/>
                    <a:pt x="152378" y="3585"/>
                    <a:pt x="152378" y="2241"/>
                  </a:cubicBezTo>
                  <a:cubicBezTo>
                    <a:pt x="152378" y="896"/>
                    <a:pt x="151482" y="0"/>
                    <a:pt x="150137" y="0"/>
                  </a:cubicBezTo>
                  <a:close/>
                </a:path>
              </a:pathLst>
            </a:custGeom>
            <a:solidFill>
              <a:srgbClr val="231F20"/>
            </a:solidFill>
            <a:ln w="4477" cap="flat">
              <a:noFill/>
              <a:prstDash val="solid"/>
              <a:miter/>
            </a:ln>
          </p:spPr>
          <p:txBody>
            <a:bodyPr rtlCol="0" anchor="ctr"/>
            <a:lstStyle/>
            <a:p>
              <a:endParaRPr lang="en-US"/>
            </a:p>
          </p:txBody>
        </p:sp>
      </p:grpSp>
      <p:sp>
        <p:nvSpPr>
          <p:cNvPr id="3840" name="Freeform: Shape 3839">
            <a:extLst>
              <a:ext uri="{FF2B5EF4-FFF2-40B4-BE49-F238E27FC236}">
                <a16:creationId xmlns:a16="http://schemas.microsoft.com/office/drawing/2014/main" id="{4829952C-2127-4D43-9DBA-350F9C38C2E0}"/>
              </a:ext>
              <a:ext uri="{C183D7F6-B498-43B3-948B-1728B52AA6E4}">
                <adec:decorative xmlns:adec="http://schemas.microsoft.com/office/drawing/2017/decorative" val="1"/>
              </a:ext>
            </a:extLst>
          </p:cNvPr>
          <p:cNvSpPr>
            <a:spLocks noChangeAspect="1"/>
          </p:cNvSpPr>
          <p:nvPr/>
        </p:nvSpPr>
        <p:spPr>
          <a:xfrm>
            <a:off x="5572262" y="3171031"/>
            <a:ext cx="156860" cy="80671"/>
          </a:xfrm>
          <a:custGeom>
            <a:avLst/>
            <a:gdLst>
              <a:gd name="connsiteX0" fmla="*/ 159276 w 156859"/>
              <a:gd name="connsiteY0" fmla="*/ 38094 h 80670"/>
              <a:gd name="connsiteX1" fmla="*/ 155691 w 156859"/>
              <a:gd name="connsiteY1" fmla="*/ 36750 h 80670"/>
              <a:gd name="connsiteX2" fmla="*/ 138660 w 156859"/>
              <a:gd name="connsiteY2" fmla="*/ 36750 h 80670"/>
              <a:gd name="connsiteX3" fmla="*/ 138660 w 156859"/>
              <a:gd name="connsiteY3" fmla="*/ 15686 h 80670"/>
              <a:gd name="connsiteX4" fmla="*/ 136420 w 156859"/>
              <a:gd name="connsiteY4" fmla="*/ 13445 h 80670"/>
              <a:gd name="connsiteX5" fmla="*/ 55749 w 156859"/>
              <a:gd name="connsiteY5" fmla="*/ 13445 h 80670"/>
              <a:gd name="connsiteX6" fmla="*/ 53508 w 156859"/>
              <a:gd name="connsiteY6" fmla="*/ 15686 h 80670"/>
              <a:gd name="connsiteX7" fmla="*/ 53508 w 156859"/>
              <a:gd name="connsiteY7" fmla="*/ 50195 h 80670"/>
              <a:gd name="connsiteX8" fmla="*/ 44545 w 156859"/>
              <a:gd name="connsiteY8" fmla="*/ 50195 h 80670"/>
              <a:gd name="connsiteX9" fmla="*/ 44545 w 156859"/>
              <a:gd name="connsiteY9" fmla="*/ 49299 h 80670"/>
              <a:gd name="connsiteX10" fmla="*/ 44545 w 156859"/>
              <a:gd name="connsiteY10" fmla="*/ 2241 h 80670"/>
              <a:gd name="connsiteX11" fmla="*/ 42304 w 156859"/>
              <a:gd name="connsiteY11" fmla="*/ 0 h 80670"/>
              <a:gd name="connsiteX12" fmla="*/ 15414 w 156859"/>
              <a:gd name="connsiteY12" fmla="*/ 0 h 80670"/>
              <a:gd name="connsiteX13" fmla="*/ 13173 w 156859"/>
              <a:gd name="connsiteY13" fmla="*/ 2241 h 80670"/>
              <a:gd name="connsiteX14" fmla="*/ 13173 w 156859"/>
              <a:gd name="connsiteY14" fmla="*/ 50643 h 80670"/>
              <a:gd name="connsiteX15" fmla="*/ 5106 w 156859"/>
              <a:gd name="connsiteY15" fmla="*/ 50643 h 80670"/>
              <a:gd name="connsiteX16" fmla="*/ 1072 w 156859"/>
              <a:gd name="connsiteY16" fmla="*/ 52884 h 80670"/>
              <a:gd name="connsiteX17" fmla="*/ 176 w 156859"/>
              <a:gd name="connsiteY17" fmla="*/ 57365 h 80670"/>
              <a:gd name="connsiteX18" fmla="*/ 624 w 156859"/>
              <a:gd name="connsiteY18" fmla="*/ 57814 h 80670"/>
              <a:gd name="connsiteX19" fmla="*/ 33340 w 156859"/>
              <a:gd name="connsiteY19" fmla="*/ 84704 h 80670"/>
              <a:gd name="connsiteX20" fmla="*/ 122975 w 156859"/>
              <a:gd name="connsiteY20" fmla="*/ 84704 h 80670"/>
              <a:gd name="connsiteX21" fmla="*/ 160620 w 156859"/>
              <a:gd name="connsiteY21" fmla="*/ 41680 h 80670"/>
              <a:gd name="connsiteX22" fmla="*/ 159276 w 156859"/>
              <a:gd name="connsiteY22" fmla="*/ 38094 h 80670"/>
              <a:gd name="connsiteX23" fmla="*/ 125663 w 156859"/>
              <a:gd name="connsiteY23" fmla="*/ 36302 h 80670"/>
              <a:gd name="connsiteX24" fmla="*/ 118941 w 156859"/>
              <a:gd name="connsiteY24" fmla="*/ 38991 h 80670"/>
              <a:gd name="connsiteX25" fmla="*/ 111322 w 156859"/>
              <a:gd name="connsiteY25" fmla="*/ 46161 h 80670"/>
              <a:gd name="connsiteX26" fmla="*/ 111322 w 156859"/>
              <a:gd name="connsiteY26" fmla="*/ 31372 h 80670"/>
              <a:gd name="connsiteX27" fmla="*/ 133730 w 156859"/>
              <a:gd name="connsiteY27" fmla="*/ 31372 h 80670"/>
              <a:gd name="connsiteX28" fmla="*/ 133730 w 156859"/>
              <a:gd name="connsiteY28" fmla="*/ 36750 h 80670"/>
              <a:gd name="connsiteX29" fmla="*/ 125663 w 156859"/>
              <a:gd name="connsiteY29" fmla="*/ 36302 h 80670"/>
              <a:gd name="connsiteX30" fmla="*/ 107289 w 156859"/>
              <a:gd name="connsiteY30" fmla="*/ 31372 h 80670"/>
              <a:gd name="connsiteX31" fmla="*/ 107289 w 156859"/>
              <a:gd name="connsiteY31" fmla="*/ 49299 h 80670"/>
              <a:gd name="connsiteX32" fmla="*/ 106840 w 156859"/>
              <a:gd name="connsiteY32" fmla="*/ 49299 h 80670"/>
              <a:gd name="connsiteX33" fmla="*/ 84880 w 156859"/>
              <a:gd name="connsiteY33" fmla="*/ 49747 h 80670"/>
              <a:gd name="connsiteX34" fmla="*/ 84880 w 156859"/>
              <a:gd name="connsiteY34" fmla="*/ 31372 h 80670"/>
              <a:gd name="connsiteX35" fmla="*/ 107289 w 156859"/>
              <a:gd name="connsiteY35" fmla="*/ 31372 h 80670"/>
              <a:gd name="connsiteX36" fmla="*/ 84880 w 156859"/>
              <a:gd name="connsiteY36" fmla="*/ 26890 h 80670"/>
              <a:gd name="connsiteX37" fmla="*/ 84880 w 156859"/>
              <a:gd name="connsiteY37" fmla="*/ 17927 h 80670"/>
              <a:gd name="connsiteX38" fmla="*/ 107289 w 156859"/>
              <a:gd name="connsiteY38" fmla="*/ 17927 h 80670"/>
              <a:gd name="connsiteX39" fmla="*/ 107289 w 156859"/>
              <a:gd name="connsiteY39" fmla="*/ 26890 h 80670"/>
              <a:gd name="connsiteX40" fmla="*/ 84880 w 156859"/>
              <a:gd name="connsiteY40" fmla="*/ 26890 h 80670"/>
              <a:gd name="connsiteX41" fmla="*/ 134179 w 156859"/>
              <a:gd name="connsiteY41" fmla="*/ 26890 h 80670"/>
              <a:gd name="connsiteX42" fmla="*/ 111770 w 156859"/>
              <a:gd name="connsiteY42" fmla="*/ 26890 h 80670"/>
              <a:gd name="connsiteX43" fmla="*/ 111770 w 156859"/>
              <a:gd name="connsiteY43" fmla="*/ 17927 h 80670"/>
              <a:gd name="connsiteX44" fmla="*/ 134179 w 156859"/>
              <a:gd name="connsiteY44" fmla="*/ 17927 h 80670"/>
              <a:gd name="connsiteX45" fmla="*/ 134179 w 156859"/>
              <a:gd name="connsiteY45" fmla="*/ 26890 h 80670"/>
              <a:gd name="connsiteX46" fmla="*/ 80398 w 156859"/>
              <a:gd name="connsiteY46" fmla="*/ 17927 h 80670"/>
              <a:gd name="connsiteX47" fmla="*/ 80398 w 156859"/>
              <a:gd name="connsiteY47" fmla="*/ 26890 h 80670"/>
              <a:gd name="connsiteX48" fmla="*/ 57990 w 156859"/>
              <a:gd name="connsiteY48" fmla="*/ 26890 h 80670"/>
              <a:gd name="connsiteX49" fmla="*/ 57990 w 156859"/>
              <a:gd name="connsiteY49" fmla="*/ 17927 h 80670"/>
              <a:gd name="connsiteX50" fmla="*/ 80398 w 156859"/>
              <a:gd name="connsiteY50" fmla="*/ 17927 h 80670"/>
              <a:gd name="connsiteX51" fmla="*/ 57990 w 156859"/>
              <a:gd name="connsiteY51" fmla="*/ 31372 h 80670"/>
              <a:gd name="connsiteX52" fmla="*/ 80398 w 156859"/>
              <a:gd name="connsiteY52" fmla="*/ 31372 h 80670"/>
              <a:gd name="connsiteX53" fmla="*/ 80398 w 156859"/>
              <a:gd name="connsiteY53" fmla="*/ 49747 h 80670"/>
              <a:gd name="connsiteX54" fmla="*/ 57990 w 156859"/>
              <a:gd name="connsiteY54" fmla="*/ 50195 h 80670"/>
              <a:gd name="connsiteX55" fmla="*/ 57990 w 156859"/>
              <a:gd name="connsiteY55" fmla="*/ 31372 h 80670"/>
              <a:gd name="connsiteX56" fmla="*/ 17655 w 156859"/>
              <a:gd name="connsiteY56" fmla="*/ 4482 h 80670"/>
              <a:gd name="connsiteX57" fmla="*/ 40063 w 156859"/>
              <a:gd name="connsiteY57" fmla="*/ 4482 h 80670"/>
              <a:gd name="connsiteX58" fmla="*/ 40063 w 156859"/>
              <a:gd name="connsiteY58" fmla="*/ 49299 h 80670"/>
              <a:gd name="connsiteX59" fmla="*/ 40063 w 156859"/>
              <a:gd name="connsiteY59" fmla="*/ 50195 h 80670"/>
              <a:gd name="connsiteX60" fmla="*/ 17655 w 156859"/>
              <a:gd name="connsiteY60" fmla="*/ 50643 h 80670"/>
              <a:gd name="connsiteX61" fmla="*/ 17655 w 156859"/>
              <a:gd name="connsiteY61" fmla="*/ 4482 h 80670"/>
              <a:gd name="connsiteX62" fmla="*/ 122526 w 156859"/>
              <a:gd name="connsiteY62" fmla="*/ 80671 h 80670"/>
              <a:gd name="connsiteX63" fmla="*/ 32892 w 156859"/>
              <a:gd name="connsiteY63" fmla="*/ 80671 h 80670"/>
              <a:gd name="connsiteX64" fmla="*/ 4209 w 156859"/>
              <a:gd name="connsiteY64" fmla="*/ 55573 h 80670"/>
              <a:gd name="connsiteX65" fmla="*/ 4209 w 156859"/>
              <a:gd name="connsiteY65" fmla="*/ 55125 h 80670"/>
              <a:gd name="connsiteX66" fmla="*/ 4657 w 156859"/>
              <a:gd name="connsiteY66" fmla="*/ 54677 h 80670"/>
              <a:gd name="connsiteX67" fmla="*/ 106392 w 156859"/>
              <a:gd name="connsiteY67" fmla="*/ 53332 h 80670"/>
              <a:gd name="connsiteX68" fmla="*/ 109977 w 156859"/>
              <a:gd name="connsiteY68" fmla="*/ 52436 h 80670"/>
              <a:gd name="connsiteX69" fmla="*/ 109977 w 156859"/>
              <a:gd name="connsiteY69" fmla="*/ 52436 h 80670"/>
              <a:gd name="connsiteX70" fmla="*/ 112666 w 156859"/>
              <a:gd name="connsiteY70" fmla="*/ 50643 h 80670"/>
              <a:gd name="connsiteX71" fmla="*/ 122078 w 156859"/>
              <a:gd name="connsiteY71" fmla="*/ 41680 h 80670"/>
              <a:gd name="connsiteX72" fmla="*/ 125663 w 156859"/>
              <a:gd name="connsiteY72" fmla="*/ 40335 h 80670"/>
              <a:gd name="connsiteX73" fmla="*/ 155243 w 156859"/>
              <a:gd name="connsiteY73" fmla="*/ 40335 h 80670"/>
              <a:gd name="connsiteX74" fmla="*/ 155243 w 156859"/>
              <a:gd name="connsiteY74" fmla="*/ 40335 h 80670"/>
              <a:gd name="connsiteX75" fmla="*/ 122526 w 156859"/>
              <a:gd name="connsiteY75" fmla="*/ 80671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56859" h="80670">
                <a:moveTo>
                  <a:pt x="159276" y="38094"/>
                </a:moveTo>
                <a:cubicBezTo>
                  <a:pt x="158380" y="37198"/>
                  <a:pt x="157035" y="36302"/>
                  <a:pt x="155691" y="36750"/>
                </a:cubicBezTo>
                <a:lnTo>
                  <a:pt x="138660" y="36750"/>
                </a:lnTo>
                <a:lnTo>
                  <a:pt x="138660" y="15686"/>
                </a:lnTo>
                <a:cubicBezTo>
                  <a:pt x="138660" y="14341"/>
                  <a:pt x="137764" y="13445"/>
                  <a:pt x="136420" y="13445"/>
                </a:cubicBezTo>
                <a:lnTo>
                  <a:pt x="55749" y="13445"/>
                </a:lnTo>
                <a:cubicBezTo>
                  <a:pt x="54404" y="13445"/>
                  <a:pt x="53508" y="14341"/>
                  <a:pt x="53508" y="15686"/>
                </a:cubicBezTo>
                <a:lnTo>
                  <a:pt x="53508" y="50195"/>
                </a:lnTo>
                <a:lnTo>
                  <a:pt x="44545" y="50195"/>
                </a:lnTo>
                <a:cubicBezTo>
                  <a:pt x="44545" y="49747"/>
                  <a:pt x="44545" y="49747"/>
                  <a:pt x="44545" y="49299"/>
                </a:cubicBezTo>
                <a:lnTo>
                  <a:pt x="44545" y="2241"/>
                </a:lnTo>
                <a:cubicBezTo>
                  <a:pt x="44545" y="896"/>
                  <a:pt x="43648" y="0"/>
                  <a:pt x="42304" y="0"/>
                </a:cubicBezTo>
                <a:lnTo>
                  <a:pt x="15414" y="0"/>
                </a:lnTo>
                <a:cubicBezTo>
                  <a:pt x="14069" y="0"/>
                  <a:pt x="13173" y="896"/>
                  <a:pt x="13173" y="2241"/>
                </a:cubicBezTo>
                <a:lnTo>
                  <a:pt x="13173" y="50643"/>
                </a:lnTo>
                <a:lnTo>
                  <a:pt x="5106" y="50643"/>
                </a:lnTo>
                <a:cubicBezTo>
                  <a:pt x="3313" y="50643"/>
                  <a:pt x="1969" y="51540"/>
                  <a:pt x="1072" y="52884"/>
                </a:cubicBezTo>
                <a:cubicBezTo>
                  <a:pt x="176" y="54228"/>
                  <a:pt x="-272" y="56021"/>
                  <a:pt x="176" y="57365"/>
                </a:cubicBezTo>
                <a:cubicBezTo>
                  <a:pt x="176" y="57814"/>
                  <a:pt x="176" y="57814"/>
                  <a:pt x="624" y="57814"/>
                </a:cubicBezTo>
                <a:cubicBezTo>
                  <a:pt x="2865" y="60503"/>
                  <a:pt x="22136" y="84704"/>
                  <a:pt x="33340" y="84704"/>
                </a:cubicBezTo>
                <a:lnTo>
                  <a:pt x="122975" y="84704"/>
                </a:lnTo>
                <a:cubicBezTo>
                  <a:pt x="148968" y="84704"/>
                  <a:pt x="158380" y="51540"/>
                  <a:pt x="160620" y="41680"/>
                </a:cubicBezTo>
                <a:cubicBezTo>
                  <a:pt x="160620" y="40335"/>
                  <a:pt x="160172" y="38991"/>
                  <a:pt x="159276" y="38094"/>
                </a:cubicBezTo>
                <a:close/>
                <a:moveTo>
                  <a:pt x="125663" y="36302"/>
                </a:moveTo>
                <a:cubicBezTo>
                  <a:pt x="123423" y="36302"/>
                  <a:pt x="120734" y="37198"/>
                  <a:pt x="118941" y="38991"/>
                </a:cubicBezTo>
                <a:lnTo>
                  <a:pt x="111322" y="46161"/>
                </a:lnTo>
                <a:lnTo>
                  <a:pt x="111322" y="31372"/>
                </a:lnTo>
                <a:lnTo>
                  <a:pt x="133730" y="31372"/>
                </a:lnTo>
                <a:lnTo>
                  <a:pt x="133730" y="36750"/>
                </a:lnTo>
                <a:lnTo>
                  <a:pt x="125663" y="36302"/>
                </a:lnTo>
                <a:close/>
                <a:moveTo>
                  <a:pt x="107289" y="31372"/>
                </a:moveTo>
                <a:lnTo>
                  <a:pt x="107289" y="49299"/>
                </a:lnTo>
                <a:cubicBezTo>
                  <a:pt x="107289" y="49299"/>
                  <a:pt x="106840" y="49299"/>
                  <a:pt x="106840" y="49299"/>
                </a:cubicBezTo>
                <a:lnTo>
                  <a:pt x="84880" y="49747"/>
                </a:lnTo>
                <a:lnTo>
                  <a:pt x="84880" y="31372"/>
                </a:lnTo>
                <a:lnTo>
                  <a:pt x="107289" y="31372"/>
                </a:lnTo>
                <a:close/>
                <a:moveTo>
                  <a:pt x="84880" y="26890"/>
                </a:moveTo>
                <a:lnTo>
                  <a:pt x="84880" y="17927"/>
                </a:lnTo>
                <a:lnTo>
                  <a:pt x="107289" y="17927"/>
                </a:lnTo>
                <a:lnTo>
                  <a:pt x="107289" y="26890"/>
                </a:lnTo>
                <a:lnTo>
                  <a:pt x="84880" y="26890"/>
                </a:lnTo>
                <a:close/>
                <a:moveTo>
                  <a:pt x="134179" y="26890"/>
                </a:moveTo>
                <a:lnTo>
                  <a:pt x="111770" y="26890"/>
                </a:lnTo>
                <a:lnTo>
                  <a:pt x="111770" y="17927"/>
                </a:lnTo>
                <a:lnTo>
                  <a:pt x="134179" y="17927"/>
                </a:lnTo>
                <a:lnTo>
                  <a:pt x="134179" y="26890"/>
                </a:lnTo>
                <a:close/>
                <a:moveTo>
                  <a:pt x="80398" y="17927"/>
                </a:moveTo>
                <a:lnTo>
                  <a:pt x="80398" y="26890"/>
                </a:lnTo>
                <a:lnTo>
                  <a:pt x="57990" y="26890"/>
                </a:lnTo>
                <a:lnTo>
                  <a:pt x="57990" y="17927"/>
                </a:lnTo>
                <a:lnTo>
                  <a:pt x="80398" y="17927"/>
                </a:lnTo>
                <a:close/>
                <a:moveTo>
                  <a:pt x="57990" y="31372"/>
                </a:moveTo>
                <a:lnTo>
                  <a:pt x="80398" y="31372"/>
                </a:lnTo>
                <a:lnTo>
                  <a:pt x="80398" y="49747"/>
                </a:lnTo>
                <a:lnTo>
                  <a:pt x="57990" y="50195"/>
                </a:lnTo>
                <a:lnTo>
                  <a:pt x="57990" y="31372"/>
                </a:lnTo>
                <a:close/>
                <a:moveTo>
                  <a:pt x="17655" y="4482"/>
                </a:moveTo>
                <a:lnTo>
                  <a:pt x="40063" y="4482"/>
                </a:lnTo>
                <a:lnTo>
                  <a:pt x="40063" y="49299"/>
                </a:lnTo>
                <a:cubicBezTo>
                  <a:pt x="40063" y="49747"/>
                  <a:pt x="40063" y="49747"/>
                  <a:pt x="40063" y="50195"/>
                </a:cubicBezTo>
                <a:lnTo>
                  <a:pt x="17655" y="50643"/>
                </a:lnTo>
                <a:lnTo>
                  <a:pt x="17655" y="4482"/>
                </a:lnTo>
                <a:close/>
                <a:moveTo>
                  <a:pt x="122526" y="80671"/>
                </a:moveTo>
                <a:lnTo>
                  <a:pt x="32892" y="80671"/>
                </a:lnTo>
                <a:cubicBezTo>
                  <a:pt x="26169" y="80671"/>
                  <a:pt x="11828" y="65433"/>
                  <a:pt x="4209" y="55573"/>
                </a:cubicBezTo>
                <a:cubicBezTo>
                  <a:pt x="4209" y="55573"/>
                  <a:pt x="4209" y="55125"/>
                  <a:pt x="4209" y="55125"/>
                </a:cubicBezTo>
                <a:cubicBezTo>
                  <a:pt x="4209" y="55125"/>
                  <a:pt x="4657" y="54677"/>
                  <a:pt x="4657" y="54677"/>
                </a:cubicBezTo>
                <a:lnTo>
                  <a:pt x="106392" y="53332"/>
                </a:lnTo>
                <a:cubicBezTo>
                  <a:pt x="107737" y="53332"/>
                  <a:pt x="109081" y="52884"/>
                  <a:pt x="109977" y="52436"/>
                </a:cubicBezTo>
                <a:cubicBezTo>
                  <a:pt x="109977" y="52436"/>
                  <a:pt x="109977" y="52436"/>
                  <a:pt x="109977" y="52436"/>
                </a:cubicBezTo>
                <a:cubicBezTo>
                  <a:pt x="110874" y="51988"/>
                  <a:pt x="111770" y="51540"/>
                  <a:pt x="112666" y="50643"/>
                </a:cubicBezTo>
                <a:lnTo>
                  <a:pt x="122078" y="41680"/>
                </a:lnTo>
                <a:cubicBezTo>
                  <a:pt x="122975" y="40783"/>
                  <a:pt x="124319" y="40335"/>
                  <a:pt x="125663" y="40335"/>
                </a:cubicBezTo>
                <a:lnTo>
                  <a:pt x="155243" y="40335"/>
                </a:lnTo>
                <a:cubicBezTo>
                  <a:pt x="155243" y="40335"/>
                  <a:pt x="155243" y="40335"/>
                  <a:pt x="155243" y="40335"/>
                </a:cubicBezTo>
                <a:cubicBezTo>
                  <a:pt x="153898" y="50195"/>
                  <a:pt x="145383" y="80671"/>
                  <a:pt x="122526" y="80671"/>
                </a:cubicBezTo>
                <a:close/>
              </a:path>
            </a:pathLst>
          </a:custGeom>
          <a:solidFill>
            <a:srgbClr val="231F20"/>
          </a:solidFill>
          <a:ln w="4477" cap="flat">
            <a:noFill/>
            <a:prstDash val="solid"/>
            <a:miter/>
          </a:ln>
        </p:spPr>
        <p:txBody>
          <a:bodyPr rtlCol="0" anchor="ctr"/>
          <a:lstStyle/>
          <a:p>
            <a:endParaRPr lang="en-US"/>
          </a:p>
        </p:txBody>
      </p:sp>
      <p:grpSp>
        <p:nvGrpSpPr>
          <p:cNvPr id="3841" name="Group 3840">
            <a:extLst>
              <a:ext uri="{FF2B5EF4-FFF2-40B4-BE49-F238E27FC236}">
                <a16:creationId xmlns:a16="http://schemas.microsoft.com/office/drawing/2014/main" id="{EE763BCA-48CA-42C4-8C3A-E1E8DF5A6351}"/>
              </a:ext>
              <a:ext uri="{C183D7F6-B498-43B3-948B-1728B52AA6E4}">
                <adec:decorative xmlns:adec="http://schemas.microsoft.com/office/drawing/2017/decorative" val="1"/>
              </a:ext>
            </a:extLst>
          </p:cNvPr>
          <p:cNvGrpSpPr>
            <a:grpSpLocks noChangeAspect="1"/>
          </p:cNvGrpSpPr>
          <p:nvPr/>
        </p:nvGrpSpPr>
        <p:grpSpPr>
          <a:xfrm>
            <a:off x="3205651" y="2795464"/>
            <a:ext cx="147896" cy="112043"/>
            <a:chOff x="9107277" y="5642000"/>
            <a:chExt cx="147896" cy="112043"/>
          </a:xfrm>
        </p:grpSpPr>
        <p:sp>
          <p:nvSpPr>
            <p:cNvPr id="3842" name="Freeform: Shape 3841">
              <a:extLst>
                <a:ext uri="{FF2B5EF4-FFF2-40B4-BE49-F238E27FC236}">
                  <a16:creationId xmlns:a16="http://schemas.microsoft.com/office/drawing/2014/main" id="{ECA2F34C-E1DD-42CB-AC96-9EBA74B02EC3}"/>
                </a:ext>
              </a:extLst>
            </p:cNvPr>
            <p:cNvSpPr/>
            <p:nvPr/>
          </p:nvSpPr>
          <p:spPr>
            <a:xfrm>
              <a:off x="9156128"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843" name="Freeform: Shape 3842">
              <a:extLst>
                <a:ext uri="{FF2B5EF4-FFF2-40B4-BE49-F238E27FC236}">
                  <a16:creationId xmlns:a16="http://schemas.microsoft.com/office/drawing/2014/main" id="{64E6208F-7A2D-4F46-8627-B1E3CDFFBEB2}"/>
                </a:ext>
              </a:extLst>
            </p:cNvPr>
            <p:cNvSpPr/>
            <p:nvPr/>
          </p:nvSpPr>
          <p:spPr>
            <a:xfrm>
              <a:off x="9182569" y="5730738"/>
              <a:ext cx="13445" cy="13445"/>
            </a:xfrm>
            <a:custGeom>
              <a:avLst/>
              <a:gdLst>
                <a:gd name="connsiteX0" fmla="*/ 0 w 13445"/>
                <a:gd name="connsiteY0" fmla="*/ 7171 h 13445"/>
                <a:gd name="connsiteX1" fmla="*/ 7171 w 13445"/>
                <a:gd name="connsiteY1" fmla="*/ 14341 h 13445"/>
                <a:gd name="connsiteX2" fmla="*/ 14342 w 13445"/>
                <a:gd name="connsiteY2" fmla="*/ 7171 h 13445"/>
                <a:gd name="connsiteX3" fmla="*/ 7171 w 13445"/>
                <a:gd name="connsiteY3" fmla="*/ 0 h 13445"/>
                <a:gd name="connsiteX4" fmla="*/ 0 w 13445"/>
                <a:gd name="connsiteY4" fmla="*/ 7171 h 13445"/>
                <a:gd name="connsiteX5" fmla="*/ 7619 w 13445"/>
                <a:gd name="connsiteY5" fmla="*/ 4482 h 13445"/>
                <a:gd name="connsiteX6" fmla="*/ 10308 w 13445"/>
                <a:gd name="connsiteY6" fmla="*/ 7171 h 13445"/>
                <a:gd name="connsiteX7" fmla="*/ 7619 w 13445"/>
                <a:gd name="connsiteY7" fmla="*/ 9860 h 13445"/>
                <a:gd name="connsiteX8" fmla="*/ 4930 w 13445"/>
                <a:gd name="connsiteY8" fmla="*/ 7171 h 13445"/>
                <a:gd name="connsiteX9" fmla="*/ 7619 w 13445"/>
                <a:gd name="connsiteY9" fmla="*/ 4482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0" y="7171"/>
                  </a:moveTo>
                  <a:cubicBezTo>
                    <a:pt x="0" y="11204"/>
                    <a:pt x="3137" y="14341"/>
                    <a:pt x="7171" y="14341"/>
                  </a:cubicBezTo>
                  <a:cubicBezTo>
                    <a:pt x="11204" y="14341"/>
                    <a:pt x="14342" y="11204"/>
                    <a:pt x="14342" y="7171"/>
                  </a:cubicBezTo>
                  <a:cubicBezTo>
                    <a:pt x="14342" y="3137"/>
                    <a:pt x="11204" y="0"/>
                    <a:pt x="7171" y="0"/>
                  </a:cubicBezTo>
                  <a:cubicBezTo>
                    <a:pt x="3586" y="0"/>
                    <a:pt x="0" y="3137"/>
                    <a:pt x="0" y="7171"/>
                  </a:cubicBezTo>
                  <a:close/>
                  <a:moveTo>
                    <a:pt x="7619" y="4482"/>
                  </a:moveTo>
                  <a:cubicBezTo>
                    <a:pt x="9412" y="4482"/>
                    <a:pt x="10308" y="5826"/>
                    <a:pt x="10308" y="7171"/>
                  </a:cubicBezTo>
                  <a:cubicBezTo>
                    <a:pt x="10308" y="8515"/>
                    <a:pt x="8963" y="9860"/>
                    <a:pt x="7619" y="9860"/>
                  </a:cubicBezTo>
                  <a:cubicBezTo>
                    <a:pt x="5826" y="9860"/>
                    <a:pt x="4930" y="8515"/>
                    <a:pt x="4930" y="7171"/>
                  </a:cubicBezTo>
                  <a:cubicBezTo>
                    <a:pt x="4930" y="5826"/>
                    <a:pt x="5826" y="4482"/>
                    <a:pt x="7619" y="4482"/>
                  </a:cubicBezTo>
                  <a:close/>
                </a:path>
              </a:pathLst>
            </a:custGeom>
            <a:solidFill>
              <a:srgbClr val="231F20"/>
            </a:solidFill>
            <a:ln w="4477" cap="flat">
              <a:noFill/>
              <a:prstDash val="solid"/>
              <a:miter/>
            </a:ln>
          </p:spPr>
          <p:txBody>
            <a:bodyPr rtlCol="0" anchor="ctr"/>
            <a:lstStyle/>
            <a:p>
              <a:endParaRPr lang="en-US"/>
            </a:p>
          </p:txBody>
        </p:sp>
        <p:sp>
          <p:nvSpPr>
            <p:cNvPr id="3844" name="Freeform: Shape 3843">
              <a:extLst>
                <a:ext uri="{FF2B5EF4-FFF2-40B4-BE49-F238E27FC236}">
                  <a16:creationId xmlns:a16="http://schemas.microsoft.com/office/drawing/2014/main" id="{B0DA942F-D96C-4E22-A841-53678E7A20CE}"/>
                </a:ext>
              </a:extLst>
            </p:cNvPr>
            <p:cNvSpPr/>
            <p:nvPr/>
          </p:nvSpPr>
          <p:spPr>
            <a:xfrm>
              <a:off x="9129237" y="5730738"/>
              <a:ext cx="13445" cy="13445"/>
            </a:xfrm>
            <a:custGeom>
              <a:avLst/>
              <a:gdLst>
                <a:gd name="connsiteX0" fmla="*/ 7171 w 13445"/>
                <a:gd name="connsiteY0" fmla="*/ 0 h 13445"/>
                <a:gd name="connsiteX1" fmla="*/ 0 w 13445"/>
                <a:gd name="connsiteY1" fmla="*/ 7171 h 13445"/>
                <a:gd name="connsiteX2" fmla="*/ 7171 w 13445"/>
                <a:gd name="connsiteY2" fmla="*/ 14341 h 13445"/>
                <a:gd name="connsiteX3" fmla="*/ 14342 w 13445"/>
                <a:gd name="connsiteY3" fmla="*/ 7171 h 13445"/>
                <a:gd name="connsiteX4" fmla="*/ 7171 w 13445"/>
                <a:gd name="connsiteY4" fmla="*/ 0 h 13445"/>
                <a:gd name="connsiteX5" fmla="*/ 7171 w 13445"/>
                <a:gd name="connsiteY5" fmla="*/ 9860 h 13445"/>
                <a:gd name="connsiteX6" fmla="*/ 4482 w 13445"/>
                <a:gd name="connsiteY6" fmla="*/ 7171 h 13445"/>
                <a:gd name="connsiteX7" fmla="*/ 7171 w 13445"/>
                <a:gd name="connsiteY7" fmla="*/ 4482 h 13445"/>
                <a:gd name="connsiteX8" fmla="*/ 9860 w 13445"/>
                <a:gd name="connsiteY8" fmla="*/ 7171 h 13445"/>
                <a:gd name="connsiteX9" fmla="*/ 7171 w 13445"/>
                <a:gd name="connsiteY9" fmla="*/ 9860 h 1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45" h="13445">
                  <a:moveTo>
                    <a:pt x="7171" y="0"/>
                  </a:moveTo>
                  <a:cubicBezTo>
                    <a:pt x="3137" y="0"/>
                    <a:pt x="0" y="3137"/>
                    <a:pt x="0" y="7171"/>
                  </a:cubicBezTo>
                  <a:cubicBezTo>
                    <a:pt x="0" y="11204"/>
                    <a:pt x="3137" y="14341"/>
                    <a:pt x="7171" y="14341"/>
                  </a:cubicBezTo>
                  <a:cubicBezTo>
                    <a:pt x="11204" y="14341"/>
                    <a:pt x="14342" y="11204"/>
                    <a:pt x="14342" y="7171"/>
                  </a:cubicBezTo>
                  <a:cubicBezTo>
                    <a:pt x="14342" y="3137"/>
                    <a:pt x="11204" y="0"/>
                    <a:pt x="7171" y="0"/>
                  </a:cubicBezTo>
                  <a:close/>
                  <a:moveTo>
                    <a:pt x="7171" y="9860"/>
                  </a:moveTo>
                  <a:cubicBezTo>
                    <a:pt x="5378" y="9860"/>
                    <a:pt x="4482" y="8515"/>
                    <a:pt x="4482" y="7171"/>
                  </a:cubicBezTo>
                  <a:cubicBezTo>
                    <a:pt x="4482" y="5826"/>
                    <a:pt x="5826" y="4482"/>
                    <a:pt x="7171" y="4482"/>
                  </a:cubicBezTo>
                  <a:cubicBezTo>
                    <a:pt x="8963" y="4482"/>
                    <a:pt x="9860" y="5826"/>
                    <a:pt x="9860" y="7171"/>
                  </a:cubicBezTo>
                  <a:cubicBezTo>
                    <a:pt x="9860" y="8515"/>
                    <a:pt x="8515" y="9860"/>
                    <a:pt x="7171" y="9860"/>
                  </a:cubicBezTo>
                  <a:close/>
                </a:path>
              </a:pathLst>
            </a:custGeom>
            <a:solidFill>
              <a:srgbClr val="231F20"/>
            </a:solidFill>
            <a:ln w="4477" cap="flat">
              <a:noFill/>
              <a:prstDash val="solid"/>
              <a:miter/>
            </a:ln>
          </p:spPr>
          <p:txBody>
            <a:bodyPr rtlCol="0" anchor="ctr"/>
            <a:lstStyle/>
            <a:p>
              <a:endParaRPr lang="en-US"/>
            </a:p>
          </p:txBody>
        </p:sp>
        <p:sp>
          <p:nvSpPr>
            <p:cNvPr id="3845" name="Freeform: Shape 3844">
              <a:extLst>
                <a:ext uri="{FF2B5EF4-FFF2-40B4-BE49-F238E27FC236}">
                  <a16:creationId xmlns:a16="http://schemas.microsoft.com/office/drawing/2014/main" id="{5CEFBA55-0805-4702-86A0-8DF314073D57}"/>
                </a:ext>
              </a:extLst>
            </p:cNvPr>
            <p:cNvSpPr/>
            <p:nvPr/>
          </p:nvSpPr>
          <p:spPr>
            <a:xfrm>
              <a:off x="9107277" y="5642000"/>
              <a:ext cx="147896" cy="112043"/>
            </a:xfrm>
            <a:custGeom>
              <a:avLst/>
              <a:gdLst>
                <a:gd name="connsiteX0" fmla="*/ 147448 w 147896"/>
                <a:gd name="connsiteY0" fmla="*/ 50643 h 112042"/>
                <a:gd name="connsiteX1" fmla="*/ 147448 w 147896"/>
                <a:gd name="connsiteY1" fmla="*/ 50643 h 112042"/>
                <a:gd name="connsiteX2" fmla="*/ 147448 w 147896"/>
                <a:gd name="connsiteY2" fmla="*/ 50195 h 112042"/>
                <a:gd name="connsiteX3" fmla="*/ 128177 w 147896"/>
                <a:gd name="connsiteY3" fmla="*/ 8515 h 112042"/>
                <a:gd name="connsiteX4" fmla="*/ 128177 w 147896"/>
                <a:gd name="connsiteY4" fmla="*/ 8515 h 112042"/>
                <a:gd name="connsiteX5" fmla="*/ 128177 w 147896"/>
                <a:gd name="connsiteY5" fmla="*/ 8515 h 112042"/>
                <a:gd name="connsiteX6" fmla="*/ 128177 w 147896"/>
                <a:gd name="connsiteY6" fmla="*/ 8515 h 112042"/>
                <a:gd name="connsiteX7" fmla="*/ 127729 w 147896"/>
                <a:gd name="connsiteY7" fmla="*/ 8067 h 112042"/>
                <a:gd name="connsiteX8" fmla="*/ 127280 w 147896"/>
                <a:gd name="connsiteY8" fmla="*/ 8067 h 112042"/>
                <a:gd name="connsiteX9" fmla="*/ 126832 w 147896"/>
                <a:gd name="connsiteY9" fmla="*/ 8067 h 112042"/>
                <a:gd name="connsiteX10" fmla="*/ 126384 w 147896"/>
                <a:gd name="connsiteY10" fmla="*/ 8067 h 112042"/>
                <a:gd name="connsiteX11" fmla="*/ 125936 w 147896"/>
                <a:gd name="connsiteY11" fmla="*/ 8067 h 112042"/>
                <a:gd name="connsiteX12" fmla="*/ 125488 w 147896"/>
                <a:gd name="connsiteY12" fmla="*/ 8067 h 112042"/>
                <a:gd name="connsiteX13" fmla="*/ 125040 w 147896"/>
                <a:gd name="connsiteY13" fmla="*/ 8067 h 112042"/>
                <a:gd name="connsiteX14" fmla="*/ 125040 w 147896"/>
                <a:gd name="connsiteY14" fmla="*/ 8067 h 112042"/>
                <a:gd name="connsiteX15" fmla="*/ 125040 w 147896"/>
                <a:gd name="connsiteY15" fmla="*/ 8067 h 112042"/>
                <a:gd name="connsiteX16" fmla="*/ 90082 w 147896"/>
                <a:gd name="connsiteY16" fmla="*/ 30924 h 112042"/>
                <a:gd name="connsiteX17" fmla="*/ 87393 w 147896"/>
                <a:gd name="connsiteY17" fmla="*/ 36302 h 112042"/>
                <a:gd name="connsiteX18" fmla="*/ 87393 w 147896"/>
                <a:gd name="connsiteY18" fmla="*/ 75293 h 112042"/>
                <a:gd name="connsiteX19" fmla="*/ 82015 w 147896"/>
                <a:gd name="connsiteY19" fmla="*/ 80671 h 112042"/>
                <a:gd name="connsiteX20" fmla="*/ 76189 w 147896"/>
                <a:gd name="connsiteY20" fmla="*/ 80671 h 112042"/>
                <a:gd name="connsiteX21" fmla="*/ 64985 w 147896"/>
                <a:gd name="connsiteY21" fmla="*/ 80671 h 112042"/>
                <a:gd name="connsiteX22" fmla="*/ 64985 w 147896"/>
                <a:gd name="connsiteY22" fmla="*/ 71707 h 112042"/>
                <a:gd name="connsiteX23" fmla="*/ 78430 w 147896"/>
                <a:gd name="connsiteY23" fmla="*/ 71707 h 112042"/>
                <a:gd name="connsiteX24" fmla="*/ 85152 w 147896"/>
                <a:gd name="connsiteY24" fmla="*/ 64985 h 112042"/>
                <a:gd name="connsiteX25" fmla="*/ 85152 w 147896"/>
                <a:gd name="connsiteY25" fmla="*/ 41231 h 112042"/>
                <a:gd name="connsiteX26" fmla="*/ 83808 w 147896"/>
                <a:gd name="connsiteY26" fmla="*/ 35854 h 112042"/>
                <a:gd name="connsiteX27" fmla="*/ 66777 w 147896"/>
                <a:gd name="connsiteY27" fmla="*/ 4482 h 112042"/>
                <a:gd name="connsiteX28" fmla="*/ 69466 w 147896"/>
                <a:gd name="connsiteY28" fmla="*/ 4482 h 112042"/>
                <a:gd name="connsiteX29" fmla="*/ 71707 w 147896"/>
                <a:gd name="connsiteY29" fmla="*/ 2241 h 112042"/>
                <a:gd name="connsiteX30" fmla="*/ 69466 w 147896"/>
                <a:gd name="connsiteY30" fmla="*/ 0 h 112042"/>
                <a:gd name="connsiteX31" fmla="*/ 63192 w 147896"/>
                <a:gd name="connsiteY31" fmla="*/ 0 h 112042"/>
                <a:gd name="connsiteX32" fmla="*/ 15686 w 147896"/>
                <a:gd name="connsiteY32" fmla="*/ 0 h 112042"/>
                <a:gd name="connsiteX33" fmla="*/ 8963 w 147896"/>
                <a:gd name="connsiteY33" fmla="*/ 0 h 112042"/>
                <a:gd name="connsiteX34" fmla="*/ 6723 w 147896"/>
                <a:gd name="connsiteY34" fmla="*/ 2241 h 112042"/>
                <a:gd name="connsiteX35" fmla="*/ 8963 w 147896"/>
                <a:gd name="connsiteY35" fmla="*/ 4482 h 112042"/>
                <a:gd name="connsiteX36" fmla="*/ 13445 w 147896"/>
                <a:gd name="connsiteY36" fmla="*/ 4482 h 112042"/>
                <a:gd name="connsiteX37" fmla="*/ 13445 w 147896"/>
                <a:gd name="connsiteY37" fmla="*/ 64985 h 112042"/>
                <a:gd name="connsiteX38" fmla="*/ 20168 w 147896"/>
                <a:gd name="connsiteY38" fmla="*/ 71707 h 112042"/>
                <a:gd name="connsiteX39" fmla="*/ 20168 w 147896"/>
                <a:gd name="connsiteY39" fmla="*/ 80671 h 112042"/>
                <a:gd name="connsiteX40" fmla="*/ 15686 w 147896"/>
                <a:gd name="connsiteY40" fmla="*/ 80671 h 112042"/>
                <a:gd name="connsiteX41" fmla="*/ 0 w 147896"/>
                <a:gd name="connsiteY41" fmla="*/ 96357 h 112042"/>
                <a:gd name="connsiteX42" fmla="*/ 15686 w 147896"/>
                <a:gd name="connsiteY42" fmla="*/ 112043 h 112042"/>
                <a:gd name="connsiteX43" fmla="*/ 96357 w 147896"/>
                <a:gd name="connsiteY43" fmla="*/ 112043 h 112042"/>
                <a:gd name="connsiteX44" fmla="*/ 112043 w 147896"/>
                <a:gd name="connsiteY44" fmla="*/ 96357 h 112042"/>
                <a:gd name="connsiteX45" fmla="*/ 96357 w 147896"/>
                <a:gd name="connsiteY45" fmla="*/ 80671 h 112042"/>
                <a:gd name="connsiteX46" fmla="*/ 90082 w 147896"/>
                <a:gd name="connsiteY46" fmla="*/ 80671 h 112042"/>
                <a:gd name="connsiteX47" fmla="*/ 91875 w 147896"/>
                <a:gd name="connsiteY47" fmla="*/ 75293 h 112042"/>
                <a:gd name="connsiteX48" fmla="*/ 91875 w 147896"/>
                <a:gd name="connsiteY48" fmla="*/ 36302 h 112042"/>
                <a:gd name="connsiteX49" fmla="*/ 92771 w 147896"/>
                <a:gd name="connsiteY49" fmla="*/ 34509 h 112042"/>
                <a:gd name="connsiteX50" fmla="*/ 125488 w 147896"/>
                <a:gd name="connsiteY50" fmla="*/ 12997 h 112042"/>
                <a:gd name="connsiteX51" fmla="*/ 142518 w 147896"/>
                <a:gd name="connsiteY51" fmla="*/ 50643 h 112042"/>
                <a:gd name="connsiteX52" fmla="*/ 135796 w 147896"/>
                <a:gd name="connsiteY52" fmla="*/ 53780 h 112042"/>
                <a:gd name="connsiteX53" fmla="*/ 109802 w 147896"/>
                <a:gd name="connsiteY53" fmla="*/ 55573 h 112042"/>
                <a:gd name="connsiteX54" fmla="*/ 108009 w 147896"/>
                <a:gd name="connsiteY54" fmla="*/ 56917 h 112042"/>
                <a:gd name="connsiteX55" fmla="*/ 108457 w 147896"/>
                <a:gd name="connsiteY55" fmla="*/ 59158 h 112042"/>
                <a:gd name="connsiteX56" fmla="*/ 116524 w 147896"/>
                <a:gd name="connsiteY56" fmla="*/ 69466 h 112042"/>
                <a:gd name="connsiteX57" fmla="*/ 120558 w 147896"/>
                <a:gd name="connsiteY57" fmla="*/ 71259 h 112042"/>
                <a:gd name="connsiteX58" fmla="*/ 137588 w 147896"/>
                <a:gd name="connsiteY58" fmla="*/ 71259 h 112042"/>
                <a:gd name="connsiteX59" fmla="*/ 142518 w 147896"/>
                <a:gd name="connsiteY59" fmla="*/ 67674 h 112042"/>
                <a:gd name="connsiteX60" fmla="*/ 148344 w 147896"/>
                <a:gd name="connsiteY60" fmla="*/ 51540 h 112042"/>
                <a:gd name="connsiteX61" fmla="*/ 148344 w 147896"/>
                <a:gd name="connsiteY61" fmla="*/ 51540 h 112042"/>
                <a:gd name="connsiteX62" fmla="*/ 147448 w 147896"/>
                <a:gd name="connsiteY62" fmla="*/ 50643 h 112042"/>
                <a:gd name="connsiteX63" fmla="*/ 17927 w 147896"/>
                <a:gd name="connsiteY63" fmla="*/ 64537 h 112042"/>
                <a:gd name="connsiteX64" fmla="*/ 17927 w 147896"/>
                <a:gd name="connsiteY64" fmla="*/ 4034 h 112042"/>
                <a:gd name="connsiteX65" fmla="*/ 61847 w 147896"/>
                <a:gd name="connsiteY65" fmla="*/ 4034 h 112042"/>
                <a:gd name="connsiteX66" fmla="*/ 79774 w 147896"/>
                <a:gd name="connsiteY66" fmla="*/ 37646 h 112042"/>
                <a:gd name="connsiteX67" fmla="*/ 80671 w 147896"/>
                <a:gd name="connsiteY67" fmla="*/ 40783 h 112042"/>
                <a:gd name="connsiteX68" fmla="*/ 80671 w 147896"/>
                <a:gd name="connsiteY68" fmla="*/ 64537 h 112042"/>
                <a:gd name="connsiteX69" fmla="*/ 78430 w 147896"/>
                <a:gd name="connsiteY69" fmla="*/ 66777 h 112042"/>
                <a:gd name="connsiteX70" fmla="*/ 62744 w 147896"/>
                <a:gd name="connsiteY70" fmla="*/ 66777 h 112042"/>
                <a:gd name="connsiteX71" fmla="*/ 22409 w 147896"/>
                <a:gd name="connsiteY71" fmla="*/ 66777 h 112042"/>
                <a:gd name="connsiteX72" fmla="*/ 20168 w 147896"/>
                <a:gd name="connsiteY72" fmla="*/ 66777 h 112042"/>
                <a:gd name="connsiteX73" fmla="*/ 17927 w 147896"/>
                <a:gd name="connsiteY73" fmla="*/ 64537 h 112042"/>
                <a:gd name="connsiteX74" fmla="*/ 24649 w 147896"/>
                <a:gd name="connsiteY74" fmla="*/ 71259 h 112042"/>
                <a:gd name="connsiteX75" fmla="*/ 60503 w 147896"/>
                <a:gd name="connsiteY75" fmla="*/ 71259 h 112042"/>
                <a:gd name="connsiteX76" fmla="*/ 60503 w 147896"/>
                <a:gd name="connsiteY76" fmla="*/ 80223 h 112042"/>
                <a:gd name="connsiteX77" fmla="*/ 24649 w 147896"/>
                <a:gd name="connsiteY77" fmla="*/ 80223 h 112042"/>
                <a:gd name="connsiteX78" fmla="*/ 24649 w 147896"/>
                <a:gd name="connsiteY78" fmla="*/ 71259 h 112042"/>
                <a:gd name="connsiteX79" fmla="*/ 107561 w 147896"/>
                <a:gd name="connsiteY79" fmla="*/ 95909 h 112042"/>
                <a:gd name="connsiteX80" fmla="*/ 96357 w 147896"/>
                <a:gd name="connsiteY80" fmla="*/ 107113 h 112042"/>
                <a:gd name="connsiteX81" fmla="*/ 15686 w 147896"/>
                <a:gd name="connsiteY81" fmla="*/ 107113 h 112042"/>
                <a:gd name="connsiteX82" fmla="*/ 4482 w 147896"/>
                <a:gd name="connsiteY82" fmla="*/ 95909 h 112042"/>
                <a:gd name="connsiteX83" fmla="*/ 15686 w 147896"/>
                <a:gd name="connsiteY83" fmla="*/ 84704 h 112042"/>
                <a:gd name="connsiteX84" fmla="*/ 22409 w 147896"/>
                <a:gd name="connsiteY84" fmla="*/ 84704 h 112042"/>
                <a:gd name="connsiteX85" fmla="*/ 62744 w 147896"/>
                <a:gd name="connsiteY85" fmla="*/ 84704 h 112042"/>
                <a:gd name="connsiteX86" fmla="*/ 76189 w 147896"/>
                <a:gd name="connsiteY86" fmla="*/ 84704 h 112042"/>
                <a:gd name="connsiteX87" fmla="*/ 82015 w 147896"/>
                <a:gd name="connsiteY87" fmla="*/ 84704 h 112042"/>
                <a:gd name="connsiteX88" fmla="*/ 96357 w 147896"/>
                <a:gd name="connsiteY88" fmla="*/ 84704 h 112042"/>
                <a:gd name="connsiteX89" fmla="*/ 107561 w 147896"/>
                <a:gd name="connsiteY89" fmla="*/ 95909 h 112042"/>
                <a:gd name="connsiteX90" fmla="*/ 137588 w 147896"/>
                <a:gd name="connsiteY90" fmla="*/ 66329 h 112042"/>
                <a:gd name="connsiteX91" fmla="*/ 137140 w 147896"/>
                <a:gd name="connsiteY91" fmla="*/ 66777 h 112042"/>
                <a:gd name="connsiteX92" fmla="*/ 119661 w 147896"/>
                <a:gd name="connsiteY92" fmla="*/ 66777 h 112042"/>
                <a:gd name="connsiteX93" fmla="*/ 114283 w 147896"/>
                <a:gd name="connsiteY93" fmla="*/ 59607 h 112042"/>
                <a:gd name="connsiteX94" fmla="*/ 136692 w 147896"/>
                <a:gd name="connsiteY94" fmla="*/ 57814 h 112042"/>
                <a:gd name="connsiteX95" fmla="*/ 137588 w 147896"/>
                <a:gd name="connsiteY95" fmla="*/ 57366 h 112042"/>
                <a:gd name="connsiteX96" fmla="*/ 141622 w 147896"/>
                <a:gd name="connsiteY96" fmla="*/ 55573 h 112042"/>
                <a:gd name="connsiteX97" fmla="*/ 137588 w 147896"/>
                <a:gd name="connsiteY97" fmla="*/ 6632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47896" h="112042">
                  <a:moveTo>
                    <a:pt x="147448" y="50643"/>
                  </a:moveTo>
                  <a:cubicBezTo>
                    <a:pt x="147448" y="50643"/>
                    <a:pt x="147448" y="50643"/>
                    <a:pt x="147448" y="50643"/>
                  </a:cubicBezTo>
                  <a:cubicBezTo>
                    <a:pt x="147448" y="50195"/>
                    <a:pt x="147448" y="50195"/>
                    <a:pt x="147448" y="50195"/>
                  </a:cubicBezTo>
                  <a:lnTo>
                    <a:pt x="128177" y="8515"/>
                  </a:lnTo>
                  <a:cubicBezTo>
                    <a:pt x="128177" y="8515"/>
                    <a:pt x="128177" y="8515"/>
                    <a:pt x="128177" y="8515"/>
                  </a:cubicBezTo>
                  <a:cubicBezTo>
                    <a:pt x="128177" y="8515"/>
                    <a:pt x="128177" y="8515"/>
                    <a:pt x="128177" y="8515"/>
                  </a:cubicBezTo>
                  <a:cubicBezTo>
                    <a:pt x="128177" y="8515"/>
                    <a:pt x="128177" y="8515"/>
                    <a:pt x="128177" y="8515"/>
                  </a:cubicBezTo>
                  <a:cubicBezTo>
                    <a:pt x="128177" y="8515"/>
                    <a:pt x="128177" y="8067"/>
                    <a:pt x="127729" y="8067"/>
                  </a:cubicBezTo>
                  <a:cubicBezTo>
                    <a:pt x="127729" y="8067"/>
                    <a:pt x="127280" y="8067"/>
                    <a:pt x="127280" y="8067"/>
                  </a:cubicBezTo>
                  <a:cubicBezTo>
                    <a:pt x="127280" y="8067"/>
                    <a:pt x="126832" y="8067"/>
                    <a:pt x="126832" y="8067"/>
                  </a:cubicBezTo>
                  <a:cubicBezTo>
                    <a:pt x="126832" y="8067"/>
                    <a:pt x="126384" y="8067"/>
                    <a:pt x="126384" y="8067"/>
                  </a:cubicBezTo>
                  <a:cubicBezTo>
                    <a:pt x="126384" y="8067"/>
                    <a:pt x="125936" y="8067"/>
                    <a:pt x="125936" y="8067"/>
                  </a:cubicBezTo>
                  <a:cubicBezTo>
                    <a:pt x="125936" y="8067"/>
                    <a:pt x="125488" y="8067"/>
                    <a:pt x="125488" y="8067"/>
                  </a:cubicBezTo>
                  <a:cubicBezTo>
                    <a:pt x="125488" y="8067"/>
                    <a:pt x="125488" y="8067"/>
                    <a:pt x="125040" y="8067"/>
                  </a:cubicBezTo>
                  <a:cubicBezTo>
                    <a:pt x="125040" y="8067"/>
                    <a:pt x="125040" y="8067"/>
                    <a:pt x="125040" y="8067"/>
                  </a:cubicBezTo>
                  <a:cubicBezTo>
                    <a:pt x="125040" y="8067"/>
                    <a:pt x="125040" y="8067"/>
                    <a:pt x="125040" y="8067"/>
                  </a:cubicBezTo>
                  <a:lnTo>
                    <a:pt x="90082" y="30924"/>
                  </a:lnTo>
                  <a:cubicBezTo>
                    <a:pt x="88290" y="32268"/>
                    <a:pt x="87393" y="34061"/>
                    <a:pt x="87393" y="36302"/>
                  </a:cubicBezTo>
                  <a:lnTo>
                    <a:pt x="87393" y="75293"/>
                  </a:lnTo>
                  <a:cubicBezTo>
                    <a:pt x="87393" y="78430"/>
                    <a:pt x="85152" y="80671"/>
                    <a:pt x="82015" y="80671"/>
                  </a:cubicBezTo>
                  <a:lnTo>
                    <a:pt x="76189" y="80671"/>
                  </a:lnTo>
                  <a:lnTo>
                    <a:pt x="64985" y="80671"/>
                  </a:lnTo>
                  <a:lnTo>
                    <a:pt x="64985" y="71707"/>
                  </a:lnTo>
                  <a:lnTo>
                    <a:pt x="78430" y="71707"/>
                  </a:lnTo>
                  <a:cubicBezTo>
                    <a:pt x="82015" y="71707"/>
                    <a:pt x="85152" y="68570"/>
                    <a:pt x="85152" y="64985"/>
                  </a:cubicBezTo>
                  <a:lnTo>
                    <a:pt x="85152" y="41231"/>
                  </a:lnTo>
                  <a:cubicBezTo>
                    <a:pt x="85152" y="39439"/>
                    <a:pt x="84704" y="37646"/>
                    <a:pt x="83808" y="35854"/>
                  </a:cubicBezTo>
                  <a:lnTo>
                    <a:pt x="66777" y="4482"/>
                  </a:lnTo>
                  <a:lnTo>
                    <a:pt x="69466" y="4482"/>
                  </a:lnTo>
                  <a:cubicBezTo>
                    <a:pt x="70811" y="4482"/>
                    <a:pt x="71707" y="3586"/>
                    <a:pt x="71707" y="2241"/>
                  </a:cubicBezTo>
                  <a:cubicBezTo>
                    <a:pt x="71707" y="896"/>
                    <a:pt x="70811" y="0"/>
                    <a:pt x="69466" y="0"/>
                  </a:cubicBezTo>
                  <a:lnTo>
                    <a:pt x="63192" y="0"/>
                  </a:lnTo>
                  <a:lnTo>
                    <a:pt x="15686" y="0"/>
                  </a:lnTo>
                  <a:lnTo>
                    <a:pt x="8963" y="0"/>
                  </a:lnTo>
                  <a:cubicBezTo>
                    <a:pt x="7619" y="0"/>
                    <a:pt x="6723" y="896"/>
                    <a:pt x="6723" y="2241"/>
                  </a:cubicBezTo>
                  <a:cubicBezTo>
                    <a:pt x="6723" y="3586"/>
                    <a:pt x="7619" y="4482"/>
                    <a:pt x="8963" y="4482"/>
                  </a:cubicBezTo>
                  <a:lnTo>
                    <a:pt x="13445" y="4482"/>
                  </a:lnTo>
                  <a:lnTo>
                    <a:pt x="13445" y="64985"/>
                  </a:lnTo>
                  <a:cubicBezTo>
                    <a:pt x="13445" y="68570"/>
                    <a:pt x="16582" y="71707"/>
                    <a:pt x="20168" y="71707"/>
                  </a:cubicBezTo>
                  <a:lnTo>
                    <a:pt x="20168" y="80671"/>
                  </a:lnTo>
                  <a:lnTo>
                    <a:pt x="15686" y="80671"/>
                  </a:lnTo>
                  <a:cubicBezTo>
                    <a:pt x="7171" y="80671"/>
                    <a:pt x="0" y="87841"/>
                    <a:pt x="0" y="96357"/>
                  </a:cubicBezTo>
                  <a:cubicBezTo>
                    <a:pt x="0" y="104872"/>
                    <a:pt x="7171" y="112043"/>
                    <a:pt x="15686" y="112043"/>
                  </a:cubicBezTo>
                  <a:lnTo>
                    <a:pt x="96357" y="112043"/>
                  </a:lnTo>
                  <a:cubicBezTo>
                    <a:pt x="104872" y="112043"/>
                    <a:pt x="112043" y="104872"/>
                    <a:pt x="112043" y="96357"/>
                  </a:cubicBezTo>
                  <a:cubicBezTo>
                    <a:pt x="112043" y="87841"/>
                    <a:pt x="104872" y="80671"/>
                    <a:pt x="96357" y="80671"/>
                  </a:cubicBezTo>
                  <a:lnTo>
                    <a:pt x="90082" y="80671"/>
                  </a:lnTo>
                  <a:cubicBezTo>
                    <a:pt x="90978" y="79326"/>
                    <a:pt x="91875" y="77085"/>
                    <a:pt x="91875" y="75293"/>
                  </a:cubicBezTo>
                  <a:lnTo>
                    <a:pt x="91875" y="36302"/>
                  </a:lnTo>
                  <a:cubicBezTo>
                    <a:pt x="91875" y="35854"/>
                    <a:pt x="92323" y="34958"/>
                    <a:pt x="92771" y="34509"/>
                  </a:cubicBezTo>
                  <a:lnTo>
                    <a:pt x="125488" y="12997"/>
                  </a:lnTo>
                  <a:lnTo>
                    <a:pt x="142518" y="50643"/>
                  </a:lnTo>
                  <a:lnTo>
                    <a:pt x="135796" y="53780"/>
                  </a:lnTo>
                  <a:lnTo>
                    <a:pt x="109802" y="55573"/>
                  </a:lnTo>
                  <a:cubicBezTo>
                    <a:pt x="108905" y="55573"/>
                    <a:pt x="108457" y="56021"/>
                    <a:pt x="108009" y="56917"/>
                  </a:cubicBezTo>
                  <a:cubicBezTo>
                    <a:pt x="107561" y="57814"/>
                    <a:pt x="107561" y="58710"/>
                    <a:pt x="108457" y="59158"/>
                  </a:cubicBezTo>
                  <a:lnTo>
                    <a:pt x="116524" y="69466"/>
                  </a:lnTo>
                  <a:cubicBezTo>
                    <a:pt x="117421" y="70811"/>
                    <a:pt x="118765" y="71259"/>
                    <a:pt x="120558" y="71259"/>
                  </a:cubicBezTo>
                  <a:lnTo>
                    <a:pt x="137588" y="71259"/>
                  </a:lnTo>
                  <a:cubicBezTo>
                    <a:pt x="139829" y="71259"/>
                    <a:pt x="141622" y="69914"/>
                    <a:pt x="142518" y="67674"/>
                  </a:cubicBezTo>
                  <a:lnTo>
                    <a:pt x="148344" y="51540"/>
                  </a:lnTo>
                  <a:cubicBezTo>
                    <a:pt x="148344" y="51540"/>
                    <a:pt x="148344" y="51540"/>
                    <a:pt x="148344" y="51540"/>
                  </a:cubicBezTo>
                  <a:cubicBezTo>
                    <a:pt x="147896" y="51540"/>
                    <a:pt x="147896" y="51092"/>
                    <a:pt x="147448" y="50643"/>
                  </a:cubicBezTo>
                  <a:close/>
                  <a:moveTo>
                    <a:pt x="17927" y="64537"/>
                  </a:moveTo>
                  <a:lnTo>
                    <a:pt x="17927" y="4034"/>
                  </a:lnTo>
                  <a:lnTo>
                    <a:pt x="61847" y="4034"/>
                  </a:lnTo>
                  <a:lnTo>
                    <a:pt x="79774" y="37646"/>
                  </a:lnTo>
                  <a:cubicBezTo>
                    <a:pt x="80223" y="38543"/>
                    <a:pt x="80671" y="39887"/>
                    <a:pt x="80671" y="40783"/>
                  </a:cubicBezTo>
                  <a:lnTo>
                    <a:pt x="80671" y="64537"/>
                  </a:lnTo>
                  <a:cubicBezTo>
                    <a:pt x="80671" y="65881"/>
                    <a:pt x="79774" y="66777"/>
                    <a:pt x="78430" y="66777"/>
                  </a:cubicBezTo>
                  <a:lnTo>
                    <a:pt x="62744" y="66777"/>
                  </a:lnTo>
                  <a:lnTo>
                    <a:pt x="22409" y="66777"/>
                  </a:lnTo>
                  <a:lnTo>
                    <a:pt x="20168" y="66777"/>
                  </a:lnTo>
                  <a:cubicBezTo>
                    <a:pt x="18823" y="66777"/>
                    <a:pt x="17927" y="65881"/>
                    <a:pt x="17927" y="64537"/>
                  </a:cubicBezTo>
                  <a:close/>
                  <a:moveTo>
                    <a:pt x="24649" y="71259"/>
                  </a:moveTo>
                  <a:lnTo>
                    <a:pt x="60503" y="71259"/>
                  </a:lnTo>
                  <a:lnTo>
                    <a:pt x="60503" y="80223"/>
                  </a:lnTo>
                  <a:lnTo>
                    <a:pt x="24649" y="80223"/>
                  </a:lnTo>
                  <a:lnTo>
                    <a:pt x="24649" y="71259"/>
                  </a:lnTo>
                  <a:close/>
                  <a:moveTo>
                    <a:pt x="107561" y="95909"/>
                  </a:moveTo>
                  <a:cubicBezTo>
                    <a:pt x="107561" y="102183"/>
                    <a:pt x="102631" y="107113"/>
                    <a:pt x="96357" y="107113"/>
                  </a:cubicBezTo>
                  <a:lnTo>
                    <a:pt x="15686" y="107113"/>
                  </a:lnTo>
                  <a:cubicBezTo>
                    <a:pt x="9412" y="107113"/>
                    <a:pt x="4482" y="102183"/>
                    <a:pt x="4482" y="95909"/>
                  </a:cubicBezTo>
                  <a:cubicBezTo>
                    <a:pt x="4482" y="89634"/>
                    <a:pt x="9412" y="84704"/>
                    <a:pt x="15686" y="84704"/>
                  </a:cubicBezTo>
                  <a:lnTo>
                    <a:pt x="22409" y="84704"/>
                  </a:lnTo>
                  <a:lnTo>
                    <a:pt x="62744" y="84704"/>
                  </a:lnTo>
                  <a:lnTo>
                    <a:pt x="76189" y="84704"/>
                  </a:lnTo>
                  <a:lnTo>
                    <a:pt x="82015" y="84704"/>
                  </a:lnTo>
                  <a:lnTo>
                    <a:pt x="96357" y="84704"/>
                  </a:lnTo>
                  <a:cubicBezTo>
                    <a:pt x="102183" y="84704"/>
                    <a:pt x="107561" y="89634"/>
                    <a:pt x="107561" y="95909"/>
                  </a:cubicBezTo>
                  <a:close/>
                  <a:moveTo>
                    <a:pt x="137588" y="66329"/>
                  </a:moveTo>
                  <a:cubicBezTo>
                    <a:pt x="137588" y="66329"/>
                    <a:pt x="137140" y="66777"/>
                    <a:pt x="137140" y="66777"/>
                  </a:cubicBezTo>
                  <a:lnTo>
                    <a:pt x="119661" y="66777"/>
                  </a:lnTo>
                  <a:lnTo>
                    <a:pt x="114283" y="59607"/>
                  </a:lnTo>
                  <a:lnTo>
                    <a:pt x="136692" y="57814"/>
                  </a:lnTo>
                  <a:cubicBezTo>
                    <a:pt x="137140" y="57814"/>
                    <a:pt x="137140" y="57814"/>
                    <a:pt x="137588" y="57366"/>
                  </a:cubicBezTo>
                  <a:lnTo>
                    <a:pt x="141622" y="55573"/>
                  </a:lnTo>
                  <a:lnTo>
                    <a:pt x="137588" y="66329"/>
                  </a:lnTo>
                  <a:close/>
                </a:path>
              </a:pathLst>
            </a:custGeom>
            <a:solidFill>
              <a:srgbClr val="231F20"/>
            </a:solidFill>
            <a:ln w="4477" cap="flat">
              <a:noFill/>
              <a:prstDash val="solid"/>
              <a:miter/>
            </a:ln>
          </p:spPr>
          <p:txBody>
            <a:bodyPr rtlCol="0" anchor="ctr"/>
            <a:lstStyle/>
            <a:p>
              <a:endParaRPr lang="en-US"/>
            </a:p>
          </p:txBody>
        </p:sp>
      </p:grpSp>
      <p:sp>
        <p:nvSpPr>
          <p:cNvPr id="3846" name="Freeform: Shape 3845">
            <a:extLst>
              <a:ext uri="{FF2B5EF4-FFF2-40B4-BE49-F238E27FC236}">
                <a16:creationId xmlns:a16="http://schemas.microsoft.com/office/drawing/2014/main" id="{14A23AF5-3973-4E8B-8021-889D7D999B1B}"/>
              </a:ext>
              <a:ext uri="{C183D7F6-B498-43B3-948B-1728B52AA6E4}">
                <adec:decorative xmlns:adec="http://schemas.microsoft.com/office/drawing/2017/decorative" val="1"/>
              </a:ext>
            </a:extLst>
          </p:cNvPr>
          <p:cNvSpPr>
            <a:spLocks noChangeAspect="1"/>
          </p:cNvSpPr>
          <p:nvPr/>
        </p:nvSpPr>
        <p:spPr>
          <a:xfrm>
            <a:off x="3999472" y="2766893"/>
            <a:ext cx="156860" cy="134451"/>
          </a:xfrm>
          <a:custGeom>
            <a:avLst/>
            <a:gdLst>
              <a:gd name="connsiteX0" fmla="*/ 152714 w 156859"/>
              <a:gd name="connsiteY0" fmla="*/ 70251 h 134451"/>
              <a:gd name="connsiteX1" fmla="*/ 145543 w 156859"/>
              <a:gd name="connsiteY1" fmla="*/ 70251 h 134451"/>
              <a:gd name="connsiteX2" fmla="*/ 136132 w 156859"/>
              <a:gd name="connsiteY2" fmla="*/ 51876 h 134451"/>
              <a:gd name="connsiteX3" fmla="*/ 122238 w 156859"/>
              <a:gd name="connsiteY3" fmla="*/ 43361 h 134451"/>
              <a:gd name="connsiteX4" fmla="*/ 107897 w 156859"/>
              <a:gd name="connsiteY4" fmla="*/ 43361 h 134451"/>
              <a:gd name="connsiteX5" fmla="*/ 101174 w 156859"/>
              <a:gd name="connsiteY5" fmla="*/ 50083 h 134451"/>
              <a:gd name="connsiteX6" fmla="*/ 101174 w 156859"/>
              <a:gd name="connsiteY6" fmla="*/ 90419 h 134451"/>
              <a:gd name="connsiteX7" fmla="*/ 92211 w 156859"/>
              <a:gd name="connsiteY7" fmla="*/ 90419 h 134451"/>
              <a:gd name="connsiteX8" fmla="*/ 92211 w 156859"/>
              <a:gd name="connsiteY8" fmla="*/ 79214 h 134451"/>
              <a:gd name="connsiteX9" fmla="*/ 89970 w 156859"/>
              <a:gd name="connsiteY9" fmla="*/ 76974 h 134451"/>
              <a:gd name="connsiteX10" fmla="*/ 78318 w 156859"/>
              <a:gd name="connsiteY10" fmla="*/ 76974 h 134451"/>
              <a:gd name="connsiteX11" fmla="*/ 78318 w 156859"/>
              <a:gd name="connsiteY11" fmla="*/ 67562 h 134451"/>
              <a:gd name="connsiteX12" fmla="*/ 85936 w 156859"/>
              <a:gd name="connsiteY12" fmla="*/ 57702 h 134451"/>
              <a:gd name="connsiteX13" fmla="*/ 76077 w 156859"/>
              <a:gd name="connsiteY13" fmla="*/ 47842 h 134451"/>
              <a:gd name="connsiteX14" fmla="*/ 75181 w 156859"/>
              <a:gd name="connsiteY14" fmla="*/ 47842 h 134451"/>
              <a:gd name="connsiteX15" fmla="*/ 10196 w 156859"/>
              <a:gd name="connsiteY15" fmla="*/ 336 h 134451"/>
              <a:gd name="connsiteX16" fmla="*/ 7955 w 156859"/>
              <a:gd name="connsiteY16" fmla="*/ 336 h 134451"/>
              <a:gd name="connsiteX17" fmla="*/ 6611 w 156859"/>
              <a:gd name="connsiteY17" fmla="*/ 2129 h 134451"/>
              <a:gd name="connsiteX18" fmla="*/ 6611 w 156859"/>
              <a:gd name="connsiteY18" fmla="*/ 11541 h 134451"/>
              <a:gd name="connsiteX19" fmla="*/ 1681 w 156859"/>
              <a:gd name="connsiteY19" fmla="*/ 18711 h 134451"/>
              <a:gd name="connsiteX20" fmla="*/ 6611 w 156859"/>
              <a:gd name="connsiteY20" fmla="*/ 25882 h 134451"/>
              <a:gd name="connsiteX21" fmla="*/ 6611 w 156859"/>
              <a:gd name="connsiteY21" fmla="*/ 50083 h 134451"/>
              <a:gd name="connsiteX22" fmla="*/ 2129 w 156859"/>
              <a:gd name="connsiteY22" fmla="*/ 50083 h 134451"/>
              <a:gd name="connsiteX23" fmla="*/ 336 w 156859"/>
              <a:gd name="connsiteY23" fmla="*/ 51428 h 134451"/>
              <a:gd name="connsiteX24" fmla="*/ 336 w 156859"/>
              <a:gd name="connsiteY24" fmla="*/ 53668 h 134451"/>
              <a:gd name="connsiteX25" fmla="*/ 6611 w 156859"/>
              <a:gd name="connsiteY25" fmla="*/ 64425 h 134451"/>
              <a:gd name="connsiteX26" fmla="*/ 6611 w 156859"/>
              <a:gd name="connsiteY26" fmla="*/ 69354 h 134451"/>
              <a:gd name="connsiteX27" fmla="*/ 8851 w 156859"/>
              <a:gd name="connsiteY27" fmla="*/ 71595 h 134451"/>
              <a:gd name="connsiteX28" fmla="*/ 11540 w 156859"/>
              <a:gd name="connsiteY28" fmla="*/ 74284 h 134451"/>
              <a:gd name="connsiteX29" fmla="*/ 8851 w 156859"/>
              <a:gd name="connsiteY29" fmla="*/ 76974 h 134451"/>
              <a:gd name="connsiteX30" fmla="*/ 6162 w 156859"/>
              <a:gd name="connsiteY30" fmla="*/ 74284 h 134451"/>
              <a:gd name="connsiteX31" fmla="*/ 3921 w 156859"/>
              <a:gd name="connsiteY31" fmla="*/ 72043 h 134451"/>
              <a:gd name="connsiteX32" fmla="*/ 1681 w 156859"/>
              <a:gd name="connsiteY32" fmla="*/ 74284 h 134451"/>
              <a:gd name="connsiteX33" fmla="*/ 8851 w 156859"/>
              <a:gd name="connsiteY33" fmla="*/ 81455 h 134451"/>
              <a:gd name="connsiteX34" fmla="*/ 16022 w 156859"/>
              <a:gd name="connsiteY34" fmla="*/ 74284 h 134451"/>
              <a:gd name="connsiteX35" fmla="*/ 11092 w 156859"/>
              <a:gd name="connsiteY35" fmla="*/ 67113 h 134451"/>
              <a:gd name="connsiteX36" fmla="*/ 11092 w 156859"/>
              <a:gd name="connsiteY36" fmla="*/ 64425 h 134451"/>
              <a:gd name="connsiteX37" fmla="*/ 17366 w 156859"/>
              <a:gd name="connsiteY37" fmla="*/ 53668 h 134451"/>
              <a:gd name="connsiteX38" fmla="*/ 17366 w 156859"/>
              <a:gd name="connsiteY38" fmla="*/ 51428 h 134451"/>
              <a:gd name="connsiteX39" fmla="*/ 15574 w 156859"/>
              <a:gd name="connsiteY39" fmla="*/ 50083 h 134451"/>
              <a:gd name="connsiteX40" fmla="*/ 11092 w 156859"/>
              <a:gd name="connsiteY40" fmla="*/ 50083 h 134451"/>
              <a:gd name="connsiteX41" fmla="*/ 11092 w 156859"/>
              <a:gd name="connsiteY41" fmla="*/ 25882 h 134451"/>
              <a:gd name="connsiteX42" fmla="*/ 16022 w 156859"/>
              <a:gd name="connsiteY42" fmla="*/ 18711 h 134451"/>
              <a:gd name="connsiteX43" fmla="*/ 11092 w 156859"/>
              <a:gd name="connsiteY43" fmla="*/ 11541 h 134451"/>
              <a:gd name="connsiteX44" fmla="*/ 11092 w 156859"/>
              <a:gd name="connsiteY44" fmla="*/ 6610 h 134451"/>
              <a:gd name="connsiteX45" fmla="*/ 70250 w 156859"/>
              <a:gd name="connsiteY45" fmla="*/ 49635 h 134451"/>
              <a:gd name="connsiteX46" fmla="*/ 66217 w 156859"/>
              <a:gd name="connsiteY46" fmla="*/ 57702 h 134451"/>
              <a:gd name="connsiteX47" fmla="*/ 73836 w 156859"/>
              <a:gd name="connsiteY47" fmla="*/ 67562 h 134451"/>
              <a:gd name="connsiteX48" fmla="*/ 73836 w 156859"/>
              <a:gd name="connsiteY48" fmla="*/ 76974 h 134451"/>
              <a:gd name="connsiteX49" fmla="*/ 63080 w 156859"/>
              <a:gd name="connsiteY49" fmla="*/ 76974 h 134451"/>
              <a:gd name="connsiteX50" fmla="*/ 60839 w 156859"/>
              <a:gd name="connsiteY50" fmla="*/ 79214 h 134451"/>
              <a:gd name="connsiteX51" fmla="*/ 60839 w 156859"/>
              <a:gd name="connsiteY51" fmla="*/ 90419 h 134451"/>
              <a:gd name="connsiteX52" fmla="*/ 9299 w 156859"/>
              <a:gd name="connsiteY52" fmla="*/ 90419 h 134451"/>
              <a:gd name="connsiteX53" fmla="*/ 7059 w 156859"/>
              <a:gd name="connsiteY53" fmla="*/ 92659 h 134451"/>
              <a:gd name="connsiteX54" fmla="*/ 7059 w 156859"/>
              <a:gd name="connsiteY54" fmla="*/ 108345 h 134451"/>
              <a:gd name="connsiteX55" fmla="*/ 13781 w 156859"/>
              <a:gd name="connsiteY55" fmla="*/ 115068 h 134451"/>
              <a:gd name="connsiteX56" fmla="*/ 21400 w 156859"/>
              <a:gd name="connsiteY56" fmla="*/ 115068 h 134451"/>
              <a:gd name="connsiteX57" fmla="*/ 20504 w 156859"/>
              <a:gd name="connsiteY57" fmla="*/ 119550 h 134451"/>
              <a:gd name="connsiteX58" fmla="*/ 36190 w 156859"/>
              <a:gd name="connsiteY58" fmla="*/ 135236 h 134451"/>
              <a:gd name="connsiteX59" fmla="*/ 51876 w 156859"/>
              <a:gd name="connsiteY59" fmla="*/ 119550 h 134451"/>
              <a:gd name="connsiteX60" fmla="*/ 50979 w 156859"/>
              <a:gd name="connsiteY60" fmla="*/ 115068 h 134451"/>
              <a:gd name="connsiteX61" fmla="*/ 61287 w 156859"/>
              <a:gd name="connsiteY61" fmla="*/ 115068 h 134451"/>
              <a:gd name="connsiteX62" fmla="*/ 60391 w 156859"/>
              <a:gd name="connsiteY62" fmla="*/ 119550 h 134451"/>
              <a:gd name="connsiteX63" fmla="*/ 76077 w 156859"/>
              <a:gd name="connsiteY63" fmla="*/ 135236 h 134451"/>
              <a:gd name="connsiteX64" fmla="*/ 91763 w 156859"/>
              <a:gd name="connsiteY64" fmla="*/ 119550 h 134451"/>
              <a:gd name="connsiteX65" fmla="*/ 90866 w 156859"/>
              <a:gd name="connsiteY65" fmla="*/ 115068 h 134451"/>
              <a:gd name="connsiteX66" fmla="*/ 102967 w 156859"/>
              <a:gd name="connsiteY66" fmla="*/ 115068 h 134451"/>
              <a:gd name="connsiteX67" fmla="*/ 115068 w 156859"/>
              <a:gd name="connsiteY67" fmla="*/ 115068 h 134451"/>
              <a:gd name="connsiteX68" fmla="*/ 114171 w 156859"/>
              <a:gd name="connsiteY68" fmla="*/ 119550 h 134451"/>
              <a:gd name="connsiteX69" fmla="*/ 129857 w 156859"/>
              <a:gd name="connsiteY69" fmla="*/ 135236 h 134451"/>
              <a:gd name="connsiteX70" fmla="*/ 145543 w 156859"/>
              <a:gd name="connsiteY70" fmla="*/ 119550 h 134451"/>
              <a:gd name="connsiteX71" fmla="*/ 144647 w 156859"/>
              <a:gd name="connsiteY71" fmla="*/ 115068 h 134451"/>
              <a:gd name="connsiteX72" fmla="*/ 151818 w 156859"/>
              <a:gd name="connsiteY72" fmla="*/ 115068 h 134451"/>
              <a:gd name="connsiteX73" fmla="*/ 158540 w 156859"/>
              <a:gd name="connsiteY73" fmla="*/ 108345 h 134451"/>
              <a:gd name="connsiteX74" fmla="*/ 158540 w 156859"/>
              <a:gd name="connsiteY74" fmla="*/ 99382 h 134451"/>
              <a:gd name="connsiteX75" fmla="*/ 158540 w 156859"/>
              <a:gd name="connsiteY75" fmla="*/ 85937 h 134451"/>
              <a:gd name="connsiteX76" fmla="*/ 158540 w 156859"/>
              <a:gd name="connsiteY76" fmla="*/ 76974 h 134451"/>
              <a:gd name="connsiteX77" fmla="*/ 152714 w 156859"/>
              <a:gd name="connsiteY77" fmla="*/ 70251 h 134451"/>
              <a:gd name="connsiteX78" fmla="*/ 9299 w 156859"/>
              <a:gd name="connsiteY78" fmla="*/ 59047 h 134451"/>
              <a:gd name="connsiteX79" fmla="*/ 6611 w 156859"/>
              <a:gd name="connsiteY79" fmla="*/ 54565 h 134451"/>
              <a:gd name="connsiteX80" fmla="*/ 11988 w 156859"/>
              <a:gd name="connsiteY80" fmla="*/ 54565 h 134451"/>
              <a:gd name="connsiteX81" fmla="*/ 9299 w 156859"/>
              <a:gd name="connsiteY81" fmla="*/ 59047 h 134451"/>
              <a:gd name="connsiteX82" fmla="*/ 9299 w 156859"/>
              <a:gd name="connsiteY82" fmla="*/ 21400 h 134451"/>
              <a:gd name="connsiteX83" fmla="*/ 6611 w 156859"/>
              <a:gd name="connsiteY83" fmla="*/ 18711 h 134451"/>
              <a:gd name="connsiteX84" fmla="*/ 9299 w 156859"/>
              <a:gd name="connsiteY84" fmla="*/ 16022 h 134451"/>
              <a:gd name="connsiteX85" fmla="*/ 11988 w 156859"/>
              <a:gd name="connsiteY85" fmla="*/ 18711 h 134451"/>
              <a:gd name="connsiteX86" fmla="*/ 9299 w 156859"/>
              <a:gd name="connsiteY86" fmla="*/ 21400 h 134451"/>
              <a:gd name="connsiteX87" fmla="*/ 70699 w 156859"/>
              <a:gd name="connsiteY87" fmla="*/ 57702 h 134451"/>
              <a:gd name="connsiteX88" fmla="*/ 76077 w 156859"/>
              <a:gd name="connsiteY88" fmla="*/ 52324 h 134451"/>
              <a:gd name="connsiteX89" fmla="*/ 81455 w 156859"/>
              <a:gd name="connsiteY89" fmla="*/ 57702 h 134451"/>
              <a:gd name="connsiteX90" fmla="*/ 76077 w 156859"/>
              <a:gd name="connsiteY90" fmla="*/ 63080 h 134451"/>
              <a:gd name="connsiteX91" fmla="*/ 70699 w 156859"/>
              <a:gd name="connsiteY91" fmla="*/ 57702 h 134451"/>
              <a:gd name="connsiteX92" fmla="*/ 131650 w 156859"/>
              <a:gd name="connsiteY92" fmla="*/ 53668 h 134451"/>
              <a:gd name="connsiteX93" fmla="*/ 140165 w 156859"/>
              <a:gd name="connsiteY93" fmla="*/ 69802 h 134451"/>
              <a:gd name="connsiteX94" fmla="*/ 121342 w 156859"/>
              <a:gd name="connsiteY94" fmla="*/ 69802 h 134451"/>
              <a:gd name="connsiteX95" fmla="*/ 119101 w 156859"/>
              <a:gd name="connsiteY95" fmla="*/ 67562 h 134451"/>
              <a:gd name="connsiteX96" fmla="*/ 119101 w 156859"/>
              <a:gd name="connsiteY96" fmla="*/ 47394 h 134451"/>
              <a:gd name="connsiteX97" fmla="*/ 122238 w 156859"/>
              <a:gd name="connsiteY97" fmla="*/ 47394 h 134451"/>
              <a:gd name="connsiteX98" fmla="*/ 131650 w 156859"/>
              <a:gd name="connsiteY98" fmla="*/ 53668 h 134451"/>
              <a:gd name="connsiteX99" fmla="*/ 65321 w 156859"/>
              <a:gd name="connsiteY99" fmla="*/ 81455 h 134451"/>
              <a:gd name="connsiteX100" fmla="*/ 76077 w 156859"/>
              <a:gd name="connsiteY100" fmla="*/ 81455 h 134451"/>
              <a:gd name="connsiteX101" fmla="*/ 76077 w 156859"/>
              <a:gd name="connsiteY101" fmla="*/ 81455 h 134451"/>
              <a:gd name="connsiteX102" fmla="*/ 87729 w 156859"/>
              <a:gd name="connsiteY102" fmla="*/ 81455 h 134451"/>
              <a:gd name="connsiteX103" fmla="*/ 87729 w 156859"/>
              <a:gd name="connsiteY103" fmla="*/ 90419 h 134451"/>
              <a:gd name="connsiteX104" fmla="*/ 65321 w 156859"/>
              <a:gd name="connsiteY104" fmla="*/ 90419 h 134451"/>
              <a:gd name="connsiteX105" fmla="*/ 65321 w 156859"/>
              <a:gd name="connsiteY105" fmla="*/ 81455 h 134451"/>
              <a:gd name="connsiteX106" fmla="*/ 36190 w 156859"/>
              <a:gd name="connsiteY106" fmla="*/ 130754 h 134451"/>
              <a:gd name="connsiteX107" fmla="*/ 24985 w 156859"/>
              <a:gd name="connsiteY107" fmla="*/ 119550 h 134451"/>
              <a:gd name="connsiteX108" fmla="*/ 36190 w 156859"/>
              <a:gd name="connsiteY108" fmla="*/ 108345 h 134451"/>
              <a:gd name="connsiteX109" fmla="*/ 47394 w 156859"/>
              <a:gd name="connsiteY109" fmla="*/ 119550 h 134451"/>
              <a:gd name="connsiteX110" fmla="*/ 36190 w 156859"/>
              <a:gd name="connsiteY110" fmla="*/ 130754 h 134451"/>
              <a:gd name="connsiteX111" fmla="*/ 76525 w 156859"/>
              <a:gd name="connsiteY111" fmla="*/ 130754 h 134451"/>
              <a:gd name="connsiteX112" fmla="*/ 65321 w 156859"/>
              <a:gd name="connsiteY112" fmla="*/ 119550 h 134451"/>
              <a:gd name="connsiteX113" fmla="*/ 76525 w 156859"/>
              <a:gd name="connsiteY113" fmla="*/ 108345 h 134451"/>
              <a:gd name="connsiteX114" fmla="*/ 87729 w 156859"/>
              <a:gd name="connsiteY114" fmla="*/ 119550 h 134451"/>
              <a:gd name="connsiteX115" fmla="*/ 76525 w 156859"/>
              <a:gd name="connsiteY115" fmla="*/ 130754 h 134451"/>
              <a:gd name="connsiteX116" fmla="*/ 76525 w 156859"/>
              <a:gd name="connsiteY116" fmla="*/ 103864 h 134451"/>
              <a:gd name="connsiteX117" fmla="*/ 63528 w 156859"/>
              <a:gd name="connsiteY117" fmla="*/ 110586 h 134451"/>
              <a:gd name="connsiteX118" fmla="*/ 48738 w 156859"/>
              <a:gd name="connsiteY118" fmla="*/ 110586 h 134451"/>
              <a:gd name="connsiteX119" fmla="*/ 35742 w 156859"/>
              <a:gd name="connsiteY119" fmla="*/ 103864 h 134451"/>
              <a:gd name="connsiteX120" fmla="*/ 22745 w 156859"/>
              <a:gd name="connsiteY120" fmla="*/ 110586 h 134451"/>
              <a:gd name="connsiteX121" fmla="*/ 13781 w 156859"/>
              <a:gd name="connsiteY121" fmla="*/ 110586 h 134451"/>
              <a:gd name="connsiteX122" fmla="*/ 11540 w 156859"/>
              <a:gd name="connsiteY122" fmla="*/ 108345 h 134451"/>
              <a:gd name="connsiteX123" fmla="*/ 11540 w 156859"/>
              <a:gd name="connsiteY123" fmla="*/ 94900 h 134451"/>
              <a:gd name="connsiteX124" fmla="*/ 101174 w 156859"/>
              <a:gd name="connsiteY124" fmla="*/ 94900 h 134451"/>
              <a:gd name="connsiteX125" fmla="*/ 101174 w 156859"/>
              <a:gd name="connsiteY125" fmla="*/ 110586 h 134451"/>
              <a:gd name="connsiteX126" fmla="*/ 89522 w 156859"/>
              <a:gd name="connsiteY126" fmla="*/ 110586 h 134451"/>
              <a:gd name="connsiteX127" fmla="*/ 76525 w 156859"/>
              <a:gd name="connsiteY127" fmla="*/ 103864 h 134451"/>
              <a:gd name="connsiteX128" fmla="*/ 130305 w 156859"/>
              <a:gd name="connsiteY128" fmla="*/ 130754 h 134451"/>
              <a:gd name="connsiteX129" fmla="*/ 119101 w 156859"/>
              <a:gd name="connsiteY129" fmla="*/ 119550 h 134451"/>
              <a:gd name="connsiteX130" fmla="*/ 130305 w 156859"/>
              <a:gd name="connsiteY130" fmla="*/ 108345 h 134451"/>
              <a:gd name="connsiteX131" fmla="*/ 141510 w 156859"/>
              <a:gd name="connsiteY131" fmla="*/ 119550 h 134451"/>
              <a:gd name="connsiteX132" fmla="*/ 130305 w 156859"/>
              <a:gd name="connsiteY132" fmla="*/ 130754 h 134451"/>
              <a:gd name="connsiteX133" fmla="*/ 152714 w 156859"/>
              <a:gd name="connsiteY133" fmla="*/ 110586 h 134451"/>
              <a:gd name="connsiteX134" fmla="*/ 143302 w 156859"/>
              <a:gd name="connsiteY134" fmla="*/ 110586 h 134451"/>
              <a:gd name="connsiteX135" fmla="*/ 130305 w 156859"/>
              <a:gd name="connsiteY135" fmla="*/ 103864 h 134451"/>
              <a:gd name="connsiteX136" fmla="*/ 117308 w 156859"/>
              <a:gd name="connsiteY136" fmla="*/ 110586 h 134451"/>
              <a:gd name="connsiteX137" fmla="*/ 105656 w 156859"/>
              <a:gd name="connsiteY137" fmla="*/ 110586 h 134451"/>
              <a:gd name="connsiteX138" fmla="*/ 105656 w 156859"/>
              <a:gd name="connsiteY138" fmla="*/ 92659 h 134451"/>
              <a:gd name="connsiteX139" fmla="*/ 105656 w 156859"/>
              <a:gd name="connsiteY139" fmla="*/ 50083 h 134451"/>
              <a:gd name="connsiteX140" fmla="*/ 107897 w 156859"/>
              <a:gd name="connsiteY140" fmla="*/ 47842 h 134451"/>
              <a:gd name="connsiteX141" fmla="*/ 114171 w 156859"/>
              <a:gd name="connsiteY141" fmla="*/ 47842 h 134451"/>
              <a:gd name="connsiteX142" fmla="*/ 114171 w 156859"/>
              <a:gd name="connsiteY142" fmla="*/ 68010 h 134451"/>
              <a:gd name="connsiteX143" fmla="*/ 120894 w 156859"/>
              <a:gd name="connsiteY143" fmla="*/ 74733 h 134451"/>
              <a:gd name="connsiteX144" fmla="*/ 143751 w 156859"/>
              <a:gd name="connsiteY144" fmla="*/ 74733 h 134451"/>
              <a:gd name="connsiteX145" fmla="*/ 144199 w 156859"/>
              <a:gd name="connsiteY145" fmla="*/ 74733 h 134451"/>
              <a:gd name="connsiteX146" fmla="*/ 152714 w 156859"/>
              <a:gd name="connsiteY146" fmla="*/ 74733 h 134451"/>
              <a:gd name="connsiteX147" fmla="*/ 154955 w 156859"/>
              <a:gd name="connsiteY147" fmla="*/ 76974 h 134451"/>
              <a:gd name="connsiteX148" fmla="*/ 154955 w 156859"/>
              <a:gd name="connsiteY148" fmla="*/ 83696 h 134451"/>
              <a:gd name="connsiteX149" fmla="*/ 148232 w 156859"/>
              <a:gd name="connsiteY149" fmla="*/ 83696 h 134451"/>
              <a:gd name="connsiteX150" fmla="*/ 141510 w 156859"/>
              <a:gd name="connsiteY150" fmla="*/ 90419 h 134451"/>
              <a:gd name="connsiteX151" fmla="*/ 141510 w 156859"/>
              <a:gd name="connsiteY151" fmla="*/ 94900 h 134451"/>
              <a:gd name="connsiteX152" fmla="*/ 148232 w 156859"/>
              <a:gd name="connsiteY152" fmla="*/ 101623 h 134451"/>
              <a:gd name="connsiteX153" fmla="*/ 154955 w 156859"/>
              <a:gd name="connsiteY153" fmla="*/ 101623 h 134451"/>
              <a:gd name="connsiteX154" fmla="*/ 154955 w 156859"/>
              <a:gd name="connsiteY154" fmla="*/ 108345 h 134451"/>
              <a:gd name="connsiteX155" fmla="*/ 152714 w 156859"/>
              <a:gd name="connsiteY155" fmla="*/ 110586 h 134451"/>
              <a:gd name="connsiteX156" fmla="*/ 154955 w 156859"/>
              <a:gd name="connsiteY156" fmla="*/ 97141 h 134451"/>
              <a:gd name="connsiteX157" fmla="*/ 148232 w 156859"/>
              <a:gd name="connsiteY157" fmla="*/ 97141 h 134451"/>
              <a:gd name="connsiteX158" fmla="*/ 145991 w 156859"/>
              <a:gd name="connsiteY158" fmla="*/ 94900 h 134451"/>
              <a:gd name="connsiteX159" fmla="*/ 145991 w 156859"/>
              <a:gd name="connsiteY159" fmla="*/ 90419 h 134451"/>
              <a:gd name="connsiteX160" fmla="*/ 148232 w 156859"/>
              <a:gd name="connsiteY160" fmla="*/ 88178 h 134451"/>
              <a:gd name="connsiteX161" fmla="*/ 154955 w 156859"/>
              <a:gd name="connsiteY161" fmla="*/ 88178 h 134451"/>
              <a:gd name="connsiteX162" fmla="*/ 154955 w 156859"/>
              <a:gd name="connsiteY162" fmla="*/ 97141 h 13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56859" h="134451">
                <a:moveTo>
                  <a:pt x="152714" y="70251"/>
                </a:moveTo>
                <a:lnTo>
                  <a:pt x="145543" y="70251"/>
                </a:lnTo>
                <a:lnTo>
                  <a:pt x="136132" y="51876"/>
                </a:lnTo>
                <a:cubicBezTo>
                  <a:pt x="133443" y="46498"/>
                  <a:pt x="128065" y="43361"/>
                  <a:pt x="122238" y="43361"/>
                </a:cubicBezTo>
                <a:lnTo>
                  <a:pt x="107897" y="43361"/>
                </a:lnTo>
                <a:cubicBezTo>
                  <a:pt x="104312" y="43361"/>
                  <a:pt x="101174" y="46498"/>
                  <a:pt x="101174" y="50083"/>
                </a:cubicBezTo>
                <a:lnTo>
                  <a:pt x="101174" y="90419"/>
                </a:lnTo>
                <a:lnTo>
                  <a:pt x="92211" y="90419"/>
                </a:lnTo>
                <a:lnTo>
                  <a:pt x="92211" y="79214"/>
                </a:lnTo>
                <a:cubicBezTo>
                  <a:pt x="92211" y="77870"/>
                  <a:pt x="91315" y="76974"/>
                  <a:pt x="89970" y="76974"/>
                </a:cubicBezTo>
                <a:lnTo>
                  <a:pt x="78318" y="76974"/>
                </a:lnTo>
                <a:lnTo>
                  <a:pt x="78318" y="67562"/>
                </a:lnTo>
                <a:cubicBezTo>
                  <a:pt x="82799" y="66665"/>
                  <a:pt x="85936" y="62632"/>
                  <a:pt x="85936" y="57702"/>
                </a:cubicBezTo>
                <a:cubicBezTo>
                  <a:pt x="85936" y="52324"/>
                  <a:pt x="81455" y="47842"/>
                  <a:pt x="76077" y="47842"/>
                </a:cubicBezTo>
                <a:cubicBezTo>
                  <a:pt x="75629" y="47842"/>
                  <a:pt x="75629" y="47842"/>
                  <a:pt x="75181" y="47842"/>
                </a:cubicBezTo>
                <a:lnTo>
                  <a:pt x="10196" y="336"/>
                </a:lnTo>
                <a:cubicBezTo>
                  <a:pt x="9299" y="-112"/>
                  <a:pt x="8403" y="-112"/>
                  <a:pt x="7955" y="336"/>
                </a:cubicBezTo>
                <a:cubicBezTo>
                  <a:pt x="7059" y="784"/>
                  <a:pt x="6611" y="1681"/>
                  <a:pt x="6611" y="2129"/>
                </a:cubicBezTo>
                <a:lnTo>
                  <a:pt x="6611" y="11541"/>
                </a:lnTo>
                <a:cubicBezTo>
                  <a:pt x="3473" y="12437"/>
                  <a:pt x="1681" y="15126"/>
                  <a:pt x="1681" y="18711"/>
                </a:cubicBezTo>
                <a:cubicBezTo>
                  <a:pt x="1681" y="22296"/>
                  <a:pt x="3921" y="24537"/>
                  <a:pt x="6611" y="25882"/>
                </a:cubicBezTo>
                <a:lnTo>
                  <a:pt x="6611" y="50083"/>
                </a:lnTo>
                <a:lnTo>
                  <a:pt x="2129" y="50083"/>
                </a:lnTo>
                <a:cubicBezTo>
                  <a:pt x="1232" y="50083"/>
                  <a:pt x="784" y="50531"/>
                  <a:pt x="336" y="51428"/>
                </a:cubicBezTo>
                <a:cubicBezTo>
                  <a:pt x="-112" y="52324"/>
                  <a:pt x="-112" y="52772"/>
                  <a:pt x="336" y="53668"/>
                </a:cubicBezTo>
                <a:lnTo>
                  <a:pt x="6611" y="64425"/>
                </a:lnTo>
                <a:lnTo>
                  <a:pt x="6611" y="69354"/>
                </a:lnTo>
                <a:cubicBezTo>
                  <a:pt x="6611" y="70699"/>
                  <a:pt x="7507" y="71595"/>
                  <a:pt x="8851" y="71595"/>
                </a:cubicBezTo>
                <a:cubicBezTo>
                  <a:pt x="10644" y="71595"/>
                  <a:pt x="11540" y="72940"/>
                  <a:pt x="11540" y="74284"/>
                </a:cubicBezTo>
                <a:cubicBezTo>
                  <a:pt x="11540" y="75629"/>
                  <a:pt x="10196" y="76974"/>
                  <a:pt x="8851" y="76974"/>
                </a:cubicBezTo>
                <a:cubicBezTo>
                  <a:pt x="7059" y="76974"/>
                  <a:pt x="6162" y="75629"/>
                  <a:pt x="6162" y="74284"/>
                </a:cubicBezTo>
                <a:cubicBezTo>
                  <a:pt x="6162" y="72940"/>
                  <a:pt x="5266" y="72043"/>
                  <a:pt x="3921" y="72043"/>
                </a:cubicBezTo>
                <a:cubicBezTo>
                  <a:pt x="2577" y="72043"/>
                  <a:pt x="1681" y="72940"/>
                  <a:pt x="1681" y="74284"/>
                </a:cubicBezTo>
                <a:cubicBezTo>
                  <a:pt x="1681" y="78318"/>
                  <a:pt x="4818" y="81455"/>
                  <a:pt x="8851" y="81455"/>
                </a:cubicBezTo>
                <a:cubicBezTo>
                  <a:pt x="12885" y="81455"/>
                  <a:pt x="16022" y="78318"/>
                  <a:pt x="16022" y="74284"/>
                </a:cubicBezTo>
                <a:cubicBezTo>
                  <a:pt x="16022" y="71147"/>
                  <a:pt x="13781" y="68010"/>
                  <a:pt x="11092" y="67113"/>
                </a:cubicBezTo>
                <a:lnTo>
                  <a:pt x="11092" y="64425"/>
                </a:lnTo>
                <a:lnTo>
                  <a:pt x="17366" y="53668"/>
                </a:lnTo>
                <a:cubicBezTo>
                  <a:pt x="17815" y="52772"/>
                  <a:pt x="17815" y="52324"/>
                  <a:pt x="17366" y="51428"/>
                </a:cubicBezTo>
                <a:cubicBezTo>
                  <a:pt x="16918" y="50531"/>
                  <a:pt x="16022" y="50083"/>
                  <a:pt x="15574" y="50083"/>
                </a:cubicBezTo>
                <a:lnTo>
                  <a:pt x="11092" y="50083"/>
                </a:lnTo>
                <a:lnTo>
                  <a:pt x="11092" y="25882"/>
                </a:lnTo>
                <a:cubicBezTo>
                  <a:pt x="14229" y="24986"/>
                  <a:pt x="16022" y="22296"/>
                  <a:pt x="16022" y="18711"/>
                </a:cubicBezTo>
                <a:cubicBezTo>
                  <a:pt x="16022" y="15126"/>
                  <a:pt x="13781" y="12885"/>
                  <a:pt x="11092" y="11541"/>
                </a:cubicBezTo>
                <a:lnTo>
                  <a:pt x="11092" y="6610"/>
                </a:lnTo>
                <a:lnTo>
                  <a:pt x="70250" y="49635"/>
                </a:lnTo>
                <a:cubicBezTo>
                  <a:pt x="67562" y="51428"/>
                  <a:pt x="66217" y="54565"/>
                  <a:pt x="66217" y="57702"/>
                </a:cubicBezTo>
                <a:cubicBezTo>
                  <a:pt x="66217" y="62632"/>
                  <a:pt x="69354" y="66217"/>
                  <a:pt x="73836" y="67562"/>
                </a:cubicBezTo>
                <a:lnTo>
                  <a:pt x="73836" y="76974"/>
                </a:lnTo>
                <a:lnTo>
                  <a:pt x="63080" y="76974"/>
                </a:lnTo>
                <a:cubicBezTo>
                  <a:pt x="61735" y="76974"/>
                  <a:pt x="60839" y="77870"/>
                  <a:pt x="60839" y="79214"/>
                </a:cubicBezTo>
                <a:lnTo>
                  <a:pt x="60839" y="90419"/>
                </a:lnTo>
                <a:lnTo>
                  <a:pt x="9299" y="90419"/>
                </a:lnTo>
                <a:cubicBezTo>
                  <a:pt x="7955" y="90419"/>
                  <a:pt x="7059" y="91315"/>
                  <a:pt x="7059" y="92659"/>
                </a:cubicBezTo>
                <a:lnTo>
                  <a:pt x="7059" y="108345"/>
                </a:lnTo>
                <a:cubicBezTo>
                  <a:pt x="7059" y="111930"/>
                  <a:pt x="10196" y="115068"/>
                  <a:pt x="13781" y="115068"/>
                </a:cubicBezTo>
                <a:lnTo>
                  <a:pt x="21400" y="115068"/>
                </a:lnTo>
                <a:cubicBezTo>
                  <a:pt x="20952" y="116412"/>
                  <a:pt x="20504" y="118205"/>
                  <a:pt x="20504" y="119550"/>
                </a:cubicBezTo>
                <a:cubicBezTo>
                  <a:pt x="20504" y="128065"/>
                  <a:pt x="27674" y="135236"/>
                  <a:pt x="36190" y="135236"/>
                </a:cubicBezTo>
                <a:cubicBezTo>
                  <a:pt x="44705" y="135236"/>
                  <a:pt x="51876" y="128065"/>
                  <a:pt x="51876" y="119550"/>
                </a:cubicBezTo>
                <a:cubicBezTo>
                  <a:pt x="51876" y="118205"/>
                  <a:pt x="51428" y="116412"/>
                  <a:pt x="50979" y="115068"/>
                </a:cubicBezTo>
                <a:lnTo>
                  <a:pt x="61287" y="115068"/>
                </a:lnTo>
                <a:cubicBezTo>
                  <a:pt x="60839" y="116412"/>
                  <a:pt x="60391" y="118205"/>
                  <a:pt x="60391" y="119550"/>
                </a:cubicBezTo>
                <a:cubicBezTo>
                  <a:pt x="60391" y="128065"/>
                  <a:pt x="67562" y="135236"/>
                  <a:pt x="76077" y="135236"/>
                </a:cubicBezTo>
                <a:cubicBezTo>
                  <a:pt x="84592" y="135236"/>
                  <a:pt x="91763" y="128065"/>
                  <a:pt x="91763" y="119550"/>
                </a:cubicBezTo>
                <a:cubicBezTo>
                  <a:pt x="91763" y="118205"/>
                  <a:pt x="91315" y="116412"/>
                  <a:pt x="90866" y="115068"/>
                </a:cubicBezTo>
                <a:lnTo>
                  <a:pt x="102967" y="115068"/>
                </a:lnTo>
                <a:lnTo>
                  <a:pt x="115068" y="115068"/>
                </a:lnTo>
                <a:cubicBezTo>
                  <a:pt x="114619" y="116412"/>
                  <a:pt x="114171" y="118205"/>
                  <a:pt x="114171" y="119550"/>
                </a:cubicBezTo>
                <a:cubicBezTo>
                  <a:pt x="114171" y="128065"/>
                  <a:pt x="121342" y="135236"/>
                  <a:pt x="129857" y="135236"/>
                </a:cubicBezTo>
                <a:cubicBezTo>
                  <a:pt x="138372" y="135236"/>
                  <a:pt x="145543" y="128065"/>
                  <a:pt x="145543" y="119550"/>
                </a:cubicBezTo>
                <a:cubicBezTo>
                  <a:pt x="145543" y="118205"/>
                  <a:pt x="145095" y="116412"/>
                  <a:pt x="144647" y="115068"/>
                </a:cubicBezTo>
                <a:lnTo>
                  <a:pt x="151818" y="115068"/>
                </a:lnTo>
                <a:cubicBezTo>
                  <a:pt x="155403" y="115068"/>
                  <a:pt x="158540" y="111930"/>
                  <a:pt x="158540" y="108345"/>
                </a:cubicBezTo>
                <a:lnTo>
                  <a:pt x="158540" y="99382"/>
                </a:lnTo>
                <a:lnTo>
                  <a:pt x="158540" y="85937"/>
                </a:lnTo>
                <a:lnTo>
                  <a:pt x="158540" y="76974"/>
                </a:lnTo>
                <a:cubicBezTo>
                  <a:pt x="159436" y="72940"/>
                  <a:pt x="156299" y="70251"/>
                  <a:pt x="152714" y="70251"/>
                </a:cubicBezTo>
                <a:close/>
                <a:moveTo>
                  <a:pt x="9299" y="59047"/>
                </a:moveTo>
                <a:lnTo>
                  <a:pt x="6611" y="54565"/>
                </a:lnTo>
                <a:lnTo>
                  <a:pt x="11988" y="54565"/>
                </a:lnTo>
                <a:lnTo>
                  <a:pt x="9299" y="59047"/>
                </a:lnTo>
                <a:close/>
                <a:moveTo>
                  <a:pt x="9299" y="21400"/>
                </a:moveTo>
                <a:cubicBezTo>
                  <a:pt x="7507" y="21400"/>
                  <a:pt x="6611" y="20056"/>
                  <a:pt x="6611" y="18711"/>
                </a:cubicBezTo>
                <a:cubicBezTo>
                  <a:pt x="6611" y="16919"/>
                  <a:pt x="7955" y="16022"/>
                  <a:pt x="9299" y="16022"/>
                </a:cubicBezTo>
                <a:cubicBezTo>
                  <a:pt x="10644" y="16022"/>
                  <a:pt x="11988" y="17367"/>
                  <a:pt x="11988" y="18711"/>
                </a:cubicBezTo>
                <a:cubicBezTo>
                  <a:pt x="11988" y="20056"/>
                  <a:pt x="11092" y="21400"/>
                  <a:pt x="9299" y="21400"/>
                </a:cubicBezTo>
                <a:close/>
                <a:moveTo>
                  <a:pt x="70699" y="57702"/>
                </a:moveTo>
                <a:cubicBezTo>
                  <a:pt x="70699" y="54565"/>
                  <a:pt x="73388" y="52324"/>
                  <a:pt x="76077" y="52324"/>
                </a:cubicBezTo>
                <a:cubicBezTo>
                  <a:pt x="79214" y="52324"/>
                  <a:pt x="81455" y="55013"/>
                  <a:pt x="81455" y="57702"/>
                </a:cubicBezTo>
                <a:cubicBezTo>
                  <a:pt x="81455" y="60839"/>
                  <a:pt x="78766" y="63080"/>
                  <a:pt x="76077" y="63080"/>
                </a:cubicBezTo>
                <a:cubicBezTo>
                  <a:pt x="73388" y="63528"/>
                  <a:pt x="70699" y="60839"/>
                  <a:pt x="70699" y="57702"/>
                </a:cubicBezTo>
                <a:close/>
                <a:moveTo>
                  <a:pt x="131650" y="53668"/>
                </a:moveTo>
                <a:lnTo>
                  <a:pt x="140165" y="69802"/>
                </a:lnTo>
                <a:lnTo>
                  <a:pt x="121342" y="69802"/>
                </a:lnTo>
                <a:cubicBezTo>
                  <a:pt x="119998" y="69802"/>
                  <a:pt x="119101" y="68906"/>
                  <a:pt x="119101" y="67562"/>
                </a:cubicBezTo>
                <a:lnTo>
                  <a:pt x="119101" y="47394"/>
                </a:lnTo>
                <a:lnTo>
                  <a:pt x="122238" y="47394"/>
                </a:lnTo>
                <a:cubicBezTo>
                  <a:pt x="126272" y="47842"/>
                  <a:pt x="129857" y="50083"/>
                  <a:pt x="131650" y="53668"/>
                </a:cubicBezTo>
                <a:close/>
                <a:moveTo>
                  <a:pt x="65321" y="81455"/>
                </a:moveTo>
                <a:lnTo>
                  <a:pt x="76077" y="81455"/>
                </a:lnTo>
                <a:lnTo>
                  <a:pt x="76077" y="81455"/>
                </a:lnTo>
                <a:lnTo>
                  <a:pt x="87729" y="81455"/>
                </a:lnTo>
                <a:lnTo>
                  <a:pt x="87729" y="90419"/>
                </a:lnTo>
                <a:lnTo>
                  <a:pt x="65321" y="90419"/>
                </a:lnTo>
                <a:lnTo>
                  <a:pt x="65321" y="81455"/>
                </a:lnTo>
                <a:close/>
                <a:moveTo>
                  <a:pt x="36190" y="130754"/>
                </a:moveTo>
                <a:cubicBezTo>
                  <a:pt x="29915" y="130754"/>
                  <a:pt x="24985" y="125824"/>
                  <a:pt x="24985" y="119550"/>
                </a:cubicBezTo>
                <a:cubicBezTo>
                  <a:pt x="24985" y="113275"/>
                  <a:pt x="29915" y="108345"/>
                  <a:pt x="36190" y="108345"/>
                </a:cubicBezTo>
                <a:cubicBezTo>
                  <a:pt x="42464" y="108345"/>
                  <a:pt x="47394" y="113275"/>
                  <a:pt x="47394" y="119550"/>
                </a:cubicBezTo>
                <a:cubicBezTo>
                  <a:pt x="47394" y="125824"/>
                  <a:pt x="42464" y="130754"/>
                  <a:pt x="36190" y="130754"/>
                </a:cubicBezTo>
                <a:close/>
                <a:moveTo>
                  <a:pt x="76525" y="130754"/>
                </a:moveTo>
                <a:cubicBezTo>
                  <a:pt x="70250" y="130754"/>
                  <a:pt x="65321" y="125824"/>
                  <a:pt x="65321" y="119550"/>
                </a:cubicBezTo>
                <a:cubicBezTo>
                  <a:pt x="65321" y="113275"/>
                  <a:pt x="70250" y="108345"/>
                  <a:pt x="76525" y="108345"/>
                </a:cubicBezTo>
                <a:cubicBezTo>
                  <a:pt x="82799" y="108345"/>
                  <a:pt x="87729" y="113275"/>
                  <a:pt x="87729" y="119550"/>
                </a:cubicBezTo>
                <a:cubicBezTo>
                  <a:pt x="87729" y="125824"/>
                  <a:pt x="82799" y="130754"/>
                  <a:pt x="76525" y="130754"/>
                </a:cubicBezTo>
                <a:close/>
                <a:moveTo>
                  <a:pt x="76525" y="103864"/>
                </a:moveTo>
                <a:cubicBezTo>
                  <a:pt x="71147" y="103864"/>
                  <a:pt x="66665" y="106553"/>
                  <a:pt x="63528" y="110586"/>
                </a:cubicBezTo>
                <a:lnTo>
                  <a:pt x="48738" y="110586"/>
                </a:lnTo>
                <a:cubicBezTo>
                  <a:pt x="46049" y="106553"/>
                  <a:pt x="41119" y="103864"/>
                  <a:pt x="35742" y="103864"/>
                </a:cubicBezTo>
                <a:cubicBezTo>
                  <a:pt x="30364" y="103864"/>
                  <a:pt x="25882" y="106553"/>
                  <a:pt x="22745" y="110586"/>
                </a:cubicBezTo>
                <a:lnTo>
                  <a:pt x="13781" y="110586"/>
                </a:lnTo>
                <a:cubicBezTo>
                  <a:pt x="12437" y="110586"/>
                  <a:pt x="11540" y="109690"/>
                  <a:pt x="11540" y="108345"/>
                </a:cubicBezTo>
                <a:lnTo>
                  <a:pt x="11540" y="94900"/>
                </a:lnTo>
                <a:lnTo>
                  <a:pt x="101174" y="94900"/>
                </a:lnTo>
                <a:lnTo>
                  <a:pt x="101174" y="110586"/>
                </a:lnTo>
                <a:lnTo>
                  <a:pt x="89522" y="110586"/>
                </a:lnTo>
                <a:cubicBezTo>
                  <a:pt x="86385" y="106553"/>
                  <a:pt x="81903" y="103864"/>
                  <a:pt x="76525" y="103864"/>
                </a:cubicBezTo>
                <a:close/>
                <a:moveTo>
                  <a:pt x="130305" y="130754"/>
                </a:moveTo>
                <a:cubicBezTo>
                  <a:pt x="124031" y="130754"/>
                  <a:pt x="119101" y="125824"/>
                  <a:pt x="119101" y="119550"/>
                </a:cubicBezTo>
                <a:cubicBezTo>
                  <a:pt x="119101" y="113275"/>
                  <a:pt x="124031" y="108345"/>
                  <a:pt x="130305" y="108345"/>
                </a:cubicBezTo>
                <a:cubicBezTo>
                  <a:pt x="136580" y="108345"/>
                  <a:pt x="141510" y="113275"/>
                  <a:pt x="141510" y="119550"/>
                </a:cubicBezTo>
                <a:cubicBezTo>
                  <a:pt x="141510" y="125824"/>
                  <a:pt x="136580" y="130754"/>
                  <a:pt x="130305" y="130754"/>
                </a:cubicBezTo>
                <a:close/>
                <a:moveTo>
                  <a:pt x="152714" y="110586"/>
                </a:moveTo>
                <a:lnTo>
                  <a:pt x="143302" y="110586"/>
                </a:lnTo>
                <a:cubicBezTo>
                  <a:pt x="140613" y="106553"/>
                  <a:pt x="135683" y="103864"/>
                  <a:pt x="130305" y="103864"/>
                </a:cubicBezTo>
                <a:cubicBezTo>
                  <a:pt x="124927" y="103864"/>
                  <a:pt x="120446" y="106553"/>
                  <a:pt x="117308" y="110586"/>
                </a:cubicBezTo>
                <a:lnTo>
                  <a:pt x="105656" y="110586"/>
                </a:lnTo>
                <a:lnTo>
                  <a:pt x="105656" y="92659"/>
                </a:lnTo>
                <a:lnTo>
                  <a:pt x="105656" y="50083"/>
                </a:lnTo>
                <a:cubicBezTo>
                  <a:pt x="105656" y="48739"/>
                  <a:pt x="106552" y="47842"/>
                  <a:pt x="107897" y="47842"/>
                </a:cubicBezTo>
                <a:lnTo>
                  <a:pt x="114171" y="47842"/>
                </a:lnTo>
                <a:lnTo>
                  <a:pt x="114171" y="68010"/>
                </a:lnTo>
                <a:cubicBezTo>
                  <a:pt x="114171" y="71595"/>
                  <a:pt x="117308" y="74733"/>
                  <a:pt x="120894" y="74733"/>
                </a:cubicBezTo>
                <a:lnTo>
                  <a:pt x="143751" y="74733"/>
                </a:lnTo>
                <a:lnTo>
                  <a:pt x="144199" y="74733"/>
                </a:lnTo>
                <a:lnTo>
                  <a:pt x="152714" y="74733"/>
                </a:lnTo>
                <a:cubicBezTo>
                  <a:pt x="154058" y="74733"/>
                  <a:pt x="154955" y="75629"/>
                  <a:pt x="154955" y="76974"/>
                </a:cubicBezTo>
                <a:lnTo>
                  <a:pt x="154955" y="83696"/>
                </a:lnTo>
                <a:lnTo>
                  <a:pt x="148232" y="83696"/>
                </a:lnTo>
                <a:cubicBezTo>
                  <a:pt x="144647" y="83696"/>
                  <a:pt x="141510" y="86833"/>
                  <a:pt x="141510" y="90419"/>
                </a:cubicBezTo>
                <a:lnTo>
                  <a:pt x="141510" y="94900"/>
                </a:lnTo>
                <a:cubicBezTo>
                  <a:pt x="141510" y="98485"/>
                  <a:pt x="144647" y="101623"/>
                  <a:pt x="148232" y="101623"/>
                </a:cubicBezTo>
                <a:lnTo>
                  <a:pt x="154955" y="101623"/>
                </a:lnTo>
                <a:lnTo>
                  <a:pt x="154955" y="108345"/>
                </a:lnTo>
                <a:cubicBezTo>
                  <a:pt x="154955" y="109242"/>
                  <a:pt x="154058" y="110586"/>
                  <a:pt x="152714" y="110586"/>
                </a:cubicBezTo>
                <a:close/>
                <a:moveTo>
                  <a:pt x="154955" y="97141"/>
                </a:moveTo>
                <a:lnTo>
                  <a:pt x="148232" y="97141"/>
                </a:lnTo>
                <a:cubicBezTo>
                  <a:pt x="146888" y="97141"/>
                  <a:pt x="145991" y="96245"/>
                  <a:pt x="145991" y="94900"/>
                </a:cubicBezTo>
                <a:lnTo>
                  <a:pt x="145991" y="90419"/>
                </a:lnTo>
                <a:cubicBezTo>
                  <a:pt x="145991" y="89074"/>
                  <a:pt x="146888" y="88178"/>
                  <a:pt x="148232" y="88178"/>
                </a:cubicBezTo>
                <a:lnTo>
                  <a:pt x="154955" y="88178"/>
                </a:lnTo>
                <a:lnTo>
                  <a:pt x="154955" y="97141"/>
                </a:lnTo>
                <a:close/>
              </a:path>
            </a:pathLst>
          </a:custGeom>
          <a:solidFill>
            <a:srgbClr val="231F20"/>
          </a:solidFill>
          <a:ln w="4477" cap="flat">
            <a:noFill/>
            <a:prstDash val="solid"/>
            <a:miter/>
          </a:ln>
        </p:spPr>
        <p:txBody>
          <a:bodyPr rtlCol="0" anchor="ctr"/>
          <a:lstStyle/>
          <a:p>
            <a:endParaRPr lang="en-US"/>
          </a:p>
        </p:txBody>
      </p:sp>
      <p:sp>
        <p:nvSpPr>
          <p:cNvPr id="3847" name="Freeform: Shape 3846">
            <a:extLst>
              <a:ext uri="{FF2B5EF4-FFF2-40B4-BE49-F238E27FC236}">
                <a16:creationId xmlns:a16="http://schemas.microsoft.com/office/drawing/2014/main" id="{4DD0E985-A575-483B-A156-A245C7F34013}"/>
              </a:ext>
              <a:ext uri="{C183D7F6-B498-43B3-948B-1728B52AA6E4}">
                <adec:decorative xmlns:adec="http://schemas.microsoft.com/office/drawing/2017/decorative" val="1"/>
              </a:ext>
            </a:extLst>
          </p:cNvPr>
          <p:cNvSpPr>
            <a:spLocks noChangeAspect="1"/>
          </p:cNvSpPr>
          <p:nvPr/>
        </p:nvSpPr>
        <p:spPr>
          <a:xfrm>
            <a:off x="2697426" y="2762299"/>
            <a:ext cx="138933" cy="143414"/>
          </a:xfrm>
          <a:custGeom>
            <a:avLst/>
            <a:gdLst>
              <a:gd name="connsiteX0" fmla="*/ 135796 w 138932"/>
              <a:gd name="connsiteY0" fmla="*/ 19272 h 143414"/>
              <a:gd name="connsiteX1" fmla="*/ 98149 w 138932"/>
              <a:gd name="connsiteY1" fmla="*/ 19272 h 143414"/>
              <a:gd name="connsiteX2" fmla="*/ 49299 w 138932"/>
              <a:gd name="connsiteY2" fmla="*/ 0 h 143414"/>
              <a:gd name="connsiteX3" fmla="*/ 49299 w 138932"/>
              <a:gd name="connsiteY3" fmla="*/ 0 h 143414"/>
              <a:gd name="connsiteX4" fmla="*/ 48402 w 138932"/>
              <a:gd name="connsiteY4" fmla="*/ 0 h 143414"/>
              <a:gd name="connsiteX5" fmla="*/ 47506 w 138932"/>
              <a:gd name="connsiteY5" fmla="*/ 448 h 143414"/>
              <a:gd name="connsiteX6" fmla="*/ 47506 w 138932"/>
              <a:gd name="connsiteY6" fmla="*/ 448 h 143414"/>
              <a:gd name="connsiteX7" fmla="*/ 24201 w 138932"/>
              <a:gd name="connsiteY7" fmla="*/ 12101 h 143414"/>
              <a:gd name="connsiteX8" fmla="*/ 24201 w 138932"/>
              <a:gd name="connsiteY8" fmla="*/ 11204 h 143414"/>
              <a:gd name="connsiteX9" fmla="*/ 19719 w 138932"/>
              <a:gd name="connsiteY9" fmla="*/ 6723 h 143414"/>
              <a:gd name="connsiteX10" fmla="*/ 10756 w 138932"/>
              <a:gd name="connsiteY10" fmla="*/ 6723 h 143414"/>
              <a:gd name="connsiteX11" fmla="*/ 6274 w 138932"/>
              <a:gd name="connsiteY11" fmla="*/ 11204 h 143414"/>
              <a:gd name="connsiteX12" fmla="*/ 6274 w 138932"/>
              <a:gd name="connsiteY12" fmla="*/ 19720 h 143414"/>
              <a:gd name="connsiteX13" fmla="*/ 2241 w 138932"/>
              <a:gd name="connsiteY13" fmla="*/ 19720 h 143414"/>
              <a:gd name="connsiteX14" fmla="*/ 0 w 138932"/>
              <a:gd name="connsiteY14" fmla="*/ 21960 h 143414"/>
              <a:gd name="connsiteX15" fmla="*/ 2241 w 138932"/>
              <a:gd name="connsiteY15" fmla="*/ 24201 h 143414"/>
              <a:gd name="connsiteX16" fmla="*/ 6274 w 138932"/>
              <a:gd name="connsiteY16" fmla="*/ 24201 h 143414"/>
              <a:gd name="connsiteX17" fmla="*/ 6274 w 138932"/>
              <a:gd name="connsiteY17" fmla="*/ 33613 h 143414"/>
              <a:gd name="connsiteX18" fmla="*/ 10756 w 138932"/>
              <a:gd name="connsiteY18" fmla="*/ 38094 h 143414"/>
              <a:gd name="connsiteX19" fmla="*/ 19719 w 138932"/>
              <a:gd name="connsiteY19" fmla="*/ 38094 h 143414"/>
              <a:gd name="connsiteX20" fmla="*/ 24201 w 138932"/>
              <a:gd name="connsiteY20" fmla="*/ 33613 h 143414"/>
              <a:gd name="connsiteX21" fmla="*/ 24201 w 138932"/>
              <a:gd name="connsiteY21" fmla="*/ 24201 h 143414"/>
              <a:gd name="connsiteX22" fmla="*/ 46610 w 138932"/>
              <a:gd name="connsiteY22" fmla="*/ 24201 h 143414"/>
              <a:gd name="connsiteX23" fmla="*/ 46610 w 138932"/>
              <a:gd name="connsiteY23" fmla="*/ 33613 h 143414"/>
              <a:gd name="connsiteX24" fmla="*/ 36302 w 138932"/>
              <a:gd name="connsiteY24" fmla="*/ 33613 h 143414"/>
              <a:gd name="connsiteX25" fmla="*/ 33165 w 138932"/>
              <a:gd name="connsiteY25" fmla="*/ 36750 h 143414"/>
              <a:gd name="connsiteX26" fmla="*/ 33165 w 138932"/>
              <a:gd name="connsiteY26" fmla="*/ 61848 h 143414"/>
              <a:gd name="connsiteX27" fmla="*/ 36302 w 138932"/>
              <a:gd name="connsiteY27" fmla="*/ 64985 h 143414"/>
              <a:gd name="connsiteX28" fmla="*/ 46610 w 138932"/>
              <a:gd name="connsiteY28" fmla="*/ 64985 h 143414"/>
              <a:gd name="connsiteX29" fmla="*/ 46610 w 138932"/>
              <a:gd name="connsiteY29" fmla="*/ 126832 h 143414"/>
              <a:gd name="connsiteX30" fmla="*/ 37646 w 138932"/>
              <a:gd name="connsiteY30" fmla="*/ 126832 h 143414"/>
              <a:gd name="connsiteX31" fmla="*/ 33165 w 138932"/>
              <a:gd name="connsiteY31" fmla="*/ 131314 h 143414"/>
              <a:gd name="connsiteX32" fmla="*/ 33165 w 138932"/>
              <a:gd name="connsiteY32" fmla="*/ 140278 h 143414"/>
              <a:gd name="connsiteX33" fmla="*/ 37646 w 138932"/>
              <a:gd name="connsiteY33" fmla="*/ 144759 h 143414"/>
              <a:gd name="connsiteX34" fmla="*/ 60055 w 138932"/>
              <a:gd name="connsiteY34" fmla="*/ 144759 h 143414"/>
              <a:gd name="connsiteX35" fmla="*/ 64536 w 138932"/>
              <a:gd name="connsiteY35" fmla="*/ 140278 h 143414"/>
              <a:gd name="connsiteX36" fmla="*/ 64536 w 138932"/>
              <a:gd name="connsiteY36" fmla="*/ 135348 h 143414"/>
              <a:gd name="connsiteX37" fmla="*/ 56021 w 138932"/>
              <a:gd name="connsiteY37" fmla="*/ 126832 h 143414"/>
              <a:gd name="connsiteX38" fmla="*/ 51091 w 138932"/>
              <a:gd name="connsiteY38" fmla="*/ 126832 h 143414"/>
              <a:gd name="connsiteX39" fmla="*/ 51091 w 138932"/>
              <a:gd name="connsiteY39" fmla="*/ 64985 h 143414"/>
              <a:gd name="connsiteX40" fmla="*/ 61399 w 138932"/>
              <a:gd name="connsiteY40" fmla="*/ 64985 h 143414"/>
              <a:gd name="connsiteX41" fmla="*/ 64536 w 138932"/>
              <a:gd name="connsiteY41" fmla="*/ 61848 h 143414"/>
              <a:gd name="connsiteX42" fmla="*/ 64536 w 138932"/>
              <a:gd name="connsiteY42" fmla="*/ 43473 h 143414"/>
              <a:gd name="connsiteX43" fmla="*/ 63192 w 138932"/>
              <a:gd name="connsiteY43" fmla="*/ 40335 h 143414"/>
              <a:gd name="connsiteX44" fmla="*/ 57814 w 138932"/>
              <a:gd name="connsiteY44" fmla="*/ 34958 h 143414"/>
              <a:gd name="connsiteX45" fmla="*/ 54677 w 138932"/>
              <a:gd name="connsiteY45" fmla="*/ 33613 h 143414"/>
              <a:gd name="connsiteX46" fmla="*/ 51091 w 138932"/>
              <a:gd name="connsiteY46" fmla="*/ 33613 h 143414"/>
              <a:gd name="connsiteX47" fmla="*/ 51091 w 138932"/>
              <a:gd name="connsiteY47" fmla="*/ 24201 h 143414"/>
              <a:gd name="connsiteX48" fmla="*/ 98597 w 138932"/>
              <a:gd name="connsiteY48" fmla="*/ 24201 h 143414"/>
              <a:gd name="connsiteX49" fmla="*/ 98597 w 138932"/>
              <a:gd name="connsiteY49" fmla="*/ 24201 h 143414"/>
              <a:gd name="connsiteX50" fmla="*/ 98597 w 138932"/>
              <a:gd name="connsiteY50" fmla="*/ 24201 h 143414"/>
              <a:gd name="connsiteX51" fmla="*/ 111146 w 138932"/>
              <a:gd name="connsiteY51" fmla="*/ 24201 h 143414"/>
              <a:gd name="connsiteX52" fmla="*/ 113387 w 138932"/>
              <a:gd name="connsiteY52" fmla="*/ 51092 h 143414"/>
              <a:gd name="connsiteX53" fmla="*/ 118765 w 138932"/>
              <a:gd name="connsiteY53" fmla="*/ 58262 h 143414"/>
              <a:gd name="connsiteX54" fmla="*/ 118765 w 138932"/>
              <a:gd name="connsiteY54" fmla="*/ 65433 h 143414"/>
              <a:gd name="connsiteX55" fmla="*/ 121454 w 138932"/>
              <a:gd name="connsiteY55" fmla="*/ 68570 h 143414"/>
              <a:gd name="connsiteX56" fmla="*/ 123695 w 138932"/>
              <a:gd name="connsiteY56" fmla="*/ 71259 h 143414"/>
              <a:gd name="connsiteX57" fmla="*/ 121006 w 138932"/>
              <a:gd name="connsiteY57" fmla="*/ 73948 h 143414"/>
              <a:gd name="connsiteX58" fmla="*/ 118317 w 138932"/>
              <a:gd name="connsiteY58" fmla="*/ 71259 h 143414"/>
              <a:gd name="connsiteX59" fmla="*/ 116076 w 138932"/>
              <a:gd name="connsiteY59" fmla="*/ 69018 h 143414"/>
              <a:gd name="connsiteX60" fmla="*/ 113835 w 138932"/>
              <a:gd name="connsiteY60" fmla="*/ 71259 h 143414"/>
              <a:gd name="connsiteX61" fmla="*/ 121006 w 138932"/>
              <a:gd name="connsiteY61" fmla="*/ 78430 h 143414"/>
              <a:gd name="connsiteX62" fmla="*/ 128177 w 138932"/>
              <a:gd name="connsiteY62" fmla="*/ 71259 h 143414"/>
              <a:gd name="connsiteX63" fmla="*/ 123247 w 138932"/>
              <a:gd name="connsiteY63" fmla="*/ 64089 h 143414"/>
              <a:gd name="connsiteX64" fmla="*/ 123247 w 138932"/>
              <a:gd name="connsiteY64" fmla="*/ 58262 h 143414"/>
              <a:gd name="connsiteX65" fmla="*/ 128625 w 138932"/>
              <a:gd name="connsiteY65" fmla="*/ 51092 h 143414"/>
              <a:gd name="connsiteX66" fmla="*/ 130866 w 138932"/>
              <a:gd name="connsiteY66" fmla="*/ 24201 h 143414"/>
              <a:gd name="connsiteX67" fmla="*/ 137140 w 138932"/>
              <a:gd name="connsiteY67" fmla="*/ 24201 h 143414"/>
              <a:gd name="connsiteX68" fmla="*/ 139381 w 138932"/>
              <a:gd name="connsiteY68" fmla="*/ 21960 h 143414"/>
              <a:gd name="connsiteX69" fmla="*/ 135796 w 138932"/>
              <a:gd name="connsiteY69" fmla="*/ 19272 h 143414"/>
              <a:gd name="connsiteX70" fmla="*/ 18823 w 138932"/>
              <a:gd name="connsiteY70" fmla="*/ 33613 h 143414"/>
              <a:gd name="connsiteX71" fmla="*/ 9860 w 138932"/>
              <a:gd name="connsiteY71" fmla="*/ 33613 h 143414"/>
              <a:gd name="connsiteX72" fmla="*/ 9860 w 138932"/>
              <a:gd name="connsiteY72" fmla="*/ 11204 h 143414"/>
              <a:gd name="connsiteX73" fmla="*/ 18823 w 138932"/>
              <a:gd name="connsiteY73" fmla="*/ 11204 h 143414"/>
              <a:gd name="connsiteX74" fmla="*/ 18823 w 138932"/>
              <a:gd name="connsiteY74" fmla="*/ 33613 h 143414"/>
              <a:gd name="connsiteX75" fmla="*/ 59159 w 138932"/>
              <a:gd name="connsiteY75" fmla="*/ 135348 h 143414"/>
              <a:gd name="connsiteX76" fmla="*/ 59159 w 138932"/>
              <a:gd name="connsiteY76" fmla="*/ 140278 h 143414"/>
              <a:gd name="connsiteX77" fmla="*/ 36750 w 138932"/>
              <a:gd name="connsiteY77" fmla="*/ 140278 h 143414"/>
              <a:gd name="connsiteX78" fmla="*/ 36750 w 138932"/>
              <a:gd name="connsiteY78" fmla="*/ 131314 h 143414"/>
              <a:gd name="connsiteX79" fmla="*/ 46162 w 138932"/>
              <a:gd name="connsiteY79" fmla="*/ 131314 h 143414"/>
              <a:gd name="connsiteX80" fmla="*/ 47954 w 138932"/>
              <a:gd name="connsiteY80" fmla="*/ 132210 h 143414"/>
              <a:gd name="connsiteX81" fmla="*/ 49747 w 138932"/>
              <a:gd name="connsiteY81" fmla="*/ 131314 h 143414"/>
              <a:gd name="connsiteX82" fmla="*/ 55125 w 138932"/>
              <a:gd name="connsiteY82" fmla="*/ 131314 h 143414"/>
              <a:gd name="connsiteX83" fmla="*/ 59159 w 138932"/>
              <a:gd name="connsiteY83" fmla="*/ 135348 h 143414"/>
              <a:gd name="connsiteX84" fmla="*/ 59159 w 138932"/>
              <a:gd name="connsiteY84" fmla="*/ 43473 h 143414"/>
              <a:gd name="connsiteX85" fmla="*/ 59159 w 138932"/>
              <a:gd name="connsiteY85" fmla="*/ 60503 h 143414"/>
              <a:gd name="connsiteX86" fmla="*/ 36750 w 138932"/>
              <a:gd name="connsiteY86" fmla="*/ 60503 h 143414"/>
              <a:gd name="connsiteX87" fmla="*/ 36750 w 138932"/>
              <a:gd name="connsiteY87" fmla="*/ 38094 h 143414"/>
              <a:gd name="connsiteX88" fmla="*/ 53780 w 138932"/>
              <a:gd name="connsiteY88" fmla="*/ 38094 h 143414"/>
              <a:gd name="connsiteX89" fmla="*/ 59159 w 138932"/>
              <a:gd name="connsiteY89" fmla="*/ 43473 h 143414"/>
              <a:gd name="connsiteX90" fmla="*/ 123247 w 138932"/>
              <a:gd name="connsiteY90" fmla="*/ 50643 h 143414"/>
              <a:gd name="connsiteX91" fmla="*/ 121006 w 138932"/>
              <a:gd name="connsiteY91" fmla="*/ 53780 h 143414"/>
              <a:gd name="connsiteX92" fmla="*/ 118765 w 138932"/>
              <a:gd name="connsiteY92" fmla="*/ 53780 h 143414"/>
              <a:gd name="connsiteX93" fmla="*/ 116524 w 138932"/>
              <a:gd name="connsiteY93" fmla="*/ 50643 h 143414"/>
              <a:gd name="connsiteX94" fmla="*/ 114732 w 138932"/>
              <a:gd name="connsiteY94" fmla="*/ 24649 h 143414"/>
              <a:gd name="connsiteX95" fmla="*/ 125039 w 138932"/>
              <a:gd name="connsiteY95" fmla="*/ 24649 h 143414"/>
              <a:gd name="connsiteX96" fmla="*/ 123247 w 138932"/>
              <a:gd name="connsiteY96" fmla="*/ 50643 h 143414"/>
              <a:gd name="connsiteX97" fmla="*/ 23305 w 138932"/>
              <a:gd name="connsiteY97" fmla="*/ 19272 h 143414"/>
              <a:gd name="connsiteX98" fmla="*/ 23305 w 138932"/>
              <a:gd name="connsiteY98" fmla="*/ 16582 h 143414"/>
              <a:gd name="connsiteX99" fmla="*/ 45713 w 138932"/>
              <a:gd name="connsiteY99" fmla="*/ 5378 h 143414"/>
              <a:gd name="connsiteX100" fmla="*/ 45713 w 138932"/>
              <a:gd name="connsiteY100" fmla="*/ 19272 h 143414"/>
              <a:gd name="connsiteX101" fmla="*/ 23305 w 138932"/>
              <a:gd name="connsiteY101" fmla="*/ 19272 h 143414"/>
              <a:gd name="connsiteX102" fmla="*/ 50195 w 138932"/>
              <a:gd name="connsiteY102" fmla="*/ 5378 h 143414"/>
              <a:gd name="connsiteX103" fmla="*/ 85601 w 138932"/>
              <a:gd name="connsiteY103" fmla="*/ 19272 h 143414"/>
              <a:gd name="connsiteX104" fmla="*/ 50195 w 138932"/>
              <a:gd name="connsiteY104" fmla="*/ 19272 h 143414"/>
              <a:gd name="connsiteX105" fmla="*/ 50195 w 138932"/>
              <a:gd name="connsiteY105" fmla="*/ 5378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8932" h="143414">
                <a:moveTo>
                  <a:pt x="135796" y="19272"/>
                </a:moveTo>
                <a:lnTo>
                  <a:pt x="98149" y="19272"/>
                </a:lnTo>
                <a:lnTo>
                  <a:pt x="49299" y="0"/>
                </a:lnTo>
                <a:cubicBezTo>
                  <a:pt x="49299" y="0"/>
                  <a:pt x="49299" y="0"/>
                  <a:pt x="49299" y="0"/>
                </a:cubicBezTo>
                <a:cubicBezTo>
                  <a:pt x="48851" y="0"/>
                  <a:pt x="48851" y="0"/>
                  <a:pt x="48402" y="0"/>
                </a:cubicBezTo>
                <a:cubicBezTo>
                  <a:pt x="47954" y="0"/>
                  <a:pt x="47506" y="0"/>
                  <a:pt x="47506" y="448"/>
                </a:cubicBezTo>
                <a:cubicBezTo>
                  <a:pt x="47506" y="448"/>
                  <a:pt x="47506" y="448"/>
                  <a:pt x="47506" y="448"/>
                </a:cubicBezTo>
                <a:lnTo>
                  <a:pt x="24201" y="12101"/>
                </a:lnTo>
                <a:lnTo>
                  <a:pt x="24201" y="11204"/>
                </a:lnTo>
                <a:cubicBezTo>
                  <a:pt x="24201" y="8515"/>
                  <a:pt x="22409" y="6723"/>
                  <a:pt x="19719" y="6723"/>
                </a:cubicBezTo>
                <a:lnTo>
                  <a:pt x="10756" y="6723"/>
                </a:lnTo>
                <a:cubicBezTo>
                  <a:pt x="8067" y="6723"/>
                  <a:pt x="6274" y="8515"/>
                  <a:pt x="6274" y="11204"/>
                </a:cubicBezTo>
                <a:lnTo>
                  <a:pt x="6274" y="19720"/>
                </a:lnTo>
                <a:lnTo>
                  <a:pt x="2241" y="19720"/>
                </a:lnTo>
                <a:cubicBezTo>
                  <a:pt x="896" y="19720"/>
                  <a:pt x="0" y="20616"/>
                  <a:pt x="0" y="21960"/>
                </a:cubicBezTo>
                <a:cubicBezTo>
                  <a:pt x="0" y="23305"/>
                  <a:pt x="896" y="24201"/>
                  <a:pt x="2241" y="24201"/>
                </a:cubicBezTo>
                <a:lnTo>
                  <a:pt x="6274" y="24201"/>
                </a:lnTo>
                <a:lnTo>
                  <a:pt x="6274" y="33613"/>
                </a:lnTo>
                <a:cubicBezTo>
                  <a:pt x="6274" y="36302"/>
                  <a:pt x="8067" y="38094"/>
                  <a:pt x="10756" y="38094"/>
                </a:cubicBezTo>
                <a:lnTo>
                  <a:pt x="19719" y="38094"/>
                </a:lnTo>
                <a:cubicBezTo>
                  <a:pt x="22409" y="38094"/>
                  <a:pt x="24201" y="36302"/>
                  <a:pt x="24201" y="33613"/>
                </a:cubicBezTo>
                <a:lnTo>
                  <a:pt x="24201" y="24201"/>
                </a:lnTo>
                <a:lnTo>
                  <a:pt x="46610" y="24201"/>
                </a:lnTo>
                <a:lnTo>
                  <a:pt x="46610" y="33613"/>
                </a:lnTo>
                <a:lnTo>
                  <a:pt x="36302" y="33613"/>
                </a:lnTo>
                <a:cubicBezTo>
                  <a:pt x="34509" y="33613"/>
                  <a:pt x="33165" y="34958"/>
                  <a:pt x="33165" y="36750"/>
                </a:cubicBezTo>
                <a:lnTo>
                  <a:pt x="33165" y="61848"/>
                </a:lnTo>
                <a:cubicBezTo>
                  <a:pt x="33165" y="63641"/>
                  <a:pt x="34509" y="64985"/>
                  <a:pt x="36302" y="64985"/>
                </a:cubicBezTo>
                <a:lnTo>
                  <a:pt x="46610" y="64985"/>
                </a:lnTo>
                <a:lnTo>
                  <a:pt x="46610" y="126832"/>
                </a:lnTo>
                <a:lnTo>
                  <a:pt x="37646" y="126832"/>
                </a:lnTo>
                <a:cubicBezTo>
                  <a:pt x="34957" y="126832"/>
                  <a:pt x="33165" y="128625"/>
                  <a:pt x="33165" y="131314"/>
                </a:cubicBezTo>
                <a:lnTo>
                  <a:pt x="33165" y="140278"/>
                </a:lnTo>
                <a:cubicBezTo>
                  <a:pt x="33165" y="142966"/>
                  <a:pt x="34957" y="144759"/>
                  <a:pt x="37646" y="144759"/>
                </a:cubicBezTo>
                <a:lnTo>
                  <a:pt x="60055" y="144759"/>
                </a:lnTo>
                <a:cubicBezTo>
                  <a:pt x="62744" y="144759"/>
                  <a:pt x="64536" y="142966"/>
                  <a:pt x="64536" y="140278"/>
                </a:cubicBezTo>
                <a:lnTo>
                  <a:pt x="64536" y="135348"/>
                </a:lnTo>
                <a:cubicBezTo>
                  <a:pt x="64536" y="130417"/>
                  <a:pt x="60503" y="126832"/>
                  <a:pt x="56021" y="126832"/>
                </a:cubicBezTo>
                <a:lnTo>
                  <a:pt x="51091" y="126832"/>
                </a:lnTo>
                <a:lnTo>
                  <a:pt x="51091" y="64985"/>
                </a:lnTo>
                <a:lnTo>
                  <a:pt x="61399" y="64985"/>
                </a:lnTo>
                <a:cubicBezTo>
                  <a:pt x="63192" y="64985"/>
                  <a:pt x="64536" y="63641"/>
                  <a:pt x="64536" y="61848"/>
                </a:cubicBezTo>
                <a:lnTo>
                  <a:pt x="64536" y="43473"/>
                </a:lnTo>
                <a:cubicBezTo>
                  <a:pt x="64536" y="42128"/>
                  <a:pt x="64088" y="41232"/>
                  <a:pt x="63192" y="40335"/>
                </a:cubicBezTo>
                <a:lnTo>
                  <a:pt x="57814" y="34958"/>
                </a:lnTo>
                <a:cubicBezTo>
                  <a:pt x="56918" y="34061"/>
                  <a:pt x="56021" y="33613"/>
                  <a:pt x="54677" y="33613"/>
                </a:cubicBezTo>
                <a:lnTo>
                  <a:pt x="51091" y="33613"/>
                </a:lnTo>
                <a:lnTo>
                  <a:pt x="51091" y="24201"/>
                </a:lnTo>
                <a:lnTo>
                  <a:pt x="98597" y="24201"/>
                </a:lnTo>
                <a:cubicBezTo>
                  <a:pt x="98597" y="24201"/>
                  <a:pt x="98597" y="24201"/>
                  <a:pt x="98597" y="24201"/>
                </a:cubicBezTo>
                <a:cubicBezTo>
                  <a:pt x="98597" y="24201"/>
                  <a:pt x="98597" y="24201"/>
                  <a:pt x="98597" y="24201"/>
                </a:cubicBezTo>
                <a:lnTo>
                  <a:pt x="111146" y="24201"/>
                </a:lnTo>
                <a:lnTo>
                  <a:pt x="113387" y="51092"/>
                </a:lnTo>
                <a:cubicBezTo>
                  <a:pt x="113835" y="54677"/>
                  <a:pt x="116076" y="57366"/>
                  <a:pt x="118765" y="58262"/>
                </a:cubicBezTo>
                <a:lnTo>
                  <a:pt x="118765" y="65433"/>
                </a:lnTo>
                <a:cubicBezTo>
                  <a:pt x="118765" y="66777"/>
                  <a:pt x="120110" y="68122"/>
                  <a:pt x="121454" y="68570"/>
                </a:cubicBezTo>
                <a:cubicBezTo>
                  <a:pt x="122799" y="69018"/>
                  <a:pt x="123695" y="69914"/>
                  <a:pt x="123695" y="71259"/>
                </a:cubicBezTo>
                <a:cubicBezTo>
                  <a:pt x="123695" y="73052"/>
                  <a:pt x="122351" y="73948"/>
                  <a:pt x="121006" y="73948"/>
                </a:cubicBezTo>
                <a:cubicBezTo>
                  <a:pt x="119213" y="73948"/>
                  <a:pt x="118317" y="72604"/>
                  <a:pt x="118317" y="71259"/>
                </a:cubicBezTo>
                <a:cubicBezTo>
                  <a:pt x="118317" y="69914"/>
                  <a:pt x="117421" y="69018"/>
                  <a:pt x="116076" y="69018"/>
                </a:cubicBezTo>
                <a:cubicBezTo>
                  <a:pt x="114732" y="69018"/>
                  <a:pt x="113835" y="69914"/>
                  <a:pt x="113835" y="71259"/>
                </a:cubicBezTo>
                <a:cubicBezTo>
                  <a:pt x="113835" y="75293"/>
                  <a:pt x="116972" y="78430"/>
                  <a:pt x="121006" y="78430"/>
                </a:cubicBezTo>
                <a:cubicBezTo>
                  <a:pt x="125039" y="78430"/>
                  <a:pt x="128177" y="75293"/>
                  <a:pt x="128177" y="71259"/>
                </a:cubicBezTo>
                <a:cubicBezTo>
                  <a:pt x="128177" y="68122"/>
                  <a:pt x="125936" y="65433"/>
                  <a:pt x="123247" y="64089"/>
                </a:cubicBezTo>
                <a:lnTo>
                  <a:pt x="123247" y="58262"/>
                </a:lnTo>
                <a:cubicBezTo>
                  <a:pt x="126384" y="57814"/>
                  <a:pt x="128625" y="54677"/>
                  <a:pt x="128625" y="51092"/>
                </a:cubicBezTo>
                <a:lnTo>
                  <a:pt x="130866" y="24201"/>
                </a:lnTo>
                <a:lnTo>
                  <a:pt x="137140" y="24201"/>
                </a:lnTo>
                <a:cubicBezTo>
                  <a:pt x="138485" y="24201"/>
                  <a:pt x="139381" y="23305"/>
                  <a:pt x="139381" y="21960"/>
                </a:cubicBezTo>
                <a:cubicBezTo>
                  <a:pt x="139381" y="20616"/>
                  <a:pt x="137140" y="19272"/>
                  <a:pt x="135796" y="19272"/>
                </a:cubicBezTo>
                <a:close/>
                <a:moveTo>
                  <a:pt x="18823" y="33613"/>
                </a:moveTo>
                <a:lnTo>
                  <a:pt x="9860" y="33613"/>
                </a:lnTo>
                <a:lnTo>
                  <a:pt x="9860" y="11204"/>
                </a:lnTo>
                <a:lnTo>
                  <a:pt x="18823" y="11204"/>
                </a:lnTo>
                <a:lnTo>
                  <a:pt x="18823" y="33613"/>
                </a:lnTo>
                <a:close/>
                <a:moveTo>
                  <a:pt x="59159" y="135348"/>
                </a:moveTo>
                <a:lnTo>
                  <a:pt x="59159" y="140278"/>
                </a:lnTo>
                <a:lnTo>
                  <a:pt x="36750" y="140278"/>
                </a:lnTo>
                <a:lnTo>
                  <a:pt x="36750" y="131314"/>
                </a:lnTo>
                <a:lnTo>
                  <a:pt x="46162" y="131314"/>
                </a:lnTo>
                <a:cubicBezTo>
                  <a:pt x="46610" y="131762"/>
                  <a:pt x="47058" y="132210"/>
                  <a:pt x="47954" y="132210"/>
                </a:cubicBezTo>
                <a:cubicBezTo>
                  <a:pt x="48851" y="132210"/>
                  <a:pt x="49299" y="131762"/>
                  <a:pt x="49747" y="131314"/>
                </a:cubicBezTo>
                <a:lnTo>
                  <a:pt x="55125" y="131314"/>
                </a:lnTo>
                <a:cubicBezTo>
                  <a:pt x="57366" y="131314"/>
                  <a:pt x="59159" y="133107"/>
                  <a:pt x="59159" y="135348"/>
                </a:cubicBezTo>
                <a:close/>
                <a:moveTo>
                  <a:pt x="59159" y="43473"/>
                </a:moveTo>
                <a:lnTo>
                  <a:pt x="59159" y="60503"/>
                </a:lnTo>
                <a:lnTo>
                  <a:pt x="36750" y="60503"/>
                </a:lnTo>
                <a:lnTo>
                  <a:pt x="36750" y="38094"/>
                </a:lnTo>
                <a:lnTo>
                  <a:pt x="53780" y="38094"/>
                </a:lnTo>
                <a:lnTo>
                  <a:pt x="59159" y="43473"/>
                </a:lnTo>
                <a:close/>
                <a:moveTo>
                  <a:pt x="123247" y="50643"/>
                </a:moveTo>
                <a:cubicBezTo>
                  <a:pt x="123247" y="52436"/>
                  <a:pt x="121902" y="53780"/>
                  <a:pt x="121006" y="53780"/>
                </a:cubicBezTo>
                <a:lnTo>
                  <a:pt x="118765" y="53780"/>
                </a:lnTo>
                <a:cubicBezTo>
                  <a:pt x="117869" y="53780"/>
                  <a:pt x="116524" y="52436"/>
                  <a:pt x="116524" y="50643"/>
                </a:cubicBezTo>
                <a:lnTo>
                  <a:pt x="114732" y="24649"/>
                </a:lnTo>
                <a:lnTo>
                  <a:pt x="125039" y="24649"/>
                </a:lnTo>
                <a:lnTo>
                  <a:pt x="123247" y="50643"/>
                </a:lnTo>
                <a:close/>
                <a:moveTo>
                  <a:pt x="23305" y="19272"/>
                </a:moveTo>
                <a:lnTo>
                  <a:pt x="23305" y="16582"/>
                </a:lnTo>
                <a:lnTo>
                  <a:pt x="45713" y="5378"/>
                </a:lnTo>
                <a:lnTo>
                  <a:pt x="45713" y="19272"/>
                </a:lnTo>
                <a:lnTo>
                  <a:pt x="23305" y="19272"/>
                </a:lnTo>
                <a:close/>
                <a:moveTo>
                  <a:pt x="50195" y="5378"/>
                </a:moveTo>
                <a:lnTo>
                  <a:pt x="85601" y="19272"/>
                </a:lnTo>
                <a:lnTo>
                  <a:pt x="50195" y="19272"/>
                </a:lnTo>
                <a:lnTo>
                  <a:pt x="50195" y="5378"/>
                </a:lnTo>
                <a:close/>
              </a:path>
            </a:pathLst>
          </a:custGeom>
          <a:solidFill>
            <a:srgbClr val="231F20"/>
          </a:solidFill>
          <a:ln w="4477" cap="flat">
            <a:noFill/>
            <a:prstDash val="solid"/>
            <a:miter/>
          </a:ln>
        </p:spPr>
        <p:txBody>
          <a:bodyPr rtlCol="0" anchor="ctr"/>
          <a:lstStyle/>
          <a:p>
            <a:endParaRPr lang="en-US"/>
          </a:p>
        </p:txBody>
      </p:sp>
      <p:sp>
        <p:nvSpPr>
          <p:cNvPr id="3848" name="Freeform: Shape 3847">
            <a:extLst>
              <a:ext uri="{FF2B5EF4-FFF2-40B4-BE49-F238E27FC236}">
                <a16:creationId xmlns:a16="http://schemas.microsoft.com/office/drawing/2014/main" id="{B719DBF2-A1C0-44CB-8202-EBA26ADAD1BB}"/>
              </a:ext>
              <a:ext uri="{C183D7F6-B498-43B3-948B-1728B52AA6E4}">
                <adec:decorative xmlns:adec="http://schemas.microsoft.com/office/drawing/2017/decorative" val="1"/>
              </a:ext>
            </a:extLst>
          </p:cNvPr>
          <p:cNvSpPr>
            <a:spLocks noChangeAspect="1"/>
          </p:cNvSpPr>
          <p:nvPr/>
        </p:nvSpPr>
        <p:spPr>
          <a:xfrm>
            <a:off x="2953331" y="2761851"/>
            <a:ext cx="138933" cy="143414"/>
          </a:xfrm>
          <a:custGeom>
            <a:avLst/>
            <a:gdLst>
              <a:gd name="connsiteX0" fmla="*/ 135796 w 138932"/>
              <a:gd name="connsiteY0" fmla="*/ 19271 h 143414"/>
              <a:gd name="connsiteX1" fmla="*/ 98149 w 138932"/>
              <a:gd name="connsiteY1" fmla="*/ 19271 h 143414"/>
              <a:gd name="connsiteX2" fmla="*/ 49299 w 138932"/>
              <a:gd name="connsiteY2" fmla="*/ 0 h 143414"/>
              <a:gd name="connsiteX3" fmla="*/ 49299 w 138932"/>
              <a:gd name="connsiteY3" fmla="*/ 0 h 143414"/>
              <a:gd name="connsiteX4" fmla="*/ 48402 w 138932"/>
              <a:gd name="connsiteY4" fmla="*/ 0 h 143414"/>
              <a:gd name="connsiteX5" fmla="*/ 47506 w 138932"/>
              <a:gd name="connsiteY5" fmla="*/ 448 h 143414"/>
              <a:gd name="connsiteX6" fmla="*/ 47506 w 138932"/>
              <a:gd name="connsiteY6" fmla="*/ 448 h 143414"/>
              <a:gd name="connsiteX7" fmla="*/ 24201 w 138932"/>
              <a:gd name="connsiteY7" fmla="*/ 12101 h 143414"/>
              <a:gd name="connsiteX8" fmla="*/ 24201 w 138932"/>
              <a:gd name="connsiteY8" fmla="*/ 11204 h 143414"/>
              <a:gd name="connsiteX9" fmla="*/ 19720 w 138932"/>
              <a:gd name="connsiteY9" fmla="*/ 6723 h 143414"/>
              <a:gd name="connsiteX10" fmla="*/ 10756 w 138932"/>
              <a:gd name="connsiteY10" fmla="*/ 6723 h 143414"/>
              <a:gd name="connsiteX11" fmla="*/ 6274 w 138932"/>
              <a:gd name="connsiteY11" fmla="*/ 11204 h 143414"/>
              <a:gd name="connsiteX12" fmla="*/ 6274 w 138932"/>
              <a:gd name="connsiteY12" fmla="*/ 19720 h 143414"/>
              <a:gd name="connsiteX13" fmla="*/ 2241 w 138932"/>
              <a:gd name="connsiteY13" fmla="*/ 19720 h 143414"/>
              <a:gd name="connsiteX14" fmla="*/ 0 w 138932"/>
              <a:gd name="connsiteY14" fmla="*/ 21960 h 143414"/>
              <a:gd name="connsiteX15" fmla="*/ 2241 w 138932"/>
              <a:gd name="connsiteY15" fmla="*/ 24201 h 143414"/>
              <a:gd name="connsiteX16" fmla="*/ 6274 w 138932"/>
              <a:gd name="connsiteY16" fmla="*/ 24201 h 143414"/>
              <a:gd name="connsiteX17" fmla="*/ 6274 w 138932"/>
              <a:gd name="connsiteY17" fmla="*/ 33613 h 143414"/>
              <a:gd name="connsiteX18" fmla="*/ 10756 w 138932"/>
              <a:gd name="connsiteY18" fmla="*/ 38094 h 143414"/>
              <a:gd name="connsiteX19" fmla="*/ 19720 w 138932"/>
              <a:gd name="connsiteY19" fmla="*/ 38094 h 143414"/>
              <a:gd name="connsiteX20" fmla="*/ 24201 w 138932"/>
              <a:gd name="connsiteY20" fmla="*/ 33613 h 143414"/>
              <a:gd name="connsiteX21" fmla="*/ 24201 w 138932"/>
              <a:gd name="connsiteY21" fmla="*/ 24201 h 143414"/>
              <a:gd name="connsiteX22" fmla="*/ 46610 w 138932"/>
              <a:gd name="connsiteY22" fmla="*/ 24201 h 143414"/>
              <a:gd name="connsiteX23" fmla="*/ 46610 w 138932"/>
              <a:gd name="connsiteY23" fmla="*/ 33613 h 143414"/>
              <a:gd name="connsiteX24" fmla="*/ 36302 w 138932"/>
              <a:gd name="connsiteY24" fmla="*/ 33613 h 143414"/>
              <a:gd name="connsiteX25" fmla="*/ 33165 w 138932"/>
              <a:gd name="connsiteY25" fmla="*/ 36750 h 143414"/>
              <a:gd name="connsiteX26" fmla="*/ 33165 w 138932"/>
              <a:gd name="connsiteY26" fmla="*/ 61848 h 143414"/>
              <a:gd name="connsiteX27" fmla="*/ 36302 w 138932"/>
              <a:gd name="connsiteY27" fmla="*/ 64985 h 143414"/>
              <a:gd name="connsiteX28" fmla="*/ 46610 w 138932"/>
              <a:gd name="connsiteY28" fmla="*/ 64985 h 143414"/>
              <a:gd name="connsiteX29" fmla="*/ 46610 w 138932"/>
              <a:gd name="connsiteY29" fmla="*/ 127729 h 143414"/>
              <a:gd name="connsiteX30" fmla="*/ 37646 w 138932"/>
              <a:gd name="connsiteY30" fmla="*/ 127729 h 143414"/>
              <a:gd name="connsiteX31" fmla="*/ 33165 w 138932"/>
              <a:gd name="connsiteY31" fmla="*/ 132210 h 143414"/>
              <a:gd name="connsiteX32" fmla="*/ 33165 w 138932"/>
              <a:gd name="connsiteY32" fmla="*/ 141174 h 143414"/>
              <a:gd name="connsiteX33" fmla="*/ 37646 w 138932"/>
              <a:gd name="connsiteY33" fmla="*/ 145655 h 143414"/>
              <a:gd name="connsiteX34" fmla="*/ 60055 w 138932"/>
              <a:gd name="connsiteY34" fmla="*/ 145655 h 143414"/>
              <a:gd name="connsiteX35" fmla="*/ 64537 w 138932"/>
              <a:gd name="connsiteY35" fmla="*/ 141174 h 143414"/>
              <a:gd name="connsiteX36" fmla="*/ 64537 w 138932"/>
              <a:gd name="connsiteY36" fmla="*/ 136244 h 143414"/>
              <a:gd name="connsiteX37" fmla="*/ 56021 w 138932"/>
              <a:gd name="connsiteY37" fmla="*/ 127729 h 143414"/>
              <a:gd name="connsiteX38" fmla="*/ 51092 w 138932"/>
              <a:gd name="connsiteY38" fmla="*/ 127729 h 143414"/>
              <a:gd name="connsiteX39" fmla="*/ 51092 w 138932"/>
              <a:gd name="connsiteY39" fmla="*/ 64985 h 143414"/>
              <a:gd name="connsiteX40" fmla="*/ 61399 w 138932"/>
              <a:gd name="connsiteY40" fmla="*/ 64985 h 143414"/>
              <a:gd name="connsiteX41" fmla="*/ 64537 w 138932"/>
              <a:gd name="connsiteY41" fmla="*/ 61848 h 143414"/>
              <a:gd name="connsiteX42" fmla="*/ 64537 w 138932"/>
              <a:gd name="connsiteY42" fmla="*/ 43472 h 143414"/>
              <a:gd name="connsiteX43" fmla="*/ 63192 w 138932"/>
              <a:gd name="connsiteY43" fmla="*/ 40335 h 143414"/>
              <a:gd name="connsiteX44" fmla="*/ 57814 w 138932"/>
              <a:gd name="connsiteY44" fmla="*/ 34958 h 143414"/>
              <a:gd name="connsiteX45" fmla="*/ 54677 w 138932"/>
              <a:gd name="connsiteY45" fmla="*/ 33613 h 143414"/>
              <a:gd name="connsiteX46" fmla="*/ 51092 w 138932"/>
              <a:gd name="connsiteY46" fmla="*/ 33613 h 143414"/>
              <a:gd name="connsiteX47" fmla="*/ 51092 w 138932"/>
              <a:gd name="connsiteY47" fmla="*/ 24201 h 143414"/>
              <a:gd name="connsiteX48" fmla="*/ 98597 w 138932"/>
              <a:gd name="connsiteY48" fmla="*/ 24201 h 143414"/>
              <a:gd name="connsiteX49" fmla="*/ 98597 w 138932"/>
              <a:gd name="connsiteY49" fmla="*/ 24201 h 143414"/>
              <a:gd name="connsiteX50" fmla="*/ 98597 w 138932"/>
              <a:gd name="connsiteY50" fmla="*/ 24201 h 143414"/>
              <a:gd name="connsiteX51" fmla="*/ 114283 w 138932"/>
              <a:gd name="connsiteY51" fmla="*/ 24201 h 143414"/>
              <a:gd name="connsiteX52" fmla="*/ 114283 w 138932"/>
              <a:gd name="connsiteY52" fmla="*/ 53780 h 143414"/>
              <a:gd name="connsiteX53" fmla="*/ 107561 w 138932"/>
              <a:gd name="connsiteY53" fmla="*/ 62296 h 143414"/>
              <a:gd name="connsiteX54" fmla="*/ 116524 w 138932"/>
              <a:gd name="connsiteY54" fmla="*/ 71259 h 143414"/>
              <a:gd name="connsiteX55" fmla="*/ 125488 w 138932"/>
              <a:gd name="connsiteY55" fmla="*/ 62296 h 143414"/>
              <a:gd name="connsiteX56" fmla="*/ 118765 w 138932"/>
              <a:gd name="connsiteY56" fmla="*/ 53780 h 143414"/>
              <a:gd name="connsiteX57" fmla="*/ 118765 w 138932"/>
              <a:gd name="connsiteY57" fmla="*/ 24201 h 143414"/>
              <a:gd name="connsiteX58" fmla="*/ 136692 w 138932"/>
              <a:gd name="connsiteY58" fmla="*/ 24201 h 143414"/>
              <a:gd name="connsiteX59" fmla="*/ 138933 w 138932"/>
              <a:gd name="connsiteY59" fmla="*/ 21960 h 143414"/>
              <a:gd name="connsiteX60" fmla="*/ 135796 w 138932"/>
              <a:gd name="connsiteY60" fmla="*/ 19271 h 143414"/>
              <a:gd name="connsiteX61" fmla="*/ 59159 w 138932"/>
              <a:gd name="connsiteY61" fmla="*/ 135796 h 143414"/>
              <a:gd name="connsiteX62" fmla="*/ 59159 w 138932"/>
              <a:gd name="connsiteY62" fmla="*/ 140726 h 143414"/>
              <a:gd name="connsiteX63" fmla="*/ 36750 w 138932"/>
              <a:gd name="connsiteY63" fmla="*/ 140726 h 143414"/>
              <a:gd name="connsiteX64" fmla="*/ 36750 w 138932"/>
              <a:gd name="connsiteY64" fmla="*/ 131762 h 143414"/>
              <a:gd name="connsiteX65" fmla="*/ 55125 w 138932"/>
              <a:gd name="connsiteY65" fmla="*/ 131762 h 143414"/>
              <a:gd name="connsiteX66" fmla="*/ 59159 w 138932"/>
              <a:gd name="connsiteY66" fmla="*/ 135796 h 143414"/>
              <a:gd name="connsiteX67" fmla="*/ 59159 w 138932"/>
              <a:gd name="connsiteY67" fmla="*/ 43024 h 143414"/>
              <a:gd name="connsiteX68" fmla="*/ 59159 w 138932"/>
              <a:gd name="connsiteY68" fmla="*/ 60055 h 143414"/>
              <a:gd name="connsiteX69" fmla="*/ 36750 w 138932"/>
              <a:gd name="connsiteY69" fmla="*/ 60055 h 143414"/>
              <a:gd name="connsiteX70" fmla="*/ 36750 w 138932"/>
              <a:gd name="connsiteY70" fmla="*/ 37646 h 143414"/>
              <a:gd name="connsiteX71" fmla="*/ 53780 w 138932"/>
              <a:gd name="connsiteY71" fmla="*/ 37646 h 143414"/>
              <a:gd name="connsiteX72" fmla="*/ 59159 w 138932"/>
              <a:gd name="connsiteY72" fmla="*/ 43024 h 143414"/>
              <a:gd name="connsiteX73" fmla="*/ 120110 w 138932"/>
              <a:gd name="connsiteY73" fmla="*/ 61399 h 143414"/>
              <a:gd name="connsiteX74" fmla="*/ 115628 w 138932"/>
              <a:gd name="connsiteY74" fmla="*/ 65881 h 143414"/>
              <a:gd name="connsiteX75" fmla="*/ 111146 w 138932"/>
              <a:gd name="connsiteY75" fmla="*/ 61399 h 143414"/>
              <a:gd name="connsiteX76" fmla="*/ 115628 w 138932"/>
              <a:gd name="connsiteY76" fmla="*/ 56917 h 143414"/>
              <a:gd name="connsiteX77" fmla="*/ 120110 w 138932"/>
              <a:gd name="connsiteY77" fmla="*/ 61399 h 143414"/>
              <a:gd name="connsiteX78" fmla="*/ 18823 w 138932"/>
              <a:gd name="connsiteY78" fmla="*/ 33165 h 143414"/>
              <a:gd name="connsiteX79" fmla="*/ 9860 w 138932"/>
              <a:gd name="connsiteY79" fmla="*/ 33165 h 143414"/>
              <a:gd name="connsiteX80" fmla="*/ 9860 w 138932"/>
              <a:gd name="connsiteY80" fmla="*/ 10756 h 143414"/>
              <a:gd name="connsiteX81" fmla="*/ 18823 w 138932"/>
              <a:gd name="connsiteY81" fmla="*/ 10756 h 143414"/>
              <a:gd name="connsiteX82" fmla="*/ 18823 w 138932"/>
              <a:gd name="connsiteY82" fmla="*/ 33165 h 143414"/>
              <a:gd name="connsiteX83" fmla="*/ 23305 w 138932"/>
              <a:gd name="connsiteY83" fmla="*/ 19271 h 143414"/>
              <a:gd name="connsiteX84" fmla="*/ 23305 w 138932"/>
              <a:gd name="connsiteY84" fmla="*/ 16582 h 143414"/>
              <a:gd name="connsiteX85" fmla="*/ 45713 w 138932"/>
              <a:gd name="connsiteY85" fmla="*/ 5378 h 143414"/>
              <a:gd name="connsiteX86" fmla="*/ 45713 w 138932"/>
              <a:gd name="connsiteY86" fmla="*/ 19271 h 143414"/>
              <a:gd name="connsiteX87" fmla="*/ 23305 w 138932"/>
              <a:gd name="connsiteY87" fmla="*/ 19271 h 143414"/>
              <a:gd name="connsiteX88" fmla="*/ 50195 w 138932"/>
              <a:gd name="connsiteY88" fmla="*/ 4930 h 143414"/>
              <a:gd name="connsiteX89" fmla="*/ 85600 w 138932"/>
              <a:gd name="connsiteY89" fmla="*/ 18823 h 143414"/>
              <a:gd name="connsiteX90" fmla="*/ 50195 w 138932"/>
              <a:gd name="connsiteY90" fmla="*/ 18823 h 143414"/>
              <a:gd name="connsiteX91" fmla="*/ 50195 w 138932"/>
              <a:gd name="connsiteY91" fmla="*/ 4930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8932" h="143414">
                <a:moveTo>
                  <a:pt x="135796" y="19271"/>
                </a:moveTo>
                <a:lnTo>
                  <a:pt x="98149" y="19271"/>
                </a:lnTo>
                <a:lnTo>
                  <a:pt x="49299" y="0"/>
                </a:lnTo>
                <a:cubicBezTo>
                  <a:pt x="49299" y="0"/>
                  <a:pt x="49299" y="0"/>
                  <a:pt x="49299" y="0"/>
                </a:cubicBezTo>
                <a:cubicBezTo>
                  <a:pt x="48851" y="0"/>
                  <a:pt x="48851" y="0"/>
                  <a:pt x="48402" y="0"/>
                </a:cubicBezTo>
                <a:cubicBezTo>
                  <a:pt x="47954" y="0"/>
                  <a:pt x="47506" y="0"/>
                  <a:pt x="47506" y="448"/>
                </a:cubicBezTo>
                <a:cubicBezTo>
                  <a:pt x="47506" y="448"/>
                  <a:pt x="47506" y="448"/>
                  <a:pt x="47506" y="448"/>
                </a:cubicBezTo>
                <a:lnTo>
                  <a:pt x="24201" y="12101"/>
                </a:lnTo>
                <a:lnTo>
                  <a:pt x="24201" y="11204"/>
                </a:lnTo>
                <a:cubicBezTo>
                  <a:pt x="24201" y="8515"/>
                  <a:pt x="22409" y="6723"/>
                  <a:pt x="19720" y="6723"/>
                </a:cubicBezTo>
                <a:lnTo>
                  <a:pt x="10756" y="6723"/>
                </a:lnTo>
                <a:cubicBezTo>
                  <a:pt x="8067" y="6723"/>
                  <a:pt x="6274" y="8515"/>
                  <a:pt x="6274" y="11204"/>
                </a:cubicBezTo>
                <a:lnTo>
                  <a:pt x="6274" y="19720"/>
                </a:lnTo>
                <a:lnTo>
                  <a:pt x="2241" y="19720"/>
                </a:lnTo>
                <a:cubicBezTo>
                  <a:pt x="896" y="19720"/>
                  <a:pt x="0" y="20616"/>
                  <a:pt x="0" y="21960"/>
                </a:cubicBezTo>
                <a:cubicBezTo>
                  <a:pt x="0" y="23305"/>
                  <a:pt x="896" y="24201"/>
                  <a:pt x="2241" y="24201"/>
                </a:cubicBezTo>
                <a:lnTo>
                  <a:pt x="6274" y="24201"/>
                </a:lnTo>
                <a:lnTo>
                  <a:pt x="6274" y="33613"/>
                </a:lnTo>
                <a:cubicBezTo>
                  <a:pt x="6274" y="36302"/>
                  <a:pt x="8067" y="38094"/>
                  <a:pt x="10756" y="38094"/>
                </a:cubicBezTo>
                <a:lnTo>
                  <a:pt x="19720" y="38094"/>
                </a:lnTo>
                <a:cubicBezTo>
                  <a:pt x="22409" y="38094"/>
                  <a:pt x="24201" y="36302"/>
                  <a:pt x="24201" y="33613"/>
                </a:cubicBezTo>
                <a:lnTo>
                  <a:pt x="24201" y="24201"/>
                </a:lnTo>
                <a:lnTo>
                  <a:pt x="46610" y="24201"/>
                </a:lnTo>
                <a:lnTo>
                  <a:pt x="46610" y="33613"/>
                </a:lnTo>
                <a:lnTo>
                  <a:pt x="36302" y="33613"/>
                </a:lnTo>
                <a:cubicBezTo>
                  <a:pt x="34509" y="33613"/>
                  <a:pt x="33165" y="34958"/>
                  <a:pt x="33165" y="36750"/>
                </a:cubicBezTo>
                <a:lnTo>
                  <a:pt x="33165" y="61848"/>
                </a:lnTo>
                <a:cubicBezTo>
                  <a:pt x="33165" y="63640"/>
                  <a:pt x="34509" y="64985"/>
                  <a:pt x="36302" y="64985"/>
                </a:cubicBezTo>
                <a:lnTo>
                  <a:pt x="46610" y="64985"/>
                </a:lnTo>
                <a:lnTo>
                  <a:pt x="46610" y="127729"/>
                </a:lnTo>
                <a:lnTo>
                  <a:pt x="37646" y="127729"/>
                </a:lnTo>
                <a:cubicBezTo>
                  <a:pt x="34957" y="127729"/>
                  <a:pt x="33165" y="129521"/>
                  <a:pt x="33165" y="132210"/>
                </a:cubicBezTo>
                <a:lnTo>
                  <a:pt x="33165" y="141174"/>
                </a:lnTo>
                <a:cubicBezTo>
                  <a:pt x="33165" y="143863"/>
                  <a:pt x="34957" y="145655"/>
                  <a:pt x="37646" y="145655"/>
                </a:cubicBezTo>
                <a:lnTo>
                  <a:pt x="60055" y="145655"/>
                </a:lnTo>
                <a:cubicBezTo>
                  <a:pt x="62744" y="145655"/>
                  <a:pt x="64537" y="143863"/>
                  <a:pt x="64537" y="141174"/>
                </a:cubicBezTo>
                <a:lnTo>
                  <a:pt x="64537" y="136244"/>
                </a:lnTo>
                <a:cubicBezTo>
                  <a:pt x="64537" y="131314"/>
                  <a:pt x="60503" y="127729"/>
                  <a:pt x="56021" y="127729"/>
                </a:cubicBezTo>
                <a:lnTo>
                  <a:pt x="51092" y="127729"/>
                </a:lnTo>
                <a:lnTo>
                  <a:pt x="51092" y="64985"/>
                </a:lnTo>
                <a:lnTo>
                  <a:pt x="61399" y="64985"/>
                </a:lnTo>
                <a:cubicBezTo>
                  <a:pt x="63192" y="64985"/>
                  <a:pt x="64537" y="63640"/>
                  <a:pt x="64537" y="61848"/>
                </a:cubicBezTo>
                <a:lnTo>
                  <a:pt x="64537" y="43472"/>
                </a:lnTo>
                <a:cubicBezTo>
                  <a:pt x="64537" y="42128"/>
                  <a:pt x="64088" y="41231"/>
                  <a:pt x="63192" y="40335"/>
                </a:cubicBezTo>
                <a:lnTo>
                  <a:pt x="57814" y="34958"/>
                </a:lnTo>
                <a:cubicBezTo>
                  <a:pt x="56918" y="34061"/>
                  <a:pt x="56021" y="33613"/>
                  <a:pt x="54677" y="33613"/>
                </a:cubicBezTo>
                <a:lnTo>
                  <a:pt x="51092" y="33613"/>
                </a:lnTo>
                <a:lnTo>
                  <a:pt x="51092" y="24201"/>
                </a:lnTo>
                <a:lnTo>
                  <a:pt x="98597" y="24201"/>
                </a:lnTo>
                <a:cubicBezTo>
                  <a:pt x="98597" y="24201"/>
                  <a:pt x="98597" y="24201"/>
                  <a:pt x="98597" y="24201"/>
                </a:cubicBezTo>
                <a:cubicBezTo>
                  <a:pt x="98597" y="24201"/>
                  <a:pt x="98597" y="24201"/>
                  <a:pt x="98597" y="24201"/>
                </a:cubicBezTo>
                <a:lnTo>
                  <a:pt x="114283" y="24201"/>
                </a:lnTo>
                <a:lnTo>
                  <a:pt x="114283" y="53780"/>
                </a:lnTo>
                <a:cubicBezTo>
                  <a:pt x="110250" y="54677"/>
                  <a:pt x="107561" y="58262"/>
                  <a:pt x="107561" y="62296"/>
                </a:cubicBezTo>
                <a:cubicBezTo>
                  <a:pt x="107561" y="67226"/>
                  <a:pt x="111594" y="71259"/>
                  <a:pt x="116524" y="71259"/>
                </a:cubicBezTo>
                <a:cubicBezTo>
                  <a:pt x="121454" y="71259"/>
                  <a:pt x="125488" y="67226"/>
                  <a:pt x="125488" y="62296"/>
                </a:cubicBezTo>
                <a:cubicBezTo>
                  <a:pt x="125488" y="58262"/>
                  <a:pt x="122799" y="54677"/>
                  <a:pt x="118765" y="53780"/>
                </a:cubicBezTo>
                <a:lnTo>
                  <a:pt x="118765" y="24201"/>
                </a:lnTo>
                <a:lnTo>
                  <a:pt x="136692" y="24201"/>
                </a:lnTo>
                <a:cubicBezTo>
                  <a:pt x="138036" y="24201"/>
                  <a:pt x="138933" y="23305"/>
                  <a:pt x="138933" y="21960"/>
                </a:cubicBezTo>
                <a:cubicBezTo>
                  <a:pt x="138933" y="20616"/>
                  <a:pt x="137140" y="19271"/>
                  <a:pt x="135796" y="19271"/>
                </a:cubicBezTo>
                <a:close/>
                <a:moveTo>
                  <a:pt x="59159" y="135796"/>
                </a:moveTo>
                <a:lnTo>
                  <a:pt x="59159" y="140726"/>
                </a:lnTo>
                <a:lnTo>
                  <a:pt x="36750" y="140726"/>
                </a:lnTo>
                <a:lnTo>
                  <a:pt x="36750" y="131762"/>
                </a:lnTo>
                <a:lnTo>
                  <a:pt x="55125" y="131762"/>
                </a:lnTo>
                <a:cubicBezTo>
                  <a:pt x="57366" y="131762"/>
                  <a:pt x="59159" y="133555"/>
                  <a:pt x="59159" y="135796"/>
                </a:cubicBezTo>
                <a:close/>
                <a:moveTo>
                  <a:pt x="59159" y="43024"/>
                </a:moveTo>
                <a:lnTo>
                  <a:pt x="59159" y="60055"/>
                </a:lnTo>
                <a:lnTo>
                  <a:pt x="36750" y="60055"/>
                </a:lnTo>
                <a:lnTo>
                  <a:pt x="36750" y="37646"/>
                </a:lnTo>
                <a:lnTo>
                  <a:pt x="53780" y="37646"/>
                </a:lnTo>
                <a:lnTo>
                  <a:pt x="59159" y="43024"/>
                </a:lnTo>
                <a:close/>
                <a:moveTo>
                  <a:pt x="120110" y="61399"/>
                </a:moveTo>
                <a:cubicBezTo>
                  <a:pt x="120110" y="64089"/>
                  <a:pt x="118317" y="65881"/>
                  <a:pt x="115628" y="65881"/>
                </a:cubicBezTo>
                <a:cubicBezTo>
                  <a:pt x="112939" y="65881"/>
                  <a:pt x="111146" y="64089"/>
                  <a:pt x="111146" y="61399"/>
                </a:cubicBezTo>
                <a:cubicBezTo>
                  <a:pt x="111146" y="58710"/>
                  <a:pt x="112939" y="56917"/>
                  <a:pt x="115628" y="56917"/>
                </a:cubicBezTo>
                <a:cubicBezTo>
                  <a:pt x="117869" y="56917"/>
                  <a:pt x="120110" y="59158"/>
                  <a:pt x="120110" y="61399"/>
                </a:cubicBezTo>
                <a:close/>
                <a:moveTo>
                  <a:pt x="18823" y="33165"/>
                </a:moveTo>
                <a:lnTo>
                  <a:pt x="9860" y="33165"/>
                </a:lnTo>
                <a:lnTo>
                  <a:pt x="9860" y="10756"/>
                </a:lnTo>
                <a:lnTo>
                  <a:pt x="18823" y="10756"/>
                </a:lnTo>
                <a:lnTo>
                  <a:pt x="18823" y="33165"/>
                </a:lnTo>
                <a:close/>
                <a:moveTo>
                  <a:pt x="23305" y="19271"/>
                </a:moveTo>
                <a:lnTo>
                  <a:pt x="23305" y="16582"/>
                </a:lnTo>
                <a:lnTo>
                  <a:pt x="45713" y="5378"/>
                </a:lnTo>
                <a:lnTo>
                  <a:pt x="45713" y="19271"/>
                </a:lnTo>
                <a:lnTo>
                  <a:pt x="23305" y="19271"/>
                </a:lnTo>
                <a:close/>
                <a:moveTo>
                  <a:pt x="50195" y="4930"/>
                </a:moveTo>
                <a:lnTo>
                  <a:pt x="85600" y="18823"/>
                </a:lnTo>
                <a:lnTo>
                  <a:pt x="50195" y="18823"/>
                </a:lnTo>
                <a:lnTo>
                  <a:pt x="50195" y="4930"/>
                </a:lnTo>
                <a:close/>
              </a:path>
            </a:pathLst>
          </a:custGeom>
          <a:solidFill>
            <a:srgbClr val="231F20"/>
          </a:solidFill>
          <a:ln w="4477" cap="flat">
            <a:noFill/>
            <a:prstDash val="solid"/>
            <a:miter/>
          </a:ln>
        </p:spPr>
        <p:txBody>
          <a:bodyPr rtlCol="0" anchor="ctr"/>
          <a:lstStyle/>
          <a:p>
            <a:endParaRPr lang="en-US"/>
          </a:p>
        </p:txBody>
      </p:sp>
      <p:grpSp>
        <p:nvGrpSpPr>
          <p:cNvPr id="3849" name="Group 3848">
            <a:extLst>
              <a:ext uri="{FF2B5EF4-FFF2-40B4-BE49-F238E27FC236}">
                <a16:creationId xmlns:a16="http://schemas.microsoft.com/office/drawing/2014/main" id="{6043D103-70BE-42CD-B653-869B81151D3D}"/>
              </a:ext>
              <a:ext uri="{C183D7F6-B498-43B3-948B-1728B52AA6E4}">
                <adec:decorative xmlns:adec="http://schemas.microsoft.com/office/drawing/2017/decorative" val="1"/>
              </a:ext>
            </a:extLst>
          </p:cNvPr>
          <p:cNvGrpSpPr>
            <a:grpSpLocks noChangeAspect="1"/>
          </p:cNvGrpSpPr>
          <p:nvPr/>
        </p:nvGrpSpPr>
        <p:grpSpPr>
          <a:xfrm>
            <a:off x="1105750" y="2057735"/>
            <a:ext cx="144086" cy="152378"/>
            <a:chOff x="7007376" y="4904271"/>
            <a:chExt cx="144086" cy="152378"/>
          </a:xfrm>
        </p:grpSpPr>
        <p:sp>
          <p:nvSpPr>
            <p:cNvPr id="3850" name="Freeform: Shape 3849">
              <a:extLst>
                <a:ext uri="{FF2B5EF4-FFF2-40B4-BE49-F238E27FC236}">
                  <a16:creationId xmlns:a16="http://schemas.microsoft.com/office/drawing/2014/main" id="{9BF62B54-338F-40A1-AA40-B45410854E38}"/>
                </a:ext>
              </a:extLst>
            </p:cNvPr>
            <p:cNvSpPr/>
            <p:nvPr/>
          </p:nvSpPr>
          <p:spPr>
            <a:xfrm>
              <a:off x="7007376" y="4904271"/>
              <a:ext cx="98597" cy="152378"/>
            </a:xfrm>
            <a:custGeom>
              <a:avLst/>
              <a:gdLst>
                <a:gd name="connsiteX0" fmla="*/ 74620 w 98597"/>
                <a:gd name="connsiteY0" fmla="*/ 95949 h 152377"/>
                <a:gd name="connsiteX1" fmla="*/ 74620 w 98597"/>
                <a:gd name="connsiteY1" fmla="*/ 59199 h 152377"/>
                <a:gd name="connsiteX2" fmla="*/ 73276 w 98597"/>
                <a:gd name="connsiteY2" fmla="*/ 48891 h 152377"/>
                <a:gd name="connsiteX3" fmla="*/ 93892 w 98597"/>
                <a:gd name="connsiteY3" fmla="*/ 43961 h 152377"/>
                <a:gd name="connsiteX4" fmla="*/ 84928 w 98597"/>
                <a:gd name="connsiteY4" fmla="*/ 57406 h 152377"/>
                <a:gd name="connsiteX5" fmla="*/ 85376 w 98597"/>
                <a:gd name="connsiteY5" fmla="*/ 60544 h 152377"/>
                <a:gd name="connsiteX6" fmla="*/ 86721 w 98597"/>
                <a:gd name="connsiteY6" fmla="*/ 60992 h 152377"/>
                <a:gd name="connsiteX7" fmla="*/ 88514 w 98597"/>
                <a:gd name="connsiteY7" fmla="*/ 60095 h 152377"/>
                <a:gd name="connsiteX8" fmla="*/ 100166 w 98597"/>
                <a:gd name="connsiteY8" fmla="*/ 42168 h 152377"/>
                <a:gd name="connsiteX9" fmla="*/ 100166 w 98597"/>
                <a:gd name="connsiteY9" fmla="*/ 42168 h 152377"/>
                <a:gd name="connsiteX10" fmla="*/ 100166 w 98597"/>
                <a:gd name="connsiteY10" fmla="*/ 42168 h 152377"/>
                <a:gd name="connsiteX11" fmla="*/ 100166 w 98597"/>
                <a:gd name="connsiteY11" fmla="*/ 41720 h 152377"/>
                <a:gd name="connsiteX12" fmla="*/ 100166 w 98597"/>
                <a:gd name="connsiteY12" fmla="*/ 41272 h 152377"/>
                <a:gd name="connsiteX13" fmla="*/ 100166 w 98597"/>
                <a:gd name="connsiteY13" fmla="*/ 40824 h 152377"/>
                <a:gd name="connsiteX14" fmla="*/ 100166 w 98597"/>
                <a:gd name="connsiteY14" fmla="*/ 40376 h 152377"/>
                <a:gd name="connsiteX15" fmla="*/ 100166 w 98597"/>
                <a:gd name="connsiteY15" fmla="*/ 39928 h 152377"/>
                <a:gd name="connsiteX16" fmla="*/ 100166 w 98597"/>
                <a:gd name="connsiteY16" fmla="*/ 39479 h 152377"/>
                <a:gd name="connsiteX17" fmla="*/ 99718 w 98597"/>
                <a:gd name="connsiteY17" fmla="*/ 39031 h 152377"/>
                <a:gd name="connsiteX18" fmla="*/ 99270 w 98597"/>
                <a:gd name="connsiteY18" fmla="*/ 39031 h 152377"/>
                <a:gd name="connsiteX19" fmla="*/ 99270 w 98597"/>
                <a:gd name="connsiteY19" fmla="*/ 39031 h 152377"/>
                <a:gd name="connsiteX20" fmla="*/ 99270 w 98597"/>
                <a:gd name="connsiteY20" fmla="*/ 39031 h 152377"/>
                <a:gd name="connsiteX21" fmla="*/ 80447 w 98597"/>
                <a:gd name="connsiteY21" fmla="*/ 29620 h 152377"/>
                <a:gd name="connsiteX22" fmla="*/ 77309 w 98597"/>
                <a:gd name="connsiteY22" fmla="*/ 30516 h 152377"/>
                <a:gd name="connsiteX23" fmla="*/ 78206 w 98597"/>
                <a:gd name="connsiteY23" fmla="*/ 33653 h 152377"/>
                <a:gd name="connsiteX24" fmla="*/ 91203 w 98597"/>
                <a:gd name="connsiteY24" fmla="*/ 39928 h 152377"/>
                <a:gd name="connsiteX25" fmla="*/ 71931 w 98597"/>
                <a:gd name="connsiteY25" fmla="*/ 44858 h 152377"/>
                <a:gd name="connsiteX26" fmla="*/ 31148 w 98597"/>
                <a:gd name="connsiteY26" fmla="*/ 13037 h 152377"/>
                <a:gd name="connsiteX27" fmla="*/ 43248 w 98597"/>
                <a:gd name="connsiteY27" fmla="*/ 4074 h 152377"/>
                <a:gd name="connsiteX28" fmla="*/ 43697 w 98597"/>
                <a:gd name="connsiteY28" fmla="*/ 937 h 152377"/>
                <a:gd name="connsiteX29" fmla="*/ 40559 w 98597"/>
                <a:gd name="connsiteY29" fmla="*/ 489 h 152377"/>
                <a:gd name="connsiteX30" fmla="*/ 23529 w 98597"/>
                <a:gd name="connsiteY30" fmla="*/ 12589 h 152377"/>
                <a:gd name="connsiteX31" fmla="*/ 23529 w 98597"/>
                <a:gd name="connsiteY31" fmla="*/ 12589 h 152377"/>
                <a:gd name="connsiteX32" fmla="*/ 23529 w 98597"/>
                <a:gd name="connsiteY32" fmla="*/ 12589 h 152377"/>
                <a:gd name="connsiteX33" fmla="*/ 23529 w 98597"/>
                <a:gd name="connsiteY33" fmla="*/ 13037 h 152377"/>
                <a:gd name="connsiteX34" fmla="*/ 23081 w 98597"/>
                <a:gd name="connsiteY34" fmla="*/ 13486 h 152377"/>
                <a:gd name="connsiteX35" fmla="*/ 23081 w 98597"/>
                <a:gd name="connsiteY35" fmla="*/ 13934 h 152377"/>
                <a:gd name="connsiteX36" fmla="*/ 23081 w 98597"/>
                <a:gd name="connsiteY36" fmla="*/ 14382 h 152377"/>
                <a:gd name="connsiteX37" fmla="*/ 23081 w 98597"/>
                <a:gd name="connsiteY37" fmla="*/ 14830 h 152377"/>
                <a:gd name="connsiteX38" fmla="*/ 23081 w 98597"/>
                <a:gd name="connsiteY38" fmla="*/ 15278 h 152377"/>
                <a:gd name="connsiteX39" fmla="*/ 23081 w 98597"/>
                <a:gd name="connsiteY39" fmla="*/ 15726 h 152377"/>
                <a:gd name="connsiteX40" fmla="*/ 23081 w 98597"/>
                <a:gd name="connsiteY40" fmla="*/ 16175 h 152377"/>
                <a:gd name="connsiteX41" fmla="*/ 23081 w 98597"/>
                <a:gd name="connsiteY41" fmla="*/ 16175 h 152377"/>
                <a:gd name="connsiteX42" fmla="*/ 23081 w 98597"/>
                <a:gd name="connsiteY42" fmla="*/ 16175 h 152377"/>
                <a:gd name="connsiteX43" fmla="*/ 38319 w 98597"/>
                <a:gd name="connsiteY43" fmla="*/ 33205 h 152377"/>
                <a:gd name="connsiteX44" fmla="*/ 40111 w 98597"/>
                <a:gd name="connsiteY44" fmla="*/ 34101 h 152377"/>
                <a:gd name="connsiteX45" fmla="*/ 41456 w 98597"/>
                <a:gd name="connsiteY45" fmla="*/ 33653 h 152377"/>
                <a:gd name="connsiteX46" fmla="*/ 41456 w 98597"/>
                <a:gd name="connsiteY46" fmla="*/ 30516 h 152377"/>
                <a:gd name="connsiteX47" fmla="*/ 30251 w 98597"/>
                <a:gd name="connsiteY47" fmla="*/ 17967 h 152377"/>
                <a:gd name="connsiteX48" fmla="*/ 67450 w 98597"/>
                <a:gd name="connsiteY48" fmla="*/ 47546 h 152377"/>
                <a:gd name="connsiteX49" fmla="*/ 42352 w 98597"/>
                <a:gd name="connsiteY49" fmla="*/ 90571 h 152377"/>
                <a:gd name="connsiteX50" fmla="*/ 19944 w 98597"/>
                <a:gd name="connsiteY50" fmla="*/ 56062 h 152377"/>
                <a:gd name="connsiteX51" fmla="*/ 19944 w 98597"/>
                <a:gd name="connsiteY51" fmla="*/ 48443 h 152377"/>
                <a:gd name="connsiteX52" fmla="*/ 30700 w 98597"/>
                <a:gd name="connsiteY52" fmla="*/ 60544 h 152377"/>
                <a:gd name="connsiteX53" fmla="*/ 32492 w 98597"/>
                <a:gd name="connsiteY53" fmla="*/ 61440 h 152377"/>
                <a:gd name="connsiteX54" fmla="*/ 33837 w 98597"/>
                <a:gd name="connsiteY54" fmla="*/ 60992 h 152377"/>
                <a:gd name="connsiteX55" fmla="*/ 33837 w 98597"/>
                <a:gd name="connsiteY55" fmla="*/ 57854 h 152377"/>
                <a:gd name="connsiteX56" fmla="*/ 19047 w 98597"/>
                <a:gd name="connsiteY56" fmla="*/ 41272 h 152377"/>
                <a:gd name="connsiteX57" fmla="*/ 19047 w 98597"/>
                <a:gd name="connsiteY57" fmla="*/ 41272 h 152377"/>
                <a:gd name="connsiteX58" fmla="*/ 19047 w 98597"/>
                <a:gd name="connsiteY58" fmla="*/ 41272 h 152377"/>
                <a:gd name="connsiteX59" fmla="*/ 19047 w 98597"/>
                <a:gd name="connsiteY59" fmla="*/ 41272 h 152377"/>
                <a:gd name="connsiteX60" fmla="*/ 18599 w 98597"/>
                <a:gd name="connsiteY60" fmla="*/ 41272 h 152377"/>
                <a:gd name="connsiteX61" fmla="*/ 18151 w 98597"/>
                <a:gd name="connsiteY61" fmla="*/ 41272 h 152377"/>
                <a:gd name="connsiteX62" fmla="*/ 18151 w 98597"/>
                <a:gd name="connsiteY62" fmla="*/ 41272 h 152377"/>
                <a:gd name="connsiteX63" fmla="*/ 17703 w 98597"/>
                <a:gd name="connsiteY63" fmla="*/ 41272 h 152377"/>
                <a:gd name="connsiteX64" fmla="*/ 17255 w 98597"/>
                <a:gd name="connsiteY64" fmla="*/ 41272 h 152377"/>
                <a:gd name="connsiteX65" fmla="*/ 17255 w 98597"/>
                <a:gd name="connsiteY65" fmla="*/ 41272 h 152377"/>
                <a:gd name="connsiteX66" fmla="*/ 17255 w 98597"/>
                <a:gd name="connsiteY66" fmla="*/ 41272 h 152377"/>
                <a:gd name="connsiteX67" fmla="*/ 16806 w 98597"/>
                <a:gd name="connsiteY67" fmla="*/ 41272 h 152377"/>
                <a:gd name="connsiteX68" fmla="*/ 16358 w 98597"/>
                <a:gd name="connsiteY68" fmla="*/ 41272 h 152377"/>
                <a:gd name="connsiteX69" fmla="*/ 16358 w 98597"/>
                <a:gd name="connsiteY69" fmla="*/ 41272 h 152377"/>
                <a:gd name="connsiteX70" fmla="*/ 15910 w 98597"/>
                <a:gd name="connsiteY70" fmla="*/ 41272 h 152377"/>
                <a:gd name="connsiteX71" fmla="*/ 15462 w 98597"/>
                <a:gd name="connsiteY71" fmla="*/ 41272 h 152377"/>
                <a:gd name="connsiteX72" fmla="*/ 15462 w 98597"/>
                <a:gd name="connsiteY72" fmla="*/ 41272 h 152377"/>
                <a:gd name="connsiteX73" fmla="*/ 15462 w 98597"/>
                <a:gd name="connsiteY73" fmla="*/ 41272 h 152377"/>
                <a:gd name="connsiteX74" fmla="*/ 15462 w 98597"/>
                <a:gd name="connsiteY74" fmla="*/ 41272 h 152377"/>
                <a:gd name="connsiteX75" fmla="*/ 672 w 98597"/>
                <a:gd name="connsiteY75" fmla="*/ 57854 h 152377"/>
                <a:gd name="connsiteX76" fmla="*/ 672 w 98597"/>
                <a:gd name="connsiteY76" fmla="*/ 60992 h 152377"/>
                <a:gd name="connsiteX77" fmla="*/ 2017 w 98597"/>
                <a:gd name="connsiteY77" fmla="*/ 61440 h 152377"/>
                <a:gd name="connsiteX78" fmla="*/ 3809 w 98597"/>
                <a:gd name="connsiteY78" fmla="*/ 60544 h 152377"/>
                <a:gd name="connsiteX79" fmla="*/ 14566 w 98597"/>
                <a:gd name="connsiteY79" fmla="*/ 48443 h 152377"/>
                <a:gd name="connsiteX80" fmla="*/ 14566 w 98597"/>
                <a:gd name="connsiteY80" fmla="*/ 56062 h 152377"/>
                <a:gd name="connsiteX81" fmla="*/ 41456 w 98597"/>
                <a:gd name="connsiteY81" fmla="*/ 95501 h 152377"/>
                <a:gd name="connsiteX82" fmla="*/ 41456 w 98597"/>
                <a:gd name="connsiteY82" fmla="*/ 150178 h 152377"/>
                <a:gd name="connsiteX83" fmla="*/ 43697 w 98597"/>
                <a:gd name="connsiteY83" fmla="*/ 152418 h 152377"/>
                <a:gd name="connsiteX84" fmla="*/ 45937 w 98597"/>
                <a:gd name="connsiteY84" fmla="*/ 150178 h 152377"/>
                <a:gd name="connsiteX85" fmla="*/ 45937 w 98597"/>
                <a:gd name="connsiteY85" fmla="*/ 97293 h 152377"/>
                <a:gd name="connsiteX86" fmla="*/ 57142 w 98597"/>
                <a:gd name="connsiteY86" fmla="*/ 98638 h 152377"/>
                <a:gd name="connsiteX87" fmla="*/ 68346 w 98597"/>
                <a:gd name="connsiteY87" fmla="*/ 100431 h 152377"/>
                <a:gd name="connsiteX88" fmla="*/ 68346 w 98597"/>
                <a:gd name="connsiteY88" fmla="*/ 150178 h 152377"/>
                <a:gd name="connsiteX89" fmla="*/ 70587 w 98597"/>
                <a:gd name="connsiteY89" fmla="*/ 152418 h 152377"/>
                <a:gd name="connsiteX90" fmla="*/ 72828 w 98597"/>
                <a:gd name="connsiteY90" fmla="*/ 150178 h 152377"/>
                <a:gd name="connsiteX91" fmla="*/ 72828 w 98597"/>
                <a:gd name="connsiteY91" fmla="*/ 102223 h 152377"/>
                <a:gd name="connsiteX92" fmla="*/ 95236 w 98597"/>
                <a:gd name="connsiteY92" fmla="*/ 136732 h 152377"/>
                <a:gd name="connsiteX93" fmla="*/ 95236 w 98597"/>
                <a:gd name="connsiteY93" fmla="*/ 150178 h 152377"/>
                <a:gd name="connsiteX94" fmla="*/ 97477 w 98597"/>
                <a:gd name="connsiteY94" fmla="*/ 152418 h 152377"/>
                <a:gd name="connsiteX95" fmla="*/ 99718 w 98597"/>
                <a:gd name="connsiteY95" fmla="*/ 150178 h 152377"/>
                <a:gd name="connsiteX96" fmla="*/ 99718 w 98597"/>
                <a:gd name="connsiteY96" fmla="*/ 136732 h 152377"/>
                <a:gd name="connsiteX97" fmla="*/ 74620 w 98597"/>
                <a:gd name="connsiteY97" fmla="*/ 95949 h 152377"/>
                <a:gd name="connsiteX98" fmla="*/ 58934 w 98597"/>
                <a:gd name="connsiteY98" fmla="*/ 92812 h 152377"/>
                <a:gd name="connsiteX99" fmla="*/ 47730 w 98597"/>
                <a:gd name="connsiteY99" fmla="*/ 91019 h 152377"/>
                <a:gd name="connsiteX100" fmla="*/ 47730 w 98597"/>
                <a:gd name="connsiteY100" fmla="*/ 90571 h 152377"/>
                <a:gd name="connsiteX101" fmla="*/ 69242 w 98597"/>
                <a:gd name="connsiteY101" fmla="*/ 51132 h 152377"/>
                <a:gd name="connsiteX102" fmla="*/ 70139 w 98597"/>
                <a:gd name="connsiteY102" fmla="*/ 59199 h 152377"/>
                <a:gd name="connsiteX103" fmla="*/ 70139 w 98597"/>
                <a:gd name="connsiteY103" fmla="*/ 94156 h 152377"/>
                <a:gd name="connsiteX104" fmla="*/ 58934 w 98597"/>
                <a:gd name="connsiteY104" fmla="*/ 9281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8597" h="152377">
                  <a:moveTo>
                    <a:pt x="74620" y="95949"/>
                  </a:moveTo>
                  <a:lnTo>
                    <a:pt x="74620" y="59199"/>
                  </a:lnTo>
                  <a:cubicBezTo>
                    <a:pt x="74620" y="55613"/>
                    <a:pt x="74172" y="52028"/>
                    <a:pt x="73276" y="48891"/>
                  </a:cubicBezTo>
                  <a:cubicBezTo>
                    <a:pt x="79550" y="45754"/>
                    <a:pt x="86273" y="43961"/>
                    <a:pt x="93892" y="43961"/>
                  </a:cubicBezTo>
                  <a:lnTo>
                    <a:pt x="84928" y="57406"/>
                  </a:lnTo>
                  <a:cubicBezTo>
                    <a:pt x="84032" y="58303"/>
                    <a:pt x="84480" y="59647"/>
                    <a:pt x="85376" y="60544"/>
                  </a:cubicBezTo>
                  <a:cubicBezTo>
                    <a:pt x="85825" y="60992"/>
                    <a:pt x="86273" y="60992"/>
                    <a:pt x="86721" y="60992"/>
                  </a:cubicBezTo>
                  <a:cubicBezTo>
                    <a:pt x="87617" y="60992"/>
                    <a:pt x="88065" y="60544"/>
                    <a:pt x="88514" y="60095"/>
                  </a:cubicBezTo>
                  <a:lnTo>
                    <a:pt x="100166" y="42168"/>
                  </a:lnTo>
                  <a:cubicBezTo>
                    <a:pt x="100166" y="42168"/>
                    <a:pt x="100166" y="42168"/>
                    <a:pt x="100166" y="42168"/>
                  </a:cubicBezTo>
                  <a:cubicBezTo>
                    <a:pt x="100166" y="42168"/>
                    <a:pt x="100166" y="42168"/>
                    <a:pt x="100166" y="42168"/>
                  </a:cubicBezTo>
                  <a:cubicBezTo>
                    <a:pt x="100166" y="42168"/>
                    <a:pt x="100166" y="42168"/>
                    <a:pt x="100166" y="41720"/>
                  </a:cubicBezTo>
                  <a:cubicBezTo>
                    <a:pt x="100166" y="41720"/>
                    <a:pt x="100166" y="41272"/>
                    <a:pt x="100166" y="41272"/>
                  </a:cubicBezTo>
                  <a:cubicBezTo>
                    <a:pt x="100166" y="41272"/>
                    <a:pt x="100166" y="40824"/>
                    <a:pt x="100166" y="40824"/>
                  </a:cubicBezTo>
                  <a:cubicBezTo>
                    <a:pt x="100166" y="40824"/>
                    <a:pt x="100166" y="40376"/>
                    <a:pt x="100166" y="40376"/>
                  </a:cubicBezTo>
                  <a:cubicBezTo>
                    <a:pt x="100166" y="40376"/>
                    <a:pt x="100166" y="39928"/>
                    <a:pt x="100166" y="39928"/>
                  </a:cubicBezTo>
                  <a:cubicBezTo>
                    <a:pt x="100166" y="39928"/>
                    <a:pt x="100166" y="39479"/>
                    <a:pt x="100166" y="39479"/>
                  </a:cubicBezTo>
                  <a:cubicBezTo>
                    <a:pt x="100166" y="39479"/>
                    <a:pt x="100166" y="39479"/>
                    <a:pt x="99718" y="39031"/>
                  </a:cubicBezTo>
                  <a:cubicBezTo>
                    <a:pt x="99718" y="39031"/>
                    <a:pt x="99718" y="39031"/>
                    <a:pt x="99270" y="39031"/>
                  </a:cubicBezTo>
                  <a:cubicBezTo>
                    <a:pt x="99270" y="39031"/>
                    <a:pt x="99270" y="39031"/>
                    <a:pt x="99270" y="39031"/>
                  </a:cubicBezTo>
                  <a:cubicBezTo>
                    <a:pt x="99270" y="39031"/>
                    <a:pt x="99270" y="39031"/>
                    <a:pt x="99270" y="39031"/>
                  </a:cubicBezTo>
                  <a:lnTo>
                    <a:pt x="80447" y="29620"/>
                  </a:lnTo>
                  <a:cubicBezTo>
                    <a:pt x="79550" y="29172"/>
                    <a:pt x="78206" y="29620"/>
                    <a:pt x="77309" y="30516"/>
                  </a:cubicBezTo>
                  <a:cubicBezTo>
                    <a:pt x="76861" y="31412"/>
                    <a:pt x="77309" y="32757"/>
                    <a:pt x="78206" y="33653"/>
                  </a:cubicBezTo>
                  <a:lnTo>
                    <a:pt x="91203" y="39928"/>
                  </a:lnTo>
                  <a:cubicBezTo>
                    <a:pt x="84480" y="40376"/>
                    <a:pt x="77758" y="42168"/>
                    <a:pt x="71931" y="44858"/>
                  </a:cubicBezTo>
                  <a:cubicBezTo>
                    <a:pt x="66105" y="27379"/>
                    <a:pt x="50419" y="14382"/>
                    <a:pt x="31148" y="13037"/>
                  </a:cubicBezTo>
                  <a:lnTo>
                    <a:pt x="43248" y="4074"/>
                  </a:lnTo>
                  <a:cubicBezTo>
                    <a:pt x="44145" y="3177"/>
                    <a:pt x="44593" y="1833"/>
                    <a:pt x="43697" y="937"/>
                  </a:cubicBezTo>
                  <a:cubicBezTo>
                    <a:pt x="42800" y="41"/>
                    <a:pt x="41456" y="-408"/>
                    <a:pt x="40559" y="489"/>
                  </a:cubicBezTo>
                  <a:lnTo>
                    <a:pt x="23529" y="12589"/>
                  </a:lnTo>
                  <a:cubicBezTo>
                    <a:pt x="23529" y="12589"/>
                    <a:pt x="23529" y="12589"/>
                    <a:pt x="23529" y="12589"/>
                  </a:cubicBezTo>
                  <a:cubicBezTo>
                    <a:pt x="23529" y="12589"/>
                    <a:pt x="23529" y="12589"/>
                    <a:pt x="23529" y="12589"/>
                  </a:cubicBezTo>
                  <a:cubicBezTo>
                    <a:pt x="23529" y="12589"/>
                    <a:pt x="23529" y="12589"/>
                    <a:pt x="23529" y="13037"/>
                  </a:cubicBezTo>
                  <a:cubicBezTo>
                    <a:pt x="23529" y="13037"/>
                    <a:pt x="23529" y="13486"/>
                    <a:pt x="23081" y="13486"/>
                  </a:cubicBezTo>
                  <a:cubicBezTo>
                    <a:pt x="23081" y="13486"/>
                    <a:pt x="23081" y="13934"/>
                    <a:pt x="23081" y="13934"/>
                  </a:cubicBezTo>
                  <a:cubicBezTo>
                    <a:pt x="23081" y="13934"/>
                    <a:pt x="23081" y="14382"/>
                    <a:pt x="23081" y="14382"/>
                  </a:cubicBezTo>
                  <a:cubicBezTo>
                    <a:pt x="23081" y="14382"/>
                    <a:pt x="23081" y="14830"/>
                    <a:pt x="23081" y="14830"/>
                  </a:cubicBezTo>
                  <a:cubicBezTo>
                    <a:pt x="23081" y="14830"/>
                    <a:pt x="23081" y="15278"/>
                    <a:pt x="23081" y="15278"/>
                  </a:cubicBezTo>
                  <a:cubicBezTo>
                    <a:pt x="23081" y="15278"/>
                    <a:pt x="23081" y="15726"/>
                    <a:pt x="23081" y="15726"/>
                  </a:cubicBezTo>
                  <a:cubicBezTo>
                    <a:pt x="23081" y="15726"/>
                    <a:pt x="23081" y="15726"/>
                    <a:pt x="23081" y="16175"/>
                  </a:cubicBezTo>
                  <a:cubicBezTo>
                    <a:pt x="23081" y="16175"/>
                    <a:pt x="23081" y="16175"/>
                    <a:pt x="23081" y="16175"/>
                  </a:cubicBezTo>
                  <a:cubicBezTo>
                    <a:pt x="23081" y="16175"/>
                    <a:pt x="23081" y="16175"/>
                    <a:pt x="23081" y="16175"/>
                  </a:cubicBezTo>
                  <a:lnTo>
                    <a:pt x="38319" y="33205"/>
                  </a:lnTo>
                  <a:cubicBezTo>
                    <a:pt x="38767" y="33653"/>
                    <a:pt x="39215" y="34101"/>
                    <a:pt x="40111" y="34101"/>
                  </a:cubicBezTo>
                  <a:cubicBezTo>
                    <a:pt x="40559" y="34101"/>
                    <a:pt x="41008" y="34101"/>
                    <a:pt x="41456" y="33653"/>
                  </a:cubicBezTo>
                  <a:cubicBezTo>
                    <a:pt x="42352" y="32757"/>
                    <a:pt x="42352" y="31412"/>
                    <a:pt x="41456" y="30516"/>
                  </a:cubicBezTo>
                  <a:lnTo>
                    <a:pt x="30251" y="17967"/>
                  </a:lnTo>
                  <a:cubicBezTo>
                    <a:pt x="47730" y="19312"/>
                    <a:pt x="62520" y="31412"/>
                    <a:pt x="67450" y="47546"/>
                  </a:cubicBezTo>
                  <a:cubicBezTo>
                    <a:pt x="52660" y="56510"/>
                    <a:pt x="42800" y="72196"/>
                    <a:pt x="42352" y="90571"/>
                  </a:cubicBezTo>
                  <a:cubicBezTo>
                    <a:pt x="28907" y="84745"/>
                    <a:pt x="19944" y="71299"/>
                    <a:pt x="19944" y="56062"/>
                  </a:cubicBezTo>
                  <a:lnTo>
                    <a:pt x="19944" y="48443"/>
                  </a:lnTo>
                  <a:lnTo>
                    <a:pt x="30700" y="60544"/>
                  </a:lnTo>
                  <a:cubicBezTo>
                    <a:pt x="31148" y="60992"/>
                    <a:pt x="31596" y="61440"/>
                    <a:pt x="32492" y="61440"/>
                  </a:cubicBezTo>
                  <a:cubicBezTo>
                    <a:pt x="32941" y="61440"/>
                    <a:pt x="33389" y="61440"/>
                    <a:pt x="33837" y="60992"/>
                  </a:cubicBezTo>
                  <a:cubicBezTo>
                    <a:pt x="34733" y="60095"/>
                    <a:pt x="34733" y="58751"/>
                    <a:pt x="33837" y="57854"/>
                  </a:cubicBezTo>
                  <a:lnTo>
                    <a:pt x="19047" y="41272"/>
                  </a:lnTo>
                  <a:cubicBezTo>
                    <a:pt x="19047" y="41272"/>
                    <a:pt x="19047" y="41272"/>
                    <a:pt x="19047" y="41272"/>
                  </a:cubicBezTo>
                  <a:cubicBezTo>
                    <a:pt x="19047" y="41272"/>
                    <a:pt x="19047" y="41272"/>
                    <a:pt x="19047" y="41272"/>
                  </a:cubicBezTo>
                  <a:cubicBezTo>
                    <a:pt x="19047" y="41272"/>
                    <a:pt x="19047" y="41272"/>
                    <a:pt x="19047" y="41272"/>
                  </a:cubicBezTo>
                  <a:cubicBezTo>
                    <a:pt x="19047" y="41272"/>
                    <a:pt x="19047" y="41272"/>
                    <a:pt x="18599" y="41272"/>
                  </a:cubicBezTo>
                  <a:cubicBezTo>
                    <a:pt x="18599" y="41272"/>
                    <a:pt x="18599" y="41272"/>
                    <a:pt x="18151" y="41272"/>
                  </a:cubicBezTo>
                  <a:cubicBezTo>
                    <a:pt x="18151" y="41272"/>
                    <a:pt x="18151" y="41272"/>
                    <a:pt x="18151" y="41272"/>
                  </a:cubicBezTo>
                  <a:cubicBezTo>
                    <a:pt x="18151" y="41272"/>
                    <a:pt x="17703" y="41272"/>
                    <a:pt x="17703" y="41272"/>
                  </a:cubicBezTo>
                  <a:cubicBezTo>
                    <a:pt x="17703" y="41272"/>
                    <a:pt x="17255" y="41272"/>
                    <a:pt x="17255" y="41272"/>
                  </a:cubicBezTo>
                  <a:cubicBezTo>
                    <a:pt x="17255" y="41272"/>
                    <a:pt x="17255" y="41272"/>
                    <a:pt x="17255" y="41272"/>
                  </a:cubicBezTo>
                  <a:cubicBezTo>
                    <a:pt x="17255" y="41272"/>
                    <a:pt x="17255" y="41272"/>
                    <a:pt x="17255" y="41272"/>
                  </a:cubicBezTo>
                  <a:cubicBezTo>
                    <a:pt x="17255" y="41272"/>
                    <a:pt x="16806" y="41272"/>
                    <a:pt x="16806" y="41272"/>
                  </a:cubicBezTo>
                  <a:cubicBezTo>
                    <a:pt x="16806" y="41272"/>
                    <a:pt x="16358" y="41272"/>
                    <a:pt x="16358" y="41272"/>
                  </a:cubicBezTo>
                  <a:cubicBezTo>
                    <a:pt x="16358" y="41272"/>
                    <a:pt x="16358" y="41272"/>
                    <a:pt x="16358" y="41272"/>
                  </a:cubicBezTo>
                  <a:cubicBezTo>
                    <a:pt x="16358" y="41272"/>
                    <a:pt x="16358" y="41272"/>
                    <a:pt x="15910" y="41272"/>
                  </a:cubicBezTo>
                  <a:cubicBezTo>
                    <a:pt x="15910" y="41272"/>
                    <a:pt x="15910" y="41272"/>
                    <a:pt x="15462" y="41272"/>
                  </a:cubicBezTo>
                  <a:cubicBezTo>
                    <a:pt x="15462" y="41272"/>
                    <a:pt x="15462" y="41272"/>
                    <a:pt x="15462" y="41272"/>
                  </a:cubicBezTo>
                  <a:cubicBezTo>
                    <a:pt x="15462" y="41272"/>
                    <a:pt x="15462" y="41272"/>
                    <a:pt x="15462" y="41272"/>
                  </a:cubicBezTo>
                  <a:cubicBezTo>
                    <a:pt x="15462" y="41272"/>
                    <a:pt x="15462" y="41272"/>
                    <a:pt x="15462" y="41272"/>
                  </a:cubicBezTo>
                  <a:lnTo>
                    <a:pt x="672" y="57854"/>
                  </a:lnTo>
                  <a:cubicBezTo>
                    <a:pt x="-224" y="58751"/>
                    <a:pt x="-224" y="60095"/>
                    <a:pt x="672" y="60992"/>
                  </a:cubicBezTo>
                  <a:cubicBezTo>
                    <a:pt x="1120" y="61440"/>
                    <a:pt x="1569" y="61440"/>
                    <a:pt x="2017" y="61440"/>
                  </a:cubicBezTo>
                  <a:cubicBezTo>
                    <a:pt x="2465" y="61440"/>
                    <a:pt x="3361" y="60992"/>
                    <a:pt x="3809" y="60544"/>
                  </a:cubicBezTo>
                  <a:lnTo>
                    <a:pt x="14566" y="48443"/>
                  </a:lnTo>
                  <a:lnTo>
                    <a:pt x="14566" y="56062"/>
                  </a:lnTo>
                  <a:cubicBezTo>
                    <a:pt x="14566" y="73989"/>
                    <a:pt x="25770" y="89226"/>
                    <a:pt x="41456" y="95501"/>
                  </a:cubicBezTo>
                  <a:lnTo>
                    <a:pt x="41456" y="150178"/>
                  </a:lnTo>
                  <a:cubicBezTo>
                    <a:pt x="41456" y="151522"/>
                    <a:pt x="42352" y="152418"/>
                    <a:pt x="43697" y="152418"/>
                  </a:cubicBezTo>
                  <a:cubicBezTo>
                    <a:pt x="45041" y="152418"/>
                    <a:pt x="45937" y="151522"/>
                    <a:pt x="45937" y="150178"/>
                  </a:cubicBezTo>
                  <a:lnTo>
                    <a:pt x="45937" y="97293"/>
                  </a:lnTo>
                  <a:cubicBezTo>
                    <a:pt x="49523" y="98190"/>
                    <a:pt x="53108" y="98638"/>
                    <a:pt x="57142" y="98638"/>
                  </a:cubicBezTo>
                  <a:cubicBezTo>
                    <a:pt x="61175" y="98638"/>
                    <a:pt x="64761" y="99086"/>
                    <a:pt x="68346" y="100431"/>
                  </a:cubicBezTo>
                  <a:lnTo>
                    <a:pt x="68346" y="150178"/>
                  </a:lnTo>
                  <a:cubicBezTo>
                    <a:pt x="68346" y="151522"/>
                    <a:pt x="69242" y="152418"/>
                    <a:pt x="70587" y="152418"/>
                  </a:cubicBezTo>
                  <a:cubicBezTo>
                    <a:pt x="71931" y="152418"/>
                    <a:pt x="72828" y="151522"/>
                    <a:pt x="72828" y="150178"/>
                  </a:cubicBezTo>
                  <a:lnTo>
                    <a:pt x="72828" y="102223"/>
                  </a:lnTo>
                  <a:cubicBezTo>
                    <a:pt x="85825" y="108049"/>
                    <a:pt x="95236" y="121495"/>
                    <a:pt x="95236" y="136732"/>
                  </a:cubicBezTo>
                  <a:lnTo>
                    <a:pt x="95236" y="150178"/>
                  </a:lnTo>
                  <a:cubicBezTo>
                    <a:pt x="95236" y="151522"/>
                    <a:pt x="96132" y="152418"/>
                    <a:pt x="97477" y="152418"/>
                  </a:cubicBezTo>
                  <a:cubicBezTo>
                    <a:pt x="98822" y="152418"/>
                    <a:pt x="99718" y="151522"/>
                    <a:pt x="99718" y="150178"/>
                  </a:cubicBezTo>
                  <a:lnTo>
                    <a:pt x="99718" y="136732"/>
                  </a:lnTo>
                  <a:cubicBezTo>
                    <a:pt x="101511" y="117461"/>
                    <a:pt x="90306" y="102223"/>
                    <a:pt x="74620" y="95949"/>
                  </a:cubicBezTo>
                  <a:close/>
                  <a:moveTo>
                    <a:pt x="58934" y="92812"/>
                  </a:moveTo>
                  <a:cubicBezTo>
                    <a:pt x="54901" y="92812"/>
                    <a:pt x="51315" y="92363"/>
                    <a:pt x="47730" y="91019"/>
                  </a:cubicBezTo>
                  <a:lnTo>
                    <a:pt x="47730" y="90571"/>
                  </a:lnTo>
                  <a:cubicBezTo>
                    <a:pt x="47730" y="73989"/>
                    <a:pt x="56245" y="59647"/>
                    <a:pt x="69242" y="51132"/>
                  </a:cubicBezTo>
                  <a:cubicBezTo>
                    <a:pt x="69690" y="53821"/>
                    <a:pt x="70139" y="56510"/>
                    <a:pt x="70139" y="59199"/>
                  </a:cubicBezTo>
                  <a:lnTo>
                    <a:pt x="70139" y="94156"/>
                  </a:lnTo>
                  <a:cubicBezTo>
                    <a:pt x="66553" y="93260"/>
                    <a:pt x="62968" y="92812"/>
                    <a:pt x="58934" y="92812"/>
                  </a:cubicBezTo>
                  <a:close/>
                </a:path>
              </a:pathLst>
            </a:custGeom>
            <a:solidFill>
              <a:srgbClr val="231F20"/>
            </a:solidFill>
            <a:ln w="4477" cap="flat">
              <a:noFill/>
              <a:prstDash val="solid"/>
              <a:miter/>
            </a:ln>
          </p:spPr>
          <p:txBody>
            <a:bodyPr rtlCol="0" anchor="ctr"/>
            <a:lstStyle/>
            <a:p>
              <a:endParaRPr lang="en-US"/>
            </a:p>
          </p:txBody>
        </p:sp>
        <p:sp>
          <p:nvSpPr>
            <p:cNvPr id="3851" name="Freeform: Shape 3850">
              <a:extLst>
                <a:ext uri="{FF2B5EF4-FFF2-40B4-BE49-F238E27FC236}">
                  <a16:creationId xmlns:a16="http://schemas.microsoft.com/office/drawing/2014/main" id="{6D34338F-F7A9-40A4-A76E-DE767839E256}"/>
                </a:ext>
              </a:extLst>
            </p:cNvPr>
            <p:cNvSpPr/>
            <p:nvPr/>
          </p:nvSpPr>
          <p:spPr>
            <a:xfrm>
              <a:off x="7124572" y="4987055"/>
              <a:ext cx="26890" cy="67226"/>
            </a:xfrm>
            <a:custGeom>
              <a:avLst/>
              <a:gdLst>
                <a:gd name="connsiteX0" fmla="*/ 29131 w 26890"/>
                <a:gd name="connsiteY0" fmla="*/ 10476 h 67225"/>
                <a:gd name="connsiteX1" fmla="*/ 29131 w 26890"/>
                <a:gd name="connsiteY1" fmla="*/ 10476 h 67225"/>
                <a:gd name="connsiteX2" fmla="*/ 29131 w 26890"/>
                <a:gd name="connsiteY2" fmla="*/ 9580 h 67225"/>
                <a:gd name="connsiteX3" fmla="*/ 29131 w 26890"/>
                <a:gd name="connsiteY3" fmla="*/ 9132 h 67225"/>
                <a:gd name="connsiteX4" fmla="*/ 28683 w 26890"/>
                <a:gd name="connsiteY4" fmla="*/ 8683 h 67225"/>
                <a:gd name="connsiteX5" fmla="*/ 28235 w 26890"/>
                <a:gd name="connsiteY5" fmla="*/ 8235 h 67225"/>
                <a:gd name="connsiteX6" fmla="*/ 27787 w 26890"/>
                <a:gd name="connsiteY6" fmla="*/ 8235 h 67225"/>
                <a:gd name="connsiteX7" fmla="*/ 27787 w 26890"/>
                <a:gd name="connsiteY7" fmla="*/ 8235 h 67225"/>
                <a:gd name="connsiteX8" fmla="*/ 27787 w 26890"/>
                <a:gd name="connsiteY8" fmla="*/ 8235 h 67225"/>
                <a:gd name="connsiteX9" fmla="*/ 5826 w 26890"/>
                <a:gd name="connsiteY9" fmla="*/ 168 h 67225"/>
                <a:gd name="connsiteX10" fmla="*/ 3137 w 26890"/>
                <a:gd name="connsiteY10" fmla="*/ 1513 h 67225"/>
                <a:gd name="connsiteX11" fmla="*/ 4482 w 26890"/>
                <a:gd name="connsiteY11" fmla="*/ 4202 h 67225"/>
                <a:gd name="connsiteX12" fmla="*/ 20168 w 26890"/>
                <a:gd name="connsiteY12" fmla="*/ 10028 h 67225"/>
                <a:gd name="connsiteX13" fmla="*/ 0 w 26890"/>
                <a:gd name="connsiteY13" fmla="*/ 31988 h 67225"/>
                <a:gd name="connsiteX14" fmla="*/ 0 w 26890"/>
                <a:gd name="connsiteY14" fmla="*/ 65601 h 67225"/>
                <a:gd name="connsiteX15" fmla="*/ 2241 w 26890"/>
                <a:gd name="connsiteY15" fmla="*/ 67842 h 67225"/>
                <a:gd name="connsiteX16" fmla="*/ 4482 w 26890"/>
                <a:gd name="connsiteY16" fmla="*/ 65601 h 67225"/>
                <a:gd name="connsiteX17" fmla="*/ 4482 w 26890"/>
                <a:gd name="connsiteY17" fmla="*/ 31988 h 67225"/>
                <a:gd name="connsiteX18" fmla="*/ 22409 w 26890"/>
                <a:gd name="connsiteY18" fmla="*/ 14061 h 67225"/>
                <a:gd name="connsiteX19" fmla="*/ 14342 w 26890"/>
                <a:gd name="connsiteY19" fmla="*/ 30195 h 67225"/>
                <a:gd name="connsiteX20" fmla="*/ 15238 w 26890"/>
                <a:gd name="connsiteY20" fmla="*/ 33333 h 67225"/>
                <a:gd name="connsiteX21" fmla="*/ 16134 w 26890"/>
                <a:gd name="connsiteY21" fmla="*/ 33781 h 67225"/>
                <a:gd name="connsiteX22" fmla="*/ 17927 w 26890"/>
                <a:gd name="connsiteY22" fmla="*/ 32436 h 67225"/>
                <a:gd name="connsiteX23" fmla="*/ 28683 w 26890"/>
                <a:gd name="connsiteY23" fmla="*/ 11372 h 67225"/>
                <a:gd name="connsiteX24" fmla="*/ 28683 w 26890"/>
                <a:gd name="connsiteY24" fmla="*/ 11372 h 67225"/>
                <a:gd name="connsiteX25" fmla="*/ 28683 w 26890"/>
                <a:gd name="connsiteY25" fmla="*/ 11372 h 67225"/>
                <a:gd name="connsiteX26" fmla="*/ 29131 w 26890"/>
                <a:gd name="connsiteY26" fmla="*/ 10476 h 67225"/>
                <a:gd name="connsiteX27" fmla="*/ 29131 w 26890"/>
                <a:gd name="connsiteY27" fmla="*/ 10476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890" h="67225">
                  <a:moveTo>
                    <a:pt x="29131" y="10476"/>
                  </a:moveTo>
                  <a:cubicBezTo>
                    <a:pt x="29131" y="10476"/>
                    <a:pt x="29131" y="10028"/>
                    <a:pt x="29131" y="10476"/>
                  </a:cubicBezTo>
                  <a:cubicBezTo>
                    <a:pt x="29131" y="10028"/>
                    <a:pt x="29131" y="9580"/>
                    <a:pt x="29131" y="9580"/>
                  </a:cubicBezTo>
                  <a:cubicBezTo>
                    <a:pt x="29131" y="9580"/>
                    <a:pt x="29131" y="9132"/>
                    <a:pt x="29131" y="9132"/>
                  </a:cubicBezTo>
                  <a:cubicBezTo>
                    <a:pt x="29131" y="9132"/>
                    <a:pt x="29131" y="8683"/>
                    <a:pt x="28683" y="8683"/>
                  </a:cubicBezTo>
                  <a:cubicBezTo>
                    <a:pt x="28683" y="8683"/>
                    <a:pt x="28235" y="8683"/>
                    <a:pt x="28235" y="8235"/>
                  </a:cubicBezTo>
                  <a:cubicBezTo>
                    <a:pt x="28235" y="8235"/>
                    <a:pt x="28235" y="8235"/>
                    <a:pt x="27787" y="8235"/>
                  </a:cubicBezTo>
                  <a:cubicBezTo>
                    <a:pt x="27787" y="8235"/>
                    <a:pt x="27787" y="8235"/>
                    <a:pt x="27787" y="8235"/>
                  </a:cubicBezTo>
                  <a:cubicBezTo>
                    <a:pt x="27787" y="8235"/>
                    <a:pt x="27787" y="8235"/>
                    <a:pt x="27787" y="8235"/>
                  </a:cubicBezTo>
                  <a:lnTo>
                    <a:pt x="5826" y="168"/>
                  </a:lnTo>
                  <a:cubicBezTo>
                    <a:pt x="4482" y="-280"/>
                    <a:pt x="3585" y="168"/>
                    <a:pt x="3137" y="1513"/>
                  </a:cubicBezTo>
                  <a:cubicBezTo>
                    <a:pt x="2689" y="2857"/>
                    <a:pt x="3137" y="3753"/>
                    <a:pt x="4482" y="4202"/>
                  </a:cubicBezTo>
                  <a:lnTo>
                    <a:pt x="20168" y="10028"/>
                  </a:lnTo>
                  <a:cubicBezTo>
                    <a:pt x="8963" y="11372"/>
                    <a:pt x="0" y="20784"/>
                    <a:pt x="0" y="31988"/>
                  </a:cubicBezTo>
                  <a:lnTo>
                    <a:pt x="0" y="65601"/>
                  </a:lnTo>
                  <a:cubicBezTo>
                    <a:pt x="0" y="66945"/>
                    <a:pt x="896" y="67842"/>
                    <a:pt x="2241" y="67842"/>
                  </a:cubicBezTo>
                  <a:cubicBezTo>
                    <a:pt x="3585" y="67842"/>
                    <a:pt x="4482" y="66945"/>
                    <a:pt x="4482" y="65601"/>
                  </a:cubicBezTo>
                  <a:lnTo>
                    <a:pt x="4482" y="31988"/>
                  </a:lnTo>
                  <a:cubicBezTo>
                    <a:pt x="4482" y="22128"/>
                    <a:pt x="12549" y="14061"/>
                    <a:pt x="22409" y="14061"/>
                  </a:cubicBezTo>
                  <a:lnTo>
                    <a:pt x="14342" y="30195"/>
                  </a:lnTo>
                  <a:cubicBezTo>
                    <a:pt x="13893" y="31092"/>
                    <a:pt x="14342" y="32436"/>
                    <a:pt x="15238" y="33333"/>
                  </a:cubicBezTo>
                  <a:cubicBezTo>
                    <a:pt x="15686" y="33333"/>
                    <a:pt x="15686" y="33781"/>
                    <a:pt x="16134" y="33781"/>
                  </a:cubicBezTo>
                  <a:cubicBezTo>
                    <a:pt x="17030" y="33781"/>
                    <a:pt x="17927" y="33333"/>
                    <a:pt x="17927" y="32436"/>
                  </a:cubicBezTo>
                  <a:lnTo>
                    <a:pt x="28683" y="11372"/>
                  </a:lnTo>
                  <a:cubicBezTo>
                    <a:pt x="28683" y="11372"/>
                    <a:pt x="28683" y="11372"/>
                    <a:pt x="28683" y="11372"/>
                  </a:cubicBezTo>
                  <a:cubicBezTo>
                    <a:pt x="28683" y="11372"/>
                    <a:pt x="28683" y="11372"/>
                    <a:pt x="28683" y="11372"/>
                  </a:cubicBezTo>
                  <a:cubicBezTo>
                    <a:pt x="29131" y="10924"/>
                    <a:pt x="29131" y="10924"/>
                    <a:pt x="29131" y="10476"/>
                  </a:cubicBezTo>
                  <a:cubicBezTo>
                    <a:pt x="29131" y="10924"/>
                    <a:pt x="29131" y="10476"/>
                    <a:pt x="29131" y="10476"/>
                  </a:cubicBezTo>
                  <a:close/>
                </a:path>
              </a:pathLst>
            </a:custGeom>
            <a:solidFill>
              <a:srgbClr val="231F20"/>
            </a:solidFill>
            <a:ln w="4477" cap="flat">
              <a:noFill/>
              <a:prstDash val="solid"/>
              <a:miter/>
            </a:ln>
          </p:spPr>
          <p:txBody>
            <a:bodyPr rtlCol="0" anchor="ctr"/>
            <a:lstStyle/>
            <a:p>
              <a:endParaRPr lang="en-US"/>
            </a:p>
          </p:txBody>
        </p:sp>
      </p:grpSp>
      <p:grpSp>
        <p:nvGrpSpPr>
          <p:cNvPr id="3856" name="Group 3855">
            <a:extLst>
              <a:ext uri="{FF2B5EF4-FFF2-40B4-BE49-F238E27FC236}">
                <a16:creationId xmlns:a16="http://schemas.microsoft.com/office/drawing/2014/main" id="{ECFF1C93-4197-4904-827F-01363670007F}"/>
              </a:ext>
              <a:ext uri="{C183D7F6-B498-43B3-948B-1728B52AA6E4}">
                <adec:decorative xmlns:adec="http://schemas.microsoft.com/office/drawing/2017/decorative" val="1"/>
              </a:ext>
            </a:extLst>
          </p:cNvPr>
          <p:cNvGrpSpPr>
            <a:grpSpLocks noChangeAspect="1"/>
          </p:cNvGrpSpPr>
          <p:nvPr/>
        </p:nvGrpSpPr>
        <p:grpSpPr>
          <a:xfrm>
            <a:off x="5311602" y="2808461"/>
            <a:ext cx="156860" cy="98597"/>
            <a:chOff x="11213228" y="5654997"/>
            <a:chExt cx="156860" cy="98597"/>
          </a:xfrm>
        </p:grpSpPr>
        <p:sp>
          <p:nvSpPr>
            <p:cNvPr id="3857" name="Freeform: Shape 3856">
              <a:extLst>
                <a:ext uri="{FF2B5EF4-FFF2-40B4-BE49-F238E27FC236}">
                  <a16:creationId xmlns:a16="http://schemas.microsoft.com/office/drawing/2014/main" id="{12FE6AD0-DBFA-4BA0-8C4B-3D31224540B2}"/>
                </a:ext>
              </a:extLst>
            </p:cNvPr>
            <p:cNvSpPr/>
            <p:nvPr/>
          </p:nvSpPr>
          <p:spPr>
            <a:xfrm>
              <a:off x="11213228" y="5654997"/>
              <a:ext cx="156860" cy="98597"/>
            </a:xfrm>
            <a:custGeom>
              <a:avLst/>
              <a:gdLst>
                <a:gd name="connsiteX0" fmla="*/ 158204 w 156859"/>
                <a:gd name="connsiteY0" fmla="*/ 68122 h 98597"/>
                <a:gd name="connsiteX1" fmla="*/ 156412 w 156859"/>
                <a:gd name="connsiteY1" fmla="*/ 67226 h 98597"/>
                <a:gd name="connsiteX2" fmla="*/ 143414 w 156859"/>
                <a:gd name="connsiteY2" fmla="*/ 67226 h 98597"/>
                <a:gd name="connsiteX3" fmla="*/ 122799 w 156859"/>
                <a:gd name="connsiteY3" fmla="*/ 53780 h 98597"/>
                <a:gd name="connsiteX4" fmla="*/ 102183 w 156859"/>
                <a:gd name="connsiteY4" fmla="*/ 67226 h 98597"/>
                <a:gd name="connsiteX5" fmla="*/ 98149 w 156859"/>
                <a:gd name="connsiteY5" fmla="*/ 67226 h 98597"/>
                <a:gd name="connsiteX6" fmla="*/ 98149 w 156859"/>
                <a:gd name="connsiteY6" fmla="*/ 42576 h 98597"/>
                <a:gd name="connsiteX7" fmla="*/ 98149 w 156859"/>
                <a:gd name="connsiteY7" fmla="*/ 41680 h 98597"/>
                <a:gd name="connsiteX8" fmla="*/ 85601 w 156859"/>
                <a:gd name="connsiteY8" fmla="*/ 4482 h 98597"/>
                <a:gd name="connsiteX9" fmla="*/ 89186 w 156859"/>
                <a:gd name="connsiteY9" fmla="*/ 4482 h 98597"/>
                <a:gd name="connsiteX10" fmla="*/ 91427 w 156859"/>
                <a:gd name="connsiteY10" fmla="*/ 2241 h 98597"/>
                <a:gd name="connsiteX11" fmla="*/ 89186 w 156859"/>
                <a:gd name="connsiteY11" fmla="*/ 0 h 98597"/>
                <a:gd name="connsiteX12" fmla="*/ 82463 w 156859"/>
                <a:gd name="connsiteY12" fmla="*/ 0 h 98597"/>
                <a:gd name="connsiteX13" fmla="*/ 35406 w 156859"/>
                <a:gd name="connsiteY13" fmla="*/ 0 h 98597"/>
                <a:gd name="connsiteX14" fmla="*/ 28683 w 156859"/>
                <a:gd name="connsiteY14" fmla="*/ 0 h 98597"/>
                <a:gd name="connsiteX15" fmla="*/ 26442 w 156859"/>
                <a:gd name="connsiteY15" fmla="*/ 2241 h 98597"/>
                <a:gd name="connsiteX16" fmla="*/ 28683 w 156859"/>
                <a:gd name="connsiteY16" fmla="*/ 4482 h 98597"/>
                <a:gd name="connsiteX17" fmla="*/ 33165 w 156859"/>
                <a:gd name="connsiteY17" fmla="*/ 4482 h 98597"/>
                <a:gd name="connsiteX18" fmla="*/ 33165 w 156859"/>
                <a:gd name="connsiteY18" fmla="*/ 40335 h 98597"/>
                <a:gd name="connsiteX19" fmla="*/ 24201 w 156859"/>
                <a:gd name="connsiteY19" fmla="*/ 40335 h 98597"/>
                <a:gd name="connsiteX20" fmla="*/ 24201 w 156859"/>
                <a:gd name="connsiteY20" fmla="*/ 38543 h 98597"/>
                <a:gd name="connsiteX21" fmla="*/ 17479 w 156859"/>
                <a:gd name="connsiteY21" fmla="*/ 31820 h 98597"/>
                <a:gd name="connsiteX22" fmla="*/ 17479 w 156859"/>
                <a:gd name="connsiteY22" fmla="*/ 15686 h 98597"/>
                <a:gd name="connsiteX23" fmla="*/ 17031 w 156859"/>
                <a:gd name="connsiteY23" fmla="*/ 13893 h 98597"/>
                <a:gd name="connsiteX24" fmla="*/ 10308 w 156859"/>
                <a:gd name="connsiteY24" fmla="*/ 7171 h 98597"/>
                <a:gd name="connsiteX25" fmla="*/ 7171 w 156859"/>
                <a:gd name="connsiteY25" fmla="*/ 7171 h 98597"/>
                <a:gd name="connsiteX26" fmla="*/ 7171 w 156859"/>
                <a:gd name="connsiteY26" fmla="*/ 10308 h 98597"/>
                <a:gd name="connsiteX27" fmla="*/ 13445 w 156859"/>
                <a:gd name="connsiteY27" fmla="*/ 16582 h 98597"/>
                <a:gd name="connsiteX28" fmla="*/ 13445 w 156859"/>
                <a:gd name="connsiteY28" fmla="*/ 31372 h 98597"/>
                <a:gd name="connsiteX29" fmla="*/ 13445 w 156859"/>
                <a:gd name="connsiteY29" fmla="*/ 31372 h 98597"/>
                <a:gd name="connsiteX30" fmla="*/ 6723 w 156859"/>
                <a:gd name="connsiteY30" fmla="*/ 38094 h 98597"/>
                <a:gd name="connsiteX31" fmla="*/ 6723 w 156859"/>
                <a:gd name="connsiteY31" fmla="*/ 40783 h 98597"/>
                <a:gd name="connsiteX32" fmla="*/ 0 w 156859"/>
                <a:gd name="connsiteY32" fmla="*/ 49747 h 98597"/>
                <a:gd name="connsiteX33" fmla="*/ 0 w 156859"/>
                <a:gd name="connsiteY33" fmla="*/ 76189 h 98597"/>
                <a:gd name="connsiteX34" fmla="*/ 8963 w 156859"/>
                <a:gd name="connsiteY34" fmla="*/ 85152 h 98597"/>
                <a:gd name="connsiteX35" fmla="*/ 27339 w 156859"/>
                <a:gd name="connsiteY35" fmla="*/ 85152 h 98597"/>
                <a:gd name="connsiteX36" fmla="*/ 42576 w 156859"/>
                <a:gd name="connsiteY36" fmla="*/ 98597 h 98597"/>
                <a:gd name="connsiteX37" fmla="*/ 57814 w 156859"/>
                <a:gd name="connsiteY37" fmla="*/ 85152 h 98597"/>
                <a:gd name="connsiteX38" fmla="*/ 102631 w 156859"/>
                <a:gd name="connsiteY38" fmla="*/ 85152 h 98597"/>
                <a:gd name="connsiteX39" fmla="*/ 123247 w 156859"/>
                <a:gd name="connsiteY39" fmla="*/ 98597 h 98597"/>
                <a:gd name="connsiteX40" fmla="*/ 143863 w 156859"/>
                <a:gd name="connsiteY40" fmla="*/ 85152 h 98597"/>
                <a:gd name="connsiteX41" fmla="*/ 150586 w 156859"/>
                <a:gd name="connsiteY41" fmla="*/ 85152 h 98597"/>
                <a:gd name="connsiteX42" fmla="*/ 152378 w 156859"/>
                <a:gd name="connsiteY42" fmla="*/ 83808 h 98597"/>
                <a:gd name="connsiteX43" fmla="*/ 159100 w 156859"/>
                <a:gd name="connsiteY43" fmla="*/ 70363 h 98597"/>
                <a:gd name="connsiteX44" fmla="*/ 158204 w 156859"/>
                <a:gd name="connsiteY44" fmla="*/ 68122 h 98597"/>
                <a:gd name="connsiteX45" fmla="*/ 122799 w 156859"/>
                <a:gd name="connsiteY45" fmla="*/ 58262 h 98597"/>
                <a:gd name="connsiteX46" fmla="*/ 138485 w 156859"/>
                <a:gd name="connsiteY46" fmla="*/ 67226 h 98597"/>
                <a:gd name="connsiteX47" fmla="*/ 107561 w 156859"/>
                <a:gd name="connsiteY47" fmla="*/ 67226 h 98597"/>
                <a:gd name="connsiteX48" fmla="*/ 122799 w 156859"/>
                <a:gd name="connsiteY48" fmla="*/ 58262 h 98597"/>
                <a:gd name="connsiteX49" fmla="*/ 80671 w 156859"/>
                <a:gd name="connsiteY49" fmla="*/ 4482 h 98597"/>
                <a:gd name="connsiteX50" fmla="*/ 93668 w 156859"/>
                <a:gd name="connsiteY50" fmla="*/ 43024 h 98597"/>
                <a:gd name="connsiteX51" fmla="*/ 93668 w 156859"/>
                <a:gd name="connsiteY51" fmla="*/ 53780 h 98597"/>
                <a:gd name="connsiteX52" fmla="*/ 72604 w 156859"/>
                <a:gd name="connsiteY52" fmla="*/ 53780 h 98597"/>
                <a:gd name="connsiteX53" fmla="*/ 66777 w 156859"/>
                <a:gd name="connsiteY53" fmla="*/ 51988 h 98597"/>
                <a:gd name="connsiteX54" fmla="*/ 52884 w 156859"/>
                <a:gd name="connsiteY54" fmla="*/ 42576 h 98597"/>
                <a:gd name="connsiteX55" fmla="*/ 44817 w 156859"/>
                <a:gd name="connsiteY55" fmla="*/ 40335 h 98597"/>
                <a:gd name="connsiteX56" fmla="*/ 37198 w 156859"/>
                <a:gd name="connsiteY56" fmla="*/ 40335 h 98597"/>
                <a:gd name="connsiteX57" fmla="*/ 37198 w 156859"/>
                <a:gd name="connsiteY57" fmla="*/ 4482 h 98597"/>
                <a:gd name="connsiteX58" fmla="*/ 80671 w 156859"/>
                <a:gd name="connsiteY58" fmla="*/ 4482 h 98597"/>
                <a:gd name="connsiteX59" fmla="*/ 10756 w 156859"/>
                <a:gd name="connsiteY59" fmla="*/ 38094 h 98597"/>
                <a:gd name="connsiteX60" fmla="*/ 12997 w 156859"/>
                <a:gd name="connsiteY60" fmla="*/ 35854 h 98597"/>
                <a:gd name="connsiteX61" fmla="*/ 17479 w 156859"/>
                <a:gd name="connsiteY61" fmla="*/ 35854 h 98597"/>
                <a:gd name="connsiteX62" fmla="*/ 19720 w 156859"/>
                <a:gd name="connsiteY62" fmla="*/ 38094 h 98597"/>
                <a:gd name="connsiteX63" fmla="*/ 19720 w 156859"/>
                <a:gd name="connsiteY63" fmla="*/ 39887 h 98597"/>
                <a:gd name="connsiteX64" fmla="*/ 13894 w 156859"/>
                <a:gd name="connsiteY64" fmla="*/ 39887 h 98597"/>
                <a:gd name="connsiteX65" fmla="*/ 10756 w 156859"/>
                <a:gd name="connsiteY65" fmla="*/ 39887 h 98597"/>
                <a:gd name="connsiteX66" fmla="*/ 10756 w 156859"/>
                <a:gd name="connsiteY66" fmla="*/ 38094 h 98597"/>
                <a:gd name="connsiteX67" fmla="*/ 42128 w 156859"/>
                <a:gd name="connsiteY67" fmla="*/ 94116 h 98597"/>
                <a:gd name="connsiteX68" fmla="*/ 30924 w 156859"/>
                <a:gd name="connsiteY68" fmla="*/ 82912 h 98597"/>
                <a:gd name="connsiteX69" fmla="*/ 42128 w 156859"/>
                <a:gd name="connsiteY69" fmla="*/ 71707 h 98597"/>
                <a:gd name="connsiteX70" fmla="*/ 53332 w 156859"/>
                <a:gd name="connsiteY70" fmla="*/ 82912 h 98597"/>
                <a:gd name="connsiteX71" fmla="*/ 42128 w 156859"/>
                <a:gd name="connsiteY71" fmla="*/ 94116 h 98597"/>
                <a:gd name="connsiteX72" fmla="*/ 85601 w 156859"/>
                <a:gd name="connsiteY72" fmla="*/ 69466 h 98597"/>
                <a:gd name="connsiteX73" fmla="*/ 85601 w 156859"/>
                <a:gd name="connsiteY73" fmla="*/ 80671 h 98597"/>
                <a:gd name="connsiteX74" fmla="*/ 57814 w 156859"/>
                <a:gd name="connsiteY74" fmla="*/ 80671 h 98597"/>
                <a:gd name="connsiteX75" fmla="*/ 42576 w 156859"/>
                <a:gd name="connsiteY75" fmla="*/ 67226 h 98597"/>
                <a:gd name="connsiteX76" fmla="*/ 27339 w 156859"/>
                <a:gd name="connsiteY76" fmla="*/ 80671 h 98597"/>
                <a:gd name="connsiteX77" fmla="*/ 8963 w 156859"/>
                <a:gd name="connsiteY77" fmla="*/ 80671 h 98597"/>
                <a:gd name="connsiteX78" fmla="*/ 4482 w 156859"/>
                <a:gd name="connsiteY78" fmla="*/ 76189 h 98597"/>
                <a:gd name="connsiteX79" fmla="*/ 4482 w 156859"/>
                <a:gd name="connsiteY79" fmla="*/ 49747 h 98597"/>
                <a:gd name="connsiteX80" fmla="*/ 9860 w 156859"/>
                <a:gd name="connsiteY80" fmla="*/ 44369 h 98597"/>
                <a:gd name="connsiteX81" fmla="*/ 13894 w 156859"/>
                <a:gd name="connsiteY81" fmla="*/ 44369 h 98597"/>
                <a:gd name="connsiteX82" fmla="*/ 22409 w 156859"/>
                <a:gd name="connsiteY82" fmla="*/ 44369 h 98597"/>
                <a:gd name="connsiteX83" fmla="*/ 22409 w 156859"/>
                <a:gd name="connsiteY83" fmla="*/ 44369 h 98597"/>
                <a:gd name="connsiteX84" fmla="*/ 34957 w 156859"/>
                <a:gd name="connsiteY84" fmla="*/ 44369 h 98597"/>
                <a:gd name="connsiteX85" fmla="*/ 34957 w 156859"/>
                <a:gd name="connsiteY85" fmla="*/ 44369 h 98597"/>
                <a:gd name="connsiteX86" fmla="*/ 34957 w 156859"/>
                <a:gd name="connsiteY86" fmla="*/ 44369 h 98597"/>
                <a:gd name="connsiteX87" fmla="*/ 45714 w 156859"/>
                <a:gd name="connsiteY87" fmla="*/ 44369 h 98597"/>
                <a:gd name="connsiteX88" fmla="*/ 51092 w 156859"/>
                <a:gd name="connsiteY88" fmla="*/ 46161 h 98597"/>
                <a:gd name="connsiteX89" fmla="*/ 64985 w 156859"/>
                <a:gd name="connsiteY89" fmla="*/ 55573 h 98597"/>
                <a:gd name="connsiteX90" fmla="*/ 73052 w 156859"/>
                <a:gd name="connsiteY90" fmla="*/ 57814 h 98597"/>
                <a:gd name="connsiteX91" fmla="*/ 73052 w 156859"/>
                <a:gd name="connsiteY91" fmla="*/ 57814 h 98597"/>
                <a:gd name="connsiteX92" fmla="*/ 94116 w 156859"/>
                <a:gd name="connsiteY92" fmla="*/ 57814 h 98597"/>
                <a:gd name="connsiteX93" fmla="*/ 94116 w 156859"/>
                <a:gd name="connsiteY93" fmla="*/ 66777 h 98597"/>
                <a:gd name="connsiteX94" fmla="*/ 88290 w 156859"/>
                <a:gd name="connsiteY94" fmla="*/ 66777 h 98597"/>
                <a:gd name="connsiteX95" fmla="*/ 85601 w 156859"/>
                <a:gd name="connsiteY95" fmla="*/ 69466 h 98597"/>
                <a:gd name="connsiteX96" fmla="*/ 122799 w 156859"/>
                <a:gd name="connsiteY96" fmla="*/ 94116 h 98597"/>
                <a:gd name="connsiteX97" fmla="*/ 107113 w 156859"/>
                <a:gd name="connsiteY97" fmla="*/ 85152 h 98597"/>
                <a:gd name="connsiteX98" fmla="*/ 138037 w 156859"/>
                <a:gd name="connsiteY98" fmla="*/ 85152 h 98597"/>
                <a:gd name="connsiteX99" fmla="*/ 122799 w 156859"/>
                <a:gd name="connsiteY99" fmla="*/ 94116 h 98597"/>
                <a:gd name="connsiteX100" fmla="*/ 148345 w 156859"/>
                <a:gd name="connsiteY100" fmla="*/ 80671 h 98597"/>
                <a:gd name="connsiteX101" fmla="*/ 142518 w 156859"/>
                <a:gd name="connsiteY101" fmla="*/ 80671 h 98597"/>
                <a:gd name="connsiteX102" fmla="*/ 142518 w 156859"/>
                <a:gd name="connsiteY102" fmla="*/ 80671 h 98597"/>
                <a:gd name="connsiteX103" fmla="*/ 141174 w 156859"/>
                <a:gd name="connsiteY103" fmla="*/ 80671 h 98597"/>
                <a:gd name="connsiteX104" fmla="*/ 90083 w 156859"/>
                <a:gd name="connsiteY104" fmla="*/ 80671 h 98597"/>
                <a:gd name="connsiteX105" fmla="*/ 90083 w 156859"/>
                <a:gd name="connsiteY105" fmla="*/ 71707 h 98597"/>
                <a:gd name="connsiteX106" fmla="*/ 152826 w 156859"/>
                <a:gd name="connsiteY106" fmla="*/ 71707 h 98597"/>
                <a:gd name="connsiteX107" fmla="*/ 148345 w 156859"/>
                <a:gd name="connsiteY107" fmla="*/ 80671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56859" h="98597">
                  <a:moveTo>
                    <a:pt x="158204" y="68122"/>
                  </a:moveTo>
                  <a:cubicBezTo>
                    <a:pt x="157756" y="67674"/>
                    <a:pt x="156860" y="67226"/>
                    <a:pt x="156412" y="67226"/>
                  </a:cubicBezTo>
                  <a:lnTo>
                    <a:pt x="143414" y="67226"/>
                  </a:lnTo>
                  <a:cubicBezTo>
                    <a:pt x="139829" y="59158"/>
                    <a:pt x="131762" y="53780"/>
                    <a:pt x="122799" y="53780"/>
                  </a:cubicBezTo>
                  <a:cubicBezTo>
                    <a:pt x="113835" y="53780"/>
                    <a:pt x="105769" y="59158"/>
                    <a:pt x="102183" y="67226"/>
                  </a:cubicBezTo>
                  <a:lnTo>
                    <a:pt x="98149" y="67226"/>
                  </a:lnTo>
                  <a:lnTo>
                    <a:pt x="98149" y="42576"/>
                  </a:lnTo>
                  <a:cubicBezTo>
                    <a:pt x="98149" y="42128"/>
                    <a:pt x="98149" y="42128"/>
                    <a:pt x="98149" y="41680"/>
                  </a:cubicBezTo>
                  <a:lnTo>
                    <a:pt x="85601" y="4482"/>
                  </a:lnTo>
                  <a:lnTo>
                    <a:pt x="89186" y="4482"/>
                  </a:lnTo>
                  <a:cubicBezTo>
                    <a:pt x="90531" y="4482"/>
                    <a:pt x="91427" y="3585"/>
                    <a:pt x="91427" y="2241"/>
                  </a:cubicBezTo>
                  <a:cubicBezTo>
                    <a:pt x="91427" y="896"/>
                    <a:pt x="90531" y="0"/>
                    <a:pt x="89186" y="0"/>
                  </a:cubicBezTo>
                  <a:lnTo>
                    <a:pt x="82463" y="0"/>
                  </a:lnTo>
                  <a:lnTo>
                    <a:pt x="35406" y="0"/>
                  </a:lnTo>
                  <a:lnTo>
                    <a:pt x="28683" y="0"/>
                  </a:lnTo>
                  <a:cubicBezTo>
                    <a:pt x="27339" y="0"/>
                    <a:pt x="26442" y="896"/>
                    <a:pt x="26442" y="2241"/>
                  </a:cubicBezTo>
                  <a:cubicBezTo>
                    <a:pt x="26442" y="3585"/>
                    <a:pt x="27339" y="4482"/>
                    <a:pt x="28683" y="4482"/>
                  </a:cubicBezTo>
                  <a:lnTo>
                    <a:pt x="33165" y="4482"/>
                  </a:lnTo>
                  <a:lnTo>
                    <a:pt x="33165" y="40335"/>
                  </a:lnTo>
                  <a:lnTo>
                    <a:pt x="24201" y="40335"/>
                  </a:lnTo>
                  <a:lnTo>
                    <a:pt x="24201" y="38543"/>
                  </a:lnTo>
                  <a:cubicBezTo>
                    <a:pt x="24201" y="34957"/>
                    <a:pt x="21064" y="31820"/>
                    <a:pt x="17479" y="31820"/>
                  </a:cubicBezTo>
                  <a:lnTo>
                    <a:pt x="17479" y="15686"/>
                  </a:lnTo>
                  <a:cubicBezTo>
                    <a:pt x="17479" y="15238"/>
                    <a:pt x="17031" y="14341"/>
                    <a:pt x="17031" y="13893"/>
                  </a:cubicBezTo>
                  <a:lnTo>
                    <a:pt x="10308" y="7171"/>
                  </a:lnTo>
                  <a:cubicBezTo>
                    <a:pt x="9412" y="6274"/>
                    <a:pt x="8067" y="6274"/>
                    <a:pt x="7171" y="7171"/>
                  </a:cubicBezTo>
                  <a:cubicBezTo>
                    <a:pt x="6274" y="8067"/>
                    <a:pt x="6274" y="9411"/>
                    <a:pt x="7171" y="10308"/>
                  </a:cubicBezTo>
                  <a:lnTo>
                    <a:pt x="13445" y="16582"/>
                  </a:lnTo>
                  <a:lnTo>
                    <a:pt x="13445" y="31372"/>
                  </a:lnTo>
                  <a:lnTo>
                    <a:pt x="13445" y="31372"/>
                  </a:lnTo>
                  <a:cubicBezTo>
                    <a:pt x="9860" y="31372"/>
                    <a:pt x="6723" y="34509"/>
                    <a:pt x="6723" y="38094"/>
                  </a:cubicBezTo>
                  <a:lnTo>
                    <a:pt x="6723" y="40783"/>
                  </a:lnTo>
                  <a:cubicBezTo>
                    <a:pt x="2689" y="42128"/>
                    <a:pt x="0" y="45713"/>
                    <a:pt x="0" y="49747"/>
                  </a:cubicBezTo>
                  <a:lnTo>
                    <a:pt x="0" y="76189"/>
                  </a:lnTo>
                  <a:cubicBezTo>
                    <a:pt x="0" y="81119"/>
                    <a:pt x="4034" y="85152"/>
                    <a:pt x="8963" y="85152"/>
                  </a:cubicBezTo>
                  <a:lnTo>
                    <a:pt x="27339" y="85152"/>
                  </a:lnTo>
                  <a:cubicBezTo>
                    <a:pt x="28235" y="92771"/>
                    <a:pt x="34957" y="98597"/>
                    <a:pt x="42576" y="98597"/>
                  </a:cubicBezTo>
                  <a:cubicBezTo>
                    <a:pt x="50195" y="98597"/>
                    <a:pt x="56918" y="92771"/>
                    <a:pt x="57814" y="85152"/>
                  </a:cubicBezTo>
                  <a:lnTo>
                    <a:pt x="102631" y="85152"/>
                  </a:lnTo>
                  <a:cubicBezTo>
                    <a:pt x="106217" y="93219"/>
                    <a:pt x="114283" y="98597"/>
                    <a:pt x="123247" y="98597"/>
                  </a:cubicBezTo>
                  <a:cubicBezTo>
                    <a:pt x="132210" y="98597"/>
                    <a:pt x="140277" y="93219"/>
                    <a:pt x="143863" y="85152"/>
                  </a:cubicBezTo>
                  <a:lnTo>
                    <a:pt x="150586" y="85152"/>
                  </a:lnTo>
                  <a:cubicBezTo>
                    <a:pt x="151482" y="85152"/>
                    <a:pt x="152378" y="84704"/>
                    <a:pt x="152378" y="83808"/>
                  </a:cubicBezTo>
                  <a:lnTo>
                    <a:pt x="159100" y="70363"/>
                  </a:lnTo>
                  <a:cubicBezTo>
                    <a:pt x="158652" y="69914"/>
                    <a:pt x="158652" y="69018"/>
                    <a:pt x="158204" y="68122"/>
                  </a:cubicBezTo>
                  <a:close/>
                  <a:moveTo>
                    <a:pt x="122799" y="58262"/>
                  </a:moveTo>
                  <a:cubicBezTo>
                    <a:pt x="129521" y="58262"/>
                    <a:pt x="135348" y="61847"/>
                    <a:pt x="138485" y="67226"/>
                  </a:cubicBezTo>
                  <a:lnTo>
                    <a:pt x="107561" y="67226"/>
                  </a:lnTo>
                  <a:cubicBezTo>
                    <a:pt x="110250" y="61847"/>
                    <a:pt x="116076" y="58262"/>
                    <a:pt x="122799" y="58262"/>
                  </a:cubicBezTo>
                  <a:close/>
                  <a:moveTo>
                    <a:pt x="80671" y="4482"/>
                  </a:moveTo>
                  <a:lnTo>
                    <a:pt x="93668" y="43024"/>
                  </a:lnTo>
                  <a:lnTo>
                    <a:pt x="93668" y="53780"/>
                  </a:lnTo>
                  <a:lnTo>
                    <a:pt x="72604" y="53780"/>
                  </a:lnTo>
                  <a:cubicBezTo>
                    <a:pt x="70811" y="53780"/>
                    <a:pt x="68570" y="53332"/>
                    <a:pt x="66777" y="51988"/>
                  </a:cubicBezTo>
                  <a:lnTo>
                    <a:pt x="52884" y="42576"/>
                  </a:lnTo>
                  <a:cubicBezTo>
                    <a:pt x="50643" y="40783"/>
                    <a:pt x="47506" y="40335"/>
                    <a:pt x="44817" y="40335"/>
                  </a:cubicBezTo>
                  <a:lnTo>
                    <a:pt x="37198" y="40335"/>
                  </a:lnTo>
                  <a:lnTo>
                    <a:pt x="37198" y="4482"/>
                  </a:lnTo>
                  <a:lnTo>
                    <a:pt x="80671" y="4482"/>
                  </a:lnTo>
                  <a:close/>
                  <a:moveTo>
                    <a:pt x="10756" y="38094"/>
                  </a:moveTo>
                  <a:cubicBezTo>
                    <a:pt x="10756" y="36750"/>
                    <a:pt x="11653" y="35854"/>
                    <a:pt x="12997" y="35854"/>
                  </a:cubicBezTo>
                  <a:lnTo>
                    <a:pt x="17479" y="35854"/>
                  </a:lnTo>
                  <a:cubicBezTo>
                    <a:pt x="18823" y="35854"/>
                    <a:pt x="19720" y="36750"/>
                    <a:pt x="19720" y="38094"/>
                  </a:cubicBezTo>
                  <a:lnTo>
                    <a:pt x="19720" y="39887"/>
                  </a:lnTo>
                  <a:lnTo>
                    <a:pt x="13894" y="39887"/>
                  </a:lnTo>
                  <a:lnTo>
                    <a:pt x="10756" y="39887"/>
                  </a:lnTo>
                  <a:lnTo>
                    <a:pt x="10756" y="38094"/>
                  </a:lnTo>
                  <a:close/>
                  <a:moveTo>
                    <a:pt x="42128" y="94116"/>
                  </a:moveTo>
                  <a:cubicBezTo>
                    <a:pt x="35854" y="94116"/>
                    <a:pt x="30924" y="89186"/>
                    <a:pt x="30924" y="82912"/>
                  </a:cubicBezTo>
                  <a:cubicBezTo>
                    <a:pt x="30924" y="76637"/>
                    <a:pt x="35854" y="71707"/>
                    <a:pt x="42128" y="71707"/>
                  </a:cubicBezTo>
                  <a:cubicBezTo>
                    <a:pt x="48403" y="71707"/>
                    <a:pt x="53332" y="76637"/>
                    <a:pt x="53332" y="82912"/>
                  </a:cubicBezTo>
                  <a:cubicBezTo>
                    <a:pt x="53332" y="89186"/>
                    <a:pt x="48403" y="94116"/>
                    <a:pt x="42128" y="94116"/>
                  </a:cubicBezTo>
                  <a:close/>
                  <a:moveTo>
                    <a:pt x="85601" y="69466"/>
                  </a:moveTo>
                  <a:lnTo>
                    <a:pt x="85601" y="80671"/>
                  </a:lnTo>
                  <a:lnTo>
                    <a:pt x="57814" y="80671"/>
                  </a:lnTo>
                  <a:cubicBezTo>
                    <a:pt x="56918" y="73051"/>
                    <a:pt x="50195" y="67226"/>
                    <a:pt x="42576" y="67226"/>
                  </a:cubicBezTo>
                  <a:cubicBezTo>
                    <a:pt x="34509" y="67226"/>
                    <a:pt x="28235" y="73051"/>
                    <a:pt x="27339" y="80671"/>
                  </a:cubicBezTo>
                  <a:lnTo>
                    <a:pt x="8963" y="80671"/>
                  </a:lnTo>
                  <a:cubicBezTo>
                    <a:pt x="6723" y="80671"/>
                    <a:pt x="4482" y="78878"/>
                    <a:pt x="4482" y="76189"/>
                  </a:cubicBezTo>
                  <a:lnTo>
                    <a:pt x="4482" y="49747"/>
                  </a:lnTo>
                  <a:cubicBezTo>
                    <a:pt x="4482" y="47058"/>
                    <a:pt x="6723" y="44369"/>
                    <a:pt x="9860" y="44369"/>
                  </a:cubicBezTo>
                  <a:lnTo>
                    <a:pt x="13894" y="44369"/>
                  </a:lnTo>
                  <a:lnTo>
                    <a:pt x="22409" y="44369"/>
                  </a:lnTo>
                  <a:cubicBezTo>
                    <a:pt x="22409" y="44369"/>
                    <a:pt x="22409" y="44369"/>
                    <a:pt x="22409" y="44369"/>
                  </a:cubicBezTo>
                  <a:lnTo>
                    <a:pt x="34957" y="44369"/>
                  </a:lnTo>
                  <a:cubicBezTo>
                    <a:pt x="34957" y="44369"/>
                    <a:pt x="34957" y="44369"/>
                    <a:pt x="34957" y="44369"/>
                  </a:cubicBezTo>
                  <a:cubicBezTo>
                    <a:pt x="34957" y="44369"/>
                    <a:pt x="34957" y="44369"/>
                    <a:pt x="34957" y="44369"/>
                  </a:cubicBezTo>
                  <a:lnTo>
                    <a:pt x="45714" y="44369"/>
                  </a:lnTo>
                  <a:cubicBezTo>
                    <a:pt x="47506" y="44369"/>
                    <a:pt x="49747" y="44817"/>
                    <a:pt x="51092" y="46161"/>
                  </a:cubicBezTo>
                  <a:lnTo>
                    <a:pt x="64985" y="55573"/>
                  </a:lnTo>
                  <a:cubicBezTo>
                    <a:pt x="67226" y="57365"/>
                    <a:pt x="70363" y="57814"/>
                    <a:pt x="73052" y="57814"/>
                  </a:cubicBezTo>
                  <a:cubicBezTo>
                    <a:pt x="73052" y="57814"/>
                    <a:pt x="73052" y="57814"/>
                    <a:pt x="73052" y="57814"/>
                  </a:cubicBezTo>
                  <a:lnTo>
                    <a:pt x="94116" y="57814"/>
                  </a:lnTo>
                  <a:lnTo>
                    <a:pt x="94116" y="66777"/>
                  </a:lnTo>
                  <a:lnTo>
                    <a:pt x="88290" y="66777"/>
                  </a:lnTo>
                  <a:cubicBezTo>
                    <a:pt x="86497" y="67226"/>
                    <a:pt x="85601" y="68122"/>
                    <a:pt x="85601" y="69466"/>
                  </a:cubicBezTo>
                  <a:close/>
                  <a:moveTo>
                    <a:pt x="122799" y="94116"/>
                  </a:moveTo>
                  <a:cubicBezTo>
                    <a:pt x="116524" y="94116"/>
                    <a:pt x="110698" y="90530"/>
                    <a:pt x="107113" y="85152"/>
                  </a:cubicBezTo>
                  <a:lnTo>
                    <a:pt x="138037" y="85152"/>
                  </a:lnTo>
                  <a:cubicBezTo>
                    <a:pt x="134900" y="90530"/>
                    <a:pt x="129073" y="94116"/>
                    <a:pt x="122799" y="94116"/>
                  </a:cubicBezTo>
                  <a:close/>
                  <a:moveTo>
                    <a:pt x="148345" y="80671"/>
                  </a:moveTo>
                  <a:lnTo>
                    <a:pt x="142518" y="80671"/>
                  </a:lnTo>
                  <a:lnTo>
                    <a:pt x="142518" y="80671"/>
                  </a:lnTo>
                  <a:cubicBezTo>
                    <a:pt x="142070" y="80671"/>
                    <a:pt x="141622" y="80671"/>
                    <a:pt x="141174" y="80671"/>
                  </a:cubicBezTo>
                  <a:lnTo>
                    <a:pt x="90083" y="80671"/>
                  </a:lnTo>
                  <a:lnTo>
                    <a:pt x="90083" y="71707"/>
                  </a:lnTo>
                  <a:lnTo>
                    <a:pt x="152826" y="71707"/>
                  </a:lnTo>
                  <a:lnTo>
                    <a:pt x="148345" y="80671"/>
                  </a:lnTo>
                  <a:close/>
                </a:path>
              </a:pathLst>
            </a:custGeom>
            <a:solidFill>
              <a:srgbClr val="231F20"/>
            </a:solidFill>
            <a:ln w="4477" cap="flat">
              <a:noFill/>
              <a:prstDash val="solid"/>
              <a:miter/>
            </a:ln>
          </p:spPr>
          <p:txBody>
            <a:bodyPr rtlCol="0" anchor="ctr"/>
            <a:lstStyle/>
            <a:p>
              <a:endParaRPr lang="en-US"/>
            </a:p>
          </p:txBody>
        </p:sp>
        <p:sp>
          <p:nvSpPr>
            <p:cNvPr id="3858" name="Freeform: Shape 3857">
              <a:extLst>
                <a:ext uri="{FF2B5EF4-FFF2-40B4-BE49-F238E27FC236}">
                  <a16:creationId xmlns:a16="http://schemas.microsoft.com/office/drawing/2014/main" id="{112F71F4-4865-41DE-86E1-A82D041EB39B}"/>
                </a:ext>
              </a:extLst>
            </p:cNvPr>
            <p:cNvSpPr/>
            <p:nvPr/>
          </p:nvSpPr>
          <p:spPr>
            <a:xfrm>
              <a:off x="11333338" y="5728497"/>
              <a:ext cx="4482" cy="4482"/>
            </a:xfrm>
            <a:custGeom>
              <a:avLst/>
              <a:gdLst>
                <a:gd name="connsiteX0" fmla="*/ 2689 w 4481"/>
                <a:gd name="connsiteY0" fmla="*/ 5378 h 4481"/>
                <a:gd name="connsiteX1" fmla="*/ 5378 w 4481"/>
                <a:gd name="connsiteY1" fmla="*/ 2689 h 4481"/>
                <a:gd name="connsiteX2" fmla="*/ 2689 w 4481"/>
                <a:gd name="connsiteY2" fmla="*/ 0 h 4481"/>
                <a:gd name="connsiteX3" fmla="*/ 0 w 4481"/>
                <a:gd name="connsiteY3" fmla="*/ 2689 h 4481"/>
                <a:gd name="connsiteX4" fmla="*/ 2689 w 4481"/>
                <a:gd name="connsiteY4" fmla="*/ 5378 h 4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1" h="4481">
                  <a:moveTo>
                    <a:pt x="2689" y="5378"/>
                  </a:moveTo>
                  <a:cubicBezTo>
                    <a:pt x="4482" y="5378"/>
                    <a:pt x="5378" y="4033"/>
                    <a:pt x="5378" y="2689"/>
                  </a:cubicBezTo>
                  <a:cubicBezTo>
                    <a:pt x="5378" y="1344"/>
                    <a:pt x="4034" y="0"/>
                    <a:pt x="2689" y="0"/>
                  </a:cubicBezTo>
                  <a:cubicBezTo>
                    <a:pt x="1345" y="0"/>
                    <a:pt x="0" y="1344"/>
                    <a:pt x="0" y="2689"/>
                  </a:cubicBezTo>
                  <a:cubicBezTo>
                    <a:pt x="0" y="4033"/>
                    <a:pt x="896" y="5378"/>
                    <a:pt x="2689" y="5378"/>
                  </a:cubicBezTo>
                  <a:close/>
                </a:path>
              </a:pathLst>
            </a:custGeom>
            <a:solidFill>
              <a:srgbClr val="231F20"/>
            </a:solidFill>
            <a:ln w="4477" cap="flat">
              <a:noFill/>
              <a:prstDash val="solid"/>
              <a:miter/>
            </a:ln>
          </p:spPr>
          <p:txBody>
            <a:bodyPr rtlCol="0" anchor="ctr"/>
            <a:lstStyle/>
            <a:p>
              <a:endParaRPr lang="en-US"/>
            </a:p>
          </p:txBody>
        </p:sp>
      </p:grpSp>
      <p:sp>
        <p:nvSpPr>
          <p:cNvPr id="3859" name="Freeform: Shape 3858">
            <a:extLst>
              <a:ext uri="{FF2B5EF4-FFF2-40B4-BE49-F238E27FC236}">
                <a16:creationId xmlns:a16="http://schemas.microsoft.com/office/drawing/2014/main" id="{4BEF0A10-4A7A-4F86-83C5-DAB27867F3E3}"/>
              </a:ext>
              <a:ext uri="{C183D7F6-B498-43B3-948B-1728B52AA6E4}">
                <adec:decorative xmlns:adec="http://schemas.microsoft.com/office/drawing/2017/decorative" val="1"/>
              </a:ext>
            </a:extLst>
          </p:cNvPr>
          <p:cNvSpPr>
            <a:spLocks noChangeAspect="1"/>
          </p:cNvSpPr>
          <p:nvPr/>
        </p:nvSpPr>
        <p:spPr>
          <a:xfrm>
            <a:off x="569962" y="3131591"/>
            <a:ext cx="165823" cy="107561"/>
          </a:xfrm>
          <a:custGeom>
            <a:avLst/>
            <a:gdLst>
              <a:gd name="connsiteX0" fmla="*/ 142966 w 165822"/>
              <a:gd name="connsiteY0" fmla="*/ 67226 h 107560"/>
              <a:gd name="connsiteX1" fmla="*/ 134899 w 165822"/>
              <a:gd name="connsiteY1" fmla="*/ 68570 h 107560"/>
              <a:gd name="connsiteX2" fmla="*/ 137140 w 165822"/>
              <a:gd name="connsiteY2" fmla="*/ 47954 h 107560"/>
              <a:gd name="connsiteX3" fmla="*/ 129521 w 165822"/>
              <a:gd name="connsiteY3" fmla="*/ 19272 h 107560"/>
              <a:gd name="connsiteX4" fmla="*/ 133107 w 165822"/>
              <a:gd name="connsiteY4" fmla="*/ 19720 h 107560"/>
              <a:gd name="connsiteX5" fmla="*/ 135796 w 165822"/>
              <a:gd name="connsiteY5" fmla="*/ 19720 h 107560"/>
              <a:gd name="connsiteX6" fmla="*/ 137140 w 165822"/>
              <a:gd name="connsiteY6" fmla="*/ 19272 h 107560"/>
              <a:gd name="connsiteX7" fmla="*/ 138933 w 165822"/>
              <a:gd name="connsiteY7" fmla="*/ 17031 h 107560"/>
              <a:gd name="connsiteX8" fmla="*/ 138036 w 165822"/>
              <a:gd name="connsiteY8" fmla="*/ 2241 h 107560"/>
              <a:gd name="connsiteX9" fmla="*/ 135796 w 165822"/>
              <a:gd name="connsiteY9" fmla="*/ 0 h 107560"/>
              <a:gd name="connsiteX10" fmla="*/ 132210 w 165822"/>
              <a:gd name="connsiteY10" fmla="*/ 0 h 107560"/>
              <a:gd name="connsiteX11" fmla="*/ 132210 w 165822"/>
              <a:gd name="connsiteY11" fmla="*/ 0 h 107560"/>
              <a:gd name="connsiteX12" fmla="*/ 121454 w 165822"/>
              <a:gd name="connsiteY12" fmla="*/ 11652 h 107560"/>
              <a:gd name="connsiteX13" fmla="*/ 121454 w 165822"/>
              <a:gd name="connsiteY13" fmla="*/ 12100 h 107560"/>
              <a:gd name="connsiteX14" fmla="*/ 106665 w 165822"/>
              <a:gd name="connsiteY14" fmla="*/ 12100 h 107560"/>
              <a:gd name="connsiteX15" fmla="*/ 104424 w 165822"/>
              <a:gd name="connsiteY15" fmla="*/ 14341 h 107560"/>
              <a:gd name="connsiteX16" fmla="*/ 106665 w 165822"/>
              <a:gd name="connsiteY16" fmla="*/ 16582 h 107560"/>
              <a:gd name="connsiteX17" fmla="*/ 122350 w 165822"/>
              <a:gd name="connsiteY17" fmla="*/ 16582 h 107560"/>
              <a:gd name="connsiteX18" fmla="*/ 124591 w 165822"/>
              <a:gd name="connsiteY18" fmla="*/ 18375 h 107560"/>
              <a:gd name="connsiteX19" fmla="*/ 133107 w 165822"/>
              <a:gd name="connsiteY19" fmla="*/ 48851 h 107560"/>
              <a:gd name="connsiteX20" fmla="*/ 129073 w 165822"/>
              <a:gd name="connsiteY20" fmla="*/ 69914 h 107560"/>
              <a:gd name="connsiteX21" fmla="*/ 110250 w 165822"/>
              <a:gd name="connsiteY21" fmla="*/ 79326 h 107560"/>
              <a:gd name="connsiteX22" fmla="*/ 80222 w 165822"/>
              <a:gd name="connsiteY22" fmla="*/ 79326 h 107560"/>
              <a:gd name="connsiteX23" fmla="*/ 73500 w 165822"/>
              <a:gd name="connsiteY23" fmla="*/ 59158 h 107560"/>
              <a:gd name="connsiteX24" fmla="*/ 72155 w 165822"/>
              <a:gd name="connsiteY24" fmla="*/ 55125 h 107560"/>
              <a:gd name="connsiteX25" fmla="*/ 74844 w 165822"/>
              <a:gd name="connsiteY25" fmla="*/ 36302 h 107560"/>
              <a:gd name="connsiteX26" fmla="*/ 73052 w 165822"/>
              <a:gd name="connsiteY26" fmla="*/ 34958 h 107560"/>
              <a:gd name="connsiteX27" fmla="*/ 17479 w 165822"/>
              <a:gd name="connsiteY27" fmla="*/ 41680 h 107560"/>
              <a:gd name="connsiteX28" fmla="*/ 17927 w 165822"/>
              <a:gd name="connsiteY28" fmla="*/ 47506 h 107560"/>
              <a:gd name="connsiteX29" fmla="*/ 21960 w 165822"/>
              <a:gd name="connsiteY29" fmla="*/ 50643 h 107560"/>
              <a:gd name="connsiteX30" fmla="*/ 0 w 165822"/>
              <a:gd name="connsiteY30" fmla="*/ 80671 h 107560"/>
              <a:gd name="connsiteX31" fmla="*/ 3137 w 165822"/>
              <a:gd name="connsiteY31" fmla="*/ 83808 h 107560"/>
              <a:gd name="connsiteX32" fmla="*/ 11652 w 165822"/>
              <a:gd name="connsiteY32" fmla="*/ 83808 h 107560"/>
              <a:gd name="connsiteX33" fmla="*/ 11204 w 165822"/>
              <a:gd name="connsiteY33" fmla="*/ 88738 h 107560"/>
              <a:gd name="connsiteX34" fmla="*/ 33165 w 165822"/>
              <a:gd name="connsiteY34" fmla="*/ 110698 h 107560"/>
              <a:gd name="connsiteX35" fmla="*/ 55125 w 165822"/>
              <a:gd name="connsiteY35" fmla="*/ 88738 h 107560"/>
              <a:gd name="connsiteX36" fmla="*/ 54677 w 165822"/>
              <a:gd name="connsiteY36" fmla="*/ 83808 h 107560"/>
              <a:gd name="connsiteX37" fmla="*/ 78878 w 165822"/>
              <a:gd name="connsiteY37" fmla="*/ 83808 h 107560"/>
              <a:gd name="connsiteX38" fmla="*/ 78878 w 165822"/>
              <a:gd name="connsiteY38" fmla="*/ 83808 h 107560"/>
              <a:gd name="connsiteX39" fmla="*/ 78878 w 165822"/>
              <a:gd name="connsiteY39" fmla="*/ 83808 h 107560"/>
              <a:gd name="connsiteX40" fmla="*/ 110698 w 165822"/>
              <a:gd name="connsiteY40" fmla="*/ 83808 h 107560"/>
              <a:gd name="connsiteX41" fmla="*/ 123247 w 165822"/>
              <a:gd name="connsiteY41" fmla="*/ 81119 h 107560"/>
              <a:gd name="connsiteX42" fmla="*/ 121902 w 165822"/>
              <a:gd name="connsiteY42" fmla="*/ 88738 h 107560"/>
              <a:gd name="connsiteX43" fmla="*/ 143863 w 165822"/>
              <a:gd name="connsiteY43" fmla="*/ 110698 h 107560"/>
              <a:gd name="connsiteX44" fmla="*/ 165823 w 165822"/>
              <a:gd name="connsiteY44" fmla="*/ 88738 h 107560"/>
              <a:gd name="connsiteX45" fmla="*/ 142966 w 165822"/>
              <a:gd name="connsiteY45" fmla="*/ 67226 h 107560"/>
              <a:gd name="connsiteX46" fmla="*/ 133107 w 165822"/>
              <a:gd name="connsiteY46" fmla="*/ 4930 h 107560"/>
              <a:gd name="connsiteX47" fmla="*/ 133555 w 165822"/>
              <a:gd name="connsiteY47" fmla="*/ 4930 h 107560"/>
              <a:gd name="connsiteX48" fmla="*/ 134003 w 165822"/>
              <a:gd name="connsiteY48" fmla="*/ 15686 h 107560"/>
              <a:gd name="connsiteX49" fmla="*/ 125936 w 165822"/>
              <a:gd name="connsiteY49" fmla="*/ 11652 h 107560"/>
              <a:gd name="connsiteX50" fmla="*/ 133107 w 165822"/>
              <a:gd name="connsiteY50" fmla="*/ 4930 h 107560"/>
              <a:gd name="connsiteX51" fmla="*/ 21064 w 165822"/>
              <a:gd name="connsiteY51" fmla="*/ 43921 h 107560"/>
              <a:gd name="connsiteX52" fmla="*/ 70811 w 165822"/>
              <a:gd name="connsiteY52" fmla="*/ 39887 h 107560"/>
              <a:gd name="connsiteX53" fmla="*/ 69018 w 165822"/>
              <a:gd name="connsiteY53" fmla="*/ 51988 h 107560"/>
              <a:gd name="connsiteX54" fmla="*/ 63192 w 165822"/>
              <a:gd name="connsiteY54" fmla="*/ 50195 h 107560"/>
              <a:gd name="connsiteX55" fmla="*/ 35405 w 165822"/>
              <a:gd name="connsiteY55" fmla="*/ 50195 h 107560"/>
              <a:gd name="connsiteX56" fmla="*/ 21512 w 165822"/>
              <a:gd name="connsiteY56" fmla="*/ 45713 h 107560"/>
              <a:gd name="connsiteX57" fmla="*/ 21064 w 165822"/>
              <a:gd name="connsiteY57" fmla="*/ 43921 h 107560"/>
              <a:gd name="connsiteX58" fmla="*/ 49747 w 165822"/>
              <a:gd name="connsiteY58" fmla="*/ 89186 h 107560"/>
              <a:gd name="connsiteX59" fmla="*/ 32268 w 165822"/>
              <a:gd name="connsiteY59" fmla="*/ 106665 h 107560"/>
              <a:gd name="connsiteX60" fmla="*/ 14790 w 165822"/>
              <a:gd name="connsiteY60" fmla="*/ 89186 h 107560"/>
              <a:gd name="connsiteX61" fmla="*/ 15686 w 165822"/>
              <a:gd name="connsiteY61" fmla="*/ 84256 h 107560"/>
              <a:gd name="connsiteX62" fmla="*/ 49299 w 165822"/>
              <a:gd name="connsiteY62" fmla="*/ 84256 h 107560"/>
              <a:gd name="connsiteX63" fmla="*/ 49747 w 165822"/>
              <a:gd name="connsiteY63" fmla="*/ 89186 h 107560"/>
              <a:gd name="connsiteX64" fmla="*/ 51091 w 165822"/>
              <a:gd name="connsiteY64" fmla="*/ 79775 h 107560"/>
              <a:gd name="connsiteX65" fmla="*/ 50643 w 165822"/>
              <a:gd name="connsiteY65" fmla="*/ 79775 h 107560"/>
              <a:gd name="connsiteX66" fmla="*/ 4034 w 165822"/>
              <a:gd name="connsiteY66" fmla="*/ 79775 h 107560"/>
              <a:gd name="connsiteX67" fmla="*/ 30476 w 165822"/>
              <a:gd name="connsiteY67" fmla="*/ 54228 h 107560"/>
              <a:gd name="connsiteX68" fmla="*/ 63640 w 165822"/>
              <a:gd name="connsiteY68" fmla="*/ 54228 h 107560"/>
              <a:gd name="connsiteX69" fmla="*/ 69018 w 165822"/>
              <a:gd name="connsiteY69" fmla="*/ 60503 h 107560"/>
              <a:gd name="connsiteX70" fmla="*/ 75293 w 165822"/>
              <a:gd name="connsiteY70" fmla="*/ 79326 h 107560"/>
              <a:gd name="connsiteX71" fmla="*/ 51091 w 165822"/>
              <a:gd name="connsiteY71" fmla="*/ 79326 h 107560"/>
              <a:gd name="connsiteX72" fmla="*/ 142966 w 165822"/>
              <a:gd name="connsiteY72" fmla="*/ 106665 h 107560"/>
              <a:gd name="connsiteX73" fmla="*/ 125488 w 165822"/>
              <a:gd name="connsiteY73" fmla="*/ 89186 h 107560"/>
              <a:gd name="connsiteX74" fmla="*/ 142966 w 165822"/>
              <a:gd name="connsiteY74" fmla="*/ 71707 h 107560"/>
              <a:gd name="connsiteX75" fmla="*/ 160445 w 165822"/>
              <a:gd name="connsiteY75" fmla="*/ 89186 h 107560"/>
              <a:gd name="connsiteX76" fmla="*/ 142966 w 165822"/>
              <a:gd name="connsiteY76" fmla="*/ 106665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65822" h="107560">
                <a:moveTo>
                  <a:pt x="142966" y="67226"/>
                </a:moveTo>
                <a:cubicBezTo>
                  <a:pt x="140277" y="67226"/>
                  <a:pt x="137588" y="67674"/>
                  <a:pt x="134899" y="68570"/>
                </a:cubicBezTo>
                <a:cubicBezTo>
                  <a:pt x="138036" y="62296"/>
                  <a:pt x="138933" y="55125"/>
                  <a:pt x="137140" y="47954"/>
                </a:cubicBezTo>
                <a:lnTo>
                  <a:pt x="129521" y="19272"/>
                </a:lnTo>
                <a:cubicBezTo>
                  <a:pt x="130866" y="19720"/>
                  <a:pt x="131762" y="19720"/>
                  <a:pt x="133107" y="19720"/>
                </a:cubicBezTo>
                <a:cubicBezTo>
                  <a:pt x="134003" y="19720"/>
                  <a:pt x="134899" y="19720"/>
                  <a:pt x="135796" y="19720"/>
                </a:cubicBezTo>
                <a:cubicBezTo>
                  <a:pt x="136244" y="19720"/>
                  <a:pt x="136692" y="19720"/>
                  <a:pt x="137140" y="19272"/>
                </a:cubicBezTo>
                <a:cubicBezTo>
                  <a:pt x="138036" y="18823"/>
                  <a:pt x="138933" y="17927"/>
                  <a:pt x="138933" y="17031"/>
                </a:cubicBezTo>
                <a:lnTo>
                  <a:pt x="138036" y="2241"/>
                </a:lnTo>
                <a:cubicBezTo>
                  <a:pt x="138036" y="896"/>
                  <a:pt x="137140" y="0"/>
                  <a:pt x="135796" y="0"/>
                </a:cubicBezTo>
                <a:cubicBezTo>
                  <a:pt x="134451" y="0"/>
                  <a:pt x="133555" y="0"/>
                  <a:pt x="132210" y="0"/>
                </a:cubicBezTo>
                <a:cubicBezTo>
                  <a:pt x="132210" y="0"/>
                  <a:pt x="132210" y="0"/>
                  <a:pt x="132210" y="0"/>
                </a:cubicBezTo>
                <a:cubicBezTo>
                  <a:pt x="125488" y="1345"/>
                  <a:pt x="120558" y="6274"/>
                  <a:pt x="121454" y="11652"/>
                </a:cubicBezTo>
                <a:cubicBezTo>
                  <a:pt x="121454" y="11652"/>
                  <a:pt x="121454" y="12100"/>
                  <a:pt x="121454" y="12100"/>
                </a:cubicBezTo>
                <a:lnTo>
                  <a:pt x="106665" y="12100"/>
                </a:lnTo>
                <a:cubicBezTo>
                  <a:pt x="105320" y="12100"/>
                  <a:pt x="104424" y="12997"/>
                  <a:pt x="104424" y="14341"/>
                </a:cubicBezTo>
                <a:cubicBezTo>
                  <a:pt x="104424" y="15686"/>
                  <a:pt x="105320" y="16582"/>
                  <a:pt x="106665" y="16582"/>
                </a:cubicBezTo>
                <a:lnTo>
                  <a:pt x="122350" y="16582"/>
                </a:lnTo>
                <a:cubicBezTo>
                  <a:pt x="123247" y="16582"/>
                  <a:pt x="124143" y="17479"/>
                  <a:pt x="124591" y="18375"/>
                </a:cubicBezTo>
                <a:lnTo>
                  <a:pt x="133107" y="48851"/>
                </a:lnTo>
                <a:cubicBezTo>
                  <a:pt x="135347" y="56469"/>
                  <a:pt x="133555" y="64089"/>
                  <a:pt x="129073" y="69914"/>
                </a:cubicBezTo>
                <a:cubicBezTo>
                  <a:pt x="124591" y="75741"/>
                  <a:pt x="117869" y="79326"/>
                  <a:pt x="110250" y="79326"/>
                </a:cubicBezTo>
                <a:lnTo>
                  <a:pt x="80222" y="79326"/>
                </a:lnTo>
                <a:lnTo>
                  <a:pt x="73500" y="59158"/>
                </a:lnTo>
                <a:cubicBezTo>
                  <a:pt x="73052" y="57814"/>
                  <a:pt x="72604" y="56469"/>
                  <a:pt x="72155" y="55125"/>
                </a:cubicBezTo>
                <a:cubicBezTo>
                  <a:pt x="78878" y="49299"/>
                  <a:pt x="77085" y="40335"/>
                  <a:pt x="74844" y="36302"/>
                </a:cubicBezTo>
                <a:cubicBezTo>
                  <a:pt x="74396" y="35406"/>
                  <a:pt x="73948" y="34958"/>
                  <a:pt x="73052" y="34958"/>
                </a:cubicBezTo>
                <a:cubicBezTo>
                  <a:pt x="28235" y="31372"/>
                  <a:pt x="19719" y="36302"/>
                  <a:pt x="17479" y="41680"/>
                </a:cubicBezTo>
                <a:cubicBezTo>
                  <a:pt x="16582" y="44369"/>
                  <a:pt x="17030" y="46162"/>
                  <a:pt x="17927" y="47506"/>
                </a:cubicBezTo>
                <a:cubicBezTo>
                  <a:pt x="18823" y="48851"/>
                  <a:pt x="20168" y="49747"/>
                  <a:pt x="21960" y="50643"/>
                </a:cubicBezTo>
                <a:cubicBezTo>
                  <a:pt x="9412" y="54677"/>
                  <a:pt x="0" y="66329"/>
                  <a:pt x="0" y="80671"/>
                </a:cubicBezTo>
                <a:cubicBezTo>
                  <a:pt x="0" y="82463"/>
                  <a:pt x="1345" y="83808"/>
                  <a:pt x="3137" y="83808"/>
                </a:cubicBezTo>
                <a:lnTo>
                  <a:pt x="11652" y="83808"/>
                </a:lnTo>
                <a:cubicBezTo>
                  <a:pt x="11204" y="85600"/>
                  <a:pt x="11204" y="86945"/>
                  <a:pt x="11204" y="88738"/>
                </a:cubicBezTo>
                <a:cubicBezTo>
                  <a:pt x="11204" y="100838"/>
                  <a:pt x="21064" y="110698"/>
                  <a:pt x="33165" y="110698"/>
                </a:cubicBezTo>
                <a:cubicBezTo>
                  <a:pt x="45265" y="110698"/>
                  <a:pt x="55125" y="100838"/>
                  <a:pt x="55125" y="88738"/>
                </a:cubicBezTo>
                <a:cubicBezTo>
                  <a:pt x="55125" y="86945"/>
                  <a:pt x="54677" y="85600"/>
                  <a:pt x="54677" y="83808"/>
                </a:cubicBezTo>
                <a:lnTo>
                  <a:pt x="78878" y="83808"/>
                </a:lnTo>
                <a:cubicBezTo>
                  <a:pt x="78878" y="83808"/>
                  <a:pt x="78878" y="83808"/>
                  <a:pt x="78878" y="83808"/>
                </a:cubicBezTo>
                <a:cubicBezTo>
                  <a:pt x="78878" y="83808"/>
                  <a:pt x="78878" y="83808"/>
                  <a:pt x="78878" y="83808"/>
                </a:cubicBezTo>
                <a:lnTo>
                  <a:pt x="110698" y="83808"/>
                </a:lnTo>
                <a:cubicBezTo>
                  <a:pt x="115180" y="83808"/>
                  <a:pt x="119213" y="82912"/>
                  <a:pt x="123247" y="81119"/>
                </a:cubicBezTo>
                <a:cubicBezTo>
                  <a:pt x="122350" y="83360"/>
                  <a:pt x="121902" y="86048"/>
                  <a:pt x="121902" y="88738"/>
                </a:cubicBezTo>
                <a:cubicBezTo>
                  <a:pt x="121902" y="100838"/>
                  <a:pt x="131762" y="110698"/>
                  <a:pt x="143863" y="110698"/>
                </a:cubicBezTo>
                <a:cubicBezTo>
                  <a:pt x="155963" y="110698"/>
                  <a:pt x="165823" y="100838"/>
                  <a:pt x="165823" y="88738"/>
                </a:cubicBezTo>
                <a:cubicBezTo>
                  <a:pt x="165823" y="76637"/>
                  <a:pt x="155067" y="67226"/>
                  <a:pt x="142966" y="67226"/>
                </a:cubicBezTo>
                <a:close/>
                <a:moveTo>
                  <a:pt x="133107" y="4930"/>
                </a:moveTo>
                <a:cubicBezTo>
                  <a:pt x="133107" y="4930"/>
                  <a:pt x="133555" y="4930"/>
                  <a:pt x="133555" y="4930"/>
                </a:cubicBezTo>
                <a:lnTo>
                  <a:pt x="134003" y="15686"/>
                </a:lnTo>
                <a:cubicBezTo>
                  <a:pt x="129969" y="16134"/>
                  <a:pt x="126384" y="14341"/>
                  <a:pt x="125936" y="11652"/>
                </a:cubicBezTo>
                <a:cubicBezTo>
                  <a:pt x="125488" y="8515"/>
                  <a:pt x="128625" y="5378"/>
                  <a:pt x="133107" y="4930"/>
                </a:cubicBezTo>
                <a:close/>
                <a:moveTo>
                  <a:pt x="21064" y="43921"/>
                </a:moveTo>
                <a:cubicBezTo>
                  <a:pt x="22409" y="41231"/>
                  <a:pt x="30476" y="36750"/>
                  <a:pt x="70811" y="39887"/>
                </a:cubicBezTo>
                <a:cubicBezTo>
                  <a:pt x="71707" y="42128"/>
                  <a:pt x="73052" y="47954"/>
                  <a:pt x="69018" y="51988"/>
                </a:cubicBezTo>
                <a:cubicBezTo>
                  <a:pt x="67674" y="50643"/>
                  <a:pt x="65881" y="50195"/>
                  <a:pt x="63192" y="50195"/>
                </a:cubicBezTo>
                <a:lnTo>
                  <a:pt x="35405" y="50195"/>
                </a:lnTo>
                <a:cubicBezTo>
                  <a:pt x="30476" y="49747"/>
                  <a:pt x="22857" y="48403"/>
                  <a:pt x="21512" y="45713"/>
                </a:cubicBezTo>
                <a:cubicBezTo>
                  <a:pt x="21064" y="45265"/>
                  <a:pt x="21064" y="44817"/>
                  <a:pt x="21064" y="43921"/>
                </a:cubicBezTo>
                <a:close/>
                <a:moveTo>
                  <a:pt x="49747" y="89186"/>
                </a:moveTo>
                <a:cubicBezTo>
                  <a:pt x="49747" y="99046"/>
                  <a:pt x="41680" y="106665"/>
                  <a:pt x="32268" y="106665"/>
                </a:cubicBezTo>
                <a:cubicBezTo>
                  <a:pt x="22409" y="106665"/>
                  <a:pt x="14790" y="98597"/>
                  <a:pt x="14790" y="89186"/>
                </a:cubicBezTo>
                <a:cubicBezTo>
                  <a:pt x="14790" y="87393"/>
                  <a:pt x="15238" y="86048"/>
                  <a:pt x="15686" y="84256"/>
                </a:cubicBezTo>
                <a:lnTo>
                  <a:pt x="49299" y="84256"/>
                </a:lnTo>
                <a:cubicBezTo>
                  <a:pt x="49299" y="85600"/>
                  <a:pt x="49747" y="87393"/>
                  <a:pt x="49747" y="89186"/>
                </a:cubicBezTo>
                <a:close/>
                <a:moveTo>
                  <a:pt x="51091" y="79775"/>
                </a:moveTo>
                <a:cubicBezTo>
                  <a:pt x="51091" y="79775"/>
                  <a:pt x="50643" y="79775"/>
                  <a:pt x="50643" y="79775"/>
                </a:cubicBezTo>
                <a:lnTo>
                  <a:pt x="4034" y="79775"/>
                </a:lnTo>
                <a:cubicBezTo>
                  <a:pt x="4930" y="65881"/>
                  <a:pt x="16134" y="54228"/>
                  <a:pt x="30476" y="54228"/>
                </a:cubicBezTo>
                <a:lnTo>
                  <a:pt x="63640" y="54228"/>
                </a:lnTo>
                <a:cubicBezTo>
                  <a:pt x="66329" y="54228"/>
                  <a:pt x="67674" y="54677"/>
                  <a:pt x="69018" y="60503"/>
                </a:cubicBezTo>
                <a:lnTo>
                  <a:pt x="75293" y="79326"/>
                </a:lnTo>
                <a:lnTo>
                  <a:pt x="51091" y="79326"/>
                </a:lnTo>
                <a:close/>
                <a:moveTo>
                  <a:pt x="142966" y="106665"/>
                </a:moveTo>
                <a:cubicBezTo>
                  <a:pt x="133107" y="106665"/>
                  <a:pt x="125488" y="98597"/>
                  <a:pt x="125488" y="89186"/>
                </a:cubicBezTo>
                <a:cubicBezTo>
                  <a:pt x="125488" y="79775"/>
                  <a:pt x="133555" y="71707"/>
                  <a:pt x="142966" y="71707"/>
                </a:cubicBezTo>
                <a:cubicBezTo>
                  <a:pt x="152826" y="71707"/>
                  <a:pt x="160445" y="79775"/>
                  <a:pt x="160445" y="89186"/>
                </a:cubicBezTo>
                <a:cubicBezTo>
                  <a:pt x="160445" y="98597"/>
                  <a:pt x="152378" y="106665"/>
                  <a:pt x="142966" y="106665"/>
                </a:cubicBezTo>
                <a:close/>
              </a:path>
            </a:pathLst>
          </a:custGeom>
          <a:solidFill>
            <a:srgbClr val="231F20"/>
          </a:solidFill>
          <a:ln w="4477" cap="flat">
            <a:noFill/>
            <a:prstDash val="solid"/>
            <a:miter/>
          </a:ln>
        </p:spPr>
        <p:txBody>
          <a:bodyPr rtlCol="0" anchor="ctr"/>
          <a:lstStyle/>
          <a:p>
            <a:endParaRPr lang="en-US"/>
          </a:p>
        </p:txBody>
      </p:sp>
      <p:sp>
        <p:nvSpPr>
          <p:cNvPr id="3903" name="Freeform: Shape 3902">
            <a:extLst>
              <a:ext uri="{FF2B5EF4-FFF2-40B4-BE49-F238E27FC236}">
                <a16:creationId xmlns:a16="http://schemas.microsoft.com/office/drawing/2014/main" id="{B11C8481-4EB2-462C-B3BF-1EAF79651CDA}"/>
              </a:ext>
              <a:ext uri="{C183D7F6-B498-43B3-948B-1728B52AA6E4}">
                <adec:decorative xmlns:adec="http://schemas.microsoft.com/office/drawing/2017/decorative" val="1"/>
              </a:ext>
            </a:extLst>
          </p:cNvPr>
          <p:cNvSpPr>
            <a:spLocks noChangeAspect="1"/>
          </p:cNvSpPr>
          <p:nvPr/>
        </p:nvSpPr>
        <p:spPr>
          <a:xfrm>
            <a:off x="3720599" y="2048364"/>
            <a:ext cx="179268" cy="170305"/>
          </a:xfrm>
          <a:custGeom>
            <a:avLst/>
            <a:gdLst>
              <a:gd name="connsiteX0" fmla="*/ 180164 w 179268"/>
              <a:gd name="connsiteY0" fmla="*/ 169408 h 170304"/>
              <a:gd name="connsiteX1" fmla="*/ 167615 w 179268"/>
              <a:gd name="connsiteY1" fmla="*/ 169408 h 170304"/>
              <a:gd name="connsiteX2" fmla="*/ 167615 w 179268"/>
              <a:gd name="connsiteY2" fmla="*/ 84256 h 170304"/>
              <a:gd name="connsiteX3" fmla="*/ 165375 w 179268"/>
              <a:gd name="connsiteY3" fmla="*/ 82015 h 170304"/>
              <a:gd name="connsiteX4" fmla="*/ 140277 w 179268"/>
              <a:gd name="connsiteY4" fmla="*/ 82015 h 170304"/>
              <a:gd name="connsiteX5" fmla="*/ 140277 w 179268"/>
              <a:gd name="connsiteY5" fmla="*/ 67674 h 170304"/>
              <a:gd name="connsiteX6" fmla="*/ 138036 w 179268"/>
              <a:gd name="connsiteY6" fmla="*/ 65433 h 170304"/>
              <a:gd name="connsiteX7" fmla="*/ 129073 w 179268"/>
              <a:gd name="connsiteY7" fmla="*/ 65433 h 170304"/>
              <a:gd name="connsiteX8" fmla="*/ 129073 w 179268"/>
              <a:gd name="connsiteY8" fmla="*/ 59159 h 170304"/>
              <a:gd name="connsiteX9" fmla="*/ 124591 w 179268"/>
              <a:gd name="connsiteY9" fmla="*/ 54677 h 170304"/>
              <a:gd name="connsiteX10" fmla="*/ 120558 w 179268"/>
              <a:gd name="connsiteY10" fmla="*/ 54677 h 170304"/>
              <a:gd name="connsiteX11" fmla="*/ 93219 w 179268"/>
              <a:gd name="connsiteY11" fmla="*/ 27339 h 170304"/>
              <a:gd name="connsiteX12" fmla="*/ 93219 w 179268"/>
              <a:gd name="connsiteY12" fmla="*/ 15238 h 170304"/>
              <a:gd name="connsiteX13" fmla="*/ 110250 w 179268"/>
              <a:gd name="connsiteY13" fmla="*/ 15238 h 170304"/>
              <a:gd name="connsiteX14" fmla="*/ 112491 w 179268"/>
              <a:gd name="connsiteY14" fmla="*/ 12997 h 170304"/>
              <a:gd name="connsiteX15" fmla="*/ 112491 w 179268"/>
              <a:gd name="connsiteY15" fmla="*/ 2241 h 170304"/>
              <a:gd name="connsiteX16" fmla="*/ 110250 w 179268"/>
              <a:gd name="connsiteY16" fmla="*/ 0 h 170304"/>
              <a:gd name="connsiteX17" fmla="*/ 90978 w 179268"/>
              <a:gd name="connsiteY17" fmla="*/ 0 h 170304"/>
              <a:gd name="connsiteX18" fmla="*/ 90978 w 179268"/>
              <a:gd name="connsiteY18" fmla="*/ 0 h 170304"/>
              <a:gd name="connsiteX19" fmla="*/ 90978 w 179268"/>
              <a:gd name="connsiteY19" fmla="*/ 0 h 170304"/>
              <a:gd name="connsiteX20" fmla="*/ 88738 w 179268"/>
              <a:gd name="connsiteY20" fmla="*/ 2241 h 170304"/>
              <a:gd name="connsiteX21" fmla="*/ 88738 w 179268"/>
              <a:gd name="connsiteY21" fmla="*/ 27339 h 170304"/>
              <a:gd name="connsiteX22" fmla="*/ 61399 w 179268"/>
              <a:gd name="connsiteY22" fmla="*/ 54677 h 170304"/>
              <a:gd name="connsiteX23" fmla="*/ 57366 w 179268"/>
              <a:gd name="connsiteY23" fmla="*/ 54677 h 170304"/>
              <a:gd name="connsiteX24" fmla="*/ 52884 w 179268"/>
              <a:gd name="connsiteY24" fmla="*/ 59159 h 170304"/>
              <a:gd name="connsiteX25" fmla="*/ 52884 w 179268"/>
              <a:gd name="connsiteY25" fmla="*/ 65433 h 170304"/>
              <a:gd name="connsiteX26" fmla="*/ 44369 w 179268"/>
              <a:gd name="connsiteY26" fmla="*/ 65433 h 170304"/>
              <a:gd name="connsiteX27" fmla="*/ 42128 w 179268"/>
              <a:gd name="connsiteY27" fmla="*/ 67674 h 170304"/>
              <a:gd name="connsiteX28" fmla="*/ 42128 w 179268"/>
              <a:gd name="connsiteY28" fmla="*/ 82015 h 170304"/>
              <a:gd name="connsiteX29" fmla="*/ 17030 w 179268"/>
              <a:gd name="connsiteY29" fmla="*/ 82015 h 170304"/>
              <a:gd name="connsiteX30" fmla="*/ 14790 w 179268"/>
              <a:gd name="connsiteY30" fmla="*/ 84256 h 170304"/>
              <a:gd name="connsiteX31" fmla="*/ 14790 w 179268"/>
              <a:gd name="connsiteY31" fmla="*/ 169408 h 170304"/>
              <a:gd name="connsiteX32" fmla="*/ 2241 w 179268"/>
              <a:gd name="connsiteY32" fmla="*/ 169408 h 170304"/>
              <a:gd name="connsiteX33" fmla="*/ 0 w 179268"/>
              <a:gd name="connsiteY33" fmla="*/ 171649 h 170304"/>
              <a:gd name="connsiteX34" fmla="*/ 2241 w 179268"/>
              <a:gd name="connsiteY34" fmla="*/ 173890 h 170304"/>
              <a:gd name="connsiteX35" fmla="*/ 17030 w 179268"/>
              <a:gd name="connsiteY35" fmla="*/ 173890 h 170304"/>
              <a:gd name="connsiteX36" fmla="*/ 43921 w 179268"/>
              <a:gd name="connsiteY36" fmla="*/ 173890 h 170304"/>
              <a:gd name="connsiteX37" fmla="*/ 70811 w 179268"/>
              <a:gd name="connsiteY37" fmla="*/ 173890 h 170304"/>
              <a:gd name="connsiteX38" fmla="*/ 111146 w 179268"/>
              <a:gd name="connsiteY38" fmla="*/ 173890 h 170304"/>
              <a:gd name="connsiteX39" fmla="*/ 138036 w 179268"/>
              <a:gd name="connsiteY39" fmla="*/ 173890 h 170304"/>
              <a:gd name="connsiteX40" fmla="*/ 164927 w 179268"/>
              <a:gd name="connsiteY40" fmla="*/ 173890 h 170304"/>
              <a:gd name="connsiteX41" fmla="*/ 179716 w 179268"/>
              <a:gd name="connsiteY41" fmla="*/ 173890 h 170304"/>
              <a:gd name="connsiteX42" fmla="*/ 181957 w 179268"/>
              <a:gd name="connsiteY42" fmla="*/ 171649 h 170304"/>
              <a:gd name="connsiteX43" fmla="*/ 180164 w 179268"/>
              <a:gd name="connsiteY43" fmla="*/ 169408 h 170304"/>
              <a:gd name="connsiteX44" fmla="*/ 93667 w 179268"/>
              <a:gd name="connsiteY44" fmla="*/ 4482 h 170304"/>
              <a:gd name="connsiteX45" fmla="*/ 108457 w 179268"/>
              <a:gd name="connsiteY45" fmla="*/ 4482 h 170304"/>
              <a:gd name="connsiteX46" fmla="*/ 108457 w 179268"/>
              <a:gd name="connsiteY46" fmla="*/ 10756 h 170304"/>
              <a:gd name="connsiteX47" fmla="*/ 93667 w 179268"/>
              <a:gd name="connsiteY47" fmla="*/ 10756 h 170304"/>
              <a:gd name="connsiteX48" fmla="*/ 93667 w 179268"/>
              <a:gd name="connsiteY48" fmla="*/ 4482 h 170304"/>
              <a:gd name="connsiteX49" fmla="*/ 90978 w 179268"/>
              <a:gd name="connsiteY49" fmla="*/ 31820 h 170304"/>
              <a:gd name="connsiteX50" fmla="*/ 116076 w 179268"/>
              <a:gd name="connsiteY50" fmla="*/ 54677 h 170304"/>
              <a:gd name="connsiteX51" fmla="*/ 66329 w 179268"/>
              <a:gd name="connsiteY51" fmla="*/ 54677 h 170304"/>
              <a:gd name="connsiteX52" fmla="*/ 90978 w 179268"/>
              <a:gd name="connsiteY52" fmla="*/ 31820 h 170304"/>
              <a:gd name="connsiteX53" fmla="*/ 57814 w 179268"/>
              <a:gd name="connsiteY53" fmla="*/ 59159 h 170304"/>
              <a:gd name="connsiteX54" fmla="*/ 124591 w 179268"/>
              <a:gd name="connsiteY54" fmla="*/ 59159 h 170304"/>
              <a:gd name="connsiteX55" fmla="*/ 124591 w 179268"/>
              <a:gd name="connsiteY55" fmla="*/ 65433 h 170304"/>
              <a:gd name="connsiteX56" fmla="*/ 57814 w 179268"/>
              <a:gd name="connsiteY56" fmla="*/ 65433 h 170304"/>
              <a:gd name="connsiteX57" fmla="*/ 57814 w 179268"/>
              <a:gd name="connsiteY57" fmla="*/ 59159 h 170304"/>
              <a:gd name="connsiteX58" fmla="*/ 92323 w 179268"/>
              <a:gd name="connsiteY58" fmla="*/ 120558 h 170304"/>
              <a:gd name="connsiteX59" fmla="*/ 92323 w 179268"/>
              <a:gd name="connsiteY59" fmla="*/ 120558 h 170304"/>
              <a:gd name="connsiteX60" fmla="*/ 92323 w 179268"/>
              <a:gd name="connsiteY60" fmla="*/ 120558 h 170304"/>
              <a:gd name="connsiteX61" fmla="*/ 90978 w 179268"/>
              <a:gd name="connsiteY61" fmla="*/ 120110 h 170304"/>
              <a:gd name="connsiteX62" fmla="*/ 90978 w 179268"/>
              <a:gd name="connsiteY62" fmla="*/ 120110 h 170304"/>
              <a:gd name="connsiteX63" fmla="*/ 89634 w 179268"/>
              <a:gd name="connsiteY63" fmla="*/ 120558 h 170304"/>
              <a:gd name="connsiteX64" fmla="*/ 79774 w 179268"/>
              <a:gd name="connsiteY64" fmla="*/ 125936 h 170304"/>
              <a:gd name="connsiteX65" fmla="*/ 79774 w 179268"/>
              <a:gd name="connsiteY65" fmla="*/ 101735 h 170304"/>
              <a:gd name="connsiteX66" fmla="*/ 91427 w 179268"/>
              <a:gd name="connsiteY66" fmla="*/ 97701 h 170304"/>
              <a:gd name="connsiteX67" fmla="*/ 102631 w 179268"/>
              <a:gd name="connsiteY67" fmla="*/ 101735 h 170304"/>
              <a:gd name="connsiteX68" fmla="*/ 102631 w 179268"/>
              <a:gd name="connsiteY68" fmla="*/ 126384 h 170304"/>
              <a:gd name="connsiteX69" fmla="*/ 92323 w 179268"/>
              <a:gd name="connsiteY69" fmla="*/ 120558 h 170304"/>
              <a:gd name="connsiteX70" fmla="*/ 75293 w 179268"/>
              <a:gd name="connsiteY70" fmla="*/ 128625 h 170304"/>
              <a:gd name="connsiteX71" fmla="*/ 69914 w 179268"/>
              <a:gd name="connsiteY71" fmla="*/ 131314 h 170304"/>
              <a:gd name="connsiteX72" fmla="*/ 68570 w 179268"/>
              <a:gd name="connsiteY72" fmla="*/ 133107 h 170304"/>
              <a:gd name="connsiteX73" fmla="*/ 68570 w 179268"/>
              <a:gd name="connsiteY73" fmla="*/ 168960 h 170304"/>
              <a:gd name="connsiteX74" fmla="*/ 46161 w 179268"/>
              <a:gd name="connsiteY74" fmla="*/ 168960 h 170304"/>
              <a:gd name="connsiteX75" fmla="*/ 46161 w 179268"/>
              <a:gd name="connsiteY75" fmla="*/ 112491 h 170304"/>
              <a:gd name="connsiteX76" fmla="*/ 74844 w 179268"/>
              <a:gd name="connsiteY76" fmla="*/ 102631 h 170304"/>
              <a:gd name="connsiteX77" fmla="*/ 74844 w 179268"/>
              <a:gd name="connsiteY77" fmla="*/ 128625 h 170304"/>
              <a:gd name="connsiteX78" fmla="*/ 73500 w 179268"/>
              <a:gd name="connsiteY78" fmla="*/ 134899 h 170304"/>
              <a:gd name="connsiteX79" fmla="*/ 89186 w 179268"/>
              <a:gd name="connsiteY79" fmla="*/ 126384 h 170304"/>
              <a:gd name="connsiteX80" fmla="*/ 89186 w 179268"/>
              <a:gd name="connsiteY80" fmla="*/ 169408 h 170304"/>
              <a:gd name="connsiteX81" fmla="*/ 73500 w 179268"/>
              <a:gd name="connsiteY81" fmla="*/ 169408 h 170304"/>
              <a:gd name="connsiteX82" fmla="*/ 73500 w 179268"/>
              <a:gd name="connsiteY82" fmla="*/ 134899 h 170304"/>
              <a:gd name="connsiteX83" fmla="*/ 93219 w 179268"/>
              <a:gd name="connsiteY83" fmla="*/ 169408 h 170304"/>
              <a:gd name="connsiteX84" fmla="*/ 93219 w 179268"/>
              <a:gd name="connsiteY84" fmla="*/ 125936 h 170304"/>
              <a:gd name="connsiteX85" fmla="*/ 108905 w 179268"/>
              <a:gd name="connsiteY85" fmla="*/ 134451 h 170304"/>
              <a:gd name="connsiteX86" fmla="*/ 108905 w 179268"/>
              <a:gd name="connsiteY86" fmla="*/ 168960 h 170304"/>
              <a:gd name="connsiteX87" fmla="*/ 93219 w 179268"/>
              <a:gd name="connsiteY87" fmla="*/ 168960 h 170304"/>
              <a:gd name="connsiteX88" fmla="*/ 113835 w 179268"/>
              <a:gd name="connsiteY88" fmla="*/ 169408 h 170304"/>
              <a:gd name="connsiteX89" fmla="*/ 113835 w 179268"/>
              <a:gd name="connsiteY89" fmla="*/ 133555 h 170304"/>
              <a:gd name="connsiteX90" fmla="*/ 112491 w 179268"/>
              <a:gd name="connsiteY90" fmla="*/ 131762 h 170304"/>
              <a:gd name="connsiteX91" fmla="*/ 107113 w 179268"/>
              <a:gd name="connsiteY91" fmla="*/ 128625 h 170304"/>
              <a:gd name="connsiteX92" fmla="*/ 107113 w 179268"/>
              <a:gd name="connsiteY92" fmla="*/ 103079 h 170304"/>
              <a:gd name="connsiteX93" fmla="*/ 136244 w 179268"/>
              <a:gd name="connsiteY93" fmla="*/ 113387 h 170304"/>
              <a:gd name="connsiteX94" fmla="*/ 136244 w 179268"/>
              <a:gd name="connsiteY94" fmla="*/ 169857 h 170304"/>
              <a:gd name="connsiteX95" fmla="*/ 113835 w 179268"/>
              <a:gd name="connsiteY95" fmla="*/ 169857 h 170304"/>
              <a:gd name="connsiteX96" fmla="*/ 140725 w 179268"/>
              <a:gd name="connsiteY96" fmla="*/ 169408 h 170304"/>
              <a:gd name="connsiteX97" fmla="*/ 140725 w 179268"/>
              <a:gd name="connsiteY97" fmla="*/ 111595 h 170304"/>
              <a:gd name="connsiteX98" fmla="*/ 139381 w 179268"/>
              <a:gd name="connsiteY98" fmla="*/ 109354 h 170304"/>
              <a:gd name="connsiteX99" fmla="*/ 92323 w 179268"/>
              <a:gd name="connsiteY99" fmla="*/ 92771 h 170304"/>
              <a:gd name="connsiteX100" fmla="*/ 90978 w 179268"/>
              <a:gd name="connsiteY100" fmla="*/ 92771 h 170304"/>
              <a:gd name="connsiteX101" fmla="*/ 43921 w 179268"/>
              <a:gd name="connsiteY101" fmla="*/ 109354 h 170304"/>
              <a:gd name="connsiteX102" fmla="*/ 42576 w 179268"/>
              <a:gd name="connsiteY102" fmla="*/ 111595 h 170304"/>
              <a:gd name="connsiteX103" fmla="*/ 42576 w 179268"/>
              <a:gd name="connsiteY103" fmla="*/ 169408 h 170304"/>
              <a:gd name="connsiteX104" fmla="*/ 20168 w 179268"/>
              <a:gd name="connsiteY104" fmla="*/ 169408 h 170304"/>
              <a:gd name="connsiteX105" fmla="*/ 20168 w 179268"/>
              <a:gd name="connsiteY105" fmla="*/ 86497 h 170304"/>
              <a:gd name="connsiteX106" fmla="*/ 45265 w 179268"/>
              <a:gd name="connsiteY106" fmla="*/ 86497 h 170304"/>
              <a:gd name="connsiteX107" fmla="*/ 47506 w 179268"/>
              <a:gd name="connsiteY107" fmla="*/ 84256 h 170304"/>
              <a:gd name="connsiteX108" fmla="*/ 47506 w 179268"/>
              <a:gd name="connsiteY108" fmla="*/ 70363 h 170304"/>
              <a:gd name="connsiteX109" fmla="*/ 58262 w 179268"/>
              <a:gd name="connsiteY109" fmla="*/ 70363 h 170304"/>
              <a:gd name="connsiteX110" fmla="*/ 73052 w 179268"/>
              <a:gd name="connsiteY110" fmla="*/ 70363 h 170304"/>
              <a:gd name="connsiteX111" fmla="*/ 73052 w 179268"/>
              <a:gd name="connsiteY111" fmla="*/ 84704 h 170304"/>
              <a:gd name="connsiteX112" fmla="*/ 75293 w 179268"/>
              <a:gd name="connsiteY112" fmla="*/ 86945 h 170304"/>
              <a:gd name="connsiteX113" fmla="*/ 77533 w 179268"/>
              <a:gd name="connsiteY113" fmla="*/ 84704 h 170304"/>
              <a:gd name="connsiteX114" fmla="*/ 77533 w 179268"/>
              <a:gd name="connsiteY114" fmla="*/ 70363 h 170304"/>
              <a:gd name="connsiteX115" fmla="*/ 105768 w 179268"/>
              <a:gd name="connsiteY115" fmla="*/ 70363 h 170304"/>
              <a:gd name="connsiteX116" fmla="*/ 105768 w 179268"/>
              <a:gd name="connsiteY116" fmla="*/ 84704 h 170304"/>
              <a:gd name="connsiteX117" fmla="*/ 108009 w 179268"/>
              <a:gd name="connsiteY117" fmla="*/ 86945 h 170304"/>
              <a:gd name="connsiteX118" fmla="*/ 110250 w 179268"/>
              <a:gd name="connsiteY118" fmla="*/ 84704 h 170304"/>
              <a:gd name="connsiteX119" fmla="*/ 110250 w 179268"/>
              <a:gd name="connsiteY119" fmla="*/ 70363 h 170304"/>
              <a:gd name="connsiteX120" fmla="*/ 125039 w 179268"/>
              <a:gd name="connsiteY120" fmla="*/ 70363 h 170304"/>
              <a:gd name="connsiteX121" fmla="*/ 136244 w 179268"/>
              <a:gd name="connsiteY121" fmla="*/ 70363 h 170304"/>
              <a:gd name="connsiteX122" fmla="*/ 136244 w 179268"/>
              <a:gd name="connsiteY122" fmla="*/ 84704 h 170304"/>
              <a:gd name="connsiteX123" fmla="*/ 138484 w 179268"/>
              <a:gd name="connsiteY123" fmla="*/ 86945 h 170304"/>
              <a:gd name="connsiteX124" fmla="*/ 163582 w 179268"/>
              <a:gd name="connsiteY124" fmla="*/ 86945 h 170304"/>
              <a:gd name="connsiteX125" fmla="*/ 163582 w 179268"/>
              <a:gd name="connsiteY125" fmla="*/ 169857 h 170304"/>
              <a:gd name="connsiteX126" fmla="*/ 140725 w 179268"/>
              <a:gd name="connsiteY126" fmla="*/ 169857 h 1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79268" h="170304">
                <a:moveTo>
                  <a:pt x="180164" y="169408"/>
                </a:moveTo>
                <a:lnTo>
                  <a:pt x="167615" y="169408"/>
                </a:lnTo>
                <a:lnTo>
                  <a:pt x="167615" y="84256"/>
                </a:lnTo>
                <a:cubicBezTo>
                  <a:pt x="167615" y="82912"/>
                  <a:pt x="166719" y="82015"/>
                  <a:pt x="165375" y="82015"/>
                </a:cubicBezTo>
                <a:lnTo>
                  <a:pt x="140277" y="82015"/>
                </a:lnTo>
                <a:lnTo>
                  <a:pt x="140277" y="67674"/>
                </a:lnTo>
                <a:cubicBezTo>
                  <a:pt x="140277" y="66329"/>
                  <a:pt x="139381" y="65433"/>
                  <a:pt x="138036" y="65433"/>
                </a:cubicBezTo>
                <a:lnTo>
                  <a:pt x="129073" y="65433"/>
                </a:lnTo>
                <a:lnTo>
                  <a:pt x="129073" y="59159"/>
                </a:lnTo>
                <a:cubicBezTo>
                  <a:pt x="129073" y="56470"/>
                  <a:pt x="127280" y="54677"/>
                  <a:pt x="124591" y="54677"/>
                </a:cubicBezTo>
                <a:lnTo>
                  <a:pt x="120558" y="54677"/>
                </a:lnTo>
                <a:cubicBezTo>
                  <a:pt x="119661" y="40335"/>
                  <a:pt x="108009" y="28683"/>
                  <a:pt x="93219" y="27339"/>
                </a:cubicBezTo>
                <a:lnTo>
                  <a:pt x="93219" y="15238"/>
                </a:lnTo>
                <a:lnTo>
                  <a:pt x="110250" y="15238"/>
                </a:lnTo>
                <a:cubicBezTo>
                  <a:pt x="111594" y="15238"/>
                  <a:pt x="112491" y="14342"/>
                  <a:pt x="112491" y="12997"/>
                </a:cubicBezTo>
                <a:lnTo>
                  <a:pt x="112491" y="2241"/>
                </a:lnTo>
                <a:cubicBezTo>
                  <a:pt x="112491" y="896"/>
                  <a:pt x="111594" y="0"/>
                  <a:pt x="110250" y="0"/>
                </a:cubicBezTo>
                <a:lnTo>
                  <a:pt x="90978" y="0"/>
                </a:lnTo>
                <a:cubicBezTo>
                  <a:pt x="90978" y="0"/>
                  <a:pt x="90978" y="0"/>
                  <a:pt x="90978" y="0"/>
                </a:cubicBezTo>
                <a:cubicBezTo>
                  <a:pt x="90978" y="0"/>
                  <a:pt x="90978" y="0"/>
                  <a:pt x="90978" y="0"/>
                </a:cubicBezTo>
                <a:cubicBezTo>
                  <a:pt x="89634" y="0"/>
                  <a:pt x="88738" y="896"/>
                  <a:pt x="88738" y="2241"/>
                </a:cubicBezTo>
                <a:lnTo>
                  <a:pt x="88738" y="27339"/>
                </a:lnTo>
                <a:cubicBezTo>
                  <a:pt x="74396" y="28235"/>
                  <a:pt x="62744" y="39887"/>
                  <a:pt x="61399" y="54677"/>
                </a:cubicBezTo>
                <a:lnTo>
                  <a:pt x="57366" y="54677"/>
                </a:lnTo>
                <a:cubicBezTo>
                  <a:pt x="54677" y="54677"/>
                  <a:pt x="52884" y="56470"/>
                  <a:pt x="52884" y="59159"/>
                </a:cubicBezTo>
                <a:lnTo>
                  <a:pt x="52884" y="65433"/>
                </a:lnTo>
                <a:lnTo>
                  <a:pt x="44369" y="65433"/>
                </a:lnTo>
                <a:cubicBezTo>
                  <a:pt x="43024" y="65433"/>
                  <a:pt x="42128" y="66329"/>
                  <a:pt x="42128" y="67674"/>
                </a:cubicBezTo>
                <a:lnTo>
                  <a:pt x="42128" y="82015"/>
                </a:lnTo>
                <a:lnTo>
                  <a:pt x="17030" y="82015"/>
                </a:lnTo>
                <a:cubicBezTo>
                  <a:pt x="15686" y="82015"/>
                  <a:pt x="14790" y="82912"/>
                  <a:pt x="14790" y="84256"/>
                </a:cubicBezTo>
                <a:lnTo>
                  <a:pt x="14790" y="169408"/>
                </a:lnTo>
                <a:lnTo>
                  <a:pt x="2241" y="169408"/>
                </a:lnTo>
                <a:cubicBezTo>
                  <a:pt x="896" y="169408"/>
                  <a:pt x="0" y="170305"/>
                  <a:pt x="0" y="171649"/>
                </a:cubicBezTo>
                <a:cubicBezTo>
                  <a:pt x="0" y="172994"/>
                  <a:pt x="896" y="173890"/>
                  <a:pt x="2241" y="173890"/>
                </a:cubicBezTo>
                <a:lnTo>
                  <a:pt x="17030" y="173890"/>
                </a:lnTo>
                <a:lnTo>
                  <a:pt x="43921" y="173890"/>
                </a:lnTo>
                <a:lnTo>
                  <a:pt x="70811" y="173890"/>
                </a:lnTo>
                <a:lnTo>
                  <a:pt x="111146" y="173890"/>
                </a:lnTo>
                <a:lnTo>
                  <a:pt x="138036" y="173890"/>
                </a:lnTo>
                <a:lnTo>
                  <a:pt x="164927" y="173890"/>
                </a:lnTo>
                <a:lnTo>
                  <a:pt x="179716" y="173890"/>
                </a:lnTo>
                <a:cubicBezTo>
                  <a:pt x="181061" y="173890"/>
                  <a:pt x="181957" y="172994"/>
                  <a:pt x="181957" y="171649"/>
                </a:cubicBezTo>
                <a:cubicBezTo>
                  <a:pt x="182405" y="170305"/>
                  <a:pt x="181061" y="169408"/>
                  <a:pt x="180164" y="169408"/>
                </a:cubicBezTo>
                <a:close/>
                <a:moveTo>
                  <a:pt x="93667" y="4482"/>
                </a:moveTo>
                <a:lnTo>
                  <a:pt x="108457" y="4482"/>
                </a:lnTo>
                <a:lnTo>
                  <a:pt x="108457" y="10756"/>
                </a:lnTo>
                <a:lnTo>
                  <a:pt x="93667" y="10756"/>
                </a:lnTo>
                <a:lnTo>
                  <a:pt x="93667" y="4482"/>
                </a:lnTo>
                <a:close/>
                <a:moveTo>
                  <a:pt x="90978" y="31820"/>
                </a:moveTo>
                <a:cubicBezTo>
                  <a:pt x="103976" y="31820"/>
                  <a:pt x="114731" y="41680"/>
                  <a:pt x="116076" y="54677"/>
                </a:cubicBezTo>
                <a:lnTo>
                  <a:pt x="66329" y="54677"/>
                </a:lnTo>
                <a:cubicBezTo>
                  <a:pt x="67226" y="42128"/>
                  <a:pt x="77981" y="31820"/>
                  <a:pt x="90978" y="31820"/>
                </a:cubicBezTo>
                <a:close/>
                <a:moveTo>
                  <a:pt x="57814" y="59159"/>
                </a:moveTo>
                <a:lnTo>
                  <a:pt x="124591" y="59159"/>
                </a:lnTo>
                <a:lnTo>
                  <a:pt x="124591" y="65433"/>
                </a:lnTo>
                <a:lnTo>
                  <a:pt x="57814" y="65433"/>
                </a:lnTo>
                <a:lnTo>
                  <a:pt x="57814" y="59159"/>
                </a:lnTo>
                <a:close/>
                <a:moveTo>
                  <a:pt x="92323" y="120558"/>
                </a:moveTo>
                <a:cubicBezTo>
                  <a:pt x="92323" y="120558"/>
                  <a:pt x="92323" y="120558"/>
                  <a:pt x="92323" y="120558"/>
                </a:cubicBezTo>
                <a:cubicBezTo>
                  <a:pt x="91875" y="120558"/>
                  <a:pt x="91875" y="120558"/>
                  <a:pt x="92323" y="120558"/>
                </a:cubicBezTo>
                <a:cubicBezTo>
                  <a:pt x="91875" y="120558"/>
                  <a:pt x="91427" y="120110"/>
                  <a:pt x="90978" y="120110"/>
                </a:cubicBezTo>
                <a:cubicBezTo>
                  <a:pt x="90978" y="120110"/>
                  <a:pt x="90978" y="120110"/>
                  <a:pt x="90978" y="120110"/>
                </a:cubicBezTo>
                <a:cubicBezTo>
                  <a:pt x="90530" y="120110"/>
                  <a:pt x="90082" y="120558"/>
                  <a:pt x="89634" y="120558"/>
                </a:cubicBezTo>
                <a:lnTo>
                  <a:pt x="79774" y="125936"/>
                </a:lnTo>
                <a:lnTo>
                  <a:pt x="79774" y="101735"/>
                </a:lnTo>
                <a:lnTo>
                  <a:pt x="91427" y="97701"/>
                </a:lnTo>
                <a:lnTo>
                  <a:pt x="102631" y="101735"/>
                </a:lnTo>
                <a:lnTo>
                  <a:pt x="102631" y="126384"/>
                </a:lnTo>
                <a:lnTo>
                  <a:pt x="92323" y="120558"/>
                </a:lnTo>
                <a:close/>
                <a:moveTo>
                  <a:pt x="75293" y="128625"/>
                </a:moveTo>
                <a:lnTo>
                  <a:pt x="69914" y="131314"/>
                </a:lnTo>
                <a:cubicBezTo>
                  <a:pt x="69018" y="131762"/>
                  <a:pt x="68570" y="132659"/>
                  <a:pt x="68570" y="133107"/>
                </a:cubicBezTo>
                <a:lnTo>
                  <a:pt x="68570" y="168960"/>
                </a:lnTo>
                <a:lnTo>
                  <a:pt x="46161" y="168960"/>
                </a:lnTo>
                <a:lnTo>
                  <a:pt x="46161" y="112491"/>
                </a:lnTo>
                <a:lnTo>
                  <a:pt x="74844" y="102631"/>
                </a:lnTo>
                <a:lnTo>
                  <a:pt x="74844" y="128625"/>
                </a:lnTo>
                <a:close/>
                <a:moveTo>
                  <a:pt x="73500" y="134899"/>
                </a:moveTo>
                <a:lnTo>
                  <a:pt x="89186" y="126384"/>
                </a:lnTo>
                <a:lnTo>
                  <a:pt x="89186" y="169408"/>
                </a:lnTo>
                <a:lnTo>
                  <a:pt x="73500" y="169408"/>
                </a:lnTo>
                <a:lnTo>
                  <a:pt x="73500" y="134899"/>
                </a:lnTo>
                <a:close/>
                <a:moveTo>
                  <a:pt x="93219" y="169408"/>
                </a:moveTo>
                <a:lnTo>
                  <a:pt x="93219" y="125936"/>
                </a:lnTo>
                <a:lnTo>
                  <a:pt x="108905" y="134451"/>
                </a:lnTo>
                <a:lnTo>
                  <a:pt x="108905" y="168960"/>
                </a:lnTo>
                <a:lnTo>
                  <a:pt x="93219" y="168960"/>
                </a:lnTo>
                <a:close/>
                <a:moveTo>
                  <a:pt x="113835" y="169408"/>
                </a:moveTo>
                <a:lnTo>
                  <a:pt x="113835" y="133555"/>
                </a:lnTo>
                <a:cubicBezTo>
                  <a:pt x="113835" y="132659"/>
                  <a:pt x="113387" y="131762"/>
                  <a:pt x="112491" y="131762"/>
                </a:cubicBezTo>
                <a:lnTo>
                  <a:pt x="107113" y="128625"/>
                </a:lnTo>
                <a:lnTo>
                  <a:pt x="107113" y="103079"/>
                </a:lnTo>
                <a:lnTo>
                  <a:pt x="136244" y="113387"/>
                </a:lnTo>
                <a:lnTo>
                  <a:pt x="136244" y="169857"/>
                </a:lnTo>
                <a:lnTo>
                  <a:pt x="113835" y="169857"/>
                </a:lnTo>
                <a:close/>
                <a:moveTo>
                  <a:pt x="140725" y="169408"/>
                </a:moveTo>
                <a:lnTo>
                  <a:pt x="140725" y="111595"/>
                </a:lnTo>
                <a:cubicBezTo>
                  <a:pt x="140725" y="110698"/>
                  <a:pt x="140277" y="109802"/>
                  <a:pt x="139381" y="109354"/>
                </a:cubicBezTo>
                <a:lnTo>
                  <a:pt x="92323" y="92771"/>
                </a:lnTo>
                <a:cubicBezTo>
                  <a:pt x="91875" y="92771"/>
                  <a:pt x="91427" y="92771"/>
                  <a:pt x="90978" y="92771"/>
                </a:cubicBezTo>
                <a:lnTo>
                  <a:pt x="43921" y="109354"/>
                </a:lnTo>
                <a:cubicBezTo>
                  <a:pt x="43024" y="109802"/>
                  <a:pt x="42576" y="110698"/>
                  <a:pt x="42576" y="111595"/>
                </a:cubicBezTo>
                <a:lnTo>
                  <a:pt x="42576" y="169408"/>
                </a:lnTo>
                <a:lnTo>
                  <a:pt x="20168" y="169408"/>
                </a:lnTo>
                <a:lnTo>
                  <a:pt x="20168" y="86497"/>
                </a:lnTo>
                <a:lnTo>
                  <a:pt x="45265" y="86497"/>
                </a:lnTo>
                <a:cubicBezTo>
                  <a:pt x="46610" y="86497"/>
                  <a:pt x="47506" y="85601"/>
                  <a:pt x="47506" y="84256"/>
                </a:cubicBezTo>
                <a:lnTo>
                  <a:pt x="47506" y="70363"/>
                </a:lnTo>
                <a:lnTo>
                  <a:pt x="58262" y="70363"/>
                </a:lnTo>
                <a:lnTo>
                  <a:pt x="73052" y="70363"/>
                </a:lnTo>
                <a:lnTo>
                  <a:pt x="73052" y="84704"/>
                </a:lnTo>
                <a:cubicBezTo>
                  <a:pt x="73052" y="86049"/>
                  <a:pt x="73948" y="86945"/>
                  <a:pt x="75293" y="86945"/>
                </a:cubicBezTo>
                <a:cubicBezTo>
                  <a:pt x="76637" y="86945"/>
                  <a:pt x="77533" y="86049"/>
                  <a:pt x="77533" y="84704"/>
                </a:cubicBezTo>
                <a:lnTo>
                  <a:pt x="77533" y="70363"/>
                </a:lnTo>
                <a:lnTo>
                  <a:pt x="105768" y="70363"/>
                </a:lnTo>
                <a:lnTo>
                  <a:pt x="105768" y="84704"/>
                </a:lnTo>
                <a:cubicBezTo>
                  <a:pt x="105768" y="86049"/>
                  <a:pt x="106664" y="86945"/>
                  <a:pt x="108009" y="86945"/>
                </a:cubicBezTo>
                <a:cubicBezTo>
                  <a:pt x="109353" y="86945"/>
                  <a:pt x="110250" y="86049"/>
                  <a:pt x="110250" y="84704"/>
                </a:cubicBezTo>
                <a:lnTo>
                  <a:pt x="110250" y="70363"/>
                </a:lnTo>
                <a:lnTo>
                  <a:pt x="125039" y="70363"/>
                </a:lnTo>
                <a:lnTo>
                  <a:pt x="136244" y="70363"/>
                </a:lnTo>
                <a:lnTo>
                  <a:pt x="136244" y="84704"/>
                </a:lnTo>
                <a:cubicBezTo>
                  <a:pt x="136244" y="86049"/>
                  <a:pt x="137140" y="86945"/>
                  <a:pt x="138484" y="86945"/>
                </a:cubicBezTo>
                <a:lnTo>
                  <a:pt x="163582" y="86945"/>
                </a:lnTo>
                <a:lnTo>
                  <a:pt x="163582" y="169857"/>
                </a:lnTo>
                <a:lnTo>
                  <a:pt x="140725" y="169857"/>
                </a:lnTo>
                <a:close/>
              </a:path>
            </a:pathLst>
          </a:custGeom>
          <a:solidFill>
            <a:srgbClr val="231F20"/>
          </a:solidFill>
          <a:ln w="4477" cap="flat">
            <a:noFill/>
            <a:prstDash val="solid"/>
            <a:miter/>
          </a:ln>
        </p:spPr>
        <p:txBody>
          <a:bodyPr rtlCol="0" anchor="ctr"/>
          <a:lstStyle/>
          <a:p>
            <a:endParaRPr lang="en-US"/>
          </a:p>
        </p:txBody>
      </p:sp>
      <p:sp>
        <p:nvSpPr>
          <p:cNvPr id="3904" name="Freeform: Shape 3903">
            <a:extLst>
              <a:ext uri="{FF2B5EF4-FFF2-40B4-BE49-F238E27FC236}">
                <a16:creationId xmlns:a16="http://schemas.microsoft.com/office/drawing/2014/main" id="{9C2E7583-6A4C-47B3-93EA-758FEC311A61}"/>
              </a:ext>
              <a:ext uri="{C183D7F6-B498-43B3-948B-1728B52AA6E4}">
                <adec:decorative xmlns:adec="http://schemas.microsoft.com/office/drawing/2017/decorative" val="1"/>
              </a:ext>
            </a:extLst>
          </p:cNvPr>
          <p:cNvSpPr>
            <a:spLocks noChangeAspect="1"/>
          </p:cNvSpPr>
          <p:nvPr/>
        </p:nvSpPr>
        <p:spPr>
          <a:xfrm>
            <a:off x="4244061" y="2049708"/>
            <a:ext cx="192713" cy="170305"/>
          </a:xfrm>
          <a:custGeom>
            <a:avLst/>
            <a:gdLst>
              <a:gd name="connsiteX0" fmla="*/ 193610 w 192713"/>
              <a:gd name="connsiteY0" fmla="*/ 168064 h 170304"/>
              <a:gd name="connsiteX1" fmla="*/ 178820 w 192713"/>
              <a:gd name="connsiteY1" fmla="*/ 168064 h 170304"/>
              <a:gd name="connsiteX2" fmla="*/ 178820 w 192713"/>
              <a:gd name="connsiteY2" fmla="*/ 84256 h 170304"/>
              <a:gd name="connsiteX3" fmla="*/ 176579 w 192713"/>
              <a:gd name="connsiteY3" fmla="*/ 82015 h 170304"/>
              <a:gd name="connsiteX4" fmla="*/ 138036 w 192713"/>
              <a:gd name="connsiteY4" fmla="*/ 82015 h 170304"/>
              <a:gd name="connsiteX5" fmla="*/ 138036 w 192713"/>
              <a:gd name="connsiteY5" fmla="*/ 70811 h 170304"/>
              <a:gd name="connsiteX6" fmla="*/ 135796 w 192713"/>
              <a:gd name="connsiteY6" fmla="*/ 66777 h 170304"/>
              <a:gd name="connsiteX7" fmla="*/ 121902 w 192713"/>
              <a:gd name="connsiteY7" fmla="*/ 58710 h 170304"/>
              <a:gd name="connsiteX8" fmla="*/ 123247 w 192713"/>
              <a:gd name="connsiteY8" fmla="*/ 50195 h 170304"/>
              <a:gd name="connsiteX9" fmla="*/ 99942 w 192713"/>
              <a:gd name="connsiteY9" fmla="*/ 24649 h 170304"/>
              <a:gd name="connsiteX10" fmla="*/ 99942 w 192713"/>
              <a:gd name="connsiteY10" fmla="*/ 24201 h 170304"/>
              <a:gd name="connsiteX11" fmla="*/ 99942 w 192713"/>
              <a:gd name="connsiteY11" fmla="*/ 16134 h 170304"/>
              <a:gd name="connsiteX12" fmla="*/ 118317 w 192713"/>
              <a:gd name="connsiteY12" fmla="*/ 16134 h 170304"/>
              <a:gd name="connsiteX13" fmla="*/ 120558 w 192713"/>
              <a:gd name="connsiteY13" fmla="*/ 13893 h 170304"/>
              <a:gd name="connsiteX14" fmla="*/ 120558 w 192713"/>
              <a:gd name="connsiteY14" fmla="*/ 2241 h 170304"/>
              <a:gd name="connsiteX15" fmla="*/ 118317 w 192713"/>
              <a:gd name="connsiteY15" fmla="*/ 0 h 170304"/>
              <a:gd name="connsiteX16" fmla="*/ 97701 w 192713"/>
              <a:gd name="connsiteY16" fmla="*/ 0 h 170304"/>
              <a:gd name="connsiteX17" fmla="*/ 95460 w 192713"/>
              <a:gd name="connsiteY17" fmla="*/ 2241 h 170304"/>
              <a:gd name="connsiteX18" fmla="*/ 95460 w 192713"/>
              <a:gd name="connsiteY18" fmla="*/ 24201 h 170304"/>
              <a:gd name="connsiteX19" fmla="*/ 95460 w 192713"/>
              <a:gd name="connsiteY19" fmla="*/ 24649 h 170304"/>
              <a:gd name="connsiteX20" fmla="*/ 72155 w 192713"/>
              <a:gd name="connsiteY20" fmla="*/ 50195 h 170304"/>
              <a:gd name="connsiteX21" fmla="*/ 73500 w 192713"/>
              <a:gd name="connsiteY21" fmla="*/ 57814 h 170304"/>
              <a:gd name="connsiteX22" fmla="*/ 74396 w 192713"/>
              <a:gd name="connsiteY22" fmla="*/ 59159 h 170304"/>
              <a:gd name="connsiteX23" fmla="*/ 60055 w 192713"/>
              <a:gd name="connsiteY23" fmla="*/ 67674 h 170304"/>
              <a:gd name="connsiteX24" fmla="*/ 57814 w 192713"/>
              <a:gd name="connsiteY24" fmla="*/ 71707 h 170304"/>
              <a:gd name="connsiteX25" fmla="*/ 57814 w 192713"/>
              <a:gd name="connsiteY25" fmla="*/ 82463 h 170304"/>
              <a:gd name="connsiteX26" fmla="*/ 19271 w 192713"/>
              <a:gd name="connsiteY26" fmla="*/ 82463 h 170304"/>
              <a:gd name="connsiteX27" fmla="*/ 17030 w 192713"/>
              <a:gd name="connsiteY27" fmla="*/ 84704 h 170304"/>
              <a:gd name="connsiteX28" fmla="*/ 17030 w 192713"/>
              <a:gd name="connsiteY28" fmla="*/ 168512 h 170304"/>
              <a:gd name="connsiteX29" fmla="*/ 2241 w 192713"/>
              <a:gd name="connsiteY29" fmla="*/ 168512 h 170304"/>
              <a:gd name="connsiteX30" fmla="*/ 0 w 192713"/>
              <a:gd name="connsiteY30" fmla="*/ 170753 h 170304"/>
              <a:gd name="connsiteX31" fmla="*/ 2241 w 192713"/>
              <a:gd name="connsiteY31" fmla="*/ 172994 h 170304"/>
              <a:gd name="connsiteX32" fmla="*/ 19271 w 192713"/>
              <a:gd name="connsiteY32" fmla="*/ 172994 h 170304"/>
              <a:gd name="connsiteX33" fmla="*/ 47954 w 192713"/>
              <a:gd name="connsiteY33" fmla="*/ 172994 h 170304"/>
              <a:gd name="connsiteX34" fmla="*/ 148344 w 192713"/>
              <a:gd name="connsiteY34" fmla="*/ 172994 h 170304"/>
              <a:gd name="connsiteX35" fmla="*/ 177027 w 192713"/>
              <a:gd name="connsiteY35" fmla="*/ 172994 h 170304"/>
              <a:gd name="connsiteX36" fmla="*/ 194058 w 192713"/>
              <a:gd name="connsiteY36" fmla="*/ 172994 h 170304"/>
              <a:gd name="connsiteX37" fmla="*/ 196298 w 192713"/>
              <a:gd name="connsiteY37" fmla="*/ 170753 h 170304"/>
              <a:gd name="connsiteX38" fmla="*/ 193610 w 192713"/>
              <a:gd name="connsiteY38" fmla="*/ 168064 h 170304"/>
              <a:gd name="connsiteX39" fmla="*/ 100390 w 192713"/>
              <a:gd name="connsiteY39" fmla="*/ 12101 h 170304"/>
              <a:gd name="connsiteX40" fmla="*/ 100390 w 192713"/>
              <a:gd name="connsiteY40" fmla="*/ 4930 h 170304"/>
              <a:gd name="connsiteX41" fmla="*/ 116524 w 192713"/>
              <a:gd name="connsiteY41" fmla="*/ 4930 h 170304"/>
              <a:gd name="connsiteX42" fmla="*/ 116524 w 192713"/>
              <a:gd name="connsiteY42" fmla="*/ 12101 h 170304"/>
              <a:gd name="connsiteX43" fmla="*/ 100390 w 192713"/>
              <a:gd name="connsiteY43" fmla="*/ 12101 h 170304"/>
              <a:gd name="connsiteX44" fmla="*/ 77982 w 192713"/>
              <a:gd name="connsiteY44" fmla="*/ 56470 h 170304"/>
              <a:gd name="connsiteX45" fmla="*/ 77085 w 192713"/>
              <a:gd name="connsiteY45" fmla="*/ 50195 h 170304"/>
              <a:gd name="connsiteX46" fmla="*/ 98149 w 192713"/>
              <a:gd name="connsiteY46" fmla="*/ 29131 h 170304"/>
              <a:gd name="connsiteX47" fmla="*/ 119213 w 192713"/>
              <a:gd name="connsiteY47" fmla="*/ 50195 h 170304"/>
              <a:gd name="connsiteX48" fmla="*/ 118317 w 192713"/>
              <a:gd name="connsiteY48" fmla="*/ 56470 h 170304"/>
              <a:gd name="connsiteX49" fmla="*/ 100390 w 192713"/>
              <a:gd name="connsiteY49" fmla="*/ 46162 h 170304"/>
              <a:gd name="connsiteX50" fmla="*/ 95909 w 192713"/>
              <a:gd name="connsiteY50" fmla="*/ 46162 h 170304"/>
              <a:gd name="connsiteX51" fmla="*/ 77982 w 192713"/>
              <a:gd name="connsiteY51" fmla="*/ 56470 h 170304"/>
              <a:gd name="connsiteX52" fmla="*/ 77982 w 192713"/>
              <a:gd name="connsiteY52" fmla="*/ 56470 h 170304"/>
              <a:gd name="connsiteX53" fmla="*/ 62296 w 192713"/>
              <a:gd name="connsiteY53" fmla="*/ 71259 h 170304"/>
              <a:gd name="connsiteX54" fmla="*/ 98149 w 192713"/>
              <a:gd name="connsiteY54" fmla="*/ 50195 h 170304"/>
              <a:gd name="connsiteX55" fmla="*/ 134003 w 192713"/>
              <a:gd name="connsiteY55" fmla="*/ 70811 h 170304"/>
              <a:gd name="connsiteX56" fmla="*/ 134003 w 192713"/>
              <a:gd name="connsiteY56" fmla="*/ 82015 h 170304"/>
              <a:gd name="connsiteX57" fmla="*/ 112043 w 192713"/>
              <a:gd name="connsiteY57" fmla="*/ 82015 h 170304"/>
              <a:gd name="connsiteX58" fmla="*/ 112043 w 192713"/>
              <a:gd name="connsiteY58" fmla="*/ 69915 h 170304"/>
              <a:gd name="connsiteX59" fmla="*/ 109802 w 192713"/>
              <a:gd name="connsiteY59" fmla="*/ 67674 h 170304"/>
              <a:gd name="connsiteX60" fmla="*/ 107561 w 192713"/>
              <a:gd name="connsiteY60" fmla="*/ 69915 h 170304"/>
              <a:gd name="connsiteX61" fmla="*/ 107561 w 192713"/>
              <a:gd name="connsiteY61" fmla="*/ 82015 h 170304"/>
              <a:gd name="connsiteX62" fmla="*/ 100390 w 192713"/>
              <a:gd name="connsiteY62" fmla="*/ 82015 h 170304"/>
              <a:gd name="connsiteX63" fmla="*/ 100390 w 192713"/>
              <a:gd name="connsiteY63" fmla="*/ 69915 h 170304"/>
              <a:gd name="connsiteX64" fmla="*/ 98149 w 192713"/>
              <a:gd name="connsiteY64" fmla="*/ 67674 h 170304"/>
              <a:gd name="connsiteX65" fmla="*/ 95909 w 192713"/>
              <a:gd name="connsiteY65" fmla="*/ 69915 h 170304"/>
              <a:gd name="connsiteX66" fmla="*/ 95909 w 192713"/>
              <a:gd name="connsiteY66" fmla="*/ 82015 h 170304"/>
              <a:gd name="connsiteX67" fmla="*/ 88738 w 192713"/>
              <a:gd name="connsiteY67" fmla="*/ 82015 h 170304"/>
              <a:gd name="connsiteX68" fmla="*/ 88738 w 192713"/>
              <a:gd name="connsiteY68" fmla="*/ 69915 h 170304"/>
              <a:gd name="connsiteX69" fmla="*/ 86497 w 192713"/>
              <a:gd name="connsiteY69" fmla="*/ 67674 h 170304"/>
              <a:gd name="connsiteX70" fmla="*/ 84256 w 192713"/>
              <a:gd name="connsiteY70" fmla="*/ 69915 h 170304"/>
              <a:gd name="connsiteX71" fmla="*/ 84256 w 192713"/>
              <a:gd name="connsiteY71" fmla="*/ 82015 h 170304"/>
              <a:gd name="connsiteX72" fmla="*/ 62296 w 192713"/>
              <a:gd name="connsiteY72" fmla="*/ 82015 h 170304"/>
              <a:gd name="connsiteX73" fmla="*/ 62296 w 192713"/>
              <a:gd name="connsiteY73" fmla="*/ 71259 h 170304"/>
              <a:gd name="connsiteX74" fmla="*/ 114731 w 192713"/>
              <a:gd name="connsiteY74" fmla="*/ 154171 h 170304"/>
              <a:gd name="connsiteX75" fmla="*/ 114731 w 192713"/>
              <a:gd name="connsiteY75" fmla="*/ 117869 h 170304"/>
              <a:gd name="connsiteX76" fmla="*/ 113387 w 192713"/>
              <a:gd name="connsiteY76" fmla="*/ 115628 h 170304"/>
              <a:gd name="connsiteX77" fmla="*/ 98597 w 192713"/>
              <a:gd name="connsiteY77" fmla="*/ 109802 h 170304"/>
              <a:gd name="connsiteX78" fmla="*/ 96805 w 192713"/>
              <a:gd name="connsiteY78" fmla="*/ 109802 h 170304"/>
              <a:gd name="connsiteX79" fmla="*/ 82015 w 192713"/>
              <a:gd name="connsiteY79" fmla="*/ 115628 h 170304"/>
              <a:gd name="connsiteX80" fmla="*/ 80671 w 192713"/>
              <a:gd name="connsiteY80" fmla="*/ 117869 h 170304"/>
              <a:gd name="connsiteX81" fmla="*/ 80671 w 192713"/>
              <a:gd name="connsiteY81" fmla="*/ 154171 h 170304"/>
              <a:gd name="connsiteX82" fmla="*/ 61847 w 192713"/>
              <a:gd name="connsiteY82" fmla="*/ 154171 h 170304"/>
              <a:gd name="connsiteX83" fmla="*/ 61847 w 192713"/>
              <a:gd name="connsiteY83" fmla="*/ 101287 h 170304"/>
              <a:gd name="connsiteX84" fmla="*/ 133107 w 192713"/>
              <a:gd name="connsiteY84" fmla="*/ 101287 h 170304"/>
              <a:gd name="connsiteX85" fmla="*/ 133107 w 192713"/>
              <a:gd name="connsiteY85" fmla="*/ 154171 h 170304"/>
              <a:gd name="connsiteX86" fmla="*/ 114731 w 192713"/>
              <a:gd name="connsiteY86" fmla="*/ 154171 h 170304"/>
              <a:gd name="connsiteX87" fmla="*/ 110250 w 192713"/>
              <a:gd name="connsiteY87" fmla="*/ 154171 h 170304"/>
              <a:gd name="connsiteX88" fmla="*/ 85600 w 192713"/>
              <a:gd name="connsiteY88" fmla="*/ 154171 h 170304"/>
              <a:gd name="connsiteX89" fmla="*/ 85600 w 192713"/>
              <a:gd name="connsiteY89" fmla="*/ 119662 h 170304"/>
              <a:gd name="connsiteX90" fmla="*/ 98149 w 192713"/>
              <a:gd name="connsiteY90" fmla="*/ 114732 h 170304"/>
              <a:gd name="connsiteX91" fmla="*/ 110698 w 192713"/>
              <a:gd name="connsiteY91" fmla="*/ 119662 h 170304"/>
              <a:gd name="connsiteX92" fmla="*/ 110698 w 192713"/>
              <a:gd name="connsiteY92" fmla="*/ 154171 h 170304"/>
              <a:gd name="connsiteX93" fmla="*/ 134003 w 192713"/>
              <a:gd name="connsiteY93" fmla="*/ 96805 h 170304"/>
              <a:gd name="connsiteX94" fmla="*/ 62744 w 192713"/>
              <a:gd name="connsiteY94" fmla="*/ 96805 h 170304"/>
              <a:gd name="connsiteX95" fmla="*/ 62744 w 192713"/>
              <a:gd name="connsiteY95" fmla="*/ 86945 h 170304"/>
              <a:gd name="connsiteX96" fmla="*/ 134003 w 192713"/>
              <a:gd name="connsiteY96" fmla="*/ 86945 h 170304"/>
              <a:gd name="connsiteX97" fmla="*/ 134003 w 192713"/>
              <a:gd name="connsiteY97" fmla="*/ 96805 h 170304"/>
              <a:gd name="connsiteX98" fmla="*/ 21512 w 192713"/>
              <a:gd name="connsiteY98" fmla="*/ 86945 h 170304"/>
              <a:gd name="connsiteX99" fmla="*/ 57814 w 192713"/>
              <a:gd name="connsiteY99" fmla="*/ 86945 h 170304"/>
              <a:gd name="connsiteX100" fmla="*/ 57814 w 192713"/>
              <a:gd name="connsiteY100" fmla="*/ 99046 h 170304"/>
              <a:gd name="connsiteX101" fmla="*/ 57814 w 192713"/>
              <a:gd name="connsiteY101" fmla="*/ 154171 h 170304"/>
              <a:gd name="connsiteX102" fmla="*/ 47954 w 192713"/>
              <a:gd name="connsiteY102" fmla="*/ 154171 h 170304"/>
              <a:gd name="connsiteX103" fmla="*/ 45713 w 192713"/>
              <a:gd name="connsiteY103" fmla="*/ 156412 h 170304"/>
              <a:gd name="connsiteX104" fmla="*/ 45713 w 192713"/>
              <a:gd name="connsiteY104" fmla="*/ 168512 h 170304"/>
              <a:gd name="connsiteX105" fmla="*/ 21512 w 192713"/>
              <a:gd name="connsiteY105" fmla="*/ 168512 h 170304"/>
              <a:gd name="connsiteX106" fmla="*/ 21512 w 192713"/>
              <a:gd name="connsiteY106" fmla="*/ 86945 h 170304"/>
              <a:gd name="connsiteX107" fmla="*/ 50195 w 192713"/>
              <a:gd name="connsiteY107" fmla="*/ 168064 h 170304"/>
              <a:gd name="connsiteX108" fmla="*/ 50195 w 192713"/>
              <a:gd name="connsiteY108" fmla="*/ 158652 h 170304"/>
              <a:gd name="connsiteX109" fmla="*/ 83808 w 192713"/>
              <a:gd name="connsiteY109" fmla="*/ 158652 h 170304"/>
              <a:gd name="connsiteX110" fmla="*/ 112939 w 192713"/>
              <a:gd name="connsiteY110" fmla="*/ 158652 h 170304"/>
              <a:gd name="connsiteX111" fmla="*/ 146103 w 192713"/>
              <a:gd name="connsiteY111" fmla="*/ 158652 h 170304"/>
              <a:gd name="connsiteX112" fmla="*/ 146103 w 192713"/>
              <a:gd name="connsiteY112" fmla="*/ 168512 h 170304"/>
              <a:gd name="connsiteX113" fmla="*/ 50195 w 192713"/>
              <a:gd name="connsiteY113" fmla="*/ 168512 h 170304"/>
              <a:gd name="connsiteX114" fmla="*/ 150585 w 192713"/>
              <a:gd name="connsiteY114" fmla="*/ 168064 h 170304"/>
              <a:gd name="connsiteX115" fmla="*/ 150585 w 192713"/>
              <a:gd name="connsiteY115" fmla="*/ 155963 h 170304"/>
              <a:gd name="connsiteX116" fmla="*/ 148344 w 192713"/>
              <a:gd name="connsiteY116" fmla="*/ 153723 h 170304"/>
              <a:gd name="connsiteX117" fmla="*/ 138485 w 192713"/>
              <a:gd name="connsiteY117" fmla="*/ 153723 h 170304"/>
              <a:gd name="connsiteX118" fmla="*/ 138485 w 192713"/>
              <a:gd name="connsiteY118" fmla="*/ 98597 h 170304"/>
              <a:gd name="connsiteX119" fmla="*/ 138485 w 192713"/>
              <a:gd name="connsiteY119" fmla="*/ 86945 h 170304"/>
              <a:gd name="connsiteX120" fmla="*/ 174786 w 192713"/>
              <a:gd name="connsiteY120" fmla="*/ 86945 h 170304"/>
              <a:gd name="connsiteX121" fmla="*/ 174786 w 192713"/>
              <a:gd name="connsiteY121" fmla="*/ 168512 h 170304"/>
              <a:gd name="connsiteX122" fmla="*/ 150585 w 192713"/>
              <a:gd name="connsiteY122" fmla="*/ 168512 h 1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92713" h="170304">
                <a:moveTo>
                  <a:pt x="193610" y="168064"/>
                </a:moveTo>
                <a:lnTo>
                  <a:pt x="178820" y="168064"/>
                </a:lnTo>
                <a:lnTo>
                  <a:pt x="178820" y="84256"/>
                </a:lnTo>
                <a:cubicBezTo>
                  <a:pt x="178820" y="82912"/>
                  <a:pt x="177924" y="82015"/>
                  <a:pt x="176579" y="82015"/>
                </a:cubicBezTo>
                <a:lnTo>
                  <a:pt x="138036" y="82015"/>
                </a:lnTo>
                <a:lnTo>
                  <a:pt x="138036" y="70811"/>
                </a:lnTo>
                <a:cubicBezTo>
                  <a:pt x="138036" y="69018"/>
                  <a:pt x="137140" y="67674"/>
                  <a:pt x="135796" y="66777"/>
                </a:cubicBezTo>
                <a:lnTo>
                  <a:pt x="121902" y="58710"/>
                </a:lnTo>
                <a:cubicBezTo>
                  <a:pt x="122799" y="56021"/>
                  <a:pt x="123247" y="52884"/>
                  <a:pt x="123247" y="50195"/>
                </a:cubicBezTo>
                <a:cubicBezTo>
                  <a:pt x="123247" y="36750"/>
                  <a:pt x="112939" y="25994"/>
                  <a:pt x="99942" y="24649"/>
                </a:cubicBezTo>
                <a:cubicBezTo>
                  <a:pt x="99942" y="24649"/>
                  <a:pt x="99942" y="24201"/>
                  <a:pt x="99942" y="24201"/>
                </a:cubicBezTo>
                <a:lnTo>
                  <a:pt x="99942" y="16134"/>
                </a:lnTo>
                <a:lnTo>
                  <a:pt x="118317" y="16134"/>
                </a:lnTo>
                <a:cubicBezTo>
                  <a:pt x="119661" y="16134"/>
                  <a:pt x="120558" y="15238"/>
                  <a:pt x="120558" y="13893"/>
                </a:cubicBezTo>
                <a:lnTo>
                  <a:pt x="120558" y="2241"/>
                </a:lnTo>
                <a:cubicBezTo>
                  <a:pt x="120558" y="896"/>
                  <a:pt x="119661" y="0"/>
                  <a:pt x="118317" y="0"/>
                </a:cubicBezTo>
                <a:lnTo>
                  <a:pt x="97701" y="0"/>
                </a:lnTo>
                <a:cubicBezTo>
                  <a:pt x="96357" y="0"/>
                  <a:pt x="95460" y="896"/>
                  <a:pt x="95460" y="2241"/>
                </a:cubicBezTo>
                <a:lnTo>
                  <a:pt x="95460" y="24201"/>
                </a:lnTo>
                <a:cubicBezTo>
                  <a:pt x="95460" y="24201"/>
                  <a:pt x="95460" y="24649"/>
                  <a:pt x="95460" y="24649"/>
                </a:cubicBezTo>
                <a:cubicBezTo>
                  <a:pt x="82463" y="25546"/>
                  <a:pt x="72155" y="36750"/>
                  <a:pt x="72155" y="50195"/>
                </a:cubicBezTo>
                <a:cubicBezTo>
                  <a:pt x="72155" y="52884"/>
                  <a:pt x="72604" y="55125"/>
                  <a:pt x="73500" y="57814"/>
                </a:cubicBezTo>
                <a:cubicBezTo>
                  <a:pt x="73500" y="58262"/>
                  <a:pt x="73948" y="58710"/>
                  <a:pt x="74396" y="59159"/>
                </a:cubicBezTo>
                <a:lnTo>
                  <a:pt x="60055" y="67674"/>
                </a:lnTo>
                <a:cubicBezTo>
                  <a:pt x="58710" y="68570"/>
                  <a:pt x="57814" y="69915"/>
                  <a:pt x="57814" y="71707"/>
                </a:cubicBezTo>
                <a:lnTo>
                  <a:pt x="57814" y="82463"/>
                </a:lnTo>
                <a:lnTo>
                  <a:pt x="19271" y="82463"/>
                </a:lnTo>
                <a:cubicBezTo>
                  <a:pt x="17927" y="82463"/>
                  <a:pt x="17030" y="83360"/>
                  <a:pt x="17030" y="84704"/>
                </a:cubicBezTo>
                <a:lnTo>
                  <a:pt x="17030" y="168512"/>
                </a:lnTo>
                <a:lnTo>
                  <a:pt x="2241" y="168512"/>
                </a:lnTo>
                <a:cubicBezTo>
                  <a:pt x="896" y="168512"/>
                  <a:pt x="0" y="169409"/>
                  <a:pt x="0" y="170753"/>
                </a:cubicBezTo>
                <a:cubicBezTo>
                  <a:pt x="0" y="172098"/>
                  <a:pt x="896" y="172994"/>
                  <a:pt x="2241" y="172994"/>
                </a:cubicBezTo>
                <a:lnTo>
                  <a:pt x="19271" y="172994"/>
                </a:lnTo>
                <a:lnTo>
                  <a:pt x="47954" y="172994"/>
                </a:lnTo>
                <a:lnTo>
                  <a:pt x="148344" y="172994"/>
                </a:lnTo>
                <a:lnTo>
                  <a:pt x="177027" y="172994"/>
                </a:lnTo>
                <a:lnTo>
                  <a:pt x="194058" y="172994"/>
                </a:lnTo>
                <a:cubicBezTo>
                  <a:pt x="195402" y="172994"/>
                  <a:pt x="196298" y="172098"/>
                  <a:pt x="196298" y="170753"/>
                </a:cubicBezTo>
                <a:cubicBezTo>
                  <a:pt x="195850" y="168960"/>
                  <a:pt x="194954" y="168064"/>
                  <a:pt x="193610" y="168064"/>
                </a:cubicBezTo>
                <a:close/>
                <a:moveTo>
                  <a:pt x="100390" y="12101"/>
                </a:moveTo>
                <a:lnTo>
                  <a:pt x="100390" y="4930"/>
                </a:lnTo>
                <a:lnTo>
                  <a:pt x="116524" y="4930"/>
                </a:lnTo>
                <a:lnTo>
                  <a:pt x="116524" y="12101"/>
                </a:lnTo>
                <a:lnTo>
                  <a:pt x="100390" y="12101"/>
                </a:lnTo>
                <a:close/>
                <a:moveTo>
                  <a:pt x="77982" y="56470"/>
                </a:moveTo>
                <a:cubicBezTo>
                  <a:pt x="77533" y="54677"/>
                  <a:pt x="77085" y="52436"/>
                  <a:pt x="77085" y="50195"/>
                </a:cubicBezTo>
                <a:cubicBezTo>
                  <a:pt x="77085" y="38543"/>
                  <a:pt x="86497" y="29131"/>
                  <a:pt x="98149" y="29131"/>
                </a:cubicBezTo>
                <a:cubicBezTo>
                  <a:pt x="109802" y="29131"/>
                  <a:pt x="119213" y="38543"/>
                  <a:pt x="119213" y="50195"/>
                </a:cubicBezTo>
                <a:cubicBezTo>
                  <a:pt x="119213" y="52436"/>
                  <a:pt x="118765" y="54677"/>
                  <a:pt x="118317" y="56470"/>
                </a:cubicBezTo>
                <a:lnTo>
                  <a:pt x="100390" y="46162"/>
                </a:lnTo>
                <a:cubicBezTo>
                  <a:pt x="99046" y="45265"/>
                  <a:pt x="97253" y="45265"/>
                  <a:pt x="95909" y="46162"/>
                </a:cubicBezTo>
                <a:lnTo>
                  <a:pt x="77982" y="56470"/>
                </a:lnTo>
                <a:cubicBezTo>
                  <a:pt x="77982" y="56918"/>
                  <a:pt x="77982" y="56918"/>
                  <a:pt x="77982" y="56470"/>
                </a:cubicBezTo>
                <a:close/>
                <a:moveTo>
                  <a:pt x="62296" y="71259"/>
                </a:moveTo>
                <a:lnTo>
                  <a:pt x="98149" y="50195"/>
                </a:lnTo>
                <a:lnTo>
                  <a:pt x="134003" y="70811"/>
                </a:lnTo>
                <a:lnTo>
                  <a:pt x="134003" y="82015"/>
                </a:lnTo>
                <a:lnTo>
                  <a:pt x="112043" y="82015"/>
                </a:lnTo>
                <a:lnTo>
                  <a:pt x="112043" y="69915"/>
                </a:lnTo>
                <a:cubicBezTo>
                  <a:pt x="112043" y="68570"/>
                  <a:pt x="111146" y="67674"/>
                  <a:pt x="109802" y="67674"/>
                </a:cubicBezTo>
                <a:cubicBezTo>
                  <a:pt x="108457" y="67674"/>
                  <a:pt x="107561" y="68570"/>
                  <a:pt x="107561" y="69915"/>
                </a:cubicBezTo>
                <a:lnTo>
                  <a:pt x="107561" y="82015"/>
                </a:lnTo>
                <a:lnTo>
                  <a:pt x="100390" y="82015"/>
                </a:lnTo>
                <a:lnTo>
                  <a:pt x="100390" y="69915"/>
                </a:lnTo>
                <a:cubicBezTo>
                  <a:pt x="100390" y="68570"/>
                  <a:pt x="99494" y="67674"/>
                  <a:pt x="98149" y="67674"/>
                </a:cubicBezTo>
                <a:cubicBezTo>
                  <a:pt x="96805" y="67674"/>
                  <a:pt x="95909" y="68570"/>
                  <a:pt x="95909" y="69915"/>
                </a:cubicBezTo>
                <a:lnTo>
                  <a:pt x="95909" y="82015"/>
                </a:lnTo>
                <a:lnTo>
                  <a:pt x="88738" y="82015"/>
                </a:lnTo>
                <a:lnTo>
                  <a:pt x="88738" y="69915"/>
                </a:lnTo>
                <a:cubicBezTo>
                  <a:pt x="88738" y="68570"/>
                  <a:pt x="87841" y="67674"/>
                  <a:pt x="86497" y="67674"/>
                </a:cubicBezTo>
                <a:cubicBezTo>
                  <a:pt x="85152" y="67674"/>
                  <a:pt x="84256" y="68570"/>
                  <a:pt x="84256" y="69915"/>
                </a:cubicBezTo>
                <a:lnTo>
                  <a:pt x="84256" y="82015"/>
                </a:lnTo>
                <a:lnTo>
                  <a:pt x="62296" y="82015"/>
                </a:lnTo>
                <a:lnTo>
                  <a:pt x="62296" y="71259"/>
                </a:lnTo>
                <a:close/>
                <a:moveTo>
                  <a:pt x="114731" y="154171"/>
                </a:moveTo>
                <a:lnTo>
                  <a:pt x="114731" y="117869"/>
                </a:lnTo>
                <a:cubicBezTo>
                  <a:pt x="114731" y="116973"/>
                  <a:pt x="114283" y="116076"/>
                  <a:pt x="113387" y="115628"/>
                </a:cubicBezTo>
                <a:lnTo>
                  <a:pt x="98597" y="109802"/>
                </a:lnTo>
                <a:cubicBezTo>
                  <a:pt x="98149" y="109802"/>
                  <a:pt x="97253" y="109802"/>
                  <a:pt x="96805" y="109802"/>
                </a:cubicBezTo>
                <a:lnTo>
                  <a:pt x="82015" y="115628"/>
                </a:lnTo>
                <a:cubicBezTo>
                  <a:pt x="81119" y="116076"/>
                  <a:pt x="80671" y="116973"/>
                  <a:pt x="80671" y="117869"/>
                </a:cubicBezTo>
                <a:lnTo>
                  <a:pt x="80671" y="154171"/>
                </a:lnTo>
                <a:lnTo>
                  <a:pt x="61847" y="154171"/>
                </a:lnTo>
                <a:lnTo>
                  <a:pt x="61847" y="101287"/>
                </a:lnTo>
                <a:lnTo>
                  <a:pt x="133107" y="101287"/>
                </a:lnTo>
                <a:lnTo>
                  <a:pt x="133107" y="154171"/>
                </a:lnTo>
                <a:lnTo>
                  <a:pt x="114731" y="154171"/>
                </a:lnTo>
                <a:close/>
                <a:moveTo>
                  <a:pt x="110250" y="154171"/>
                </a:moveTo>
                <a:lnTo>
                  <a:pt x="85600" y="154171"/>
                </a:lnTo>
                <a:lnTo>
                  <a:pt x="85600" y="119662"/>
                </a:lnTo>
                <a:lnTo>
                  <a:pt x="98149" y="114732"/>
                </a:lnTo>
                <a:lnTo>
                  <a:pt x="110698" y="119662"/>
                </a:lnTo>
                <a:lnTo>
                  <a:pt x="110698" y="154171"/>
                </a:lnTo>
                <a:close/>
                <a:moveTo>
                  <a:pt x="134003" y="96805"/>
                </a:moveTo>
                <a:lnTo>
                  <a:pt x="62744" y="96805"/>
                </a:lnTo>
                <a:lnTo>
                  <a:pt x="62744" y="86945"/>
                </a:lnTo>
                <a:lnTo>
                  <a:pt x="134003" y="86945"/>
                </a:lnTo>
                <a:lnTo>
                  <a:pt x="134003" y="96805"/>
                </a:lnTo>
                <a:close/>
                <a:moveTo>
                  <a:pt x="21512" y="86945"/>
                </a:moveTo>
                <a:lnTo>
                  <a:pt x="57814" y="86945"/>
                </a:lnTo>
                <a:lnTo>
                  <a:pt x="57814" y="99046"/>
                </a:lnTo>
                <a:lnTo>
                  <a:pt x="57814" y="154171"/>
                </a:lnTo>
                <a:lnTo>
                  <a:pt x="47954" y="154171"/>
                </a:lnTo>
                <a:cubicBezTo>
                  <a:pt x="46610" y="154171"/>
                  <a:pt x="45713" y="155067"/>
                  <a:pt x="45713" y="156412"/>
                </a:cubicBezTo>
                <a:lnTo>
                  <a:pt x="45713" y="168512"/>
                </a:lnTo>
                <a:lnTo>
                  <a:pt x="21512" y="168512"/>
                </a:lnTo>
                <a:lnTo>
                  <a:pt x="21512" y="86945"/>
                </a:lnTo>
                <a:close/>
                <a:moveTo>
                  <a:pt x="50195" y="168064"/>
                </a:moveTo>
                <a:lnTo>
                  <a:pt x="50195" y="158652"/>
                </a:lnTo>
                <a:lnTo>
                  <a:pt x="83808" y="158652"/>
                </a:lnTo>
                <a:lnTo>
                  <a:pt x="112939" y="158652"/>
                </a:lnTo>
                <a:lnTo>
                  <a:pt x="146103" y="158652"/>
                </a:lnTo>
                <a:lnTo>
                  <a:pt x="146103" y="168512"/>
                </a:lnTo>
                <a:lnTo>
                  <a:pt x="50195" y="168512"/>
                </a:lnTo>
                <a:close/>
                <a:moveTo>
                  <a:pt x="150585" y="168064"/>
                </a:moveTo>
                <a:lnTo>
                  <a:pt x="150585" y="155963"/>
                </a:lnTo>
                <a:cubicBezTo>
                  <a:pt x="150585" y="154619"/>
                  <a:pt x="149689" y="153723"/>
                  <a:pt x="148344" y="153723"/>
                </a:cubicBezTo>
                <a:lnTo>
                  <a:pt x="138485" y="153723"/>
                </a:lnTo>
                <a:lnTo>
                  <a:pt x="138485" y="98597"/>
                </a:lnTo>
                <a:lnTo>
                  <a:pt x="138485" y="86945"/>
                </a:lnTo>
                <a:lnTo>
                  <a:pt x="174786" y="86945"/>
                </a:lnTo>
                <a:lnTo>
                  <a:pt x="174786" y="168512"/>
                </a:lnTo>
                <a:lnTo>
                  <a:pt x="150585" y="168512"/>
                </a:lnTo>
                <a:close/>
              </a:path>
            </a:pathLst>
          </a:custGeom>
          <a:solidFill>
            <a:srgbClr val="231F20"/>
          </a:solidFill>
          <a:ln w="4477" cap="flat">
            <a:noFill/>
            <a:prstDash val="solid"/>
            <a:miter/>
          </a:ln>
        </p:spPr>
        <p:txBody>
          <a:bodyPr rtlCol="0" anchor="ctr"/>
          <a:lstStyle/>
          <a:p>
            <a:endParaRPr lang="en-US"/>
          </a:p>
        </p:txBody>
      </p:sp>
      <p:grpSp>
        <p:nvGrpSpPr>
          <p:cNvPr id="3905" name="Group 3904">
            <a:extLst>
              <a:ext uri="{FF2B5EF4-FFF2-40B4-BE49-F238E27FC236}">
                <a16:creationId xmlns:a16="http://schemas.microsoft.com/office/drawing/2014/main" id="{B50D0DC7-5D2F-4B0D-B683-BB72F9129183}"/>
              </a:ext>
              <a:ext uri="{C183D7F6-B498-43B3-948B-1728B52AA6E4}">
                <adec:decorative xmlns:adec="http://schemas.microsoft.com/office/drawing/2017/decorative" val="1"/>
              </a:ext>
            </a:extLst>
          </p:cNvPr>
          <p:cNvGrpSpPr>
            <a:grpSpLocks noChangeAspect="1"/>
          </p:cNvGrpSpPr>
          <p:nvPr/>
        </p:nvGrpSpPr>
        <p:grpSpPr>
          <a:xfrm>
            <a:off x="5324599" y="2049708"/>
            <a:ext cx="125488" cy="170305"/>
            <a:chOff x="11226225" y="4896244"/>
            <a:chExt cx="125488" cy="170305"/>
          </a:xfrm>
        </p:grpSpPr>
        <p:sp>
          <p:nvSpPr>
            <p:cNvPr id="3906" name="Freeform: Shape 3905">
              <a:extLst>
                <a:ext uri="{FF2B5EF4-FFF2-40B4-BE49-F238E27FC236}">
                  <a16:creationId xmlns:a16="http://schemas.microsoft.com/office/drawing/2014/main" id="{D0237167-A975-455B-B15E-5066E99FFB9F}"/>
                </a:ext>
              </a:extLst>
            </p:cNvPr>
            <p:cNvSpPr/>
            <p:nvPr/>
          </p:nvSpPr>
          <p:spPr>
            <a:xfrm>
              <a:off x="11253116" y="4950025"/>
              <a:ext cx="71707" cy="62744"/>
            </a:xfrm>
            <a:custGeom>
              <a:avLst/>
              <a:gdLst>
                <a:gd name="connsiteX0" fmla="*/ 2241 w 71707"/>
                <a:gd name="connsiteY0" fmla="*/ 64985 h 62743"/>
                <a:gd name="connsiteX1" fmla="*/ 69466 w 71707"/>
                <a:gd name="connsiteY1" fmla="*/ 64985 h 62743"/>
                <a:gd name="connsiteX2" fmla="*/ 71707 w 71707"/>
                <a:gd name="connsiteY2" fmla="*/ 62744 h 62743"/>
                <a:gd name="connsiteX3" fmla="*/ 71707 w 71707"/>
                <a:gd name="connsiteY3" fmla="*/ 2241 h 62743"/>
                <a:gd name="connsiteX4" fmla="*/ 69466 w 71707"/>
                <a:gd name="connsiteY4" fmla="*/ 0 h 62743"/>
                <a:gd name="connsiteX5" fmla="*/ 2241 w 71707"/>
                <a:gd name="connsiteY5" fmla="*/ 0 h 62743"/>
                <a:gd name="connsiteX6" fmla="*/ 0 w 71707"/>
                <a:gd name="connsiteY6" fmla="*/ 2241 h 62743"/>
                <a:gd name="connsiteX7" fmla="*/ 0 w 71707"/>
                <a:gd name="connsiteY7" fmla="*/ 62744 h 62743"/>
                <a:gd name="connsiteX8" fmla="*/ 2241 w 71707"/>
                <a:gd name="connsiteY8" fmla="*/ 64985 h 62743"/>
                <a:gd name="connsiteX9" fmla="*/ 44817 w 71707"/>
                <a:gd name="connsiteY9" fmla="*/ 40335 h 62743"/>
                <a:gd name="connsiteX10" fmla="*/ 26890 w 71707"/>
                <a:gd name="connsiteY10" fmla="*/ 40335 h 62743"/>
                <a:gd name="connsiteX11" fmla="*/ 26890 w 71707"/>
                <a:gd name="connsiteY11" fmla="*/ 24649 h 62743"/>
                <a:gd name="connsiteX12" fmla="*/ 44817 w 71707"/>
                <a:gd name="connsiteY12" fmla="*/ 24649 h 62743"/>
                <a:gd name="connsiteX13" fmla="*/ 44817 w 71707"/>
                <a:gd name="connsiteY13" fmla="*/ 40335 h 62743"/>
                <a:gd name="connsiteX14" fmla="*/ 49299 w 71707"/>
                <a:gd name="connsiteY14" fmla="*/ 24649 h 62743"/>
                <a:gd name="connsiteX15" fmla="*/ 67226 w 71707"/>
                <a:gd name="connsiteY15" fmla="*/ 24649 h 62743"/>
                <a:gd name="connsiteX16" fmla="*/ 67226 w 71707"/>
                <a:gd name="connsiteY16" fmla="*/ 40335 h 62743"/>
                <a:gd name="connsiteX17" fmla="*/ 49299 w 71707"/>
                <a:gd name="connsiteY17" fmla="*/ 40335 h 62743"/>
                <a:gd name="connsiteX18" fmla="*/ 49299 w 71707"/>
                <a:gd name="connsiteY18" fmla="*/ 24649 h 62743"/>
                <a:gd name="connsiteX19" fmla="*/ 22409 w 71707"/>
                <a:gd name="connsiteY19" fmla="*/ 40335 h 62743"/>
                <a:gd name="connsiteX20" fmla="*/ 4482 w 71707"/>
                <a:gd name="connsiteY20" fmla="*/ 40335 h 62743"/>
                <a:gd name="connsiteX21" fmla="*/ 4482 w 71707"/>
                <a:gd name="connsiteY21" fmla="*/ 24649 h 62743"/>
                <a:gd name="connsiteX22" fmla="*/ 22409 w 71707"/>
                <a:gd name="connsiteY22" fmla="*/ 24649 h 62743"/>
                <a:gd name="connsiteX23" fmla="*/ 22409 w 71707"/>
                <a:gd name="connsiteY23" fmla="*/ 40335 h 62743"/>
                <a:gd name="connsiteX24" fmla="*/ 22409 w 71707"/>
                <a:gd name="connsiteY24" fmla="*/ 44817 h 62743"/>
                <a:gd name="connsiteX25" fmla="*/ 22409 w 71707"/>
                <a:gd name="connsiteY25" fmla="*/ 60503 h 62743"/>
                <a:gd name="connsiteX26" fmla="*/ 4482 w 71707"/>
                <a:gd name="connsiteY26" fmla="*/ 60503 h 62743"/>
                <a:gd name="connsiteX27" fmla="*/ 4482 w 71707"/>
                <a:gd name="connsiteY27" fmla="*/ 44817 h 62743"/>
                <a:gd name="connsiteX28" fmla="*/ 22409 w 71707"/>
                <a:gd name="connsiteY28" fmla="*/ 44817 h 62743"/>
                <a:gd name="connsiteX29" fmla="*/ 26890 w 71707"/>
                <a:gd name="connsiteY29" fmla="*/ 44817 h 62743"/>
                <a:gd name="connsiteX30" fmla="*/ 44817 w 71707"/>
                <a:gd name="connsiteY30" fmla="*/ 44817 h 62743"/>
                <a:gd name="connsiteX31" fmla="*/ 44817 w 71707"/>
                <a:gd name="connsiteY31" fmla="*/ 60503 h 62743"/>
                <a:gd name="connsiteX32" fmla="*/ 26890 w 71707"/>
                <a:gd name="connsiteY32" fmla="*/ 60503 h 62743"/>
                <a:gd name="connsiteX33" fmla="*/ 26890 w 71707"/>
                <a:gd name="connsiteY33" fmla="*/ 44817 h 62743"/>
                <a:gd name="connsiteX34" fmla="*/ 49299 w 71707"/>
                <a:gd name="connsiteY34" fmla="*/ 44817 h 62743"/>
                <a:gd name="connsiteX35" fmla="*/ 67226 w 71707"/>
                <a:gd name="connsiteY35" fmla="*/ 44817 h 62743"/>
                <a:gd name="connsiteX36" fmla="*/ 67226 w 71707"/>
                <a:gd name="connsiteY36" fmla="*/ 60503 h 62743"/>
                <a:gd name="connsiteX37" fmla="*/ 49299 w 71707"/>
                <a:gd name="connsiteY37" fmla="*/ 60503 h 62743"/>
                <a:gd name="connsiteX38" fmla="*/ 49299 w 71707"/>
                <a:gd name="connsiteY38" fmla="*/ 44817 h 62743"/>
                <a:gd name="connsiteX39" fmla="*/ 67226 w 71707"/>
                <a:gd name="connsiteY39" fmla="*/ 20168 h 62743"/>
                <a:gd name="connsiteX40" fmla="*/ 49299 w 71707"/>
                <a:gd name="connsiteY40" fmla="*/ 20168 h 62743"/>
                <a:gd name="connsiteX41" fmla="*/ 49299 w 71707"/>
                <a:gd name="connsiteY41" fmla="*/ 4482 h 62743"/>
                <a:gd name="connsiteX42" fmla="*/ 67226 w 71707"/>
                <a:gd name="connsiteY42" fmla="*/ 4482 h 62743"/>
                <a:gd name="connsiteX43" fmla="*/ 67226 w 71707"/>
                <a:gd name="connsiteY43" fmla="*/ 20168 h 62743"/>
                <a:gd name="connsiteX44" fmla="*/ 44817 w 71707"/>
                <a:gd name="connsiteY44" fmla="*/ 20168 h 62743"/>
                <a:gd name="connsiteX45" fmla="*/ 26890 w 71707"/>
                <a:gd name="connsiteY45" fmla="*/ 20168 h 62743"/>
                <a:gd name="connsiteX46" fmla="*/ 26890 w 71707"/>
                <a:gd name="connsiteY46" fmla="*/ 4482 h 62743"/>
                <a:gd name="connsiteX47" fmla="*/ 44817 w 71707"/>
                <a:gd name="connsiteY47" fmla="*/ 4482 h 62743"/>
                <a:gd name="connsiteX48" fmla="*/ 44817 w 71707"/>
                <a:gd name="connsiteY48" fmla="*/ 20168 h 62743"/>
                <a:gd name="connsiteX49" fmla="*/ 22409 w 71707"/>
                <a:gd name="connsiteY49" fmla="*/ 20168 h 62743"/>
                <a:gd name="connsiteX50" fmla="*/ 4482 w 71707"/>
                <a:gd name="connsiteY50" fmla="*/ 20168 h 62743"/>
                <a:gd name="connsiteX51" fmla="*/ 4482 w 71707"/>
                <a:gd name="connsiteY51" fmla="*/ 4482 h 62743"/>
                <a:gd name="connsiteX52" fmla="*/ 22409 w 71707"/>
                <a:gd name="connsiteY52" fmla="*/ 4482 h 62743"/>
                <a:gd name="connsiteX53" fmla="*/ 22409 w 71707"/>
                <a:gd name="connsiteY53" fmla="*/ 20168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707" h="62743">
                  <a:moveTo>
                    <a:pt x="2241" y="64985"/>
                  </a:moveTo>
                  <a:lnTo>
                    <a:pt x="69466" y="64985"/>
                  </a:lnTo>
                  <a:cubicBezTo>
                    <a:pt x="70811" y="64985"/>
                    <a:pt x="71707" y="64089"/>
                    <a:pt x="71707" y="62744"/>
                  </a:cubicBezTo>
                  <a:lnTo>
                    <a:pt x="71707" y="2241"/>
                  </a:lnTo>
                  <a:cubicBezTo>
                    <a:pt x="71707" y="896"/>
                    <a:pt x="70811" y="0"/>
                    <a:pt x="69466" y="0"/>
                  </a:cubicBezTo>
                  <a:lnTo>
                    <a:pt x="2241" y="0"/>
                  </a:lnTo>
                  <a:cubicBezTo>
                    <a:pt x="897" y="0"/>
                    <a:pt x="0" y="896"/>
                    <a:pt x="0" y="2241"/>
                  </a:cubicBezTo>
                  <a:lnTo>
                    <a:pt x="0" y="62744"/>
                  </a:lnTo>
                  <a:cubicBezTo>
                    <a:pt x="0" y="63640"/>
                    <a:pt x="897" y="64985"/>
                    <a:pt x="2241" y="64985"/>
                  </a:cubicBezTo>
                  <a:close/>
                  <a:moveTo>
                    <a:pt x="44817" y="40335"/>
                  </a:moveTo>
                  <a:lnTo>
                    <a:pt x="26890" y="40335"/>
                  </a:lnTo>
                  <a:lnTo>
                    <a:pt x="26890" y="24649"/>
                  </a:lnTo>
                  <a:lnTo>
                    <a:pt x="44817" y="24649"/>
                  </a:lnTo>
                  <a:lnTo>
                    <a:pt x="44817" y="40335"/>
                  </a:lnTo>
                  <a:close/>
                  <a:moveTo>
                    <a:pt x="49299" y="24649"/>
                  </a:moveTo>
                  <a:lnTo>
                    <a:pt x="67226" y="24649"/>
                  </a:lnTo>
                  <a:lnTo>
                    <a:pt x="67226" y="40335"/>
                  </a:lnTo>
                  <a:lnTo>
                    <a:pt x="49299" y="40335"/>
                  </a:lnTo>
                  <a:lnTo>
                    <a:pt x="49299" y="24649"/>
                  </a:lnTo>
                  <a:close/>
                  <a:moveTo>
                    <a:pt x="22409" y="40335"/>
                  </a:moveTo>
                  <a:lnTo>
                    <a:pt x="4482" y="40335"/>
                  </a:lnTo>
                  <a:lnTo>
                    <a:pt x="4482" y="24649"/>
                  </a:lnTo>
                  <a:lnTo>
                    <a:pt x="22409" y="24649"/>
                  </a:lnTo>
                  <a:lnTo>
                    <a:pt x="22409" y="40335"/>
                  </a:lnTo>
                  <a:close/>
                  <a:moveTo>
                    <a:pt x="22409" y="44817"/>
                  </a:moveTo>
                  <a:lnTo>
                    <a:pt x="22409" y="60503"/>
                  </a:lnTo>
                  <a:lnTo>
                    <a:pt x="4482" y="60503"/>
                  </a:lnTo>
                  <a:lnTo>
                    <a:pt x="4482" y="44817"/>
                  </a:lnTo>
                  <a:lnTo>
                    <a:pt x="22409" y="44817"/>
                  </a:lnTo>
                  <a:close/>
                  <a:moveTo>
                    <a:pt x="26890" y="44817"/>
                  </a:moveTo>
                  <a:lnTo>
                    <a:pt x="44817" y="44817"/>
                  </a:lnTo>
                  <a:lnTo>
                    <a:pt x="44817" y="60503"/>
                  </a:lnTo>
                  <a:lnTo>
                    <a:pt x="26890" y="60503"/>
                  </a:lnTo>
                  <a:lnTo>
                    <a:pt x="26890" y="44817"/>
                  </a:lnTo>
                  <a:close/>
                  <a:moveTo>
                    <a:pt x="49299" y="44817"/>
                  </a:moveTo>
                  <a:lnTo>
                    <a:pt x="67226" y="44817"/>
                  </a:lnTo>
                  <a:lnTo>
                    <a:pt x="67226" y="60503"/>
                  </a:lnTo>
                  <a:lnTo>
                    <a:pt x="49299" y="60503"/>
                  </a:lnTo>
                  <a:lnTo>
                    <a:pt x="49299" y="44817"/>
                  </a:lnTo>
                  <a:close/>
                  <a:moveTo>
                    <a:pt x="67226" y="20168"/>
                  </a:moveTo>
                  <a:lnTo>
                    <a:pt x="49299" y="20168"/>
                  </a:lnTo>
                  <a:lnTo>
                    <a:pt x="49299" y="4482"/>
                  </a:lnTo>
                  <a:lnTo>
                    <a:pt x="67226" y="4482"/>
                  </a:lnTo>
                  <a:lnTo>
                    <a:pt x="67226" y="20168"/>
                  </a:lnTo>
                  <a:close/>
                  <a:moveTo>
                    <a:pt x="44817" y="20168"/>
                  </a:moveTo>
                  <a:lnTo>
                    <a:pt x="26890" y="20168"/>
                  </a:lnTo>
                  <a:lnTo>
                    <a:pt x="26890" y="4482"/>
                  </a:lnTo>
                  <a:lnTo>
                    <a:pt x="44817" y="4482"/>
                  </a:lnTo>
                  <a:lnTo>
                    <a:pt x="44817" y="20168"/>
                  </a:lnTo>
                  <a:close/>
                  <a:moveTo>
                    <a:pt x="22409" y="20168"/>
                  </a:moveTo>
                  <a:lnTo>
                    <a:pt x="4482" y="20168"/>
                  </a:lnTo>
                  <a:lnTo>
                    <a:pt x="4482" y="4482"/>
                  </a:lnTo>
                  <a:lnTo>
                    <a:pt x="22409" y="4482"/>
                  </a:lnTo>
                  <a:lnTo>
                    <a:pt x="22409" y="20168"/>
                  </a:lnTo>
                  <a:close/>
                </a:path>
              </a:pathLst>
            </a:custGeom>
            <a:solidFill>
              <a:srgbClr val="231F20"/>
            </a:solidFill>
            <a:ln w="4477" cap="flat">
              <a:noFill/>
              <a:prstDash val="solid"/>
              <a:miter/>
            </a:ln>
          </p:spPr>
          <p:txBody>
            <a:bodyPr rtlCol="0" anchor="ctr"/>
            <a:lstStyle/>
            <a:p>
              <a:endParaRPr lang="en-US"/>
            </a:p>
          </p:txBody>
        </p:sp>
        <p:sp>
          <p:nvSpPr>
            <p:cNvPr id="3907" name="Freeform: Shape 3906">
              <a:extLst>
                <a:ext uri="{FF2B5EF4-FFF2-40B4-BE49-F238E27FC236}">
                  <a16:creationId xmlns:a16="http://schemas.microsoft.com/office/drawing/2014/main" id="{B936662C-E77B-43EE-AA1F-3989EDF05088}"/>
                </a:ext>
              </a:extLst>
            </p:cNvPr>
            <p:cNvSpPr/>
            <p:nvPr/>
          </p:nvSpPr>
          <p:spPr>
            <a:xfrm>
              <a:off x="11226225" y="4896244"/>
              <a:ext cx="125488" cy="170305"/>
            </a:xfrm>
            <a:custGeom>
              <a:avLst/>
              <a:gdLst>
                <a:gd name="connsiteX0" fmla="*/ 123247 w 125487"/>
                <a:gd name="connsiteY0" fmla="*/ 168064 h 170304"/>
                <a:gd name="connsiteX1" fmla="*/ 112043 w 125487"/>
                <a:gd name="connsiteY1" fmla="*/ 168064 h 170304"/>
                <a:gd name="connsiteX2" fmla="*/ 112043 w 125487"/>
                <a:gd name="connsiteY2" fmla="*/ 44817 h 170304"/>
                <a:gd name="connsiteX3" fmla="*/ 123247 w 125487"/>
                <a:gd name="connsiteY3" fmla="*/ 44817 h 170304"/>
                <a:gd name="connsiteX4" fmla="*/ 125488 w 125487"/>
                <a:gd name="connsiteY4" fmla="*/ 42576 h 170304"/>
                <a:gd name="connsiteX5" fmla="*/ 123247 w 125487"/>
                <a:gd name="connsiteY5" fmla="*/ 40335 h 170304"/>
                <a:gd name="connsiteX6" fmla="*/ 109802 w 125487"/>
                <a:gd name="connsiteY6" fmla="*/ 40335 h 170304"/>
                <a:gd name="connsiteX7" fmla="*/ 98597 w 125487"/>
                <a:gd name="connsiteY7" fmla="*/ 40335 h 170304"/>
                <a:gd name="connsiteX8" fmla="*/ 98597 w 125487"/>
                <a:gd name="connsiteY8" fmla="*/ 32268 h 170304"/>
                <a:gd name="connsiteX9" fmla="*/ 96357 w 125487"/>
                <a:gd name="connsiteY9" fmla="*/ 30027 h 170304"/>
                <a:gd name="connsiteX10" fmla="*/ 64985 w 125487"/>
                <a:gd name="connsiteY10" fmla="*/ 30027 h 170304"/>
                <a:gd name="connsiteX11" fmla="*/ 64985 w 125487"/>
                <a:gd name="connsiteY11" fmla="*/ 30027 h 170304"/>
                <a:gd name="connsiteX12" fmla="*/ 64985 w 125487"/>
                <a:gd name="connsiteY12" fmla="*/ 18375 h 170304"/>
                <a:gd name="connsiteX13" fmla="*/ 77534 w 125487"/>
                <a:gd name="connsiteY13" fmla="*/ 18375 h 170304"/>
                <a:gd name="connsiteX14" fmla="*/ 79775 w 125487"/>
                <a:gd name="connsiteY14" fmla="*/ 16134 h 170304"/>
                <a:gd name="connsiteX15" fmla="*/ 77534 w 125487"/>
                <a:gd name="connsiteY15" fmla="*/ 13893 h 170304"/>
                <a:gd name="connsiteX16" fmla="*/ 64985 w 125487"/>
                <a:gd name="connsiteY16" fmla="*/ 13893 h 170304"/>
                <a:gd name="connsiteX17" fmla="*/ 64985 w 125487"/>
                <a:gd name="connsiteY17" fmla="*/ 2241 h 170304"/>
                <a:gd name="connsiteX18" fmla="*/ 62744 w 125487"/>
                <a:gd name="connsiteY18" fmla="*/ 0 h 170304"/>
                <a:gd name="connsiteX19" fmla="*/ 60503 w 125487"/>
                <a:gd name="connsiteY19" fmla="*/ 2241 h 170304"/>
                <a:gd name="connsiteX20" fmla="*/ 60503 w 125487"/>
                <a:gd name="connsiteY20" fmla="*/ 13893 h 170304"/>
                <a:gd name="connsiteX21" fmla="*/ 47955 w 125487"/>
                <a:gd name="connsiteY21" fmla="*/ 13893 h 170304"/>
                <a:gd name="connsiteX22" fmla="*/ 45714 w 125487"/>
                <a:gd name="connsiteY22" fmla="*/ 16134 h 170304"/>
                <a:gd name="connsiteX23" fmla="*/ 47955 w 125487"/>
                <a:gd name="connsiteY23" fmla="*/ 18375 h 170304"/>
                <a:gd name="connsiteX24" fmla="*/ 60503 w 125487"/>
                <a:gd name="connsiteY24" fmla="*/ 18375 h 170304"/>
                <a:gd name="connsiteX25" fmla="*/ 60503 w 125487"/>
                <a:gd name="connsiteY25" fmla="*/ 30027 h 170304"/>
                <a:gd name="connsiteX26" fmla="*/ 60503 w 125487"/>
                <a:gd name="connsiteY26" fmla="*/ 30027 h 170304"/>
                <a:gd name="connsiteX27" fmla="*/ 29131 w 125487"/>
                <a:gd name="connsiteY27" fmla="*/ 30027 h 170304"/>
                <a:gd name="connsiteX28" fmla="*/ 26890 w 125487"/>
                <a:gd name="connsiteY28" fmla="*/ 32268 h 170304"/>
                <a:gd name="connsiteX29" fmla="*/ 26890 w 125487"/>
                <a:gd name="connsiteY29" fmla="*/ 40335 h 170304"/>
                <a:gd name="connsiteX30" fmla="*/ 15686 w 125487"/>
                <a:gd name="connsiteY30" fmla="*/ 40335 h 170304"/>
                <a:gd name="connsiteX31" fmla="*/ 2241 w 125487"/>
                <a:gd name="connsiteY31" fmla="*/ 40335 h 170304"/>
                <a:gd name="connsiteX32" fmla="*/ 0 w 125487"/>
                <a:gd name="connsiteY32" fmla="*/ 42576 h 170304"/>
                <a:gd name="connsiteX33" fmla="*/ 2241 w 125487"/>
                <a:gd name="connsiteY33" fmla="*/ 44817 h 170304"/>
                <a:gd name="connsiteX34" fmla="*/ 13445 w 125487"/>
                <a:gd name="connsiteY34" fmla="*/ 44817 h 170304"/>
                <a:gd name="connsiteX35" fmla="*/ 13445 w 125487"/>
                <a:gd name="connsiteY35" fmla="*/ 168064 h 170304"/>
                <a:gd name="connsiteX36" fmla="*/ 2241 w 125487"/>
                <a:gd name="connsiteY36" fmla="*/ 168064 h 170304"/>
                <a:gd name="connsiteX37" fmla="*/ 0 w 125487"/>
                <a:gd name="connsiteY37" fmla="*/ 170305 h 170304"/>
                <a:gd name="connsiteX38" fmla="*/ 2241 w 125487"/>
                <a:gd name="connsiteY38" fmla="*/ 172546 h 170304"/>
                <a:gd name="connsiteX39" fmla="*/ 123247 w 125487"/>
                <a:gd name="connsiteY39" fmla="*/ 172546 h 170304"/>
                <a:gd name="connsiteX40" fmla="*/ 125488 w 125487"/>
                <a:gd name="connsiteY40" fmla="*/ 170305 h 170304"/>
                <a:gd name="connsiteX41" fmla="*/ 123247 w 125487"/>
                <a:gd name="connsiteY41" fmla="*/ 168064 h 170304"/>
                <a:gd name="connsiteX42" fmla="*/ 53780 w 125487"/>
                <a:gd name="connsiteY42" fmla="*/ 168064 h 170304"/>
                <a:gd name="connsiteX43" fmla="*/ 31372 w 125487"/>
                <a:gd name="connsiteY43" fmla="*/ 168064 h 170304"/>
                <a:gd name="connsiteX44" fmla="*/ 31372 w 125487"/>
                <a:gd name="connsiteY44" fmla="*/ 132210 h 170304"/>
                <a:gd name="connsiteX45" fmla="*/ 53780 w 125487"/>
                <a:gd name="connsiteY45" fmla="*/ 132210 h 170304"/>
                <a:gd name="connsiteX46" fmla="*/ 53780 w 125487"/>
                <a:gd name="connsiteY46" fmla="*/ 168064 h 170304"/>
                <a:gd name="connsiteX47" fmla="*/ 94116 w 125487"/>
                <a:gd name="connsiteY47" fmla="*/ 168064 h 170304"/>
                <a:gd name="connsiteX48" fmla="*/ 71707 w 125487"/>
                <a:gd name="connsiteY48" fmla="*/ 168064 h 170304"/>
                <a:gd name="connsiteX49" fmla="*/ 71707 w 125487"/>
                <a:gd name="connsiteY49" fmla="*/ 132210 h 170304"/>
                <a:gd name="connsiteX50" fmla="*/ 94116 w 125487"/>
                <a:gd name="connsiteY50" fmla="*/ 132210 h 170304"/>
                <a:gd name="connsiteX51" fmla="*/ 94116 w 125487"/>
                <a:gd name="connsiteY51" fmla="*/ 168064 h 170304"/>
                <a:gd name="connsiteX52" fmla="*/ 31372 w 125487"/>
                <a:gd name="connsiteY52" fmla="*/ 34509 h 170304"/>
                <a:gd name="connsiteX53" fmla="*/ 94116 w 125487"/>
                <a:gd name="connsiteY53" fmla="*/ 34509 h 170304"/>
                <a:gd name="connsiteX54" fmla="*/ 94116 w 125487"/>
                <a:gd name="connsiteY54" fmla="*/ 40335 h 170304"/>
                <a:gd name="connsiteX55" fmla="*/ 31372 w 125487"/>
                <a:gd name="connsiteY55" fmla="*/ 40335 h 170304"/>
                <a:gd name="connsiteX56" fmla="*/ 31372 w 125487"/>
                <a:gd name="connsiteY56" fmla="*/ 34509 h 170304"/>
                <a:gd name="connsiteX57" fmla="*/ 107561 w 125487"/>
                <a:gd name="connsiteY57" fmla="*/ 44817 h 170304"/>
                <a:gd name="connsiteX58" fmla="*/ 107561 w 125487"/>
                <a:gd name="connsiteY58" fmla="*/ 168064 h 170304"/>
                <a:gd name="connsiteX59" fmla="*/ 98597 w 125487"/>
                <a:gd name="connsiteY59" fmla="*/ 168064 h 170304"/>
                <a:gd name="connsiteX60" fmla="*/ 98597 w 125487"/>
                <a:gd name="connsiteY60" fmla="*/ 129969 h 170304"/>
                <a:gd name="connsiteX61" fmla="*/ 96357 w 125487"/>
                <a:gd name="connsiteY61" fmla="*/ 127729 h 170304"/>
                <a:gd name="connsiteX62" fmla="*/ 69466 w 125487"/>
                <a:gd name="connsiteY62" fmla="*/ 127729 h 170304"/>
                <a:gd name="connsiteX63" fmla="*/ 67226 w 125487"/>
                <a:gd name="connsiteY63" fmla="*/ 129969 h 170304"/>
                <a:gd name="connsiteX64" fmla="*/ 67226 w 125487"/>
                <a:gd name="connsiteY64" fmla="*/ 168064 h 170304"/>
                <a:gd name="connsiteX65" fmla="*/ 58262 w 125487"/>
                <a:gd name="connsiteY65" fmla="*/ 168064 h 170304"/>
                <a:gd name="connsiteX66" fmla="*/ 58262 w 125487"/>
                <a:gd name="connsiteY66" fmla="*/ 129969 h 170304"/>
                <a:gd name="connsiteX67" fmla="*/ 56021 w 125487"/>
                <a:gd name="connsiteY67" fmla="*/ 127729 h 170304"/>
                <a:gd name="connsiteX68" fmla="*/ 29131 w 125487"/>
                <a:gd name="connsiteY68" fmla="*/ 127729 h 170304"/>
                <a:gd name="connsiteX69" fmla="*/ 26890 w 125487"/>
                <a:gd name="connsiteY69" fmla="*/ 129969 h 170304"/>
                <a:gd name="connsiteX70" fmla="*/ 26890 w 125487"/>
                <a:gd name="connsiteY70" fmla="*/ 168064 h 170304"/>
                <a:gd name="connsiteX71" fmla="*/ 17927 w 125487"/>
                <a:gd name="connsiteY71" fmla="*/ 168064 h 170304"/>
                <a:gd name="connsiteX72" fmla="*/ 17927 w 125487"/>
                <a:gd name="connsiteY72" fmla="*/ 44817 h 170304"/>
                <a:gd name="connsiteX73" fmla="*/ 107561 w 125487"/>
                <a:gd name="connsiteY73" fmla="*/ 44817 h 1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25487" h="170304">
                  <a:moveTo>
                    <a:pt x="123247" y="168064"/>
                  </a:moveTo>
                  <a:lnTo>
                    <a:pt x="112043" y="168064"/>
                  </a:lnTo>
                  <a:lnTo>
                    <a:pt x="112043" y="44817"/>
                  </a:lnTo>
                  <a:lnTo>
                    <a:pt x="123247" y="44817"/>
                  </a:lnTo>
                  <a:cubicBezTo>
                    <a:pt x="124592" y="44817"/>
                    <a:pt x="125488" y="43921"/>
                    <a:pt x="125488" y="42576"/>
                  </a:cubicBezTo>
                  <a:cubicBezTo>
                    <a:pt x="125488" y="41232"/>
                    <a:pt x="124592" y="40335"/>
                    <a:pt x="123247" y="40335"/>
                  </a:cubicBezTo>
                  <a:lnTo>
                    <a:pt x="109802" y="40335"/>
                  </a:lnTo>
                  <a:lnTo>
                    <a:pt x="98597" y="40335"/>
                  </a:lnTo>
                  <a:lnTo>
                    <a:pt x="98597" y="32268"/>
                  </a:lnTo>
                  <a:cubicBezTo>
                    <a:pt x="98597" y="30924"/>
                    <a:pt x="97701" y="30027"/>
                    <a:pt x="96357" y="30027"/>
                  </a:cubicBezTo>
                  <a:lnTo>
                    <a:pt x="64985" y="30027"/>
                  </a:lnTo>
                  <a:cubicBezTo>
                    <a:pt x="64985" y="30027"/>
                    <a:pt x="64985" y="30027"/>
                    <a:pt x="64985" y="30027"/>
                  </a:cubicBezTo>
                  <a:lnTo>
                    <a:pt x="64985" y="18375"/>
                  </a:lnTo>
                  <a:lnTo>
                    <a:pt x="77534" y="18375"/>
                  </a:lnTo>
                  <a:cubicBezTo>
                    <a:pt x="78878" y="18375"/>
                    <a:pt x="79775" y="17479"/>
                    <a:pt x="79775" y="16134"/>
                  </a:cubicBezTo>
                  <a:cubicBezTo>
                    <a:pt x="79775" y="14790"/>
                    <a:pt x="78878" y="13893"/>
                    <a:pt x="77534" y="13893"/>
                  </a:cubicBezTo>
                  <a:lnTo>
                    <a:pt x="64985" y="13893"/>
                  </a:lnTo>
                  <a:lnTo>
                    <a:pt x="64985" y="2241"/>
                  </a:lnTo>
                  <a:cubicBezTo>
                    <a:pt x="64985" y="896"/>
                    <a:pt x="64089" y="0"/>
                    <a:pt x="62744" y="0"/>
                  </a:cubicBezTo>
                  <a:cubicBezTo>
                    <a:pt x="61400" y="0"/>
                    <a:pt x="60503" y="896"/>
                    <a:pt x="60503" y="2241"/>
                  </a:cubicBezTo>
                  <a:lnTo>
                    <a:pt x="60503" y="13893"/>
                  </a:lnTo>
                  <a:lnTo>
                    <a:pt x="47955" y="13893"/>
                  </a:lnTo>
                  <a:cubicBezTo>
                    <a:pt x="46610" y="13893"/>
                    <a:pt x="45714" y="14790"/>
                    <a:pt x="45714" y="16134"/>
                  </a:cubicBezTo>
                  <a:cubicBezTo>
                    <a:pt x="45714" y="17479"/>
                    <a:pt x="46610" y="18375"/>
                    <a:pt x="47955" y="18375"/>
                  </a:cubicBezTo>
                  <a:lnTo>
                    <a:pt x="60503" y="18375"/>
                  </a:lnTo>
                  <a:lnTo>
                    <a:pt x="60503" y="30027"/>
                  </a:lnTo>
                  <a:cubicBezTo>
                    <a:pt x="60503" y="30027"/>
                    <a:pt x="60503" y="30027"/>
                    <a:pt x="60503" y="30027"/>
                  </a:cubicBezTo>
                  <a:lnTo>
                    <a:pt x="29131" y="30027"/>
                  </a:lnTo>
                  <a:cubicBezTo>
                    <a:pt x="27787" y="30027"/>
                    <a:pt x="26890" y="30924"/>
                    <a:pt x="26890" y="32268"/>
                  </a:cubicBezTo>
                  <a:lnTo>
                    <a:pt x="26890" y="40335"/>
                  </a:lnTo>
                  <a:lnTo>
                    <a:pt x="15686" y="40335"/>
                  </a:lnTo>
                  <a:lnTo>
                    <a:pt x="2241" y="40335"/>
                  </a:lnTo>
                  <a:cubicBezTo>
                    <a:pt x="897" y="40335"/>
                    <a:pt x="0" y="41232"/>
                    <a:pt x="0" y="42576"/>
                  </a:cubicBezTo>
                  <a:cubicBezTo>
                    <a:pt x="0" y="43921"/>
                    <a:pt x="897" y="44817"/>
                    <a:pt x="2241" y="44817"/>
                  </a:cubicBezTo>
                  <a:lnTo>
                    <a:pt x="13445" y="44817"/>
                  </a:lnTo>
                  <a:lnTo>
                    <a:pt x="13445" y="168064"/>
                  </a:lnTo>
                  <a:lnTo>
                    <a:pt x="2241" y="168064"/>
                  </a:lnTo>
                  <a:cubicBezTo>
                    <a:pt x="897" y="168064"/>
                    <a:pt x="0" y="168960"/>
                    <a:pt x="0" y="170305"/>
                  </a:cubicBezTo>
                  <a:cubicBezTo>
                    <a:pt x="0" y="171649"/>
                    <a:pt x="897" y="172546"/>
                    <a:pt x="2241" y="172546"/>
                  </a:cubicBezTo>
                  <a:lnTo>
                    <a:pt x="123247" y="172546"/>
                  </a:lnTo>
                  <a:cubicBezTo>
                    <a:pt x="124592" y="172546"/>
                    <a:pt x="125488" y="171649"/>
                    <a:pt x="125488" y="170305"/>
                  </a:cubicBezTo>
                  <a:cubicBezTo>
                    <a:pt x="125488" y="168960"/>
                    <a:pt x="124592" y="168064"/>
                    <a:pt x="123247" y="168064"/>
                  </a:cubicBezTo>
                  <a:close/>
                  <a:moveTo>
                    <a:pt x="53780" y="168064"/>
                  </a:moveTo>
                  <a:lnTo>
                    <a:pt x="31372" y="168064"/>
                  </a:lnTo>
                  <a:lnTo>
                    <a:pt x="31372" y="132210"/>
                  </a:lnTo>
                  <a:lnTo>
                    <a:pt x="53780" y="132210"/>
                  </a:lnTo>
                  <a:lnTo>
                    <a:pt x="53780" y="168064"/>
                  </a:lnTo>
                  <a:close/>
                  <a:moveTo>
                    <a:pt x="94116" y="168064"/>
                  </a:moveTo>
                  <a:lnTo>
                    <a:pt x="71707" y="168064"/>
                  </a:lnTo>
                  <a:lnTo>
                    <a:pt x="71707" y="132210"/>
                  </a:lnTo>
                  <a:lnTo>
                    <a:pt x="94116" y="132210"/>
                  </a:lnTo>
                  <a:lnTo>
                    <a:pt x="94116" y="168064"/>
                  </a:lnTo>
                  <a:close/>
                  <a:moveTo>
                    <a:pt x="31372" y="34509"/>
                  </a:moveTo>
                  <a:lnTo>
                    <a:pt x="94116" y="34509"/>
                  </a:lnTo>
                  <a:lnTo>
                    <a:pt x="94116" y="40335"/>
                  </a:lnTo>
                  <a:lnTo>
                    <a:pt x="31372" y="40335"/>
                  </a:lnTo>
                  <a:lnTo>
                    <a:pt x="31372" y="34509"/>
                  </a:lnTo>
                  <a:close/>
                  <a:moveTo>
                    <a:pt x="107561" y="44817"/>
                  </a:moveTo>
                  <a:lnTo>
                    <a:pt x="107561" y="168064"/>
                  </a:lnTo>
                  <a:lnTo>
                    <a:pt x="98597" y="168064"/>
                  </a:lnTo>
                  <a:lnTo>
                    <a:pt x="98597" y="129969"/>
                  </a:lnTo>
                  <a:cubicBezTo>
                    <a:pt x="98597" y="128625"/>
                    <a:pt x="97701" y="127729"/>
                    <a:pt x="96357" y="127729"/>
                  </a:cubicBezTo>
                  <a:lnTo>
                    <a:pt x="69466" y="127729"/>
                  </a:lnTo>
                  <a:cubicBezTo>
                    <a:pt x="68122" y="127729"/>
                    <a:pt x="67226" y="128625"/>
                    <a:pt x="67226" y="129969"/>
                  </a:cubicBezTo>
                  <a:lnTo>
                    <a:pt x="67226" y="168064"/>
                  </a:lnTo>
                  <a:lnTo>
                    <a:pt x="58262" y="168064"/>
                  </a:lnTo>
                  <a:lnTo>
                    <a:pt x="58262" y="129969"/>
                  </a:lnTo>
                  <a:cubicBezTo>
                    <a:pt x="58262" y="128625"/>
                    <a:pt x="57366" y="127729"/>
                    <a:pt x="56021" y="127729"/>
                  </a:cubicBezTo>
                  <a:lnTo>
                    <a:pt x="29131" y="127729"/>
                  </a:lnTo>
                  <a:cubicBezTo>
                    <a:pt x="27787" y="127729"/>
                    <a:pt x="26890" y="128625"/>
                    <a:pt x="26890" y="129969"/>
                  </a:cubicBezTo>
                  <a:lnTo>
                    <a:pt x="26890" y="168064"/>
                  </a:lnTo>
                  <a:lnTo>
                    <a:pt x="17927" y="168064"/>
                  </a:lnTo>
                  <a:lnTo>
                    <a:pt x="17927" y="44817"/>
                  </a:lnTo>
                  <a:lnTo>
                    <a:pt x="107561" y="44817"/>
                  </a:lnTo>
                  <a:close/>
                </a:path>
              </a:pathLst>
            </a:custGeom>
            <a:solidFill>
              <a:srgbClr val="231F20"/>
            </a:solidFill>
            <a:ln w="4477" cap="flat">
              <a:noFill/>
              <a:prstDash val="solid"/>
              <a:miter/>
            </a:ln>
          </p:spPr>
          <p:txBody>
            <a:bodyPr rtlCol="0" anchor="ctr"/>
            <a:lstStyle/>
            <a:p>
              <a:endParaRPr lang="en-US"/>
            </a:p>
          </p:txBody>
        </p:sp>
      </p:grpSp>
      <p:sp>
        <p:nvSpPr>
          <p:cNvPr id="3908" name="Freeform: Shape 3907">
            <a:extLst>
              <a:ext uri="{FF2B5EF4-FFF2-40B4-BE49-F238E27FC236}">
                <a16:creationId xmlns:a16="http://schemas.microsoft.com/office/drawing/2014/main" id="{8A139872-48FD-417F-BB88-59B9141B2DD9}"/>
              </a:ext>
              <a:ext uri="{C183D7F6-B498-43B3-948B-1728B52AA6E4}">
                <adec:decorative xmlns:adec="http://schemas.microsoft.com/office/drawing/2017/decorative" val="1"/>
              </a:ext>
            </a:extLst>
          </p:cNvPr>
          <p:cNvSpPr>
            <a:spLocks noChangeAspect="1"/>
          </p:cNvSpPr>
          <p:nvPr/>
        </p:nvSpPr>
        <p:spPr>
          <a:xfrm>
            <a:off x="1109111" y="3144140"/>
            <a:ext cx="134451" cy="85152"/>
          </a:xfrm>
          <a:custGeom>
            <a:avLst/>
            <a:gdLst>
              <a:gd name="connsiteX0" fmla="*/ 116076 w 134451"/>
              <a:gd name="connsiteY0" fmla="*/ 40335 h 85152"/>
              <a:gd name="connsiteX1" fmla="*/ 109353 w 134451"/>
              <a:gd name="connsiteY1" fmla="*/ 41680 h 85152"/>
              <a:gd name="connsiteX2" fmla="*/ 91427 w 134451"/>
              <a:gd name="connsiteY2" fmla="*/ 1344 h 85152"/>
              <a:gd name="connsiteX3" fmla="*/ 89186 w 134451"/>
              <a:gd name="connsiteY3" fmla="*/ 0 h 85152"/>
              <a:gd name="connsiteX4" fmla="*/ 75741 w 134451"/>
              <a:gd name="connsiteY4" fmla="*/ 0 h 85152"/>
              <a:gd name="connsiteX5" fmla="*/ 73500 w 134451"/>
              <a:gd name="connsiteY5" fmla="*/ 2241 h 85152"/>
              <a:gd name="connsiteX6" fmla="*/ 75741 w 134451"/>
              <a:gd name="connsiteY6" fmla="*/ 4482 h 85152"/>
              <a:gd name="connsiteX7" fmla="*/ 87841 w 134451"/>
              <a:gd name="connsiteY7" fmla="*/ 4482 h 85152"/>
              <a:gd name="connsiteX8" fmla="*/ 95012 w 134451"/>
              <a:gd name="connsiteY8" fmla="*/ 20616 h 85152"/>
              <a:gd name="connsiteX9" fmla="*/ 47058 w 134451"/>
              <a:gd name="connsiteY9" fmla="*/ 20616 h 85152"/>
              <a:gd name="connsiteX10" fmla="*/ 46162 w 134451"/>
              <a:gd name="connsiteY10" fmla="*/ 17927 h 85152"/>
              <a:gd name="connsiteX11" fmla="*/ 51091 w 134451"/>
              <a:gd name="connsiteY11" fmla="*/ 17927 h 85152"/>
              <a:gd name="connsiteX12" fmla="*/ 57814 w 134451"/>
              <a:gd name="connsiteY12" fmla="*/ 11204 h 85152"/>
              <a:gd name="connsiteX13" fmla="*/ 51091 w 134451"/>
              <a:gd name="connsiteY13" fmla="*/ 4482 h 85152"/>
              <a:gd name="connsiteX14" fmla="*/ 28683 w 134451"/>
              <a:gd name="connsiteY14" fmla="*/ 4482 h 85152"/>
              <a:gd name="connsiteX15" fmla="*/ 26890 w 134451"/>
              <a:gd name="connsiteY15" fmla="*/ 5826 h 85152"/>
              <a:gd name="connsiteX16" fmla="*/ 26890 w 134451"/>
              <a:gd name="connsiteY16" fmla="*/ 8067 h 85152"/>
              <a:gd name="connsiteX17" fmla="*/ 30924 w 134451"/>
              <a:gd name="connsiteY17" fmla="*/ 14789 h 85152"/>
              <a:gd name="connsiteX18" fmla="*/ 36750 w 134451"/>
              <a:gd name="connsiteY18" fmla="*/ 17927 h 85152"/>
              <a:gd name="connsiteX19" fmla="*/ 41680 w 134451"/>
              <a:gd name="connsiteY19" fmla="*/ 17927 h 85152"/>
              <a:gd name="connsiteX20" fmla="*/ 43472 w 134451"/>
              <a:gd name="connsiteY20" fmla="*/ 22857 h 85152"/>
              <a:gd name="connsiteX21" fmla="*/ 31820 w 134451"/>
              <a:gd name="connsiteY21" fmla="*/ 42576 h 85152"/>
              <a:gd name="connsiteX22" fmla="*/ 22409 w 134451"/>
              <a:gd name="connsiteY22" fmla="*/ 40335 h 85152"/>
              <a:gd name="connsiteX23" fmla="*/ 0 w 134451"/>
              <a:gd name="connsiteY23" fmla="*/ 62744 h 85152"/>
              <a:gd name="connsiteX24" fmla="*/ 22409 w 134451"/>
              <a:gd name="connsiteY24" fmla="*/ 85152 h 85152"/>
              <a:gd name="connsiteX25" fmla="*/ 44369 w 134451"/>
              <a:gd name="connsiteY25" fmla="*/ 64985 h 85152"/>
              <a:gd name="connsiteX26" fmla="*/ 55573 w 134451"/>
              <a:gd name="connsiteY26" fmla="*/ 64985 h 85152"/>
              <a:gd name="connsiteX27" fmla="*/ 62296 w 134451"/>
              <a:gd name="connsiteY27" fmla="*/ 69914 h 85152"/>
              <a:gd name="connsiteX28" fmla="*/ 64985 w 134451"/>
              <a:gd name="connsiteY28" fmla="*/ 69466 h 85152"/>
              <a:gd name="connsiteX29" fmla="*/ 69018 w 134451"/>
              <a:gd name="connsiteY29" fmla="*/ 64985 h 85152"/>
              <a:gd name="connsiteX30" fmla="*/ 75741 w 134451"/>
              <a:gd name="connsiteY30" fmla="*/ 64985 h 85152"/>
              <a:gd name="connsiteX31" fmla="*/ 77982 w 134451"/>
              <a:gd name="connsiteY31" fmla="*/ 62744 h 85152"/>
              <a:gd name="connsiteX32" fmla="*/ 75741 w 134451"/>
              <a:gd name="connsiteY32" fmla="*/ 60503 h 85152"/>
              <a:gd name="connsiteX33" fmla="*/ 71707 w 134451"/>
              <a:gd name="connsiteY33" fmla="*/ 60503 h 85152"/>
              <a:gd name="connsiteX34" fmla="*/ 97701 w 134451"/>
              <a:gd name="connsiteY34" fmla="*/ 27338 h 85152"/>
              <a:gd name="connsiteX35" fmla="*/ 104872 w 134451"/>
              <a:gd name="connsiteY35" fmla="*/ 43472 h 85152"/>
              <a:gd name="connsiteX36" fmla="*/ 93219 w 134451"/>
              <a:gd name="connsiteY36" fmla="*/ 62744 h 85152"/>
              <a:gd name="connsiteX37" fmla="*/ 115628 w 134451"/>
              <a:gd name="connsiteY37" fmla="*/ 85152 h 85152"/>
              <a:gd name="connsiteX38" fmla="*/ 138036 w 134451"/>
              <a:gd name="connsiteY38" fmla="*/ 62744 h 85152"/>
              <a:gd name="connsiteX39" fmla="*/ 116076 w 134451"/>
              <a:gd name="connsiteY39" fmla="*/ 40335 h 85152"/>
              <a:gd name="connsiteX40" fmla="*/ 34509 w 134451"/>
              <a:gd name="connsiteY40" fmla="*/ 12100 h 85152"/>
              <a:gd name="connsiteX41" fmla="*/ 32268 w 134451"/>
              <a:gd name="connsiteY41" fmla="*/ 8515 h 85152"/>
              <a:gd name="connsiteX42" fmla="*/ 50643 w 134451"/>
              <a:gd name="connsiteY42" fmla="*/ 8515 h 85152"/>
              <a:gd name="connsiteX43" fmla="*/ 52884 w 134451"/>
              <a:gd name="connsiteY43" fmla="*/ 10756 h 85152"/>
              <a:gd name="connsiteX44" fmla="*/ 50643 w 134451"/>
              <a:gd name="connsiteY44" fmla="*/ 12997 h 85152"/>
              <a:gd name="connsiteX45" fmla="*/ 36302 w 134451"/>
              <a:gd name="connsiteY45" fmla="*/ 12997 h 85152"/>
              <a:gd name="connsiteX46" fmla="*/ 34509 w 134451"/>
              <a:gd name="connsiteY46" fmla="*/ 12100 h 85152"/>
              <a:gd name="connsiteX47" fmla="*/ 43921 w 134451"/>
              <a:gd name="connsiteY47" fmla="*/ 30027 h 85152"/>
              <a:gd name="connsiteX48" fmla="*/ 45265 w 134451"/>
              <a:gd name="connsiteY48" fmla="*/ 27786 h 85152"/>
              <a:gd name="connsiteX49" fmla="*/ 56918 w 134451"/>
              <a:gd name="connsiteY49" fmla="*/ 57814 h 85152"/>
              <a:gd name="connsiteX50" fmla="*/ 55573 w 134451"/>
              <a:gd name="connsiteY50" fmla="*/ 60054 h 85152"/>
              <a:gd name="connsiteX51" fmla="*/ 44369 w 134451"/>
              <a:gd name="connsiteY51" fmla="*/ 60054 h 85152"/>
              <a:gd name="connsiteX52" fmla="*/ 35405 w 134451"/>
              <a:gd name="connsiteY52" fmla="*/ 44368 h 85152"/>
              <a:gd name="connsiteX53" fmla="*/ 43921 w 134451"/>
              <a:gd name="connsiteY53" fmla="*/ 30027 h 85152"/>
              <a:gd name="connsiteX54" fmla="*/ 39887 w 134451"/>
              <a:gd name="connsiteY54" fmla="*/ 60503 h 85152"/>
              <a:gd name="connsiteX55" fmla="*/ 25994 w 134451"/>
              <a:gd name="connsiteY55" fmla="*/ 60503 h 85152"/>
              <a:gd name="connsiteX56" fmla="*/ 33165 w 134451"/>
              <a:gd name="connsiteY56" fmla="*/ 48850 h 85152"/>
              <a:gd name="connsiteX57" fmla="*/ 39887 w 134451"/>
              <a:gd name="connsiteY57" fmla="*/ 60503 h 85152"/>
              <a:gd name="connsiteX58" fmla="*/ 21960 w 134451"/>
              <a:gd name="connsiteY58" fmla="*/ 80671 h 85152"/>
              <a:gd name="connsiteX59" fmla="*/ 4034 w 134451"/>
              <a:gd name="connsiteY59" fmla="*/ 62744 h 85152"/>
              <a:gd name="connsiteX60" fmla="*/ 21960 w 134451"/>
              <a:gd name="connsiteY60" fmla="*/ 44817 h 85152"/>
              <a:gd name="connsiteX61" fmla="*/ 29131 w 134451"/>
              <a:gd name="connsiteY61" fmla="*/ 46161 h 85152"/>
              <a:gd name="connsiteX62" fmla="*/ 20168 w 134451"/>
              <a:gd name="connsiteY62" fmla="*/ 61399 h 85152"/>
              <a:gd name="connsiteX63" fmla="*/ 20168 w 134451"/>
              <a:gd name="connsiteY63" fmla="*/ 63640 h 85152"/>
              <a:gd name="connsiteX64" fmla="*/ 21960 w 134451"/>
              <a:gd name="connsiteY64" fmla="*/ 64985 h 85152"/>
              <a:gd name="connsiteX65" fmla="*/ 39439 w 134451"/>
              <a:gd name="connsiteY65" fmla="*/ 64985 h 85152"/>
              <a:gd name="connsiteX66" fmla="*/ 21960 w 134451"/>
              <a:gd name="connsiteY66" fmla="*/ 80671 h 85152"/>
              <a:gd name="connsiteX67" fmla="*/ 63640 w 134451"/>
              <a:gd name="connsiteY67" fmla="*/ 64985 h 85152"/>
              <a:gd name="connsiteX68" fmla="*/ 59607 w 134451"/>
              <a:gd name="connsiteY68" fmla="*/ 62295 h 85152"/>
              <a:gd name="connsiteX69" fmla="*/ 61399 w 134451"/>
              <a:gd name="connsiteY69" fmla="*/ 59606 h 85152"/>
              <a:gd name="connsiteX70" fmla="*/ 62296 w 134451"/>
              <a:gd name="connsiteY70" fmla="*/ 59606 h 85152"/>
              <a:gd name="connsiteX71" fmla="*/ 64985 w 134451"/>
              <a:gd name="connsiteY71" fmla="*/ 62295 h 85152"/>
              <a:gd name="connsiteX72" fmla="*/ 63640 w 134451"/>
              <a:gd name="connsiteY72" fmla="*/ 64985 h 85152"/>
              <a:gd name="connsiteX73" fmla="*/ 68122 w 134451"/>
              <a:gd name="connsiteY73" fmla="*/ 58262 h 85152"/>
              <a:gd name="connsiteX74" fmla="*/ 62296 w 134451"/>
              <a:gd name="connsiteY74" fmla="*/ 55573 h 85152"/>
              <a:gd name="connsiteX75" fmla="*/ 60503 w 134451"/>
              <a:gd name="connsiteY75" fmla="*/ 55573 h 85152"/>
              <a:gd name="connsiteX76" fmla="*/ 48851 w 134451"/>
              <a:gd name="connsiteY76" fmla="*/ 25097 h 85152"/>
              <a:gd name="connsiteX77" fmla="*/ 93668 w 134451"/>
              <a:gd name="connsiteY77" fmla="*/ 25097 h 85152"/>
              <a:gd name="connsiteX78" fmla="*/ 68122 w 134451"/>
              <a:gd name="connsiteY78" fmla="*/ 58262 h 85152"/>
              <a:gd name="connsiteX79" fmla="*/ 116076 w 134451"/>
              <a:gd name="connsiteY79" fmla="*/ 80671 h 85152"/>
              <a:gd name="connsiteX80" fmla="*/ 98149 w 134451"/>
              <a:gd name="connsiteY80" fmla="*/ 62744 h 85152"/>
              <a:gd name="connsiteX81" fmla="*/ 107113 w 134451"/>
              <a:gd name="connsiteY81" fmla="*/ 47506 h 85152"/>
              <a:gd name="connsiteX82" fmla="*/ 114283 w 134451"/>
              <a:gd name="connsiteY82" fmla="*/ 63640 h 85152"/>
              <a:gd name="connsiteX83" fmla="*/ 116524 w 134451"/>
              <a:gd name="connsiteY83" fmla="*/ 64985 h 85152"/>
              <a:gd name="connsiteX84" fmla="*/ 117421 w 134451"/>
              <a:gd name="connsiteY84" fmla="*/ 64985 h 85152"/>
              <a:gd name="connsiteX85" fmla="*/ 118765 w 134451"/>
              <a:gd name="connsiteY85" fmla="*/ 61847 h 85152"/>
              <a:gd name="connsiteX86" fmla="*/ 111594 w 134451"/>
              <a:gd name="connsiteY86" fmla="*/ 45713 h 85152"/>
              <a:gd name="connsiteX87" fmla="*/ 116524 w 134451"/>
              <a:gd name="connsiteY87" fmla="*/ 44817 h 85152"/>
              <a:gd name="connsiteX88" fmla="*/ 134451 w 134451"/>
              <a:gd name="connsiteY88" fmla="*/ 62744 h 85152"/>
              <a:gd name="connsiteX89" fmla="*/ 116076 w 134451"/>
              <a:gd name="connsiteY89" fmla="*/ 80671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34451" h="85152">
                <a:moveTo>
                  <a:pt x="116076" y="40335"/>
                </a:moveTo>
                <a:cubicBezTo>
                  <a:pt x="113835" y="40335"/>
                  <a:pt x="111594" y="40783"/>
                  <a:pt x="109353" y="41680"/>
                </a:cubicBezTo>
                <a:lnTo>
                  <a:pt x="91427" y="1344"/>
                </a:lnTo>
                <a:cubicBezTo>
                  <a:pt x="90979" y="448"/>
                  <a:pt x="90082" y="0"/>
                  <a:pt x="89186" y="0"/>
                </a:cubicBezTo>
                <a:lnTo>
                  <a:pt x="75741" y="0"/>
                </a:lnTo>
                <a:cubicBezTo>
                  <a:pt x="74396" y="0"/>
                  <a:pt x="73500" y="896"/>
                  <a:pt x="73500" y="2241"/>
                </a:cubicBezTo>
                <a:cubicBezTo>
                  <a:pt x="73500" y="3585"/>
                  <a:pt x="74396" y="4482"/>
                  <a:pt x="75741" y="4482"/>
                </a:cubicBezTo>
                <a:lnTo>
                  <a:pt x="87841" y="4482"/>
                </a:lnTo>
                <a:lnTo>
                  <a:pt x="95012" y="20616"/>
                </a:lnTo>
                <a:lnTo>
                  <a:pt x="47058" y="20616"/>
                </a:lnTo>
                <a:lnTo>
                  <a:pt x="46162" y="17927"/>
                </a:lnTo>
                <a:lnTo>
                  <a:pt x="51091" y="17927"/>
                </a:lnTo>
                <a:cubicBezTo>
                  <a:pt x="54677" y="17927"/>
                  <a:pt x="57814" y="14789"/>
                  <a:pt x="57814" y="11204"/>
                </a:cubicBezTo>
                <a:cubicBezTo>
                  <a:pt x="57814" y="7619"/>
                  <a:pt x="54677" y="4482"/>
                  <a:pt x="51091" y="4482"/>
                </a:cubicBezTo>
                <a:lnTo>
                  <a:pt x="28683" y="4482"/>
                </a:lnTo>
                <a:cubicBezTo>
                  <a:pt x="27787" y="4482"/>
                  <a:pt x="27338" y="4930"/>
                  <a:pt x="26890" y="5826"/>
                </a:cubicBezTo>
                <a:cubicBezTo>
                  <a:pt x="26442" y="6723"/>
                  <a:pt x="26442" y="7171"/>
                  <a:pt x="26890" y="8067"/>
                </a:cubicBezTo>
                <a:lnTo>
                  <a:pt x="30924" y="14789"/>
                </a:lnTo>
                <a:cubicBezTo>
                  <a:pt x="32268" y="16582"/>
                  <a:pt x="34509" y="17927"/>
                  <a:pt x="36750" y="17927"/>
                </a:cubicBezTo>
                <a:lnTo>
                  <a:pt x="41680" y="17927"/>
                </a:lnTo>
                <a:lnTo>
                  <a:pt x="43472" y="22857"/>
                </a:lnTo>
                <a:lnTo>
                  <a:pt x="31820" y="42576"/>
                </a:lnTo>
                <a:cubicBezTo>
                  <a:pt x="29131" y="41231"/>
                  <a:pt x="25546" y="40335"/>
                  <a:pt x="22409" y="40335"/>
                </a:cubicBezTo>
                <a:cubicBezTo>
                  <a:pt x="9860" y="40335"/>
                  <a:pt x="0" y="50195"/>
                  <a:pt x="0" y="62744"/>
                </a:cubicBezTo>
                <a:cubicBezTo>
                  <a:pt x="0" y="75292"/>
                  <a:pt x="9860" y="85152"/>
                  <a:pt x="22409" y="85152"/>
                </a:cubicBezTo>
                <a:cubicBezTo>
                  <a:pt x="34061" y="85152"/>
                  <a:pt x="43472" y="76189"/>
                  <a:pt x="44369" y="64985"/>
                </a:cubicBezTo>
                <a:lnTo>
                  <a:pt x="55573" y="64985"/>
                </a:lnTo>
                <a:cubicBezTo>
                  <a:pt x="56469" y="67674"/>
                  <a:pt x="59158" y="69914"/>
                  <a:pt x="62296" y="69914"/>
                </a:cubicBezTo>
                <a:cubicBezTo>
                  <a:pt x="63192" y="69914"/>
                  <a:pt x="64088" y="69914"/>
                  <a:pt x="64985" y="69466"/>
                </a:cubicBezTo>
                <a:cubicBezTo>
                  <a:pt x="66777" y="68570"/>
                  <a:pt x="68570" y="67226"/>
                  <a:pt x="69018" y="64985"/>
                </a:cubicBezTo>
                <a:lnTo>
                  <a:pt x="75741" y="64985"/>
                </a:lnTo>
                <a:cubicBezTo>
                  <a:pt x="77085" y="64985"/>
                  <a:pt x="77982" y="64088"/>
                  <a:pt x="77982" y="62744"/>
                </a:cubicBezTo>
                <a:cubicBezTo>
                  <a:pt x="77982" y="61399"/>
                  <a:pt x="77085" y="60503"/>
                  <a:pt x="75741" y="60503"/>
                </a:cubicBezTo>
                <a:lnTo>
                  <a:pt x="71707" y="60503"/>
                </a:lnTo>
                <a:lnTo>
                  <a:pt x="97701" y="27338"/>
                </a:lnTo>
                <a:lnTo>
                  <a:pt x="104872" y="43472"/>
                </a:lnTo>
                <a:cubicBezTo>
                  <a:pt x="98149" y="47506"/>
                  <a:pt x="93219" y="54677"/>
                  <a:pt x="93219" y="62744"/>
                </a:cubicBezTo>
                <a:cubicBezTo>
                  <a:pt x="93219" y="75292"/>
                  <a:pt x="103079" y="85152"/>
                  <a:pt x="115628" y="85152"/>
                </a:cubicBezTo>
                <a:cubicBezTo>
                  <a:pt x="128177" y="85152"/>
                  <a:pt x="138036" y="75292"/>
                  <a:pt x="138036" y="62744"/>
                </a:cubicBezTo>
                <a:cubicBezTo>
                  <a:pt x="138036" y="50195"/>
                  <a:pt x="128625" y="40335"/>
                  <a:pt x="116076" y="40335"/>
                </a:cubicBezTo>
                <a:close/>
                <a:moveTo>
                  <a:pt x="34509" y="12100"/>
                </a:moveTo>
                <a:lnTo>
                  <a:pt x="32268" y="8515"/>
                </a:lnTo>
                <a:lnTo>
                  <a:pt x="50643" y="8515"/>
                </a:lnTo>
                <a:cubicBezTo>
                  <a:pt x="51988" y="8515"/>
                  <a:pt x="52884" y="9411"/>
                  <a:pt x="52884" y="10756"/>
                </a:cubicBezTo>
                <a:cubicBezTo>
                  <a:pt x="52884" y="12100"/>
                  <a:pt x="51988" y="12997"/>
                  <a:pt x="50643" y="12997"/>
                </a:cubicBezTo>
                <a:lnTo>
                  <a:pt x="36302" y="12997"/>
                </a:lnTo>
                <a:cubicBezTo>
                  <a:pt x="35854" y="13445"/>
                  <a:pt x="34957" y="12997"/>
                  <a:pt x="34509" y="12100"/>
                </a:cubicBezTo>
                <a:close/>
                <a:moveTo>
                  <a:pt x="43921" y="30027"/>
                </a:moveTo>
                <a:lnTo>
                  <a:pt x="45265" y="27786"/>
                </a:lnTo>
                <a:lnTo>
                  <a:pt x="56918" y="57814"/>
                </a:lnTo>
                <a:cubicBezTo>
                  <a:pt x="56469" y="58710"/>
                  <a:pt x="56021" y="59158"/>
                  <a:pt x="55573" y="60054"/>
                </a:cubicBezTo>
                <a:lnTo>
                  <a:pt x="44369" y="60054"/>
                </a:lnTo>
                <a:cubicBezTo>
                  <a:pt x="43921" y="53780"/>
                  <a:pt x="40335" y="47954"/>
                  <a:pt x="35405" y="44368"/>
                </a:cubicBezTo>
                <a:lnTo>
                  <a:pt x="43921" y="30027"/>
                </a:lnTo>
                <a:close/>
                <a:moveTo>
                  <a:pt x="39887" y="60503"/>
                </a:moveTo>
                <a:lnTo>
                  <a:pt x="25994" y="60503"/>
                </a:lnTo>
                <a:lnTo>
                  <a:pt x="33165" y="48850"/>
                </a:lnTo>
                <a:cubicBezTo>
                  <a:pt x="36750" y="51540"/>
                  <a:pt x="38991" y="55573"/>
                  <a:pt x="39887" y="60503"/>
                </a:cubicBezTo>
                <a:close/>
                <a:moveTo>
                  <a:pt x="21960" y="80671"/>
                </a:moveTo>
                <a:cubicBezTo>
                  <a:pt x="12101" y="80671"/>
                  <a:pt x="4034" y="72603"/>
                  <a:pt x="4034" y="62744"/>
                </a:cubicBezTo>
                <a:cubicBezTo>
                  <a:pt x="4034" y="52884"/>
                  <a:pt x="12101" y="44817"/>
                  <a:pt x="21960" y="44817"/>
                </a:cubicBezTo>
                <a:cubicBezTo>
                  <a:pt x="24649" y="44817"/>
                  <a:pt x="26890" y="45265"/>
                  <a:pt x="29131" y="46161"/>
                </a:cubicBezTo>
                <a:lnTo>
                  <a:pt x="20168" y="61399"/>
                </a:lnTo>
                <a:cubicBezTo>
                  <a:pt x="19719" y="62295"/>
                  <a:pt x="19719" y="62744"/>
                  <a:pt x="20168" y="63640"/>
                </a:cubicBezTo>
                <a:cubicBezTo>
                  <a:pt x="20616" y="64536"/>
                  <a:pt x="21512" y="64985"/>
                  <a:pt x="21960" y="64985"/>
                </a:cubicBezTo>
                <a:lnTo>
                  <a:pt x="39439" y="64985"/>
                </a:lnTo>
                <a:cubicBezTo>
                  <a:pt x="38543" y="73499"/>
                  <a:pt x="30924" y="80671"/>
                  <a:pt x="21960" y="80671"/>
                </a:cubicBezTo>
                <a:close/>
                <a:moveTo>
                  <a:pt x="63640" y="64985"/>
                </a:moveTo>
                <a:cubicBezTo>
                  <a:pt x="61847" y="65881"/>
                  <a:pt x="59607" y="64536"/>
                  <a:pt x="59607" y="62295"/>
                </a:cubicBezTo>
                <a:cubicBezTo>
                  <a:pt x="59607" y="60951"/>
                  <a:pt x="60503" y="60054"/>
                  <a:pt x="61399" y="59606"/>
                </a:cubicBezTo>
                <a:cubicBezTo>
                  <a:pt x="61847" y="59606"/>
                  <a:pt x="61847" y="59606"/>
                  <a:pt x="62296" y="59606"/>
                </a:cubicBezTo>
                <a:cubicBezTo>
                  <a:pt x="63640" y="59606"/>
                  <a:pt x="64985" y="60951"/>
                  <a:pt x="64985" y="62295"/>
                </a:cubicBezTo>
                <a:cubicBezTo>
                  <a:pt x="64985" y="63640"/>
                  <a:pt x="64536" y="64536"/>
                  <a:pt x="63640" y="64985"/>
                </a:cubicBezTo>
                <a:close/>
                <a:moveTo>
                  <a:pt x="68122" y="58262"/>
                </a:moveTo>
                <a:cubicBezTo>
                  <a:pt x="66777" y="56469"/>
                  <a:pt x="64985" y="55573"/>
                  <a:pt x="62296" y="55573"/>
                </a:cubicBezTo>
                <a:cubicBezTo>
                  <a:pt x="61847" y="55573"/>
                  <a:pt x="60951" y="55573"/>
                  <a:pt x="60503" y="55573"/>
                </a:cubicBezTo>
                <a:lnTo>
                  <a:pt x="48851" y="25097"/>
                </a:lnTo>
                <a:lnTo>
                  <a:pt x="93668" y="25097"/>
                </a:lnTo>
                <a:lnTo>
                  <a:pt x="68122" y="58262"/>
                </a:lnTo>
                <a:close/>
                <a:moveTo>
                  <a:pt x="116076" y="80671"/>
                </a:moveTo>
                <a:cubicBezTo>
                  <a:pt x="106216" y="80671"/>
                  <a:pt x="98149" y="72603"/>
                  <a:pt x="98149" y="62744"/>
                </a:cubicBezTo>
                <a:cubicBezTo>
                  <a:pt x="98149" y="56021"/>
                  <a:pt x="101735" y="50643"/>
                  <a:pt x="107113" y="47506"/>
                </a:cubicBezTo>
                <a:lnTo>
                  <a:pt x="114283" y="63640"/>
                </a:lnTo>
                <a:cubicBezTo>
                  <a:pt x="114732" y="64536"/>
                  <a:pt x="115628" y="64985"/>
                  <a:pt x="116524" y="64985"/>
                </a:cubicBezTo>
                <a:cubicBezTo>
                  <a:pt x="116972" y="64985"/>
                  <a:pt x="116972" y="64985"/>
                  <a:pt x="117421" y="64985"/>
                </a:cubicBezTo>
                <a:cubicBezTo>
                  <a:pt x="118765" y="64536"/>
                  <a:pt x="119213" y="63192"/>
                  <a:pt x="118765" y="61847"/>
                </a:cubicBezTo>
                <a:lnTo>
                  <a:pt x="111594" y="45713"/>
                </a:lnTo>
                <a:cubicBezTo>
                  <a:pt x="113387" y="45265"/>
                  <a:pt x="114732" y="44817"/>
                  <a:pt x="116524" y="44817"/>
                </a:cubicBezTo>
                <a:cubicBezTo>
                  <a:pt x="126384" y="44817"/>
                  <a:pt x="134451" y="52884"/>
                  <a:pt x="134451" y="62744"/>
                </a:cubicBezTo>
                <a:cubicBezTo>
                  <a:pt x="134451" y="72603"/>
                  <a:pt x="125936" y="80671"/>
                  <a:pt x="116076" y="80671"/>
                </a:cubicBezTo>
                <a:close/>
              </a:path>
            </a:pathLst>
          </a:custGeom>
          <a:solidFill>
            <a:srgbClr val="231F20"/>
          </a:solidFill>
          <a:ln w="4477" cap="flat">
            <a:noFill/>
            <a:prstDash val="solid"/>
            <a:miter/>
          </a:ln>
        </p:spPr>
        <p:txBody>
          <a:bodyPr rtlCol="0" anchor="ctr"/>
          <a:lstStyle/>
          <a:p>
            <a:endParaRPr lang="en-US"/>
          </a:p>
        </p:txBody>
      </p:sp>
      <p:sp>
        <p:nvSpPr>
          <p:cNvPr id="3910" name="Freeform: Shape 3909">
            <a:extLst>
              <a:ext uri="{FF2B5EF4-FFF2-40B4-BE49-F238E27FC236}">
                <a16:creationId xmlns:a16="http://schemas.microsoft.com/office/drawing/2014/main" id="{A80F3FE0-EB92-4208-829B-B0564AAB1623}"/>
              </a:ext>
              <a:ext uri="{C183D7F6-B498-43B3-948B-1728B52AA6E4}">
                <adec:decorative xmlns:adec="http://schemas.microsoft.com/office/drawing/2017/decorative" val="1"/>
              </a:ext>
            </a:extLst>
          </p:cNvPr>
          <p:cNvSpPr>
            <a:spLocks noChangeAspect="1"/>
          </p:cNvSpPr>
          <p:nvPr/>
        </p:nvSpPr>
        <p:spPr>
          <a:xfrm>
            <a:off x="3193102" y="2419001"/>
            <a:ext cx="179268" cy="138933"/>
          </a:xfrm>
          <a:custGeom>
            <a:avLst/>
            <a:gdLst>
              <a:gd name="connsiteX0" fmla="*/ 176131 w 179268"/>
              <a:gd name="connsiteY0" fmla="*/ 134451 h 138932"/>
              <a:gd name="connsiteX1" fmla="*/ 164927 w 179268"/>
              <a:gd name="connsiteY1" fmla="*/ 134451 h 138932"/>
              <a:gd name="connsiteX2" fmla="*/ 164927 w 179268"/>
              <a:gd name="connsiteY2" fmla="*/ 82912 h 138932"/>
              <a:gd name="connsiteX3" fmla="*/ 162686 w 179268"/>
              <a:gd name="connsiteY3" fmla="*/ 80671 h 138932"/>
              <a:gd name="connsiteX4" fmla="*/ 151481 w 179268"/>
              <a:gd name="connsiteY4" fmla="*/ 80671 h 138932"/>
              <a:gd name="connsiteX5" fmla="*/ 145207 w 179268"/>
              <a:gd name="connsiteY5" fmla="*/ 4482 h 138932"/>
              <a:gd name="connsiteX6" fmla="*/ 149689 w 179268"/>
              <a:gd name="connsiteY6" fmla="*/ 4482 h 138932"/>
              <a:gd name="connsiteX7" fmla="*/ 151930 w 179268"/>
              <a:gd name="connsiteY7" fmla="*/ 2241 h 138932"/>
              <a:gd name="connsiteX8" fmla="*/ 149689 w 179268"/>
              <a:gd name="connsiteY8" fmla="*/ 0 h 138932"/>
              <a:gd name="connsiteX9" fmla="*/ 142966 w 179268"/>
              <a:gd name="connsiteY9" fmla="*/ 0 h 138932"/>
              <a:gd name="connsiteX10" fmla="*/ 129521 w 179268"/>
              <a:gd name="connsiteY10" fmla="*/ 0 h 138932"/>
              <a:gd name="connsiteX11" fmla="*/ 122799 w 179268"/>
              <a:gd name="connsiteY11" fmla="*/ 0 h 138932"/>
              <a:gd name="connsiteX12" fmla="*/ 120558 w 179268"/>
              <a:gd name="connsiteY12" fmla="*/ 2241 h 138932"/>
              <a:gd name="connsiteX13" fmla="*/ 122799 w 179268"/>
              <a:gd name="connsiteY13" fmla="*/ 4482 h 138932"/>
              <a:gd name="connsiteX14" fmla="*/ 127280 w 179268"/>
              <a:gd name="connsiteY14" fmla="*/ 4482 h 138932"/>
              <a:gd name="connsiteX15" fmla="*/ 121006 w 179268"/>
              <a:gd name="connsiteY15" fmla="*/ 80671 h 138932"/>
              <a:gd name="connsiteX16" fmla="*/ 118765 w 179268"/>
              <a:gd name="connsiteY16" fmla="*/ 80671 h 138932"/>
              <a:gd name="connsiteX17" fmla="*/ 118765 w 179268"/>
              <a:gd name="connsiteY17" fmla="*/ 56021 h 138932"/>
              <a:gd name="connsiteX18" fmla="*/ 117869 w 179268"/>
              <a:gd name="connsiteY18" fmla="*/ 54228 h 138932"/>
              <a:gd name="connsiteX19" fmla="*/ 115628 w 179268"/>
              <a:gd name="connsiteY19" fmla="*/ 53780 h 138932"/>
              <a:gd name="connsiteX20" fmla="*/ 85152 w 179268"/>
              <a:gd name="connsiteY20" fmla="*/ 65881 h 138932"/>
              <a:gd name="connsiteX21" fmla="*/ 85152 w 179268"/>
              <a:gd name="connsiteY21" fmla="*/ 55573 h 138932"/>
              <a:gd name="connsiteX22" fmla="*/ 84256 w 179268"/>
              <a:gd name="connsiteY22" fmla="*/ 53780 h 138932"/>
              <a:gd name="connsiteX23" fmla="*/ 82015 w 179268"/>
              <a:gd name="connsiteY23" fmla="*/ 53332 h 138932"/>
              <a:gd name="connsiteX24" fmla="*/ 51540 w 179268"/>
              <a:gd name="connsiteY24" fmla="*/ 65433 h 138932"/>
              <a:gd name="connsiteX25" fmla="*/ 51540 w 179268"/>
              <a:gd name="connsiteY25" fmla="*/ 55125 h 138932"/>
              <a:gd name="connsiteX26" fmla="*/ 50643 w 179268"/>
              <a:gd name="connsiteY26" fmla="*/ 53332 h 138932"/>
              <a:gd name="connsiteX27" fmla="*/ 48402 w 179268"/>
              <a:gd name="connsiteY27" fmla="*/ 52884 h 138932"/>
              <a:gd name="connsiteX28" fmla="*/ 14790 w 179268"/>
              <a:gd name="connsiteY28" fmla="*/ 66329 h 138932"/>
              <a:gd name="connsiteX29" fmla="*/ 13445 w 179268"/>
              <a:gd name="connsiteY29" fmla="*/ 68570 h 138932"/>
              <a:gd name="connsiteX30" fmla="*/ 13445 w 179268"/>
              <a:gd name="connsiteY30" fmla="*/ 134451 h 138932"/>
              <a:gd name="connsiteX31" fmla="*/ 2241 w 179268"/>
              <a:gd name="connsiteY31" fmla="*/ 134451 h 138932"/>
              <a:gd name="connsiteX32" fmla="*/ 0 w 179268"/>
              <a:gd name="connsiteY32" fmla="*/ 136692 h 138932"/>
              <a:gd name="connsiteX33" fmla="*/ 2241 w 179268"/>
              <a:gd name="connsiteY33" fmla="*/ 138933 h 138932"/>
              <a:gd name="connsiteX34" fmla="*/ 15686 w 179268"/>
              <a:gd name="connsiteY34" fmla="*/ 138933 h 138932"/>
              <a:gd name="connsiteX35" fmla="*/ 163582 w 179268"/>
              <a:gd name="connsiteY35" fmla="*/ 138933 h 138932"/>
              <a:gd name="connsiteX36" fmla="*/ 177027 w 179268"/>
              <a:gd name="connsiteY36" fmla="*/ 138933 h 138932"/>
              <a:gd name="connsiteX37" fmla="*/ 179268 w 179268"/>
              <a:gd name="connsiteY37" fmla="*/ 136692 h 138932"/>
              <a:gd name="connsiteX38" fmla="*/ 176131 w 179268"/>
              <a:gd name="connsiteY38" fmla="*/ 134451 h 138932"/>
              <a:gd name="connsiteX39" fmla="*/ 130866 w 179268"/>
              <a:gd name="connsiteY39" fmla="*/ 4482 h 138932"/>
              <a:gd name="connsiteX40" fmla="*/ 140277 w 179268"/>
              <a:gd name="connsiteY40" fmla="*/ 4482 h 138932"/>
              <a:gd name="connsiteX41" fmla="*/ 146552 w 179268"/>
              <a:gd name="connsiteY41" fmla="*/ 80671 h 138932"/>
              <a:gd name="connsiteX42" fmla="*/ 124591 w 179268"/>
              <a:gd name="connsiteY42" fmla="*/ 80671 h 138932"/>
              <a:gd name="connsiteX43" fmla="*/ 130866 w 179268"/>
              <a:gd name="connsiteY43" fmla="*/ 4482 h 138932"/>
              <a:gd name="connsiteX44" fmla="*/ 17030 w 179268"/>
              <a:gd name="connsiteY44" fmla="*/ 134451 h 138932"/>
              <a:gd name="connsiteX45" fmla="*/ 17030 w 179268"/>
              <a:gd name="connsiteY45" fmla="*/ 70811 h 138932"/>
              <a:gd name="connsiteX46" fmla="*/ 46161 w 179268"/>
              <a:gd name="connsiteY46" fmla="*/ 59159 h 138932"/>
              <a:gd name="connsiteX47" fmla="*/ 46161 w 179268"/>
              <a:gd name="connsiteY47" fmla="*/ 69466 h 138932"/>
              <a:gd name="connsiteX48" fmla="*/ 47058 w 179268"/>
              <a:gd name="connsiteY48" fmla="*/ 71259 h 138932"/>
              <a:gd name="connsiteX49" fmla="*/ 49299 w 179268"/>
              <a:gd name="connsiteY49" fmla="*/ 71707 h 138932"/>
              <a:gd name="connsiteX50" fmla="*/ 79774 w 179268"/>
              <a:gd name="connsiteY50" fmla="*/ 59607 h 138932"/>
              <a:gd name="connsiteX51" fmla="*/ 79774 w 179268"/>
              <a:gd name="connsiteY51" fmla="*/ 69914 h 138932"/>
              <a:gd name="connsiteX52" fmla="*/ 80671 w 179268"/>
              <a:gd name="connsiteY52" fmla="*/ 71707 h 138932"/>
              <a:gd name="connsiteX53" fmla="*/ 82911 w 179268"/>
              <a:gd name="connsiteY53" fmla="*/ 72155 h 138932"/>
              <a:gd name="connsiteX54" fmla="*/ 113387 w 179268"/>
              <a:gd name="connsiteY54" fmla="*/ 60055 h 138932"/>
              <a:gd name="connsiteX55" fmla="*/ 113387 w 179268"/>
              <a:gd name="connsiteY55" fmla="*/ 83808 h 138932"/>
              <a:gd name="connsiteX56" fmla="*/ 115628 w 179268"/>
              <a:gd name="connsiteY56" fmla="*/ 86049 h 138932"/>
              <a:gd name="connsiteX57" fmla="*/ 160445 w 179268"/>
              <a:gd name="connsiteY57" fmla="*/ 86049 h 138932"/>
              <a:gd name="connsiteX58" fmla="*/ 160445 w 179268"/>
              <a:gd name="connsiteY58" fmla="*/ 135347 h 138932"/>
              <a:gd name="connsiteX59" fmla="*/ 17030 w 179268"/>
              <a:gd name="connsiteY59" fmla="*/ 135347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79268" h="138932">
                <a:moveTo>
                  <a:pt x="176131" y="134451"/>
                </a:moveTo>
                <a:lnTo>
                  <a:pt x="164927" y="134451"/>
                </a:lnTo>
                <a:lnTo>
                  <a:pt x="164927" y="82912"/>
                </a:lnTo>
                <a:cubicBezTo>
                  <a:pt x="164927" y="81567"/>
                  <a:pt x="164030" y="80671"/>
                  <a:pt x="162686" y="80671"/>
                </a:cubicBezTo>
                <a:lnTo>
                  <a:pt x="151481" y="80671"/>
                </a:lnTo>
                <a:lnTo>
                  <a:pt x="145207" y="4482"/>
                </a:lnTo>
                <a:lnTo>
                  <a:pt x="149689" y="4482"/>
                </a:lnTo>
                <a:cubicBezTo>
                  <a:pt x="151033" y="4482"/>
                  <a:pt x="151930" y="3585"/>
                  <a:pt x="151930" y="2241"/>
                </a:cubicBezTo>
                <a:cubicBezTo>
                  <a:pt x="151930" y="896"/>
                  <a:pt x="151033" y="0"/>
                  <a:pt x="149689" y="0"/>
                </a:cubicBezTo>
                <a:lnTo>
                  <a:pt x="142966" y="0"/>
                </a:lnTo>
                <a:lnTo>
                  <a:pt x="129521" y="0"/>
                </a:lnTo>
                <a:lnTo>
                  <a:pt x="122799" y="0"/>
                </a:lnTo>
                <a:cubicBezTo>
                  <a:pt x="121454" y="0"/>
                  <a:pt x="120558" y="896"/>
                  <a:pt x="120558" y="2241"/>
                </a:cubicBezTo>
                <a:cubicBezTo>
                  <a:pt x="120558" y="3585"/>
                  <a:pt x="121454" y="4482"/>
                  <a:pt x="122799" y="4482"/>
                </a:cubicBezTo>
                <a:lnTo>
                  <a:pt x="127280" y="4482"/>
                </a:lnTo>
                <a:lnTo>
                  <a:pt x="121006" y="80671"/>
                </a:lnTo>
                <a:lnTo>
                  <a:pt x="118765" y="80671"/>
                </a:lnTo>
                <a:lnTo>
                  <a:pt x="118765" y="56021"/>
                </a:lnTo>
                <a:cubicBezTo>
                  <a:pt x="118765" y="55125"/>
                  <a:pt x="118317" y="54677"/>
                  <a:pt x="117869" y="54228"/>
                </a:cubicBezTo>
                <a:cubicBezTo>
                  <a:pt x="117421" y="53780"/>
                  <a:pt x="116524" y="53780"/>
                  <a:pt x="115628" y="53780"/>
                </a:cubicBezTo>
                <a:lnTo>
                  <a:pt x="85152" y="65881"/>
                </a:lnTo>
                <a:lnTo>
                  <a:pt x="85152" y="55573"/>
                </a:lnTo>
                <a:cubicBezTo>
                  <a:pt x="85152" y="54677"/>
                  <a:pt x="84704" y="54228"/>
                  <a:pt x="84256" y="53780"/>
                </a:cubicBezTo>
                <a:cubicBezTo>
                  <a:pt x="83808" y="53332"/>
                  <a:pt x="82911" y="53332"/>
                  <a:pt x="82015" y="53332"/>
                </a:cubicBezTo>
                <a:lnTo>
                  <a:pt x="51540" y="65433"/>
                </a:lnTo>
                <a:lnTo>
                  <a:pt x="51540" y="55125"/>
                </a:lnTo>
                <a:cubicBezTo>
                  <a:pt x="51540" y="54228"/>
                  <a:pt x="51092" y="53780"/>
                  <a:pt x="50643" y="53332"/>
                </a:cubicBezTo>
                <a:cubicBezTo>
                  <a:pt x="50195" y="52884"/>
                  <a:pt x="49299" y="52884"/>
                  <a:pt x="48402" y="52884"/>
                </a:cubicBezTo>
                <a:lnTo>
                  <a:pt x="14790" y="66329"/>
                </a:lnTo>
                <a:cubicBezTo>
                  <a:pt x="13893" y="66777"/>
                  <a:pt x="13445" y="67674"/>
                  <a:pt x="13445" y="68570"/>
                </a:cubicBezTo>
                <a:lnTo>
                  <a:pt x="13445" y="134451"/>
                </a:lnTo>
                <a:lnTo>
                  <a:pt x="2241" y="134451"/>
                </a:lnTo>
                <a:cubicBezTo>
                  <a:pt x="896" y="134451"/>
                  <a:pt x="0" y="135347"/>
                  <a:pt x="0" y="136692"/>
                </a:cubicBezTo>
                <a:cubicBezTo>
                  <a:pt x="0" y="138036"/>
                  <a:pt x="896" y="138933"/>
                  <a:pt x="2241" y="138933"/>
                </a:cubicBezTo>
                <a:lnTo>
                  <a:pt x="15686" y="138933"/>
                </a:lnTo>
                <a:lnTo>
                  <a:pt x="163582" y="138933"/>
                </a:lnTo>
                <a:lnTo>
                  <a:pt x="177027" y="138933"/>
                </a:lnTo>
                <a:cubicBezTo>
                  <a:pt x="178372" y="138933"/>
                  <a:pt x="179268" y="138036"/>
                  <a:pt x="179268" y="136692"/>
                </a:cubicBezTo>
                <a:cubicBezTo>
                  <a:pt x="179268" y="135347"/>
                  <a:pt x="177027" y="134451"/>
                  <a:pt x="176131" y="134451"/>
                </a:cubicBezTo>
                <a:close/>
                <a:moveTo>
                  <a:pt x="130866" y="4482"/>
                </a:moveTo>
                <a:lnTo>
                  <a:pt x="140277" y="4482"/>
                </a:lnTo>
                <a:lnTo>
                  <a:pt x="146552" y="80671"/>
                </a:lnTo>
                <a:lnTo>
                  <a:pt x="124591" y="80671"/>
                </a:lnTo>
                <a:lnTo>
                  <a:pt x="130866" y="4482"/>
                </a:lnTo>
                <a:close/>
                <a:moveTo>
                  <a:pt x="17030" y="134451"/>
                </a:moveTo>
                <a:lnTo>
                  <a:pt x="17030" y="70811"/>
                </a:lnTo>
                <a:lnTo>
                  <a:pt x="46161" y="59159"/>
                </a:lnTo>
                <a:lnTo>
                  <a:pt x="46161" y="69466"/>
                </a:lnTo>
                <a:cubicBezTo>
                  <a:pt x="46161" y="70363"/>
                  <a:pt x="46610" y="70811"/>
                  <a:pt x="47058" y="71259"/>
                </a:cubicBezTo>
                <a:cubicBezTo>
                  <a:pt x="47506" y="71707"/>
                  <a:pt x="48402" y="71707"/>
                  <a:pt x="49299" y="71707"/>
                </a:cubicBezTo>
                <a:lnTo>
                  <a:pt x="79774" y="59607"/>
                </a:lnTo>
                <a:lnTo>
                  <a:pt x="79774" y="69914"/>
                </a:lnTo>
                <a:cubicBezTo>
                  <a:pt x="79774" y="70811"/>
                  <a:pt x="80223" y="71259"/>
                  <a:pt x="80671" y="71707"/>
                </a:cubicBezTo>
                <a:cubicBezTo>
                  <a:pt x="81119" y="72155"/>
                  <a:pt x="82015" y="72155"/>
                  <a:pt x="82911" y="72155"/>
                </a:cubicBezTo>
                <a:lnTo>
                  <a:pt x="113387" y="60055"/>
                </a:lnTo>
                <a:lnTo>
                  <a:pt x="113387" y="83808"/>
                </a:lnTo>
                <a:cubicBezTo>
                  <a:pt x="113387" y="85152"/>
                  <a:pt x="114283" y="86049"/>
                  <a:pt x="115628" y="86049"/>
                </a:cubicBezTo>
                <a:lnTo>
                  <a:pt x="160445" y="86049"/>
                </a:lnTo>
                <a:lnTo>
                  <a:pt x="160445" y="135347"/>
                </a:lnTo>
                <a:lnTo>
                  <a:pt x="17030" y="135347"/>
                </a:lnTo>
                <a:close/>
              </a:path>
            </a:pathLst>
          </a:custGeom>
          <a:solidFill>
            <a:srgbClr val="231F20"/>
          </a:solidFill>
          <a:ln w="4477" cap="flat">
            <a:noFill/>
            <a:prstDash val="solid"/>
            <a:miter/>
          </a:ln>
        </p:spPr>
        <p:txBody>
          <a:bodyPr rtlCol="0" anchor="ctr"/>
          <a:lstStyle/>
          <a:p>
            <a:endParaRPr lang="en-US"/>
          </a:p>
        </p:txBody>
      </p:sp>
      <p:grpSp>
        <p:nvGrpSpPr>
          <p:cNvPr id="3920" name="Group 3919">
            <a:extLst>
              <a:ext uri="{FF2B5EF4-FFF2-40B4-BE49-F238E27FC236}">
                <a16:creationId xmlns:a16="http://schemas.microsoft.com/office/drawing/2014/main" id="{8B2F7624-08CC-4769-B7BE-4F3F0E446172}"/>
              </a:ext>
              <a:ext uri="{C183D7F6-B498-43B3-948B-1728B52AA6E4}">
                <adec:decorative xmlns:adec="http://schemas.microsoft.com/office/drawing/2017/decorative" val="1"/>
              </a:ext>
            </a:extLst>
          </p:cNvPr>
          <p:cNvGrpSpPr>
            <a:grpSpLocks noChangeAspect="1"/>
          </p:cNvGrpSpPr>
          <p:nvPr/>
        </p:nvGrpSpPr>
        <p:grpSpPr>
          <a:xfrm>
            <a:off x="1898787" y="2754680"/>
            <a:ext cx="152378" cy="152378"/>
            <a:chOff x="7800413" y="5601216"/>
            <a:chExt cx="152378" cy="152378"/>
          </a:xfrm>
        </p:grpSpPr>
        <p:sp>
          <p:nvSpPr>
            <p:cNvPr id="3921" name="Freeform: Shape 3920">
              <a:extLst>
                <a:ext uri="{FF2B5EF4-FFF2-40B4-BE49-F238E27FC236}">
                  <a16:creationId xmlns:a16="http://schemas.microsoft.com/office/drawing/2014/main" id="{46FC0B84-DEC3-436C-B7B2-17567A3E26AF}"/>
                </a:ext>
              </a:extLst>
            </p:cNvPr>
            <p:cNvSpPr/>
            <p:nvPr/>
          </p:nvSpPr>
          <p:spPr>
            <a:xfrm>
              <a:off x="7884221" y="5684128"/>
              <a:ext cx="49299" cy="49299"/>
            </a:xfrm>
            <a:custGeom>
              <a:avLst/>
              <a:gdLst>
                <a:gd name="connsiteX0" fmla="*/ 9860 w 49298"/>
                <a:gd name="connsiteY0" fmla="*/ 51540 h 49298"/>
                <a:gd name="connsiteX1" fmla="*/ 0 w 49298"/>
                <a:gd name="connsiteY1" fmla="*/ 40335 h 49298"/>
                <a:gd name="connsiteX2" fmla="*/ 0 w 49298"/>
                <a:gd name="connsiteY2" fmla="*/ 18823 h 49298"/>
                <a:gd name="connsiteX3" fmla="*/ 4482 w 49298"/>
                <a:gd name="connsiteY3" fmla="*/ 11204 h 49298"/>
                <a:gd name="connsiteX4" fmla="*/ 11204 w 49298"/>
                <a:gd name="connsiteY4" fmla="*/ 4482 h 49298"/>
                <a:gd name="connsiteX5" fmla="*/ 18823 w 49298"/>
                <a:gd name="connsiteY5" fmla="*/ 0 h 49298"/>
                <a:gd name="connsiteX6" fmla="*/ 40335 w 49298"/>
                <a:gd name="connsiteY6" fmla="*/ 0 h 49298"/>
                <a:gd name="connsiteX7" fmla="*/ 49747 w 49298"/>
                <a:gd name="connsiteY7" fmla="*/ 4482 h 49298"/>
                <a:gd name="connsiteX8" fmla="*/ 50643 w 49298"/>
                <a:gd name="connsiteY8" fmla="*/ 13893 h 49298"/>
                <a:gd name="connsiteX9" fmla="*/ 13893 w 49298"/>
                <a:gd name="connsiteY9" fmla="*/ 50643 h 49298"/>
                <a:gd name="connsiteX10" fmla="*/ 9860 w 49298"/>
                <a:gd name="connsiteY10" fmla="*/ 51540 h 49298"/>
                <a:gd name="connsiteX11" fmla="*/ 18375 w 49298"/>
                <a:gd name="connsiteY11" fmla="*/ 4930 h 49298"/>
                <a:gd name="connsiteX12" fmla="*/ 14790 w 49298"/>
                <a:gd name="connsiteY12" fmla="*/ 7171 h 49298"/>
                <a:gd name="connsiteX13" fmla="*/ 6723 w 49298"/>
                <a:gd name="connsiteY13" fmla="*/ 15238 h 49298"/>
                <a:gd name="connsiteX14" fmla="*/ 4482 w 49298"/>
                <a:gd name="connsiteY14" fmla="*/ 18823 h 49298"/>
                <a:gd name="connsiteX15" fmla="*/ 4482 w 49298"/>
                <a:gd name="connsiteY15" fmla="*/ 40335 h 49298"/>
                <a:gd name="connsiteX16" fmla="*/ 12101 w 49298"/>
                <a:gd name="connsiteY16" fmla="*/ 46610 h 49298"/>
                <a:gd name="connsiteX17" fmla="*/ 46162 w 49298"/>
                <a:gd name="connsiteY17" fmla="*/ 12548 h 49298"/>
                <a:gd name="connsiteX18" fmla="*/ 45713 w 49298"/>
                <a:gd name="connsiteY18" fmla="*/ 7619 h 49298"/>
                <a:gd name="connsiteX19" fmla="*/ 40335 w 49298"/>
                <a:gd name="connsiteY19" fmla="*/ 4930 h 49298"/>
                <a:gd name="connsiteX20" fmla="*/ 18375 w 49298"/>
                <a:gd name="connsiteY20" fmla="*/ 493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298" h="49298">
                  <a:moveTo>
                    <a:pt x="9860" y="51540"/>
                  </a:moveTo>
                  <a:cubicBezTo>
                    <a:pt x="4034" y="51540"/>
                    <a:pt x="0" y="46610"/>
                    <a:pt x="0" y="40335"/>
                  </a:cubicBezTo>
                  <a:lnTo>
                    <a:pt x="0" y="18823"/>
                  </a:lnTo>
                  <a:cubicBezTo>
                    <a:pt x="0" y="16134"/>
                    <a:pt x="1793" y="12997"/>
                    <a:pt x="4482" y="11204"/>
                  </a:cubicBezTo>
                  <a:cubicBezTo>
                    <a:pt x="7171" y="9411"/>
                    <a:pt x="9412" y="7171"/>
                    <a:pt x="11204" y="4482"/>
                  </a:cubicBezTo>
                  <a:cubicBezTo>
                    <a:pt x="12997" y="1793"/>
                    <a:pt x="16134" y="0"/>
                    <a:pt x="18823" y="0"/>
                  </a:cubicBezTo>
                  <a:lnTo>
                    <a:pt x="40335" y="0"/>
                  </a:lnTo>
                  <a:cubicBezTo>
                    <a:pt x="44369" y="0"/>
                    <a:pt x="47506" y="1793"/>
                    <a:pt x="49747" y="4482"/>
                  </a:cubicBezTo>
                  <a:cubicBezTo>
                    <a:pt x="51540" y="7171"/>
                    <a:pt x="51988" y="10308"/>
                    <a:pt x="50643" y="13893"/>
                  </a:cubicBezTo>
                  <a:cubicBezTo>
                    <a:pt x="44369" y="30924"/>
                    <a:pt x="30924" y="44369"/>
                    <a:pt x="13893" y="50643"/>
                  </a:cubicBezTo>
                  <a:cubicBezTo>
                    <a:pt x="12101" y="51092"/>
                    <a:pt x="10756" y="51540"/>
                    <a:pt x="9860" y="51540"/>
                  </a:cubicBezTo>
                  <a:close/>
                  <a:moveTo>
                    <a:pt x="18375" y="4930"/>
                  </a:moveTo>
                  <a:cubicBezTo>
                    <a:pt x="17479" y="4930"/>
                    <a:pt x="15686" y="5826"/>
                    <a:pt x="14790" y="7171"/>
                  </a:cubicBezTo>
                  <a:cubicBezTo>
                    <a:pt x="12549" y="10308"/>
                    <a:pt x="9860" y="13445"/>
                    <a:pt x="6723" y="15238"/>
                  </a:cubicBezTo>
                  <a:cubicBezTo>
                    <a:pt x="5378" y="16134"/>
                    <a:pt x="4482" y="17927"/>
                    <a:pt x="4482" y="18823"/>
                  </a:cubicBezTo>
                  <a:lnTo>
                    <a:pt x="4482" y="40335"/>
                  </a:lnTo>
                  <a:cubicBezTo>
                    <a:pt x="4482" y="44817"/>
                    <a:pt x="8067" y="47954"/>
                    <a:pt x="12101" y="46610"/>
                  </a:cubicBezTo>
                  <a:cubicBezTo>
                    <a:pt x="27787" y="40783"/>
                    <a:pt x="40335" y="28683"/>
                    <a:pt x="46162" y="12548"/>
                  </a:cubicBezTo>
                  <a:cubicBezTo>
                    <a:pt x="47058" y="10756"/>
                    <a:pt x="46610" y="8963"/>
                    <a:pt x="45713" y="7619"/>
                  </a:cubicBezTo>
                  <a:cubicBezTo>
                    <a:pt x="44369" y="5826"/>
                    <a:pt x="42576" y="4930"/>
                    <a:pt x="40335" y="4930"/>
                  </a:cubicBezTo>
                  <a:lnTo>
                    <a:pt x="18375" y="4930"/>
                  </a:lnTo>
                  <a:close/>
                </a:path>
              </a:pathLst>
            </a:custGeom>
            <a:solidFill>
              <a:srgbClr val="231F20"/>
            </a:solidFill>
            <a:ln w="4477" cap="flat">
              <a:noFill/>
              <a:prstDash val="solid"/>
              <a:miter/>
            </a:ln>
          </p:spPr>
          <p:txBody>
            <a:bodyPr rtlCol="0" anchor="ctr"/>
            <a:lstStyle/>
            <a:p>
              <a:endParaRPr lang="en-US"/>
            </a:p>
          </p:txBody>
        </p:sp>
        <p:sp>
          <p:nvSpPr>
            <p:cNvPr id="3922" name="Freeform: Shape 3921">
              <a:extLst>
                <a:ext uri="{FF2B5EF4-FFF2-40B4-BE49-F238E27FC236}">
                  <a16:creationId xmlns:a16="http://schemas.microsoft.com/office/drawing/2014/main" id="{BE7298AF-3182-457C-B36D-8191BF643881}"/>
                </a:ext>
              </a:extLst>
            </p:cNvPr>
            <p:cNvSpPr/>
            <p:nvPr/>
          </p:nvSpPr>
          <p:spPr>
            <a:xfrm>
              <a:off x="7800413" y="5601216"/>
              <a:ext cx="152378" cy="152378"/>
            </a:xfrm>
            <a:custGeom>
              <a:avLst/>
              <a:gdLst>
                <a:gd name="connsiteX0" fmla="*/ 76189 w 152377"/>
                <a:gd name="connsiteY0" fmla="*/ 152378 h 152377"/>
                <a:gd name="connsiteX1" fmla="*/ 0 w 152377"/>
                <a:gd name="connsiteY1" fmla="*/ 76189 h 152377"/>
                <a:gd name="connsiteX2" fmla="*/ 76189 w 152377"/>
                <a:gd name="connsiteY2" fmla="*/ 0 h 152377"/>
                <a:gd name="connsiteX3" fmla="*/ 152378 w 152377"/>
                <a:gd name="connsiteY3" fmla="*/ 76189 h 152377"/>
                <a:gd name="connsiteX4" fmla="*/ 76189 w 152377"/>
                <a:gd name="connsiteY4" fmla="*/ 152378 h 152377"/>
                <a:gd name="connsiteX5" fmla="*/ 76189 w 152377"/>
                <a:gd name="connsiteY5" fmla="*/ 4482 h 152377"/>
                <a:gd name="connsiteX6" fmla="*/ 4482 w 152377"/>
                <a:gd name="connsiteY6" fmla="*/ 76189 h 152377"/>
                <a:gd name="connsiteX7" fmla="*/ 76189 w 152377"/>
                <a:gd name="connsiteY7" fmla="*/ 147896 h 152377"/>
                <a:gd name="connsiteX8" fmla="*/ 147896 w 152377"/>
                <a:gd name="connsiteY8" fmla="*/ 76189 h 152377"/>
                <a:gd name="connsiteX9" fmla="*/ 76189 w 152377"/>
                <a:gd name="connsiteY9"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152378"/>
                  </a:moveTo>
                  <a:cubicBezTo>
                    <a:pt x="34061" y="152378"/>
                    <a:pt x="0" y="118317"/>
                    <a:pt x="0" y="76189"/>
                  </a:cubicBezTo>
                  <a:cubicBezTo>
                    <a:pt x="0" y="34061"/>
                    <a:pt x="34061" y="0"/>
                    <a:pt x="76189" y="0"/>
                  </a:cubicBezTo>
                  <a:cubicBezTo>
                    <a:pt x="118317" y="0"/>
                    <a:pt x="152378" y="34061"/>
                    <a:pt x="152378" y="76189"/>
                  </a:cubicBezTo>
                  <a:cubicBezTo>
                    <a:pt x="152378" y="118317"/>
                    <a:pt x="118317" y="152378"/>
                    <a:pt x="76189" y="152378"/>
                  </a:cubicBezTo>
                  <a:close/>
                  <a:moveTo>
                    <a:pt x="76189" y="4482"/>
                  </a:moveTo>
                  <a:cubicBezTo>
                    <a:pt x="36750" y="4482"/>
                    <a:pt x="4482" y="36750"/>
                    <a:pt x="4482" y="76189"/>
                  </a:cubicBezTo>
                  <a:cubicBezTo>
                    <a:pt x="4482" y="115628"/>
                    <a:pt x="36750" y="147896"/>
                    <a:pt x="76189" y="147896"/>
                  </a:cubicBezTo>
                  <a:cubicBezTo>
                    <a:pt x="115628" y="147896"/>
                    <a:pt x="147896" y="115628"/>
                    <a:pt x="147896" y="76189"/>
                  </a:cubicBezTo>
                  <a:cubicBezTo>
                    <a:pt x="147896" y="36750"/>
                    <a:pt x="115628" y="4482"/>
                    <a:pt x="76189" y="4482"/>
                  </a:cubicBezTo>
                  <a:close/>
                </a:path>
              </a:pathLst>
            </a:custGeom>
            <a:solidFill>
              <a:srgbClr val="231F20"/>
            </a:solidFill>
            <a:ln w="4477" cap="flat">
              <a:noFill/>
              <a:prstDash val="solid"/>
              <a:miter/>
            </a:ln>
          </p:spPr>
          <p:txBody>
            <a:bodyPr rtlCol="0" anchor="ctr"/>
            <a:lstStyle/>
            <a:p>
              <a:endParaRPr lang="en-US"/>
            </a:p>
          </p:txBody>
        </p:sp>
        <p:sp>
          <p:nvSpPr>
            <p:cNvPr id="3923" name="Freeform: Shape 3922">
              <a:extLst>
                <a:ext uri="{FF2B5EF4-FFF2-40B4-BE49-F238E27FC236}">
                  <a16:creationId xmlns:a16="http://schemas.microsoft.com/office/drawing/2014/main" id="{73A7FC41-77A3-4688-9045-BB633B361D6F}"/>
                </a:ext>
              </a:extLst>
            </p:cNvPr>
            <p:cNvSpPr/>
            <p:nvPr/>
          </p:nvSpPr>
          <p:spPr>
            <a:xfrm>
              <a:off x="7818006" y="5616006"/>
              <a:ext cx="112043" cy="53780"/>
            </a:xfrm>
            <a:custGeom>
              <a:avLst/>
              <a:gdLst>
                <a:gd name="connsiteX0" fmla="*/ 105654 w 112042"/>
                <a:gd name="connsiteY0" fmla="*/ 54229 h 53780"/>
                <a:gd name="connsiteX1" fmla="*/ 84590 w 112042"/>
                <a:gd name="connsiteY1" fmla="*/ 54229 h 53780"/>
                <a:gd name="connsiteX2" fmla="*/ 76971 w 112042"/>
                <a:gd name="connsiteY2" fmla="*/ 49747 h 53780"/>
                <a:gd name="connsiteX3" fmla="*/ 58596 w 112042"/>
                <a:gd name="connsiteY3" fmla="*/ 39439 h 53780"/>
                <a:gd name="connsiteX4" fmla="*/ 40221 w 112042"/>
                <a:gd name="connsiteY4" fmla="*/ 49747 h 53780"/>
                <a:gd name="connsiteX5" fmla="*/ 32602 w 112042"/>
                <a:gd name="connsiteY5" fmla="*/ 54229 h 53780"/>
                <a:gd name="connsiteX6" fmla="*/ 11090 w 112042"/>
                <a:gd name="connsiteY6" fmla="*/ 54229 h 53780"/>
                <a:gd name="connsiteX7" fmla="*/ 1678 w 112042"/>
                <a:gd name="connsiteY7" fmla="*/ 49747 h 53780"/>
                <a:gd name="connsiteX8" fmla="*/ 782 w 112042"/>
                <a:gd name="connsiteY8" fmla="*/ 40335 h 53780"/>
                <a:gd name="connsiteX9" fmla="*/ 58148 w 112042"/>
                <a:gd name="connsiteY9" fmla="*/ 0 h 53780"/>
                <a:gd name="connsiteX10" fmla="*/ 115513 w 112042"/>
                <a:gd name="connsiteY10" fmla="*/ 40335 h 53780"/>
                <a:gd name="connsiteX11" fmla="*/ 114617 w 112042"/>
                <a:gd name="connsiteY11" fmla="*/ 49747 h 53780"/>
                <a:gd name="connsiteX12" fmla="*/ 105654 w 112042"/>
                <a:gd name="connsiteY12" fmla="*/ 54229 h 53780"/>
                <a:gd name="connsiteX13" fmla="*/ 58596 w 112042"/>
                <a:gd name="connsiteY13" fmla="*/ 34957 h 53780"/>
                <a:gd name="connsiteX14" fmla="*/ 81004 w 112042"/>
                <a:gd name="connsiteY14" fmla="*/ 47058 h 53780"/>
                <a:gd name="connsiteX15" fmla="*/ 84590 w 112042"/>
                <a:gd name="connsiteY15" fmla="*/ 49298 h 53780"/>
                <a:gd name="connsiteX16" fmla="*/ 106102 w 112042"/>
                <a:gd name="connsiteY16" fmla="*/ 49298 h 53780"/>
                <a:gd name="connsiteX17" fmla="*/ 111480 w 112042"/>
                <a:gd name="connsiteY17" fmla="*/ 46610 h 53780"/>
                <a:gd name="connsiteX18" fmla="*/ 111928 w 112042"/>
                <a:gd name="connsiteY18" fmla="*/ 41680 h 53780"/>
                <a:gd name="connsiteX19" fmla="*/ 58596 w 112042"/>
                <a:gd name="connsiteY19" fmla="*/ 4482 h 53780"/>
                <a:gd name="connsiteX20" fmla="*/ 5263 w 112042"/>
                <a:gd name="connsiteY20" fmla="*/ 41680 h 53780"/>
                <a:gd name="connsiteX21" fmla="*/ 5712 w 112042"/>
                <a:gd name="connsiteY21" fmla="*/ 46610 h 53780"/>
                <a:gd name="connsiteX22" fmla="*/ 11090 w 112042"/>
                <a:gd name="connsiteY22" fmla="*/ 49298 h 53780"/>
                <a:gd name="connsiteX23" fmla="*/ 32602 w 112042"/>
                <a:gd name="connsiteY23" fmla="*/ 49298 h 53780"/>
                <a:gd name="connsiteX24" fmla="*/ 36187 w 112042"/>
                <a:gd name="connsiteY24" fmla="*/ 47058 h 53780"/>
                <a:gd name="connsiteX25" fmla="*/ 58596 w 112042"/>
                <a:gd name="connsiteY25" fmla="*/ 34957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2042" h="53780">
                  <a:moveTo>
                    <a:pt x="105654" y="54229"/>
                  </a:moveTo>
                  <a:lnTo>
                    <a:pt x="84590" y="54229"/>
                  </a:lnTo>
                  <a:cubicBezTo>
                    <a:pt x="81901" y="54229"/>
                    <a:pt x="78763" y="52436"/>
                    <a:pt x="76971" y="49747"/>
                  </a:cubicBezTo>
                  <a:cubicBezTo>
                    <a:pt x="72937" y="43473"/>
                    <a:pt x="66215" y="39439"/>
                    <a:pt x="58596" y="39439"/>
                  </a:cubicBezTo>
                  <a:cubicBezTo>
                    <a:pt x="50977" y="39439"/>
                    <a:pt x="44254" y="43473"/>
                    <a:pt x="40221" y="49747"/>
                  </a:cubicBezTo>
                  <a:cubicBezTo>
                    <a:pt x="38428" y="52436"/>
                    <a:pt x="35291" y="54229"/>
                    <a:pt x="32602" y="54229"/>
                  </a:cubicBezTo>
                  <a:lnTo>
                    <a:pt x="11090" y="54229"/>
                  </a:lnTo>
                  <a:cubicBezTo>
                    <a:pt x="7056" y="54229"/>
                    <a:pt x="3919" y="52436"/>
                    <a:pt x="1678" y="49747"/>
                  </a:cubicBezTo>
                  <a:cubicBezTo>
                    <a:pt x="-115" y="47058"/>
                    <a:pt x="-563" y="43921"/>
                    <a:pt x="782" y="40335"/>
                  </a:cubicBezTo>
                  <a:cubicBezTo>
                    <a:pt x="9745" y="16134"/>
                    <a:pt x="32602" y="0"/>
                    <a:pt x="58148" y="0"/>
                  </a:cubicBezTo>
                  <a:cubicBezTo>
                    <a:pt x="83693" y="0"/>
                    <a:pt x="106998" y="16134"/>
                    <a:pt x="115513" y="40335"/>
                  </a:cubicBezTo>
                  <a:cubicBezTo>
                    <a:pt x="116858" y="43473"/>
                    <a:pt x="116410" y="47058"/>
                    <a:pt x="114617" y="49747"/>
                  </a:cubicBezTo>
                  <a:cubicBezTo>
                    <a:pt x="113272" y="52436"/>
                    <a:pt x="109687" y="54229"/>
                    <a:pt x="105654" y="54229"/>
                  </a:cubicBezTo>
                  <a:close/>
                  <a:moveTo>
                    <a:pt x="58596" y="34957"/>
                  </a:moveTo>
                  <a:cubicBezTo>
                    <a:pt x="67559" y="34957"/>
                    <a:pt x="76074" y="39439"/>
                    <a:pt x="81004" y="47058"/>
                  </a:cubicBezTo>
                  <a:cubicBezTo>
                    <a:pt x="81901" y="48402"/>
                    <a:pt x="83693" y="49298"/>
                    <a:pt x="84590" y="49298"/>
                  </a:cubicBezTo>
                  <a:lnTo>
                    <a:pt x="106102" y="49298"/>
                  </a:lnTo>
                  <a:cubicBezTo>
                    <a:pt x="108343" y="49298"/>
                    <a:pt x="110583" y="48402"/>
                    <a:pt x="111480" y="46610"/>
                  </a:cubicBezTo>
                  <a:cubicBezTo>
                    <a:pt x="112376" y="45265"/>
                    <a:pt x="112824" y="43473"/>
                    <a:pt x="111928" y="41680"/>
                  </a:cubicBezTo>
                  <a:cubicBezTo>
                    <a:pt x="103861" y="19271"/>
                    <a:pt x="82349" y="4482"/>
                    <a:pt x="58596" y="4482"/>
                  </a:cubicBezTo>
                  <a:cubicBezTo>
                    <a:pt x="34843" y="4482"/>
                    <a:pt x="13331" y="19271"/>
                    <a:pt x="5263" y="41680"/>
                  </a:cubicBezTo>
                  <a:cubicBezTo>
                    <a:pt x="4367" y="43473"/>
                    <a:pt x="4815" y="45265"/>
                    <a:pt x="5712" y="46610"/>
                  </a:cubicBezTo>
                  <a:cubicBezTo>
                    <a:pt x="7056" y="48402"/>
                    <a:pt x="8849" y="49298"/>
                    <a:pt x="11090" y="49298"/>
                  </a:cubicBezTo>
                  <a:lnTo>
                    <a:pt x="32602" y="49298"/>
                  </a:lnTo>
                  <a:cubicBezTo>
                    <a:pt x="33946" y="49298"/>
                    <a:pt x="35739" y="48402"/>
                    <a:pt x="36187" y="47058"/>
                  </a:cubicBezTo>
                  <a:cubicBezTo>
                    <a:pt x="41117" y="39887"/>
                    <a:pt x="49632" y="34957"/>
                    <a:pt x="58596" y="34957"/>
                  </a:cubicBezTo>
                  <a:close/>
                </a:path>
              </a:pathLst>
            </a:custGeom>
            <a:solidFill>
              <a:srgbClr val="231F20"/>
            </a:solidFill>
            <a:ln w="4477" cap="flat">
              <a:noFill/>
              <a:prstDash val="solid"/>
              <a:miter/>
            </a:ln>
          </p:spPr>
          <p:txBody>
            <a:bodyPr rtlCol="0" anchor="ctr"/>
            <a:lstStyle/>
            <a:p>
              <a:endParaRPr lang="en-US"/>
            </a:p>
          </p:txBody>
        </p:sp>
        <p:sp>
          <p:nvSpPr>
            <p:cNvPr id="3924" name="Freeform: Shape 3923">
              <a:extLst>
                <a:ext uri="{FF2B5EF4-FFF2-40B4-BE49-F238E27FC236}">
                  <a16:creationId xmlns:a16="http://schemas.microsoft.com/office/drawing/2014/main" id="{A7621407-E460-426F-AB97-89450C7BD0D5}"/>
                </a:ext>
              </a:extLst>
            </p:cNvPr>
            <p:cNvSpPr/>
            <p:nvPr/>
          </p:nvSpPr>
          <p:spPr>
            <a:xfrm>
              <a:off x="7818454" y="5684128"/>
              <a:ext cx="49299" cy="49299"/>
            </a:xfrm>
            <a:custGeom>
              <a:avLst/>
              <a:gdLst>
                <a:gd name="connsiteX0" fmla="*/ 41117 w 49298"/>
                <a:gd name="connsiteY0" fmla="*/ 51540 h 49298"/>
                <a:gd name="connsiteX1" fmla="*/ 37532 w 49298"/>
                <a:gd name="connsiteY1" fmla="*/ 50643 h 49298"/>
                <a:gd name="connsiteX2" fmla="*/ 782 w 49298"/>
                <a:gd name="connsiteY2" fmla="*/ 13893 h 49298"/>
                <a:gd name="connsiteX3" fmla="*/ 1678 w 49298"/>
                <a:gd name="connsiteY3" fmla="*/ 4482 h 49298"/>
                <a:gd name="connsiteX4" fmla="*/ 11090 w 49298"/>
                <a:gd name="connsiteY4" fmla="*/ 0 h 49298"/>
                <a:gd name="connsiteX5" fmla="*/ 32602 w 49298"/>
                <a:gd name="connsiteY5" fmla="*/ 0 h 49298"/>
                <a:gd name="connsiteX6" fmla="*/ 40221 w 49298"/>
                <a:gd name="connsiteY6" fmla="*/ 4482 h 49298"/>
                <a:gd name="connsiteX7" fmla="*/ 46943 w 49298"/>
                <a:gd name="connsiteY7" fmla="*/ 11204 h 49298"/>
                <a:gd name="connsiteX8" fmla="*/ 46943 w 49298"/>
                <a:gd name="connsiteY8" fmla="*/ 11204 h 49298"/>
                <a:gd name="connsiteX9" fmla="*/ 51425 w 49298"/>
                <a:gd name="connsiteY9" fmla="*/ 18823 h 49298"/>
                <a:gd name="connsiteX10" fmla="*/ 51425 w 49298"/>
                <a:gd name="connsiteY10" fmla="*/ 40335 h 49298"/>
                <a:gd name="connsiteX11" fmla="*/ 41117 w 49298"/>
                <a:gd name="connsiteY11" fmla="*/ 51540 h 49298"/>
                <a:gd name="connsiteX12" fmla="*/ 11090 w 49298"/>
                <a:gd name="connsiteY12" fmla="*/ 4930 h 49298"/>
                <a:gd name="connsiteX13" fmla="*/ 5712 w 49298"/>
                <a:gd name="connsiteY13" fmla="*/ 7619 h 49298"/>
                <a:gd name="connsiteX14" fmla="*/ 5263 w 49298"/>
                <a:gd name="connsiteY14" fmla="*/ 12548 h 49298"/>
                <a:gd name="connsiteX15" fmla="*/ 39324 w 49298"/>
                <a:gd name="connsiteY15" fmla="*/ 46610 h 49298"/>
                <a:gd name="connsiteX16" fmla="*/ 46943 w 49298"/>
                <a:gd name="connsiteY16" fmla="*/ 40335 h 49298"/>
                <a:gd name="connsiteX17" fmla="*/ 46943 w 49298"/>
                <a:gd name="connsiteY17" fmla="*/ 18823 h 49298"/>
                <a:gd name="connsiteX18" fmla="*/ 44702 w 49298"/>
                <a:gd name="connsiteY18" fmla="*/ 15238 h 49298"/>
                <a:gd name="connsiteX19" fmla="*/ 44702 w 49298"/>
                <a:gd name="connsiteY19" fmla="*/ 15238 h 49298"/>
                <a:gd name="connsiteX20" fmla="*/ 36635 w 49298"/>
                <a:gd name="connsiteY20" fmla="*/ 7171 h 49298"/>
                <a:gd name="connsiteX21" fmla="*/ 33050 w 49298"/>
                <a:gd name="connsiteY21" fmla="*/ 4930 h 49298"/>
                <a:gd name="connsiteX22" fmla="*/ 11090 w 49298"/>
                <a:gd name="connsiteY22" fmla="*/ 493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9298" h="49298">
                  <a:moveTo>
                    <a:pt x="41117" y="51540"/>
                  </a:moveTo>
                  <a:cubicBezTo>
                    <a:pt x="39773" y="51540"/>
                    <a:pt x="38428" y="51092"/>
                    <a:pt x="37532" y="50643"/>
                  </a:cubicBezTo>
                  <a:cubicBezTo>
                    <a:pt x="20501" y="44369"/>
                    <a:pt x="7056" y="30924"/>
                    <a:pt x="782" y="13893"/>
                  </a:cubicBezTo>
                  <a:cubicBezTo>
                    <a:pt x="-563" y="10756"/>
                    <a:pt x="-115" y="7171"/>
                    <a:pt x="1678" y="4482"/>
                  </a:cubicBezTo>
                  <a:cubicBezTo>
                    <a:pt x="3471" y="1793"/>
                    <a:pt x="7056" y="0"/>
                    <a:pt x="11090" y="0"/>
                  </a:cubicBezTo>
                  <a:lnTo>
                    <a:pt x="32602" y="0"/>
                  </a:lnTo>
                  <a:cubicBezTo>
                    <a:pt x="35291" y="0"/>
                    <a:pt x="38428" y="1793"/>
                    <a:pt x="40221" y="4482"/>
                  </a:cubicBezTo>
                  <a:cubicBezTo>
                    <a:pt x="42013" y="7171"/>
                    <a:pt x="44254" y="9411"/>
                    <a:pt x="46943" y="11204"/>
                  </a:cubicBezTo>
                  <a:lnTo>
                    <a:pt x="46943" y="11204"/>
                  </a:lnTo>
                  <a:cubicBezTo>
                    <a:pt x="49632" y="12997"/>
                    <a:pt x="51425" y="16134"/>
                    <a:pt x="51425" y="18823"/>
                  </a:cubicBezTo>
                  <a:lnTo>
                    <a:pt x="51425" y="40335"/>
                  </a:lnTo>
                  <a:cubicBezTo>
                    <a:pt x="50977" y="46610"/>
                    <a:pt x="46495" y="51540"/>
                    <a:pt x="41117" y="51540"/>
                  </a:cubicBezTo>
                  <a:close/>
                  <a:moveTo>
                    <a:pt x="11090" y="4930"/>
                  </a:moveTo>
                  <a:cubicBezTo>
                    <a:pt x="8849" y="4930"/>
                    <a:pt x="6608" y="5826"/>
                    <a:pt x="5712" y="7619"/>
                  </a:cubicBezTo>
                  <a:cubicBezTo>
                    <a:pt x="4815" y="8963"/>
                    <a:pt x="4367" y="10756"/>
                    <a:pt x="5263" y="12548"/>
                  </a:cubicBezTo>
                  <a:cubicBezTo>
                    <a:pt x="11090" y="28234"/>
                    <a:pt x="23190" y="40783"/>
                    <a:pt x="39324" y="46610"/>
                  </a:cubicBezTo>
                  <a:cubicBezTo>
                    <a:pt x="43358" y="47954"/>
                    <a:pt x="46943" y="45265"/>
                    <a:pt x="46943" y="40335"/>
                  </a:cubicBezTo>
                  <a:lnTo>
                    <a:pt x="46943" y="18823"/>
                  </a:lnTo>
                  <a:cubicBezTo>
                    <a:pt x="46943" y="17479"/>
                    <a:pt x="46047" y="15686"/>
                    <a:pt x="44702" y="15238"/>
                  </a:cubicBezTo>
                  <a:lnTo>
                    <a:pt x="44702" y="15238"/>
                  </a:lnTo>
                  <a:cubicBezTo>
                    <a:pt x="41565" y="12997"/>
                    <a:pt x="38428" y="10308"/>
                    <a:pt x="36635" y="7171"/>
                  </a:cubicBezTo>
                  <a:cubicBezTo>
                    <a:pt x="35739" y="5826"/>
                    <a:pt x="33946" y="4930"/>
                    <a:pt x="33050" y="4930"/>
                  </a:cubicBezTo>
                  <a:lnTo>
                    <a:pt x="11090" y="4930"/>
                  </a:lnTo>
                  <a:close/>
                </a:path>
              </a:pathLst>
            </a:custGeom>
            <a:solidFill>
              <a:srgbClr val="231F20"/>
            </a:solidFill>
            <a:ln w="4477" cap="flat">
              <a:noFill/>
              <a:prstDash val="solid"/>
              <a:miter/>
            </a:ln>
          </p:spPr>
          <p:txBody>
            <a:bodyPr rtlCol="0" anchor="ctr"/>
            <a:lstStyle/>
            <a:p>
              <a:endParaRPr lang="en-US"/>
            </a:p>
          </p:txBody>
        </p:sp>
        <p:sp>
          <p:nvSpPr>
            <p:cNvPr id="3925" name="Freeform: Shape 3924">
              <a:extLst>
                <a:ext uri="{FF2B5EF4-FFF2-40B4-BE49-F238E27FC236}">
                  <a16:creationId xmlns:a16="http://schemas.microsoft.com/office/drawing/2014/main" id="{6F653B44-9BFA-49BB-A367-41C9EC085F9D}"/>
                </a:ext>
              </a:extLst>
            </p:cNvPr>
            <p:cNvSpPr/>
            <p:nvPr/>
          </p:nvSpPr>
          <p:spPr>
            <a:xfrm>
              <a:off x="7860468" y="5661271"/>
              <a:ext cx="31372" cy="31372"/>
            </a:xfrm>
            <a:custGeom>
              <a:avLst/>
              <a:gdLst>
                <a:gd name="connsiteX0" fmla="*/ 16134 w 31371"/>
                <a:gd name="connsiteY0" fmla="*/ 32268 h 31371"/>
                <a:gd name="connsiteX1" fmla="*/ 0 w 31371"/>
                <a:gd name="connsiteY1" fmla="*/ 16134 h 31371"/>
                <a:gd name="connsiteX2" fmla="*/ 16134 w 31371"/>
                <a:gd name="connsiteY2" fmla="*/ 0 h 31371"/>
                <a:gd name="connsiteX3" fmla="*/ 32268 w 31371"/>
                <a:gd name="connsiteY3" fmla="*/ 16134 h 31371"/>
                <a:gd name="connsiteX4" fmla="*/ 16134 w 31371"/>
                <a:gd name="connsiteY4" fmla="*/ 32268 h 31371"/>
                <a:gd name="connsiteX5" fmla="*/ 16134 w 31371"/>
                <a:gd name="connsiteY5" fmla="*/ 4482 h 31371"/>
                <a:gd name="connsiteX6" fmla="*/ 4482 w 31371"/>
                <a:gd name="connsiteY6" fmla="*/ 16134 h 31371"/>
                <a:gd name="connsiteX7" fmla="*/ 16134 w 31371"/>
                <a:gd name="connsiteY7" fmla="*/ 27786 h 31371"/>
                <a:gd name="connsiteX8" fmla="*/ 27786 w 31371"/>
                <a:gd name="connsiteY8" fmla="*/ 16134 h 31371"/>
                <a:gd name="connsiteX9" fmla="*/ 16134 w 31371"/>
                <a:gd name="connsiteY9" fmla="*/ 448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6134" y="32268"/>
                  </a:moveTo>
                  <a:cubicBezTo>
                    <a:pt x="7171" y="32268"/>
                    <a:pt x="0" y="25097"/>
                    <a:pt x="0" y="16134"/>
                  </a:cubicBezTo>
                  <a:cubicBezTo>
                    <a:pt x="0" y="7171"/>
                    <a:pt x="7171" y="0"/>
                    <a:pt x="16134" y="0"/>
                  </a:cubicBezTo>
                  <a:cubicBezTo>
                    <a:pt x="25098" y="0"/>
                    <a:pt x="32268" y="7171"/>
                    <a:pt x="32268" y="16134"/>
                  </a:cubicBezTo>
                  <a:cubicBezTo>
                    <a:pt x="32268" y="25097"/>
                    <a:pt x="25098" y="32268"/>
                    <a:pt x="16134" y="32268"/>
                  </a:cubicBezTo>
                  <a:close/>
                  <a:moveTo>
                    <a:pt x="16134" y="4482"/>
                  </a:moveTo>
                  <a:cubicBezTo>
                    <a:pt x="9860" y="4482"/>
                    <a:pt x="4482" y="9860"/>
                    <a:pt x="4482" y="16134"/>
                  </a:cubicBezTo>
                  <a:cubicBezTo>
                    <a:pt x="4482" y="22409"/>
                    <a:pt x="9860" y="27786"/>
                    <a:pt x="16134" y="27786"/>
                  </a:cubicBezTo>
                  <a:cubicBezTo>
                    <a:pt x="22409" y="27786"/>
                    <a:pt x="27786" y="22409"/>
                    <a:pt x="27786" y="16134"/>
                  </a:cubicBezTo>
                  <a:cubicBezTo>
                    <a:pt x="27786" y="9860"/>
                    <a:pt x="22409" y="4482"/>
                    <a:pt x="16134" y="4482"/>
                  </a:cubicBezTo>
                  <a:close/>
                </a:path>
              </a:pathLst>
            </a:custGeom>
            <a:solidFill>
              <a:srgbClr val="231F20"/>
            </a:solidFill>
            <a:ln w="4477" cap="flat">
              <a:noFill/>
              <a:prstDash val="solid"/>
              <a:miter/>
            </a:ln>
          </p:spPr>
          <p:txBody>
            <a:bodyPr rtlCol="0" anchor="ctr"/>
            <a:lstStyle/>
            <a:p>
              <a:endParaRPr lang="en-US"/>
            </a:p>
          </p:txBody>
        </p:sp>
      </p:grpSp>
      <p:sp>
        <p:nvSpPr>
          <p:cNvPr id="4984" name="Graphic 2866">
            <a:extLst>
              <a:ext uri="{FF2B5EF4-FFF2-40B4-BE49-F238E27FC236}">
                <a16:creationId xmlns:a16="http://schemas.microsoft.com/office/drawing/2014/main" id="{12223C5F-F157-4A48-974C-CAE510B37DBA}"/>
              </a:ext>
              <a:ext uri="{C183D7F6-B498-43B3-948B-1728B52AA6E4}">
                <adec:decorative xmlns:adec="http://schemas.microsoft.com/office/drawing/2017/decorative" val="1"/>
              </a:ext>
            </a:extLst>
          </p:cNvPr>
          <p:cNvSpPr>
            <a:spLocks noChangeAspect="1"/>
          </p:cNvSpPr>
          <p:nvPr/>
        </p:nvSpPr>
        <p:spPr>
          <a:xfrm>
            <a:off x="579485" y="2056431"/>
            <a:ext cx="147896" cy="152378"/>
          </a:xfrm>
          <a:custGeom>
            <a:avLst/>
            <a:gdLst>
              <a:gd name="connsiteX0" fmla="*/ 152098 w 147896"/>
              <a:gd name="connsiteY0" fmla="*/ 2241 h 152378"/>
              <a:gd name="connsiteX1" fmla="*/ 152098 w 147896"/>
              <a:gd name="connsiteY1" fmla="*/ 2241 h 152378"/>
              <a:gd name="connsiteX2" fmla="*/ 152098 w 147896"/>
              <a:gd name="connsiteY2" fmla="*/ 1345 h 152378"/>
              <a:gd name="connsiteX3" fmla="*/ 151650 w 147896"/>
              <a:gd name="connsiteY3" fmla="*/ 448 h 152378"/>
              <a:gd name="connsiteX4" fmla="*/ 151650 w 147896"/>
              <a:gd name="connsiteY4" fmla="*/ 448 h 152378"/>
              <a:gd name="connsiteX5" fmla="*/ 151650 w 147896"/>
              <a:gd name="connsiteY5" fmla="*/ 448 h 152378"/>
              <a:gd name="connsiteX6" fmla="*/ 151202 w 147896"/>
              <a:gd name="connsiteY6" fmla="*/ 0 h 152378"/>
              <a:gd name="connsiteX7" fmla="*/ 151202 w 147896"/>
              <a:gd name="connsiteY7" fmla="*/ 0 h 152378"/>
              <a:gd name="connsiteX8" fmla="*/ 150754 w 147896"/>
              <a:gd name="connsiteY8" fmla="*/ 0 h 152378"/>
              <a:gd name="connsiteX9" fmla="*/ 150306 w 147896"/>
              <a:gd name="connsiteY9" fmla="*/ 0 h 152378"/>
              <a:gd name="connsiteX10" fmla="*/ 150306 w 147896"/>
              <a:gd name="connsiteY10" fmla="*/ 0 h 152378"/>
              <a:gd name="connsiteX11" fmla="*/ 118037 w 147896"/>
              <a:gd name="connsiteY11" fmla="*/ 0 h 152378"/>
              <a:gd name="connsiteX12" fmla="*/ 115796 w 147896"/>
              <a:gd name="connsiteY12" fmla="*/ 2241 h 152378"/>
              <a:gd name="connsiteX13" fmla="*/ 117589 w 147896"/>
              <a:gd name="connsiteY13" fmla="*/ 4482 h 152378"/>
              <a:gd name="connsiteX14" fmla="*/ 144479 w 147896"/>
              <a:gd name="connsiteY14" fmla="*/ 4482 h 152378"/>
              <a:gd name="connsiteX15" fmla="*/ 105040 w 147896"/>
              <a:gd name="connsiteY15" fmla="*/ 43921 h 152378"/>
              <a:gd name="connsiteX16" fmla="*/ 18095 w 147896"/>
              <a:gd name="connsiteY16" fmla="*/ 45265 h 152378"/>
              <a:gd name="connsiteX17" fmla="*/ 18543 w 147896"/>
              <a:gd name="connsiteY17" fmla="*/ 134003 h 152378"/>
              <a:gd name="connsiteX18" fmla="*/ 62464 w 147896"/>
              <a:gd name="connsiteY18" fmla="*/ 152378 h 152378"/>
              <a:gd name="connsiteX19" fmla="*/ 62464 w 147896"/>
              <a:gd name="connsiteY19" fmla="*/ 152378 h 152378"/>
              <a:gd name="connsiteX20" fmla="*/ 106385 w 147896"/>
              <a:gd name="connsiteY20" fmla="*/ 134003 h 152378"/>
              <a:gd name="connsiteX21" fmla="*/ 107729 w 147896"/>
              <a:gd name="connsiteY21" fmla="*/ 47058 h 152378"/>
              <a:gd name="connsiteX22" fmla="*/ 147617 w 147896"/>
              <a:gd name="connsiteY22" fmla="*/ 7619 h 152378"/>
              <a:gd name="connsiteX23" fmla="*/ 147617 w 147896"/>
              <a:gd name="connsiteY23" fmla="*/ 34509 h 152378"/>
              <a:gd name="connsiteX24" fmla="*/ 149857 w 147896"/>
              <a:gd name="connsiteY24" fmla="*/ 36750 h 152378"/>
              <a:gd name="connsiteX25" fmla="*/ 149857 w 147896"/>
              <a:gd name="connsiteY25" fmla="*/ 36750 h 152378"/>
              <a:gd name="connsiteX26" fmla="*/ 152098 w 147896"/>
              <a:gd name="connsiteY26" fmla="*/ 34509 h 152378"/>
              <a:gd name="connsiteX27" fmla="*/ 152098 w 147896"/>
              <a:gd name="connsiteY27" fmla="*/ 2241 h 152378"/>
              <a:gd name="connsiteX28" fmla="*/ 103696 w 147896"/>
              <a:gd name="connsiteY28" fmla="*/ 130866 h 152378"/>
              <a:gd name="connsiteX29" fmla="*/ 62464 w 147896"/>
              <a:gd name="connsiteY29" fmla="*/ 147896 h 152378"/>
              <a:gd name="connsiteX30" fmla="*/ 21232 w 147896"/>
              <a:gd name="connsiteY30" fmla="*/ 130866 h 152378"/>
              <a:gd name="connsiteX31" fmla="*/ 20784 w 147896"/>
              <a:gd name="connsiteY31" fmla="*/ 48402 h 152378"/>
              <a:gd name="connsiteX32" fmla="*/ 61568 w 147896"/>
              <a:gd name="connsiteY32" fmla="*/ 31372 h 152378"/>
              <a:gd name="connsiteX33" fmla="*/ 101455 w 147896"/>
              <a:gd name="connsiteY33" fmla="*/ 47058 h 152378"/>
              <a:gd name="connsiteX34" fmla="*/ 62464 w 147896"/>
              <a:gd name="connsiteY34" fmla="*/ 86049 h 152378"/>
              <a:gd name="connsiteX35" fmla="*/ 62464 w 147896"/>
              <a:gd name="connsiteY35" fmla="*/ 89186 h 152378"/>
              <a:gd name="connsiteX36" fmla="*/ 64257 w 147896"/>
              <a:gd name="connsiteY36" fmla="*/ 89634 h 152378"/>
              <a:gd name="connsiteX37" fmla="*/ 66050 w 147896"/>
              <a:gd name="connsiteY37" fmla="*/ 89186 h 152378"/>
              <a:gd name="connsiteX38" fmla="*/ 105040 w 147896"/>
              <a:gd name="connsiteY38" fmla="*/ 50195 h 152378"/>
              <a:gd name="connsiteX39" fmla="*/ 103696 w 147896"/>
              <a:gd name="connsiteY39" fmla="*/ 130866 h 1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7896" h="152378">
                <a:moveTo>
                  <a:pt x="152098" y="2241"/>
                </a:moveTo>
                <a:cubicBezTo>
                  <a:pt x="152098" y="2241"/>
                  <a:pt x="152098" y="2241"/>
                  <a:pt x="152098" y="2241"/>
                </a:cubicBezTo>
                <a:cubicBezTo>
                  <a:pt x="152098" y="1793"/>
                  <a:pt x="152098" y="1793"/>
                  <a:pt x="152098" y="1345"/>
                </a:cubicBezTo>
                <a:cubicBezTo>
                  <a:pt x="152098" y="896"/>
                  <a:pt x="151650" y="896"/>
                  <a:pt x="151650" y="448"/>
                </a:cubicBezTo>
                <a:cubicBezTo>
                  <a:pt x="151650" y="448"/>
                  <a:pt x="151650" y="448"/>
                  <a:pt x="151650" y="448"/>
                </a:cubicBezTo>
                <a:cubicBezTo>
                  <a:pt x="151650" y="448"/>
                  <a:pt x="151650" y="448"/>
                  <a:pt x="151650" y="448"/>
                </a:cubicBezTo>
                <a:cubicBezTo>
                  <a:pt x="151650" y="448"/>
                  <a:pt x="151202" y="0"/>
                  <a:pt x="151202" y="0"/>
                </a:cubicBezTo>
                <a:cubicBezTo>
                  <a:pt x="151202" y="0"/>
                  <a:pt x="151202" y="0"/>
                  <a:pt x="151202" y="0"/>
                </a:cubicBezTo>
                <a:cubicBezTo>
                  <a:pt x="151202" y="0"/>
                  <a:pt x="151202" y="0"/>
                  <a:pt x="150754" y="0"/>
                </a:cubicBezTo>
                <a:cubicBezTo>
                  <a:pt x="150754" y="0"/>
                  <a:pt x="150306" y="0"/>
                  <a:pt x="150306" y="0"/>
                </a:cubicBezTo>
                <a:cubicBezTo>
                  <a:pt x="150306" y="0"/>
                  <a:pt x="150306" y="0"/>
                  <a:pt x="150306" y="0"/>
                </a:cubicBezTo>
                <a:lnTo>
                  <a:pt x="118037" y="0"/>
                </a:lnTo>
                <a:cubicBezTo>
                  <a:pt x="116693" y="0"/>
                  <a:pt x="115796" y="896"/>
                  <a:pt x="115796" y="2241"/>
                </a:cubicBezTo>
                <a:cubicBezTo>
                  <a:pt x="115348" y="3585"/>
                  <a:pt x="116245" y="4482"/>
                  <a:pt x="117589" y="4482"/>
                </a:cubicBezTo>
                <a:lnTo>
                  <a:pt x="144479" y="4482"/>
                </a:lnTo>
                <a:lnTo>
                  <a:pt x="105040" y="43921"/>
                </a:lnTo>
                <a:cubicBezTo>
                  <a:pt x="80391" y="21064"/>
                  <a:pt x="41848" y="21512"/>
                  <a:pt x="18095" y="45265"/>
                </a:cubicBezTo>
                <a:cubicBezTo>
                  <a:pt x="-6106" y="69466"/>
                  <a:pt x="-6106" y="109354"/>
                  <a:pt x="18543" y="134003"/>
                </a:cubicBezTo>
                <a:cubicBezTo>
                  <a:pt x="30196" y="145655"/>
                  <a:pt x="45882" y="152378"/>
                  <a:pt x="62464" y="152378"/>
                </a:cubicBezTo>
                <a:cubicBezTo>
                  <a:pt x="62464" y="152378"/>
                  <a:pt x="62464" y="152378"/>
                  <a:pt x="62464" y="152378"/>
                </a:cubicBezTo>
                <a:cubicBezTo>
                  <a:pt x="79046" y="152378"/>
                  <a:pt x="94732" y="146104"/>
                  <a:pt x="106385" y="134003"/>
                </a:cubicBezTo>
                <a:cubicBezTo>
                  <a:pt x="130138" y="110250"/>
                  <a:pt x="130586" y="71707"/>
                  <a:pt x="107729" y="47058"/>
                </a:cubicBezTo>
                <a:lnTo>
                  <a:pt x="147617" y="7619"/>
                </a:lnTo>
                <a:lnTo>
                  <a:pt x="147617" y="34509"/>
                </a:lnTo>
                <a:cubicBezTo>
                  <a:pt x="147617" y="35854"/>
                  <a:pt x="148513" y="36750"/>
                  <a:pt x="149857" y="36750"/>
                </a:cubicBezTo>
                <a:cubicBezTo>
                  <a:pt x="149857" y="36750"/>
                  <a:pt x="149857" y="36750"/>
                  <a:pt x="149857" y="36750"/>
                </a:cubicBezTo>
                <a:cubicBezTo>
                  <a:pt x="151202" y="36750"/>
                  <a:pt x="152098" y="35854"/>
                  <a:pt x="152098" y="34509"/>
                </a:cubicBezTo>
                <a:lnTo>
                  <a:pt x="152098" y="2241"/>
                </a:lnTo>
                <a:close/>
                <a:moveTo>
                  <a:pt x="103696" y="130866"/>
                </a:moveTo>
                <a:cubicBezTo>
                  <a:pt x="92492" y="142070"/>
                  <a:pt x="78150" y="147896"/>
                  <a:pt x="62464" y="147896"/>
                </a:cubicBezTo>
                <a:cubicBezTo>
                  <a:pt x="46778" y="147896"/>
                  <a:pt x="32437" y="141622"/>
                  <a:pt x="21232" y="130866"/>
                </a:cubicBezTo>
                <a:cubicBezTo>
                  <a:pt x="-1624" y="108009"/>
                  <a:pt x="-1624" y="71259"/>
                  <a:pt x="20784" y="48402"/>
                </a:cubicBezTo>
                <a:cubicBezTo>
                  <a:pt x="31989" y="37198"/>
                  <a:pt x="46778" y="31372"/>
                  <a:pt x="61568" y="31372"/>
                </a:cubicBezTo>
                <a:cubicBezTo>
                  <a:pt x="75909" y="31372"/>
                  <a:pt x="90251" y="36750"/>
                  <a:pt x="101455" y="47058"/>
                </a:cubicBezTo>
                <a:lnTo>
                  <a:pt x="62464" y="86049"/>
                </a:lnTo>
                <a:cubicBezTo>
                  <a:pt x="61568" y="86945"/>
                  <a:pt x="61568" y="88290"/>
                  <a:pt x="62464" y="89186"/>
                </a:cubicBezTo>
                <a:cubicBezTo>
                  <a:pt x="62912" y="89634"/>
                  <a:pt x="63361" y="89634"/>
                  <a:pt x="64257" y="89634"/>
                </a:cubicBezTo>
                <a:cubicBezTo>
                  <a:pt x="65153" y="89634"/>
                  <a:pt x="65601" y="89634"/>
                  <a:pt x="66050" y="89186"/>
                </a:cubicBezTo>
                <a:lnTo>
                  <a:pt x="105040" y="50195"/>
                </a:lnTo>
                <a:cubicBezTo>
                  <a:pt x="126104" y="73500"/>
                  <a:pt x="125656" y="108905"/>
                  <a:pt x="103696" y="130866"/>
                </a:cubicBezTo>
                <a:close/>
              </a:path>
            </a:pathLst>
          </a:custGeom>
          <a:solidFill>
            <a:srgbClr val="231F20"/>
          </a:solidFill>
          <a:ln w="4202" cap="flat">
            <a:noFill/>
            <a:prstDash val="solid"/>
            <a:miter/>
          </a:ln>
        </p:spPr>
        <p:txBody>
          <a:bodyPr rtlCol="0" anchor="ctr"/>
          <a:lstStyle/>
          <a:p>
            <a:endParaRPr lang="en-US"/>
          </a:p>
        </p:txBody>
      </p:sp>
      <p:sp>
        <p:nvSpPr>
          <p:cNvPr id="4985" name="Graphic 2865">
            <a:extLst>
              <a:ext uri="{FF2B5EF4-FFF2-40B4-BE49-F238E27FC236}">
                <a16:creationId xmlns:a16="http://schemas.microsoft.com/office/drawing/2014/main" id="{4677F602-35F3-4AF6-8A05-C9DC12F9C662}"/>
              </a:ext>
              <a:ext uri="{C183D7F6-B498-43B3-948B-1728B52AA6E4}">
                <adec:decorative xmlns:adec="http://schemas.microsoft.com/office/drawing/2017/decorative" val="1"/>
              </a:ext>
            </a:extLst>
          </p:cNvPr>
          <p:cNvSpPr>
            <a:spLocks noChangeAspect="1"/>
          </p:cNvSpPr>
          <p:nvPr/>
        </p:nvSpPr>
        <p:spPr>
          <a:xfrm>
            <a:off x="864858" y="2057314"/>
            <a:ext cx="100047" cy="143546"/>
          </a:xfrm>
          <a:custGeom>
            <a:avLst/>
            <a:gdLst>
              <a:gd name="connsiteX0" fmla="*/ 52198 w 100047"/>
              <a:gd name="connsiteY0" fmla="*/ 48284 h 143546"/>
              <a:gd name="connsiteX1" fmla="*/ 52198 w 100047"/>
              <a:gd name="connsiteY1" fmla="*/ 6960 h 143546"/>
              <a:gd name="connsiteX2" fmla="*/ 66553 w 100047"/>
              <a:gd name="connsiteY2" fmla="*/ 21314 h 143546"/>
              <a:gd name="connsiteX3" fmla="*/ 68293 w 100047"/>
              <a:gd name="connsiteY3" fmla="*/ 21749 h 143546"/>
              <a:gd name="connsiteX4" fmla="*/ 70033 w 100047"/>
              <a:gd name="connsiteY4" fmla="*/ 21314 h 143546"/>
              <a:gd name="connsiteX5" fmla="*/ 70033 w 100047"/>
              <a:gd name="connsiteY5" fmla="*/ 18270 h 143546"/>
              <a:gd name="connsiteX6" fmla="*/ 52198 w 100047"/>
              <a:gd name="connsiteY6" fmla="*/ 435 h 143546"/>
              <a:gd name="connsiteX7" fmla="*/ 52198 w 100047"/>
              <a:gd name="connsiteY7" fmla="*/ 435 h 143546"/>
              <a:gd name="connsiteX8" fmla="*/ 52198 w 100047"/>
              <a:gd name="connsiteY8" fmla="*/ 435 h 143546"/>
              <a:gd name="connsiteX9" fmla="*/ 52198 w 100047"/>
              <a:gd name="connsiteY9" fmla="*/ 435 h 143546"/>
              <a:gd name="connsiteX10" fmla="*/ 51763 w 100047"/>
              <a:gd name="connsiteY10" fmla="*/ 0 h 143546"/>
              <a:gd name="connsiteX11" fmla="*/ 51763 w 100047"/>
              <a:gd name="connsiteY11" fmla="*/ 0 h 143546"/>
              <a:gd name="connsiteX12" fmla="*/ 51328 w 100047"/>
              <a:gd name="connsiteY12" fmla="*/ 0 h 143546"/>
              <a:gd name="connsiteX13" fmla="*/ 50893 w 100047"/>
              <a:gd name="connsiteY13" fmla="*/ 0 h 143546"/>
              <a:gd name="connsiteX14" fmla="*/ 50893 w 100047"/>
              <a:gd name="connsiteY14" fmla="*/ 0 h 143546"/>
              <a:gd name="connsiteX15" fmla="*/ 50458 w 100047"/>
              <a:gd name="connsiteY15" fmla="*/ 0 h 143546"/>
              <a:gd name="connsiteX16" fmla="*/ 50024 w 100047"/>
              <a:gd name="connsiteY16" fmla="*/ 0 h 143546"/>
              <a:gd name="connsiteX17" fmla="*/ 50024 w 100047"/>
              <a:gd name="connsiteY17" fmla="*/ 0 h 143546"/>
              <a:gd name="connsiteX18" fmla="*/ 49589 w 100047"/>
              <a:gd name="connsiteY18" fmla="*/ 435 h 143546"/>
              <a:gd name="connsiteX19" fmla="*/ 49589 w 100047"/>
              <a:gd name="connsiteY19" fmla="*/ 435 h 143546"/>
              <a:gd name="connsiteX20" fmla="*/ 30449 w 100047"/>
              <a:gd name="connsiteY20" fmla="*/ 18270 h 143546"/>
              <a:gd name="connsiteX21" fmla="*/ 30449 w 100047"/>
              <a:gd name="connsiteY21" fmla="*/ 21314 h 143546"/>
              <a:gd name="connsiteX22" fmla="*/ 32189 w 100047"/>
              <a:gd name="connsiteY22" fmla="*/ 21749 h 143546"/>
              <a:gd name="connsiteX23" fmla="*/ 33929 w 100047"/>
              <a:gd name="connsiteY23" fmla="*/ 21314 h 143546"/>
              <a:gd name="connsiteX24" fmla="*/ 47849 w 100047"/>
              <a:gd name="connsiteY24" fmla="*/ 6960 h 143546"/>
              <a:gd name="connsiteX25" fmla="*/ 47849 w 100047"/>
              <a:gd name="connsiteY25" fmla="*/ 48284 h 143546"/>
              <a:gd name="connsiteX26" fmla="*/ 0 w 100047"/>
              <a:gd name="connsiteY26" fmla="*/ 97872 h 143546"/>
              <a:gd name="connsiteX27" fmla="*/ 50024 w 100047"/>
              <a:gd name="connsiteY27" fmla="*/ 147461 h 143546"/>
              <a:gd name="connsiteX28" fmla="*/ 50024 w 100047"/>
              <a:gd name="connsiteY28" fmla="*/ 147461 h 143546"/>
              <a:gd name="connsiteX29" fmla="*/ 85257 w 100047"/>
              <a:gd name="connsiteY29" fmla="*/ 133106 h 143546"/>
              <a:gd name="connsiteX30" fmla="*/ 100047 w 100047"/>
              <a:gd name="connsiteY30" fmla="*/ 97872 h 143546"/>
              <a:gd name="connsiteX31" fmla="*/ 52198 w 100047"/>
              <a:gd name="connsiteY31" fmla="*/ 48284 h 143546"/>
              <a:gd name="connsiteX32" fmla="*/ 82213 w 100047"/>
              <a:gd name="connsiteY32" fmla="*/ 130061 h 143546"/>
              <a:gd name="connsiteX33" fmla="*/ 50024 w 100047"/>
              <a:gd name="connsiteY33" fmla="*/ 143111 h 143546"/>
              <a:gd name="connsiteX34" fmla="*/ 4350 w 100047"/>
              <a:gd name="connsiteY34" fmla="*/ 97872 h 143546"/>
              <a:gd name="connsiteX35" fmla="*/ 47849 w 100047"/>
              <a:gd name="connsiteY35" fmla="*/ 52634 h 143546"/>
              <a:gd name="connsiteX36" fmla="*/ 47849 w 100047"/>
              <a:gd name="connsiteY36" fmla="*/ 97002 h 143546"/>
              <a:gd name="connsiteX37" fmla="*/ 50024 w 100047"/>
              <a:gd name="connsiteY37" fmla="*/ 99177 h 143546"/>
              <a:gd name="connsiteX38" fmla="*/ 50024 w 100047"/>
              <a:gd name="connsiteY38" fmla="*/ 99177 h 143546"/>
              <a:gd name="connsiteX39" fmla="*/ 52198 w 100047"/>
              <a:gd name="connsiteY39" fmla="*/ 97002 h 143546"/>
              <a:gd name="connsiteX40" fmla="*/ 52198 w 100047"/>
              <a:gd name="connsiteY40" fmla="*/ 52634 h 143546"/>
              <a:gd name="connsiteX41" fmla="*/ 95697 w 100047"/>
              <a:gd name="connsiteY41" fmla="*/ 97872 h 143546"/>
              <a:gd name="connsiteX42" fmla="*/ 82213 w 100047"/>
              <a:gd name="connsiteY42" fmla="*/ 130061 h 14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0047" h="143546">
                <a:moveTo>
                  <a:pt x="52198" y="48284"/>
                </a:moveTo>
                <a:lnTo>
                  <a:pt x="52198" y="6960"/>
                </a:lnTo>
                <a:lnTo>
                  <a:pt x="66553" y="21314"/>
                </a:lnTo>
                <a:cubicBezTo>
                  <a:pt x="66988" y="21749"/>
                  <a:pt x="67423" y="21749"/>
                  <a:pt x="68293" y="21749"/>
                </a:cubicBezTo>
                <a:cubicBezTo>
                  <a:pt x="68728" y="21749"/>
                  <a:pt x="69598" y="21749"/>
                  <a:pt x="70033" y="21314"/>
                </a:cubicBezTo>
                <a:cubicBezTo>
                  <a:pt x="70903" y="20444"/>
                  <a:pt x="70903" y="19139"/>
                  <a:pt x="70033" y="18270"/>
                </a:cubicBezTo>
                <a:lnTo>
                  <a:pt x="52198" y="435"/>
                </a:lnTo>
                <a:cubicBezTo>
                  <a:pt x="52198" y="435"/>
                  <a:pt x="52198" y="435"/>
                  <a:pt x="52198" y="435"/>
                </a:cubicBezTo>
                <a:lnTo>
                  <a:pt x="52198" y="435"/>
                </a:lnTo>
                <a:cubicBezTo>
                  <a:pt x="52198" y="435"/>
                  <a:pt x="52198" y="435"/>
                  <a:pt x="52198" y="435"/>
                </a:cubicBezTo>
                <a:cubicBezTo>
                  <a:pt x="52198" y="435"/>
                  <a:pt x="51763" y="0"/>
                  <a:pt x="51763" y="0"/>
                </a:cubicBezTo>
                <a:cubicBezTo>
                  <a:pt x="51763" y="0"/>
                  <a:pt x="51763" y="0"/>
                  <a:pt x="51763" y="0"/>
                </a:cubicBezTo>
                <a:cubicBezTo>
                  <a:pt x="51763" y="0"/>
                  <a:pt x="51763" y="0"/>
                  <a:pt x="51328" y="0"/>
                </a:cubicBezTo>
                <a:cubicBezTo>
                  <a:pt x="51328" y="0"/>
                  <a:pt x="50893" y="0"/>
                  <a:pt x="50893" y="0"/>
                </a:cubicBezTo>
                <a:cubicBezTo>
                  <a:pt x="50893" y="0"/>
                  <a:pt x="50893" y="0"/>
                  <a:pt x="50893" y="0"/>
                </a:cubicBezTo>
                <a:cubicBezTo>
                  <a:pt x="50893" y="0"/>
                  <a:pt x="50893" y="0"/>
                  <a:pt x="50458" y="0"/>
                </a:cubicBezTo>
                <a:cubicBezTo>
                  <a:pt x="50458" y="0"/>
                  <a:pt x="50024" y="0"/>
                  <a:pt x="50024" y="0"/>
                </a:cubicBezTo>
                <a:cubicBezTo>
                  <a:pt x="50024" y="0"/>
                  <a:pt x="50024" y="0"/>
                  <a:pt x="50024" y="0"/>
                </a:cubicBezTo>
                <a:cubicBezTo>
                  <a:pt x="50024" y="0"/>
                  <a:pt x="49589" y="435"/>
                  <a:pt x="49589" y="435"/>
                </a:cubicBezTo>
                <a:cubicBezTo>
                  <a:pt x="49589" y="435"/>
                  <a:pt x="49589" y="435"/>
                  <a:pt x="49589" y="435"/>
                </a:cubicBezTo>
                <a:lnTo>
                  <a:pt x="30449" y="18270"/>
                </a:lnTo>
                <a:cubicBezTo>
                  <a:pt x="29579" y="18704"/>
                  <a:pt x="29579" y="20444"/>
                  <a:pt x="30449" y="21314"/>
                </a:cubicBezTo>
                <a:cubicBezTo>
                  <a:pt x="30884" y="21749"/>
                  <a:pt x="31319" y="21749"/>
                  <a:pt x="32189" y="21749"/>
                </a:cubicBezTo>
                <a:cubicBezTo>
                  <a:pt x="32624" y="21749"/>
                  <a:pt x="33494" y="21749"/>
                  <a:pt x="33929" y="21314"/>
                </a:cubicBezTo>
                <a:lnTo>
                  <a:pt x="47849" y="6960"/>
                </a:lnTo>
                <a:lnTo>
                  <a:pt x="47849" y="48284"/>
                </a:lnTo>
                <a:cubicBezTo>
                  <a:pt x="21314" y="49589"/>
                  <a:pt x="0" y="71338"/>
                  <a:pt x="0" y="97872"/>
                </a:cubicBezTo>
                <a:cubicBezTo>
                  <a:pt x="0" y="125277"/>
                  <a:pt x="22184" y="147461"/>
                  <a:pt x="50024" y="147461"/>
                </a:cubicBezTo>
                <a:cubicBezTo>
                  <a:pt x="50024" y="147461"/>
                  <a:pt x="50024" y="147461"/>
                  <a:pt x="50024" y="147461"/>
                </a:cubicBezTo>
                <a:cubicBezTo>
                  <a:pt x="63508" y="147461"/>
                  <a:pt x="75688" y="142241"/>
                  <a:pt x="85257" y="133106"/>
                </a:cubicBezTo>
                <a:cubicBezTo>
                  <a:pt x="94827" y="123537"/>
                  <a:pt x="100047" y="111357"/>
                  <a:pt x="100047" y="97872"/>
                </a:cubicBezTo>
                <a:cubicBezTo>
                  <a:pt x="100047" y="71338"/>
                  <a:pt x="78733" y="49589"/>
                  <a:pt x="52198" y="48284"/>
                </a:cubicBezTo>
                <a:close/>
                <a:moveTo>
                  <a:pt x="82213" y="130061"/>
                </a:moveTo>
                <a:cubicBezTo>
                  <a:pt x="73513" y="138761"/>
                  <a:pt x="62203" y="143111"/>
                  <a:pt x="50024" y="143111"/>
                </a:cubicBezTo>
                <a:cubicBezTo>
                  <a:pt x="24794" y="143111"/>
                  <a:pt x="4350" y="122667"/>
                  <a:pt x="4350" y="97872"/>
                </a:cubicBezTo>
                <a:cubicBezTo>
                  <a:pt x="4350" y="73513"/>
                  <a:pt x="23924" y="53939"/>
                  <a:pt x="47849" y="52634"/>
                </a:cubicBezTo>
                <a:lnTo>
                  <a:pt x="47849" y="97002"/>
                </a:lnTo>
                <a:cubicBezTo>
                  <a:pt x="47849" y="98307"/>
                  <a:pt x="48719" y="99177"/>
                  <a:pt x="50024" y="99177"/>
                </a:cubicBezTo>
                <a:cubicBezTo>
                  <a:pt x="50024" y="99177"/>
                  <a:pt x="50024" y="99177"/>
                  <a:pt x="50024" y="99177"/>
                </a:cubicBezTo>
                <a:cubicBezTo>
                  <a:pt x="51328" y="99177"/>
                  <a:pt x="52198" y="98307"/>
                  <a:pt x="52198" y="97002"/>
                </a:cubicBezTo>
                <a:lnTo>
                  <a:pt x="52198" y="52634"/>
                </a:lnTo>
                <a:cubicBezTo>
                  <a:pt x="76558" y="53939"/>
                  <a:pt x="95697" y="73513"/>
                  <a:pt x="95697" y="97872"/>
                </a:cubicBezTo>
                <a:cubicBezTo>
                  <a:pt x="95697" y="110052"/>
                  <a:pt x="90912" y="121362"/>
                  <a:pt x="82213" y="130061"/>
                </a:cubicBezTo>
                <a:close/>
              </a:path>
            </a:pathLst>
          </a:custGeom>
          <a:solidFill>
            <a:srgbClr val="231F20"/>
          </a:solidFill>
          <a:ln w="4141" cap="flat">
            <a:noFill/>
            <a:prstDash val="solid"/>
            <a:miter/>
          </a:ln>
        </p:spPr>
        <p:txBody>
          <a:bodyPr rtlCol="0" anchor="ctr"/>
          <a:lstStyle/>
          <a:p>
            <a:endParaRPr lang="en-US"/>
          </a:p>
        </p:txBody>
      </p:sp>
      <p:sp>
        <p:nvSpPr>
          <p:cNvPr id="4986" name="Graphic 2889">
            <a:extLst>
              <a:ext uri="{FF2B5EF4-FFF2-40B4-BE49-F238E27FC236}">
                <a16:creationId xmlns:a16="http://schemas.microsoft.com/office/drawing/2014/main" id="{1198A7E8-B58F-443C-AC81-B3658FC43834}"/>
              </a:ext>
              <a:ext uri="{C183D7F6-B498-43B3-948B-1728B52AA6E4}">
                <adec:decorative xmlns:adec="http://schemas.microsoft.com/office/drawing/2017/decorative" val="1"/>
              </a:ext>
            </a:extLst>
          </p:cNvPr>
          <p:cNvSpPr>
            <a:spLocks noChangeAspect="1"/>
          </p:cNvSpPr>
          <p:nvPr/>
        </p:nvSpPr>
        <p:spPr>
          <a:xfrm>
            <a:off x="1369050" y="3136073"/>
            <a:ext cx="140853" cy="85366"/>
          </a:xfrm>
          <a:custGeom>
            <a:avLst/>
            <a:gdLst>
              <a:gd name="connsiteX0" fmla="*/ 122072 w 140852"/>
              <a:gd name="connsiteY0" fmla="*/ 41829 h 85365"/>
              <a:gd name="connsiteX1" fmla="*/ 113536 w 140852"/>
              <a:gd name="connsiteY1" fmla="*/ 43537 h 85365"/>
              <a:gd name="connsiteX2" fmla="*/ 110548 w 140852"/>
              <a:gd name="connsiteY2" fmla="*/ 37561 h 85365"/>
              <a:gd name="connsiteX3" fmla="*/ 107560 w 140852"/>
              <a:gd name="connsiteY3" fmla="*/ 31585 h 85365"/>
              <a:gd name="connsiteX4" fmla="*/ 131463 w 140852"/>
              <a:gd name="connsiteY4" fmla="*/ 32439 h 85365"/>
              <a:gd name="connsiteX5" fmla="*/ 134450 w 140852"/>
              <a:gd name="connsiteY5" fmla="*/ 31585 h 85365"/>
              <a:gd name="connsiteX6" fmla="*/ 133597 w 140852"/>
              <a:gd name="connsiteY6" fmla="*/ 28598 h 85365"/>
              <a:gd name="connsiteX7" fmla="*/ 105853 w 140852"/>
              <a:gd name="connsiteY7" fmla="*/ 27744 h 85365"/>
              <a:gd name="connsiteX8" fmla="*/ 91768 w 140852"/>
              <a:gd name="connsiteY8" fmla="*/ 854 h 85365"/>
              <a:gd name="connsiteX9" fmla="*/ 89207 w 140852"/>
              <a:gd name="connsiteY9" fmla="*/ 0 h 85365"/>
              <a:gd name="connsiteX10" fmla="*/ 78963 w 140852"/>
              <a:gd name="connsiteY10" fmla="*/ 0 h 85365"/>
              <a:gd name="connsiteX11" fmla="*/ 76829 w 140852"/>
              <a:gd name="connsiteY11" fmla="*/ 2134 h 85365"/>
              <a:gd name="connsiteX12" fmla="*/ 78963 w 140852"/>
              <a:gd name="connsiteY12" fmla="*/ 4268 h 85365"/>
              <a:gd name="connsiteX13" fmla="*/ 87926 w 140852"/>
              <a:gd name="connsiteY13" fmla="*/ 4268 h 85365"/>
              <a:gd name="connsiteX14" fmla="*/ 92621 w 140852"/>
              <a:gd name="connsiteY14" fmla="*/ 13232 h 85365"/>
              <a:gd name="connsiteX15" fmla="*/ 53353 w 140852"/>
              <a:gd name="connsiteY15" fmla="*/ 21768 h 85365"/>
              <a:gd name="connsiteX16" fmla="*/ 52073 w 140852"/>
              <a:gd name="connsiteY16" fmla="*/ 21768 h 85365"/>
              <a:gd name="connsiteX17" fmla="*/ 3415 w 140852"/>
              <a:gd name="connsiteY17" fmla="*/ 20488 h 85365"/>
              <a:gd name="connsiteX18" fmla="*/ 1280 w 140852"/>
              <a:gd name="connsiteY18" fmla="*/ 22622 h 85365"/>
              <a:gd name="connsiteX19" fmla="*/ 3415 w 140852"/>
              <a:gd name="connsiteY19" fmla="*/ 24756 h 85365"/>
              <a:gd name="connsiteX20" fmla="*/ 15366 w 140852"/>
              <a:gd name="connsiteY20" fmla="*/ 25183 h 85365"/>
              <a:gd name="connsiteX21" fmla="*/ 15366 w 140852"/>
              <a:gd name="connsiteY21" fmla="*/ 31585 h 85365"/>
              <a:gd name="connsiteX22" fmla="*/ 16646 w 140852"/>
              <a:gd name="connsiteY22" fmla="*/ 33293 h 85365"/>
              <a:gd name="connsiteX23" fmla="*/ 24756 w 140852"/>
              <a:gd name="connsiteY23" fmla="*/ 37134 h 85365"/>
              <a:gd name="connsiteX24" fmla="*/ 48231 w 140852"/>
              <a:gd name="connsiteY24" fmla="*/ 49512 h 85365"/>
              <a:gd name="connsiteX25" fmla="*/ 52926 w 140852"/>
              <a:gd name="connsiteY25" fmla="*/ 55488 h 85365"/>
              <a:gd name="connsiteX26" fmla="*/ 45244 w 140852"/>
              <a:gd name="connsiteY26" fmla="*/ 57195 h 85365"/>
              <a:gd name="connsiteX27" fmla="*/ 23049 w 140852"/>
              <a:gd name="connsiteY27" fmla="*/ 41402 h 85365"/>
              <a:gd name="connsiteX28" fmla="*/ 0 w 140852"/>
              <a:gd name="connsiteY28" fmla="*/ 64451 h 85365"/>
              <a:gd name="connsiteX29" fmla="*/ 23049 w 140852"/>
              <a:gd name="connsiteY29" fmla="*/ 87500 h 85365"/>
              <a:gd name="connsiteX30" fmla="*/ 46097 w 140852"/>
              <a:gd name="connsiteY30" fmla="*/ 64451 h 85365"/>
              <a:gd name="connsiteX31" fmla="*/ 45670 w 140852"/>
              <a:gd name="connsiteY31" fmla="*/ 61036 h 85365"/>
              <a:gd name="connsiteX32" fmla="*/ 53780 w 140852"/>
              <a:gd name="connsiteY32" fmla="*/ 58902 h 85365"/>
              <a:gd name="connsiteX33" fmla="*/ 54634 w 140852"/>
              <a:gd name="connsiteY33" fmla="*/ 64878 h 85365"/>
              <a:gd name="connsiteX34" fmla="*/ 55061 w 140852"/>
              <a:gd name="connsiteY34" fmla="*/ 66585 h 85365"/>
              <a:gd name="connsiteX35" fmla="*/ 56768 w 140852"/>
              <a:gd name="connsiteY35" fmla="*/ 67439 h 85365"/>
              <a:gd name="connsiteX36" fmla="*/ 56768 w 140852"/>
              <a:gd name="connsiteY36" fmla="*/ 67439 h 85365"/>
              <a:gd name="connsiteX37" fmla="*/ 74268 w 140852"/>
              <a:gd name="connsiteY37" fmla="*/ 67439 h 85365"/>
              <a:gd name="connsiteX38" fmla="*/ 75548 w 140852"/>
              <a:gd name="connsiteY38" fmla="*/ 67012 h 85365"/>
              <a:gd name="connsiteX39" fmla="*/ 89207 w 140852"/>
              <a:gd name="connsiteY39" fmla="*/ 53780 h 85365"/>
              <a:gd name="connsiteX40" fmla="*/ 89634 w 140852"/>
              <a:gd name="connsiteY40" fmla="*/ 52927 h 85365"/>
              <a:gd name="connsiteX41" fmla="*/ 89207 w 140852"/>
              <a:gd name="connsiteY41" fmla="*/ 50366 h 85365"/>
              <a:gd name="connsiteX42" fmla="*/ 70000 w 140852"/>
              <a:gd name="connsiteY42" fmla="*/ 43963 h 85365"/>
              <a:gd name="connsiteX43" fmla="*/ 68292 w 140852"/>
              <a:gd name="connsiteY43" fmla="*/ 46524 h 85365"/>
              <a:gd name="connsiteX44" fmla="*/ 70853 w 140852"/>
              <a:gd name="connsiteY44" fmla="*/ 48232 h 85365"/>
              <a:gd name="connsiteX45" fmla="*/ 84512 w 140852"/>
              <a:gd name="connsiteY45" fmla="*/ 51646 h 85365"/>
              <a:gd name="connsiteX46" fmla="*/ 72987 w 140852"/>
              <a:gd name="connsiteY46" fmla="*/ 62744 h 85365"/>
              <a:gd name="connsiteX47" fmla="*/ 58475 w 140852"/>
              <a:gd name="connsiteY47" fmla="*/ 62744 h 85365"/>
              <a:gd name="connsiteX48" fmla="*/ 49512 w 140852"/>
              <a:gd name="connsiteY48" fmla="*/ 45244 h 85365"/>
              <a:gd name="connsiteX49" fmla="*/ 26036 w 140852"/>
              <a:gd name="connsiteY49" fmla="*/ 32439 h 85365"/>
              <a:gd name="connsiteX50" fmla="*/ 19207 w 140852"/>
              <a:gd name="connsiteY50" fmla="*/ 29024 h 85365"/>
              <a:gd name="connsiteX51" fmla="*/ 19207 w 140852"/>
              <a:gd name="connsiteY51" fmla="*/ 25183 h 85365"/>
              <a:gd name="connsiteX52" fmla="*/ 51219 w 140852"/>
              <a:gd name="connsiteY52" fmla="*/ 26037 h 85365"/>
              <a:gd name="connsiteX53" fmla="*/ 51646 w 140852"/>
              <a:gd name="connsiteY53" fmla="*/ 26037 h 85365"/>
              <a:gd name="connsiteX54" fmla="*/ 53780 w 140852"/>
              <a:gd name="connsiteY54" fmla="*/ 25610 h 85365"/>
              <a:gd name="connsiteX55" fmla="*/ 94755 w 140852"/>
              <a:gd name="connsiteY55" fmla="*/ 17073 h 85365"/>
              <a:gd name="connsiteX56" fmla="*/ 101585 w 140852"/>
              <a:gd name="connsiteY56" fmla="*/ 29878 h 85365"/>
              <a:gd name="connsiteX57" fmla="*/ 93475 w 140852"/>
              <a:gd name="connsiteY57" fmla="*/ 37988 h 85365"/>
              <a:gd name="connsiteX58" fmla="*/ 90487 w 140852"/>
              <a:gd name="connsiteY58" fmla="*/ 43537 h 85365"/>
              <a:gd name="connsiteX59" fmla="*/ 91768 w 140852"/>
              <a:gd name="connsiteY59" fmla="*/ 46097 h 85365"/>
              <a:gd name="connsiteX60" fmla="*/ 92621 w 140852"/>
              <a:gd name="connsiteY60" fmla="*/ 46097 h 85365"/>
              <a:gd name="connsiteX61" fmla="*/ 94755 w 140852"/>
              <a:gd name="connsiteY61" fmla="*/ 44817 h 85365"/>
              <a:gd name="connsiteX62" fmla="*/ 97316 w 140852"/>
              <a:gd name="connsiteY62" fmla="*/ 40122 h 85365"/>
              <a:gd name="connsiteX63" fmla="*/ 103719 w 140852"/>
              <a:gd name="connsiteY63" fmla="*/ 33293 h 85365"/>
              <a:gd name="connsiteX64" fmla="*/ 106707 w 140852"/>
              <a:gd name="connsiteY64" fmla="*/ 38841 h 85365"/>
              <a:gd name="connsiteX65" fmla="*/ 106707 w 140852"/>
              <a:gd name="connsiteY65" fmla="*/ 38841 h 85365"/>
              <a:gd name="connsiteX66" fmla="*/ 106707 w 140852"/>
              <a:gd name="connsiteY66" fmla="*/ 38841 h 85365"/>
              <a:gd name="connsiteX67" fmla="*/ 109694 w 140852"/>
              <a:gd name="connsiteY67" fmla="*/ 44817 h 85365"/>
              <a:gd name="connsiteX68" fmla="*/ 98597 w 140852"/>
              <a:gd name="connsiteY68" fmla="*/ 64451 h 85365"/>
              <a:gd name="connsiteX69" fmla="*/ 121646 w 140852"/>
              <a:gd name="connsiteY69" fmla="*/ 87500 h 85365"/>
              <a:gd name="connsiteX70" fmla="*/ 144694 w 140852"/>
              <a:gd name="connsiteY70" fmla="*/ 64451 h 85365"/>
              <a:gd name="connsiteX71" fmla="*/ 122072 w 140852"/>
              <a:gd name="connsiteY71" fmla="*/ 41829 h 85365"/>
              <a:gd name="connsiteX72" fmla="*/ 42256 w 140852"/>
              <a:gd name="connsiteY72" fmla="*/ 65305 h 85365"/>
              <a:gd name="connsiteX73" fmla="*/ 23475 w 140852"/>
              <a:gd name="connsiteY73" fmla="*/ 84085 h 85365"/>
              <a:gd name="connsiteX74" fmla="*/ 4268 w 140852"/>
              <a:gd name="connsiteY74" fmla="*/ 65305 h 85365"/>
              <a:gd name="connsiteX75" fmla="*/ 23049 w 140852"/>
              <a:gd name="connsiteY75" fmla="*/ 46524 h 85365"/>
              <a:gd name="connsiteX76" fmla="*/ 40975 w 140852"/>
              <a:gd name="connsiteY76" fmla="*/ 58902 h 85365"/>
              <a:gd name="connsiteX77" fmla="*/ 22622 w 140852"/>
              <a:gd name="connsiteY77" fmla="*/ 63171 h 85365"/>
              <a:gd name="connsiteX78" fmla="*/ 20914 w 140852"/>
              <a:gd name="connsiteY78" fmla="*/ 65732 h 85365"/>
              <a:gd name="connsiteX79" fmla="*/ 23049 w 140852"/>
              <a:gd name="connsiteY79" fmla="*/ 67439 h 85365"/>
              <a:gd name="connsiteX80" fmla="*/ 23475 w 140852"/>
              <a:gd name="connsiteY80" fmla="*/ 67439 h 85365"/>
              <a:gd name="connsiteX81" fmla="*/ 41829 w 140852"/>
              <a:gd name="connsiteY81" fmla="*/ 63171 h 85365"/>
              <a:gd name="connsiteX82" fmla="*/ 42256 w 140852"/>
              <a:gd name="connsiteY82" fmla="*/ 65305 h 85365"/>
              <a:gd name="connsiteX83" fmla="*/ 122072 w 140852"/>
              <a:gd name="connsiteY83" fmla="*/ 84085 h 85365"/>
              <a:gd name="connsiteX84" fmla="*/ 103292 w 140852"/>
              <a:gd name="connsiteY84" fmla="*/ 65305 h 85365"/>
              <a:gd name="connsiteX85" fmla="*/ 111829 w 140852"/>
              <a:gd name="connsiteY85" fmla="*/ 49512 h 85365"/>
              <a:gd name="connsiteX86" fmla="*/ 122072 w 140852"/>
              <a:gd name="connsiteY86" fmla="*/ 68293 h 85365"/>
              <a:gd name="connsiteX87" fmla="*/ 123780 w 140852"/>
              <a:gd name="connsiteY87" fmla="*/ 69573 h 85365"/>
              <a:gd name="connsiteX88" fmla="*/ 124633 w 140852"/>
              <a:gd name="connsiteY88" fmla="*/ 69146 h 85365"/>
              <a:gd name="connsiteX89" fmla="*/ 125487 w 140852"/>
              <a:gd name="connsiteY89" fmla="*/ 66158 h 85365"/>
              <a:gd name="connsiteX90" fmla="*/ 115243 w 140852"/>
              <a:gd name="connsiteY90" fmla="*/ 47378 h 85365"/>
              <a:gd name="connsiteX91" fmla="*/ 121646 w 140852"/>
              <a:gd name="connsiteY91" fmla="*/ 46097 h 85365"/>
              <a:gd name="connsiteX92" fmla="*/ 140426 w 140852"/>
              <a:gd name="connsiteY92" fmla="*/ 64878 h 85365"/>
              <a:gd name="connsiteX93" fmla="*/ 122072 w 140852"/>
              <a:gd name="connsiteY93" fmla="*/ 84085 h 85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40852" h="85365">
                <a:moveTo>
                  <a:pt x="122072" y="41829"/>
                </a:moveTo>
                <a:cubicBezTo>
                  <a:pt x="119085" y="41829"/>
                  <a:pt x="116097" y="42256"/>
                  <a:pt x="113536" y="43537"/>
                </a:cubicBezTo>
                <a:lnTo>
                  <a:pt x="110548" y="37561"/>
                </a:lnTo>
                <a:lnTo>
                  <a:pt x="107560" y="31585"/>
                </a:lnTo>
                <a:cubicBezTo>
                  <a:pt x="119085" y="26037"/>
                  <a:pt x="130609" y="32012"/>
                  <a:pt x="131463" y="32439"/>
                </a:cubicBezTo>
                <a:cubicBezTo>
                  <a:pt x="132316" y="32866"/>
                  <a:pt x="133597" y="32439"/>
                  <a:pt x="134450" y="31585"/>
                </a:cubicBezTo>
                <a:cubicBezTo>
                  <a:pt x="134877" y="30732"/>
                  <a:pt x="134450" y="29451"/>
                  <a:pt x="133597" y="28598"/>
                </a:cubicBezTo>
                <a:cubicBezTo>
                  <a:pt x="133597" y="28598"/>
                  <a:pt x="119085" y="21341"/>
                  <a:pt x="105853" y="27744"/>
                </a:cubicBezTo>
                <a:lnTo>
                  <a:pt x="91768" y="854"/>
                </a:lnTo>
                <a:cubicBezTo>
                  <a:pt x="90914" y="427"/>
                  <a:pt x="90060" y="0"/>
                  <a:pt x="89207" y="0"/>
                </a:cubicBezTo>
                <a:lnTo>
                  <a:pt x="78963" y="0"/>
                </a:lnTo>
                <a:cubicBezTo>
                  <a:pt x="78109" y="0"/>
                  <a:pt x="76829" y="854"/>
                  <a:pt x="76829" y="2134"/>
                </a:cubicBezTo>
                <a:cubicBezTo>
                  <a:pt x="76829" y="3415"/>
                  <a:pt x="78109" y="4268"/>
                  <a:pt x="78963" y="4268"/>
                </a:cubicBezTo>
                <a:lnTo>
                  <a:pt x="87926" y="4268"/>
                </a:lnTo>
                <a:lnTo>
                  <a:pt x="92621" y="13232"/>
                </a:lnTo>
                <a:lnTo>
                  <a:pt x="53353" y="21768"/>
                </a:lnTo>
                <a:cubicBezTo>
                  <a:pt x="52926" y="21768"/>
                  <a:pt x="52500" y="21768"/>
                  <a:pt x="52073" y="21768"/>
                </a:cubicBezTo>
                <a:lnTo>
                  <a:pt x="3415" y="20488"/>
                </a:lnTo>
                <a:cubicBezTo>
                  <a:pt x="2561" y="20488"/>
                  <a:pt x="1280" y="21341"/>
                  <a:pt x="1280" y="22622"/>
                </a:cubicBezTo>
                <a:cubicBezTo>
                  <a:pt x="1280" y="23902"/>
                  <a:pt x="2134" y="24756"/>
                  <a:pt x="3415" y="24756"/>
                </a:cubicBezTo>
                <a:lnTo>
                  <a:pt x="15366" y="25183"/>
                </a:lnTo>
                <a:lnTo>
                  <a:pt x="15366" y="31585"/>
                </a:lnTo>
                <a:cubicBezTo>
                  <a:pt x="15366" y="32439"/>
                  <a:pt x="15793" y="33293"/>
                  <a:pt x="16646" y="33293"/>
                </a:cubicBezTo>
                <a:cubicBezTo>
                  <a:pt x="20061" y="35000"/>
                  <a:pt x="22622" y="36280"/>
                  <a:pt x="24756" y="37134"/>
                </a:cubicBezTo>
                <a:cubicBezTo>
                  <a:pt x="31158" y="40122"/>
                  <a:pt x="35000" y="42256"/>
                  <a:pt x="48231" y="49512"/>
                </a:cubicBezTo>
                <a:cubicBezTo>
                  <a:pt x="50366" y="50793"/>
                  <a:pt x="52073" y="52927"/>
                  <a:pt x="52926" y="55488"/>
                </a:cubicBezTo>
                <a:lnTo>
                  <a:pt x="45244" y="57195"/>
                </a:lnTo>
                <a:cubicBezTo>
                  <a:pt x="42256" y="48232"/>
                  <a:pt x="33292" y="41402"/>
                  <a:pt x="23049" y="41402"/>
                </a:cubicBezTo>
                <a:cubicBezTo>
                  <a:pt x="10244" y="41402"/>
                  <a:pt x="0" y="51646"/>
                  <a:pt x="0" y="64451"/>
                </a:cubicBezTo>
                <a:cubicBezTo>
                  <a:pt x="0" y="77256"/>
                  <a:pt x="10244" y="87500"/>
                  <a:pt x="23049" y="87500"/>
                </a:cubicBezTo>
                <a:cubicBezTo>
                  <a:pt x="35853" y="87500"/>
                  <a:pt x="46097" y="77256"/>
                  <a:pt x="46097" y="64451"/>
                </a:cubicBezTo>
                <a:cubicBezTo>
                  <a:pt x="46097" y="63171"/>
                  <a:pt x="46097" y="62317"/>
                  <a:pt x="45670" y="61036"/>
                </a:cubicBezTo>
                <a:lnTo>
                  <a:pt x="53780" y="58902"/>
                </a:lnTo>
                <a:cubicBezTo>
                  <a:pt x="54634" y="61890"/>
                  <a:pt x="54634" y="64878"/>
                  <a:pt x="54634" y="64878"/>
                </a:cubicBezTo>
                <a:cubicBezTo>
                  <a:pt x="54634" y="65305"/>
                  <a:pt x="54634" y="66158"/>
                  <a:pt x="55061" y="66585"/>
                </a:cubicBezTo>
                <a:cubicBezTo>
                  <a:pt x="55487" y="67012"/>
                  <a:pt x="55914" y="67439"/>
                  <a:pt x="56768" y="67439"/>
                </a:cubicBezTo>
                <a:cubicBezTo>
                  <a:pt x="56768" y="67439"/>
                  <a:pt x="56768" y="67439"/>
                  <a:pt x="56768" y="67439"/>
                </a:cubicBezTo>
                <a:lnTo>
                  <a:pt x="74268" y="67439"/>
                </a:lnTo>
                <a:cubicBezTo>
                  <a:pt x="74695" y="67439"/>
                  <a:pt x="75548" y="67012"/>
                  <a:pt x="75548" y="67012"/>
                </a:cubicBezTo>
                <a:lnTo>
                  <a:pt x="89207" y="53780"/>
                </a:lnTo>
                <a:cubicBezTo>
                  <a:pt x="89207" y="53780"/>
                  <a:pt x="89634" y="53354"/>
                  <a:pt x="89634" y="52927"/>
                </a:cubicBezTo>
                <a:cubicBezTo>
                  <a:pt x="90060" y="52073"/>
                  <a:pt x="90060" y="51219"/>
                  <a:pt x="89207" y="50366"/>
                </a:cubicBezTo>
                <a:cubicBezTo>
                  <a:pt x="81524" y="42256"/>
                  <a:pt x="70426" y="43963"/>
                  <a:pt x="70000" y="43963"/>
                </a:cubicBezTo>
                <a:cubicBezTo>
                  <a:pt x="68719" y="43963"/>
                  <a:pt x="67865" y="45244"/>
                  <a:pt x="68292" y="46524"/>
                </a:cubicBezTo>
                <a:cubicBezTo>
                  <a:pt x="68292" y="47805"/>
                  <a:pt x="69573" y="48658"/>
                  <a:pt x="70853" y="48232"/>
                </a:cubicBezTo>
                <a:cubicBezTo>
                  <a:pt x="70853" y="48232"/>
                  <a:pt x="78963" y="46951"/>
                  <a:pt x="84512" y="51646"/>
                </a:cubicBezTo>
                <a:lnTo>
                  <a:pt x="72987" y="62744"/>
                </a:lnTo>
                <a:lnTo>
                  <a:pt x="58475" y="62744"/>
                </a:lnTo>
                <a:cubicBezTo>
                  <a:pt x="58048" y="58476"/>
                  <a:pt x="56768" y="49512"/>
                  <a:pt x="49512" y="45244"/>
                </a:cubicBezTo>
                <a:cubicBezTo>
                  <a:pt x="36280" y="37561"/>
                  <a:pt x="32439" y="35427"/>
                  <a:pt x="26036" y="32439"/>
                </a:cubicBezTo>
                <a:cubicBezTo>
                  <a:pt x="23902" y="31585"/>
                  <a:pt x="21768" y="30305"/>
                  <a:pt x="19207" y="29024"/>
                </a:cubicBezTo>
                <a:lnTo>
                  <a:pt x="19207" y="25183"/>
                </a:lnTo>
                <a:lnTo>
                  <a:pt x="51219" y="26037"/>
                </a:lnTo>
                <a:cubicBezTo>
                  <a:pt x="51219" y="26037"/>
                  <a:pt x="51219" y="26037"/>
                  <a:pt x="51646" y="26037"/>
                </a:cubicBezTo>
                <a:cubicBezTo>
                  <a:pt x="52500" y="26037"/>
                  <a:pt x="52926" y="26037"/>
                  <a:pt x="53780" y="25610"/>
                </a:cubicBezTo>
                <a:lnTo>
                  <a:pt x="94755" y="17073"/>
                </a:lnTo>
                <a:lnTo>
                  <a:pt x="101585" y="29878"/>
                </a:lnTo>
                <a:cubicBezTo>
                  <a:pt x="98597" y="32012"/>
                  <a:pt x="96036" y="34573"/>
                  <a:pt x="93475" y="37988"/>
                </a:cubicBezTo>
                <a:cubicBezTo>
                  <a:pt x="93475" y="37988"/>
                  <a:pt x="91768" y="40549"/>
                  <a:pt x="90487" y="43537"/>
                </a:cubicBezTo>
                <a:cubicBezTo>
                  <a:pt x="90060" y="44817"/>
                  <a:pt x="90487" y="45671"/>
                  <a:pt x="91768" y="46097"/>
                </a:cubicBezTo>
                <a:cubicBezTo>
                  <a:pt x="92195" y="46097"/>
                  <a:pt x="92195" y="46097"/>
                  <a:pt x="92621" y="46097"/>
                </a:cubicBezTo>
                <a:cubicBezTo>
                  <a:pt x="93475" y="46097"/>
                  <a:pt x="94329" y="45671"/>
                  <a:pt x="94755" y="44817"/>
                </a:cubicBezTo>
                <a:cubicBezTo>
                  <a:pt x="95609" y="42256"/>
                  <a:pt x="97316" y="40549"/>
                  <a:pt x="97316" y="40122"/>
                </a:cubicBezTo>
                <a:cubicBezTo>
                  <a:pt x="99451" y="37134"/>
                  <a:pt x="101585" y="35000"/>
                  <a:pt x="103719" y="33293"/>
                </a:cubicBezTo>
                <a:lnTo>
                  <a:pt x="106707" y="38841"/>
                </a:lnTo>
                <a:cubicBezTo>
                  <a:pt x="106707" y="38841"/>
                  <a:pt x="106707" y="38841"/>
                  <a:pt x="106707" y="38841"/>
                </a:cubicBezTo>
                <a:cubicBezTo>
                  <a:pt x="106707" y="38841"/>
                  <a:pt x="106707" y="38841"/>
                  <a:pt x="106707" y="38841"/>
                </a:cubicBezTo>
                <a:lnTo>
                  <a:pt x="109694" y="44817"/>
                </a:lnTo>
                <a:cubicBezTo>
                  <a:pt x="103292" y="49085"/>
                  <a:pt x="98597" y="56341"/>
                  <a:pt x="98597" y="64451"/>
                </a:cubicBezTo>
                <a:cubicBezTo>
                  <a:pt x="98597" y="77256"/>
                  <a:pt x="108841" y="87500"/>
                  <a:pt x="121646" y="87500"/>
                </a:cubicBezTo>
                <a:cubicBezTo>
                  <a:pt x="134450" y="87500"/>
                  <a:pt x="144694" y="77256"/>
                  <a:pt x="144694" y="64451"/>
                </a:cubicBezTo>
                <a:cubicBezTo>
                  <a:pt x="144694" y="51646"/>
                  <a:pt x="134877" y="41829"/>
                  <a:pt x="122072" y="41829"/>
                </a:cubicBezTo>
                <a:close/>
                <a:moveTo>
                  <a:pt x="42256" y="65305"/>
                </a:moveTo>
                <a:cubicBezTo>
                  <a:pt x="42256" y="75975"/>
                  <a:pt x="33719" y="84085"/>
                  <a:pt x="23475" y="84085"/>
                </a:cubicBezTo>
                <a:cubicBezTo>
                  <a:pt x="13232" y="84085"/>
                  <a:pt x="4268" y="75549"/>
                  <a:pt x="4268" y="65305"/>
                </a:cubicBezTo>
                <a:cubicBezTo>
                  <a:pt x="4268" y="54634"/>
                  <a:pt x="12805" y="46524"/>
                  <a:pt x="23049" y="46524"/>
                </a:cubicBezTo>
                <a:cubicBezTo>
                  <a:pt x="31158" y="46524"/>
                  <a:pt x="37988" y="51646"/>
                  <a:pt x="40975" y="58902"/>
                </a:cubicBezTo>
                <a:lnTo>
                  <a:pt x="22622" y="63171"/>
                </a:lnTo>
                <a:cubicBezTo>
                  <a:pt x="21341" y="63597"/>
                  <a:pt x="20914" y="64451"/>
                  <a:pt x="20914" y="65732"/>
                </a:cubicBezTo>
                <a:cubicBezTo>
                  <a:pt x="21341" y="66585"/>
                  <a:pt x="22195" y="67439"/>
                  <a:pt x="23049" y="67439"/>
                </a:cubicBezTo>
                <a:cubicBezTo>
                  <a:pt x="23049" y="67439"/>
                  <a:pt x="23475" y="67439"/>
                  <a:pt x="23475" y="67439"/>
                </a:cubicBezTo>
                <a:lnTo>
                  <a:pt x="41829" y="63171"/>
                </a:lnTo>
                <a:cubicBezTo>
                  <a:pt x="42256" y="63597"/>
                  <a:pt x="42256" y="64451"/>
                  <a:pt x="42256" y="65305"/>
                </a:cubicBezTo>
                <a:close/>
                <a:moveTo>
                  <a:pt x="122072" y="84085"/>
                </a:moveTo>
                <a:cubicBezTo>
                  <a:pt x="111402" y="84085"/>
                  <a:pt x="103292" y="75549"/>
                  <a:pt x="103292" y="65305"/>
                </a:cubicBezTo>
                <a:cubicBezTo>
                  <a:pt x="103292" y="58476"/>
                  <a:pt x="106707" y="52927"/>
                  <a:pt x="111829" y="49512"/>
                </a:cubicBezTo>
                <a:lnTo>
                  <a:pt x="122072" y="68293"/>
                </a:lnTo>
                <a:cubicBezTo>
                  <a:pt x="122499" y="69146"/>
                  <a:pt x="123353" y="69573"/>
                  <a:pt x="123780" y="69573"/>
                </a:cubicBezTo>
                <a:cubicBezTo>
                  <a:pt x="124207" y="69573"/>
                  <a:pt x="124633" y="69573"/>
                  <a:pt x="124633" y="69146"/>
                </a:cubicBezTo>
                <a:cubicBezTo>
                  <a:pt x="125487" y="68719"/>
                  <a:pt x="125914" y="67439"/>
                  <a:pt x="125487" y="66158"/>
                </a:cubicBezTo>
                <a:lnTo>
                  <a:pt x="115243" y="47378"/>
                </a:lnTo>
                <a:cubicBezTo>
                  <a:pt x="117377" y="46524"/>
                  <a:pt x="119511" y="46097"/>
                  <a:pt x="121646" y="46097"/>
                </a:cubicBezTo>
                <a:cubicBezTo>
                  <a:pt x="132316" y="46097"/>
                  <a:pt x="140426" y="54634"/>
                  <a:pt x="140426" y="64878"/>
                </a:cubicBezTo>
                <a:cubicBezTo>
                  <a:pt x="140853" y="75549"/>
                  <a:pt x="132316" y="84085"/>
                  <a:pt x="122072" y="84085"/>
                </a:cubicBezTo>
                <a:close/>
              </a:path>
            </a:pathLst>
          </a:custGeom>
          <a:solidFill>
            <a:srgbClr val="231F20"/>
          </a:solidFill>
          <a:ln w="4202" cap="flat">
            <a:noFill/>
            <a:prstDash val="solid"/>
            <a:miter/>
          </a:ln>
        </p:spPr>
        <p:txBody>
          <a:bodyPr rtlCol="0" anchor="ctr"/>
          <a:lstStyle/>
          <a:p>
            <a:endParaRPr lang="en-US"/>
          </a:p>
        </p:txBody>
      </p:sp>
      <p:sp>
        <p:nvSpPr>
          <p:cNvPr id="4987" name="Graphic 2891">
            <a:extLst>
              <a:ext uri="{FF2B5EF4-FFF2-40B4-BE49-F238E27FC236}">
                <a16:creationId xmlns:a16="http://schemas.microsoft.com/office/drawing/2014/main" id="{66691A07-DF8B-4741-85A7-7958EE9D3565}"/>
              </a:ext>
              <a:ext uri="{C183D7F6-B498-43B3-948B-1728B52AA6E4}">
                <adec:decorative xmlns:adec="http://schemas.microsoft.com/office/drawing/2017/decorative" val="1"/>
              </a:ext>
            </a:extLst>
          </p:cNvPr>
          <p:cNvSpPr>
            <a:spLocks noChangeAspect="1"/>
          </p:cNvSpPr>
          <p:nvPr/>
        </p:nvSpPr>
        <p:spPr>
          <a:xfrm>
            <a:off x="1638848" y="3157586"/>
            <a:ext cx="147896" cy="71707"/>
          </a:xfrm>
          <a:custGeom>
            <a:avLst/>
            <a:gdLst>
              <a:gd name="connsiteX0" fmla="*/ 137140 w 147896"/>
              <a:gd name="connsiteY0" fmla="*/ 26890 h 71707"/>
              <a:gd name="connsiteX1" fmla="*/ 117869 w 147896"/>
              <a:gd name="connsiteY1" fmla="*/ 26890 h 71707"/>
              <a:gd name="connsiteX2" fmla="*/ 117421 w 147896"/>
              <a:gd name="connsiteY2" fmla="*/ 26442 h 71707"/>
              <a:gd name="connsiteX3" fmla="*/ 103976 w 147896"/>
              <a:gd name="connsiteY3" fmla="*/ 8515 h 71707"/>
              <a:gd name="connsiteX4" fmla="*/ 86497 w 147896"/>
              <a:gd name="connsiteY4" fmla="*/ 0 h 71707"/>
              <a:gd name="connsiteX5" fmla="*/ 76189 w 147896"/>
              <a:gd name="connsiteY5" fmla="*/ 0 h 71707"/>
              <a:gd name="connsiteX6" fmla="*/ 76189 w 147896"/>
              <a:gd name="connsiteY6" fmla="*/ 0 h 71707"/>
              <a:gd name="connsiteX7" fmla="*/ 76189 w 147896"/>
              <a:gd name="connsiteY7" fmla="*/ 0 h 71707"/>
              <a:gd name="connsiteX8" fmla="*/ 47506 w 147896"/>
              <a:gd name="connsiteY8" fmla="*/ 0 h 71707"/>
              <a:gd name="connsiteX9" fmla="*/ 47506 w 147896"/>
              <a:gd name="connsiteY9" fmla="*/ 0 h 71707"/>
              <a:gd name="connsiteX10" fmla="*/ 20616 w 147896"/>
              <a:gd name="connsiteY10" fmla="*/ 0 h 71707"/>
              <a:gd name="connsiteX11" fmla="*/ 11204 w 147896"/>
              <a:gd name="connsiteY11" fmla="*/ 5826 h 71707"/>
              <a:gd name="connsiteX12" fmla="*/ 0 w 147896"/>
              <a:gd name="connsiteY12" fmla="*/ 28235 h 71707"/>
              <a:gd name="connsiteX13" fmla="*/ 0 w 147896"/>
              <a:gd name="connsiteY13" fmla="*/ 28235 h 71707"/>
              <a:gd name="connsiteX14" fmla="*/ 0 w 147896"/>
              <a:gd name="connsiteY14" fmla="*/ 28683 h 71707"/>
              <a:gd name="connsiteX15" fmla="*/ 0 w 147896"/>
              <a:gd name="connsiteY15" fmla="*/ 29131 h 71707"/>
              <a:gd name="connsiteX16" fmla="*/ 0 w 147896"/>
              <a:gd name="connsiteY16" fmla="*/ 29131 h 71707"/>
              <a:gd name="connsiteX17" fmla="*/ 0 w 147896"/>
              <a:gd name="connsiteY17" fmla="*/ 29579 h 71707"/>
              <a:gd name="connsiteX18" fmla="*/ 0 w 147896"/>
              <a:gd name="connsiteY18" fmla="*/ 29579 h 71707"/>
              <a:gd name="connsiteX19" fmla="*/ 0 w 147896"/>
              <a:gd name="connsiteY19" fmla="*/ 41680 h 71707"/>
              <a:gd name="connsiteX20" fmla="*/ 896 w 147896"/>
              <a:gd name="connsiteY20" fmla="*/ 44817 h 71707"/>
              <a:gd name="connsiteX21" fmla="*/ 5826 w 147896"/>
              <a:gd name="connsiteY21" fmla="*/ 54677 h 71707"/>
              <a:gd name="connsiteX22" fmla="*/ 11652 w 147896"/>
              <a:gd name="connsiteY22" fmla="*/ 58262 h 71707"/>
              <a:gd name="connsiteX23" fmla="*/ 20168 w 147896"/>
              <a:gd name="connsiteY23" fmla="*/ 58262 h 71707"/>
              <a:gd name="connsiteX24" fmla="*/ 35405 w 147896"/>
              <a:gd name="connsiteY24" fmla="*/ 71707 h 71707"/>
              <a:gd name="connsiteX25" fmla="*/ 50643 w 147896"/>
              <a:gd name="connsiteY25" fmla="*/ 58262 h 71707"/>
              <a:gd name="connsiteX26" fmla="*/ 100390 w 147896"/>
              <a:gd name="connsiteY26" fmla="*/ 58262 h 71707"/>
              <a:gd name="connsiteX27" fmla="*/ 115628 w 147896"/>
              <a:gd name="connsiteY27" fmla="*/ 71707 h 71707"/>
              <a:gd name="connsiteX28" fmla="*/ 130866 w 147896"/>
              <a:gd name="connsiteY28" fmla="*/ 58262 h 71707"/>
              <a:gd name="connsiteX29" fmla="*/ 144311 w 147896"/>
              <a:gd name="connsiteY29" fmla="*/ 58262 h 71707"/>
              <a:gd name="connsiteX30" fmla="*/ 151033 w 147896"/>
              <a:gd name="connsiteY30" fmla="*/ 51539 h 71707"/>
              <a:gd name="connsiteX31" fmla="*/ 151033 w 147896"/>
              <a:gd name="connsiteY31" fmla="*/ 42576 h 71707"/>
              <a:gd name="connsiteX32" fmla="*/ 137140 w 147896"/>
              <a:gd name="connsiteY32" fmla="*/ 26890 h 71707"/>
              <a:gd name="connsiteX33" fmla="*/ 100390 w 147896"/>
              <a:gd name="connsiteY33" fmla="*/ 11204 h 71707"/>
              <a:gd name="connsiteX34" fmla="*/ 112043 w 147896"/>
              <a:gd name="connsiteY34" fmla="*/ 26890 h 71707"/>
              <a:gd name="connsiteX35" fmla="*/ 78430 w 147896"/>
              <a:gd name="connsiteY35" fmla="*/ 26890 h 71707"/>
              <a:gd name="connsiteX36" fmla="*/ 78430 w 147896"/>
              <a:gd name="connsiteY36" fmla="*/ 4482 h 71707"/>
              <a:gd name="connsiteX37" fmla="*/ 86497 w 147896"/>
              <a:gd name="connsiteY37" fmla="*/ 4482 h 71707"/>
              <a:gd name="connsiteX38" fmla="*/ 100390 w 147896"/>
              <a:gd name="connsiteY38" fmla="*/ 11204 h 71707"/>
              <a:gd name="connsiteX39" fmla="*/ 73948 w 147896"/>
              <a:gd name="connsiteY39" fmla="*/ 4482 h 71707"/>
              <a:gd name="connsiteX40" fmla="*/ 73948 w 147896"/>
              <a:gd name="connsiteY40" fmla="*/ 26890 h 71707"/>
              <a:gd name="connsiteX41" fmla="*/ 39439 w 147896"/>
              <a:gd name="connsiteY41" fmla="*/ 26890 h 71707"/>
              <a:gd name="connsiteX42" fmla="*/ 49299 w 147896"/>
              <a:gd name="connsiteY42" fmla="*/ 4482 h 71707"/>
              <a:gd name="connsiteX43" fmla="*/ 73948 w 147896"/>
              <a:gd name="connsiteY43" fmla="*/ 4482 h 71707"/>
              <a:gd name="connsiteX44" fmla="*/ 15238 w 147896"/>
              <a:gd name="connsiteY44" fmla="*/ 7619 h 71707"/>
              <a:gd name="connsiteX45" fmla="*/ 20616 w 147896"/>
              <a:gd name="connsiteY45" fmla="*/ 4482 h 71707"/>
              <a:gd name="connsiteX46" fmla="*/ 43921 w 147896"/>
              <a:gd name="connsiteY46" fmla="*/ 4482 h 71707"/>
              <a:gd name="connsiteX47" fmla="*/ 34509 w 147896"/>
              <a:gd name="connsiteY47" fmla="*/ 26890 h 71707"/>
              <a:gd name="connsiteX48" fmla="*/ 5826 w 147896"/>
              <a:gd name="connsiteY48" fmla="*/ 26890 h 71707"/>
              <a:gd name="connsiteX49" fmla="*/ 15238 w 147896"/>
              <a:gd name="connsiteY49" fmla="*/ 7619 h 71707"/>
              <a:gd name="connsiteX50" fmla="*/ 35854 w 147896"/>
              <a:gd name="connsiteY50" fmla="*/ 67225 h 71707"/>
              <a:gd name="connsiteX51" fmla="*/ 24649 w 147896"/>
              <a:gd name="connsiteY51" fmla="*/ 56021 h 71707"/>
              <a:gd name="connsiteX52" fmla="*/ 35854 w 147896"/>
              <a:gd name="connsiteY52" fmla="*/ 44817 h 71707"/>
              <a:gd name="connsiteX53" fmla="*/ 47058 w 147896"/>
              <a:gd name="connsiteY53" fmla="*/ 56021 h 71707"/>
              <a:gd name="connsiteX54" fmla="*/ 35854 w 147896"/>
              <a:gd name="connsiteY54" fmla="*/ 67225 h 71707"/>
              <a:gd name="connsiteX55" fmla="*/ 116524 w 147896"/>
              <a:gd name="connsiteY55" fmla="*/ 67225 h 71707"/>
              <a:gd name="connsiteX56" fmla="*/ 105320 w 147896"/>
              <a:gd name="connsiteY56" fmla="*/ 56021 h 71707"/>
              <a:gd name="connsiteX57" fmla="*/ 116524 w 147896"/>
              <a:gd name="connsiteY57" fmla="*/ 44817 h 71707"/>
              <a:gd name="connsiteX58" fmla="*/ 127729 w 147896"/>
              <a:gd name="connsiteY58" fmla="*/ 56021 h 71707"/>
              <a:gd name="connsiteX59" fmla="*/ 116524 w 147896"/>
              <a:gd name="connsiteY59" fmla="*/ 67225 h 71707"/>
              <a:gd name="connsiteX60" fmla="*/ 147896 w 147896"/>
              <a:gd name="connsiteY60" fmla="*/ 51539 h 71707"/>
              <a:gd name="connsiteX61" fmla="*/ 145655 w 147896"/>
              <a:gd name="connsiteY61" fmla="*/ 53780 h 71707"/>
              <a:gd name="connsiteX62" fmla="*/ 132210 w 147896"/>
              <a:gd name="connsiteY62" fmla="*/ 53780 h 71707"/>
              <a:gd name="connsiteX63" fmla="*/ 116973 w 147896"/>
              <a:gd name="connsiteY63" fmla="*/ 40335 h 71707"/>
              <a:gd name="connsiteX64" fmla="*/ 101735 w 147896"/>
              <a:gd name="connsiteY64" fmla="*/ 53780 h 71707"/>
              <a:gd name="connsiteX65" fmla="*/ 51988 w 147896"/>
              <a:gd name="connsiteY65" fmla="*/ 53780 h 71707"/>
              <a:gd name="connsiteX66" fmla="*/ 35854 w 147896"/>
              <a:gd name="connsiteY66" fmla="*/ 40335 h 71707"/>
              <a:gd name="connsiteX67" fmla="*/ 20616 w 147896"/>
              <a:gd name="connsiteY67" fmla="*/ 53780 h 71707"/>
              <a:gd name="connsiteX68" fmla="*/ 12101 w 147896"/>
              <a:gd name="connsiteY68" fmla="*/ 53780 h 71707"/>
              <a:gd name="connsiteX69" fmla="*/ 10308 w 147896"/>
              <a:gd name="connsiteY69" fmla="*/ 52436 h 71707"/>
              <a:gd name="connsiteX70" fmla="*/ 4930 w 147896"/>
              <a:gd name="connsiteY70" fmla="*/ 42576 h 71707"/>
              <a:gd name="connsiteX71" fmla="*/ 4482 w 147896"/>
              <a:gd name="connsiteY71" fmla="*/ 41680 h 71707"/>
              <a:gd name="connsiteX72" fmla="*/ 4482 w 147896"/>
              <a:gd name="connsiteY72" fmla="*/ 31372 h 71707"/>
              <a:gd name="connsiteX73" fmla="*/ 35854 w 147896"/>
              <a:gd name="connsiteY73" fmla="*/ 31372 h 71707"/>
              <a:gd name="connsiteX74" fmla="*/ 35854 w 147896"/>
              <a:gd name="connsiteY74" fmla="*/ 31372 h 71707"/>
              <a:gd name="connsiteX75" fmla="*/ 35854 w 147896"/>
              <a:gd name="connsiteY75" fmla="*/ 31372 h 71707"/>
              <a:gd name="connsiteX76" fmla="*/ 76189 w 147896"/>
              <a:gd name="connsiteY76" fmla="*/ 31372 h 71707"/>
              <a:gd name="connsiteX77" fmla="*/ 76189 w 147896"/>
              <a:gd name="connsiteY77" fmla="*/ 31372 h 71707"/>
              <a:gd name="connsiteX78" fmla="*/ 76189 w 147896"/>
              <a:gd name="connsiteY78" fmla="*/ 31372 h 71707"/>
              <a:gd name="connsiteX79" fmla="*/ 137140 w 147896"/>
              <a:gd name="connsiteY79" fmla="*/ 31372 h 71707"/>
              <a:gd name="connsiteX80" fmla="*/ 147896 w 147896"/>
              <a:gd name="connsiteY80" fmla="*/ 42576 h 71707"/>
              <a:gd name="connsiteX81" fmla="*/ 147896 w 147896"/>
              <a:gd name="connsiteY81" fmla="*/ 51539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47896" h="71707">
                <a:moveTo>
                  <a:pt x="137140" y="26890"/>
                </a:moveTo>
                <a:lnTo>
                  <a:pt x="117869" y="26890"/>
                </a:lnTo>
                <a:cubicBezTo>
                  <a:pt x="117869" y="26890"/>
                  <a:pt x="117869" y="26442"/>
                  <a:pt x="117421" y="26442"/>
                </a:cubicBezTo>
                <a:lnTo>
                  <a:pt x="103976" y="8515"/>
                </a:lnTo>
                <a:cubicBezTo>
                  <a:pt x="99942" y="3137"/>
                  <a:pt x="93219" y="0"/>
                  <a:pt x="86497" y="0"/>
                </a:cubicBezTo>
                <a:lnTo>
                  <a:pt x="76189" y="0"/>
                </a:lnTo>
                <a:cubicBezTo>
                  <a:pt x="76189" y="0"/>
                  <a:pt x="76189" y="0"/>
                  <a:pt x="76189" y="0"/>
                </a:cubicBezTo>
                <a:cubicBezTo>
                  <a:pt x="76189" y="0"/>
                  <a:pt x="76189" y="0"/>
                  <a:pt x="76189" y="0"/>
                </a:cubicBezTo>
                <a:lnTo>
                  <a:pt x="47506" y="0"/>
                </a:lnTo>
                <a:cubicBezTo>
                  <a:pt x="47506" y="0"/>
                  <a:pt x="47506" y="0"/>
                  <a:pt x="47506" y="0"/>
                </a:cubicBezTo>
                <a:lnTo>
                  <a:pt x="20616" y="0"/>
                </a:lnTo>
                <a:cubicBezTo>
                  <a:pt x="16582" y="0"/>
                  <a:pt x="12997" y="2241"/>
                  <a:pt x="11204" y="5826"/>
                </a:cubicBezTo>
                <a:lnTo>
                  <a:pt x="0" y="28235"/>
                </a:lnTo>
                <a:cubicBezTo>
                  <a:pt x="0" y="28235"/>
                  <a:pt x="0" y="28235"/>
                  <a:pt x="0" y="28235"/>
                </a:cubicBezTo>
                <a:cubicBezTo>
                  <a:pt x="0" y="28235"/>
                  <a:pt x="0" y="28683"/>
                  <a:pt x="0" y="28683"/>
                </a:cubicBezTo>
                <a:cubicBezTo>
                  <a:pt x="0" y="28683"/>
                  <a:pt x="0" y="29131"/>
                  <a:pt x="0" y="29131"/>
                </a:cubicBezTo>
                <a:cubicBezTo>
                  <a:pt x="0" y="29131"/>
                  <a:pt x="0" y="29131"/>
                  <a:pt x="0" y="29131"/>
                </a:cubicBezTo>
                <a:cubicBezTo>
                  <a:pt x="0" y="29131"/>
                  <a:pt x="0" y="29131"/>
                  <a:pt x="0" y="29579"/>
                </a:cubicBezTo>
                <a:cubicBezTo>
                  <a:pt x="0" y="29579"/>
                  <a:pt x="0" y="29579"/>
                  <a:pt x="0" y="29579"/>
                </a:cubicBezTo>
                <a:lnTo>
                  <a:pt x="0" y="41680"/>
                </a:lnTo>
                <a:cubicBezTo>
                  <a:pt x="0" y="42576"/>
                  <a:pt x="448" y="43921"/>
                  <a:pt x="896" y="44817"/>
                </a:cubicBezTo>
                <a:lnTo>
                  <a:pt x="5826" y="54677"/>
                </a:lnTo>
                <a:cubicBezTo>
                  <a:pt x="6723" y="56917"/>
                  <a:pt x="9412" y="58262"/>
                  <a:pt x="11652" y="58262"/>
                </a:cubicBezTo>
                <a:lnTo>
                  <a:pt x="20168" y="58262"/>
                </a:lnTo>
                <a:cubicBezTo>
                  <a:pt x="21064" y="65881"/>
                  <a:pt x="27787" y="71707"/>
                  <a:pt x="35405" y="71707"/>
                </a:cubicBezTo>
                <a:cubicBezTo>
                  <a:pt x="43473" y="71707"/>
                  <a:pt x="49747" y="65881"/>
                  <a:pt x="50643" y="58262"/>
                </a:cubicBezTo>
                <a:lnTo>
                  <a:pt x="100390" y="58262"/>
                </a:lnTo>
                <a:cubicBezTo>
                  <a:pt x="101287" y="65881"/>
                  <a:pt x="108009" y="71707"/>
                  <a:pt x="115628" y="71707"/>
                </a:cubicBezTo>
                <a:cubicBezTo>
                  <a:pt x="123695" y="71707"/>
                  <a:pt x="129969" y="65881"/>
                  <a:pt x="130866" y="58262"/>
                </a:cubicBezTo>
                <a:lnTo>
                  <a:pt x="144311" y="58262"/>
                </a:lnTo>
                <a:cubicBezTo>
                  <a:pt x="147896" y="58262"/>
                  <a:pt x="151033" y="55125"/>
                  <a:pt x="151033" y="51539"/>
                </a:cubicBezTo>
                <a:lnTo>
                  <a:pt x="151033" y="42576"/>
                </a:lnTo>
                <a:cubicBezTo>
                  <a:pt x="152378" y="34061"/>
                  <a:pt x="145655" y="26890"/>
                  <a:pt x="137140" y="26890"/>
                </a:cubicBezTo>
                <a:close/>
                <a:moveTo>
                  <a:pt x="100390" y="11204"/>
                </a:moveTo>
                <a:lnTo>
                  <a:pt x="112043" y="26890"/>
                </a:lnTo>
                <a:lnTo>
                  <a:pt x="78430" y="26890"/>
                </a:lnTo>
                <a:lnTo>
                  <a:pt x="78430" y="4482"/>
                </a:lnTo>
                <a:lnTo>
                  <a:pt x="86497" y="4482"/>
                </a:lnTo>
                <a:cubicBezTo>
                  <a:pt x="91875" y="4482"/>
                  <a:pt x="97253" y="7171"/>
                  <a:pt x="100390" y="11204"/>
                </a:cubicBezTo>
                <a:close/>
                <a:moveTo>
                  <a:pt x="73948" y="4482"/>
                </a:moveTo>
                <a:lnTo>
                  <a:pt x="73948" y="26890"/>
                </a:lnTo>
                <a:lnTo>
                  <a:pt x="39439" y="26890"/>
                </a:lnTo>
                <a:lnTo>
                  <a:pt x="49299" y="4482"/>
                </a:lnTo>
                <a:lnTo>
                  <a:pt x="73948" y="4482"/>
                </a:lnTo>
                <a:close/>
                <a:moveTo>
                  <a:pt x="15238" y="7619"/>
                </a:moveTo>
                <a:cubicBezTo>
                  <a:pt x="16582" y="5826"/>
                  <a:pt x="18375" y="4482"/>
                  <a:pt x="20616" y="4482"/>
                </a:cubicBezTo>
                <a:lnTo>
                  <a:pt x="43921" y="4482"/>
                </a:lnTo>
                <a:lnTo>
                  <a:pt x="34509" y="26890"/>
                </a:lnTo>
                <a:lnTo>
                  <a:pt x="5826" y="26890"/>
                </a:lnTo>
                <a:lnTo>
                  <a:pt x="15238" y="7619"/>
                </a:lnTo>
                <a:close/>
                <a:moveTo>
                  <a:pt x="35854" y="67225"/>
                </a:moveTo>
                <a:cubicBezTo>
                  <a:pt x="29579" y="67225"/>
                  <a:pt x="24649" y="62295"/>
                  <a:pt x="24649" y="56021"/>
                </a:cubicBezTo>
                <a:cubicBezTo>
                  <a:pt x="24649" y="49747"/>
                  <a:pt x="29579" y="44817"/>
                  <a:pt x="35854" y="44817"/>
                </a:cubicBezTo>
                <a:cubicBezTo>
                  <a:pt x="42128" y="44817"/>
                  <a:pt x="47058" y="49747"/>
                  <a:pt x="47058" y="56021"/>
                </a:cubicBezTo>
                <a:cubicBezTo>
                  <a:pt x="47058" y="62295"/>
                  <a:pt x="42128" y="67225"/>
                  <a:pt x="35854" y="67225"/>
                </a:cubicBezTo>
                <a:close/>
                <a:moveTo>
                  <a:pt x="116524" y="67225"/>
                </a:moveTo>
                <a:cubicBezTo>
                  <a:pt x="110250" y="67225"/>
                  <a:pt x="105320" y="62295"/>
                  <a:pt x="105320" y="56021"/>
                </a:cubicBezTo>
                <a:cubicBezTo>
                  <a:pt x="105320" y="49747"/>
                  <a:pt x="110698" y="44817"/>
                  <a:pt x="116524" y="44817"/>
                </a:cubicBezTo>
                <a:cubicBezTo>
                  <a:pt x="122799" y="44817"/>
                  <a:pt x="127729" y="49747"/>
                  <a:pt x="127729" y="56021"/>
                </a:cubicBezTo>
                <a:cubicBezTo>
                  <a:pt x="127729" y="62295"/>
                  <a:pt x="122799" y="67225"/>
                  <a:pt x="116524" y="67225"/>
                </a:cubicBezTo>
                <a:close/>
                <a:moveTo>
                  <a:pt x="147896" y="51539"/>
                </a:moveTo>
                <a:cubicBezTo>
                  <a:pt x="147896" y="52884"/>
                  <a:pt x="147000" y="53780"/>
                  <a:pt x="145655" y="53780"/>
                </a:cubicBezTo>
                <a:lnTo>
                  <a:pt x="132210" y="53780"/>
                </a:lnTo>
                <a:cubicBezTo>
                  <a:pt x="131314" y="46161"/>
                  <a:pt x="124591" y="40335"/>
                  <a:pt x="116973" y="40335"/>
                </a:cubicBezTo>
                <a:cubicBezTo>
                  <a:pt x="108905" y="40335"/>
                  <a:pt x="102631" y="46161"/>
                  <a:pt x="101735" y="53780"/>
                </a:cubicBezTo>
                <a:lnTo>
                  <a:pt x="51988" y="53780"/>
                </a:lnTo>
                <a:cubicBezTo>
                  <a:pt x="50195" y="46161"/>
                  <a:pt x="43921" y="40335"/>
                  <a:pt x="35854" y="40335"/>
                </a:cubicBezTo>
                <a:cubicBezTo>
                  <a:pt x="27787" y="40335"/>
                  <a:pt x="21512" y="46161"/>
                  <a:pt x="20616" y="53780"/>
                </a:cubicBezTo>
                <a:lnTo>
                  <a:pt x="12101" y="53780"/>
                </a:lnTo>
                <a:cubicBezTo>
                  <a:pt x="11204" y="53780"/>
                  <a:pt x="10308" y="53332"/>
                  <a:pt x="10308" y="52436"/>
                </a:cubicBezTo>
                <a:lnTo>
                  <a:pt x="4930" y="42576"/>
                </a:lnTo>
                <a:cubicBezTo>
                  <a:pt x="4482" y="42128"/>
                  <a:pt x="4482" y="41680"/>
                  <a:pt x="4482" y="41680"/>
                </a:cubicBezTo>
                <a:lnTo>
                  <a:pt x="4482" y="31372"/>
                </a:lnTo>
                <a:lnTo>
                  <a:pt x="35854" y="31372"/>
                </a:lnTo>
                <a:cubicBezTo>
                  <a:pt x="35854" y="31372"/>
                  <a:pt x="35854" y="31372"/>
                  <a:pt x="35854" y="31372"/>
                </a:cubicBezTo>
                <a:cubicBezTo>
                  <a:pt x="35854" y="31372"/>
                  <a:pt x="35854" y="31372"/>
                  <a:pt x="35854" y="31372"/>
                </a:cubicBezTo>
                <a:lnTo>
                  <a:pt x="76189" y="31372"/>
                </a:lnTo>
                <a:cubicBezTo>
                  <a:pt x="76189" y="31372"/>
                  <a:pt x="76189" y="31372"/>
                  <a:pt x="76189" y="31372"/>
                </a:cubicBezTo>
                <a:cubicBezTo>
                  <a:pt x="76189" y="31372"/>
                  <a:pt x="76189" y="31372"/>
                  <a:pt x="76189" y="31372"/>
                </a:cubicBezTo>
                <a:lnTo>
                  <a:pt x="137140" y="31372"/>
                </a:lnTo>
                <a:cubicBezTo>
                  <a:pt x="142966" y="31372"/>
                  <a:pt x="147896" y="36302"/>
                  <a:pt x="147896" y="42576"/>
                </a:cubicBezTo>
                <a:lnTo>
                  <a:pt x="147896" y="51539"/>
                </a:lnTo>
                <a:close/>
              </a:path>
            </a:pathLst>
          </a:custGeom>
          <a:solidFill>
            <a:srgbClr val="231F20"/>
          </a:solidFill>
          <a:ln w="4202" cap="flat">
            <a:noFill/>
            <a:prstDash val="solid"/>
            <a:miter/>
          </a:ln>
        </p:spPr>
        <p:txBody>
          <a:bodyPr rtlCol="0" anchor="ctr"/>
          <a:lstStyle/>
          <a:p>
            <a:endParaRPr lang="en-US"/>
          </a:p>
        </p:txBody>
      </p:sp>
      <p:sp>
        <p:nvSpPr>
          <p:cNvPr id="4988" name="Graphic 2893">
            <a:extLst>
              <a:ext uri="{FF2B5EF4-FFF2-40B4-BE49-F238E27FC236}">
                <a16:creationId xmlns:a16="http://schemas.microsoft.com/office/drawing/2014/main" id="{A9327F19-6F42-4BA1-9895-77635ADCBFB9}"/>
              </a:ext>
              <a:ext uri="{C183D7F6-B498-43B3-948B-1728B52AA6E4}">
                <adec:decorative xmlns:adec="http://schemas.microsoft.com/office/drawing/2017/decorative" val="1"/>
              </a:ext>
            </a:extLst>
          </p:cNvPr>
          <p:cNvSpPr>
            <a:spLocks noChangeAspect="1"/>
          </p:cNvSpPr>
          <p:nvPr/>
        </p:nvSpPr>
        <p:spPr>
          <a:xfrm>
            <a:off x="1905061" y="3157586"/>
            <a:ext cx="134450" cy="71707"/>
          </a:xfrm>
          <a:custGeom>
            <a:avLst/>
            <a:gdLst>
              <a:gd name="connsiteX0" fmla="*/ 123246 w 134450"/>
              <a:gd name="connsiteY0" fmla="*/ 26890 h 71707"/>
              <a:gd name="connsiteX1" fmla="*/ 104871 w 134450"/>
              <a:gd name="connsiteY1" fmla="*/ 26890 h 71707"/>
              <a:gd name="connsiteX2" fmla="*/ 103975 w 134450"/>
              <a:gd name="connsiteY2" fmla="*/ 26442 h 71707"/>
              <a:gd name="connsiteX3" fmla="*/ 88737 w 134450"/>
              <a:gd name="connsiteY3" fmla="*/ 6274 h 71707"/>
              <a:gd name="connsiteX4" fmla="*/ 76189 w 134450"/>
              <a:gd name="connsiteY4" fmla="*/ 0 h 71707"/>
              <a:gd name="connsiteX5" fmla="*/ 43024 w 134450"/>
              <a:gd name="connsiteY5" fmla="*/ 0 h 71707"/>
              <a:gd name="connsiteX6" fmla="*/ 33613 w 134450"/>
              <a:gd name="connsiteY6" fmla="*/ 5378 h 71707"/>
              <a:gd name="connsiteX7" fmla="*/ 21064 w 134450"/>
              <a:gd name="connsiteY7" fmla="*/ 26890 h 71707"/>
              <a:gd name="connsiteX8" fmla="*/ 6274 w 134450"/>
              <a:gd name="connsiteY8" fmla="*/ 26890 h 71707"/>
              <a:gd name="connsiteX9" fmla="*/ 0 w 134450"/>
              <a:gd name="connsiteY9" fmla="*/ 33613 h 71707"/>
              <a:gd name="connsiteX10" fmla="*/ 0 w 134450"/>
              <a:gd name="connsiteY10" fmla="*/ 51539 h 71707"/>
              <a:gd name="connsiteX11" fmla="*/ 6723 w 134450"/>
              <a:gd name="connsiteY11" fmla="*/ 58262 h 71707"/>
              <a:gd name="connsiteX12" fmla="*/ 12997 w 134450"/>
              <a:gd name="connsiteY12" fmla="*/ 58262 h 71707"/>
              <a:gd name="connsiteX13" fmla="*/ 28235 w 134450"/>
              <a:gd name="connsiteY13" fmla="*/ 71707 h 71707"/>
              <a:gd name="connsiteX14" fmla="*/ 43472 w 134450"/>
              <a:gd name="connsiteY14" fmla="*/ 58262 h 71707"/>
              <a:gd name="connsiteX15" fmla="*/ 86945 w 134450"/>
              <a:gd name="connsiteY15" fmla="*/ 58262 h 71707"/>
              <a:gd name="connsiteX16" fmla="*/ 102182 w 134450"/>
              <a:gd name="connsiteY16" fmla="*/ 71707 h 71707"/>
              <a:gd name="connsiteX17" fmla="*/ 117420 w 134450"/>
              <a:gd name="connsiteY17" fmla="*/ 58262 h 71707"/>
              <a:gd name="connsiteX18" fmla="*/ 130865 w 134450"/>
              <a:gd name="connsiteY18" fmla="*/ 58262 h 71707"/>
              <a:gd name="connsiteX19" fmla="*/ 137588 w 134450"/>
              <a:gd name="connsiteY19" fmla="*/ 51539 h 71707"/>
              <a:gd name="connsiteX20" fmla="*/ 137588 w 134450"/>
              <a:gd name="connsiteY20" fmla="*/ 42576 h 71707"/>
              <a:gd name="connsiteX21" fmla="*/ 123246 w 134450"/>
              <a:gd name="connsiteY21" fmla="*/ 26890 h 71707"/>
              <a:gd name="connsiteX22" fmla="*/ 85152 w 134450"/>
              <a:gd name="connsiteY22" fmla="*/ 8963 h 71707"/>
              <a:gd name="connsiteX23" fmla="*/ 98597 w 134450"/>
              <a:gd name="connsiteY23" fmla="*/ 26890 h 71707"/>
              <a:gd name="connsiteX24" fmla="*/ 64984 w 134450"/>
              <a:gd name="connsiteY24" fmla="*/ 26890 h 71707"/>
              <a:gd name="connsiteX25" fmla="*/ 64984 w 134450"/>
              <a:gd name="connsiteY25" fmla="*/ 4482 h 71707"/>
              <a:gd name="connsiteX26" fmla="*/ 76189 w 134450"/>
              <a:gd name="connsiteY26" fmla="*/ 4482 h 71707"/>
              <a:gd name="connsiteX27" fmla="*/ 85152 w 134450"/>
              <a:gd name="connsiteY27" fmla="*/ 8963 h 71707"/>
              <a:gd name="connsiteX28" fmla="*/ 37646 w 134450"/>
              <a:gd name="connsiteY28" fmla="*/ 7619 h 71707"/>
              <a:gd name="connsiteX29" fmla="*/ 43024 w 134450"/>
              <a:gd name="connsiteY29" fmla="*/ 4482 h 71707"/>
              <a:gd name="connsiteX30" fmla="*/ 60054 w 134450"/>
              <a:gd name="connsiteY30" fmla="*/ 4482 h 71707"/>
              <a:gd name="connsiteX31" fmla="*/ 60054 w 134450"/>
              <a:gd name="connsiteY31" fmla="*/ 26890 h 71707"/>
              <a:gd name="connsiteX32" fmla="*/ 26442 w 134450"/>
              <a:gd name="connsiteY32" fmla="*/ 26890 h 71707"/>
              <a:gd name="connsiteX33" fmla="*/ 37646 w 134450"/>
              <a:gd name="connsiteY33" fmla="*/ 7619 h 71707"/>
              <a:gd name="connsiteX34" fmla="*/ 28683 w 134450"/>
              <a:gd name="connsiteY34" fmla="*/ 67225 h 71707"/>
              <a:gd name="connsiteX35" fmla="*/ 17479 w 134450"/>
              <a:gd name="connsiteY35" fmla="*/ 56021 h 71707"/>
              <a:gd name="connsiteX36" fmla="*/ 28683 w 134450"/>
              <a:gd name="connsiteY36" fmla="*/ 44817 h 71707"/>
              <a:gd name="connsiteX37" fmla="*/ 39887 w 134450"/>
              <a:gd name="connsiteY37" fmla="*/ 56021 h 71707"/>
              <a:gd name="connsiteX38" fmla="*/ 28683 w 134450"/>
              <a:gd name="connsiteY38" fmla="*/ 67225 h 71707"/>
              <a:gd name="connsiteX39" fmla="*/ 103079 w 134450"/>
              <a:gd name="connsiteY39" fmla="*/ 67225 h 71707"/>
              <a:gd name="connsiteX40" fmla="*/ 91874 w 134450"/>
              <a:gd name="connsiteY40" fmla="*/ 56021 h 71707"/>
              <a:gd name="connsiteX41" fmla="*/ 103079 w 134450"/>
              <a:gd name="connsiteY41" fmla="*/ 44817 h 71707"/>
              <a:gd name="connsiteX42" fmla="*/ 114283 w 134450"/>
              <a:gd name="connsiteY42" fmla="*/ 56021 h 71707"/>
              <a:gd name="connsiteX43" fmla="*/ 103079 w 134450"/>
              <a:gd name="connsiteY43" fmla="*/ 67225 h 71707"/>
              <a:gd name="connsiteX44" fmla="*/ 134450 w 134450"/>
              <a:gd name="connsiteY44" fmla="*/ 51539 h 71707"/>
              <a:gd name="connsiteX45" fmla="*/ 132209 w 134450"/>
              <a:gd name="connsiteY45" fmla="*/ 53780 h 71707"/>
              <a:gd name="connsiteX46" fmla="*/ 118764 w 134450"/>
              <a:gd name="connsiteY46" fmla="*/ 53780 h 71707"/>
              <a:gd name="connsiteX47" fmla="*/ 103527 w 134450"/>
              <a:gd name="connsiteY47" fmla="*/ 40335 h 71707"/>
              <a:gd name="connsiteX48" fmla="*/ 88289 w 134450"/>
              <a:gd name="connsiteY48" fmla="*/ 53780 h 71707"/>
              <a:gd name="connsiteX49" fmla="*/ 43920 w 134450"/>
              <a:gd name="connsiteY49" fmla="*/ 53780 h 71707"/>
              <a:gd name="connsiteX50" fmla="*/ 28683 w 134450"/>
              <a:gd name="connsiteY50" fmla="*/ 40335 h 71707"/>
              <a:gd name="connsiteX51" fmla="*/ 13445 w 134450"/>
              <a:gd name="connsiteY51" fmla="*/ 53780 h 71707"/>
              <a:gd name="connsiteX52" fmla="*/ 6723 w 134450"/>
              <a:gd name="connsiteY52" fmla="*/ 53780 h 71707"/>
              <a:gd name="connsiteX53" fmla="*/ 4482 w 134450"/>
              <a:gd name="connsiteY53" fmla="*/ 51539 h 71707"/>
              <a:gd name="connsiteX54" fmla="*/ 4482 w 134450"/>
              <a:gd name="connsiteY54" fmla="*/ 33613 h 71707"/>
              <a:gd name="connsiteX55" fmla="*/ 6274 w 134450"/>
              <a:gd name="connsiteY55" fmla="*/ 31372 h 71707"/>
              <a:gd name="connsiteX56" fmla="*/ 102182 w 134450"/>
              <a:gd name="connsiteY56" fmla="*/ 31372 h 71707"/>
              <a:gd name="connsiteX57" fmla="*/ 103079 w 134450"/>
              <a:gd name="connsiteY57" fmla="*/ 30924 h 71707"/>
              <a:gd name="connsiteX58" fmla="*/ 104871 w 134450"/>
              <a:gd name="connsiteY58" fmla="*/ 31372 h 71707"/>
              <a:gd name="connsiteX59" fmla="*/ 123246 w 134450"/>
              <a:gd name="connsiteY59" fmla="*/ 31372 h 71707"/>
              <a:gd name="connsiteX60" fmla="*/ 134450 w 134450"/>
              <a:gd name="connsiteY60" fmla="*/ 42576 h 71707"/>
              <a:gd name="connsiteX61" fmla="*/ 134450 w 134450"/>
              <a:gd name="connsiteY61" fmla="*/ 51539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4450" h="71707">
                <a:moveTo>
                  <a:pt x="123246" y="26890"/>
                </a:moveTo>
                <a:lnTo>
                  <a:pt x="104871" y="26890"/>
                </a:lnTo>
                <a:cubicBezTo>
                  <a:pt x="104423" y="26890"/>
                  <a:pt x="103975" y="26890"/>
                  <a:pt x="103975" y="26442"/>
                </a:cubicBezTo>
                <a:lnTo>
                  <a:pt x="88737" y="6274"/>
                </a:lnTo>
                <a:cubicBezTo>
                  <a:pt x="85600" y="2241"/>
                  <a:pt x="81118" y="0"/>
                  <a:pt x="76189" y="0"/>
                </a:cubicBezTo>
                <a:lnTo>
                  <a:pt x="43024" y="0"/>
                </a:lnTo>
                <a:cubicBezTo>
                  <a:pt x="39439" y="0"/>
                  <a:pt x="35405" y="2241"/>
                  <a:pt x="33613" y="5378"/>
                </a:cubicBezTo>
                <a:lnTo>
                  <a:pt x="21064" y="26890"/>
                </a:lnTo>
                <a:lnTo>
                  <a:pt x="6274" y="26890"/>
                </a:lnTo>
                <a:cubicBezTo>
                  <a:pt x="2689" y="26890"/>
                  <a:pt x="0" y="30027"/>
                  <a:pt x="0" y="33613"/>
                </a:cubicBezTo>
                <a:lnTo>
                  <a:pt x="0" y="51539"/>
                </a:lnTo>
                <a:cubicBezTo>
                  <a:pt x="0" y="55125"/>
                  <a:pt x="3137" y="58262"/>
                  <a:pt x="6723" y="58262"/>
                </a:cubicBezTo>
                <a:lnTo>
                  <a:pt x="12997" y="58262"/>
                </a:lnTo>
                <a:cubicBezTo>
                  <a:pt x="13893" y="65881"/>
                  <a:pt x="20616" y="71707"/>
                  <a:pt x="28235" y="71707"/>
                </a:cubicBezTo>
                <a:cubicBezTo>
                  <a:pt x="35853" y="71707"/>
                  <a:pt x="42576" y="65881"/>
                  <a:pt x="43472" y="58262"/>
                </a:cubicBezTo>
                <a:lnTo>
                  <a:pt x="86945" y="58262"/>
                </a:lnTo>
                <a:cubicBezTo>
                  <a:pt x="87841" y="65881"/>
                  <a:pt x="94563" y="71707"/>
                  <a:pt x="102182" y="71707"/>
                </a:cubicBezTo>
                <a:cubicBezTo>
                  <a:pt x="109801" y="71707"/>
                  <a:pt x="116524" y="65881"/>
                  <a:pt x="117420" y="58262"/>
                </a:cubicBezTo>
                <a:lnTo>
                  <a:pt x="130865" y="58262"/>
                </a:lnTo>
                <a:cubicBezTo>
                  <a:pt x="134450" y="58262"/>
                  <a:pt x="137588" y="55125"/>
                  <a:pt x="137588" y="51539"/>
                </a:cubicBezTo>
                <a:lnTo>
                  <a:pt x="137588" y="42576"/>
                </a:lnTo>
                <a:cubicBezTo>
                  <a:pt x="138932" y="34061"/>
                  <a:pt x="131761" y="26890"/>
                  <a:pt x="123246" y="26890"/>
                </a:cubicBezTo>
                <a:close/>
                <a:moveTo>
                  <a:pt x="85152" y="8963"/>
                </a:moveTo>
                <a:lnTo>
                  <a:pt x="98597" y="26890"/>
                </a:lnTo>
                <a:lnTo>
                  <a:pt x="64984" y="26890"/>
                </a:lnTo>
                <a:lnTo>
                  <a:pt x="64984" y="4482"/>
                </a:lnTo>
                <a:lnTo>
                  <a:pt x="76189" y="4482"/>
                </a:lnTo>
                <a:cubicBezTo>
                  <a:pt x="79774" y="4482"/>
                  <a:pt x="82911" y="6274"/>
                  <a:pt x="85152" y="8963"/>
                </a:cubicBezTo>
                <a:close/>
                <a:moveTo>
                  <a:pt x="37646" y="7619"/>
                </a:moveTo>
                <a:cubicBezTo>
                  <a:pt x="38542" y="5826"/>
                  <a:pt x="40783" y="4482"/>
                  <a:pt x="43024" y="4482"/>
                </a:cubicBezTo>
                <a:lnTo>
                  <a:pt x="60054" y="4482"/>
                </a:lnTo>
                <a:lnTo>
                  <a:pt x="60054" y="26890"/>
                </a:lnTo>
                <a:lnTo>
                  <a:pt x="26442" y="26890"/>
                </a:lnTo>
                <a:lnTo>
                  <a:pt x="37646" y="7619"/>
                </a:lnTo>
                <a:close/>
                <a:moveTo>
                  <a:pt x="28683" y="67225"/>
                </a:moveTo>
                <a:cubicBezTo>
                  <a:pt x="22408" y="67225"/>
                  <a:pt x="17479" y="62295"/>
                  <a:pt x="17479" y="56021"/>
                </a:cubicBezTo>
                <a:cubicBezTo>
                  <a:pt x="17479" y="49747"/>
                  <a:pt x="22408" y="44817"/>
                  <a:pt x="28683" y="44817"/>
                </a:cubicBezTo>
                <a:cubicBezTo>
                  <a:pt x="34957" y="44817"/>
                  <a:pt x="39887" y="49747"/>
                  <a:pt x="39887" y="56021"/>
                </a:cubicBezTo>
                <a:cubicBezTo>
                  <a:pt x="39887" y="62295"/>
                  <a:pt x="34957" y="67225"/>
                  <a:pt x="28683" y="67225"/>
                </a:cubicBezTo>
                <a:close/>
                <a:moveTo>
                  <a:pt x="103079" y="67225"/>
                </a:moveTo>
                <a:cubicBezTo>
                  <a:pt x="96804" y="67225"/>
                  <a:pt x="91874" y="62295"/>
                  <a:pt x="91874" y="56021"/>
                </a:cubicBezTo>
                <a:cubicBezTo>
                  <a:pt x="91874" y="49747"/>
                  <a:pt x="96804" y="44817"/>
                  <a:pt x="103079" y="44817"/>
                </a:cubicBezTo>
                <a:cubicBezTo>
                  <a:pt x="109353" y="44817"/>
                  <a:pt x="114283" y="49747"/>
                  <a:pt x="114283" y="56021"/>
                </a:cubicBezTo>
                <a:cubicBezTo>
                  <a:pt x="114283" y="62295"/>
                  <a:pt x="109353" y="67225"/>
                  <a:pt x="103079" y="67225"/>
                </a:cubicBezTo>
                <a:close/>
                <a:moveTo>
                  <a:pt x="134450" y="51539"/>
                </a:moveTo>
                <a:cubicBezTo>
                  <a:pt x="134450" y="52884"/>
                  <a:pt x="133554" y="53780"/>
                  <a:pt x="132209" y="53780"/>
                </a:cubicBezTo>
                <a:lnTo>
                  <a:pt x="118764" y="53780"/>
                </a:lnTo>
                <a:cubicBezTo>
                  <a:pt x="117868" y="46161"/>
                  <a:pt x="111146" y="40335"/>
                  <a:pt x="103527" y="40335"/>
                </a:cubicBezTo>
                <a:cubicBezTo>
                  <a:pt x="95908" y="40335"/>
                  <a:pt x="89185" y="46161"/>
                  <a:pt x="88289" y="53780"/>
                </a:cubicBezTo>
                <a:lnTo>
                  <a:pt x="43920" y="53780"/>
                </a:lnTo>
                <a:cubicBezTo>
                  <a:pt x="43024" y="46161"/>
                  <a:pt x="36302" y="40335"/>
                  <a:pt x="28683" y="40335"/>
                </a:cubicBezTo>
                <a:cubicBezTo>
                  <a:pt x="21064" y="40335"/>
                  <a:pt x="14341" y="46161"/>
                  <a:pt x="13445" y="53780"/>
                </a:cubicBezTo>
                <a:lnTo>
                  <a:pt x="6723" y="53780"/>
                </a:lnTo>
                <a:cubicBezTo>
                  <a:pt x="5378" y="53780"/>
                  <a:pt x="4482" y="52884"/>
                  <a:pt x="4482" y="51539"/>
                </a:cubicBezTo>
                <a:lnTo>
                  <a:pt x="4482" y="33613"/>
                </a:lnTo>
                <a:cubicBezTo>
                  <a:pt x="4482" y="32268"/>
                  <a:pt x="5378" y="31372"/>
                  <a:pt x="6274" y="31372"/>
                </a:cubicBezTo>
                <a:lnTo>
                  <a:pt x="102182" y="31372"/>
                </a:lnTo>
                <a:cubicBezTo>
                  <a:pt x="102630" y="31372"/>
                  <a:pt x="103079" y="31372"/>
                  <a:pt x="103079" y="30924"/>
                </a:cubicBezTo>
                <a:cubicBezTo>
                  <a:pt x="103527" y="31372"/>
                  <a:pt x="103975" y="31372"/>
                  <a:pt x="104871" y="31372"/>
                </a:cubicBezTo>
                <a:lnTo>
                  <a:pt x="123246" y="31372"/>
                </a:lnTo>
                <a:cubicBezTo>
                  <a:pt x="129520" y="31372"/>
                  <a:pt x="134450" y="36302"/>
                  <a:pt x="134450" y="42576"/>
                </a:cubicBezTo>
                <a:lnTo>
                  <a:pt x="134450" y="51539"/>
                </a:lnTo>
                <a:close/>
              </a:path>
            </a:pathLst>
          </a:custGeom>
          <a:solidFill>
            <a:srgbClr val="231F20"/>
          </a:solidFill>
          <a:ln w="4302" cap="flat">
            <a:noFill/>
            <a:prstDash val="solid"/>
            <a:miter/>
          </a:ln>
        </p:spPr>
        <p:txBody>
          <a:bodyPr rtlCol="0" anchor="ctr"/>
          <a:lstStyle/>
          <a:p>
            <a:endParaRPr lang="en-US"/>
          </a:p>
        </p:txBody>
      </p:sp>
      <p:grpSp>
        <p:nvGrpSpPr>
          <p:cNvPr id="5074" name="Graphic 5">
            <a:extLst>
              <a:ext uri="{FF2B5EF4-FFF2-40B4-BE49-F238E27FC236}">
                <a16:creationId xmlns:a16="http://schemas.microsoft.com/office/drawing/2014/main" id="{55691325-A1DE-4C3D-B144-75D42E03A44B}"/>
              </a:ext>
              <a:ext uri="{C183D7F6-B498-43B3-948B-1728B52AA6E4}">
                <adec:decorative xmlns:adec="http://schemas.microsoft.com/office/drawing/2017/decorative" val="1"/>
              </a:ext>
            </a:extLst>
          </p:cNvPr>
          <p:cNvGrpSpPr>
            <a:grpSpLocks noChangeAspect="1"/>
          </p:cNvGrpSpPr>
          <p:nvPr/>
        </p:nvGrpSpPr>
        <p:grpSpPr>
          <a:xfrm>
            <a:off x="1702866" y="3462662"/>
            <a:ext cx="134451" cy="122927"/>
            <a:chOff x="5846762" y="3182939"/>
            <a:chExt cx="474015" cy="433386"/>
          </a:xfrm>
          <a:solidFill>
            <a:schemeClr val="tx1"/>
          </a:solidFill>
        </p:grpSpPr>
        <p:sp>
          <p:nvSpPr>
            <p:cNvPr id="5075" name="Freeform: Shape 5074">
              <a:extLst>
                <a:ext uri="{FF2B5EF4-FFF2-40B4-BE49-F238E27FC236}">
                  <a16:creationId xmlns:a16="http://schemas.microsoft.com/office/drawing/2014/main" id="{CB98146E-C93E-437C-9B22-CCFC9C9764B0}"/>
                </a:ext>
              </a:extLst>
            </p:cNvPr>
            <p:cNvSpPr/>
            <p:nvPr/>
          </p:nvSpPr>
          <p:spPr>
            <a:xfrm>
              <a:off x="5857597" y="3602782"/>
              <a:ext cx="460472" cy="13543"/>
            </a:xfrm>
            <a:custGeom>
              <a:avLst/>
              <a:gdLst>
                <a:gd name="connsiteX0" fmla="*/ 461826 w 460471"/>
                <a:gd name="connsiteY0" fmla="*/ 13543 h 13543"/>
                <a:gd name="connsiteX1" fmla="*/ 6772 w 460471"/>
                <a:gd name="connsiteY1" fmla="*/ 13543 h 13543"/>
                <a:gd name="connsiteX2" fmla="*/ 0 w 460471"/>
                <a:gd name="connsiteY2" fmla="*/ 6772 h 13543"/>
                <a:gd name="connsiteX3" fmla="*/ 6772 w 460471"/>
                <a:gd name="connsiteY3" fmla="*/ 0 h 13543"/>
                <a:gd name="connsiteX4" fmla="*/ 460472 w 460471"/>
                <a:gd name="connsiteY4" fmla="*/ 0 h 13543"/>
                <a:gd name="connsiteX5" fmla="*/ 467243 w 460471"/>
                <a:gd name="connsiteY5" fmla="*/ 6772 h 13543"/>
                <a:gd name="connsiteX6" fmla="*/ 461826 w 460471"/>
                <a:gd name="connsiteY6" fmla="*/ 13543 h 1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71" h="13543">
                  <a:moveTo>
                    <a:pt x="461826" y="13543"/>
                  </a:moveTo>
                  <a:lnTo>
                    <a:pt x="6772" y="13543"/>
                  </a:lnTo>
                  <a:cubicBezTo>
                    <a:pt x="2709" y="13543"/>
                    <a:pt x="0" y="10835"/>
                    <a:pt x="0" y="6772"/>
                  </a:cubicBezTo>
                  <a:cubicBezTo>
                    <a:pt x="0" y="2709"/>
                    <a:pt x="4063" y="0"/>
                    <a:pt x="6772" y="0"/>
                  </a:cubicBezTo>
                  <a:lnTo>
                    <a:pt x="460472" y="0"/>
                  </a:lnTo>
                  <a:cubicBezTo>
                    <a:pt x="464535" y="0"/>
                    <a:pt x="467243" y="2709"/>
                    <a:pt x="467243" y="6772"/>
                  </a:cubicBezTo>
                  <a:cubicBezTo>
                    <a:pt x="467243" y="10835"/>
                    <a:pt x="464535" y="13543"/>
                    <a:pt x="461826" y="13543"/>
                  </a:cubicBezTo>
                  <a:close/>
                </a:path>
              </a:pathLst>
            </a:custGeom>
            <a:grpFill/>
            <a:ln w="13335" cap="flat">
              <a:noFill/>
              <a:prstDash val="solid"/>
              <a:miter/>
            </a:ln>
          </p:spPr>
          <p:txBody>
            <a:bodyPr rtlCol="0" anchor="ctr"/>
            <a:lstStyle/>
            <a:p>
              <a:endParaRPr lang="en-US"/>
            </a:p>
          </p:txBody>
        </p:sp>
        <p:sp>
          <p:nvSpPr>
            <p:cNvPr id="5076" name="Freeform: Shape 5075">
              <a:extLst>
                <a:ext uri="{FF2B5EF4-FFF2-40B4-BE49-F238E27FC236}">
                  <a16:creationId xmlns:a16="http://schemas.microsoft.com/office/drawing/2014/main" id="{BB42011D-056E-4245-AB9A-38B78FB2F264}"/>
                </a:ext>
              </a:extLst>
            </p:cNvPr>
            <p:cNvSpPr/>
            <p:nvPr/>
          </p:nvSpPr>
          <p:spPr>
            <a:xfrm>
              <a:off x="5846762" y="3182939"/>
              <a:ext cx="460472" cy="297953"/>
            </a:xfrm>
            <a:custGeom>
              <a:avLst/>
              <a:gdLst>
                <a:gd name="connsiteX0" fmla="*/ 441511 w 460471"/>
                <a:gd name="connsiteY0" fmla="*/ 177417 h 297952"/>
                <a:gd name="connsiteX1" fmla="*/ 426614 w 460471"/>
                <a:gd name="connsiteY1" fmla="*/ 185543 h 297952"/>
                <a:gd name="connsiteX2" fmla="*/ 90740 w 460471"/>
                <a:gd name="connsiteY2" fmla="*/ 304725 h 297952"/>
                <a:gd name="connsiteX3" fmla="*/ 83968 w 460471"/>
                <a:gd name="connsiteY3" fmla="*/ 303370 h 297952"/>
                <a:gd name="connsiteX4" fmla="*/ 2709 w 460471"/>
                <a:gd name="connsiteY4" fmla="*/ 216693 h 297952"/>
                <a:gd name="connsiteX5" fmla="*/ 0 w 460471"/>
                <a:gd name="connsiteY5" fmla="*/ 209921 h 297952"/>
                <a:gd name="connsiteX6" fmla="*/ 4063 w 460471"/>
                <a:gd name="connsiteY6" fmla="*/ 204504 h 297952"/>
                <a:gd name="connsiteX7" fmla="*/ 48756 w 460471"/>
                <a:gd name="connsiteY7" fmla="*/ 186898 h 297952"/>
                <a:gd name="connsiteX8" fmla="*/ 54173 w 460471"/>
                <a:gd name="connsiteY8" fmla="*/ 186898 h 297952"/>
                <a:gd name="connsiteX9" fmla="*/ 108346 w 460471"/>
                <a:gd name="connsiteY9" fmla="*/ 220756 h 297952"/>
                <a:gd name="connsiteX10" fmla="*/ 186897 w 460471"/>
                <a:gd name="connsiteY10" fmla="*/ 192315 h 297952"/>
                <a:gd name="connsiteX11" fmla="*/ 56882 w 460471"/>
                <a:gd name="connsiteY11" fmla="*/ 25732 h 297952"/>
                <a:gd name="connsiteX12" fmla="*/ 55527 w 460471"/>
                <a:gd name="connsiteY12" fmla="*/ 20315 h 297952"/>
                <a:gd name="connsiteX13" fmla="*/ 59590 w 460471"/>
                <a:gd name="connsiteY13" fmla="*/ 16252 h 297952"/>
                <a:gd name="connsiteX14" fmla="*/ 102929 w 460471"/>
                <a:gd name="connsiteY14" fmla="*/ 0 h 297952"/>
                <a:gd name="connsiteX15" fmla="*/ 109701 w 460471"/>
                <a:gd name="connsiteY15" fmla="*/ 1354 h 297952"/>
                <a:gd name="connsiteX16" fmla="*/ 295244 w 460471"/>
                <a:gd name="connsiteY16" fmla="*/ 154394 h 297952"/>
                <a:gd name="connsiteX17" fmla="*/ 402236 w 460471"/>
                <a:gd name="connsiteY17" fmla="*/ 116472 h 297952"/>
                <a:gd name="connsiteX18" fmla="*/ 445574 w 460471"/>
                <a:gd name="connsiteY18" fmla="*/ 116472 h 297952"/>
                <a:gd name="connsiteX19" fmla="*/ 461826 w 460471"/>
                <a:gd name="connsiteY19" fmla="*/ 134079 h 297952"/>
                <a:gd name="connsiteX20" fmla="*/ 441511 w 460471"/>
                <a:gd name="connsiteY20" fmla="*/ 177417 h 297952"/>
                <a:gd name="connsiteX21" fmla="*/ 89386 w 460471"/>
                <a:gd name="connsiteY21" fmla="*/ 291181 h 297952"/>
                <a:gd name="connsiteX22" fmla="*/ 421196 w 460471"/>
                <a:gd name="connsiteY22" fmla="*/ 173354 h 297952"/>
                <a:gd name="connsiteX23" fmla="*/ 448283 w 460471"/>
                <a:gd name="connsiteY23" fmla="*/ 139496 h 297952"/>
                <a:gd name="connsiteX24" fmla="*/ 448283 w 460471"/>
                <a:gd name="connsiteY24" fmla="*/ 139496 h 297952"/>
                <a:gd name="connsiteX25" fmla="*/ 438802 w 460471"/>
                <a:gd name="connsiteY25" fmla="*/ 130016 h 297952"/>
                <a:gd name="connsiteX26" fmla="*/ 406299 w 460471"/>
                <a:gd name="connsiteY26" fmla="*/ 130016 h 297952"/>
                <a:gd name="connsiteX27" fmla="*/ 295244 w 460471"/>
                <a:gd name="connsiteY27" fmla="*/ 169291 h 297952"/>
                <a:gd name="connsiteX28" fmla="*/ 288472 w 460471"/>
                <a:gd name="connsiteY28" fmla="*/ 167937 h 297952"/>
                <a:gd name="connsiteX29" fmla="*/ 104283 w 460471"/>
                <a:gd name="connsiteY29" fmla="*/ 14898 h 297952"/>
                <a:gd name="connsiteX30" fmla="*/ 73134 w 460471"/>
                <a:gd name="connsiteY30" fmla="*/ 25732 h 297952"/>
                <a:gd name="connsiteX31" fmla="*/ 203149 w 460471"/>
                <a:gd name="connsiteY31" fmla="*/ 192315 h 297952"/>
                <a:gd name="connsiteX32" fmla="*/ 204504 w 460471"/>
                <a:gd name="connsiteY32" fmla="*/ 197732 h 297952"/>
                <a:gd name="connsiteX33" fmla="*/ 200441 w 460471"/>
                <a:gd name="connsiteY33" fmla="*/ 201795 h 297952"/>
                <a:gd name="connsiteX34" fmla="*/ 109701 w 460471"/>
                <a:gd name="connsiteY34" fmla="*/ 234299 h 297952"/>
                <a:gd name="connsiteX35" fmla="*/ 104283 w 460471"/>
                <a:gd name="connsiteY35" fmla="*/ 234299 h 297952"/>
                <a:gd name="connsiteX36" fmla="*/ 51464 w 460471"/>
                <a:gd name="connsiteY36" fmla="*/ 201795 h 297952"/>
                <a:gd name="connsiteX37" fmla="*/ 20315 w 460471"/>
                <a:gd name="connsiteY37" fmla="*/ 213984 h 297952"/>
                <a:gd name="connsiteX38" fmla="*/ 89386 w 460471"/>
                <a:gd name="connsiteY38" fmla="*/ 291181 h 29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0471" h="297952">
                  <a:moveTo>
                    <a:pt x="441511" y="177417"/>
                  </a:moveTo>
                  <a:cubicBezTo>
                    <a:pt x="437448" y="180126"/>
                    <a:pt x="432031" y="182835"/>
                    <a:pt x="426614" y="185543"/>
                  </a:cubicBezTo>
                  <a:lnTo>
                    <a:pt x="90740" y="304725"/>
                  </a:lnTo>
                  <a:cubicBezTo>
                    <a:pt x="88031" y="306079"/>
                    <a:pt x="85323" y="304725"/>
                    <a:pt x="83968" y="303370"/>
                  </a:cubicBezTo>
                  <a:lnTo>
                    <a:pt x="2709" y="216693"/>
                  </a:lnTo>
                  <a:cubicBezTo>
                    <a:pt x="0" y="213984"/>
                    <a:pt x="0" y="212630"/>
                    <a:pt x="0" y="209921"/>
                  </a:cubicBezTo>
                  <a:cubicBezTo>
                    <a:pt x="0" y="207213"/>
                    <a:pt x="2709" y="205858"/>
                    <a:pt x="4063" y="204504"/>
                  </a:cubicBezTo>
                  <a:lnTo>
                    <a:pt x="48756" y="186898"/>
                  </a:lnTo>
                  <a:cubicBezTo>
                    <a:pt x="50110" y="185543"/>
                    <a:pt x="52819" y="186898"/>
                    <a:pt x="54173" y="186898"/>
                  </a:cubicBezTo>
                  <a:lnTo>
                    <a:pt x="108346" y="220756"/>
                  </a:lnTo>
                  <a:lnTo>
                    <a:pt x="186897" y="192315"/>
                  </a:lnTo>
                  <a:lnTo>
                    <a:pt x="56882" y="25732"/>
                  </a:lnTo>
                  <a:cubicBezTo>
                    <a:pt x="55527" y="24378"/>
                    <a:pt x="55527" y="21669"/>
                    <a:pt x="55527" y="20315"/>
                  </a:cubicBezTo>
                  <a:cubicBezTo>
                    <a:pt x="55527" y="17606"/>
                    <a:pt x="58236" y="16252"/>
                    <a:pt x="59590" y="16252"/>
                  </a:cubicBezTo>
                  <a:lnTo>
                    <a:pt x="102929" y="0"/>
                  </a:lnTo>
                  <a:cubicBezTo>
                    <a:pt x="104283" y="0"/>
                    <a:pt x="106992" y="0"/>
                    <a:pt x="109701" y="1354"/>
                  </a:cubicBezTo>
                  <a:lnTo>
                    <a:pt x="295244" y="154394"/>
                  </a:lnTo>
                  <a:lnTo>
                    <a:pt x="402236" y="116472"/>
                  </a:lnTo>
                  <a:cubicBezTo>
                    <a:pt x="417133" y="111055"/>
                    <a:pt x="433385" y="111055"/>
                    <a:pt x="445574" y="116472"/>
                  </a:cubicBezTo>
                  <a:cubicBezTo>
                    <a:pt x="453700" y="120535"/>
                    <a:pt x="459117" y="125953"/>
                    <a:pt x="461826" y="134079"/>
                  </a:cubicBezTo>
                  <a:cubicBezTo>
                    <a:pt x="465889" y="148976"/>
                    <a:pt x="457763" y="166583"/>
                    <a:pt x="441511" y="177417"/>
                  </a:cubicBezTo>
                  <a:close/>
                  <a:moveTo>
                    <a:pt x="89386" y="291181"/>
                  </a:moveTo>
                  <a:lnTo>
                    <a:pt x="421196" y="173354"/>
                  </a:lnTo>
                  <a:cubicBezTo>
                    <a:pt x="440157" y="166583"/>
                    <a:pt x="452346" y="151685"/>
                    <a:pt x="448283" y="139496"/>
                  </a:cubicBezTo>
                  <a:cubicBezTo>
                    <a:pt x="448283" y="139496"/>
                    <a:pt x="448283" y="139496"/>
                    <a:pt x="448283" y="139496"/>
                  </a:cubicBezTo>
                  <a:cubicBezTo>
                    <a:pt x="446928" y="134079"/>
                    <a:pt x="442865" y="131370"/>
                    <a:pt x="438802" y="130016"/>
                  </a:cubicBezTo>
                  <a:cubicBezTo>
                    <a:pt x="430676" y="125953"/>
                    <a:pt x="418488" y="125953"/>
                    <a:pt x="406299" y="130016"/>
                  </a:cubicBezTo>
                  <a:lnTo>
                    <a:pt x="295244" y="169291"/>
                  </a:lnTo>
                  <a:cubicBezTo>
                    <a:pt x="292535" y="170646"/>
                    <a:pt x="291181" y="169291"/>
                    <a:pt x="288472" y="167937"/>
                  </a:cubicBezTo>
                  <a:lnTo>
                    <a:pt x="104283" y="14898"/>
                  </a:lnTo>
                  <a:lnTo>
                    <a:pt x="73134" y="25732"/>
                  </a:lnTo>
                  <a:lnTo>
                    <a:pt x="203149" y="192315"/>
                  </a:lnTo>
                  <a:cubicBezTo>
                    <a:pt x="204504" y="193669"/>
                    <a:pt x="204504" y="196378"/>
                    <a:pt x="204504" y="197732"/>
                  </a:cubicBezTo>
                  <a:cubicBezTo>
                    <a:pt x="204504" y="200441"/>
                    <a:pt x="201795" y="201795"/>
                    <a:pt x="200441" y="201795"/>
                  </a:cubicBezTo>
                  <a:lnTo>
                    <a:pt x="109701" y="234299"/>
                  </a:lnTo>
                  <a:cubicBezTo>
                    <a:pt x="108346" y="235654"/>
                    <a:pt x="105638" y="234299"/>
                    <a:pt x="104283" y="234299"/>
                  </a:cubicBezTo>
                  <a:lnTo>
                    <a:pt x="51464" y="201795"/>
                  </a:lnTo>
                  <a:lnTo>
                    <a:pt x="20315" y="213984"/>
                  </a:lnTo>
                  <a:lnTo>
                    <a:pt x="89386" y="291181"/>
                  </a:lnTo>
                  <a:close/>
                </a:path>
              </a:pathLst>
            </a:custGeom>
            <a:grpFill/>
            <a:ln w="13335" cap="flat">
              <a:noFill/>
              <a:prstDash val="solid"/>
              <a:miter/>
            </a:ln>
          </p:spPr>
          <p:txBody>
            <a:bodyPr rtlCol="0" anchor="ctr"/>
            <a:lstStyle/>
            <a:p>
              <a:endParaRPr lang="en-US"/>
            </a:p>
          </p:txBody>
        </p:sp>
      </p:grpSp>
      <p:grpSp>
        <p:nvGrpSpPr>
          <p:cNvPr id="5077" name="Graphic 2">
            <a:extLst>
              <a:ext uri="{FF2B5EF4-FFF2-40B4-BE49-F238E27FC236}">
                <a16:creationId xmlns:a16="http://schemas.microsoft.com/office/drawing/2014/main" id="{08CC70F7-9886-4E22-9ADB-96126CBDD07E}"/>
              </a:ext>
              <a:ext uri="{C183D7F6-B498-43B3-948B-1728B52AA6E4}">
                <adec:decorative xmlns:adec="http://schemas.microsoft.com/office/drawing/2017/decorative" val="1"/>
              </a:ext>
            </a:extLst>
          </p:cNvPr>
          <p:cNvGrpSpPr>
            <a:grpSpLocks noChangeAspect="1"/>
          </p:cNvGrpSpPr>
          <p:nvPr/>
        </p:nvGrpSpPr>
        <p:grpSpPr>
          <a:xfrm>
            <a:off x="1983487" y="3450113"/>
            <a:ext cx="152378" cy="148024"/>
            <a:chOff x="5857601" y="3152586"/>
            <a:chExt cx="476799" cy="463176"/>
          </a:xfrm>
          <a:solidFill>
            <a:schemeClr val="tx1"/>
          </a:solidFill>
        </p:grpSpPr>
        <p:sp>
          <p:nvSpPr>
            <p:cNvPr id="5078" name="Freeform: Shape 5077">
              <a:extLst>
                <a:ext uri="{FF2B5EF4-FFF2-40B4-BE49-F238E27FC236}">
                  <a16:creationId xmlns:a16="http://schemas.microsoft.com/office/drawing/2014/main" id="{ECD21D42-3868-4FC4-893A-D3B136195164}"/>
                </a:ext>
              </a:extLst>
            </p:cNvPr>
            <p:cNvSpPr/>
            <p:nvPr/>
          </p:nvSpPr>
          <p:spPr>
            <a:xfrm>
              <a:off x="5877433" y="3152412"/>
              <a:ext cx="422308" cy="340571"/>
            </a:xfrm>
            <a:custGeom>
              <a:avLst/>
              <a:gdLst>
                <a:gd name="connsiteX0" fmla="*/ 387082 w 422307"/>
                <a:gd name="connsiteY0" fmla="*/ 351506 h 340570"/>
                <a:gd name="connsiteX1" fmla="*/ 369781 w 422307"/>
                <a:gd name="connsiteY1" fmla="*/ 349191 h 340570"/>
                <a:gd name="connsiteX2" fmla="*/ 22943 w 422307"/>
                <a:gd name="connsiteY2" fmla="*/ 257509 h 340570"/>
                <a:gd name="connsiteX3" fmla="*/ 17903 w 422307"/>
                <a:gd name="connsiteY3" fmla="*/ 251924 h 340570"/>
                <a:gd name="connsiteX4" fmla="*/ 57 w 422307"/>
                <a:gd name="connsiteY4" fmla="*/ 133814 h 340570"/>
                <a:gd name="connsiteX5" fmla="*/ 2237 w 422307"/>
                <a:gd name="connsiteY5" fmla="*/ 127820 h 340570"/>
                <a:gd name="connsiteX6" fmla="*/ 8367 w 422307"/>
                <a:gd name="connsiteY6" fmla="*/ 126185 h 340570"/>
                <a:gd name="connsiteX7" fmla="*/ 54821 w 422307"/>
                <a:gd name="connsiteY7" fmla="*/ 136402 h 340570"/>
                <a:gd name="connsiteX8" fmla="*/ 59453 w 422307"/>
                <a:gd name="connsiteY8" fmla="*/ 140216 h 340570"/>
                <a:gd name="connsiteX9" fmla="*/ 85472 w 422307"/>
                <a:gd name="connsiteY9" fmla="*/ 197432 h 340570"/>
                <a:gd name="connsiteX10" fmla="*/ 167209 w 422307"/>
                <a:gd name="connsiteY10" fmla="*/ 218820 h 340570"/>
                <a:gd name="connsiteX11" fmla="*/ 153859 w 422307"/>
                <a:gd name="connsiteY11" fmla="*/ 7394 h 340570"/>
                <a:gd name="connsiteX12" fmla="*/ 156311 w 422307"/>
                <a:gd name="connsiteY12" fmla="*/ 1672 h 340570"/>
                <a:gd name="connsiteX13" fmla="*/ 162441 w 422307"/>
                <a:gd name="connsiteY13" fmla="*/ 174 h 340570"/>
                <a:gd name="connsiteX14" fmla="*/ 206443 w 422307"/>
                <a:gd name="connsiteY14" fmla="*/ 11753 h 340570"/>
                <a:gd name="connsiteX15" fmla="*/ 211347 w 422307"/>
                <a:gd name="connsiteY15" fmla="*/ 16521 h 340570"/>
                <a:gd name="connsiteX16" fmla="*/ 278644 w 422307"/>
                <a:gd name="connsiteY16" fmla="*/ 248109 h 340570"/>
                <a:gd name="connsiteX17" fmla="*/ 388853 w 422307"/>
                <a:gd name="connsiteY17" fmla="*/ 277943 h 340570"/>
                <a:gd name="connsiteX18" fmla="*/ 423999 w 422307"/>
                <a:gd name="connsiteY18" fmla="*/ 302737 h 340570"/>
                <a:gd name="connsiteX19" fmla="*/ 427814 w 422307"/>
                <a:gd name="connsiteY19" fmla="*/ 327122 h 340570"/>
                <a:gd name="connsiteX20" fmla="*/ 387082 w 422307"/>
                <a:gd name="connsiteY20" fmla="*/ 351506 h 340570"/>
                <a:gd name="connsiteX21" fmla="*/ 30708 w 422307"/>
                <a:gd name="connsiteY21" fmla="*/ 245385 h 340570"/>
                <a:gd name="connsiteX22" fmla="*/ 373186 w 422307"/>
                <a:gd name="connsiteY22" fmla="*/ 335840 h 340570"/>
                <a:gd name="connsiteX23" fmla="*/ 414055 w 422307"/>
                <a:gd name="connsiteY23" fmla="*/ 322217 h 340570"/>
                <a:gd name="connsiteX24" fmla="*/ 414055 w 422307"/>
                <a:gd name="connsiteY24" fmla="*/ 322217 h 340570"/>
                <a:gd name="connsiteX25" fmla="*/ 411739 w 422307"/>
                <a:gd name="connsiteY25" fmla="*/ 308595 h 340570"/>
                <a:gd name="connsiteX26" fmla="*/ 384493 w 422307"/>
                <a:gd name="connsiteY26" fmla="*/ 290204 h 340570"/>
                <a:gd name="connsiteX27" fmla="*/ 270334 w 422307"/>
                <a:gd name="connsiteY27" fmla="*/ 260097 h 340570"/>
                <a:gd name="connsiteX28" fmla="*/ 266247 w 422307"/>
                <a:gd name="connsiteY28" fmla="*/ 256283 h 340570"/>
                <a:gd name="connsiteX29" fmla="*/ 198950 w 422307"/>
                <a:gd name="connsiteY29" fmla="*/ 24695 h 340570"/>
                <a:gd name="connsiteX30" fmla="*/ 167618 w 422307"/>
                <a:gd name="connsiteY30" fmla="*/ 16385 h 340570"/>
                <a:gd name="connsiteX31" fmla="*/ 181241 w 422307"/>
                <a:gd name="connsiteY31" fmla="*/ 228220 h 340570"/>
                <a:gd name="connsiteX32" fmla="*/ 174634 w 422307"/>
                <a:gd name="connsiteY32" fmla="*/ 235493 h 340570"/>
                <a:gd name="connsiteX33" fmla="*/ 172658 w 422307"/>
                <a:gd name="connsiteY33" fmla="*/ 235304 h 340570"/>
                <a:gd name="connsiteX34" fmla="*/ 78933 w 422307"/>
                <a:gd name="connsiteY34" fmla="*/ 210102 h 340570"/>
                <a:gd name="connsiteX35" fmla="*/ 74438 w 422307"/>
                <a:gd name="connsiteY35" fmla="*/ 206423 h 340570"/>
                <a:gd name="connsiteX36" fmla="*/ 48282 w 422307"/>
                <a:gd name="connsiteY36" fmla="*/ 150025 h 340570"/>
                <a:gd name="connsiteX37" fmla="*/ 14770 w 422307"/>
                <a:gd name="connsiteY37" fmla="*/ 142396 h 34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2307" h="340570">
                  <a:moveTo>
                    <a:pt x="387082" y="351506"/>
                  </a:moveTo>
                  <a:cubicBezTo>
                    <a:pt x="381236" y="351523"/>
                    <a:pt x="375416" y="350744"/>
                    <a:pt x="369781" y="349191"/>
                  </a:cubicBezTo>
                  <a:lnTo>
                    <a:pt x="22943" y="257509"/>
                  </a:lnTo>
                  <a:cubicBezTo>
                    <a:pt x="20294" y="256828"/>
                    <a:pt x="18309" y="254629"/>
                    <a:pt x="17903" y="251924"/>
                  </a:cubicBezTo>
                  <a:lnTo>
                    <a:pt x="57" y="133814"/>
                  </a:lnTo>
                  <a:cubicBezTo>
                    <a:pt x="-231" y="131580"/>
                    <a:pt x="582" y="129347"/>
                    <a:pt x="2237" y="127820"/>
                  </a:cubicBezTo>
                  <a:cubicBezTo>
                    <a:pt x="3847" y="126229"/>
                    <a:pt x="6178" y="125608"/>
                    <a:pt x="8367" y="126185"/>
                  </a:cubicBezTo>
                  <a:lnTo>
                    <a:pt x="54821" y="136402"/>
                  </a:lnTo>
                  <a:cubicBezTo>
                    <a:pt x="56862" y="136907"/>
                    <a:pt x="58566" y="138309"/>
                    <a:pt x="59453" y="140216"/>
                  </a:cubicBezTo>
                  <a:lnTo>
                    <a:pt x="85472" y="197432"/>
                  </a:lnTo>
                  <a:lnTo>
                    <a:pt x="167209" y="218820"/>
                  </a:lnTo>
                  <a:lnTo>
                    <a:pt x="153859" y="7394"/>
                  </a:lnTo>
                  <a:cubicBezTo>
                    <a:pt x="153770" y="5214"/>
                    <a:pt x="154671" y="3111"/>
                    <a:pt x="156311" y="1672"/>
                  </a:cubicBezTo>
                  <a:cubicBezTo>
                    <a:pt x="158007" y="240"/>
                    <a:pt x="160276" y="-315"/>
                    <a:pt x="162441" y="174"/>
                  </a:cubicBezTo>
                  <a:lnTo>
                    <a:pt x="206443" y="11753"/>
                  </a:lnTo>
                  <a:cubicBezTo>
                    <a:pt x="208775" y="12418"/>
                    <a:pt x="210617" y="14209"/>
                    <a:pt x="211347" y="16521"/>
                  </a:cubicBezTo>
                  <a:lnTo>
                    <a:pt x="278644" y="248109"/>
                  </a:lnTo>
                  <a:lnTo>
                    <a:pt x="388853" y="277943"/>
                  </a:lnTo>
                  <a:cubicBezTo>
                    <a:pt x="403335" y="281349"/>
                    <a:pt x="415933" y="290235"/>
                    <a:pt x="423999" y="302737"/>
                  </a:cubicBezTo>
                  <a:cubicBezTo>
                    <a:pt x="428600" y="309983"/>
                    <a:pt x="429981" y="318816"/>
                    <a:pt x="427814" y="327122"/>
                  </a:cubicBezTo>
                  <a:cubicBezTo>
                    <a:pt x="421252" y="343474"/>
                    <a:pt x="404594" y="353446"/>
                    <a:pt x="387082" y="351506"/>
                  </a:cubicBezTo>
                  <a:close/>
                  <a:moveTo>
                    <a:pt x="30708" y="245385"/>
                  </a:moveTo>
                  <a:lnTo>
                    <a:pt x="373186" y="335840"/>
                  </a:lnTo>
                  <a:cubicBezTo>
                    <a:pt x="392395" y="340881"/>
                    <a:pt x="411330" y="334887"/>
                    <a:pt x="414055" y="322217"/>
                  </a:cubicBezTo>
                  <a:lnTo>
                    <a:pt x="414055" y="322217"/>
                  </a:lnTo>
                  <a:cubicBezTo>
                    <a:pt x="415243" y="317553"/>
                    <a:pt x="414401" y="312604"/>
                    <a:pt x="411739" y="308595"/>
                  </a:cubicBezTo>
                  <a:cubicBezTo>
                    <a:pt x="405395" y="299154"/>
                    <a:pt x="395622" y="292558"/>
                    <a:pt x="384493" y="290204"/>
                  </a:cubicBezTo>
                  <a:lnTo>
                    <a:pt x="270334" y="260097"/>
                  </a:lnTo>
                  <a:cubicBezTo>
                    <a:pt x="268498" y="259454"/>
                    <a:pt x="267015" y="258070"/>
                    <a:pt x="266247" y="256283"/>
                  </a:cubicBezTo>
                  <a:lnTo>
                    <a:pt x="198950" y="24695"/>
                  </a:lnTo>
                  <a:lnTo>
                    <a:pt x="167618" y="16385"/>
                  </a:lnTo>
                  <a:lnTo>
                    <a:pt x="181241" y="228220"/>
                  </a:lnTo>
                  <a:cubicBezTo>
                    <a:pt x="181425" y="232052"/>
                    <a:pt x="178467" y="235309"/>
                    <a:pt x="174634" y="235493"/>
                  </a:cubicBezTo>
                  <a:cubicBezTo>
                    <a:pt x="173970" y="235524"/>
                    <a:pt x="173304" y="235460"/>
                    <a:pt x="172658" y="235304"/>
                  </a:cubicBezTo>
                  <a:lnTo>
                    <a:pt x="78933" y="210102"/>
                  </a:lnTo>
                  <a:cubicBezTo>
                    <a:pt x="76961" y="209608"/>
                    <a:pt x="75312" y="208258"/>
                    <a:pt x="74438" y="206423"/>
                  </a:cubicBezTo>
                  <a:lnTo>
                    <a:pt x="48282" y="150025"/>
                  </a:lnTo>
                  <a:lnTo>
                    <a:pt x="14770" y="142396"/>
                  </a:lnTo>
                  <a:close/>
                </a:path>
              </a:pathLst>
            </a:custGeom>
            <a:grpFill/>
            <a:ln w="13607" cap="flat">
              <a:noFill/>
              <a:prstDash val="solid"/>
              <a:miter/>
            </a:ln>
          </p:spPr>
          <p:txBody>
            <a:bodyPr rtlCol="0" anchor="ctr"/>
            <a:lstStyle/>
            <a:p>
              <a:endParaRPr lang="de-DE"/>
            </a:p>
          </p:txBody>
        </p:sp>
        <p:sp>
          <p:nvSpPr>
            <p:cNvPr id="5079" name="Freeform: Shape 5078">
              <a:extLst>
                <a:ext uri="{FF2B5EF4-FFF2-40B4-BE49-F238E27FC236}">
                  <a16:creationId xmlns:a16="http://schemas.microsoft.com/office/drawing/2014/main" id="{B321F9AB-EF2A-48D8-8180-92CF326180AE}"/>
                </a:ext>
              </a:extLst>
            </p:cNvPr>
            <p:cNvSpPr/>
            <p:nvPr/>
          </p:nvSpPr>
          <p:spPr>
            <a:xfrm>
              <a:off x="5857601" y="3599551"/>
              <a:ext cx="463176" cy="13623"/>
            </a:xfrm>
            <a:custGeom>
              <a:avLst/>
              <a:gdLst>
                <a:gd name="connsiteX0" fmla="*/ 463176 w 463176"/>
                <a:gd name="connsiteY0" fmla="*/ 13623 h 13622"/>
                <a:gd name="connsiteX1" fmla="*/ 6811 w 463176"/>
                <a:gd name="connsiteY1" fmla="*/ 13623 h 13622"/>
                <a:gd name="connsiteX2" fmla="*/ 0 w 463176"/>
                <a:gd name="connsiteY2" fmla="*/ 6811 h 13622"/>
                <a:gd name="connsiteX3" fmla="*/ 6811 w 463176"/>
                <a:gd name="connsiteY3" fmla="*/ 0 h 13622"/>
                <a:gd name="connsiteX4" fmla="*/ 463176 w 463176"/>
                <a:gd name="connsiteY4" fmla="*/ 0 h 13622"/>
                <a:gd name="connsiteX5" fmla="*/ 469988 w 463176"/>
                <a:gd name="connsiteY5" fmla="*/ 6811 h 13622"/>
                <a:gd name="connsiteX6" fmla="*/ 463176 w 463176"/>
                <a:gd name="connsiteY6" fmla="*/ 13623 h 1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176" h="13622">
                  <a:moveTo>
                    <a:pt x="463176" y="13623"/>
                  </a:moveTo>
                  <a:lnTo>
                    <a:pt x="6811" y="13623"/>
                  </a:lnTo>
                  <a:cubicBezTo>
                    <a:pt x="3050" y="13623"/>
                    <a:pt x="0" y="10573"/>
                    <a:pt x="0" y="6811"/>
                  </a:cubicBezTo>
                  <a:cubicBezTo>
                    <a:pt x="0" y="3050"/>
                    <a:pt x="3050" y="0"/>
                    <a:pt x="6811" y="0"/>
                  </a:cubicBezTo>
                  <a:lnTo>
                    <a:pt x="463176" y="0"/>
                  </a:lnTo>
                  <a:cubicBezTo>
                    <a:pt x="466937" y="0"/>
                    <a:pt x="469988" y="3050"/>
                    <a:pt x="469988" y="6811"/>
                  </a:cubicBezTo>
                  <a:cubicBezTo>
                    <a:pt x="469988" y="10573"/>
                    <a:pt x="466937" y="13623"/>
                    <a:pt x="463176" y="13623"/>
                  </a:cubicBezTo>
                  <a:close/>
                </a:path>
              </a:pathLst>
            </a:custGeom>
            <a:grpFill/>
            <a:ln w="13607" cap="flat">
              <a:noFill/>
              <a:prstDash val="solid"/>
              <a:miter/>
            </a:ln>
          </p:spPr>
          <p:txBody>
            <a:bodyPr rtlCol="0" anchor="ctr"/>
            <a:lstStyle/>
            <a:p>
              <a:endParaRPr lang="de-DE"/>
            </a:p>
          </p:txBody>
        </p:sp>
      </p:grpSp>
      <p:grpSp>
        <p:nvGrpSpPr>
          <p:cNvPr id="5087" name="Graphic 3">
            <a:extLst>
              <a:ext uri="{FF2B5EF4-FFF2-40B4-BE49-F238E27FC236}">
                <a16:creationId xmlns:a16="http://schemas.microsoft.com/office/drawing/2014/main" id="{D172F282-35C9-4765-96DF-3F08415565EF}"/>
              </a:ext>
              <a:ext uri="{C183D7F6-B498-43B3-948B-1728B52AA6E4}">
                <adec:decorative xmlns:adec="http://schemas.microsoft.com/office/drawing/2017/decorative" val="1"/>
              </a:ext>
            </a:extLst>
          </p:cNvPr>
          <p:cNvGrpSpPr>
            <a:grpSpLocks noChangeAspect="1"/>
          </p:cNvGrpSpPr>
          <p:nvPr/>
        </p:nvGrpSpPr>
        <p:grpSpPr>
          <a:xfrm>
            <a:off x="2522321" y="3456180"/>
            <a:ext cx="122740" cy="135891"/>
            <a:chOff x="5962650" y="3281362"/>
            <a:chExt cx="266700" cy="295275"/>
          </a:xfrm>
          <a:solidFill>
            <a:srgbClr val="101010"/>
          </a:solidFill>
        </p:grpSpPr>
        <p:sp>
          <p:nvSpPr>
            <p:cNvPr id="5088" name="Freeform: Shape 5087">
              <a:extLst>
                <a:ext uri="{FF2B5EF4-FFF2-40B4-BE49-F238E27FC236}">
                  <a16:creationId xmlns:a16="http://schemas.microsoft.com/office/drawing/2014/main" id="{AE3B47E8-68FD-49B9-8B35-5EFEB54A8707}"/>
                </a:ext>
              </a:extLst>
            </p:cNvPr>
            <p:cNvSpPr/>
            <p:nvPr/>
          </p:nvSpPr>
          <p:spPr>
            <a:xfrm>
              <a:off x="5962650" y="3281362"/>
              <a:ext cx="266700" cy="295275"/>
            </a:xfrm>
            <a:custGeom>
              <a:avLst/>
              <a:gdLst>
                <a:gd name="connsiteX0" fmla="*/ 252413 w 266700"/>
                <a:gd name="connsiteY0" fmla="*/ 57150 h 295275"/>
                <a:gd name="connsiteX1" fmla="*/ 238125 w 266700"/>
                <a:gd name="connsiteY1" fmla="*/ 57150 h 295275"/>
                <a:gd name="connsiteX2" fmla="*/ 238125 w 266700"/>
                <a:gd name="connsiteY2" fmla="*/ 42863 h 295275"/>
                <a:gd name="connsiteX3" fmla="*/ 223838 w 266700"/>
                <a:gd name="connsiteY3" fmla="*/ 28575 h 295275"/>
                <a:gd name="connsiteX4" fmla="*/ 209550 w 266700"/>
                <a:gd name="connsiteY4" fmla="*/ 28575 h 295275"/>
                <a:gd name="connsiteX5" fmla="*/ 209550 w 266700"/>
                <a:gd name="connsiteY5" fmla="*/ 14288 h 295275"/>
                <a:gd name="connsiteX6" fmla="*/ 195263 w 266700"/>
                <a:gd name="connsiteY6" fmla="*/ 0 h 295275"/>
                <a:gd name="connsiteX7" fmla="*/ 14288 w 266700"/>
                <a:gd name="connsiteY7" fmla="*/ 0 h 295275"/>
                <a:gd name="connsiteX8" fmla="*/ 0 w 266700"/>
                <a:gd name="connsiteY8" fmla="*/ 14288 h 295275"/>
                <a:gd name="connsiteX9" fmla="*/ 0 w 266700"/>
                <a:gd name="connsiteY9" fmla="*/ 223838 h 295275"/>
                <a:gd name="connsiteX10" fmla="*/ 14288 w 266700"/>
                <a:gd name="connsiteY10" fmla="*/ 238125 h 295275"/>
                <a:gd name="connsiteX11" fmla="*/ 28575 w 266700"/>
                <a:gd name="connsiteY11" fmla="*/ 238125 h 295275"/>
                <a:gd name="connsiteX12" fmla="*/ 28575 w 266700"/>
                <a:gd name="connsiteY12" fmla="*/ 252413 h 295275"/>
                <a:gd name="connsiteX13" fmla="*/ 42863 w 266700"/>
                <a:gd name="connsiteY13" fmla="*/ 266700 h 295275"/>
                <a:gd name="connsiteX14" fmla="*/ 57150 w 266700"/>
                <a:gd name="connsiteY14" fmla="*/ 266700 h 295275"/>
                <a:gd name="connsiteX15" fmla="*/ 57150 w 266700"/>
                <a:gd name="connsiteY15" fmla="*/ 280988 h 295275"/>
                <a:gd name="connsiteX16" fmla="*/ 71438 w 266700"/>
                <a:gd name="connsiteY16" fmla="*/ 295275 h 295275"/>
                <a:gd name="connsiteX17" fmla="*/ 252413 w 266700"/>
                <a:gd name="connsiteY17" fmla="*/ 295275 h 295275"/>
                <a:gd name="connsiteX18" fmla="*/ 266700 w 266700"/>
                <a:gd name="connsiteY18" fmla="*/ 280988 h 295275"/>
                <a:gd name="connsiteX19" fmla="*/ 266700 w 266700"/>
                <a:gd name="connsiteY19" fmla="*/ 71438 h 295275"/>
                <a:gd name="connsiteX20" fmla="*/ 252413 w 266700"/>
                <a:gd name="connsiteY20" fmla="*/ 57150 h 295275"/>
                <a:gd name="connsiteX21" fmla="*/ 9525 w 266700"/>
                <a:gd name="connsiteY21" fmla="*/ 223838 h 295275"/>
                <a:gd name="connsiteX22" fmla="*/ 9525 w 266700"/>
                <a:gd name="connsiteY22" fmla="*/ 14288 h 295275"/>
                <a:gd name="connsiteX23" fmla="*/ 14288 w 266700"/>
                <a:gd name="connsiteY23" fmla="*/ 9525 h 295275"/>
                <a:gd name="connsiteX24" fmla="*/ 195263 w 266700"/>
                <a:gd name="connsiteY24" fmla="*/ 9525 h 295275"/>
                <a:gd name="connsiteX25" fmla="*/ 200025 w 266700"/>
                <a:gd name="connsiteY25" fmla="*/ 14288 h 295275"/>
                <a:gd name="connsiteX26" fmla="*/ 200025 w 266700"/>
                <a:gd name="connsiteY26" fmla="*/ 223838 h 295275"/>
                <a:gd name="connsiteX27" fmla="*/ 195263 w 266700"/>
                <a:gd name="connsiteY27" fmla="*/ 228600 h 295275"/>
                <a:gd name="connsiteX28" fmla="*/ 14288 w 266700"/>
                <a:gd name="connsiteY28" fmla="*/ 228600 h 295275"/>
                <a:gd name="connsiteX29" fmla="*/ 9525 w 266700"/>
                <a:gd name="connsiteY29" fmla="*/ 223838 h 295275"/>
                <a:gd name="connsiteX30" fmla="*/ 38100 w 266700"/>
                <a:gd name="connsiteY30" fmla="*/ 252413 h 295275"/>
                <a:gd name="connsiteX31" fmla="*/ 38100 w 266700"/>
                <a:gd name="connsiteY31" fmla="*/ 238125 h 295275"/>
                <a:gd name="connsiteX32" fmla="*/ 195263 w 266700"/>
                <a:gd name="connsiteY32" fmla="*/ 238125 h 295275"/>
                <a:gd name="connsiteX33" fmla="*/ 209550 w 266700"/>
                <a:gd name="connsiteY33" fmla="*/ 223838 h 295275"/>
                <a:gd name="connsiteX34" fmla="*/ 209550 w 266700"/>
                <a:gd name="connsiteY34" fmla="*/ 38100 h 295275"/>
                <a:gd name="connsiteX35" fmla="*/ 223838 w 266700"/>
                <a:gd name="connsiteY35" fmla="*/ 38100 h 295275"/>
                <a:gd name="connsiteX36" fmla="*/ 228600 w 266700"/>
                <a:gd name="connsiteY36" fmla="*/ 42863 h 295275"/>
                <a:gd name="connsiteX37" fmla="*/ 228600 w 266700"/>
                <a:gd name="connsiteY37" fmla="*/ 252413 h 295275"/>
                <a:gd name="connsiteX38" fmla="*/ 223838 w 266700"/>
                <a:gd name="connsiteY38" fmla="*/ 257175 h 295275"/>
                <a:gd name="connsiteX39" fmla="*/ 42863 w 266700"/>
                <a:gd name="connsiteY39" fmla="*/ 257175 h 295275"/>
                <a:gd name="connsiteX40" fmla="*/ 38100 w 266700"/>
                <a:gd name="connsiteY40" fmla="*/ 252413 h 295275"/>
                <a:gd name="connsiteX41" fmla="*/ 257175 w 266700"/>
                <a:gd name="connsiteY41" fmla="*/ 280988 h 295275"/>
                <a:gd name="connsiteX42" fmla="*/ 252413 w 266700"/>
                <a:gd name="connsiteY42" fmla="*/ 285750 h 295275"/>
                <a:gd name="connsiteX43" fmla="*/ 71438 w 266700"/>
                <a:gd name="connsiteY43" fmla="*/ 285750 h 295275"/>
                <a:gd name="connsiteX44" fmla="*/ 66675 w 266700"/>
                <a:gd name="connsiteY44" fmla="*/ 280988 h 295275"/>
                <a:gd name="connsiteX45" fmla="*/ 66675 w 266700"/>
                <a:gd name="connsiteY45" fmla="*/ 266700 h 295275"/>
                <a:gd name="connsiteX46" fmla="*/ 223838 w 266700"/>
                <a:gd name="connsiteY46" fmla="*/ 266700 h 295275"/>
                <a:gd name="connsiteX47" fmla="*/ 238125 w 266700"/>
                <a:gd name="connsiteY47" fmla="*/ 252413 h 295275"/>
                <a:gd name="connsiteX48" fmla="*/ 238125 w 266700"/>
                <a:gd name="connsiteY48" fmla="*/ 66675 h 295275"/>
                <a:gd name="connsiteX49" fmla="*/ 252413 w 266700"/>
                <a:gd name="connsiteY49" fmla="*/ 66675 h 295275"/>
                <a:gd name="connsiteX50" fmla="*/ 257175 w 266700"/>
                <a:gd name="connsiteY50" fmla="*/ 71438 h 295275"/>
                <a:gd name="connsiteX51" fmla="*/ 257175 w 266700"/>
                <a:gd name="connsiteY51" fmla="*/ 2809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66700" h="295275">
                  <a:moveTo>
                    <a:pt x="252413" y="57150"/>
                  </a:moveTo>
                  <a:lnTo>
                    <a:pt x="238125" y="57150"/>
                  </a:lnTo>
                  <a:lnTo>
                    <a:pt x="238125" y="42863"/>
                  </a:lnTo>
                  <a:cubicBezTo>
                    <a:pt x="238125" y="35243"/>
                    <a:pt x="231458" y="28575"/>
                    <a:pt x="223838" y="28575"/>
                  </a:cubicBezTo>
                  <a:lnTo>
                    <a:pt x="209550" y="28575"/>
                  </a:lnTo>
                  <a:lnTo>
                    <a:pt x="209550" y="14288"/>
                  </a:lnTo>
                  <a:cubicBezTo>
                    <a:pt x="209550" y="6668"/>
                    <a:pt x="202883" y="0"/>
                    <a:pt x="195263" y="0"/>
                  </a:cubicBezTo>
                  <a:lnTo>
                    <a:pt x="14288" y="0"/>
                  </a:lnTo>
                  <a:cubicBezTo>
                    <a:pt x="6668" y="0"/>
                    <a:pt x="0" y="6668"/>
                    <a:pt x="0" y="14288"/>
                  </a:cubicBezTo>
                  <a:lnTo>
                    <a:pt x="0" y="223838"/>
                  </a:lnTo>
                  <a:cubicBezTo>
                    <a:pt x="0" y="231458"/>
                    <a:pt x="6668" y="238125"/>
                    <a:pt x="14288" y="238125"/>
                  </a:cubicBezTo>
                  <a:lnTo>
                    <a:pt x="28575" y="238125"/>
                  </a:lnTo>
                  <a:lnTo>
                    <a:pt x="28575" y="252413"/>
                  </a:lnTo>
                  <a:cubicBezTo>
                    <a:pt x="28575" y="260033"/>
                    <a:pt x="35243" y="266700"/>
                    <a:pt x="42863" y="266700"/>
                  </a:cubicBezTo>
                  <a:lnTo>
                    <a:pt x="57150" y="266700"/>
                  </a:lnTo>
                  <a:lnTo>
                    <a:pt x="57150" y="280988"/>
                  </a:lnTo>
                  <a:cubicBezTo>
                    <a:pt x="57150" y="288608"/>
                    <a:pt x="63818" y="295275"/>
                    <a:pt x="71438" y="295275"/>
                  </a:cubicBezTo>
                  <a:lnTo>
                    <a:pt x="252413" y="295275"/>
                  </a:lnTo>
                  <a:cubicBezTo>
                    <a:pt x="260033" y="295275"/>
                    <a:pt x="266700" y="288608"/>
                    <a:pt x="266700" y="280988"/>
                  </a:cubicBezTo>
                  <a:lnTo>
                    <a:pt x="266700" y="71438"/>
                  </a:lnTo>
                  <a:cubicBezTo>
                    <a:pt x="266700" y="63818"/>
                    <a:pt x="260033" y="57150"/>
                    <a:pt x="252413" y="57150"/>
                  </a:cubicBezTo>
                  <a:close/>
                  <a:moveTo>
                    <a:pt x="9525" y="223838"/>
                  </a:moveTo>
                  <a:lnTo>
                    <a:pt x="9525" y="14288"/>
                  </a:lnTo>
                  <a:cubicBezTo>
                    <a:pt x="9525" y="11430"/>
                    <a:pt x="11430" y="9525"/>
                    <a:pt x="14288" y="9525"/>
                  </a:cubicBezTo>
                  <a:lnTo>
                    <a:pt x="195263" y="9525"/>
                  </a:lnTo>
                  <a:cubicBezTo>
                    <a:pt x="198120" y="9525"/>
                    <a:pt x="200025" y="11430"/>
                    <a:pt x="200025" y="14288"/>
                  </a:cubicBezTo>
                  <a:lnTo>
                    <a:pt x="200025" y="223838"/>
                  </a:lnTo>
                  <a:cubicBezTo>
                    <a:pt x="200025" y="226695"/>
                    <a:pt x="198120" y="228600"/>
                    <a:pt x="195263" y="228600"/>
                  </a:cubicBezTo>
                  <a:lnTo>
                    <a:pt x="14288" y="228600"/>
                  </a:lnTo>
                  <a:cubicBezTo>
                    <a:pt x="11430" y="228600"/>
                    <a:pt x="9525" y="226695"/>
                    <a:pt x="9525" y="223838"/>
                  </a:cubicBezTo>
                  <a:close/>
                  <a:moveTo>
                    <a:pt x="38100" y="252413"/>
                  </a:moveTo>
                  <a:lnTo>
                    <a:pt x="38100" y="238125"/>
                  </a:lnTo>
                  <a:lnTo>
                    <a:pt x="195263" y="238125"/>
                  </a:lnTo>
                  <a:cubicBezTo>
                    <a:pt x="202883" y="238125"/>
                    <a:pt x="209550" y="231458"/>
                    <a:pt x="209550" y="223838"/>
                  </a:cubicBezTo>
                  <a:lnTo>
                    <a:pt x="209550" y="38100"/>
                  </a:lnTo>
                  <a:lnTo>
                    <a:pt x="223838" y="38100"/>
                  </a:lnTo>
                  <a:cubicBezTo>
                    <a:pt x="226695" y="38100"/>
                    <a:pt x="228600" y="40005"/>
                    <a:pt x="228600" y="42863"/>
                  </a:cubicBezTo>
                  <a:lnTo>
                    <a:pt x="228600" y="252413"/>
                  </a:lnTo>
                  <a:cubicBezTo>
                    <a:pt x="228600" y="255270"/>
                    <a:pt x="226695" y="257175"/>
                    <a:pt x="223838" y="257175"/>
                  </a:cubicBezTo>
                  <a:lnTo>
                    <a:pt x="42863" y="257175"/>
                  </a:lnTo>
                  <a:cubicBezTo>
                    <a:pt x="40005" y="257175"/>
                    <a:pt x="38100" y="255270"/>
                    <a:pt x="38100" y="252413"/>
                  </a:cubicBezTo>
                  <a:close/>
                  <a:moveTo>
                    <a:pt x="257175" y="280988"/>
                  </a:moveTo>
                  <a:cubicBezTo>
                    <a:pt x="257175" y="283845"/>
                    <a:pt x="255270" y="285750"/>
                    <a:pt x="252413" y="285750"/>
                  </a:cubicBezTo>
                  <a:lnTo>
                    <a:pt x="71438" y="285750"/>
                  </a:lnTo>
                  <a:cubicBezTo>
                    <a:pt x="68580" y="285750"/>
                    <a:pt x="66675" y="283845"/>
                    <a:pt x="66675" y="280988"/>
                  </a:cubicBezTo>
                  <a:lnTo>
                    <a:pt x="66675" y="266700"/>
                  </a:lnTo>
                  <a:lnTo>
                    <a:pt x="223838" y="266700"/>
                  </a:lnTo>
                  <a:cubicBezTo>
                    <a:pt x="231458" y="266700"/>
                    <a:pt x="238125" y="260033"/>
                    <a:pt x="238125" y="252413"/>
                  </a:cubicBezTo>
                  <a:lnTo>
                    <a:pt x="238125" y="66675"/>
                  </a:lnTo>
                  <a:lnTo>
                    <a:pt x="252413" y="66675"/>
                  </a:lnTo>
                  <a:cubicBezTo>
                    <a:pt x="255270" y="66675"/>
                    <a:pt x="257175" y="68580"/>
                    <a:pt x="257175" y="71438"/>
                  </a:cubicBezTo>
                  <a:lnTo>
                    <a:pt x="257175" y="280988"/>
                  </a:lnTo>
                  <a:close/>
                </a:path>
              </a:pathLst>
            </a:custGeom>
            <a:solidFill>
              <a:srgbClr val="101010"/>
            </a:solidFill>
            <a:ln w="9525" cap="flat">
              <a:noFill/>
              <a:prstDash val="solid"/>
              <a:miter/>
            </a:ln>
          </p:spPr>
          <p:txBody>
            <a:bodyPr rtlCol="0" anchor="ctr"/>
            <a:lstStyle/>
            <a:p>
              <a:endParaRPr lang="de-DE"/>
            </a:p>
          </p:txBody>
        </p:sp>
        <p:sp>
          <p:nvSpPr>
            <p:cNvPr id="5089" name="Freeform: Shape 5088">
              <a:extLst>
                <a:ext uri="{FF2B5EF4-FFF2-40B4-BE49-F238E27FC236}">
                  <a16:creationId xmlns:a16="http://schemas.microsoft.com/office/drawing/2014/main" id="{F42472A7-9685-4F7C-805B-46391FD60AF7}"/>
                </a:ext>
              </a:extLst>
            </p:cNvPr>
            <p:cNvSpPr/>
            <p:nvPr/>
          </p:nvSpPr>
          <p:spPr>
            <a:xfrm>
              <a:off x="5992177" y="3327082"/>
              <a:ext cx="142875" cy="9525"/>
            </a:xfrm>
            <a:custGeom>
              <a:avLst/>
              <a:gdLst>
                <a:gd name="connsiteX0" fmla="*/ 146685 w 142875"/>
                <a:gd name="connsiteY0" fmla="*/ 0 h 9525"/>
                <a:gd name="connsiteX1" fmla="*/ 4763 w 142875"/>
                <a:gd name="connsiteY1" fmla="*/ 0 h 9525"/>
                <a:gd name="connsiteX2" fmla="*/ 0 w 142875"/>
                <a:gd name="connsiteY2" fmla="*/ 4763 h 9525"/>
                <a:gd name="connsiteX3" fmla="*/ 4763 w 142875"/>
                <a:gd name="connsiteY3" fmla="*/ 9525 h 9525"/>
                <a:gd name="connsiteX4" fmla="*/ 146685 w 142875"/>
                <a:gd name="connsiteY4" fmla="*/ 9525 h 9525"/>
                <a:gd name="connsiteX5" fmla="*/ 151448 w 142875"/>
                <a:gd name="connsiteY5" fmla="*/ 4763 h 9525"/>
                <a:gd name="connsiteX6" fmla="*/ 146685 w 142875"/>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9525">
                  <a:moveTo>
                    <a:pt x="146685" y="0"/>
                  </a:moveTo>
                  <a:lnTo>
                    <a:pt x="4763" y="0"/>
                  </a:lnTo>
                  <a:cubicBezTo>
                    <a:pt x="1905" y="0"/>
                    <a:pt x="0" y="1905"/>
                    <a:pt x="0" y="4763"/>
                  </a:cubicBezTo>
                  <a:cubicBezTo>
                    <a:pt x="0" y="7620"/>
                    <a:pt x="1905" y="9525"/>
                    <a:pt x="4763" y="9525"/>
                  </a:cubicBezTo>
                  <a:lnTo>
                    <a:pt x="146685" y="9525"/>
                  </a:lnTo>
                  <a:cubicBezTo>
                    <a:pt x="149543" y="9525"/>
                    <a:pt x="151448" y="7620"/>
                    <a:pt x="151448" y="4763"/>
                  </a:cubicBezTo>
                  <a:cubicBezTo>
                    <a:pt x="151448" y="1905"/>
                    <a:pt x="149543" y="0"/>
                    <a:pt x="146685" y="0"/>
                  </a:cubicBezTo>
                  <a:close/>
                </a:path>
              </a:pathLst>
            </a:custGeom>
            <a:solidFill>
              <a:srgbClr val="101010"/>
            </a:solidFill>
            <a:ln w="9525" cap="flat">
              <a:noFill/>
              <a:prstDash val="solid"/>
              <a:miter/>
            </a:ln>
          </p:spPr>
          <p:txBody>
            <a:bodyPr rtlCol="0" anchor="ctr"/>
            <a:lstStyle/>
            <a:p>
              <a:endParaRPr lang="de-DE"/>
            </a:p>
          </p:txBody>
        </p:sp>
        <p:sp>
          <p:nvSpPr>
            <p:cNvPr id="5090" name="Freeform: Shape 5089">
              <a:extLst>
                <a:ext uri="{FF2B5EF4-FFF2-40B4-BE49-F238E27FC236}">
                  <a16:creationId xmlns:a16="http://schemas.microsoft.com/office/drawing/2014/main" id="{0BC0C741-CD49-4CBE-999F-51EFA0B38B19}"/>
                </a:ext>
              </a:extLst>
            </p:cNvPr>
            <p:cNvSpPr/>
            <p:nvPr/>
          </p:nvSpPr>
          <p:spPr>
            <a:xfrm>
              <a:off x="5992177" y="3418522"/>
              <a:ext cx="142875" cy="9525"/>
            </a:xfrm>
            <a:custGeom>
              <a:avLst/>
              <a:gdLst>
                <a:gd name="connsiteX0" fmla="*/ 146685 w 142875"/>
                <a:gd name="connsiteY0" fmla="*/ 0 h 9525"/>
                <a:gd name="connsiteX1" fmla="*/ 4763 w 142875"/>
                <a:gd name="connsiteY1" fmla="*/ 0 h 9525"/>
                <a:gd name="connsiteX2" fmla="*/ 0 w 142875"/>
                <a:gd name="connsiteY2" fmla="*/ 4763 h 9525"/>
                <a:gd name="connsiteX3" fmla="*/ 4763 w 142875"/>
                <a:gd name="connsiteY3" fmla="*/ 9525 h 9525"/>
                <a:gd name="connsiteX4" fmla="*/ 146685 w 142875"/>
                <a:gd name="connsiteY4" fmla="*/ 9525 h 9525"/>
                <a:gd name="connsiteX5" fmla="*/ 151448 w 142875"/>
                <a:gd name="connsiteY5" fmla="*/ 4763 h 9525"/>
                <a:gd name="connsiteX6" fmla="*/ 146685 w 142875"/>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9525">
                  <a:moveTo>
                    <a:pt x="146685" y="0"/>
                  </a:moveTo>
                  <a:lnTo>
                    <a:pt x="4763" y="0"/>
                  </a:lnTo>
                  <a:cubicBezTo>
                    <a:pt x="1905" y="0"/>
                    <a:pt x="0" y="1905"/>
                    <a:pt x="0" y="4763"/>
                  </a:cubicBezTo>
                  <a:cubicBezTo>
                    <a:pt x="0" y="7620"/>
                    <a:pt x="1905" y="9525"/>
                    <a:pt x="4763" y="9525"/>
                  </a:cubicBezTo>
                  <a:lnTo>
                    <a:pt x="146685" y="9525"/>
                  </a:lnTo>
                  <a:cubicBezTo>
                    <a:pt x="149543" y="9525"/>
                    <a:pt x="151448" y="7620"/>
                    <a:pt x="151448" y="4763"/>
                  </a:cubicBezTo>
                  <a:cubicBezTo>
                    <a:pt x="151448" y="1905"/>
                    <a:pt x="149543" y="0"/>
                    <a:pt x="146685" y="0"/>
                  </a:cubicBezTo>
                  <a:close/>
                </a:path>
              </a:pathLst>
            </a:custGeom>
            <a:solidFill>
              <a:srgbClr val="101010"/>
            </a:solidFill>
            <a:ln w="9525" cap="flat">
              <a:noFill/>
              <a:prstDash val="solid"/>
              <a:miter/>
            </a:ln>
          </p:spPr>
          <p:txBody>
            <a:bodyPr rtlCol="0" anchor="ctr"/>
            <a:lstStyle/>
            <a:p>
              <a:endParaRPr lang="de-DE"/>
            </a:p>
          </p:txBody>
        </p:sp>
        <p:sp>
          <p:nvSpPr>
            <p:cNvPr id="5091" name="Freeform: Shape 5090">
              <a:extLst>
                <a:ext uri="{FF2B5EF4-FFF2-40B4-BE49-F238E27FC236}">
                  <a16:creationId xmlns:a16="http://schemas.microsoft.com/office/drawing/2014/main" id="{B303E623-D18D-4E12-A2BF-FA5304CA45DF}"/>
                </a:ext>
              </a:extLst>
            </p:cNvPr>
            <p:cNvSpPr/>
            <p:nvPr/>
          </p:nvSpPr>
          <p:spPr>
            <a:xfrm>
              <a:off x="5992177" y="3372802"/>
              <a:ext cx="114300" cy="9525"/>
            </a:xfrm>
            <a:custGeom>
              <a:avLst/>
              <a:gdLst>
                <a:gd name="connsiteX0" fmla="*/ 4763 w 114300"/>
                <a:gd name="connsiteY0" fmla="*/ 9525 h 9525"/>
                <a:gd name="connsiteX1" fmla="*/ 115253 w 114300"/>
                <a:gd name="connsiteY1" fmla="*/ 9525 h 9525"/>
                <a:gd name="connsiteX2" fmla="*/ 120015 w 114300"/>
                <a:gd name="connsiteY2" fmla="*/ 4763 h 9525"/>
                <a:gd name="connsiteX3" fmla="*/ 115253 w 114300"/>
                <a:gd name="connsiteY3" fmla="*/ 0 h 9525"/>
                <a:gd name="connsiteX4" fmla="*/ 4763 w 114300"/>
                <a:gd name="connsiteY4" fmla="*/ 0 h 9525"/>
                <a:gd name="connsiteX5" fmla="*/ 0 w 114300"/>
                <a:gd name="connsiteY5" fmla="*/ 4763 h 9525"/>
                <a:gd name="connsiteX6" fmla="*/ 4763 w 114300"/>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9525">
                  <a:moveTo>
                    <a:pt x="4763" y="9525"/>
                  </a:moveTo>
                  <a:lnTo>
                    <a:pt x="115253" y="9525"/>
                  </a:lnTo>
                  <a:cubicBezTo>
                    <a:pt x="118110" y="9525"/>
                    <a:pt x="120015" y="7620"/>
                    <a:pt x="120015" y="4763"/>
                  </a:cubicBezTo>
                  <a:cubicBezTo>
                    <a:pt x="120015" y="1905"/>
                    <a:pt x="118110" y="0"/>
                    <a:pt x="115253" y="0"/>
                  </a:cubicBezTo>
                  <a:lnTo>
                    <a:pt x="4763" y="0"/>
                  </a:lnTo>
                  <a:cubicBezTo>
                    <a:pt x="1905" y="0"/>
                    <a:pt x="0" y="1905"/>
                    <a:pt x="0" y="4763"/>
                  </a:cubicBezTo>
                  <a:cubicBezTo>
                    <a:pt x="0" y="7620"/>
                    <a:pt x="1905" y="9525"/>
                    <a:pt x="4763" y="9525"/>
                  </a:cubicBezTo>
                  <a:close/>
                </a:path>
              </a:pathLst>
            </a:custGeom>
            <a:solidFill>
              <a:srgbClr val="101010"/>
            </a:solidFill>
            <a:ln w="9525" cap="flat">
              <a:noFill/>
              <a:prstDash val="solid"/>
              <a:miter/>
            </a:ln>
          </p:spPr>
          <p:txBody>
            <a:bodyPr rtlCol="0" anchor="ctr"/>
            <a:lstStyle/>
            <a:p>
              <a:endParaRPr lang="de-DE"/>
            </a:p>
          </p:txBody>
        </p:sp>
      </p:grpSp>
      <p:grpSp>
        <p:nvGrpSpPr>
          <p:cNvPr id="5092" name="Graphic 3">
            <a:extLst>
              <a:ext uri="{FF2B5EF4-FFF2-40B4-BE49-F238E27FC236}">
                <a16:creationId xmlns:a16="http://schemas.microsoft.com/office/drawing/2014/main" id="{0F38BCD6-9710-4000-80E9-D813487FA63E}"/>
              </a:ext>
              <a:ext uri="{C183D7F6-B498-43B3-948B-1728B52AA6E4}">
                <adec:decorative xmlns:adec="http://schemas.microsoft.com/office/drawing/2017/decorative" val="1"/>
              </a:ext>
            </a:extLst>
          </p:cNvPr>
          <p:cNvGrpSpPr>
            <a:grpSpLocks noChangeAspect="1"/>
          </p:cNvGrpSpPr>
          <p:nvPr/>
        </p:nvGrpSpPr>
        <p:grpSpPr>
          <a:xfrm>
            <a:off x="2791231" y="3493545"/>
            <a:ext cx="84095" cy="61160"/>
            <a:chOff x="5986462" y="3348037"/>
            <a:chExt cx="209550" cy="152400"/>
          </a:xfrm>
          <a:solidFill>
            <a:schemeClr val="accent1"/>
          </a:solidFill>
        </p:grpSpPr>
        <p:sp>
          <p:nvSpPr>
            <p:cNvPr id="5093" name="Freeform: Shape 5092">
              <a:extLst>
                <a:ext uri="{FF2B5EF4-FFF2-40B4-BE49-F238E27FC236}">
                  <a16:creationId xmlns:a16="http://schemas.microsoft.com/office/drawing/2014/main" id="{181EC5AB-426A-46E2-A34E-CFD81E69B537}"/>
                </a:ext>
              </a:extLst>
            </p:cNvPr>
            <p:cNvSpPr/>
            <p:nvPr/>
          </p:nvSpPr>
          <p:spPr>
            <a:xfrm>
              <a:off x="5986462" y="3348037"/>
              <a:ext cx="9525" cy="9525"/>
            </a:xfrm>
            <a:custGeom>
              <a:avLst/>
              <a:gdLst/>
              <a:ahLst/>
              <a:cxnLst/>
              <a:rect l="l" t="t" r="r" b="b"/>
              <a:pathLst>
                <a:path/>
              </a:pathLst>
            </a:custGeom>
            <a:noFill/>
            <a:ln w="11485" cap="rnd">
              <a:solidFill>
                <a:srgbClr val="101010"/>
              </a:solidFill>
              <a:prstDash val="solid"/>
              <a:round/>
            </a:ln>
          </p:spPr>
          <p:txBody>
            <a:bodyPr rtlCol="0" anchor="ctr"/>
            <a:lstStyle/>
            <a:p>
              <a:endParaRPr lang="de-DE"/>
            </a:p>
          </p:txBody>
        </p:sp>
        <p:sp>
          <p:nvSpPr>
            <p:cNvPr id="5094" name="Freeform: Shape 5093">
              <a:extLst>
                <a:ext uri="{FF2B5EF4-FFF2-40B4-BE49-F238E27FC236}">
                  <a16:creationId xmlns:a16="http://schemas.microsoft.com/office/drawing/2014/main" id="{3136C726-B6FB-41E4-B620-86EAE61470BA}"/>
                </a:ext>
              </a:extLst>
            </p:cNvPr>
            <p:cNvSpPr/>
            <p:nvPr/>
          </p:nvSpPr>
          <p:spPr>
            <a:xfrm>
              <a:off x="6077902" y="3348275"/>
              <a:ext cx="123825" cy="152400"/>
            </a:xfrm>
            <a:custGeom>
              <a:avLst/>
              <a:gdLst>
                <a:gd name="connsiteX0" fmla="*/ 5715 w 123825"/>
                <a:gd name="connsiteY0" fmla="*/ 159782 h 152400"/>
                <a:gd name="connsiteX1" fmla="*/ 3810 w 123825"/>
                <a:gd name="connsiteY1" fmla="*/ 159782 h 152400"/>
                <a:gd name="connsiteX2" fmla="*/ 0 w 123825"/>
                <a:gd name="connsiteY2" fmla="*/ 154067 h 152400"/>
                <a:gd name="connsiteX3" fmla="*/ 0 w 123825"/>
                <a:gd name="connsiteY3" fmla="*/ 5477 h 152400"/>
                <a:gd name="connsiteX4" fmla="*/ 2857 w 123825"/>
                <a:gd name="connsiteY4" fmla="*/ 714 h 152400"/>
                <a:gd name="connsiteX5" fmla="*/ 9525 w 123825"/>
                <a:gd name="connsiteY5" fmla="*/ 714 h 152400"/>
                <a:gd name="connsiteX6" fmla="*/ 123825 w 123825"/>
                <a:gd name="connsiteY6" fmla="*/ 95964 h 152400"/>
                <a:gd name="connsiteX7" fmla="*/ 125730 w 123825"/>
                <a:gd name="connsiteY7" fmla="*/ 102632 h 152400"/>
                <a:gd name="connsiteX8" fmla="*/ 120015 w 123825"/>
                <a:gd name="connsiteY8" fmla="*/ 106442 h 152400"/>
                <a:gd name="connsiteX9" fmla="*/ 50482 w 123825"/>
                <a:gd name="connsiteY9" fmla="*/ 101679 h 152400"/>
                <a:gd name="connsiteX10" fmla="*/ 10477 w 123825"/>
                <a:gd name="connsiteY10" fmla="*/ 156924 h 152400"/>
                <a:gd name="connsiteX11" fmla="*/ 5715 w 123825"/>
                <a:gd name="connsiteY11" fmla="*/ 159782 h 152400"/>
                <a:gd name="connsiteX12" fmla="*/ 11430 w 123825"/>
                <a:gd name="connsiteY12" fmla="*/ 17859 h 152400"/>
                <a:gd name="connsiteX13" fmla="*/ 11430 w 123825"/>
                <a:gd name="connsiteY13" fmla="*/ 136922 h 152400"/>
                <a:gd name="connsiteX14" fmla="*/ 43815 w 123825"/>
                <a:gd name="connsiteY14" fmla="*/ 93107 h 152400"/>
                <a:gd name="connsiteX15" fmla="*/ 48577 w 123825"/>
                <a:gd name="connsiteY15" fmla="*/ 91202 h 152400"/>
                <a:gd name="connsiteX16" fmla="*/ 102870 w 123825"/>
                <a:gd name="connsiteY16" fmla="*/ 95012 h 152400"/>
                <a:gd name="connsiteX17" fmla="*/ 11430 w 123825"/>
                <a:gd name="connsiteY17" fmla="*/ 1785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3825" h="152400">
                  <a:moveTo>
                    <a:pt x="5715" y="159782"/>
                  </a:moveTo>
                  <a:cubicBezTo>
                    <a:pt x="4763" y="159782"/>
                    <a:pt x="4763" y="159782"/>
                    <a:pt x="3810" y="159782"/>
                  </a:cubicBezTo>
                  <a:cubicBezTo>
                    <a:pt x="1905" y="158829"/>
                    <a:pt x="0" y="156924"/>
                    <a:pt x="0" y="154067"/>
                  </a:cubicBezTo>
                  <a:lnTo>
                    <a:pt x="0" y="5477"/>
                  </a:lnTo>
                  <a:cubicBezTo>
                    <a:pt x="0" y="3572"/>
                    <a:pt x="952" y="1667"/>
                    <a:pt x="2857" y="714"/>
                  </a:cubicBezTo>
                  <a:cubicBezTo>
                    <a:pt x="5715" y="-238"/>
                    <a:pt x="7620" y="-238"/>
                    <a:pt x="9525" y="714"/>
                  </a:cubicBezTo>
                  <a:lnTo>
                    <a:pt x="123825" y="95964"/>
                  </a:lnTo>
                  <a:cubicBezTo>
                    <a:pt x="125730" y="97869"/>
                    <a:pt x="126682" y="99774"/>
                    <a:pt x="125730" y="102632"/>
                  </a:cubicBezTo>
                  <a:cubicBezTo>
                    <a:pt x="124778" y="104537"/>
                    <a:pt x="122873" y="106442"/>
                    <a:pt x="120015" y="106442"/>
                  </a:cubicBezTo>
                  <a:lnTo>
                    <a:pt x="50482" y="101679"/>
                  </a:lnTo>
                  <a:lnTo>
                    <a:pt x="10477" y="156924"/>
                  </a:lnTo>
                  <a:cubicBezTo>
                    <a:pt x="9525" y="158829"/>
                    <a:pt x="7620" y="159782"/>
                    <a:pt x="5715" y="159782"/>
                  </a:cubicBezTo>
                  <a:close/>
                  <a:moveTo>
                    <a:pt x="11430" y="17859"/>
                  </a:moveTo>
                  <a:lnTo>
                    <a:pt x="11430" y="136922"/>
                  </a:lnTo>
                  <a:lnTo>
                    <a:pt x="43815" y="93107"/>
                  </a:lnTo>
                  <a:cubicBezTo>
                    <a:pt x="44768" y="91202"/>
                    <a:pt x="46672" y="90249"/>
                    <a:pt x="48577" y="91202"/>
                  </a:cubicBezTo>
                  <a:lnTo>
                    <a:pt x="102870" y="95012"/>
                  </a:lnTo>
                  <a:lnTo>
                    <a:pt x="11430" y="17859"/>
                  </a:lnTo>
                  <a:close/>
                </a:path>
              </a:pathLst>
            </a:custGeom>
            <a:solidFill>
              <a:srgbClr val="101010"/>
            </a:solidFill>
            <a:ln w="9525" cap="flat">
              <a:noFill/>
              <a:prstDash val="solid"/>
              <a:miter/>
            </a:ln>
          </p:spPr>
          <p:txBody>
            <a:bodyPr rtlCol="0" anchor="ctr"/>
            <a:lstStyle/>
            <a:p>
              <a:endParaRPr lang="de-DE"/>
            </a:p>
          </p:txBody>
        </p:sp>
      </p:grpSp>
      <p:sp>
        <p:nvSpPr>
          <p:cNvPr id="5095" name="Graphic 3">
            <a:extLst>
              <a:ext uri="{FF2B5EF4-FFF2-40B4-BE49-F238E27FC236}">
                <a16:creationId xmlns:a16="http://schemas.microsoft.com/office/drawing/2014/main" id="{CF3E864A-5D51-47CD-8C90-FB8D9F44D197}"/>
              </a:ext>
              <a:ext uri="{C183D7F6-B498-43B3-948B-1728B52AA6E4}">
                <adec:decorative xmlns:adec="http://schemas.microsoft.com/office/drawing/2017/decorative" val="1"/>
              </a:ext>
            </a:extLst>
          </p:cNvPr>
          <p:cNvSpPr>
            <a:spLocks noChangeAspect="1"/>
          </p:cNvSpPr>
          <p:nvPr/>
        </p:nvSpPr>
        <p:spPr>
          <a:xfrm>
            <a:off x="3021496" y="3457109"/>
            <a:ext cx="98553" cy="134032"/>
          </a:xfrm>
          <a:custGeom>
            <a:avLst/>
            <a:gdLst>
              <a:gd name="connsiteX0" fmla="*/ 233363 w 238125"/>
              <a:gd name="connsiteY0" fmla="*/ 0 h 323850"/>
              <a:gd name="connsiteX1" fmla="*/ 36195 w 238125"/>
              <a:gd name="connsiteY1" fmla="*/ 0 h 323850"/>
              <a:gd name="connsiteX2" fmla="*/ 0 w 238125"/>
              <a:gd name="connsiteY2" fmla="*/ 36195 h 323850"/>
              <a:gd name="connsiteX3" fmla="*/ 0 w 238125"/>
              <a:gd name="connsiteY3" fmla="*/ 289560 h 323850"/>
              <a:gd name="connsiteX4" fmla="*/ 953 w 238125"/>
              <a:gd name="connsiteY4" fmla="*/ 292418 h 323850"/>
              <a:gd name="connsiteX5" fmla="*/ 39053 w 238125"/>
              <a:gd name="connsiteY5" fmla="*/ 323850 h 323850"/>
              <a:gd name="connsiteX6" fmla="*/ 234315 w 238125"/>
              <a:gd name="connsiteY6" fmla="*/ 323850 h 323850"/>
              <a:gd name="connsiteX7" fmla="*/ 239078 w 238125"/>
              <a:gd name="connsiteY7" fmla="*/ 319088 h 323850"/>
              <a:gd name="connsiteX8" fmla="*/ 239078 w 238125"/>
              <a:gd name="connsiteY8" fmla="*/ 250508 h 323850"/>
              <a:gd name="connsiteX9" fmla="*/ 239078 w 238125"/>
              <a:gd name="connsiteY9" fmla="*/ 4763 h 323850"/>
              <a:gd name="connsiteX10" fmla="*/ 233363 w 238125"/>
              <a:gd name="connsiteY10" fmla="*/ 0 h 323850"/>
              <a:gd name="connsiteX11" fmla="*/ 9525 w 238125"/>
              <a:gd name="connsiteY11" fmla="*/ 36195 h 323850"/>
              <a:gd name="connsiteX12" fmla="*/ 36195 w 238125"/>
              <a:gd name="connsiteY12" fmla="*/ 9525 h 323850"/>
              <a:gd name="connsiteX13" fmla="*/ 228600 w 238125"/>
              <a:gd name="connsiteY13" fmla="*/ 9525 h 323850"/>
              <a:gd name="connsiteX14" fmla="*/ 228600 w 238125"/>
              <a:gd name="connsiteY14" fmla="*/ 245745 h 323850"/>
              <a:gd name="connsiteX15" fmla="*/ 38100 w 238125"/>
              <a:gd name="connsiteY15" fmla="*/ 245745 h 323850"/>
              <a:gd name="connsiteX16" fmla="*/ 9525 w 238125"/>
              <a:gd name="connsiteY16" fmla="*/ 259080 h 323850"/>
              <a:gd name="connsiteX17" fmla="*/ 9525 w 238125"/>
              <a:gd name="connsiteY17" fmla="*/ 36195 h 323850"/>
              <a:gd name="connsiteX18" fmla="*/ 9525 w 238125"/>
              <a:gd name="connsiteY18" fmla="*/ 284798 h 323850"/>
              <a:gd name="connsiteX19" fmla="*/ 38100 w 238125"/>
              <a:gd name="connsiteY19" fmla="*/ 255270 h 323850"/>
              <a:gd name="connsiteX20" fmla="*/ 228600 w 238125"/>
              <a:gd name="connsiteY20" fmla="*/ 255270 h 323850"/>
              <a:gd name="connsiteX21" fmla="*/ 228600 w 238125"/>
              <a:gd name="connsiteY21" fmla="*/ 314325 h 323850"/>
              <a:gd name="connsiteX22" fmla="*/ 38100 w 238125"/>
              <a:gd name="connsiteY22" fmla="*/ 314325 h 323850"/>
              <a:gd name="connsiteX23" fmla="*/ 9525 w 238125"/>
              <a:gd name="connsiteY23" fmla="*/ 284798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323850">
                <a:moveTo>
                  <a:pt x="233363" y="0"/>
                </a:moveTo>
                <a:lnTo>
                  <a:pt x="36195" y="0"/>
                </a:lnTo>
                <a:cubicBezTo>
                  <a:pt x="16193" y="0"/>
                  <a:pt x="0" y="16193"/>
                  <a:pt x="0" y="36195"/>
                </a:cubicBezTo>
                <a:lnTo>
                  <a:pt x="0" y="289560"/>
                </a:lnTo>
                <a:cubicBezTo>
                  <a:pt x="0" y="290513"/>
                  <a:pt x="0" y="291465"/>
                  <a:pt x="953" y="292418"/>
                </a:cubicBezTo>
                <a:cubicBezTo>
                  <a:pt x="4763" y="310515"/>
                  <a:pt x="20003" y="323850"/>
                  <a:pt x="39053" y="323850"/>
                </a:cubicBezTo>
                <a:lnTo>
                  <a:pt x="234315" y="323850"/>
                </a:lnTo>
                <a:cubicBezTo>
                  <a:pt x="237173" y="323850"/>
                  <a:pt x="239078" y="321945"/>
                  <a:pt x="239078" y="319088"/>
                </a:cubicBezTo>
                <a:lnTo>
                  <a:pt x="239078" y="250508"/>
                </a:lnTo>
                <a:lnTo>
                  <a:pt x="239078" y="4763"/>
                </a:lnTo>
                <a:cubicBezTo>
                  <a:pt x="238125" y="1905"/>
                  <a:pt x="236220" y="0"/>
                  <a:pt x="233363" y="0"/>
                </a:cubicBezTo>
                <a:close/>
                <a:moveTo>
                  <a:pt x="9525" y="36195"/>
                </a:moveTo>
                <a:cubicBezTo>
                  <a:pt x="9525" y="21908"/>
                  <a:pt x="20955" y="9525"/>
                  <a:pt x="36195" y="9525"/>
                </a:cubicBezTo>
                <a:lnTo>
                  <a:pt x="228600" y="9525"/>
                </a:lnTo>
                <a:lnTo>
                  <a:pt x="228600" y="245745"/>
                </a:lnTo>
                <a:lnTo>
                  <a:pt x="38100" y="245745"/>
                </a:lnTo>
                <a:cubicBezTo>
                  <a:pt x="26670" y="245745"/>
                  <a:pt x="16193" y="251460"/>
                  <a:pt x="9525" y="259080"/>
                </a:cubicBezTo>
                <a:lnTo>
                  <a:pt x="9525" y="36195"/>
                </a:lnTo>
                <a:close/>
                <a:moveTo>
                  <a:pt x="9525" y="284798"/>
                </a:moveTo>
                <a:cubicBezTo>
                  <a:pt x="9525" y="268605"/>
                  <a:pt x="22860" y="255270"/>
                  <a:pt x="38100" y="255270"/>
                </a:cubicBezTo>
                <a:lnTo>
                  <a:pt x="228600" y="255270"/>
                </a:lnTo>
                <a:lnTo>
                  <a:pt x="228600" y="314325"/>
                </a:lnTo>
                <a:lnTo>
                  <a:pt x="38100" y="314325"/>
                </a:lnTo>
                <a:cubicBezTo>
                  <a:pt x="22860" y="314325"/>
                  <a:pt x="9525" y="300990"/>
                  <a:pt x="9525" y="284798"/>
                </a:cubicBezTo>
                <a:close/>
              </a:path>
            </a:pathLst>
          </a:custGeom>
          <a:solidFill>
            <a:srgbClr val="101010"/>
          </a:solidFill>
          <a:ln w="9525" cap="flat">
            <a:noFill/>
            <a:prstDash val="solid"/>
            <a:miter/>
          </a:ln>
        </p:spPr>
        <p:txBody>
          <a:bodyPr rtlCol="0" anchor="ctr"/>
          <a:lstStyle/>
          <a:p>
            <a:endParaRPr lang="de-DE"/>
          </a:p>
        </p:txBody>
      </p:sp>
      <p:grpSp>
        <p:nvGrpSpPr>
          <p:cNvPr id="5096" name="Graphic 3">
            <a:extLst>
              <a:ext uri="{FF2B5EF4-FFF2-40B4-BE49-F238E27FC236}">
                <a16:creationId xmlns:a16="http://schemas.microsoft.com/office/drawing/2014/main" id="{D761177A-34EC-4D41-A0D0-EDB1B8D344C2}"/>
              </a:ext>
              <a:ext uri="{C183D7F6-B498-43B3-948B-1728B52AA6E4}">
                <adec:decorative xmlns:adec="http://schemas.microsoft.com/office/drawing/2017/decorative" val="1"/>
              </a:ext>
            </a:extLst>
          </p:cNvPr>
          <p:cNvGrpSpPr>
            <a:grpSpLocks noChangeAspect="1"/>
          </p:cNvGrpSpPr>
          <p:nvPr/>
        </p:nvGrpSpPr>
        <p:grpSpPr>
          <a:xfrm>
            <a:off x="3266219" y="3455991"/>
            <a:ext cx="100199" cy="136269"/>
            <a:chOff x="5976937" y="3267075"/>
            <a:chExt cx="238125" cy="323850"/>
          </a:xfrm>
        </p:grpSpPr>
        <p:sp>
          <p:nvSpPr>
            <p:cNvPr id="5097" name="Freeform: Shape 5096">
              <a:extLst>
                <a:ext uri="{FF2B5EF4-FFF2-40B4-BE49-F238E27FC236}">
                  <a16:creationId xmlns:a16="http://schemas.microsoft.com/office/drawing/2014/main" id="{42F6B43F-AB9A-42EA-9BC8-268717F6AE94}"/>
                </a:ext>
              </a:extLst>
            </p:cNvPr>
            <p:cNvSpPr/>
            <p:nvPr/>
          </p:nvSpPr>
          <p:spPr>
            <a:xfrm>
              <a:off x="5976937" y="3267075"/>
              <a:ext cx="238125" cy="323850"/>
            </a:xfrm>
            <a:custGeom>
              <a:avLst/>
              <a:gdLst>
                <a:gd name="connsiteX0" fmla="*/ 233363 w 238125"/>
                <a:gd name="connsiteY0" fmla="*/ 0 h 323850"/>
                <a:gd name="connsiteX1" fmla="*/ 36195 w 238125"/>
                <a:gd name="connsiteY1" fmla="*/ 0 h 323850"/>
                <a:gd name="connsiteX2" fmla="*/ 0 w 238125"/>
                <a:gd name="connsiteY2" fmla="*/ 36195 h 323850"/>
                <a:gd name="connsiteX3" fmla="*/ 0 w 238125"/>
                <a:gd name="connsiteY3" fmla="*/ 289560 h 323850"/>
                <a:gd name="connsiteX4" fmla="*/ 953 w 238125"/>
                <a:gd name="connsiteY4" fmla="*/ 292418 h 323850"/>
                <a:gd name="connsiteX5" fmla="*/ 39053 w 238125"/>
                <a:gd name="connsiteY5" fmla="*/ 323850 h 323850"/>
                <a:gd name="connsiteX6" fmla="*/ 234315 w 238125"/>
                <a:gd name="connsiteY6" fmla="*/ 323850 h 323850"/>
                <a:gd name="connsiteX7" fmla="*/ 239078 w 238125"/>
                <a:gd name="connsiteY7" fmla="*/ 319088 h 323850"/>
                <a:gd name="connsiteX8" fmla="*/ 239078 w 238125"/>
                <a:gd name="connsiteY8" fmla="*/ 250508 h 323850"/>
                <a:gd name="connsiteX9" fmla="*/ 239078 w 238125"/>
                <a:gd name="connsiteY9" fmla="*/ 4763 h 323850"/>
                <a:gd name="connsiteX10" fmla="*/ 233363 w 238125"/>
                <a:gd name="connsiteY10" fmla="*/ 0 h 323850"/>
                <a:gd name="connsiteX11" fmla="*/ 9525 w 238125"/>
                <a:gd name="connsiteY11" fmla="*/ 36195 h 323850"/>
                <a:gd name="connsiteX12" fmla="*/ 36195 w 238125"/>
                <a:gd name="connsiteY12" fmla="*/ 9525 h 323850"/>
                <a:gd name="connsiteX13" fmla="*/ 228600 w 238125"/>
                <a:gd name="connsiteY13" fmla="*/ 9525 h 323850"/>
                <a:gd name="connsiteX14" fmla="*/ 228600 w 238125"/>
                <a:gd name="connsiteY14" fmla="*/ 245745 h 323850"/>
                <a:gd name="connsiteX15" fmla="*/ 38100 w 238125"/>
                <a:gd name="connsiteY15" fmla="*/ 245745 h 323850"/>
                <a:gd name="connsiteX16" fmla="*/ 9525 w 238125"/>
                <a:gd name="connsiteY16" fmla="*/ 259080 h 323850"/>
                <a:gd name="connsiteX17" fmla="*/ 9525 w 238125"/>
                <a:gd name="connsiteY17" fmla="*/ 36195 h 323850"/>
                <a:gd name="connsiteX18" fmla="*/ 9525 w 238125"/>
                <a:gd name="connsiteY18" fmla="*/ 284798 h 323850"/>
                <a:gd name="connsiteX19" fmla="*/ 38100 w 238125"/>
                <a:gd name="connsiteY19" fmla="*/ 255270 h 323850"/>
                <a:gd name="connsiteX20" fmla="*/ 228600 w 238125"/>
                <a:gd name="connsiteY20" fmla="*/ 255270 h 323850"/>
                <a:gd name="connsiteX21" fmla="*/ 228600 w 238125"/>
                <a:gd name="connsiteY21" fmla="*/ 314325 h 323850"/>
                <a:gd name="connsiteX22" fmla="*/ 38100 w 238125"/>
                <a:gd name="connsiteY22" fmla="*/ 314325 h 323850"/>
                <a:gd name="connsiteX23" fmla="*/ 9525 w 238125"/>
                <a:gd name="connsiteY23" fmla="*/ 284798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8125" h="323850">
                  <a:moveTo>
                    <a:pt x="233363" y="0"/>
                  </a:moveTo>
                  <a:lnTo>
                    <a:pt x="36195" y="0"/>
                  </a:lnTo>
                  <a:cubicBezTo>
                    <a:pt x="16193" y="0"/>
                    <a:pt x="0" y="16193"/>
                    <a:pt x="0" y="36195"/>
                  </a:cubicBezTo>
                  <a:lnTo>
                    <a:pt x="0" y="289560"/>
                  </a:lnTo>
                  <a:cubicBezTo>
                    <a:pt x="0" y="290513"/>
                    <a:pt x="0" y="291465"/>
                    <a:pt x="953" y="292418"/>
                  </a:cubicBezTo>
                  <a:cubicBezTo>
                    <a:pt x="4763" y="310515"/>
                    <a:pt x="20003" y="323850"/>
                    <a:pt x="39053" y="323850"/>
                  </a:cubicBezTo>
                  <a:lnTo>
                    <a:pt x="234315" y="323850"/>
                  </a:lnTo>
                  <a:cubicBezTo>
                    <a:pt x="237173" y="323850"/>
                    <a:pt x="239078" y="321945"/>
                    <a:pt x="239078" y="319088"/>
                  </a:cubicBezTo>
                  <a:lnTo>
                    <a:pt x="239078" y="250508"/>
                  </a:lnTo>
                  <a:lnTo>
                    <a:pt x="239078" y="4763"/>
                  </a:lnTo>
                  <a:cubicBezTo>
                    <a:pt x="238125" y="1905"/>
                    <a:pt x="236220" y="0"/>
                    <a:pt x="233363" y="0"/>
                  </a:cubicBezTo>
                  <a:close/>
                  <a:moveTo>
                    <a:pt x="9525" y="36195"/>
                  </a:moveTo>
                  <a:cubicBezTo>
                    <a:pt x="9525" y="21908"/>
                    <a:pt x="20955" y="9525"/>
                    <a:pt x="36195" y="9525"/>
                  </a:cubicBezTo>
                  <a:lnTo>
                    <a:pt x="228600" y="9525"/>
                  </a:lnTo>
                  <a:lnTo>
                    <a:pt x="228600" y="245745"/>
                  </a:lnTo>
                  <a:lnTo>
                    <a:pt x="38100" y="245745"/>
                  </a:lnTo>
                  <a:cubicBezTo>
                    <a:pt x="26670" y="245745"/>
                    <a:pt x="16193" y="251460"/>
                    <a:pt x="9525" y="259080"/>
                  </a:cubicBezTo>
                  <a:lnTo>
                    <a:pt x="9525" y="36195"/>
                  </a:lnTo>
                  <a:close/>
                  <a:moveTo>
                    <a:pt x="9525" y="284798"/>
                  </a:moveTo>
                  <a:cubicBezTo>
                    <a:pt x="9525" y="268605"/>
                    <a:pt x="22860" y="255270"/>
                    <a:pt x="38100" y="255270"/>
                  </a:cubicBezTo>
                  <a:lnTo>
                    <a:pt x="228600" y="255270"/>
                  </a:lnTo>
                  <a:lnTo>
                    <a:pt x="228600" y="314325"/>
                  </a:lnTo>
                  <a:lnTo>
                    <a:pt x="38100" y="314325"/>
                  </a:lnTo>
                  <a:cubicBezTo>
                    <a:pt x="22860" y="314325"/>
                    <a:pt x="9525" y="300990"/>
                    <a:pt x="9525" y="284798"/>
                  </a:cubicBezTo>
                  <a:close/>
                </a:path>
              </a:pathLst>
            </a:custGeom>
            <a:solidFill>
              <a:srgbClr val="101010"/>
            </a:solidFill>
            <a:ln w="9525" cap="flat">
              <a:noFill/>
              <a:prstDash val="solid"/>
              <a:miter/>
            </a:ln>
          </p:spPr>
          <p:txBody>
            <a:bodyPr rtlCol="0" anchor="ctr"/>
            <a:lstStyle/>
            <a:p>
              <a:endParaRPr lang="de-DE"/>
            </a:p>
          </p:txBody>
        </p:sp>
        <p:grpSp>
          <p:nvGrpSpPr>
            <p:cNvPr id="5098" name="Graphic 3">
              <a:extLst>
                <a:ext uri="{FF2B5EF4-FFF2-40B4-BE49-F238E27FC236}">
                  <a16:creationId xmlns:a16="http://schemas.microsoft.com/office/drawing/2014/main" id="{64B5A67D-0CA8-4AA0-BC2B-2F103356C525}"/>
                </a:ext>
              </a:extLst>
            </p:cNvPr>
            <p:cNvGrpSpPr/>
            <p:nvPr/>
          </p:nvGrpSpPr>
          <p:grpSpPr>
            <a:xfrm>
              <a:off x="6034087" y="3337560"/>
              <a:ext cx="114300" cy="123825"/>
              <a:chOff x="6034087" y="3337560"/>
              <a:chExt cx="114300" cy="123825"/>
            </a:xfrm>
            <a:solidFill>
              <a:srgbClr val="101010"/>
            </a:solidFill>
          </p:grpSpPr>
          <p:sp>
            <p:nvSpPr>
              <p:cNvPr id="5099" name="Freeform: Shape 5098">
                <a:extLst>
                  <a:ext uri="{FF2B5EF4-FFF2-40B4-BE49-F238E27FC236}">
                    <a16:creationId xmlns:a16="http://schemas.microsoft.com/office/drawing/2014/main" id="{27FDC782-136F-4527-9112-AFF143C4CE82}"/>
                  </a:ext>
                </a:extLst>
              </p:cNvPr>
              <p:cNvSpPr/>
              <p:nvPr/>
            </p:nvSpPr>
            <p:spPr>
              <a:xfrm>
                <a:off x="6125051" y="3378041"/>
                <a:ext cx="9525" cy="38100"/>
              </a:xfrm>
              <a:custGeom>
                <a:avLst/>
                <a:gdLst>
                  <a:gd name="connsiteX0" fmla="*/ 5239 w 9525"/>
                  <a:gd name="connsiteY0" fmla="*/ 43339 h 38100"/>
                  <a:gd name="connsiteX1" fmla="*/ 1429 w 9525"/>
                  <a:gd name="connsiteY1" fmla="*/ 41434 h 38100"/>
                  <a:gd name="connsiteX2" fmla="*/ 1429 w 9525"/>
                  <a:gd name="connsiteY2" fmla="*/ 34766 h 38100"/>
                  <a:gd name="connsiteX3" fmla="*/ 7144 w 9525"/>
                  <a:gd name="connsiteY3" fmla="*/ 21431 h 38100"/>
                  <a:gd name="connsiteX4" fmla="*/ 1429 w 9525"/>
                  <a:gd name="connsiteY4" fmla="*/ 8096 h 38100"/>
                  <a:gd name="connsiteX5" fmla="*/ 1429 w 9525"/>
                  <a:gd name="connsiteY5" fmla="*/ 1429 h 38100"/>
                  <a:gd name="connsiteX6" fmla="*/ 8096 w 9525"/>
                  <a:gd name="connsiteY6" fmla="*/ 1429 h 38100"/>
                  <a:gd name="connsiteX7" fmla="*/ 16669 w 9525"/>
                  <a:gd name="connsiteY7" fmla="*/ 21431 h 38100"/>
                  <a:gd name="connsiteX8" fmla="*/ 8096 w 9525"/>
                  <a:gd name="connsiteY8" fmla="*/ 41434 h 38100"/>
                  <a:gd name="connsiteX9" fmla="*/ 5239 w 9525"/>
                  <a:gd name="connsiteY9" fmla="*/ 43339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 h="38100">
                    <a:moveTo>
                      <a:pt x="5239" y="43339"/>
                    </a:moveTo>
                    <a:cubicBezTo>
                      <a:pt x="4286" y="43339"/>
                      <a:pt x="2381" y="42386"/>
                      <a:pt x="1429" y="41434"/>
                    </a:cubicBezTo>
                    <a:cubicBezTo>
                      <a:pt x="-476" y="39529"/>
                      <a:pt x="-476" y="36671"/>
                      <a:pt x="1429" y="34766"/>
                    </a:cubicBezTo>
                    <a:cubicBezTo>
                      <a:pt x="5239" y="30956"/>
                      <a:pt x="7144" y="27146"/>
                      <a:pt x="7144" y="21431"/>
                    </a:cubicBezTo>
                    <a:cubicBezTo>
                      <a:pt x="7144" y="15716"/>
                      <a:pt x="5239" y="11906"/>
                      <a:pt x="1429" y="8096"/>
                    </a:cubicBezTo>
                    <a:cubicBezTo>
                      <a:pt x="-476" y="6191"/>
                      <a:pt x="-476" y="3334"/>
                      <a:pt x="1429" y="1429"/>
                    </a:cubicBezTo>
                    <a:cubicBezTo>
                      <a:pt x="3334" y="-476"/>
                      <a:pt x="6191" y="-476"/>
                      <a:pt x="8096" y="1429"/>
                    </a:cubicBezTo>
                    <a:cubicBezTo>
                      <a:pt x="13811" y="7144"/>
                      <a:pt x="16669" y="13811"/>
                      <a:pt x="16669" y="21431"/>
                    </a:cubicBezTo>
                    <a:cubicBezTo>
                      <a:pt x="16669" y="29051"/>
                      <a:pt x="13811" y="35719"/>
                      <a:pt x="8096" y="41434"/>
                    </a:cubicBezTo>
                    <a:cubicBezTo>
                      <a:pt x="7144" y="43339"/>
                      <a:pt x="6191" y="43339"/>
                      <a:pt x="5239" y="43339"/>
                    </a:cubicBezTo>
                    <a:close/>
                  </a:path>
                </a:pathLst>
              </a:custGeom>
              <a:solidFill>
                <a:srgbClr val="101010"/>
              </a:solidFill>
              <a:ln w="9525" cap="flat">
                <a:noFill/>
                <a:prstDash val="solid"/>
                <a:miter/>
              </a:ln>
            </p:spPr>
            <p:txBody>
              <a:bodyPr rtlCol="0" anchor="ctr"/>
              <a:lstStyle/>
              <a:p>
                <a:endParaRPr lang="de-DE"/>
              </a:p>
            </p:txBody>
          </p:sp>
          <p:sp>
            <p:nvSpPr>
              <p:cNvPr id="5100" name="Freeform: Shape 5099">
                <a:extLst>
                  <a:ext uri="{FF2B5EF4-FFF2-40B4-BE49-F238E27FC236}">
                    <a16:creationId xmlns:a16="http://schemas.microsoft.com/office/drawing/2014/main" id="{6CA148A6-0559-45EF-91B7-D04DF5421A8C}"/>
                  </a:ext>
                </a:extLst>
              </p:cNvPr>
              <p:cNvSpPr/>
              <p:nvPr/>
            </p:nvSpPr>
            <p:spPr>
              <a:xfrm>
                <a:off x="6134576" y="3367564"/>
                <a:ext cx="19050" cy="57150"/>
              </a:xfrm>
              <a:custGeom>
                <a:avLst/>
                <a:gdLst>
                  <a:gd name="connsiteX0" fmla="*/ 5239 w 19050"/>
                  <a:gd name="connsiteY0" fmla="*/ 64294 h 57150"/>
                  <a:gd name="connsiteX1" fmla="*/ 1429 w 19050"/>
                  <a:gd name="connsiteY1" fmla="*/ 62389 h 57150"/>
                  <a:gd name="connsiteX2" fmla="*/ 1429 w 19050"/>
                  <a:gd name="connsiteY2" fmla="*/ 55721 h 57150"/>
                  <a:gd name="connsiteX3" fmla="*/ 11906 w 19050"/>
                  <a:gd name="connsiteY3" fmla="*/ 31909 h 57150"/>
                  <a:gd name="connsiteX4" fmla="*/ 1429 w 19050"/>
                  <a:gd name="connsiteY4" fmla="*/ 8096 h 57150"/>
                  <a:gd name="connsiteX5" fmla="*/ 1429 w 19050"/>
                  <a:gd name="connsiteY5" fmla="*/ 1429 h 57150"/>
                  <a:gd name="connsiteX6" fmla="*/ 8096 w 19050"/>
                  <a:gd name="connsiteY6" fmla="*/ 1429 h 57150"/>
                  <a:gd name="connsiteX7" fmla="*/ 21431 w 19050"/>
                  <a:gd name="connsiteY7" fmla="*/ 31909 h 57150"/>
                  <a:gd name="connsiteX8" fmla="*/ 8096 w 19050"/>
                  <a:gd name="connsiteY8" fmla="*/ 62389 h 57150"/>
                  <a:gd name="connsiteX9" fmla="*/ 5239 w 19050"/>
                  <a:gd name="connsiteY9" fmla="*/ 64294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57150">
                    <a:moveTo>
                      <a:pt x="5239" y="64294"/>
                    </a:moveTo>
                    <a:cubicBezTo>
                      <a:pt x="4286" y="64294"/>
                      <a:pt x="2381" y="63341"/>
                      <a:pt x="1429" y="62389"/>
                    </a:cubicBezTo>
                    <a:cubicBezTo>
                      <a:pt x="-476" y="60484"/>
                      <a:pt x="-476" y="57626"/>
                      <a:pt x="1429" y="55721"/>
                    </a:cubicBezTo>
                    <a:cubicBezTo>
                      <a:pt x="8096" y="50006"/>
                      <a:pt x="11906" y="41434"/>
                      <a:pt x="11906" y="31909"/>
                    </a:cubicBezTo>
                    <a:cubicBezTo>
                      <a:pt x="11906" y="23336"/>
                      <a:pt x="8096" y="14764"/>
                      <a:pt x="1429" y="8096"/>
                    </a:cubicBezTo>
                    <a:cubicBezTo>
                      <a:pt x="-476" y="6191"/>
                      <a:pt x="-476" y="3334"/>
                      <a:pt x="1429" y="1429"/>
                    </a:cubicBezTo>
                    <a:cubicBezTo>
                      <a:pt x="3334" y="-476"/>
                      <a:pt x="6191" y="-476"/>
                      <a:pt x="8096" y="1429"/>
                    </a:cubicBezTo>
                    <a:cubicBezTo>
                      <a:pt x="16669" y="9049"/>
                      <a:pt x="21431" y="20479"/>
                      <a:pt x="21431" y="31909"/>
                    </a:cubicBezTo>
                    <a:cubicBezTo>
                      <a:pt x="21431" y="43339"/>
                      <a:pt x="16669" y="53816"/>
                      <a:pt x="8096" y="62389"/>
                    </a:cubicBezTo>
                    <a:cubicBezTo>
                      <a:pt x="8096" y="64294"/>
                      <a:pt x="6191" y="64294"/>
                      <a:pt x="5239" y="64294"/>
                    </a:cubicBezTo>
                    <a:close/>
                  </a:path>
                </a:pathLst>
              </a:custGeom>
              <a:solidFill>
                <a:srgbClr val="101010"/>
              </a:solidFill>
              <a:ln w="9525" cap="flat">
                <a:noFill/>
                <a:prstDash val="solid"/>
                <a:miter/>
              </a:ln>
            </p:spPr>
            <p:txBody>
              <a:bodyPr rtlCol="0" anchor="ctr"/>
              <a:lstStyle/>
              <a:p>
                <a:endParaRPr lang="de-DE"/>
              </a:p>
            </p:txBody>
          </p:sp>
          <p:sp>
            <p:nvSpPr>
              <p:cNvPr id="5101" name="Freeform: Shape 5100">
                <a:extLst>
                  <a:ext uri="{FF2B5EF4-FFF2-40B4-BE49-F238E27FC236}">
                    <a16:creationId xmlns:a16="http://schemas.microsoft.com/office/drawing/2014/main" id="{275F748C-726D-4390-BCB9-DA91AC07A85F}"/>
                  </a:ext>
                </a:extLst>
              </p:cNvPr>
              <p:cNvSpPr/>
              <p:nvPr/>
            </p:nvSpPr>
            <p:spPr>
              <a:xfrm>
                <a:off x="6034087" y="3337560"/>
                <a:ext cx="85725" cy="123825"/>
              </a:xfrm>
              <a:custGeom>
                <a:avLst/>
                <a:gdLst>
                  <a:gd name="connsiteX0" fmla="*/ 82868 w 85725"/>
                  <a:gd name="connsiteY0" fmla="*/ 125730 h 123825"/>
                  <a:gd name="connsiteX1" fmla="*/ 80010 w 85725"/>
                  <a:gd name="connsiteY1" fmla="*/ 124778 h 123825"/>
                  <a:gd name="connsiteX2" fmla="*/ 31433 w 85725"/>
                  <a:gd name="connsiteY2" fmla="*/ 87630 h 123825"/>
                  <a:gd name="connsiteX3" fmla="*/ 4763 w 85725"/>
                  <a:gd name="connsiteY3" fmla="*/ 87630 h 123825"/>
                  <a:gd name="connsiteX4" fmla="*/ 0 w 85725"/>
                  <a:gd name="connsiteY4" fmla="*/ 82868 h 123825"/>
                  <a:gd name="connsiteX5" fmla="*/ 0 w 85725"/>
                  <a:gd name="connsiteY5" fmla="*/ 42862 h 123825"/>
                  <a:gd name="connsiteX6" fmla="*/ 4763 w 85725"/>
                  <a:gd name="connsiteY6" fmla="*/ 38100 h 123825"/>
                  <a:gd name="connsiteX7" fmla="*/ 31433 w 85725"/>
                  <a:gd name="connsiteY7" fmla="*/ 38100 h 123825"/>
                  <a:gd name="connsiteX8" fmla="*/ 80010 w 85725"/>
                  <a:gd name="connsiteY8" fmla="*/ 952 h 123825"/>
                  <a:gd name="connsiteX9" fmla="*/ 84773 w 85725"/>
                  <a:gd name="connsiteY9" fmla="*/ 0 h 123825"/>
                  <a:gd name="connsiteX10" fmla="*/ 87630 w 85725"/>
                  <a:gd name="connsiteY10" fmla="*/ 4763 h 123825"/>
                  <a:gd name="connsiteX11" fmla="*/ 87630 w 85725"/>
                  <a:gd name="connsiteY11" fmla="*/ 120968 h 123825"/>
                  <a:gd name="connsiteX12" fmla="*/ 84773 w 85725"/>
                  <a:gd name="connsiteY12" fmla="*/ 125730 h 123825"/>
                  <a:gd name="connsiteX13" fmla="*/ 82868 w 85725"/>
                  <a:gd name="connsiteY13" fmla="*/ 125730 h 123825"/>
                  <a:gd name="connsiteX14" fmla="*/ 9525 w 85725"/>
                  <a:gd name="connsiteY14" fmla="*/ 78105 h 123825"/>
                  <a:gd name="connsiteX15" fmla="*/ 33338 w 85725"/>
                  <a:gd name="connsiteY15" fmla="*/ 78105 h 123825"/>
                  <a:gd name="connsiteX16" fmla="*/ 36195 w 85725"/>
                  <a:gd name="connsiteY16" fmla="*/ 79058 h 123825"/>
                  <a:gd name="connsiteX17" fmla="*/ 78105 w 85725"/>
                  <a:gd name="connsiteY17" fmla="*/ 111443 h 123825"/>
                  <a:gd name="connsiteX18" fmla="*/ 78105 w 85725"/>
                  <a:gd name="connsiteY18" fmla="*/ 14287 h 123825"/>
                  <a:gd name="connsiteX19" fmla="*/ 36195 w 85725"/>
                  <a:gd name="connsiteY19" fmla="*/ 46673 h 123825"/>
                  <a:gd name="connsiteX20" fmla="*/ 33338 w 85725"/>
                  <a:gd name="connsiteY20" fmla="*/ 47625 h 123825"/>
                  <a:gd name="connsiteX21" fmla="*/ 9525 w 85725"/>
                  <a:gd name="connsiteY21" fmla="*/ 47625 h 123825"/>
                  <a:gd name="connsiteX22" fmla="*/ 9525 w 85725"/>
                  <a:gd name="connsiteY22" fmla="*/ 7810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 h="123825">
                    <a:moveTo>
                      <a:pt x="82868" y="125730"/>
                    </a:moveTo>
                    <a:cubicBezTo>
                      <a:pt x="81915" y="125730"/>
                      <a:pt x="80963" y="125730"/>
                      <a:pt x="80010" y="124778"/>
                    </a:cubicBezTo>
                    <a:lnTo>
                      <a:pt x="31433" y="87630"/>
                    </a:lnTo>
                    <a:lnTo>
                      <a:pt x="4763" y="87630"/>
                    </a:lnTo>
                    <a:cubicBezTo>
                      <a:pt x="1905" y="87630"/>
                      <a:pt x="0" y="85725"/>
                      <a:pt x="0" y="82868"/>
                    </a:cubicBezTo>
                    <a:lnTo>
                      <a:pt x="0" y="42862"/>
                    </a:lnTo>
                    <a:cubicBezTo>
                      <a:pt x="0" y="40005"/>
                      <a:pt x="1905" y="38100"/>
                      <a:pt x="4763" y="38100"/>
                    </a:cubicBezTo>
                    <a:lnTo>
                      <a:pt x="31433" y="38100"/>
                    </a:lnTo>
                    <a:lnTo>
                      <a:pt x="80010" y="952"/>
                    </a:lnTo>
                    <a:cubicBezTo>
                      <a:pt x="81915" y="0"/>
                      <a:pt x="83820" y="0"/>
                      <a:pt x="84773" y="0"/>
                    </a:cubicBezTo>
                    <a:cubicBezTo>
                      <a:pt x="86678" y="952"/>
                      <a:pt x="87630" y="2857"/>
                      <a:pt x="87630" y="4763"/>
                    </a:cubicBezTo>
                    <a:lnTo>
                      <a:pt x="87630" y="120968"/>
                    </a:lnTo>
                    <a:cubicBezTo>
                      <a:pt x="87630" y="122872"/>
                      <a:pt x="86678" y="124778"/>
                      <a:pt x="84773" y="125730"/>
                    </a:cubicBezTo>
                    <a:cubicBezTo>
                      <a:pt x="84773" y="125730"/>
                      <a:pt x="83820" y="125730"/>
                      <a:pt x="82868" y="125730"/>
                    </a:cubicBezTo>
                    <a:close/>
                    <a:moveTo>
                      <a:pt x="9525" y="78105"/>
                    </a:moveTo>
                    <a:lnTo>
                      <a:pt x="33338" y="78105"/>
                    </a:lnTo>
                    <a:cubicBezTo>
                      <a:pt x="34290" y="78105"/>
                      <a:pt x="35243" y="78105"/>
                      <a:pt x="36195" y="79058"/>
                    </a:cubicBezTo>
                    <a:lnTo>
                      <a:pt x="78105" y="111443"/>
                    </a:lnTo>
                    <a:lnTo>
                      <a:pt x="78105" y="14287"/>
                    </a:lnTo>
                    <a:lnTo>
                      <a:pt x="36195" y="46673"/>
                    </a:lnTo>
                    <a:cubicBezTo>
                      <a:pt x="35243" y="47625"/>
                      <a:pt x="34290" y="47625"/>
                      <a:pt x="33338" y="47625"/>
                    </a:cubicBezTo>
                    <a:lnTo>
                      <a:pt x="9525" y="47625"/>
                    </a:lnTo>
                    <a:lnTo>
                      <a:pt x="9525" y="78105"/>
                    </a:lnTo>
                    <a:close/>
                  </a:path>
                </a:pathLst>
              </a:custGeom>
              <a:solidFill>
                <a:srgbClr val="101010"/>
              </a:solidFill>
              <a:ln w="9525" cap="flat">
                <a:noFill/>
                <a:prstDash val="solid"/>
                <a:miter/>
              </a:ln>
            </p:spPr>
            <p:txBody>
              <a:bodyPr rtlCol="0" anchor="ctr"/>
              <a:lstStyle/>
              <a:p>
                <a:endParaRPr lang="de-DE"/>
              </a:p>
            </p:txBody>
          </p:sp>
        </p:grpSp>
      </p:grpSp>
      <p:sp>
        <p:nvSpPr>
          <p:cNvPr id="5102" name="Graphic 3">
            <a:extLst>
              <a:ext uri="{FF2B5EF4-FFF2-40B4-BE49-F238E27FC236}">
                <a16:creationId xmlns:a16="http://schemas.microsoft.com/office/drawing/2014/main" id="{4E3449E3-A789-4EFE-9C49-1A55966D218E}"/>
              </a:ext>
              <a:ext uri="{C183D7F6-B498-43B3-948B-1728B52AA6E4}">
                <adec:decorative xmlns:adec="http://schemas.microsoft.com/office/drawing/2017/decorative" val="1"/>
              </a:ext>
            </a:extLst>
          </p:cNvPr>
          <p:cNvSpPr>
            <a:spLocks noChangeAspect="1"/>
          </p:cNvSpPr>
          <p:nvPr/>
        </p:nvSpPr>
        <p:spPr>
          <a:xfrm>
            <a:off x="3512588" y="3469832"/>
            <a:ext cx="112608" cy="108587"/>
          </a:xfrm>
          <a:custGeom>
            <a:avLst/>
            <a:gdLst>
              <a:gd name="connsiteX0" fmla="*/ 18098 w 266700"/>
              <a:gd name="connsiteY0" fmla="*/ 153353 h 257175"/>
              <a:gd name="connsiteX1" fmla="*/ 19050 w 266700"/>
              <a:gd name="connsiteY1" fmla="*/ 153353 h 257175"/>
              <a:gd name="connsiteX2" fmla="*/ 146685 w 266700"/>
              <a:gd name="connsiteY2" fmla="*/ 180975 h 257175"/>
              <a:gd name="connsiteX3" fmla="*/ 147638 w 266700"/>
              <a:gd name="connsiteY3" fmla="*/ 180975 h 257175"/>
              <a:gd name="connsiteX4" fmla="*/ 149543 w 266700"/>
              <a:gd name="connsiteY4" fmla="*/ 180023 h 257175"/>
              <a:gd name="connsiteX5" fmla="*/ 263843 w 266700"/>
              <a:gd name="connsiteY5" fmla="*/ 115253 h 257175"/>
              <a:gd name="connsiteX6" fmla="*/ 265748 w 266700"/>
              <a:gd name="connsiteY6" fmla="*/ 108585 h 257175"/>
              <a:gd name="connsiteX7" fmla="*/ 259080 w 266700"/>
              <a:gd name="connsiteY7" fmla="*/ 106680 h 257175"/>
              <a:gd name="connsiteX8" fmla="*/ 146685 w 266700"/>
              <a:gd name="connsiteY8" fmla="*/ 171450 h 257175"/>
              <a:gd name="connsiteX9" fmla="*/ 21908 w 266700"/>
              <a:gd name="connsiteY9" fmla="*/ 144780 h 257175"/>
              <a:gd name="connsiteX10" fmla="*/ 21908 w 266700"/>
              <a:gd name="connsiteY10" fmla="*/ 144780 h 257175"/>
              <a:gd name="connsiteX11" fmla="*/ 18098 w 266700"/>
              <a:gd name="connsiteY11" fmla="*/ 142875 h 257175"/>
              <a:gd name="connsiteX12" fmla="*/ 9525 w 266700"/>
              <a:gd name="connsiteY12" fmla="*/ 126683 h 257175"/>
              <a:gd name="connsiteX13" fmla="*/ 18098 w 266700"/>
              <a:gd name="connsiteY13" fmla="*/ 111443 h 257175"/>
              <a:gd name="connsiteX14" fmla="*/ 19050 w 266700"/>
              <a:gd name="connsiteY14" fmla="*/ 111443 h 257175"/>
              <a:gd name="connsiteX15" fmla="*/ 146685 w 266700"/>
              <a:gd name="connsiteY15" fmla="*/ 138113 h 257175"/>
              <a:gd name="connsiteX16" fmla="*/ 147638 w 266700"/>
              <a:gd name="connsiteY16" fmla="*/ 138113 h 257175"/>
              <a:gd name="connsiteX17" fmla="*/ 149543 w 266700"/>
              <a:gd name="connsiteY17" fmla="*/ 137160 h 257175"/>
              <a:gd name="connsiteX18" fmla="*/ 263843 w 266700"/>
              <a:gd name="connsiteY18" fmla="*/ 72390 h 257175"/>
              <a:gd name="connsiteX19" fmla="*/ 266700 w 266700"/>
              <a:gd name="connsiteY19" fmla="*/ 67628 h 257175"/>
              <a:gd name="connsiteX20" fmla="*/ 260033 w 266700"/>
              <a:gd name="connsiteY20" fmla="*/ 65723 h 257175"/>
              <a:gd name="connsiteX21" fmla="*/ 147638 w 266700"/>
              <a:gd name="connsiteY21" fmla="*/ 129540 h 257175"/>
              <a:gd name="connsiteX22" fmla="*/ 21908 w 266700"/>
              <a:gd name="connsiteY22" fmla="*/ 102870 h 257175"/>
              <a:gd name="connsiteX23" fmla="*/ 9525 w 266700"/>
              <a:gd name="connsiteY23" fmla="*/ 84773 h 257175"/>
              <a:gd name="connsiteX24" fmla="*/ 21908 w 266700"/>
              <a:gd name="connsiteY24" fmla="*/ 67628 h 257175"/>
              <a:gd name="connsiteX25" fmla="*/ 146685 w 266700"/>
              <a:gd name="connsiteY25" fmla="*/ 96203 h 257175"/>
              <a:gd name="connsiteX26" fmla="*/ 150495 w 266700"/>
              <a:gd name="connsiteY26" fmla="*/ 95250 h 257175"/>
              <a:gd name="connsiteX27" fmla="*/ 264795 w 266700"/>
              <a:gd name="connsiteY27" fmla="*/ 31433 h 257175"/>
              <a:gd name="connsiteX28" fmla="*/ 266700 w 266700"/>
              <a:gd name="connsiteY28" fmla="*/ 25718 h 257175"/>
              <a:gd name="connsiteX29" fmla="*/ 262890 w 266700"/>
              <a:gd name="connsiteY29" fmla="*/ 21908 h 257175"/>
              <a:gd name="connsiteX30" fmla="*/ 160973 w 266700"/>
              <a:gd name="connsiteY30" fmla="*/ 953 h 257175"/>
              <a:gd name="connsiteX31" fmla="*/ 151448 w 266700"/>
              <a:gd name="connsiteY31" fmla="*/ 0 h 257175"/>
              <a:gd name="connsiteX32" fmla="*/ 116205 w 266700"/>
              <a:gd name="connsiteY32" fmla="*/ 5715 h 257175"/>
              <a:gd name="connsiteX33" fmla="*/ 18098 w 266700"/>
              <a:gd name="connsiteY33" fmla="*/ 58103 h 257175"/>
              <a:gd name="connsiteX34" fmla="*/ 17145 w 266700"/>
              <a:gd name="connsiteY34" fmla="*/ 58103 h 257175"/>
              <a:gd name="connsiteX35" fmla="*/ 0 w 266700"/>
              <a:gd name="connsiteY35" fmla="*/ 84773 h 257175"/>
              <a:gd name="connsiteX36" fmla="*/ 9525 w 266700"/>
              <a:gd name="connsiteY36" fmla="*/ 106680 h 257175"/>
              <a:gd name="connsiteX37" fmla="*/ 0 w 266700"/>
              <a:gd name="connsiteY37" fmla="*/ 126683 h 257175"/>
              <a:gd name="connsiteX38" fmla="*/ 9525 w 266700"/>
              <a:gd name="connsiteY38" fmla="*/ 147638 h 257175"/>
              <a:gd name="connsiteX39" fmla="*/ 0 w 266700"/>
              <a:gd name="connsiteY39" fmla="*/ 167640 h 257175"/>
              <a:gd name="connsiteX40" fmla="*/ 10478 w 266700"/>
              <a:gd name="connsiteY40" fmla="*/ 189548 h 257175"/>
              <a:gd name="connsiteX41" fmla="*/ 0 w 266700"/>
              <a:gd name="connsiteY41" fmla="*/ 211455 h 257175"/>
              <a:gd name="connsiteX42" fmla="*/ 19050 w 266700"/>
              <a:gd name="connsiteY42" fmla="*/ 238125 h 257175"/>
              <a:gd name="connsiteX43" fmla="*/ 146685 w 266700"/>
              <a:gd name="connsiteY43" fmla="*/ 264795 h 257175"/>
              <a:gd name="connsiteX44" fmla="*/ 147638 w 266700"/>
              <a:gd name="connsiteY44" fmla="*/ 264795 h 257175"/>
              <a:gd name="connsiteX45" fmla="*/ 149543 w 266700"/>
              <a:gd name="connsiteY45" fmla="*/ 263843 h 257175"/>
              <a:gd name="connsiteX46" fmla="*/ 263843 w 266700"/>
              <a:gd name="connsiteY46" fmla="*/ 199073 h 257175"/>
              <a:gd name="connsiteX47" fmla="*/ 265748 w 266700"/>
              <a:gd name="connsiteY47" fmla="*/ 192405 h 257175"/>
              <a:gd name="connsiteX48" fmla="*/ 259080 w 266700"/>
              <a:gd name="connsiteY48" fmla="*/ 190500 h 257175"/>
              <a:gd name="connsiteX49" fmla="*/ 146685 w 266700"/>
              <a:gd name="connsiteY49" fmla="*/ 254318 h 257175"/>
              <a:gd name="connsiteX50" fmla="*/ 21908 w 266700"/>
              <a:gd name="connsiteY50" fmla="*/ 228600 h 257175"/>
              <a:gd name="connsiteX51" fmla="*/ 9525 w 266700"/>
              <a:gd name="connsiteY51" fmla="*/ 211455 h 257175"/>
              <a:gd name="connsiteX52" fmla="*/ 19050 w 266700"/>
              <a:gd name="connsiteY52" fmla="*/ 195263 h 257175"/>
              <a:gd name="connsiteX53" fmla="*/ 145733 w 266700"/>
              <a:gd name="connsiteY53" fmla="*/ 221933 h 257175"/>
              <a:gd name="connsiteX54" fmla="*/ 146685 w 266700"/>
              <a:gd name="connsiteY54" fmla="*/ 221933 h 257175"/>
              <a:gd name="connsiteX55" fmla="*/ 148590 w 266700"/>
              <a:gd name="connsiteY55" fmla="*/ 220980 h 257175"/>
              <a:gd name="connsiteX56" fmla="*/ 262890 w 266700"/>
              <a:gd name="connsiteY56" fmla="*/ 156210 h 257175"/>
              <a:gd name="connsiteX57" fmla="*/ 264795 w 266700"/>
              <a:gd name="connsiteY57" fmla="*/ 149543 h 257175"/>
              <a:gd name="connsiteX58" fmla="*/ 258128 w 266700"/>
              <a:gd name="connsiteY58" fmla="*/ 147638 h 257175"/>
              <a:gd name="connsiteX59" fmla="*/ 145733 w 266700"/>
              <a:gd name="connsiteY59" fmla="*/ 211455 h 257175"/>
              <a:gd name="connsiteX60" fmla="*/ 21908 w 266700"/>
              <a:gd name="connsiteY60" fmla="*/ 185738 h 257175"/>
              <a:gd name="connsiteX61" fmla="*/ 9525 w 266700"/>
              <a:gd name="connsiteY61" fmla="*/ 167640 h 257175"/>
              <a:gd name="connsiteX62" fmla="*/ 18098 w 266700"/>
              <a:gd name="connsiteY62" fmla="*/ 153353 h 257175"/>
              <a:gd name="connsiteX63" fmla="*/ 120015 w 266700"/>
              <a:gd name="connsiteY63" fmla="*/ 14288 h 257175"/>
              <a:gd name="connsiteX64" fmla="*/ 150495 w 266700"/>
              <a:gd name="connsiteY64" fmla="*/ 9525 h 257175"/>
              <a:gd name="connsiteX65" fmla="*/ 159068 w 266700"/>
              <a:gd name="connsiteY65" fmla="*/ 10478 h 257175"/>
              <a:gd name="connsiteX66" fmla="*/ 248603 w 266700"/>
              <a:gd name="connsiteY66" fmla="*/ 28575 h 257175"/>
              <a:gd name="connsiteX67" fmla="*/ 146685 w 266700"/>
              <a:gd name="connsiteY67" fmla="*/ 85725 h 257175"/>
              <a:gd name="connsiteX68" fmla="*/ 34290 w 266700"/>
              <a:gd name="connsiteY68" fmla="*/ 60008 h 257175"/>
              <a:gd name="connsiteX69" fmla="*/ 120015 w 266700"/>
              <a:gd name="connsiteY69" fmla="*/ 1428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66700" h="257175">
                <a:moveTo>
                  <a:pt x="18098" y="153353"/>
                </a:moveTo>
                <a:cubicBezTo>
                  <a:pt x="18098" y="153353"/>
                  <a:pt x="19050" y="153353"/>
                  <a:pt x="19050" y="153353"/>
                </a:cubicBezTo>
                <a:lnTo>
                  <a:pt x="146685" y="180975"/>
                </a:lnTo>
                <a:cubicBezTo>
                  <a:pt x="146685" y="180975"/>
                  <a:pt x="147638" y="180975"/>
                  <a:pt x="147638" y="180975"/>
                </a:cubicBezTo>
                <a:cubicBezTo>
                  <a:pt x="148590" y="180975"/>
                  <a:pt x="149543" y="180975"/>
                  <a:pt x="149543" y="180023"/>
                </a:cubicBezTo>
                <a:lnTo>
                  <a:pt x="263843" y="115253"/>
                </a:lnTo>
                <a:cubicBezTo>
                  <a:pt x="265748" y="114300"/>
                  <a:pt x="266700" y="111443"/>
                  <a:pt x="265748" y="108585"/>
                </a:cubicBezTo>
                <a:cubicBezTo>
                  <a:pt x="264795" y="106680"/>
                  <a:pt x="261938" y="105728"/>
                  <a:pt x="259080" y="106680"/>
                </a:cubicBezTo>
                <a:lnTo>
                  <a:pt x="146685" y="171450"/>
                </a:lnTo>
                <a:lnTo>
                  <a:pt x="21908" y="144780"/>
                </a:lnTo>
                <a:cubicBezTo>
                  <a:pt x="21908" y="144780"/>
                  <a:pt x="21908" y="144780"/>
                  <a:pt x="21908" y="144780"/>
                </a:cubicBezTo>
                <a:cubicBezTo>
                  <a:pt x="20955" y="143828"/>
                  <a:pt x="20003" y="142875"/>
                  <a:pt x="18098" y="142875"/>
                </a:cubicBezTo>
                <a:cubicBezTo>
                  <a:pt x="15240" y="140970"/>
                  <a:pt x="9525" y="136208"/>
                  <a:pt x="9525" y="126683"/>
                </a:cubicBezTo>
                <a:cubicBezTo>
                  <a:pt x="9525" y="119063"/>
                  <a:pt x="15240" y="114300"/>
                  <a:pt x="18098" y="111443"/>
                </a:cubicBezTo>
                <a:cubicBezTo>
                  <a:pt x="18098" y="111443"/>
                  <a:pt x="18098" y="111443"/>
                  <a:pt x="19050" y="111443"/>
                </a:cubicBezTo>
                <a:lnTo>
                  <a:pt x="146685" y="138113"/>
                </a:lnTo>
                <a:cubicBezTo>
                  <a:pt x="146685" y="138113"/>
                  <a:pt x="147638" y="138113"/>
                  <a:pt x="147638" y="138113"/>
                </a:cubicBezTo>
                <a:cubicBezTo>
                  <a:pt x="148590" y="138113"/>
                  <a:pt x="149543" y="138113"/>
                  <a:pt x="149543" y="137160"/>
                </a:cubicBezTo>
                <a:lnTo>
                  <a:pt x="263843" y="72390"/>
                </a:lnTo>
                <a:cubicBezTo>
                  <a:pt x="266700" y="73343"/>
                  <a:pt x="267653" y="70485"/>
                  <a:pt x="266700" y="67628"/>
                </a:cubicBezTo>
                <a:cubicBezTo>
                  <a:pt x="265748" y="65723"/>
                  <a:pt x="262890" y="64770"/>
                  <a:pt x="260033" y="65723"/>
                </a:cubicBezTo>
                <a:lnTo>
                  <a:pt x="147638" y="129540"/>
                </a:lnTo>
                <a:lnTo>
                  <a:pt x="21908" y="102870"/>
                </a:lnTo>
                <a:cubicBezTo>
                  <a:pt x="20955" y="102870"/>
                  <a:pt x="9525" y="99060"/>
                  <a:pt x="9525" y="84773"/>
                </a:cubicBezTo>
                <a:cubicBezTo>
                  <a:pt x="9525" y="76200"/>
                  <a:pt x="18098" y="69533"/>
                  <a:pt x="21908" y="67628"/>
                </a:cubicBezTo>
                <a:cubicBezTo>
                  <a:pt x="33338" y="69533"/>
                  <a:pt x="100965" y="85725"/>
                  <a:pt x="146685" y="96203"/>
                </a:cubicBezTo>
                <a:cubicBezTo>
                  <a:pt x="147638" y="96203"/>
                  <a:pt x="149543" y="96203"/>
                  <a:pt x="150495" y="95250"/>
                </a:cubicBezTo>
                <a:lnTo>
                  <a:pt x="264795" y="31433"/>
                </a:lnTo>
                <a:cubicBezTo>
                  <a:pt x="265748" y="29528"/>
                  <a:pt x="266700" y="27623"/>
                  <a:pt x="266700" y="25718"/>
                </a:cubicBezTo>
                <a:cubicBezTo>
                  <a:pt x="266700" y="23813"/>
                  <a:pt x="264795" y="21908"/>
                  <a:pt x="262890" y="21908"/>
                </a:cubicBezTo>
                <a:lnTo>
                  <a:pt x="160973" y="953"/>
                </a:lnTo>
                <a:cubicBezTo>
                  <a:pt x="158115" y="0"/>
                  <a:pt x="154305" y="0"/>
                  <a:pt x="151448" y="0"/>
                </a:cubicBezTo>
                <a:cubicBezTo>
                  <a:pt x="141923" y="0"/>
                  <a:pt x="125730" y="0"/>
                  <a:pt x="116205" y="5715"/>
                </a:cubicBezTo>
                <a:cubicBezTo>
                  <a:pt x="98108" y="14288"/>
                  <a:pt x="19050" y="57150"/>
                  <a:pt x="18098" y="58103"/>
                </a:cubicBezTo>
                <a:cubicBezTo>
                  <a:pt x="18098" y="58103"/>
                  <a:pt x="18098" y="58103"/>
                  <a:pt x="17145" y="58103"/>
                </a:cubicBezTo>
                <a:cubicBezTo>
                  <a:pt x="14288" y="60008"/>
                  <a:pt x="0" y="70485"/>
                  <a:pt x="0" y="84773"/>
                </a:cubicBezTo>
                <a:cubicBezTo>
                  <a:pt x="0" y="95250"/>
                  <a:pt x="4763" y="101918"/>
                  <a:pt x="9525" y="106680"/>
                </a:cubicBezTo>
                <a:cubicBezTo>
                  <a:pt x="4763" y="110490"/>
                  <a:pt x="0" y="117158"/>
                  <a:pt x="0" y="126683"/>
                </a:cubicBezTo>
                <a:cubicBezTo>
                  <a:pt x="0" y="136208"/>
                  <a:pt x="4763" y="143828"/>
                  <a:pt x="9525" y="147638"/>
                </a:cubicBezTo>
                <a:cubicBezTo>
                  <a:pt x="4763" y="151448"/>
                  <a:pt x="0" y="158115"/>
                  <a:pt x="0" y="167640"/>
                </a:cubicBezTo>
                <a:cubicBezTo>
                  <a:pt x="0" y="178118"/>
                  <a:pt x="4763" y="185738"/>
                  <a:pt x="10478" y="189548"/>
                </a:cubicBezTo>
                <a:cubicBezTo>
                  <a:pt x="5715" y="194310"/>
                  <a:pt x="0" y="200978"/>
                  <a:pt x="0" y="211455"/>
                </a:cubicBezTo>
                <a:cubicBezTo>
                  <a:pt x="0" y="228600"/>
                  <a:pt x="12383" y="236220"/>
                  <a:pt x="19050" y="238125"/>
                </a:cubicBezTo>
                <a:lnTo>
                  <a:pt x="146685" y="264795"/>
                </a:lnTo>
                <a:cubicBezTo>
                  <a:pt x="146685" y="264795"/>
                  <a:pt x="147638" y="264795"/>
                  <a:pt x="147638" y="264795"/>
                </a:cubicBezTo>
                <a:cubicBezTo>
                  <a:pt x="148590" y="264795"/>
                  <a:pt x="149543" y="264795"/>
                  <a:pt x="149543" y="263843"/>
                </a:cubicBezTo>
                <a:lnTo>
                  <a:pt x="263843" y="199073"/>
                </a:lnTo>
                <a:cubicBezTo>
                  <a:pt x="265748" y="198120"/>
                  <a:pt x="266700" y="195263"/>
                  <a:pt x="265748" y="192405"/>
                </a:cubicBezTo>
                <a:cubicBezTo>
                  <a:pt x="264795" y="190500"/>
                  <a:pt x="261938" y="189548"/>
                  <a:pt x="259080" y="190500"/>
                </a:cubicBezTo>
                <a:lnTo>
                  <a:pt x="146685" y="254318"/>
                </a:lnTo>
                <a:lnTo>
                  <a:pt x="21908" y="228600"/>
                </a:lnTo>
                <a:cubicBezTo>
                  <a:pt x="20955" y="228600"/>
                  <a:pt x="9525" y="224790"/>
                  <a:pt x="9525" y="211455"/>
                </a:cubicBezTo>
                <a:cubicBezTo>
                  <a:pt x="9525" y="202883"/>
                  <a:pt x="16193" y="198120"/>
                  <a:pt x="19050" y="195263"/>
                </a:cubicBezTo>
                <a:lnTo>
                  <a:pt x="145733" y="221933"/>
                </a:lnTo>
                <a:cubicBezTo>
                  <a:pt x="145733" y="221933"/>
                  <a:pt x="146685" y="221933"/>
                  <a:pt x="146685" y="221933"/>
                </a:cubicBezTo>
                <a:cubicBezTo>
                  <a:pt x="147638" y="221933"/>
                  <a:pt x="148590" y="221933"/>
                  <a:pt x="148590" y="220980"/>
                </a:cubicBezTo>
                <a:lnTo>
                  <a:pt x="262890" y="156210"/>
                </a:lnTo>
                <a:cubicBezTo>
                  <a:pt x="264795" y="155258"/>
                  <a:pt x="265748" y="152400"/>
                  <a:pt x="264795" y="149543"/>
                </a:cubicBezTo>
                <a:cubicBezTo>
                  <a:pt x="263843" y="147638"/>
                  <a:pt x="260985" y="146685"/>
                  <a:pt x="258128" y="147638"/>
                </a:cubicBezTo>
                <a:lnTo>
                  <a:pt x="145733" y="211455"/>
                </a:lnTo>
                <a:lnTo>
                  <a:pt x="21908" y="185738"/>
                </a:lnTo>
                <a:cubicBezTo>
                  <a:pt x="20955" y="185738"/>
                  <a:pt x="9525" y="181928"/>
                  <a:pt x="9525" y="167640"/>
                </a:cubicBezTo>
                <a:cubicBezTo>
                  <a:pt x="9525" y="160973"/>
                  <a:pt x="14288" y="156210"/>
                  <a:pt x="18098" y="153353"/>
                </a:cubicBezTo>
                <a:close/>
                <a:moveTo>
                  <a:pt x="120015" y="14288"/>
                </a:moveTo>
                <a:cubicBezTo>
                  <a:pt x="125730" y="10478"/>
                  <a:pt x="137160" y="9525"/>
                  <a:pt x="150495" y="9525"/>
                </a:cubicBezTo>
                <a:cubicBezTo>
                  <a:pt x="153353" y="9525"/>
                  <a:pt x="156210" y="9525"/>
                  <a:pt x="159068" y="10478"/>
                </a:cubicBezTo>
                <a:lnTo>
                  <a:pt x="248603" y="28575"/>
                </a:lnTo>
                <a:lnTo>
                  <a:pt x="146685" y="85725"/>
                </a:lnTo>
                <a:cubicBezTo>
                  <a:pt x="81915" y="70485"/>
                  <a:pt x="50483" y="63818"/>
                  <a:pt x="34290" y="60008"/>
                </a:cubicBezTo>
                <a:cubicBezTo>
                  <a:pt x="57150" y="47625"/>
                  <a:pt x="106680" y="20955"/>
                  <a:pt x="120015" y="14288"/>
                </a:cubicBezTo>
                <a:close/>
              </a:path>
            </a:pathLst>
          </a:custGeom>
          <a:solidFill>
            <a:srgbClr val="101010"/>
          </a:solidFill>
          <a:ln w="9525" cap="flat">
            <a:noFill/>
            <a:prstDash val="solid"/>
            <a:miter/>
          </a:ln>
        </p:spPr>
        <p:txBody>
          <a:bodyPr rtlCol="0" anchor="ctr"/>
          <a:lstStyle/>
          <a:p>
            <a:endParaRPr lang="de-DE"/>
          </a:p>
        </p:txBody>
      </p:sp>
      <p:grpSp>
        <p:nvGrpSpPr>
          <p:cNvPr id="5103" name="Group 5102">
            <a:extLst>
              <a:ext uri="{FF2B5EF4-FFF2-40B4-BE49-F238E27FC236}">
                <a16:creationId xmlns:a16="http://schemas.microsoft.com/office/drawing/2014/main" id="{B46FE55D-618A-4323-88B9-4351CFB33033}"/>
              </a:ext>
              <a:ext uri="{C183D7F6-B498-43B3-948B-1728B52AA6E4}">
                <adec:decorative xmlns:adec="http://schemas.microsoft.com/office/drawing/2017/decorative" val="1"/>
              </a:ext>
            </a:extLst>
          </p:cNvPr>
          <p:cNvGrpSpPr>
            <a:grpSpLocks noChangeAspect="1"/>
          </p:cNvGrpSpPr>
          <p:nvPr/>
        </p:nvGrpSpPr>
        <p:grpSpPr>
          <a:xfrm>
            <a:off x="3771366" y="3467820"/>
            <a:ext cx="137469" cy="112610"/>
            <a:chOff x="5447928" y="2895453"/>
            <a:chExt cx="1685776" cy="1380932"/>
          </a:xfrm>
        </p:grpSpPr>
        <p:grpSp>
          <p:nvGrpSpPr>
            <p:cNvPr id="5104" name="Group 5103">
              <a:extLst>
                <a:ext uri="{FF2B5EF4-FFF2-40B4-BE49-F238E27FC236}">
                  <a16:creationId xmlns:a16="http://schemas.microsoft.com/office/drawing/2014/main" id="{0CDB40E1-9B3D-4EAC-8357-8361BFBF6607}"/>
                </a:ext>
              </a:extLst>
            </p:cNvPr>
            <p:cNvGrpSpPr/>
            <p:nvPr/>
          </p:nvGrpSpPr>
          <p:grpSpPr>
            <a:xfrm>
              <a:off x="6512288" y="2895453"/>
              <a:ext cx="621416" cy="1380932"/>
              <a:chOff x="6512288" y="2895453"/>
              <a:chExt cx="621416" cy="1380932"/>
            </a:xfrm>
          </p:grpSpPr>
          <p:sp>
            <p:nvSpPr>
              <p:cNvPr id="5111" name="Freeform: Shape 5110">
                <a:extLst>
                  <a:ext uri="{FF2B5EF4-FFF2-40B4-BE49-F238E27FC236}">
                    <a16:creationId xmlns:a16="http://schemas.microsoft.com/office/drawing/2014/main" id="{EB0A0873-F852-4888-B937-8DCC4F29A567}"/>
                  </a:ext>
                </a:extLst>
              </p:cNvPr>
              <p:cNvSpPr/>
              <p:nvPr/>
            </p:nvSpPr>
            <p:spPr>
              <a:xfrm>
                <a:off x="6512288" y="3265347"/>
                <a:ext cx="621416" cy="1011038"/>
              </a:xfrm>
              <a:custGeom>
                <a:avLst/>
                <a:gdLst>
                  <a:gd name="connsiteX0" fmla="*/ 67628 w 114300"/>
                  <a:gd name="connsiteY0" fmla="*/ 195263 h 190500"/>
                  <a:gd name="connsiteX1" fmla="*/ 51435 w 114300"/>
                  <a:gd name="connsiteY1" fmla="*/ 195263 h 190500"/>
                  <a:gd name="connsiteX2" fmla="*/ 36195 w 114300"/>
                  <a:gd name="connsiteY2" fmla="*/ 183833 h 190500"/>
                  <a:gd name="connsiteX3" fmla="*/ 36195 w 114300"/>
                  <a:gd name="connsiteY3" fmla="*/ 182880 h 190500"/>
                  <a:gd name="connsiteX4" fmla="*/ 19050 w 114300"/>
                  <a:gd name="connsiteY4" fmla="*/ 117157 h 190500"/>
                  <a:gd name="connsiteX5" fmla="*/ 17145 w 114300"/>
                  <a:gd name="connsiteY5" fmla="*/ 117157 h 190500"/>
                  <a:gd name="connsiteX6" fmla="*/ 0 w 114300"/>
                  <a:gd name="connsiteY6" fmla="*/ 101918 h 190500"/>
                  <a:gd name="connsiteX7" fmla="*/ 0 w 114300"/>
                  <a:gd name="connsiteY7" fmla="*/ 25717 h 190500"/>
                  <a:gd name="connsiteX8" fmla="*/ 29528 w 114300"/>
                  <a:gd name="connsiteY8" fmla="*/ 0 h 190500"/>
                  <a:gd name="connsiteX9" fmla="*/ 90488 w 114300"/>
                  <a:gd name="connsiteY9" fmla="*/ 0 h 190500"/>
                  <a:gd name="connsiteX10" fmla="*/ 120015 w 114300"/>
                  <a:gd name="connsiteY10" fmla="*/ 25717 h 190500"/>
                  <a:gd name="connsiteX11" fmla="*/ 120015 w 114300"/>
                  <a:gd name="connsiteY11" fmla="*/ 101918 h 190500"/>
                  <a:gd name="connsiteX12" fmla="*/ 102870 w 114300"/>
                  <a:gd name="connsiteY12" fmla="*/ 117157 h 190500"/>
                  <a:gd name="connsiteX13" fmla="*/ 100013 w 114300"/>
                  <a:gd name="connsiteY13" fmla="*/ 117157 h 190500"/>
                  <a:gd name="connsiteX14" fmla="*/ 82868 w 114300"/>
                  <a:gd name="connsiteY14" fmla="*/ 183833 h 190500"/>
                  <a:gd name="connsiteX15" fmla="*/ 67628 w 114300"/>
                  <a:gd name="connsiteY15" fmla="*/ 195263 h 190500"/>
                  <a:gd name="connsiteX16" fmla="*/ 28575 w 114300"/>
                  <a:gd name="connsiteY16" fmla="*/ 9525 h 190500"/>
                  <a:gd name="connsiteX17" fmla="*/ 8572 w 114300"/>
                  <a:gd name="connsiteY17" fmla="*/ 25717 h 190500"/>
                  <a:gd name="connsiteX18" fmla="*/ 8572 w 114300"/>
                  <a:gd name="connsiteY18" fmla="*/ 101918 h 190500"/>
                  <a:gd name="connsiteX19" fmla="*/ 16193 w 114300"/>
                  <a:gd name="connsiteY19" fmla="*/ 107632 h 190500"/>
                  <a:gd name="connsiteX20" fmla="*/ 21907 w 114300"/>
                  <a:gd name="connsiteY20" fmla="*/ 107632 h 190500"/>
                  <a:gd name="connsiteX21" fmla="*/ 26670 w 114300"/>
                  <a:gd name="connsiteY21" fmla="*/ 111443 h 190500"/>
                  <a:gd name="connsiteX22" fmla="*/ 44768 w 114300"/>
                  <a:gd name="connsiteY22" fmla="*/ 180023 h 190500"/>
                  <a:gd name="connsiteX23" fmla="*/ 44768 w 114300"/>
                  <a:gd name="connsiteY23" fmla="*/ 180975 h 190500"/>
                  <a:gd name="connsiteX24" fmla="*/ 50482 w 114300"/>
                  <a:gd name="connsiteY24" fmla="*/ 185738 h 190500"/>
                  <a:gd name="connsiteX25" fmla="*/ 66675 w 114300"/>
                  <a:gd name="connsiteY25" fmla="*/ 185738 h 190500"/>
                  <a:gd name="connsiteX26" fmla="*/ 72390 w 114300"/>
                  <a:gd name="connsiteY26" fmla="*/ 180975 h 190500"/>
                  <a:gd name="connsiteX27" fmla="*/ 90488 w 114300"/>
                  <a:gd name="connsiteY27" fmla="*/ 110490 h 190500"/>
                  <a:gd name="connsiteX28" fmla="*/ 95250 w 114300"/>
                  <a:gd name="connsiteY28" fmla="*/ 106680 h 190500"/>
                  <a:gd name="connsiteX29" fmla="*/ 100965 w 114300"/>
                  <a:gd name="connsiteY29" fmla="*/ 106680 h 190500"/>
                  <a:gd name="connsiteX30" fmla="*/ 108585 w 114300"/>
                  <a:gd name="connsiteY30" fmla="*/ 100965 h 190500"/>
                  <a:gd name="connsiteX31" fmla="*/ 108585 w 114300"/>
                  <a:gd name="connsiteY31" fmla="*/ 24765 h 190500"/>
                  <a:gd name="connsiteX32" fmla="*/ 88582 w 114300"/>
                  <a:gd name="connsiteY32" fmla="*/ 8572 h 190500"/>
                  <a:gd name="connsiteX33" fmla="*/ 28575 w 114300"/>
                  <a:gd name="connsiteY33" fmla="*/ 8572 h 190500"/>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1676 w 120015"/>
                  <a:gd name="connsiteY16" fmla="*/ 952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8575 w 120015"/>
                  <a:gd name="connsiteY33" fmla="*/ 8572 h 195263"/>
                  <a:gd name="connsiteX34" fmla="*/ 21676 w 120015"/>
                  <a:gd name="connsiteY34" fmla="*/ 952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1676 w 120015"/>
                  <a:gd name="connsiteY16" fmla="*/ 952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1676 w 120015"/>
                  <a:gd name="connsiteY33" fmla="*/ 952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4895 w 120015"/>
                  <a:gd name="connsiteY16" fmla="*/ 952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4895 w 120015"/>
                  <a:gd name="connsiteY33" fmla="*/ 952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7654 w 120015"/>
                  <a:gd name="connsiteY16" fmla="*/ 998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7654 w 120015"/>
                  <a:gd name="connsiteY33" fmla="*/ 9985 h 195263"/>
                  <a:gd name="connsiteX0" fmla="*/ 67628 w 120015"/>
                  <a:gd name="connsiteY0" fmla="*/ 195263 h 195263"/>
                  <a:gd name="connsiteX1" fmla="*/ 51435 w 120015"/>
                  <a:gd name="connsiteY1" fmla="*/ 195263 h 195263"/>
                  <a:gd name="connsiteX2" fmla="*/ 36195 w 120015"/>
                  <a:gd name="connsiteY2" fmla="*/ 183833 h 195263"/>
                  <a:gd name="connsiteX3" fmla="*/ 36195 w 120015"/>
                  <a:gd name="connsiteY3" fmla="*/ 182880 h 195263"/>
                  <a:gd name="connsiteX4" fmla="*/ 19050 w 120015"/>
                  <a:gd name="connsiteY4" fmla="*/ 117157 h 195263"/>
                  <a:gd name="connsiteX5" fmla="*/ 17145 w 120015"/>
                  <a:gd name="connsiteY5" fmla="*/ 117157 h 195263"/>
                  <a:gd name="connsiteX6" fmla="*/ 0 w 120015"/>
                  <a:gd name="connsiteY6" fmla="*/ 101918 h 195263"/>
                  <a:gd name="connsiteX7" fmla="*/ 0 w 120015"/>
                  <a:gd name="connsiteY7" fmla="*/ 25717 h 195263"/>
                  <a:gd name="connsiteX8" fmla="*/ 29528 w 120015"/>
                  <a:gd name="connsiteY8" fmla="*/ 0 h 195263"/>
                  <a:gd name="connsiteX9" fmla="*/ 90488 w 120015"/>
                  <a:gd name="connsiteY9" fmla="*/ 0 h 195263"/>
                  <a:gd name="connsiteX10" fmla="*/ 120015 w 120015"/>
                  <a:gd name="connsiteY10" fmla="*/ 25717 h 195263"/>
                  <a:gd name="connsiteX11" fmla="*/ 120015 w 120015"/>
                  <a:gd name="connsiteY11" fmla="*/ 101918 h 195263"/>
                  <a:gd name="connsiteX12" fmla="*/ 102870 w 120015"/>
                  <a:gd name="connsiteY12" fmla="*/ 117157 h 195263"/>
                  <a:gd name="connsiteX13" fmla="*/ 100013 w 120015"/>
                  <a:gd name="connsiteY13" fmla="*/ 117157 h 195263"/>
                  <a:gd name="connsiteX14" fmla="*/ 82868 w 120015"/>
                  <a:gd name="connsiteY14" fmla="*/ 183833 h 195263"/>
                  <a:gd name="connsiteX15" fmla="*/ 67628 w 120015"/>
                  <a:gd name="connsiteY15" fmla="*/ 195263 h 195263"/>
                  <a:gd name="connsiteX16" fmla="*/ 28574 w 120015"/>
                  <a:gd name="connsiteY16" fmla="*/ 9065 h 195263"/>
                  <a:gd name="connsiteX17" fmla="*/ 8572 w 120015"/>
                  <a:gd name="connsiteY17" fmla="*/ 25717 h 195263"/>
                  <a:gd name="connsiteX18" fmla="*/ 8572 w 120015"/>
                  <a:gd name="connsiteY18" fmla="*/ 101918 h 195263"/>
                  <a:gd name="connsiteX19" fmla="*/ 16193 w 120015"/>
                  <a:gd name="connsiteY19" fmla="*/ 107632 h 195263"/>
                  <a:gd name="connsiteX20" fmla="*/ 21907 w 120015"/>
                  <a:gd name="connsiteY20" fmla="*/ 107632 h 195263"/>
                  <a:gd name="connsiteX21" fmla="*/ 26670 w 120015"/>
                  <a:gd name="connsiteY21" fmla="*/ 111443 h 195263"/>
                  <a:gd name="connsiteX22" fmla="*/ 44768 w 120015"/>
                  <a:gd name="connsiteY22" fmla="*/ 180023 h 195263"/>
                  <a:gd name="connsiteX23" fmla="*/ 44768 w 120015"/>
                  <a:gd name="connsiteY23" fmla="*/ 180975 h 195263"/>
                  <a:gd name="connsiteX24" fmla="*/ 50482 w 120015"/>
                  <a:gd name="connsiteY24" fmla="*/ 185738 h 195263"/>
                  <a:gd name="connsiteX25" fmla="*/ 66675 w 120015"/>
                  <a:gd name="connsiteY25" fmla="*/ 185738 h 195263"/>
                  <a:gd name="connsiteX26" fmla="*/ 72390 w 120015"/>
                  <a:gd name="connsiteY26" fmla="*/ 180975 h 195263"/>
                  <a:gd name="connsiteX27" fmla="*/ 90488 w 120015"/>
                  <a:gd name="connsiteY27" fmla="*/ 110490 h 195263"/>
                  <a:gd name="connsiteX28" fmla="*/ 95250 w 120015"/>
                  <a:gd name="connsiteY28" fmla="*/ 106680 h 195263"/>
                  <a:gd name="connsiteX29" fmla="*/ 100965 w 120015"/>
                  <a:gd name="connsiteY29" fmla="*/ 106680 h 195263"/>
                  <a:gd name="connsiteX30" fmla="*/ 108585 w 120015"/>
                  <a:gd name="connsiteY30" fmla="*/ 100965 h 195263"/>
                  <a:gd name="connsiteX31" fmla="*/ 108585 w 120015"/>
                  <a:gd name="connsiteY31" fmla="*/ 24765 h 195263"/>
                  <a:gd name="connsiteX32" fmla="*/ 88582 w 120015"/>
                  <a:gd name="connsiteY32" fmla="*/ 8572 h 195263"/>
                  <a:gd name="connsiteX33" fmla="*/ 28574 w 120015"/>
                  <a:gd name="connsiteY33" fmla="*/ 9065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0015" h="195263">
                    <a:moveTo>
                      <a:pt x="67628" y="195263"/>
                    </a:moveTo>
                    <a:lnTo>
                      <a:pt x="51435" y="195263"/>
                    </a:lnTo>
                    <a:cubicBezTo>
                      <a:pt x="44768" y="195263"/>
                      <a:pt x="38100" y="190500"/>
                      <a:pt x="36195" y="183833"/>
                    </a:cubicBezTo>
                    <a:lnTo>
                      <a:pt x="36195" y="182880"/>
                    </a:lnTo>
                    <a:cubicBezTo>
                      <a:pt x="36195" y="181928"/>
                      <a:pt x="22860" y="132398"/>
                      <a:pt x="19050" y="117157"/>
                    </a:cubicBezTo>
                    <a:lnTo>
                      <a:pt x="17145" y="117157"/>
                    </a:lnTo>
                    <a:cubicBezTo>
                      <a:pt x="7620" y="117157"/>
                      <a:pt x="0" y="110490"/>
                      <a:pt x="0" y="101918"/>
                    </a:cubicBezTo>
                    <a:lnTo>
                      <a:pt x="0" y="25717"/>
                    </a:lnTo>
                    <a:cubicBezTo>
                      <a:pt x="0" y="11430"/>
                      <a:pt x="13335" y="0"/>
                      <a:pt x="29528" y="0"/>
                    </a:cubicBezTo>
                    <a:lnTo>
                      <a:pt x="90488" y="0"/>
                    </a:lnTo>
                    <a:cubicBezTo>
                      <a:pt x="106680" y="0"/>
                      <a:pt x="120015" y="11430"/>
                      <a:pt x="120015" y="25717"/>
                    </a:cubicBezTo>
                    <a:lnTo>
                      <a:pt x="120015" y="101918"/>
                    </a:lnTo>
                    <a:cubicBezTo>
                      <a:pt x="120015" y="110490"/>
                      <a:pt x="112395" y="117157"/>
                      <a:pt x="102870" y="117157"/>
                    </a:cubicBezTo>
                    <a:lnTo>
                      <a:pt x="100013" y="117157"/>
                    </a:lnTo>
                    <a:lnTo>
                      <a:pt x="82868" y="183833"/>
                    </a:lnTo>
                    <a:cubicBezTo>
                      <a:pt x="80963" y="190500"/>
                      <a:pt x="74295" y="195263"/>
                      <a:pt x="67628" y="195263"/>
                    </a:cubicBezTo>
                    <a:close/>
                    <a:moveTo>
                      <a:pt x="28574" y="9065"/>
                    </a:moveTo>
                    <a:cubicBezTo>
                      <a:pt x="18096" y="9065"/>
                      <a:pt x="8572" y="17145"/>
                      <a:pt x="8572" y="25717"/>
                    </a:cubicBezTo>
                    <a:lnTo>
                      <a:pt x="8572" y="101918"/>
                    </a:lnTo>
                    <a:cubicBezTo>
                      <a:pt x="8572" y="104775"/>
                      <a:pt x="12382" y="107632"/>
                      <a:pt x="16193" y="107632"/>
                    </a:cubicBezTo>
                    <a:lnTo>
                      <a:pt x="21907" y="107632"/>
                    </a:lnTo>
                    <a:cubicBezTo>
                      <a:pt x="23813" y="107632"/>
                      <a:pt x="25718" y="109538"/>
                      <a:pt x="26670" y="111443"/>
                    </a:cubicBezTo>
                    <a:cubicBezTo>
                      <a:pt x="26670" y="113348"/>
                      <a:pt x="43815" y="176213"/>
                      <a:pt x="44768" y="180023"/>
                    </a:cubicBezTo>
                    <a:lnTo>
                      <a:pt x="44768" y="180975"/>
                    </a:lnTo>
                    <a:cubicBezTo>
                      <a:pt x="45720" y="183833"/>
                      <a:pt x="47625" y="185738"/>
                      <a:pt x="50482" y="185738"/>
                    </a:cubicBezTo>
                    <a:lnTo>
                      <a:pt x="66675" y="185738"/>
                    </a:lnTo>
                    <a:cubicBezTo>
                      <a:pt x="69532" y="185738"/>
                      <a:pt x="72390" y="183833"/>
                      <a:pt x="72390" y="180975"/>
                    </a:cubicBezTo>
                    <a:lnTo>
                      <a:pt x="90488" y="110490"/>
                    </a:lnTo>
                    <a:cubicBezTo>
                      <a:pt x="91440" y="108585"/>
                      <a:pt x="93345" y="106680"/>
                      <a:pt x="95250" y="106680"/>
                    </a:cubicBezTo>
                    <a:lnTo>
                      <a:pt x="100965" y="106680"/>
                    </a:lnTo>
                    <a:cubicBezTo>
                      <a:pt x="104775" y="106680"/>
                      <a:pt x="108585" y="103823"/>
                      <a:pt x="108585" y="100965"/>
                    </a:cubicBezTo>
                    <a:lnTo>
                      <a:pt x="108585" y="24765"/>
                    </a:lnTo>
                    <a:cubicBezTo>
                      <a:pt x="108585" y="16192"/>
                      <a:pt x="100013" y="8572"/>
                      <a:pt x="88582" y="8572"/>
                    </a:cubicBezTo>
                    <a:lnTo>
                      <a:pt x="28574" y="9065"/>
                    </a:lnTo>
                    <a:close/>
                  </a:path>
                </a:pathLst>
              </a:custGeom>
              <a:solidFill>
                <a:srgbClr val="231F20"/>
              </a:solidFill>
              <a:ln w="9525" cap="flat">
                <a:noFill/>
                <a:prstDash val="solid"/>
                <a:miter/>
              </a:ln>
            </p:spPr>
            <p:txBody>
              <a:bodyPr rtlCol="0" anchor="ctr"/>
              <a:lstStyle/>
              <a:p>
                <a:endParaRPr lang="de-DE"/>
              </a:p>
            </p:txBody>
          </p:sp>
          <p:sp>
            <p:nvSpPr>
              <p:cNvPr id="5112" name="Freeform: Shape 5111">
                <a:extLst>
                  <a:ext uri="{FF2B5EF4-FFF2-40B4-BE49-F238E27FC236}">
                    <a16:creationId xmlns:a16="http://schemas.microsoft.com/office/drawing/2014/main" id="{FAFA9B04-6761-49AF-8754-28A85B596368}"/>
                  </a:ext>
                </a:extLst>
              </p:cNvPr>
              <p:cNvSpPr/>
              <p:nvPr/>
            </p:nvSpPr>
            <p:spPr>
              <a:xfrm>
                <a:off x="6645445" y="2895453"/>
                <a:ext cx="345231" cy="345232"/>
              </a:xfrm>
              <a:custGeom>
                <a:avLst/>
                <a:gdLst>
                  <a:gd name="connsiteX0" fmla="*/ 33338 w 66675"/>
                  <a:gd name="connsiteY0" fmla="*/ 66675 h 66675"/>
                  <a:gd name="connsiteX1" fmla="*/ 0 w 66675"/>
                  <a:gd name="connsiteY1" fmla="*/ 33338 h 66675"/>
                  <a:gd name="connsiteX2" fmla="*/ 33338 w 66675"/>
                  <a:gd name="connsiteY2" fmla="*/ 0 h 66675"/>
                  <a:gd name="connsiteX3" fmla="*/ 66675 w 66675"/>
                  <a:gd name="connsiteY3" fmla="*/ 33338 h 66675"/>
                  <a:gd name="connsiteX4" fmla="*/ 33338 w 66675"/>
                  <a:gd name="connsiteY4" fmla="*/ 66675 h 66675"/>
                  <a:gd name="connsiteX5" fmla="*/ 33338 w 66675"/>
                  <a:gd name="connsiteY5" fmla="*/ 9525 h 66675"/>
                  <a:gd name="connsiteX6" fmla="*/ 9525 w 66675"/>
                  <a:gd name="connsiteY6" fmla="*/ 33338 h 66675"/>
                  <a:gd name="connsiteX7" fmla="*/ 33338 w 66675"/>
                  <a:gd name="connsiteY7" fmla="*/ 57150 h 66675"/>
                  <a:gd name="connsiteX8" fmla="*/ 57150 w 66675"/>
                  <a:gd name="connsiteY8" fmla="*/ 33338 h 66675"/>
                  <a:gd name="connsiteX9" fmla="*/ 33338 w 6667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3338" y="66675"/>
                    </a:moveTo>
                    <a:cubicBezTo>
                      <a:pt x="15240" y="66675"/>
                      <a:pt x="0" y="51435"/>
                      <a:pt x="0" y="33338"/>
                    </a:cubicBezTo>
                    <a:cubicBezTo>
                      <a:pt x="0" y="15240"/>
                      <a:pt x="15240" y="0"/>
                      <a:pt x="33338" y="0"/>
                    </a:cubicBezTo>
                    <a:cubicBezTo>
                      <a:pt x="51435" y="0"/>
                      <a:pt x="66675" y="15240"/>
                      <a:pt x="66675" y="33338"/>
                    </a:cubicBezTo>
                    <a:cubicBezTo>
                      <a:pt x="66675" y="51435"/>
                      <a:pt x="51435" y="66675"/>
                      <a:pt x="33338" y="66675"/>
                    </a:cubicBezTo>
                    <a:close/>
                    <a:moveTo>
                      <a:pt x="33338" y="9525"/>
                    </a:moveTo>
                    <a:cubicBezTo>
                      <a:pt x="20002" y="9525"/>
                      <a:pt x="9525" y="20003"/>
                      <a:pt x="9525" y="33338"/>
                    </a:cubicBezTo>
                    <a:cubicBezTo>
                      <a:pt x="9525" y="46673"/>
                      <a:pt x="20002" y="57150"/>
                      <a:pt x="33338" y="57150"/>
                    </a:cubicBezTo>
                    <a:cubicBezTo>
                      <a:pt x="46672" y="57150"/>
                      <a:pt x="57150" y="46673"/>
                      <a:pt x="57150" y="33338"/>
                    </a:cubicBezTo>
                    <a:cubicBezTo>
                      <a:pt x="57150" y="20003"/>
                      <a:pt x="46672" y="9525"/>
                      <a:pt x="33338" y="9525"/>
                    </a:cubicBezTo>
                    <a:close/>
                  </a:path>
                </a:pathLst>
              </a:custGeom>
              <a:solidFill>
                <a:srgbClr val="231F20"/>
              </a:solidFill>
              <a:ln w="9525" cap="flat">
                <a:noFill/>
                <a:prstDash val="solid"/>
                <a:miter/>
              </a:ln>
            </p:spPr>
            <p:txBody>
              <a:bodyPr rtlCol="0" anchor="ctr"/>
              <a:lstStyle/>
              <a:p>
                <a:endParaRPr lang="de-DE"/>
              </a:p>
            </p:txBody>
          </p:sp>
        </p:grpSp>
        <p:grpSp>
          <p:nvGrpSpPr>
            <p:cNvPr id="5105" name="Group 5104">
              <a:extLst>
                <a:ext uri="{FF2B5EF4-FFF2-40B4-BE49-F238E27FC236}">
                  <a16:creationId xmlns:a16="http://schemas.microsoft.com/office/drawing/2014/main" id="{AFADDE98-74DD-4EFA-9728-146284005842}"/>
                </a:ext>
              </a:extLst>
            </p:cNvPr>
            <p:cNvGrpSpPr/>
            <p:nvPr/>
          </p:nvGrpSpPr>
          <p:grpSpPr>
            <a:xfrm>
              <a:off x="5447928" y="2895453"/>
              <a:ext cx="683671" cy="1380932"/>
              <a:chOff x="5447928" y="2895453"/>
              <a:chExt cx="683671" cy="1380932"/>
            </a:xfrm>
          </p:grpSpPr>
          <p:sp>
            <p:nvSpPr>
              <p:cNvPr id="5109" name="Freeform: Shape 5108">
                <a:extLst>
                  <a:ext uri="{FF2B5EF4-FFF2-40B4-BE49-F238E27FC236}">
                    <a16:creationId xmlns:a16="http://schemas.microsoft.com/office/drawing/2014/main" id="{0EA784CD-8D87-4D84-9EF2-A08769181004}"/>
                  </a:ext>
                </a:extLst>
              </p:cNvPr>
              <p:cNvSpPr/>
              <p:nvPr/>
            </p:nvSpPr>
            <p:spPr>
              <a:xfrm>
                <a:off x="5447928" y="3265347"/>
                <a:ext cx="683671" cy="1011038"/>
              </a:xfrm>
              <a:custGeom>
                <a:avLst/>
                <a:gdLst>
                  <a:gd name="connsiteX0" fmla="*/ 76020 w 123825"/>
                  <a:gd name="connsiteY0" fmla="*/ 195263 h 190500"/>
                  <a:gd name="connsiteX1" fmla="*/ 58875 w 123825"/>
                  <a:gd name="connsiteY1" fmla="*/ 195263 h 190500"/>
                  <a:gd name="connsiteX2" fmla="*/ 42683 w 123825"/>
                  <a:gd name="connsiteY2" fmla="*/ 182880 h 190500"/>
                  <a:gd name="connsiteX3" fmla="*/ 29348 w 123825"/>
                  <a:gd name="connsiteY3" fmla="*/ 122873 h 190500"/>
                  <a:gd name="connsiteX4" fmla="*/ 28395 w 123825"/>
                  <a:gd name="connsiteY4" fmla="*/ 120968 h 190500"/>
                  <a:gd name="connsiteX5" fmla="*/ 16013 w 123825"/>
                  <a:gd name="connsiteY5" fmla="*/ 120968 h 190500"/>
                  <a:gd name="connsiteX6" fmla="*/ 2678 w 123825"/>
                  <a:gd name="connsiteY6" fmla="*/ 113348 h 190500"/>
                  <a:gd name="connsiteX7" fmla="*/ 1725 w 123825"/>
                  <a:gd name="connsiteY7" fmla="*/ 96203 h 190500"/>
                  <a:gd name="connsiteX8" fmla="*/ 41730 w 123825"/>
                  <a:gd name="connsiteY8" fmla="*/ 9525 h 190500"/>
                  <a:gd name="connsiteX9" fmla="*/ 56018 w 123825"/>
                  <a:gd name="connsiteY9" fmla="*/ 0 h 190500"/>
                  <a:gd name="connsiteX10" fmla="*/ 76020 w 123825"/>
                  <a:gd name="connsiteY10" fmla="*/ 0 h 190500"/>
                  <a:gd name="connsiteX11" fmla="*/ 90308 w 123825"/>
                  <a:gd name="connsiteY11" fmla="*/ 9525 h 190500"/>
                  <a:gd name="connsiteX12" fmla="*/ 130313 w 123825"/>
                  <a:gd name="connsiteY12" fmla="*/ 96203 h 190500"/>
                  <a:gd name="connsiteX13" fmla="*/ 130313 w 123825"/>
                  <a:gd name="connsiteY13" fmla="*/ 96203 h 190500"/>
                  <a:gd name="connsiteX14" fmla="*/ 129360 w 123825"/>
                  <a:gd name="connsiteY14" fmla="*/ 113348 h 190500"/>
                  <a:gd name="connsiteX15" fmla="*/ 116025 w 123825"/>
                  <a:gd name="connsiteY15" fmla="*/ 120968 h 190500"/>
                  <a:gd name="connsiteX16" fmla="*/ 105548 w 123825"/>
                  <a:gd name="connsiteY16" fmla="*/ 120968 h 190500"/>
                  <a:gd name="connsiteX17" fmla="*/ 104595 w 123825"/>
                  <a:gd name="connsiteY17" fmla="*/ 122873 h 190500"/>
                  <a:gd name="connsiteX18" fmla="*/ 91260 w 123825"/>
                  <a:gd name="connsiteY18" fmla="*/ 181928 h 190500"/>
                  <a:gd name="connsiteX19" fmla="*/ 76020 w 123825"/>
                  <a:gd name="connsiteY19" fmla="*/ 195263 h 190500"/>
                  <a:gd name="connsiteX20" fmla="*/ 57923 w 123825"/>
                  <a:gd name="connsiteY20" fmla="*/ 8572 h 190500"/>
                  <a:gd name="connsiteX21" fmla="*/ 52208 w 123825"/>
                  <a:gd name="connsiteY21" fmla="*/ 12383 h 190500"/>
                  <a:gd name="connsiteX22" fmla="*/ 12203 w 123825"/>
                  <a:gd name="connsiteY22" fmla="*/ 99060 h 190500"/>
                  <a:gd name="connsiteX23" fmla="*/ 11250 w 123825"/>
                  <a:gd name="connsiteY23" fmla="*/ 107632 h 190500"/>
                  <a:gd name="connsiteX24" fmla="*/ 16965 w 123825"/>
                  <a:gd name="connsiteY24" fmla="*/ 110490 h 190500"/>
                  <a:gd name="connsiteX25" fmla="*/ 30300 w 123825"/>
                  <a:gd name="connsiteY25" fmla="*/ 110490 h 190500"/>
                  <a:gd name="connsiteX26" fmla="*/ 38873 w 123825"/>
                  <a:gd name="connsiteY26" fmla="*/ 119063 h 190500"/>
                  <a:gd name="connsiteX27" fmla="*/ 38873 w 123825"/>
                  <a:gd name="connsiteY27" fmla="*/ 120015 h 190500"/>
                  <a:gd name="connsiteX28" fmla="*/ 52208 w 123825"/>
                  <a:gd name="connsiteY28" fmla="*/ 180023 h 190500"/>
                  <a:gd name="connsiteX29" fmla="*/ 58875 w 123825"/>
                  <a:gd name="connsiteY29" fmla="*/ 185738 h 190500"/>
                  <a:gd name="connsiteX30" fmla="*/ 76020 w 123825"/>
                  <a:gd name="connsiteY30" fmla="*/ 185738 h 190500"/>
                  <a:gd name="connsiteX31" fmla="*/ 82688 w 123825"/>
                  <a:gd name="connsiteY31" fmla="*/ 180023 h 190500"/>
                  <a:gd name="connsiteX32" fmla="*/ 96023 w 123825"/>
                  <a:gd name="connsiteY32" fmla="*/ 120968 h 190500"/>
                  <a:gd name="connsiteX33" fmla="*/ 105548 w 123825"/>
                  <a:gd name="connsiteY33" fmla="*/ 110490 h 190500"/>
                  <a:gd name="connsiteX34" fmla="*/ 118883 w 123825"/>
                  <a:gd name="connsiteY34" fmla="*/ 110490 h 190500"/>
                  <a:gd name="connsiteX35" fmla="*/ 124598 w 123825"/>
                  <a:gd name="connsiteY35" fmla="*/ 107632 h 190500"/>
                  <a:gd name="connsiteX36" fmla="*/ 125550 w 123825"/>
                  <a:gd name="connsiteY36" fmla="*/ 100013 h 190500"/>
                  <a:gd name="connsiteX37" fmla="*/ 125550 w 123825"/>
                  <a:gd name="connsiteY37" fmla="*/ 100013 h 190500"/>
                  <a:gd name="connsiteX38" fmla="*/ 83640 w 123825"/>
                  <a:gd name="connsiteY38" fmla="*/ 12383 h 190500"/>
                  <a:gd name="connsiteX39" fmla="*/ 77925 w 123825"/>
                  <a:gd name="connsiteY39" fmla="*/ 8572 h 190500"/>
                  <a:gd name="connsiteX40" fmla="*/ 57923 w 123825"/>
                  <a:gd name="connsiteY40" fmla="*/ 8572 h 190500"/>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4598 w 132038"/>
                  <a:gd name="connsiteY35" fmla="*/ 107632 h 195263"/>
                  <a:gd name="connsiteX36" fmla="*/ 125550 w 132038"/>
                  <a:gd name="connsiteY36" fmla="*/ 100013 h 195263"/>
                  <a:gd name="connsiteX37" fmla="*/ 125550 w 132038"/>
                  <a:gd name="connsiteY37" fmla="*/ 100013 h 195263"/>
                  <a:gd name="connsiteX38" fmla="*/ 83640 w 132038"/>
                  <a:gd name="connsiteY38" fmla="*/ 1238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5550 w 132038"/>
                  <a:gd name="connsiteY37" fmla="*/ 100013 h 195263"/>
                  <a:gd name="connsiteX38" fmla="*/ 83640 w 132038"/>
                  <a:gd name="connsiteY38" fmla="*/ 1238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4170 w 132038"/>
                  <a:gd name="connsiteY37" fmla="*/ 100473 h 195263"/>
                  <a:gd name="connsiteX38" fmla="*/ 83640 w 132038"/>
                  <a:gd name="connsiteY38" fmla="*/ 1238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4170 w 132038"/>
                  <a:gd name="connsiteY37" fmla="*/ 100473 h 195263"/>
                  <a:gd name="connsiteX38" fmla="*/ 81800 w 132038"/>
                  <a:gd name="connsiteY38" fmla="*/ 13303 h 195263"/>
                  <a:gd name="connsiteX39" fmla="*/ 77925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4170 w 132038"/>
                  <a:gd name="connsiteY37" fmla="*/ 100473 h 195263"/>
                  <a:gd name="connsiteX38" fmla="*/ 81800 w 132038"/>
                  <a:gd name="connsiteY38" fmla="*/ 13303 h 195263"/>
                  <a:gd name="connsiteX39" fmla="*/ 75166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122330 w 132038"/>
                  <a:gd name="connsiteY37" fmla="*/ 100473 h 195263"/>
                  <a:gd name="connsiteX38" fmla="*/ 81800 w 132038"/>
                  <a:gd name="connsiteY38" fmla="*/ 13303 h 195263"/>
                  <a:gd name="connsiteX39" fmla="*/ 75166 w 132038"/>
                  <a:gd name="connsiteY39" fmla="*/ 8572 h 195263"/>
                  <a:gd name="connsiteX40" fmla="*/ 57923 w 132038"/>
                  <a:gd name="connsiteY40"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5550 w 132038"/>
                  <a:gd name="connsiteY36" fmla="*/ 100013 h 195263"/>
                  <a:gd name="connsiteX37" fmla="*/ 81800 w 132038"/>
                  <a:gd name="connsiteY37" fmla="*/ 13303 h 195263"/>
                  <a:gd name="connsiteX38" fmla="*/ 75166 w 132038"/>
                  <a:gd name="connsiteY38" fmla="*/ 8572 h 195263"/>
                  <a:gd name="connsiteX39" fmla="*/ 57923 w 132038"/>
                  <a:gd name="connsiteY39" fmla="*/ 8572 h 195263"/>
                  <a:gd name="connsiteX0" fmla="*/ 76020 w 132038"/>
                  <a:gd name="connsiteY0" fmla="*/ 195263 h 195263"/>
                  <a:gd name="connsiteX1" fmla="*/ 58875 w 132038"/>
                  <a:gd name="connsiteY1" fmla="*/ 195263 h 195263"/>
                  <a:gd name="connsiteX2" fmla="*/ 42683 w 132038"/>
                  <a:gd name="connsiteY2" fmla="*/ 182880 h 195263"/>
                  <a:gd name="connsiteX3" fmla="*/ 29348 w 132038"/>
                  <a:gd name="connsiteY3" fmla="*/ 122873 h 195263"/>
                  <a:gd name="connsiteX4" fmla="*/ 28395 w 132038"/>
                  <a:gd name="connsiteY4" fmla="*/ 120968 h 195263"/>
                  <a:gd name="connsiteX5" fmla="*/ 16013 w 132038"/>
                  <a:gd name="connsiteY5" fmla="*/ 120968 h 195263"/>
                  <a:gd name="connsiteX6" fmla="*/ 2678 w 132038"/>
                  <a:gd name="connsiteY6" fmla="*/ 113348 h 195263"/>
                  <a:gd name="connsiteX7" fmla="*/ 1725 w 132038"/>
                  <a:gd name="connsiteY7" fmla="*/ 96203 h 195263"/>
                  <a:gd name="connsiteX8" fmla="*/ 41730 w 132038"/>
                  <a:gd name="connsiteY8" fmla="*/ 9525 h 195263"/>
                  <a:gd name="connsiteX9" fmla="*/ 56018 w 132038"/>
                  <a:gd name="connsiteY9" fmla="*/ 0 h 195263"/>
                  <a:gd name="connsiteX10" fmla="*/ 76020 w 132038"/>
                  <a:gd name="connsiteY10" fmla="*/ 0 h 195263"/>
                  <a:gd name="connsiteX11" fmla="*/ 90308 w 132038"/>
                  <a:gd name="connsiteY11" fmla="*/ 9525 h 195263"/>
                  <a:gd name="connsiteX12" fmla="*/ 130313 w 132038"/>
                  <a:gd name="connsiteY12" fmla="*/ 96203 h 195263"/>
                  <a:gd name="connsiteX13" fmla="*/ 130313 w 132038"/>
                  <a:gd name="connsiteY13" fmla="*/ 96203 h 195263"/>
                  <a:gd name="connsiteX14" fmla="*/ 129360 w 132038"/>
                  <a:gd name="connsiteY14" fmla="*/ 113348 h 195263"/>
                  <a:gd name="connsiteX15" fmla="*/ 116025 w 132038"/>
                  <a:gd name="connsiteY15" fmla="*/ 120968 h 195263"/>
                  <a:gd name="connsiteX16" fmla="*/ 105548 w 132038"/>
                  <a:gd name="connsiteY16" fmla="*/ 120968 h 195263"/>
                  <a:gd name="connsiteX17" fmla="*/ 104595 w 132038"/>
                  <a:gd name="connsiteY17" fmla="*/ 122873 h 195263"/>
                  <a:gd name="connsiteX18" fmla="*/ 91260 w 132038"/>
                  <a:gd name="connsiteY18" fmla="*/ 181928 h 195263"/>
                  <a:gd name="connsiteX19" fmla="*/ 76020 w 132038"/>
                  <a:gd name="connsiteY19" fmla="*/ 195263 h 195263"/>
                  <a:gd name="connsiteX20" fmla="*/ 57923 w 132038"/>
                  <a:gd name="connsiteY20" fmla="*/ 8572 h 195263"/>
                  <a:gd name="connsiteX21" fmla="*/ 52208 w 132038"/>
                  <a:gd name="connsiteY21" fmla="*/ 12383 h 195263"/>
                  <a:gd name="connsiteX22" fmla="*/ 12203 w 132038"/>
                  <a:gd name="connsiteY22" fmla="*/ 99060 h 195263"/>
                  <a:gd name="connsiteX23" fmla="*/ 11250 w 132038"/>
                  <a:gd name="connsiteY23" fmla="*/ 107632 h 195263"/>
                  <a:gd name="connsiteX24" fmla="*/ 16965 w 132038"/>
                  <a:gd name="connsiteY24" fmla="*/ 110490 h 195263"/>
                  <a:gd name="connsiteX25" fmla="*/ 30300 w 132038"/>
                  <a:gd name="connsiteY25" fmla="*/ 110490 h 195263"/>
                  <a:gd name="connsiteX26" fmla="*/ 38873 w 132038"/>
                  <a:gd name="connsiteY26" fmla="*/ 119063 h 195263"/>
                  <a:gd name="connsiteX27" fmla="*/ 38873 w 132038"/>
                  <a:gd name="connsiteY27" fmla="*/ 120015 h 195263"/>
                  <a:gd name="connsiteX28" fmla="*/ 52208 w 132038"/>
                  <a:gd name="connsiteY28" fmla="*/ 180023 h 195263"/>
                  <a:gd name="connsiteX29" fmla="*/ 58875 w 132038"/>
                  <a:gd name="connsiteY29" fmla="*/ 185738 h 195263"/>
                  <a:gd name="connsiteX30" fmla="*/ 76020 w 132038"/>
                  <a:gd name="connsiteY30" fmla="*/ 185738 h 195263"/>
                  <a:gd name="connsiteX31" fmla="*/ 82688 w 132038"/>
                  <a:gd name="connsiteY31" fmla="*/ 180023 h 195263"/>
                  <a:gd name="connsiteX32" fmla="*/ 96023 w 132038"/>
                  <a:gd name="connsiteY32" fmla="*/ 120968 h 195263"/>
                  <a:gd name="connsiteX33" fmla="*/ 105548 w 132038"/>
                  <a:gd name="connsiteY33" fmla="*/ 110490 h 195263"/>
                  <a:gd name="connsiteX34" fmla="*/ 117043 w 132038"/>
                  <a:gd name="connsiteY34" fmla="*/ 110490 h 195263"/>
                  <a:gd name="connsiteX35" fmla="*/ 123218 w 132038"/>
                  <a:gd name="connsiteY35" fmla="*/ 107632 h 195263"/>
                  <a:gd name="connsiteX36" fmla="*/ 123710 w 132038"/>
                  <a:gd name="connsiteY36" fmla="*/ 100013 h 195263"/>
                  <a:gd name="connsiteX37" fmla="*/ 81800 w 132038"/>
                  <a:gd name="connsiteY37" fmla="*/ 13303 h 195263"/>
                  <a:gd name="connsiteX38" fmla="*/ 75166 w 132038"/>
                  <a:gd name="connsiteY38" fmla="*/ 8572 h 195263"/>
                  <a:gd name="connsiteX39" fmla="*/ 57923 w 132038"/>
                  <a:gd name="connsiteY39" fmla="*/ 8572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2038" h="195263">
                    <a:moveTo>
                      <a:pt x="76020" y="195263"/>
                    </a:moveTo>
                    <a:lnTo>
                      <a:pt x="58875" y="195263"/>
                    </a:lnTo>
                    <a:cubicBezTo>
                      <a:pt x="51255" y="195263"/>
                      <a:pt x="44588" y="189548"/>
                      <a:pt x="42683" y="182880"/>
                    </a:cubicBezTo>
                    <a:lnTo>
                      <a:pt x="29348" y="122873"/>
                    </a:lnTo>
                    <a:cubicBezTo>
                      <a:pt x="29348" y="121920"/>
                      <a:pt x="29348" y="121920"/>
                      <a:pt x="28395" y="120968"/>
                    </a:cubicBezTo>
                    <a:lnTo>
                      <a:pt x="16013" y="120968"/>
                    </a:lnTo>
                    <a:cubicBezTo>
                      <a:pt x="10298" y="120968"/>
                      <a:pt x="5535" y="118110"/>
                      <a:pt x="2678" y="113348"/>
                    </a:cubicBezTo>
                    <a:cubicBezTo>
                      <a:pt x="-180" y="108585"/>
                      <a:pt x="-1132" y="101918"/>
                      <a:pt x="1725" y="96203"/>
                    </a:cubicBezTo>
                    <a:lnTo>
                      <a:pt x="41730" y="9525"/>
                    </a:lnTo>
                    <a:cubicBezTo>
                      <a:pt x="44588" y="3810"/>
                      <a:pt x="50303" y="0"/>
                      <a:pt x="56018" y="0"/>
                    </a:cubicBezTo>
                    <a:lnTo>
                      <a:pt x="76020" y="0"/>
                    </a:lnTo>
                    <a:cubicBezTo>
                      <a:pt x="81735" y="0"/>
                      <a:pt x="88403" y="3810"/>
                      <a:pt x="90308" y="9525"/>
                    </a:cubicBezTo>
                    <a:lnTo>
                      <a:pt x="130313" y="96203"/>
                    </a:lnTo>
                    <a:lnTo>
                      <a:pt x="130313" y="96203"/>
                    </a:lnTo>
                    <a:cubicBezTo>
                      <a:pt x="133170" y="101918"/>
                      <a:pt x="132218" y="108585"/>
                      <a:pt x="129360" y="113348"/>
                    </a:cubicBezTo>
                    <a:cubicBezTo>
                      <a:pt x="126503" y="118110"/>
                      <a:pt x="121740" y="120968"/>
                      <a:pt x="116025" y="120968"/>
                    </a:cubicBezTo>
                    <a:lnTo>
                      <a:pt x="105548" y="120968"/>
                    </a:lnTo>
                    <a:cubicBezTo>
                      <a:pt x="105548" y="121920"/>
                      <a:pt x="105548" y="122873"/>
                      <a:pt x="104595" y="122873"/>
                    </a:cubicBezTo>
                    <a:lnTo>
                      <a:pt x="91260" y="181928"/>
                    </a:lnTo>
                    <a:cubicBezTo>
                      <a:pt x="90308" y="189548"/>
                      <a:pt x="83640" y="195263"/>
                      <a:pt x="76020" y="195263"/>
                    </a:cubicBezTo>
                    <a:close/>
                    <a:moveTo>
                      <a:pt x="57923" y="8572"/>
                    </a:moveTo>
                    <a:cubicBezTo>
                      <a:pt x="55065" y="8572"/>
                      <a:pt x="53160" y="10478"/>
                      <a:pt x="52208" y="12383"/>
                    </a:cubicBezTo>
                    <a:lnTo>
                      <a:pt x="12203" y="99060"/>
                    </a:lnTo>
                    <a:cubicBezTo>
                      <a:pt x="10298" y="101918"/>
                      <a:pt x="10298" y="104775"/>
                      <a:pt x="11250" y="107632"/>
                    </a:cubicBezTo>
                    <a:cubicBezTo>
                      <a:pt x="12203" y="109538"/>
                      <a:pt x="14108" y="110490"/>
                      <a:pt x="16965" y="110490"/>
                    </a:cubicBezTo>
                    <a:lnTo>
                      <a:pt x="30300" y="110490"/>
                    </a:lnTo>
                    <a:cubicBezTo>
                      <a:pt x="36968" y="110490"/>
                      <a:pt x="37920" y="116205"/>
                      <a:pt x="38873" y="119063"/>
                    </a:cubicBezTo>
                    <a:lnTo>
                      <a:pt x="38873" y="120015"/>
                    </a:lnTo>
                    <a:lnTo>
                      <a:pt x="52208" y="180023"/>
                    </a:lnTo>
                    <a:cubicBezTo>
                      <a:pt x="53160" y="182880"/>
                      <a:pt x="56018" y="185738"/>
                      <a:pt x="58875" y="185738"/>
                    </a:cubicBezTo>
                    <a:lnTo>
                      <a:pt x="76020" y="185738"/>
                    </a:lnTo>
                    <a:cubicBezTo>
                      <a:pt x="78878" y="185738"/>
                      <a:pt x="81735" y="183833"/>
                      <a:pt x="82688" y="180023"/>
                    </a:cubicBezTo>
                    <a:lnTo>
                      <a:pt x="96023" y="120968"/>
                    </a:lnTo>
                    <a:cubicBezTo>
                      <a:pt x="96975" y="117157"/>
                      <a:pt x="97928" y="110490"/>
                      <a:pt x="105548" y="110490"/>
                    </a:cubicBezTo>
                    <a:lnTo>
                      <a:pt x="117043" y="110490"/>
                    </a:lnTo>
                    <a:cubicBezTo>
                      <a:pt x="118948" y="110490"/>
                      <a:pt x="121313" y="109538"/>
                      <a:pt x="123218" y="107632"/>
                    </a:cubicBezTo>
                    <a:cubicBezTo>
                      <a:pt x="125123" y="104775"/>
                      <a:pt x="124663" y="101918"/>
                      <a:pt x="123710" y="100013"/>
                    </a:cubicBezTo>
                    <a:lnTo>
                      <a:pt x="81800" y="13303"/>
                    </a:lnTo>
                    <a:cubicBezTo>
                      <a:pt x="80848" y="10445"/>
                      <a:pt x="78024" y="8572"/>
                      <a:pt x="75166" y="8572"/>
                    </a:cubicBezTo>
                    <a:lnTo>
                      <a:pt x="57923" y="8572"/>
                    </a:lnTo>
                    <a:close/>
                  </a:path>
                </a:pathLst>
              </a:custGeom>
              <a:solidFill>
                <a:srgbClr val="231F20"/>
              </a:solidFill>
              <a:ln w="9525" cap="flat">
                <a:noFill/>
                <a:prstDash val="solid"/>
                <a:miter/>
              </a:ln>
            </p:spPr>
            <p:txBody>
              <a:bodyPr rtlCol="0" anchor="ctr"/>
              <a:lstStyle/>
              <a:p>
                <a:endParaRPr lang="de-DE"/>
              </a:p>
            </p:txBody>
          </p:sp>
          <p:sp>
            <p:nvSpPr>
              <p:cNvPr id="5110" name="Freeform: Shape 5109">
                <a:extLst>
                  <a:ext uri="{FF2B5EF4-FFF2-40B4-BE49-F238E27FC236}">
                    <a16:creationId xmlns:a16="http://schemas.microsoft.com/office/drawing/2014/main" id="{A321C16C-120D-4D51-80A4-FAECCF489773}"/>
                  </a:ext>
                </a:extLst>
              </p:cNvPr>
              <p:cNvSpPr/>
              <p:nvPr/>
            </p:nvSpPr>
            <p:spPr>
              <a:xfrm>
                <a:off x="5624549" y="2895453"/>
                <a:ext cx="345232" cy="345232"/>
              </a:xfrm>
              <a:custGeom>
                <a:avLst/>
                <a:gdLst>
                  <a:gd name="connsiteX0" fmla="*/ 33338 w 66675"/>
                  <a:gd name="connsiteY0" fmla="*/ 66675 h 66675"/>
                  <a:gd name="connsiteX1" fmla="*/ 0 w 66675"/>
                  <a:gd name="connsiteY1" fmla="*/ 33338 h 66675"/>
                  <a:gd name="connsiteX2" fmla="*/ 33338 w 66675"/>
                  <a:gd name="connsiteY2" fmla="*/ 0 h 66675"/>
                  <a:gd name="connsiteX3" fmla="*/ 66675 w 66675"/>
                  <a:gd name="connsiteY3" fmla="*/ 33338 h 66675"/>
                  <a:gd name="connsiteX4" fmla="*/ 33338 w 66675"/>
                  <a:gd name="connsiteY4" fmla="*/ 66675 h 66675"/>
                  <a:gd name="connsiteX5" fmla="*/ 33338 w 66675"/>
                  <a:gd name="connsiteY5" fmla="*/ 9525 h 66675"/>
                  <a:gd name="connsiteX6" fmla="*/ 9525 w 66675"/>
                  <a:gd name="connsiteY6" fmla="*/ 33338 h 66675"/>
                  <a:gd name="connsiteX7" fmla="*/ 33338 w 66675"/>
                  <a:gd name="connsiteY7" fmla="*/ 57150 h 66675"/>
                  <a:gd name="connsiteX8" fmla="*/ 57150 w 66675"/>
                  <a:gd name="connsiteY8" fmla="*/ 33338 h 66675"/>
                  <a:gd name="connsiteX9" fmla="*/ 33338 w 6667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3338" y="66675"/>
                    </a:moveTo>
                    <a:cubicBezTo>
                      <a:pt x="15240" y="66675"/>
                      <a:pt x="0" y="51435"/>
                      <a:pt x="0" y="33338"/>
                    </a:cubicBezTo>
                    <a:cubicBezTo>
                      <a:pt x="0" y="15240"/>
                      <a:pt x="15240" y="0"/>
                      <a:pt x="33338" y="0"/>
                    </a:cubicBezTo>
                    <a:cubicBezTo>
                      <a:pt x="51435" y="0"/>
                      <a:pt x="66675" y="15240"/>
                      <a:pt x="66675" y="33338"/>
                    </a:cubicBezTo>
                    <a:cubicBezTo>
                      <a:pt x="66675" y="51435"/>
                      <a:pt x="51435" y="66675"/>
                      <a:pt x="33338" y="66675"/>
                    </a:cubicBezTo>
                    <a:close/>
                    <a:moveTo>
                      <a:pt x="33338" y="9525"/>
                    </a:moveTo>
                    <a:cubicBezTo>
                      <a:pt x="20003" y="9525"/>
                      <a:pt x="9525" y="20003"/>
                      <a:pt x="9525" y="33338"/>
                    </a:cubicBezTo>
                    <a:cubicBezTo>
                      <a:pt x="9525" y="46673"/>
                      <a:pt x="20003" y="57150"/>
                      <a:pt x="33338" y="57150"/>
                    </a:cubicBezTo>
                    <a:cubicBezTo>
                      <a:pt x="46672" y="57150"/>
                      <a:pt x="57150" y="46673"/>
                      <a:pt x="57150" y="33338"/>
                    </a:cubicBezTo>
                    <a:cubicBezTo>
                      <a:pt x="57150" y="20003"/>
                      <a:pt x="46672" y="9525"/>
                      <a:pt x="33338" y="9525"/>
                    </a:cubicBezTo>
                    <a:close/>
                  </a:path>
                </a:pathLst>
              </a:custGeom>
              <a:solidFill>
                <a:srgbClr val="231F20"/>
              </a:solidFill>
              <a:ln w="9525" cap="flat">
                <a:noFill/>
                <a:prstDash val="solid"/>
                <a:miter/>
              </a:ln>
            </p:spPr>
            <p:txBody>
              <a:bodyPr rtlCol="0" anchor="ctr"/>
              <a:lstStyle/>
              <a:p>
                <a:endParaRPr lang="de-DE"/>
              </a:p>
            </p:txBody>
          </p:sp>
        </p:grpSp>
        <p:grpSp>
          <p:nvGrpSpPr>
            <p:cNvPr id="5106" name="Graphic 3">
              <a:extLst>
                <a:ext uri="{FF2B5EF4-FFF2-40B4-BE49-F238E27FC236}">
                  <a16:creationId xmlns:a16="http://schemas.microsoft.com/office/drawing/2014/main" id="{67530482-E29A-4DC5-90F2-8DFEE301EACA}"/>
                </a:ext>
              </a:extLst>
            </p:cNvPr>
            <p:cNvGrpSpPr/>
            <p:nvPr/>
          </p:nvGrpSpPr>
          <p:grpSpPr>
            <a:xfrm>
              <a:off x="6097807" y="3354121"/>
              <a:ext cx="443869" cy="887738"/>
              <a:chOff x="6058814" y="3384233"/>
              <a:chExt cx="85725" cy="171450"/>
            </a:xfrm>
            <a:solidFill>
              <a:srgbClr val="231F20"/>
            </a:solidFill>
          </p:grpSpPr>
          <p:sp>
            <p:nvSpPr>
              <p:cNvPr id="5107" name="Freeform: Shape 5106">
                <a:extLst>
                  <a:ext uri="{FF2B5EF4-FFF2-40B4-BE49-F238E27FC236}">
                    <a16:creationId xmlns:a16="http://schemas.microsoft.com/office/drawing/2014/main" id="{B1A5A770-9FE8-42F5-93AC-CBC1EE8AC29C}"/>
                  </a:ext>
                </a:extLst>
              </p:cNvPr>
              <p:cNvSpPr/>
              <p:nvPr/>
            </p:nvSpPr>
            <p:spPr>
              <a:xfrm>
                <a:off x="6058814" y="3432810"/>
                <a:ext cx="85725" cy="123825"/>
              </a:xfrm>
              <a:custGeom>
                <a:avLst/>
                <a:gdLst>
                  <a:gd name="connsiteX0" fmla="*/ 50521 w 85725"/>
                  <a:gd name="connsiteY0" fmla="*/ 129540 h 123825"/>
                  <a:gd name="connsiteX1" fmla="*/ 40044 w 85725"/>
                  <a:gd name="connsiteY1" fmla="*/ 129540 h 123825"/>
                  <a:gd name="connsiteX2" fmla="*/ 28614 w 85725"/>
                  <a:gd name="connsiteY2" fmla="*/ 120015 h 123825"/>
                  <a:gd name="connsiteX3" fmla="*/ 20041 w 85725"/>
                  <a:gd name="connsiteY3" fmla="*/ 81915 h 123825"/>
                  <a:gd name="connsiteX4" fmla="*/ 20041 w 85725"/>
                  <a:gd name="connsiteY4" fmla="*/ 81915 h 123825"/>
                  <a:gd name="connsiteX5" fmla="*/ 13374 w 85725"/>
                  <a:gd name="connsiteY5" fmla="*/ 81915 h 123825"/>
                  <a:gd name="connsiteX6" fmla="*/ 2896 w 85725"/>
                  <a:gd name="connsiteY6" fmla="*/ 76200 h 123825"/>
                  <a:gd name="connsiteX7" fmla="*/ 991 w 85725"/>
                  <a:gd name="connsiteY7" fmla="*/ 62865 h 123825"/>
                  <a:gd name="connsiteX8" fmla="*/ 26709 w 85725"/>
                  <a:gd name="connsiteY8" fmla="*/ 7620 h 123825"/>
                  <a:gd name="connsiteX9" fmla="*/ 37186 w 85725"/>
                  <a:gd name="connsiteY9" fmla="*/ 0 h 123825"/>
                  <a:gd name="connsiteX10" fmla="*/ 50521 w 85725"/>
                  <a:gd name="connsiteY10" fmla="*/ 0 h 123825"/>
                  <a:gd name="connsiteX11" fmla="*/ 60999 w 85725"/>
                  <a:gd name="connsiteY11" fmla="*/ 7620 h 123825"/>
                  <a:gd name="connsiteX12" fmla="*/ 86716 w 85725"/>
                  <a:gd name="connsiteY12" fmla="*/ 62865 h 123825"/>
                  <a:gd name="connsiteX13" fmla="*/ 85764 w 85725"/>
                  <a:gd name="connsiteY13" fmla="*/ 75248 h 123825"/>
                  <a:gd name="connsiteX14" fmla="*/ 75286 w 85725"/>
                  <a:gd name="connsiteY14" fmla="*/ 80963 h 123825"/>
                  <a:gd name="connsiteX15" fmla="*/ 68619 w 85725"/>
                  <a:gd name="connsiteY15" fmla="*/ 80963 h 123825"/>
                  <a:gd name="connsiteX16" fmla="*/ 68619 w 85725"/>
                  <a:gd name="connsiteY16" fmla="*/ 80963 h 123825"/>
                  <a:gd name="connsiteX17" fmla="*/ 60046 w 85725"/>
                  <a:gd name="connsiteY17" fmla="*/ 119063 h 123825"/>
                  <a:gd name="connsiteX18" fmla="*/ 50521 w 85725"/>
                  <a:gd name="connsiteY18" fmla="*/ 129540 h 123825"/>
                  <a:gd name="connsiteX19" fmla="*/ 38139 w 85725"/>
                  <a:gd name="connsiteY19" fmla="*/ 9525 h 123825"/>
                  <a:gd name="connsiteX20" fmla="*/ 36234 w 85725"/>
                  <a:gd name="connsiteY20" fmla="*/ 11430 h 123825"/>
                  <a:gd name="connsiteX21" fmla="*/ 10516 w 85725"/>
                  <a:gd name="connsiteY21" fmla="*/ 66675 h 123825"/>
                  <a:gd name="connsiteX22" fmla="*/ 10516 w 85725"/>
                  <a:gd name="connsiteY22" fmla="*/ 70485 h 123825"/>
                  <a:gd name="connsiteX23" fmla="*/ 12421 w 85725"/>
                  <a:gd name="connsiteY23" fmla="*/ 71438 h 123825"/>
                  <a:gd name="connsiteX24" fmla="*/ 20994 w 85725"/>
                  <a:gd name="connsiteY24" fmla="*/ 71438 h 123825"/>
                  <a:gd name="connsiteX25" fmla="*/ 28614 w 85725"/>
                  <a:gd name="connsiteY25" fmla="*/ 78105 h 123825"/>
                  <a:gd name="connsiteX26" fmla="*/ 28614 w 85725"/>
                  <a:gd name="connsiteY26" fmla="*/ 79058 h 123825"/>
                  <a:gd name="connsiteX27" fmla="*/ 37186 w 85725"/>
                  <a:gd name="connsiteY27" fmla="*/ 117158 h 123825"/>
                  <a:gd name="connsiteX28" fmla="*/ 40044 w 85725"/>
                  <a:gd name="connsiteY28" fmla="*/ 119063 h 123825"/>
                  <a:gd name="connsiteX29" fmla="*/ 50521 w 85725"/>
                  <a:gd name="connsiteY29" fmla="*/ 119063 h 123825"/>
                  <a:gd name="connsiteX30" fmla="*/ 53379 w 85725"/>
                  <a:gd name="connsiteY30" fmla="*/ 117158 h 123825"/>
                  <a:gd name="connsiteX31" fmla="*/ 61951 w 85725"/>
                  <a:gd name="connsiteY31" fmla="*/ 79058 h 123825"/>
                  <a:gd name="connsiteX32" fmla="*/ 69571 w 85725"/>
                  <a:gd name="connsiteY32" fmla="*/ 71438 h 123825"/>
                  <a:gd name="connsiteX33" fmla="*/ 78144 w 85725"/>
                  <a:gd name="connsiteY33" fmla="*/ 71438 h 123825"/>
                  <a:gd name="connsiteX34" fmla="*/ 80049 w 85725"/>
                  <a:gd name="connsiteY34" fmla="*/ 70485 h 123825"/>
                  <a:gd name="connsiteX35" fmla="*/ 80049 w 85725"/>
                  <a:gd name="connsiteY35" fmla="*/ 66675 h 123825"/>
                  <a:gd name="connsiteX36" fmla="*/ 80049 w 85725"/>
                  <a:gd name="connsiteY36" fmla="*/ 66675 h 123825"/>
                  <a:gd name="connsiteX37" fmla="*/ 54331 w 85725"/>
                  <a:gd name="connsiteY37" fmla="*/ 11430 h 123825"/>
                  <a:gd name="connsiteX38" fmla="*/ 52426 w 85725"/>
                  <a:gd name="connsiteY38" fmla="*/ 9525 h 123825"/>
                  <a:gd name="connsiteX39" fmla="*/ 38139 w 85725"/>
                  <a:gd name="connsiteY39" fmla="*/ 952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5725" h="123825">
                    <a:moveTo>
                      <a:pt x="50521" y="129540"/>
                    </a:moveTo>
                    <a:lnTo>
                      <a:pt x="40044" y="129540"/>
                    </a:lnTo>
                    <a:cubicBezTo>
                      <a:pt x="34329" y="129540"/>
                      <a:pt x="29566" y="125730"/>
                      <a:pt x="28614" y="120015"/>
                    </a:cubicBezTo>
                    <a:lnTo>
                      <a:pt x="20041" y="81915"/>
                    </a:lnTo>
                    <a:cubicBezTo>
                      <a:pt x="20041" y="81915"/>
                      <a:pt x="20041" y="81915"/>
                      <a:pt x="20041" y="81915"/>
                    </a:cubicBezTo>
                    <a:lnTo>
                      <a:pt x="13374" y="81915"/>
                    </a:lnTo>
                    <a:cubicBezTo>
                      <a:pt x="9564" y="81915"/>
                      <a:pt x="5754" y="80010"/>
                      <a:pt x="2896" y="76200"/>
                    </a:cubicBezTo>
                    <a:cubicBezTo>
                      <a:pt x="39" y="72390"/>
                      <a:pt x="-914" y="67628"/>
                      <a:pt x="991" y="62865"/>
                    </a:cubicBezTo>
                    <a:lnTo>
                      <a:pt x="26709" y="7620"/>
                    </a:lnTo>
                    <a:cubicBezTo>
                      <a:pt x="28614" y="2858"/>
                      <a:pt x="33376" y="0"/>
                      <a:pt x="37186" y="0"/>
                    </a:cubicBezTo>
                    <a:lnTo>
                      <a:pt x="50521" y="0"/>
                    </a:lnTo>
                    <a:cubicBezTo>
                      <a:pt x="55284" y="0"/>
                      <a:pt x="59094" y="2858"/>
                      <a:pt x="60999" y="7620"/>
                    </a:cubicBezTo>
                    <a:lnTo>
                      <a:pt x="86716" y="62865"/>
                    </a:lnTo>
                    <a:cubicBezTo>
                      <a:pt x="88621" y="66675"/>
                      <a:pt x="88621" y="71438"/>
                      <a:pt x="85764" y="75248"/>
                    </a:cubicBezTo>
                    <a:cubicBezTo>
                      <a:pt x="83859" y="79058"/>
                      <a:pt x="80049" y="80963"/>
                      <a:pt x="75286" y="80963"/>
                    </a:cubicBezTo>
                    <a:lnTo>
                      <a:pt x="68619" y="80963"/>
                    </a:lnTo>
                    <a:cubicBezTo>
                      <a:pt x="68619" y="80963"/>
                      <a:pt x="68619" y="80963"/>
                      <a:pt x="68619" y="80963"/>
                    </a:cubicBezTo>
                    <a:lnTo>
                      <a:pt x="60046" y="119063"/>
                    </a:lnTo>
                    <a:cubicBezTo>
                      <a:pt x="60046" y="124778"/>
                      <a:pt x="55284" y="129540"/>
                      <a:pt x="50521" y="129540"/>
                    </a:cubicBezTo>
                    <a:close/>
                    <a:moveTo>
                      <a:pt x="38139" y="9525"/>
                    </a:moveTo>
                    <a:cubicBezTo>
                      <a:pt x="37186" y="9525"/>
                      <a:pt x="36234" y="10478"/>
                      <a:pt x="36234" y="11430"/>
                    </a:cubicBezTo>
                    <a:lnTo>
                      <a:pt x="10516" y="66675"/>
                    </a:lnTo>
                    <a:cubicBezTo>
                      <a:pt x="9564" y="67628"/>
                      <a:pt x="10516" y="69533"/>
                      <a:pt x="10516" y="70485"/>
                    </a:cubicBezTo>
                    <a:cubicBezTo>
                      <a:pt x="10516" y="70485"/>
                      <a:pt x="11469" y="71438"/>
                      <a:pt x="12421" y="71438"/>
                    </a:cubicBezTo>
                    <a:lnTo>
                      <a:pt x="20994" y="71438"/>
                    </a:lnTo>
                    <a:cubicBezTo>
                      <a:pt x="26709" y="71438"/>
                      <a:pt x="27661" y="76200"/>
                      <a:pt x="28614" y="78105"/>
                    </a:cubicBezTo>
                    <a:cubicBezTo>
                      <a:pt x="28614" y="78105"/>
                      <a:pt x="28614" y="79058"/>
                      <a:pt x="28614" y="79058"/>
                    </a:cubicBezTo>
                    <a:lnTo>
                      <a:pt x="37186" y="117158"/>
                    </a:lnTo>
                    <a:cubicBezTo>
                      <a:pt x="37186" y="118110"/>
                      <a:pt x="38139" y="119063"/>
                      <a:pt x="40044" y="119063"/>
                    </a:cubicBezTo>
                    <a:lnTo>
                      <a:pt x="50521" y="119063"/>
                    </a:lnTo>
                    <a:cubicBezTo>
                      <a:pt x="51474" y="119063"/>
                      <a:pt x="52426" y="118110"/>
                      <a:pt x="53379" y="117158"/>
                    </a:cubicBezTo>
                    <a:lnTo>
                      <a:pt x="61951" y="79058"/>
                    </a:lnTo>
                    <a:cubicBezTo>
                      <a:pt x="62904" y="76200"/>
                      <a:pt x="63856" y="71438"/>
                      <a:pt x="69571" y="71438"/>
                    </a:cubicBezTo>
                    <a:lnTo>
                      <a:pt x="78144" y="71438"/>
                    </a:lnTo>
                    <a:cubicBezTo>
                      <a:pt x="79096" y="71438"/>
                      <a:pt x="80049" y="70485"/>
                      <a:pt x="80049" y="70485"/>
                    </a:cubicBezTo>
                    <a:cubicBezTo>
                      <a:pt x="81001" y="69533"/>
                      <a:pt x="81001" y="68580"/>
                      <a:pt x="80049" y="66675"/>
                    </a:cubicBezTo>
                    <a:cubicBezTo>
                      <a:pt x="80049" y="66675"/>
                      <a:pt x="80049" y="66675"/>
                      <a:pt x="80049" y="66675"/>
                    </a:cubicBezTo>
                    <a:lnTo>
                      <a:pt x="54331" y="11430"/>
                    </a:lnTo>
                    <a:cubicBezTo>
                      <a:pt x="54331" y="10478"/>
                      <a:pt x="53379" y="9525"/>
                      <a:pt x="52426" y="9525"/>
                    </a:cubicBezTo>
                    <a:lnTo>
                      <a:pt x="38139" y="9525"/>
                    </a:lnTo>
                    <a:close/>
                  </a:path>
                </a:pathLst>
              </a:custGeom>
              <a:solidFill>
                <a:srgbClr val="231F20"/>
              </a:solidFill>
              <a:ln w="9525" cap="flat">
                <a:noFill/>
                <a:prstDash val="solid"/>
                <a:miter/>
              </a:ln>
            </p:spPr>
            <p:txBody>
              <a:bodyPr rtlCol="0" anchor="ctr"/>
              <a:lstStyle/>
              <a:p>
                <a:endParaRPr lang="de-DE"/>
              </a:p>
            </p:txBody>
          </p:sp>
          <p:sp>
            <p:nvSpPr>
              <p:cNvPr id="5108" name="Freeform: Shape 5107">
                <a:extLst>
                  <a:ext uri="{FF2B5EF4-FFF2-40B4-BE49-F238E27FC236}">
                    <a16:creationId xmlns:a16="http://schemas.microsoft.com/office/drawing/2014/main" id="{169125E3-D277-436C-85C5-D77DAB67513C}"/>
                  </a:ext>
                </a:extLst>
              </p:cNvPr>
              <p:cNvSpPr/>
              <p:nvPr/>
            </p:nvSpPr>
            <p:spPr>
              <a:xfrm>
                <a:off x="6080760" y="3384233"/>
                <a:ext cx="38100" cy="38100"/>
              </a:xfrm>
              <a:custGeom>
                <a:avLst/>
                <a:gdLst>
                  <a:gd name="connsiteX0" fmla="*/ 22860 w 38100"/>
                  <a:gd name="connsiteY0" fmla="*/ 45720 h 38100"/>
                  <a:gd name="connsiteX1" fmla="*/ 0 w 38100"/>
                  <a:gd name="connsiteY1" fmla="*/ 22860 h 38100"/>
                  <a:gd name="connsiteX2" fmla="*/ 22860 w 38100"/>
                  <a:gd name="connsiteY2" fmla="*/ 0 h 38100"/>
                  <a:gd name="connsiteX3" fmla="*/ 45720 w 38100"/>
                  <a:gd name="connsiteY3" fmla="*/ 22860 h 38100"/>
                  <a:gd name="connsiteX4" fmla="*/ 22860 w 38100"/>
                  <a:gd name="connsiteY4" fmla="*/ 45720 h 38100"/>
                  <a:gd name="connsiteX5" fmla="*/ 22860 w 38100"/>
                  <a:gd name="connsiteY5" fmla="*/ 9525 h 38100"/>
                  <a:gd name="connsiteX6" fmla="*/ 9525 w 38100"/>
                  <a:gd name="connsiteY6" fmla="*/ 22860 h 38100"/>
                  <a:gd name="connsiteX7" fmla="*/ 22860 w 38100"/>
                  <a:gd name="connsiteY7" fmla="*/ 36195 h 38100"/>
                  <a:gd name="connsiteX8" fmla="*/ 36195 w 38100"/>
                  <a:gd name="connsiteY8" fmla="*/ 22860 h 38100"/>
                  <a:gd name="connsiteX9" fmla="*/ 22860 w 38100"/>
                  <a:gd name="connsiteY9"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22860" y="45720"/>
                    </a:moveTo>
                    <a:cubicBezTo>
                      <a:pt x="10478" y="45720"/>
                      <a:pt x="0" y="35243"/>
                      <a:pt x="0" y="22860"/>
                    </a:cubicBezTo>
                    <a:cubicBezTo>
                      <a:pt x="0" y="10477"/>
                      <a:pt x="10478" y="0"/>
                      <a:pt x="22860" y="0"/>
                    </a:cubicBezTo>
                    <a:cubicBezTo>
                      <a:pt x="35243" y="0"/>
                      <a:pt x="45720" y="10477"/>
                      <a:pt x="45720" y="22860"/>
                    </a:cubicBezTo>
                    <a:cubicBezTo>
                      <a:pt x="45720" y="35243"/>
                      <a:pt x="35243" y="45720"/>
                      <a:pt x="22860" y="45720"/>
                    </a:cubicBezTo>
                    <a:close/>
                    <a:moveTo>
                      <a:pt x="22860" y="9525"/>
                    </a:moveTo>
                    <a:cubicBezTo>
                      <a:pt x="15240" y="9525"/>
                      <a:pt x="9525" y="15240"/>
                      <a:pt x="9525" y="22860"/>
                    </a:cubicBezTo>
                    <a:cubicBezTo>
                      <a:pt x="9525" y="30480"/>
                      <a:pt x="15240" y="36195"/>
                      <a:pt x="22860" y="36195"/>
                    </a:cubicBezTo>
                    <a:cubicBezTo>
                      <a:pt x="30480" y="36195"/>
                      <a:pt x="36195" y="30480"/>
                      <a:pt x="36195" y="22860"/>
                    </a:cubicBezTo>
                    <a:cubicBezTo>
                      <a:pt x="36195" y="15240"/>
                      <a:pt x="30480" y="9525"/>
                      <a:pt x="22860" y="9525"/>
                    </a:cubicBezTo>
                    <a:close/>
                  </a:path>
                </a:pathLst>
              </a:custGeom>
              <a:solidFill>
                <a:srgbClr val="231F20"/>
              </a:solidFill>
              <a:ln w="9525" cap="flat">
                <a:noFill/>
                <a:prstDash val="solid"/>
                <a:miter/>
              </a:ln>
            </p:spPr>
            <p:txBody>
              <a:bodyPr rtlCol="0" anchor="ctr"/>
              <a:lstStyle/>
              <a:p>
                <a:endParaRPr lang="de-DE"/>
              </a:p>
            </p:txBody>
          </p:sp>
        </p:grpSp>
      </p:grpSp>
      <p:grpSp>
        <p:nvGrpSpPr>
          <p:cNvPr id="5113" name="Graphic 3">
            <a:extLst>
              <a:ext uri="{FF2B5EF4-FFF2-40B4-BE49-F238E27FC236}">
                <a16:creationId xmlns:a16="http://schemas.microsoft.com/office/drawing/2014/main" id="{35D1615E-9C09-42E7-9FBC-DAC325941E5D}"/>
              </a:ext>
              <a:ext uri="{C183D7F6-B498-43B3-948B-1728B52AA6E4}">
                <adec:decorative xmlns:adec="http://schemas.microsoft.com/office/drawing/2017/decorative" val="1"/>
              </a:ext>
            </a:extLst>
          </p:cNvPr>
          <p:cNvGrpSpPr>
            <a:grpSpLocks noChangeAspect="1"/>
          </p:cNvGrpSpPr>
          <p:nvPr/>
        </p:nvGrpSpPr>
        <p:grpSpPr>
          <a:xfrm>
            <a:off x="4055005" y="3469472"/>
            <a:ext cx="101500" cy="109307"/>
            <a:chOff x="5967412" y="3295650"/>
            <a:chExt cx="247650" cy="266700"/>
          </a:xfrm>
          <a:solidFill>
            <a:srgbClr val="101010"/>
          </a:solidFill>
        </p:grpSpPr>
        <p:sp>
          <p:nvSpPr>
            <p:cNvPr id="5114" name="Freeform: Shape 5113">
              <a:extLst>
                <a:ext uri="{FF2B5EF4-FFF2-40B4-BE49-F238E27FC236}">
                  <a16:creationId xmlns:a16="http://schemas.microsoft.com/office/drawing/2014/main" id="{D6482FB2-026D-4CA8-99B1-3CA312D5E018}"/>
                </a:ext>
              </a:extLst>
            </p:cNvPr>
            <p:cNvSpPr/>
            <p:nvPr/>
          </p:nvSpPr>
          <p:spPr>
            <a:xfrm>
              <a:off x="6072187" y="3438525"/>
              <a:ext cx="142875" cy="123825"/>
            </a:xfrm>
            <a:custGeom>
              <a:avLst/>
              <a:gdLst>
                <a:gd name="connsiteX0" fmla="*/ 143828 w 142875"/>
                <a:gd name="connsiteY0" fmla="*/ 0 h 123825"/>
                <a:gd name="connsiteX1" fmla="*/ 5715 w 142875"/>
                <a:gd name="connsiteY1" fmla="*/ 0 h 123825"/>
                <a:gd name="connsiteX2" fmla="*/ 0 w 142875"/>
                <a:gd name="connsiteY2" fmla="*/ 5715 h 123825"/>
                <a:gd name="connsiteX3" fmla="*/ 5715 w 142875"/>
                <a:gd name="connsiteY3" fmla="*/ 11430 h 123825"/>
                <a:gd name="connsiteX4" fmla="*/ 66675 w 142875"/>
                <a:gd name="connsiteY4" fmla="*/ 11430 h 123825"/>
                <a:gd name="connsiteX5" fmla="*/ 66675 w 142875"/>
                <a:gd name="connsiteY5" fmla="*/ 119063 h 123825"/>
                <a:gd name="connsiteX6" fmla="*/ 72390 w 142875"/>
                <a:gd name="connsiteY6" fmla="*/ 124778 h 123825"/>
                <a:gd name="connsiteX7" fmla="*/ 78105 w 142875"/>
                <a:gd name="connsiteY7" fmla="*/ 119063 h 123825"/>
                <a:gd name="connsiteX8" fmla="*/ 78105 w 142875"/>
                <a:gd name="connsiteY8" fmla="*/ 11430 h 123825"/>
                <a:gd name="connsiteX9" fmla="*/ 143828 w 142875"/>
                <a:gd name="connsiteY9" fmla="*/ 11430 h 123825"/>
                <a:gd name="connsiteX10" fmla="*/ 149543 w 142875"/>
                <a:gd name="connsiteY10" fmla="*/ 5715 h 123825"/>
                <a:gd name="connsiteX11" fmla="*/ 143828 w 142875"/>
                <a:gd name="connsiteY11"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875" h="123825">
                  <a:moveTo>
                    <a:pt x="143828" y="0"/>
                  </a:moveTo>
                  <a:lnTo>
                    <a:pt x="5715" y="0"/>
                  </a:lnTo>
                  <a:cubicBezTo>
                    <a:pt x="2858" y="0"/>
                    <a:pt x="0" y="2858"/>
                    <a:pt x="0" y="5715"/>
                  </a:cubicBezTo>
                  <a:cubicBezTo>
                    <a:pt x="0" y="8572"/>
                    <a:pt x="2858" y="11430"/>
                    <a:pt x="5715" y="11430"/>
                  </a:cubicBezTo>
                  <a:lnTo>
                    <a:pt x="66675" y="11430"/>
                  </a:lnTo>
                  <a:lnTo>
                    <a:pt x="66675" y="119063"/>
                  </a:lnTo>
                  <a:cubicBezTo>
                    <a:pt x="66675" y="121920"/>
                    <a:pt x="69532" y="124778"/>
                    <a:pt x="72390" y="124778"/>
                  </a:cubicBezTo>
                  <a:cubicBezTo>
                    <a:pt x="75248" y="124778"/>
                    <a:pt x="78105" y="121920"/>
                    <a:pt x="78105" y="119063"/>
                  </a:cubicBezTo>
                  <a:lnTo>
                    <a:pt x="78105" y="11430"/>
                  </a:lnTo>
                  <a:lnTo>
                    <a:pt x="143828" y="11430"/>
                  </a:lnTo>
                  <a:cubicBezTo>
                    <a:pt x="146685" y="11430"/>
                    <a:pt x="149543" y="8572"/>
                    <a:pt x="149543" y="5715"/>
                  </a:cubicBezTo>
                  <a:cubicBezTo>
                    <a:pt x="149543" y="2858"/>
                    <a:pt x="146685" y="0"/>
                    <a:pt x="143828" y="0"/>
                  </a:cubicBezTo>
                  <a:close/>
                </a:path>
              </a:pathLst>
            </a:custGeom>
            <a:solidFill>
              <a:srgbClr val="101010"/>
            </a:solidFill>
            <a:ln w="9525" cap="flat">
              <a:noFill/>
              <a:prstDash val="solid"/>
              <a:miter/>
            </a:ln>
          </p:spPr>
          <p:txBody>
            <a:bodyPr rtlCol="0" anchor="ctr"/>
            <a:lstStyle/>
            <a:p>
              <a:endParaRPr lang="de-DE"/>
            </a:p>
          </p:txBody>
        </p:sp>
        <p:sp>
          <p:nvSpPr>
            <p:cNvPr id="5115" name="Freeform: Shape 5114">
              <a:extLst>
                <a:ext uri="{FF2B5EF4-FFF2-40B4-BE49-F238E27FC236}">
                  <a16:creationId xmlns:a16="http://schemas.microsoft.com/office/drawing/2014/main" id="{576328B6-7C87-4228-9ADD-85C665A96CAE}"/>
                </a:ext>
              </a:extLst>
            </p:cNvPr>
            <p:cNvSpPr/>
            <p:nvPr/>
          </p:nvSpPr>
          <p:spPr>
            <a:xfrm>
              <a:off x="5967412" y="3378517"/>
              <a:ext cx="76200" cy="180975"/>
            </a:xfrm>
            <a:custGeom>
              <a:avLst/>
              <a:gdLst>
                <a:gd name="connsiteX0" fmla="*/ 60008 w 76200"/>
                <a:gd name="connsiteY0" fmla="*/ 133350 h 180975"/>
                <a:gd name="connsiteX1" fmla="*/ 76200 w 76200"/>
                <a:gd name="connsiteY1" fmla="*/ 133350 h 180975"/>
                <a:gd name="connsiteX2" fmla="*/ 81915 w 76200"/>
                <a:gd name="connsiteY2" fmla="*/ 127635 h 180975"/>
                <a:gd name="connsiteX3" fmla="*/ 76200 w 76200"/>
                <a:gd name="connsiteY3" fmla="*/ 121920 h 180975"/>
                <a:gd name="connsiteX4" fmla="*/ 60008 w 76200"/>
                <a:gd name="connsiteY4" fmla="*/ 121920 h 180975"/>
                <a:gd name="connsiteX5" fmla="*/ 11430 w 76200"/>
                <a:gd name="connsiteY5" fmla="*/ 73343 h 180975"/>
                <a:gd name="connsiteX6" fmla="*/ 11430 w 76200"/>
                <a:gd name="connsiteY6" fmla="*/ 5715 h 180975"/>
                <a:gd name="connsiteX7" fmla="*/ 5715 w 76200"/>
                <a:gd name="connsiteY7" fmla="*/ 0 h 180975"/>
                <a:gd name="connsiteX8" fmla="*/ 0 w 76200"/>
                <a:gd name="connsiteY8" fmla="*/ 5715 h 180975"/>
                <a:gd name="connsiteX9" fmla="*/ 0 w 76200"/>
                <a:gd name="connsiteY9" fmla="*/ 73343 h 180975"/>
                <a:gd name="connsiteX10" fmla="*/ 35243 w 76200"/>
                <a:gd name="connsiteY10" fmla="*/ 128588 h 180975"/>
                <a:gd name="connsiteX11" fmla="*/ 35243 w 76200"/>
                <a:gd name="connsiteY11" fmla="*/ 174308 h 180975"/>
                <a:gd name="connsiteX12" fmla="*/ 6668 w 76200"/>
                <a:gd name="connsiteY12" fmla="*/ 174308 h 180975"/>
                <a:gd name="connsiteX13" fmla="*/ 5715 w 76200"/>
                <a:gd name="connsiteY13" fmla="*/ 174308 h 180975"/>
                <a:gd name="connsiteX14" fmla="*/ 0 w 76200"/>
                <a:gd name="connsiteY14" fmla="*/ 180023 h 180975"/>
                <a:gd name="connsiteX15" fmla="*/ 5715 w 76200"/>
                <a:gd name="connsiteY15" fmla="*/ 185738 h 180975"/>
                <a:gd name="connsiteX16" fmla="*/ 6668 w 76200"/>
                <a:gd name="connsiteY16" fmla="*/ 185738 h 180975"/>
                <a:gd name="connsiteX17" fmla="*/ 76200 w 76200"/>
                <a:gd name="connsiteY17" fmla="*/ 185738 h 180975"/>
                <a:gd name="connsiteX18" fmla="*/ 77153 w 76200"/>
                <a:gd name="connsiteY18" fmla="*/ 185738 h 180975"/>
                <a:gd name="connsiteX19" fmla="*/ 82868 w 76200"/>
                <a:gd name="connsiteY19" fmla="*/ 180023 h 180975"/>
                <a:gd name="connsiteX20" fmla="*/ 77153 w 76200"/>
                <a:gd name="connsiteY20" fmla="*/ 174308 h 180975"/>
                <a:gd name="connsiteX21" fmla="*/ 76200 w 76200"/>
                <a:gd name="connsiteY21" fmla="*/ 174308 h 180975"/>
                <a:gd name="connsiteX22" fmla="*/ 47625 w 76200"/>
                <a:gd name="connsiteY22" fmla="*/ 174308 h 180975"/>
                <a:gd name="connsiteX23" fmla="*/ 47625 w 76200"/>
                <a:gd name="connsiteY23" fmla="*/ 132398 h 180975"/>
                <a:gd name="connsiteX24" fmla="*/ 60008 w 76200"/>
                <a:gd name="connsiteY24" fmla="*/ 1333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200" h="180975">
                  <a:moveTo>
                    <a:pt x="60008" y="133350"/>
                  </a:moveTo>
                  <a:lnTo>
                    <a:pt x="76200" y="133350"/>
                  </a:lnTo>
                  <a:cubicBezTo>
                    <a:pt x="79058" y="133350"/>
                    <a:pt x="81915" y="130493"/>
                    <a:pt x="81915" y="127635"/>
                  </a:cubicBezTo>
                  <a:cubicBezTo>
                    <a:pt x="81915" y="124777"/>
                    <a:pt x="79058" y="121920"/>
                    <a:pt x="76200" y="121920"/>
                  </a:cubicBezTo>
                  <a:lnTo>
                    <a:pt x="60008" y="121920"/>
                  </a:lnTo>
                  <a:cubicBezTo>
                    <a:pt x="33338" y="121920"/>
                    <a:pt x="11430" y="100013"/>
                    <a:pt x="11430" y="73343"/>
                  </a:cubicBezTo>
                  <a:lnTo>
                    <a:pt x="11430" y="5715"/>
                  </a:lnTo>
                  <a:cubicBezTo>
                    <a:pt x="11430" y="2858"/>
                    <a:pt x="8573" y="0"/>
                    <a:pt x="5715" y="0"/>
                  </a:cubicBezTo>
                  <a:cubicBezTo>
                    <a:pt x="2858" y="0"/>
                    <a:pt x="0" y="1905"/>
                    <a:pt x="0" y="5715"/>
                  </a:cubicBezTo>
                  <a:lnTo>
                    <a:pt x="0" y="73343"/>
                  </a:lnTo>
                  <a:cubicBezTo>
                    <a:pt x="0" y="98108"/>
                    <a:pt x="14288" y="119063"/>
                    <a:pt x="35243" y="128588"/>
                  </a:cubicBezTo>
                  <a:lnTo>
                    <a:pt x="35243" y="174308"/>
                  </a:lnTo>
                  <a:lnTo>
                    <a:pt x="6668" y="174308"/>
                  </a:lnTo>
                  <a:lnTo>
                    <a:pt x="5715" y="174308"/>
                  </a:lnTo>
                  <a:cubicBezTo>
                    <a:pt x="2858" y="174308"/>
                    <a:pt x="0" y="177165"/>
                    <a:pt x="0" y="180023"/>
                  </a:cubicBezTo>
                  <a:cubicBezTo>
                    <a:pt x="0" y="182880"/>
                    <a:pt x="2858" y="185738"/>
                    <a:pt x="5715" y="185738"/>
                  </a:cubicBezTo>
                  <a:lnTo>
                    <a:pt x="6668" y="185738"/>
                  </a:lnTo>
                  <a:lnTo>
                    <a:pt x="76200" y="185738"/>
                  </a:lnTo>
                  <a:lnTo>
                    <a:pt x="77153" y="185738"/>
                  </a:lnTo>
                  <a:cubicBezTo>
                    <a:pt x="80010" y="185738"/>
                    <a:pt x="82868" y="182880"/>
                    <a:pt x="82868" y="180023"/>
                  </a:cubicBezTo>
                  <a:cubicBezTo>
                    <a:pt x="82868" y="177165"/>
                    <a:pt x="80010" y="174308"/>
                    <a:pt x="77153" y="174308"/>
                  </a:cubicBezTo>
                  <a:lnTo>
                    <a:pt x="76200" y="174308"/>
                  </a:lnTo>
                  <a:lnTo>
                    <a:pt x="47625" y="174308"/>
                  </a:lnTo>
                  <a:lnTo>
                    <a:pt x="47625" y="132398"/>
                  </a:lnTo>
                  <a:cubicBezTo>
                    <a:pt x="51435" y="133350"/>
                    <a:pt x="56198" y="133350"/>
                    <a:pt x="60008" y="133350"/>
                  </a:cubicBezTo>
                  <a:close/>
                </a:path>
              </a:pathLst>
            </a:custGeom>
            <a:solidFill>
              <a:srgbClr val="101010"/>
            </a:solidFill>
            <a:ln w="9525" cap="flat">
              <a:noFill/>
              <a:prstDash val="solid"/>
              <a:miter/>
            </a:ln>
          </p:spPr>
          <p:txBody>
            <a:bodyPr rtlCol="0" anchor="ctr"/>
            <a:lstStyle/>
            <a:p>
              <a:endParaRPr lang="de-DE"/>
            </a:p>
          </p:txBody>
        </p:sp>
        <p:sp>
          <p:nvSpPr>
            <p:cNvPr id="5116" name="Freeform: Shape 5115">
              <a:extLst>
                <a:ext uri="{FF2B5EF4-FFF2-40B4-BE49-F238E27FC236}">
                  <a16:creationId xmlns:a16="http://schemas.microsoft.com/office/drawing/2014/main" id="{8AB080CD-963A-4C80-AA9C-5649AC339243}"/>
                </a:ext>
              </a:extLst>
            </p:cNvPr>
            <p:cNvSpPr/>
            <p:nvPr/>
          </p:nvSpPr>
          <p:spPr>
            <a:xfrm>
              <a:off x="5985509" y="3338513"/>
              <a:ext cx="219075" cy="219075"/>
            </a:xfrm>
            <a:custGeom>
              <a:avLst/>
              <a:gdLst>
                <a:gd name="connsiteX0" fmla="*/ 74295 w 219075"/>
                <a:gd name="connsiteY0" fmla="*/ 112395 h 219075"/>
                <a:gd name="connsiteX1" fmla="*/ 74295 w 219075"/>
                <a:gd name="connsiteY1" fmla="*/ 112395 h 219075"/>
                <a:gd name="connsiteX2" fmla="*/ 52388 w 219075"/>
                <a:gd name="connsiteY2" fmla="*/ 111443 h 219075"/>
                <a:gd name="connsiteX3" fmla="*/ 52388 w 219075"/>
                <a:gd name="connsiteY3" fmla="*/ 90488 h 219075"/>
                <a:gd name="connsiteX4" fmla="*/ 72390 w 219075"/>
                <a:gd name="connsiteY4" fmla="*/ 97155 h 219075"/>
                <a:gd name="connsiteX5" fmla="*/ 75248 w 219075"/>
                <a:gd name="connsiteY5" fmla="*/ 97155 h 219075"/>
                <a:gd name="connsiteX6" fmla="*/ 129540 w 219075"/>
                <a:gd name="connsiteY6" fmla="*/ 97155 h 219075"/>
                <a:gd name="connsiteX7" fmla="*/ 139065 w 219075"/>
                <a:gd name="connsiteY7" fmla="*/ 94298 h 219075"/>
                <a:gd name="connsiteX8" fmla="*/ 143828 w 219075"/>
                <a:gd name="connsiteY8" fmla="*/ 97155 h 219075"/>
                <a:gd name="connsiteX9" fmla="*/ 216218 w 219075"/>
                <a:gd name="connsiteY9" fmla="*/ 97155 h 219075"/>
                <a:gd name="connsiteX10" fmla="*/ 221933 w 219075"/>
                <a:gd name="connsiteY10" fmla="*/ 91440 h 219075"/>
                <a:gd name="connsiteX11" fmla="*/ 221933 w 219075"/>
                <a:gd name="connsiteY11" fmla="*/ 5715 h 219075"/>
                <a:gd name="connsiteX12" fmla="*/ 216218 w 219075"/>
                <a:gd name="connsiteY12" fmla="*/ 0 h 219075"/>
                <a:gd name="connsiteX13" fmla="*/ 210503 w 219075"/>
                <a:gd name="connsiteY13" fmla="*/ 5715 h 219075"/>
                <a:gd name="connsiteX14" fmla="*/ 210503 w 219075"/>
                <a:gd name="connsiteY14" fmla="*/ 85725 h 219075"/>
                <a:gd name="connsiteX15" fmla="*/ 148590 w 219075"/>
                <a:gd name="connsiteY15" fmla="*/ 85725 h 219075"/>
                <a:gd name="connsiteX16" fmla="*/ 150495 w 219075"/>
                <a:gd name="connsiteY16" fmla="*/ 77153 h 219075"/>
                <a:gd name="connsiteX17" fmla="*/ 130493 w 219075"/>
                <a:gd name="connsiteY17" fmla="*/ 57150 h 219075"/>
                <a:gd name="connsiteX18" fmla="*/ 95250 w 219075"/>
                <a:gd name="connsiteY18" fmla="*/ 57150 h 219075"/>
                <a:gd name="connsiteX19" fmla="*/ 92393 w 219075"/>
                <a:gd name="connsiteY19" fmla="*/ 57150 h 219075"/>
                <a:gd name="connsiteX20" fmla="*/ 47625 w 219075"/>
                <a:gd name="connsiteY20" fmla="*/ 41910 h 219075"/>
                <a:gd name="connsiteX21" fmla="*/ 35243 w 219075"/>
                <a:gd name="connsiteY21" fmla="*/ 40005 h 219075"/>
                <a:gd name="connsiteX22" fmla="*/ 17145 w 219075"/>
                <a:gd name="connsiteY22" fmla="*/ 40005 h 219075"/>
                <a:gd name="connsiteX23" fmla="*/ 0 w 219075"/>
                <a:gd name="connsiteY23" fmla="*/ 57150 h 219075"/>
                <a:gd name="connsiteX24" fmla="*/ 0 w 219075"/>
                <a:gd name="connsiteY24" fmla="*/ 112395 h 219075"/>
                <a:gd name="connsiteX25" fmla="*/ 42863 w 219075"/>
                <a:gd name="connsiteY25" fmla="*/ 155258 h 219075"/>
                <a:gd name="connsiteX26" fmla="*/ 60960 w 219075"/>
                <a:gd name="connsiteY26" fmla="*/ 155258 h 219075"/>
                <a:gd name="connsiteX27" fmla="*/ 69533 w 219075"/>
                <a:gd name="connsiteY27" fmla="*/ 163830 h 219075"/>
                <a:gd name="connsiteX28" fmla="*/ 69533 w 219075"/>
                <a:gd name="connsiteY28" fmla="*/ 200978 h 219075"/>
                <a:gd name="connsiteX29" fmla="*/ 92393 w 219075"/>
                <a:gd name="connsiteY29" fmla="*/ 223838 h 219075"/>
                <a:gd name="connsiteX30" fmla="*/ 115253 w 219075"/>
                <a:gd name="connsiteY30" fmla="*/ 200978 h 219075"/>
                <a:gd name="connsiteX31" fmla="*/ 115253 w 219075"/>
                <a:gd name="connsiteY31" fmla="*/ 153353 h 219075"/>
                <a:gd name="connsiteX32" fmla="*/ 74295 w 219075"/>
                <a:gd name="connsiteY32" fmla="*/ 112395 h 219075"/>
                <a:gd name="connsiteX33" fmla="*/ 103823 w 219075"/>
                <a:gd name="connsiteY33" fmla="*/ 200978 h 219075"/>
                <a:gd name="connsiteX34" fmla="*/ 92393 w 219075"/>
                <a:gd name="connsiteY34" fmla="*/ 212408 h 219075"/>
                <a:gd name="connsiteX35" fmla="*/ 80963 w 219075"/>
                <a:gd name="connsiteY35" fmla="*/ 200978 h 219075"/>
                <a:gd name="connsiteX36" fmla="*/ 80963 w 219075"/>
                <a:gd name="connsiteY36" fmla="*/ 163830 h 219075"/>
                <a:gd name="connsiteX37" fmla="*/ 60960 w 219075"/>
                <a:gd name="connsiteY37" fmla="*/ 143828 h 219075"/>
                <a:gd name="connsiteX38" fmla="*/ 42863 w 219075"/>
                <a:gd name="connsiteY38" fmla="*/ 143828 h 219075"/>
                <a:gd name="connsiteX39" fmla="*/ 11430 w 219075"/>
                <a:gd name="connsiteY39" fmla="*/ 112395 h 219075"/>
                <a:gd name="connsiteX40" fmla="*/ 11430 w 219075"/>
                <a:gd name="connsiteY40" fmla="*/ 57150 h 219075"/>
                <a:gd name="connsiteX41" fmla="*/ 17145 w 219075"/>
                <a:gd name="connsiteY41" fmla="*/ 51435 h 219075"/>
                <a:gd name="connsiteX42" fmla="*/ 34290 w 219075"/>
                <a:gd name="connsiteY42" fmla="*/ 51435 h 219075"/>
                <a:gd name="connsiteX43" fmla="*/ 42863 w 219075"/>
                <a:gd name="connsiteY43" fmla="*/ 52388 h 219075"/>
                <a:gd name="connsiteX44" fmla="*/ 87630 w 219075"/>
                <a:gd name="connsiteY44" fmla="*/ 67628 h 219075"/>
                <a:gd name="connsiteX45" fmla="*/ 94298 w 219075"/>
                <a:gd name="connsiteY45" fmla="*/ 68580 h 219075"/>
                <a:gd name="connsiteX46" fmla="*/ 129540 w 219075"/>
                <a:gd name="connsiteY46" fmla="*/ 68580 h 219075"/>
                <a:gd name="connsiteX47" fmla="*/ 138113 w 219075"/>
                <a:gd name="connsiteY47" fmla="*/ 77153 h 219075"/>
                <a:gd name="connsiteX48" fmla="*/ 129540 w 219075"/>
                <a:gd name="connsiteY48" fmla="*/ 85725 h 219075"/>
                <a:gd name="connsiteX49" fmla="*/ 76200 w 219075"/>
                <a:gd name="connsiteY49" fmla="*/ 85725 h 219075"/>
                <a:gd name="connsiteX50" fmla="*/ 42863 w 219075"/>
                <a:gd name="connsiteY50" fmla="*/ 74295 h 219075"/>
                <a:gd name="connsiteX51" fmla="*/ 35243 w 219075"/>
                <a:gd name="connsiteY51" fmla="*/ 78105 h 219075"/>
                <a:gd name="connsiteX52" fmla="*/ 39053 w 219075"/>
                <a:gd name="connsiteY52" fmla="*/ 85725 h 219075"/>
                <a:gd name="connsiteX53" fmla="*/ 41910 w 219075"/>
                <a:gd name="connsiteY53" fmla="*/ 86678 h 219075"/>
                <a:gd name="connsiteX54" fmla="*/ 41910 w 219075"/>
                <a:gd name="connsiteY54" fmla="*/ 115253 h 219075"/>
                <a:gd name="connsiteX55" fmla="*/ 42863 w 219075"/>
                <a:gd name="connsiteY55" fmla="*/ 117157 h 219075"/>
                <a:gd name="connsiteX56" fmla="*/ 76200 w 219075"/>
                <a:gd name="connsiteY56" fmla="*/ 123825 h 219075"/>
                <a:gd name="connsiteX57" fmla="*/ 104775 w 219075"/>
                <a:gd name="connsiteY57" fmla="*/ 152400 h 219075"/>
                <a:gd name="connsiteX58" fmla="*/ 104775 w 219075"/>
                <a:gd name="connsiteY58" fmla="*/ 20097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19075" h="219075">
                  <a:moveTo>
                    <a:pt x="74295" y="112395"/>
                  </a:moveTo>
                  <a:cubicBezTo>
                    <a:pt x="74295" y="112395"/>
                    <a:pt x="74295" y="112395"/>
                    <a:pt x="74295" y="112395"/>
                  </a:cubicBezTo>
                  <a:cubicBezTo>
                    <a:pt x="65723" y="113348"/>
                    <a:pt x="56198" y="112395"/>
                    <a:pt x="52388" y="111443"/>
                  </a:cubicBezTo>
                  <a:lnTo>
                    <a:pt x="52388" y="90488"/>
                  </a:lnTo>
                  <a:lnTo>
                    <a:pt x="72390" y="97155"/>
                  </a:lnTo>
                  <a:cubicBezTo>
                    <a:pt x="73343" y="97155"/>
                    <a:pt x="74295" y="97155"/>
                    <a:pt x="75248" y="97155"/>
                  </a:cubicBezTo>
                  <a:lnTo>
                    <a:pt x="129540" y="97155"/>
                  </a:lnTo>
                  <a:cubicBezTo>
                    <a:pt x="133350" y="97155"/>
                    <a:pt x="136208" y="96203"/>
                    <a:pt x="139065" y="94298"/>
                  </a:cubicBezTo>
                  <a:cubicBezTo>
                    <a:pt x="140018" y="96203"/>
                    <a:pt x="141923" y="97155"/>
                    <a:pt x="143828" y="97155"/>
                  </a:cubicBezTo>
                  <a:lnTo>
                    <a:pt x="216218" y="97155"/>
                  </a:lnTo>
                  <a:cubicBezTo>
                    <a:pt x="219075" y="97155"/>
                    <a:pt x="221933" y="94298"/>
                    <a:pt x="221933" y="91440"/>
                  </a:cubicBezTo>
                  <a:lnTo>
                    <a:pt x="221933" y="5715"/>
                  </a:lnTo>
                  <a:cubicBezTo>
                    <a:pt x="221933" y="2858"/>
                    <a:pt x="219075" y="0"/>
                    <a:pt x="216218" y="0"/>
                  </a:cubicBezTo>
                  <a:cubicBezTo>
                    <a:pt x="213360" y="0"/>
                    <a:pt x="210503" y="2858"/>
                    <a:pt x="210503" y="5715"/>
                  </a:cubicBezTo>
                  <a:lnTo>
                    <a:pt x="210503" y="85725"/>
                  </a:lnTo>
                  <a:lnTo>
                    <a:pt x="148590" y="85725"/>
                  </a:lnTo>
                  <a:cubicBezTo>
                    <a:pt x="149543" y="82868"/>
                    <a:pt x="150495" y="80010"/>
                    <a:pt x="150495" y="77153"/>
                  </a:cubicBezTo>
                  <a:cubicBezTo>
                    <a:pt x="150495" y="65723"/>
                    <a:pt x="141923" y="57150"/>
                    <a:pt x="130493" y="57150"/>
                  </a:cubicBezTo>
                  <a:lnTo>
                    <a:pt x="95250" y="57150"/>
                  </a:lnTo>
                  <a:cubicBezTo>
                    <a:pt x="94298" y="57150"/>
                    <a:pt x="93345" y="57150"/>
                    <a:pt x="92393" y="57150"/>
                  </a:cubicBezTo>
                  <a:lnTo>
                    <a:pt x="47625" y="41910"/>
                  </a:lnTo>
                  <a:cubicBezTo>
                    <a:pt x="43815" y="40005"/>
                    <a:pt x="39053" y="40005"/>
                    <a:pt x="35243" y="40005"/>
                  </a:cubicBezTo>
                  <a:lnTo>
                    <a:pt x="17145" y="40005"/>
                  </a:lnTo>
                  <a:cubicBezTo>
                    <a:pt x="7620" y="40005"/>
                    <a:pt x="0" y="47625"/>
                    <a:pt x="0" y="57150"/>
                  </a:cubicBezTo>
                  <a:lnTo>
                    <a:pt x="0" y="112395"/>
                  </a:lnTo>
                  <a:cubicBezTo>
                    <a:pt x="0" y="136208"/>
                    <a:pt x="19050" y="155258"/>
                    <a:pt x="42863" y="155258"/>
                  </a:cubicBezTo>
                  <a:lnTo>
                    <a:pt x="60960" y="155258"/>
                  </a:lnTo>
                  <a:cubicBezTo>
                    <a:pt x="65723" y="155258"/>
                    <a:pt x="69533" y="159068"/>
                    <a:pt x="69533" y="163830"/>
                  </a:cubicBezTo>
                  <a:lnTo>
                    <a:pt x="69533" y="200978"/>
                  </a:lnTo>
                  <a:cubicBezTo>
                    <a:pt x="69533" y="213360"/>
                    <a:pt x="80010" y="223838"/>
                    <a:pt x="92393" y="223838"/>
                  </a:cubicBezTo>
                  <a:cubicBezTo>
                    <a:pt x="104775" y="223838"/>
                    <a:pt x="115253" y="213360"/>
                    <a:pt x="115253" y="200978"/>
                  </a:cubicBezTo>
                  <a:lnTo>
                    <a:pt x="115253" y="153353"/>
                  </a:lnTo>
                  <a:cubicBezTo>
                    <a:pt x="115253" y="130493"/>
                    <a:pt x="97155" y="112395"/>
                    <a:pt x="74295" y="112395"/>
                  </a:cubicBezTo>
                  <a:close/>
                  <a:moveTo>
                    <a:pt x="103823" y="200978"/>
                  </a:moveTo>
                  <a:cubicBezTo>
                    <a:pt x="103823" y="207645"/>
                    <a:pt x="99060" y="212408"/>
                    <a:pt x="92393" y="212408"/>
                  </a:cubicBezTo>
                  <a:cubicBezTo>
                    <a:pt x="85725" y="212408"/>
                    <a:pt x="80963" y="207645"/>
                    <a:pt x="80963" y="200978"/>
                  </a:cubicBezTo>
                  <a:lnTo>
                    <a:pt x="80963" y="163830"/>
                  </a:lnTo>
                  <a:cubicBezTo>
                    <a:pt x="80963" y="152400"/>
                    <a:pt x="72390" y="143828"/>
                    <a:pt x="60960" y="143828"/>
                  </a:cubicBezTo>
                  <a:lnTo>
                    <a:pt x="42863" y="143828"/>
                  </a:lnTo>
                  <a:cubicBezTo>
                    <a:pt x="25718" y="143828"/>
                    <a:pt x="11430" y="129540"/>
                    <a:pt x="11430" y="112395"/>
                  </a:cubicBezTo>
                  <a:lnTo>
                    <a:pt x="11430" y="57150"/>
                  </a:lnTo>
                  <a:cubicBezTo>
                    <a:pt x="11430" y="54293"/>
                    <a:pt x="14288" y="51435"/>
                    <a:pt x="17145" y="51435"/>
                  </a:cubicBezTo>
                  <a:lnTo>
                    <a:pt x="34290" y="51435"/>
                  </a:lnTo>
                  <a:cubicBezTo>
                    <a:pt x="37148" y="51435"/>
                    <a:pt x="40005" y="52388"/>
                    <a:pt x="42863" y="52388"/>
                  </a:cubicBezTo>
                  <a:lnTo>
                    <a:pt x="87630" y="67628"/>
                  </a:lnTo>
                  <a:cubicBezTo>
                    <a:pt x="89535" y="68580"/>
                    <a:pt x="91440" y="68580"/>
                    <a:pt x="94298" y="68580"/>
                  </a:cubicBezTo>
                  <a:lnTo>
                    <a:pt x="129540" y="68580"/>
                  </a:lnTo>
                  <a:cubicBezTo>
                    <a:pt x="134303" y="68580"/>
                    <a:pt x="138113" y="72390"/>
                    <a:pt x="138113" y="77153"/>
                  </a:cubicBezTo>
                  <a:cubicBezTo>
                    <a:pt x="138113" y="81915"/>
                    <a:pt x="134303" y="85725"/>
                    <a:pt x="129540" y="85725"/>
                  </a:cubicBezTo>
                  <a:lnTo>
                    <a:pt x="76200" y="85725"/>
                  </a:lnTo>
                  <a:lnTo>
                    <a:pt x="42863" y="74295"/>
                  </a:lnTo>
                  <a:cubicBezTo>
                    <a:pt x="40005" y="73343"/>
                    <a:pt x="36195" y="75248"/>
                    <a:pt x="35243" y="78105"/>
                  </a:cubicBezTo>
                  <a:cubicBezTo>
                    <a:pt x="34290" y="80963"/>
                    <a:pt x="35243" y="84773"/>
                    <a:pt x="39053" y="85725"/>
                  </a:cubicBezTo>
                  <a:lnTo>
                    <a:pt x="41910" y="86678"/>
                  </a:lnTo>
                  <a:lnTo>
                    <a:pt x="41910" y="115253"/>
                  </a:lnTo>
                  <a:cubicBezTo>
                    <a:pt x="41910" y="116205"/>
                    <a:pt x="41910" y="117157"/>
                    <a:pt x="42863" y="117157"/>
                  </a:cubicBezTo>
                  <a:cubicBezTo>
                    <a:pt x="43815" y="120015"/>
                    <a:pt x="46673" y="125730"/>
                    <a:pt x="76200" y="123825"/>
                  </a:cubicBezTo>
                  <a:cubicBezTo>
                    <a:pt x="92393" y="123825"/>
                    <a:pt x="104775" y="137160"/>
                    <a:pt x="104775" y="152400"/>
                  </a:cubicBezTo>
                  <a:lnTo>
                    <a:pt x="104775" y="200978"/>
                  </a:lnTo>
                  <a:close/>
                </a:path>
              </a:pathLst>
            </a:custGeom>
            <a:solidFill>
              <a:srgbClr val="101010"/>
            </a:solidFill>
            <a:ln w="9525" cap="flat">
              <a:noFill/>
              <a:prstDash val="solid"/>
              <a:miter/>
            </a:ln>
          </p:spPr>
          <p:txBody>
            <a:bodyPr rtlCol="0" anchor="ctr"/>
            <a:lstStyle/>
            <a:p>
              <a:endParaRPr lang="de-DE"/>
            </a:p>
          </p:txBody>
        </p:sp>
        <p:sp>
          <p:nvSpPr>
            <p:cNvPr id="5117" name="Freeform: Shape 5116">
              <a:extLst>
                <a:ext uri="{FF2B5EF4-FFF2-40B4-BE49-F238E27FC236}">
                  <a16:creationId xmlns:a16="http://schemas.microsoft.com/office/drawing/2014/main" id="{EE8BF0D3-6B3C-4733-91CD-DA7BA5E35326}"/>
                </a:ext>
              </a:extLst>
            </p:cNvPr>
            <p:cNvSpPr/>
            <p:nvPr/>
          </p:nvSpPr>
          <p:spPr>
            <a:xfrm>
              <a:off x="5972175" y="3295650"/>
              <a:ext cx="66675" cy="66675"/>
            </a:xfrm>
            <a:custGeom>
              <a:avLst/>
              <a:gdLst>
                <a:gd name="connsiteX0" fmla="*/ 36195 w 66675"/>
                <a:gd name="connsiteY0" fmla="*/ 73343 h 66675"/>
                <a:gd name="connsiteX1" fmla="*/ 72390 w 66675"/>
                <a:gd name="connsiteY1" fmla="*/ 37148 h 66675"/>
                <a:gd name="connsiteX2" fmla="*/ 36195 w 66675"/>
                <a:gd name="connsiteY2" fmla="*/ 0 h 66675"/>
                <a:gd name="connsiteX3" fmla="*/ 0 w 66675"/>
                <a:gd name="connsiteY3" fmla="*/ 36195 h 66675"/>
                <a:gd name="connsiteX4" fmla="*/ 36195 w 66675"/>
                <a:gd name="connsiteY4" fmla="*/ 73343 h 66675"/>
                <a:gd name="connsiteX5" fmla="*/ 36195 w 66675"/>
                <a:gd name="connsiteY5" fmla="*/ 11430 h 66675"/>
                <a:gd name="connsiteX6" fmla="*/ 61913 w 66675"/>
                <a:gd name="connsiteY6" fmla="*/ 36195 h 66675"/>
                <a:gd name="connsiteX7" fmla="*/ 37148 w 66675"/>
                <a:gd name="connsiteY7" fmla="*/ 60960 h 66675"/>
                <a:gd name="connsiteX8" fmla="*/ 12383 w 66675"/>
                <a:gd name="connsiteY8" fmla="*/ 36195 h 66675"/>
                <a:gd name="connsiteX9" fmla="*/ 36195 w 66675"/>
                <a:gd name="connsiteY9" fmla="*/ 1143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6195" y="73343"/>
                  </a:moveTo>
                  <a:cubicBezTo>
                    <a:pt x="56198" y="73343"/>
                    <a:pt x="72390" y="57150"/>
                    <a:pt x="72390" y="37148"/>
                  </a:cubicBezTo>
                  <a:cubicBezTo>
                    <a:pt x="73343" y="16193"/>
                    <a:pt x="56198" y="0"/>
                    <a:pt x="36195" y="0"/>
                  </a:cubicBezTo>
                  <a:cubicBezTo>
                    <a:pt x="16193" y="0"/>
                    <a:pt x="0" y="16193"/>
                    <a:pt x="0" y="36195"/>
                  </a:cubicBezTo>
                  <a:cubicBezTo>
                    <a:pt x="0" y="57150"/>
                    <a:pt x="16193" y="73343"/>
                    <a:pt x="36195" y="73343"/>
                  </a:cubicBezTo>
                  <a:close/>
                  <a:moveTo>
                    <a:pt x="36195" y="11430"/>
                  </a:moveTo>
                  <a:cubicBezTo>
                    <a:pt x="50483" y="11430"/>
                    <a:pt x="61913" y="22860"/>
                    <a:pt x="61913" y="36195"/>
                  </a:cubicBezTo>
                  <a:cubicBezTo>
                    <a:pt x="61913" y="49530"/>
                    <a:pt x="50483" y="60960"/>
                    <a:pt x="37148" y="60960"/>
                  </a:cubicBezTo>
                  <a:cubicBezTo>
                    <a:pt x="23813" y="60960"/>
                    <a:pt x="12383" y="49530"/>
                    <a:pt x="12383" y="36195"/>
                  </a:cubicBezTo>
                  <a:cubicBezTo>
                    <a:pt x="11430" y="22860"/>
                    <a:pt x="22860" y="11430"/>
                    <a:pt x="36195" y="11430"/>
                  </a:cubicBezTo>
                  <a:close/>
                </a:path>
              </a:pathLst>
            </a:custGeom>
            <a:solidFill>
              <a:srgbClr val="101010"/>
            </a:solidFill>
            <a:ln w="9525" cap="flat">
              <a:noFill/>
              <a:prstDash val="solid"/>
              <a:miter/>
            </a:ln>
          </p:spPr>
          <p:txBody>
            <a:bodyPr rtlCol="0" anchor="ctr"/>
            <a:lstStyle/>
            <a:p>
              <a:endParaRPr lang="de-DE"/>
            </a:p>
          </p:txBody>
        </p:sp>
      </p:grpSp>
      <p:grpSp>
        <p:nvGrpSpPr>
          <p:cNvPr id="5118" name="Graphic 3">
            <a:extLst>
              <a:ext uri="{FF2B5EF4-FFF2-40B4-BE49-F238E27FC236}">
                <a16:creationId xmlns:a16="http://schemas.microsoft.com/office/drawing/2014/main" id="{7C733F3B-9BAC-4B46-8860-3DD24F5F8AAB}"/>
              </a:ext>
              <a:ext uri="{C183D7F6-B498-43B3-948B-1728B52AA6E4}">
                <adec:decorative xmlns:adec="http://schemas.microsoft.com/office/drawing/2017/decorative" val="1"/>
              </a:ext>
            </a:extLst>
          </p:cNvPr>
          <p:cNvGrpSpPr>
            <a:grpSpLocks noChangeAspect="1"/>
          </p:cNvGrpSpPr>
          <p:nvPr/>
        </p:nvGrpSpPr>
        <p:grpSpPr>
          <a:xfrm>
            <a:off x="4302675" y="3459061"/>
            <a:ext cx="130128" cy="130128"/>
            <a:chOff x="5948362" y="3281362"/>
            <a:chExt cx="295275" cy="295275"/>
          </a:xfrm>
        </p:grpSpPr>
        <p:sp>
          <p:nvSpPr>
            <p:cNvPr id="5119" name="Freeform: Shape 5118">
              <a:extLst>
                <a:ext uri="{FF2B5EF4-FFF2-40B4-BE49-F238E27FC236}">
                  <a16:creationId xmlns:a16="http://schemas.microsoft.com/office/drawing/2014/main" id="{81A70A30-021D-4127-B924-22842D8AECE4}"/>
                </a:ext>
              </a:extLst>
            </p:cNvPr>
            <p:cNvSpPr/>
            <p:nvPr/>
          </p:nvSpPr>
          <p:spPr>
            <a:xfrm>
              <a:off x="5948362" y="3281362"/>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176213 w 266700"/>
                <a:gd name="connsiteY15" fmla="*/ 266700 h 266700"/>
                <a:gd name="connsiteX16" fmla="*/ 180975 w 266700"/>
                <a:gd name="connsiteY16" fmla="*/ 261938 h 266700"/>
                <a:gd name="connsiteX17" fmla="*/ 176213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76213 h 266700"/>
                <a:gd name="connsiteX23" fmla="*/ 261938 w 266700"/>
                <a:gd name="connsiteY23" fmla="*/ 180975 h 266700"/>
                <a:gd name="connsiteX24" fmla="*/ 266700 w 266700"/>
                <a:gd name="connsiteY24" fmla="*/ 176213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176213" y="266700"/>
                  </a:lnTo>
                  <a:cubicBezTo>
                    <a:pt x="179070" y="266700"/>
                    <a:pt x="180975" y="264795"/>
                    <a:pt x="180975" y="261938"/>
                  </a:cubicBezTo>
                  <a:cubicBezTo>
                    <a:pt x="180975" y="259080"/>
                    <a:pt x="179070" y="257175"/>
                    <a:pt x="176213" y="257175"/>
                  </a:cubicBezTo>
                  <a:lnTo>
                    <a:pt x="33338" y="257175"/>
                  </a:lnTo>
                  <a:cubicBezTo>
                    <a:pt x="20003" y="257175"/>
                    <a:pt x="9525" y="246698"/>
                    <a:pt x="9525" y="233363"/>
                  </a:cubicBezTo>
                  <a:lnTo>
                    <a:pt x="9525" y="95250"/>
                  </a:lnTo>
                  <a:lnTo>
                    <a:pt x="257175" y="95250"/>
                  </a:lnTo>
                  <a:lnTo>
                    <a:pt x="257175" y="176213"/>
                  </a:lnTo>
                  <a:cubicBezTo>
                    <a:pt x="257175" y="179070"/>
                    <a:pt x="259080" y="180975"/>
                    <a:pt x="261938" y="180975"/>
                  </a:cubicBezTo>
                  <a:cubicBezTo>
                    <a:pt x="264795" y="180975"/>
                    <a:pt x="266700" y="179070"/>
                    <a:pt x="266700" y="176213"/>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sp>
          <p:nvSpPr>
            <p:cNvPr id="5120" name="Freeform: Shape 5119">
              <a:extLst>
                <a:ext uri="{FF2B5EF4-FFF2-40B4-BE49-F238E27FC236}">
                  <a16:creationId xmlns:a16="http://schemas.microsoft.com/office/drawing/2014/main" id="{A35A84C7-C498-49A6-A789-FC59535ED26F}"/>
                </a:ext>
              </a:extLst>
            </p:cNvPr>
            <p:cNvSpPr/>
            <p:nvPr/>
          </p:nvSpPr>
          <p:spPr>
            <a:xfrm>
              <a:off x="6132194" y="3466147"/>
              <a:ext cx="104775" cy="104775"/>
            </a:xfrm>
            <a:custGeom>
              <a:avLst/>
              <a:gdLst>
                <a:gd name="connsiteX0" fmla="*/ 110490 w 104775"/>
                <a:gd name="connsiteY0" fmla="*/ 101918 h 104775"/>
                <a:gd name="connsiteX1" fmla="*/ 73343 w 104775"/>
                <a:gd name="connsiteY1" fmla="*/ 65723 h 104775"/>
                <a:gd name="connsiteX2" fmla="*/ 81915 w 104775"/>
                <a:gd name="connsiteY2" fmla="*/ 40958 h 104775"/>
                <a:gd name="connsiteX3" fmla="*/ 40958 w 104775"/>
                <a:gd name="connsiteY3" fmla="*/ 0 h 104775"/>
                <a:gd name="connsiteX4" fmla="*/ 0 w 104775"/>
                <a:gd name="connsiteY4" fmla="*/ 40958 h 104775"/>
                <a:gd name="connsiteX5" fmla="*/ 40958 w 104775"/>
                <a:gd name="connsiteY5" fmla="*/ 81915 h 104775"/>
                <a:gd name="connsiteX6" fmla="*/ 66675 w 104775"/>
                <a:gd name="connsiteY6" fmla="*/ 72390 h 104775"/>
                <a:gd name="connsiteX7" fmla="*/ 102870 w 104775"/>
                <a:gd name="connsiteY7" fmla="*/ 108585 h 104775"/>
                <a:gd name="connsiteX8" fmla="*/ 106680 w 104775"/>
                <a:gd name="connsiteY8" fmla="*/ 109538 h 104775"/>
                <a:gd name="connsiteX9" fmla="*/ 110490 w 104775"/>
                <a:gd name="connsiteY9" fmla="*/ 108585 h 104775"/>
                <a:gd name="connsiteX10" fmla="*/ 110490 w 104775"/>
                <a:gd name="connsiteY10" fmla="*/ 101918 h 104775"/>
                <a:gd name="connsiteX11" fmla="*/ 9525 w 104775"/>
                <a:gd name="connsiteY11" fmla="*/ 40958 h 104775"/>
                <a:gd name="connsiteX12" fmla="*/ 40958 w 104775"/>
                <a:gd name="connsiteY12" fmla="*/ 9525 h 104775"/>
                <a:gd name="connsiteX13" fmla="*/ 72390 w 104775"/>
                <a:gd name="connsiteY13" fmla="*/ 40958 h 104775"/>
                <a:gd name="connsiteX14" fmla="*/ 41910 w 104775"/>
                <a:gd name="connsiteY14" fmla="*/ 72390 h 104775"/>
                <a:gd name="connsiteX15" fmla="*/ 9525 w 104775"/>
                <a:gd name="connsiteY15" fmla="*/ 4095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775" h="104775">
                  <a:moveTo>
                    <a:pt x="110490" y="101918"/>
                  </a:moveTo>
                  <a:lnTo>
                    <a:pt x="73343" y="65723"/>
                  </a:lnTo>
                  <a:cubicBezTo>
                    <a:pt x="79058" y="59055"/>
                    <a:pt x="81915" y="50483"/>
                    <a:pt x="81915" y="40958"/>
                  </a:cubicBezTo>
                  <a:cubicBezTo>
                    <a:pt x="81915" y="18097"/>
                    <a:pt x="63818" y="0"/>
                    <a:pt x="40958" y="0"/>
                  </a:cubicBezTo>
                  <a:cubicBezTo>
                    <a:pt x="18098" y="0"/>
                    <a:pt x="0" y="18097"/>
                    <a:pt x="0" y="40958"/>
                  </a:cubicBezTo>
                  <a:cubicBezTo>
                    <a:pt x="0" y="63818"/>
                    <a:pt x="18098" y="81915"/>
                    <a:pt x="40958" y="81915"/>
                  </a:cubicBezTo>
                  <a:cubicBezTo>
                    <a:pt x="50483" y="81915"/>
                    <a:pt x="59055" y="78105"/>
                    <a:pt x="66675" y="72390"/>
                  </a:cubicBezTo>
                  <a:lnTo>
                    <a:pt x="102870" y="108585"/>
                  </a:lnTo>
                  <a:cubicBezTo>
                    <a:pt x="103823" y="109538"/>
                    <a:pt x="104775" y="109538"/>
                    <a:pt x="106680" y="109538"/>
                  </a:cubicBezTo>
                  <a:cubicBezTo>
                    <a:pt x="107633" y="109538"/>
                    <a:pt x="109538" y="109538"/>
                    <a:pt x="110490" y="108585"/>
                  </a:cubicBezTo>
                  <a:cubicBezTo>
                    <a:pt x="111443" y="106680"/>
                    <a:pt x="111443" y="103823"/>
                    <a:pt x="110490" y="101918"/>
                  </a:cubicBezTo>
                  <a:close/>
                  <a:moveTo>
                    <a:pt x="9525" y="40958"/>
                  </a:moveTo>
                  <a:cubicBezTo>
                    <a:pt x="9525" y="23813"/>
                    <a:pt x="23813" y="9525"/>
                    <a:pt x="40958" y="9525"/>
                  </a:cubicBezTo>
                  <a:cubicBezTo>
                    <a:pt x="58103" y="9525"/>
                    <a:pt x="72390" y="23813"/>
                    <a:pt x="72390" y="40958"/>
                  </a:cubicBezTo>
                  <a:cubicBezTo>
                    <a:pt x="72390" y="58103"/>
                    <a:pt x="59055" y="72390"/>
                    <a:pt x="41910" y="72390"/>
                  </a:cubicBezTo>
                  <a:cubicBezTo>
                    <a:pt x="23813" y="72390"/>
                    <a:pt x="9525" y="58103"/>
                    <a:pt x="9525" y="40958"/>
                  </a:cubicBezTo>
                  <a:close/>
                </a:path>
              </a:pathLst>
            </a:custGeom>
            <a:solidFill>
              <a:srgbClr val="101010"/>
            </a:solidFill>
            <a:ln w="9525" cap="flat">
              <a:noFill/>
              <a:prstDash val="solid"/>
              <a:miter/>
            </a:ln>
          </p:spPr>
          <p:txBody>
            <a:bodyPr rtlCol="0" anchor="ctr"/>
            <a:lstStyle/>
            <a:p>
              <a:endParaRPr lang="de-DE"/>
            </a:p>
          </p:txBody>
        </p:sp>
      </p:grpSp>
      <p:grpSp>
        <p:nvGrpSpPr>
          <p:cNvPr id="5121" name="Graphic 3">
            <a:extLst>
              <a:ext uri="{FF2B5EF4-FFF2-40B4-BE49-F238E27FC236}">
                <a16:creationId xmlns:a16="http://schemas.microsoft.com/office/drawing/2014/main" id="{D4190E9A-D947-439B-B9F9-A35089494B49}"/>
              </a:ext>
              <a:ext uri="{C183D7F6-B498-43B3-948B-1728B52AA6E4}">
                <adec:decorative xmlns:adec="http://schemas.microsoft.com/office/drawing/2017/decorative" val="1"/>
              </a:ext>
            </a:extLst>
          </p:cNvPr>
          <p:cNvGrpSpPr>
            <a:grpSpLocks noChangeAspect="1"/>
          </p:cNvGrpSpPr>
          <p:nvPr/>
        </p:nvGrpSpPr>
        <p:grpSpPr>
          <a:xfrm>
            <a:off x="4578973" y="3461990"/>
            <a:ext cx="124271" cy="124271"/>
            <a:chOff x="5953125" y="3286125"/>
            <a:chExt cx="285750" cy="285750"/>
          </a:xfrm>
        </p:grpSpPr>
        <p:sp>
          <p:nvSpPr>
            <p:cNvPr id="5122" name="Freeform: Shape 5121">
              <a:extLst>
                <a:ext uri="{FF2B5EF4-FFF2-40B4-BE49-F238E27FC236}">
                  <a16:creationId xmlns:a16="http://schemas.microsoft.com/office/drawing/2014/main" id="{D0E04FB4-B3EA-4336-8503-FB3FC6664FB2}"/>
                </a:ext>
              </a:extLst>
            </p:cNvPr>
            <p:cNvSpPr/>
            <p:nvPr/>
          </p:nvSpPr>
          <p:spPr>
            <a:xfrm>
              <a:off x="6151721" y="3485674"/>
              <a:ext cx="76200" cy="76200"/>
            </a:xfrm>
            <a:custGeom>
              <a:avLst/>
              <a:gdLst>
                <a:gd name="connsiteX0" fmla="*/ 50006 w 76200"/>
                <a:gd name="connsiteY0" fmla="*/ 41434 h 76200"/>
                <a:gd name="connsiteX1" fmla="*/ 81439 w 76200"/>
                <a:gd name="connsiteY1" fmla="*/ 10001 h 76200"/>
                <a:gd name="connsiteX2" fmla="*/ 81439 w 76200"/>
                <a:gd name="connsiteY2" fmla="*/ 1429 h 76200"/>
                <a:gd name="connsiteX3" fmla="*/ 72866 w 76200"/>
                <a:gd name="connsiteY3" fmla="*/ 1429 h 76200"/>
                <a:gd name="connsiteX4" fmla="*/ 41434 w 76200"/>
                <a:gd name="connsiteY4" fmla="*/ 32861 h 76200"/>
                <a:gd name="connsiteX5" fmla="*/ 10001 w 76200"/>
                <a:gd name="connsiteY5" fmla="*/ 1429 h 76200"/>
                <a:gd name="connsiteX6" fmla="*/ 1429 w 76200"/>
                <a:gd name="connsiteY6" fmla="*/ 1429 h 76200"/>
                <a:gd name="connsiteX7" fmla="*/ 1429 w 76200"/>
                <a:gd name="connsiteY7" fmla="*/ 10001 h 76200"/>
                <a:gd name="connsiteX8" fmla="*/ 32861 w 76200"/>
                <a:gd name="connsiteY8" fmla="*/ 41434 h 76200"/>
                <a:gd name="connsiteX9" fmla="*/ 1429 w 76200"/>
                <a:gd name="connsiteY9" fmla="*/ 72866 h 76200"/>
                <a:gd name="connsiteX10" fmla="*/ 1429 w 76200"/>
                <a:gd name="connsiteY10" fmla="*/ 81439 h 76200"/>
                <a:gd name="connsiteX11" fmla="*/ 5239 w 76200"/>
                <a:gd name="connsiteY11" fmla="*/ 83344 h 76200"/>
                <a:gd name="connsiteX12" fmla="*/ 9049 w 76200"/>
                <a:gd name="connsiteY12" fmla="*/ 81439 h 76200"/>
                <a:gd name="connsiteX13" fmla="*/ 40481 w 76200"/>
                <a:gd name="connsiteY13" fmla="*/ 50006 h 76200"/>
                <a:gd name="connsiteX14" fmla="*/ 71914 w 76200"/>
                <a:gd name="connsiteY14" fmla="*/ 81439 h 76200"/>
                <a:gd name="connsiteX15" fmla="*/ 75724 w 76200"/>
                <a:gd name="connsiteY15" fmla="*/ 83344 h 76200"/>
                <a:gd name="connsiteX16" fmla="*/ 79534 w 76200"/>
                <a:gd name="connsiteY16" fmla="*/ 81439 h 76200"/>
                <a:gd name="connsiteX17" fmla="*/ 79534 w 76200"/>
                <a:gd name="connsiteY17" fmla="*/ 72866 h 76200"/>
                <a:gd name="connsiteX18" fmla="*/ 50006 w 76200"/>
                <a:gd name="connsiteY18" fmla="*/ 4143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200" h="76200">
                  <a:moveTo>
                    <a:pt x="50006" y="41434"/>
                  </a:moveTo>
                  <a:lnTo>
                    <a:pt x="81439" y="10001"/>
                  </a:lnTo>
                  <a:cubicBezTo>
                    <a:pt x="83344" y="8096"/>
                    <a:pt x="83344" y="4286"/>
                    <a:pt x="81439" y="1429"/>
                  </a:cubicBezTo>
                  <a:cubicBezTo>
                    <a:pt x="79534" y="-476"/>
                    <a:pt x="75724" y="-476"/>
                    <a:pt x="72866" y="1429"/>
                  </a:cubicBezTo>
                  <a:lnTo>
                    <a:pt x="41434" y="32861"/>
                  </a:lnTo>
                  <a:lnTo>
                    <a:pt x="10001" y="1429"/>
                  </a:lnTo>
                  <a:cubicBezTo>
                    <a:pt x="8096" y="-476"/>
                    <a:pt x="4286" y="-476"/>
                    <a:pt x="1429" y="1429"/>
                  </a:cubicBezTo>
                  <a:cubicBezTo>
                    <a:pt x="-476" y="3334"/>
                    <a:pt x="-476" y="7144"/>
                    <a:pt x="1429" y="10001"/>
                  </a:cubicBezTo>
                  <a:lnTo>
                    <a:pt x="32861" y="41434"/>
                  </a:lnTo>
                  <a:lnTo>
                    <a:pt x="1429" y="72866"/>
                  </a:lnTo>
                  <a:cubicBezTo>
                    <a:pt x="-476" y="74771"/>
                    <a:pt x="-476" y="78581"/>
                    <a:pt x="1429" y="81439"/>
                  </a:cubicBezTo>
                  <a:cubicBezTo>
                    <a:pt x="2381" y="82391"/>
                    <a:pt x="4286" y="83344"/>
                    <a:pt x="5239" y="83344"/>
                  </a:cubicBezTo>
                  <a:cubicBezTo>
                    <a:pt x="6191" y="83344"/>
                    <a:pt x="8096" y="82391"/>
                    <a:pt x="9049" y="81439"/>
                  </a:cubicBezTo>
                  <a:lnTo>
                    <a:pt x="40481" y="50006"/>
                  </a:lnTo>
                  <a:lnTo>
                    <a:pt x="71914" y="81439"/>
                  </a:lnTo>
                  <a:cubicBezTo>
                    <a:pt x="72866" y="82391"/>
                    <a:pt x="74771" y="83344"/>
                    <a:pt x="75724" y="83344"/>
                  </a:cubicBezTo>
                  <a:cubicBezTo>
                    <a:pt x="76676" y="83344"/>
                    <a:pt x="78581" y="82391"/>
                    <a:pt x="79534" y="81439"/>
                  </a:cubicBezTo>
                  <a:cubicBezTo>
                    <a:pt x="81439" y="79534"/>
                    <a:pt x="81439" y="75724"/>
                    <a:pt x="79534" y="72866"/>
                  </a:cubicBezTo>
                  <a:lnTo>
                    <a:pt x="50006" y="41434"/>
                  </a:lnTo>
                  <a:close/>
                </a:path>
              </a:pathLst>
            </a:custGeom>
            <a:solidFill>
              <a:srgbClr val="101010"/>
            </a:solidFill>
            <a:ln w="9525" cap="flat">
              <a:noFill/>
              <a:prstDash val="solid"/>
              <a:miter/>
            </a:ln>
          </p:spPr>
          <p:txBody>
            <a:bodyPr rtlCol="0" anchor="ctr"/>
            <a:lstStyle/>
            <a:p>
              <a:endParaRPr lang="de-DE"/>
            </a:p>
          </p:txBody>
        </p:sp>
        <p:sp>
          <p:nvSpPr>
            <p:cNvPr id="5123" name="Freeform: Shape 5122">
              <a:extLst>
                <a:ext uri="{FF2B5EF4-FFF2-40B4-BE49-F238E27FC236}">
                  <a16:creationId xmlns:a16="http://schemas.microsoft.com/office/drawing/2014/main" id="{17670AEB-DAB2-4C14-B577-6D3E0BAF5E96}"/>
                </a:ext>
              </a:extLst>
            </p:cNvPr>
            <p:cNvSpPr/>
            <p:nvPr/>
          </p:nvSpPr>
          <p:spPr>
            <a:xfrm>
              <a:off x="5953125" y="3286125"/>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176213 w 266700"/>
                <a:gd name="connsiteY15" fmla="*/ 266700 h 266700"/>
                <a:gd name="connsiteX16" fmla="*/ 180975 w 266700"/>
                <a:gd name="connsiteY16" fmla="*/ 261938 h 266700"/>
                <a:gd name="connsiteX17" fmla="*/ 176213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76213 h 266700"/>
                <a:gd name="connsiteX23" fmla="*/ 261938 w 266700"/>
                <a:gd name="connsiteY23" fmla="*/ 180975 h 266700"/>
                <a:gd name="connsiteX24" fmla="*/ 266700 w 266700"/>
                <a:gd name="connsiteY24" fmla="*/ 176213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176213" y="266700"/>
                  </a:lnTo>
                  <a:cubicBezTo>
                    <a:pt x="179070" y="266700"/>
                    <a:pt x="180975" y="264795"/>
                    <a:pt x="180975" y="261938"/>
                  </a:cubicBezTo>
                  <a:cubicBezTo>
                    <a:pt x="180975" y="259080"/>
                    <a:pt x="179070" y="257175"/>
                    <a:pt x="176213" y="257175"/>
                  </a:cubicBezTo>
                  <a:lnTo>
                    <a:pt x="33338" y="257175"/>
                  </a:lnTo>
                  <a:cubicBezTo>
                    <a:pt x="20003" y="257175"/>
                    <a:pt x="9525" y="246698"/>
                    <a:pt x="9525" y="233363"/>
                  </a:cubicBezTo>
                  <a:lnTo>
                    <a:pt x="9525" y="95250"/>
                  </a:lnTo>
                  <a:lnTo>
                    <a:pt x="257175" y="95250"/>
                  </a:lnTo>
                  <a:lnTo>
                    <a:pt x="257175" y="176213"/>
                  </a:lnTo>
                  <a:cubicBezTo>
                    <a:pt x="257175" y="179070"/>
                    <a:pt x="259080" y="180975"/>
                    <a:pt x="261938" y="180975"/>
                  </a:cubicBezTo>
                  <a:cubicBezTo>
                    <a:pt x="264795" y="180975"/>
                    <a:pt x="266700" y="179070"/>
                    <a:pt x="266700" y="176213"/>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grpSp>
      <p:grpSp>
        <p:nvGrpSpPr>
          <p:cNvPr id="5124" name="Graphic 3">
            <a:extLst>
              <a:ext uri="{FF2B5EF4-FFF2-40B4-BE49-F238E27FC236}">
                <a16:creationId xmlns:a16="http://schemas.microsoft.com/office/drawing/2014/main" id="{13349F1B-6A83-44B5-91D3-FD3D5A6704AD}"/>
              </a:ext>
              <a:ext uri="{C183D7F6-B498-43B3-948B-1728B52AA6E4}">
                <adec:decorative xmlns:adec="http://schemas.microsoft.com/office/drawing/2017/decorative" val="1"/>
              </a:ext>
            </a:extLst>
          </p:cNvPr>
          <p:cNvGrpSpPr>
            <a:grpSpLocks noChangeAspect="1"/>
          </p:cNvGrpSpPr>
          <p:nvPr/>
        </p:nvGrpSpPr>
        <p:grpSpPr>
          <a:xfrm>
            <a:off x="4849414" y="3464592"/>
            <a:ext cx="127572" cy="119067"/>
            <a:chOff x="5953125" y="3295650"/>
            <a:chExt cx="285750" cy="266700"/>
          </a:xfrm>
        </p:grpSpPr>
        <p:sp>
          <p:nvSpPr>
            <p:cNvPr id="5125" name="Freeform: Shape 5124">
              <a:extLst>
                <a:ext uri="{FF2B5EF4-FFF2-40B4-BE49-F238E27FC236}">
                  <a16:creationId xmlns:a16="http://schemas.microsoft.com/office/drawing/2014/main" id="{42D7124B-472A-46F5-9299-17E6ADAB1E97}"/>
                </a:ext>
              </a:extLst>
            </p:cNvPr>
            <p:cNvSpPr/>
            <p:nvPr/>
          </p:nvSpPr>
          <p:spPr>
            <a:xfrm>
              <a:off x="5953125" y="3295650"/>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176213 w 266700"/>
                <a:gd name="connsiteY15" fmla="*/ 266700 h 266700"/>
                <a:gd name="connsiteX16" fmla="*/ 180975 w 266700"/>
                <a:gd name="connsiteY16" fmla="*/ 261938 h 266700"/>
                <a:gd name="connsiteX17" fmla="*/ 176213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75260 h 266700"/>
                <a:gd name="connsiteX23" fmla="*/ 261938 w 266700"/>
                <a:gd name="connsiteY23" fmla="*/ 180023 h 266700"/>
                <a:gd name="connsiteX24" fmla="*/ 266700 w 266700"/>
                <a:gd name="connsiteY24" fmla="*/ 175260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176213" y="266700"/>
                  </a:lnTo>
                  <a:cubicBezTo>
                    <a:pt x="179070" y="266700"/>
                    <a:pt x="180975" y="264795"/>
                    <a:pt x="180975" y="261938"/>
                  </a:cubicBezTo>
                  <a:cubicBezTo>
                    <a:pt x="180975" y="259080"/>
                    <a:pt x="179070" y="257175"/>
                    <a:pt x="176213" y="257175"/>
                  </a:cubicBezTo>
                  <a:lnTo>
                    <a:pt x="33338" y="257175"/>
                  </a:lnTo>
                  <a:cubicBezTo>
                    <a:pt x="20003" y="257175"/>
                    <a:pt x="9525" y="246698"/>
                    <a:pt x="9525" y="233363"/>
                  </a:cubicBezTo>
                  <a:lnTo>
                    <a:pt x="9525" y="95250"/>
                  </a:lnTo>
                  <a:lnTo>
                    <a:pt x="257175" y="95250"/>
                  </a:lnTo>
                  <a:lnTo>
                    <a:pt x="257175" y="175260"/>
                  </a:lnTo>
                  <a:cubicBezTo>
                    <a:pt x="257175" y="178118"/>
                    <a:pt x="259080" y="180023"/>
                    <a:pt x="261938" y="180023"/>
                  </a:cubicBezTo>
                  <a:cubicBezTo>
                    <a:pt x="264795" y="180023"/>
                    <a:pt x="266700" y="178118"/>
                    <a:pt x="266700" y="175260"/>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sp>
          <p:nvSpPr>
            <p:cNvPr id="5126" name="Freeform: Shape 5125">
              <a:extLst>
                <a:ext uri="{FF2B5EF4-FFF2-40B4-BE49-F238E27FC236}">
                  <a16:creationId xmlns:a16="http://schemas.microsoft.com/office/drawing/2014/main" id="{FDF16E28-CAF9-40CF-A204-90D0E27F4467}"/>
                </a:ext>
              </a:extLst>
            </p:cNvPr>
            <p:cNvSpPr/>
            <p:nvPr/>
          </p:nvSpPr>
          <p:spPr>
            <a:xfrm>
              <a:off x="6153626" y="3504724"/>
              <a:ext cx="85725" cy="57150"/>
            </a:xfrm>
            <a:custGeom>
              <a:avLst/>
              <a:gdLst>
                <a:gd name="connsiteX0" fmla="*/ 86201 w 85725"/>
                <a:gd name="connsiteY0" fmla="*/ 1429 h 57150"/>
                <a:gd name="connsiteX1" fmla="*/ 79534 w 85725"/>
                <a:gd name="connsiteY1" fmla="*/ 1429 h 57150"/>
                <a:gd name="connsiteX2" fmla="*/ 31909 w 85725"/>
                <a:gd name="connsiteY2" fmla="*/ 46196 h 57150"/>
                <a:gd name="connsiteX3" fmla="*/ 8096 w 85725"/>
                <a:gd name="connsiteY3" fmla="*/ 22384 h 57150"/>
                <a:gd name="connsiteX4" fmla="*/ 1429 w 85725"/>
                <a:gd name="connsiteY4" fmla="*/ 22384 h 57150"/>
                <a:gd name="connsiteX5" fmla="*/ 1429 w 85725"/>
                <a:gd name="connsiteY5" fmla="*/ 29051 h 57150"/>
                <a:gd name="connsiteX6" fmla="*/ 29051 w 85725"/>
                <a:gd name="connsiteY6" fmla="*/ 56674 h 57150"/>
                <a:gd name="connsiteX7" fmla="*/ 32861 w 85725"/>
                <a:gd name="connsiteY7" fmla="*/ 57626 h 57150"/>
                <a:gd name="connsiteX8" fmla="*/ 35719 w 85725"/>
                <a:gd name="connsiteY8" fmla="*/ 56674 h 57150"/>
                <a:gd name="connsiteX9" fmla="*/ 87154 w 85725"/>
                <a:gd name="connsiteY9" fmla="*/ 9049 h 57150"/>
                <a:gd name="connsiteX10" fmla="*/ 86201 w 85725"/>
                <a:gd name="connsiteY10" fmla="*/ 142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57150">
                  <a:moveTo>
                    <a:pt x="86201" y="1429"/>
                  </a:moveTo>
                  <a:cubicBezTo>
                    <a:pt x="84296" y="-476"/>
                    <a:pt x="81439" y="-476"/>
                    <a:pt x="79534" y="1429"/>
                  </a:cubicBezTo>
                  <a:lnTo>
                    <a:pt x="31909" y="46196"/>
                  </a:lnTo>
                  <a:lnTo>
                    <a:pt x="8096" y="22384"/>
                  </a:lnTo>
                  <a:cubicBezTo>
                    <a:pt x="6191" y="20479"/>
                    <a:pt x="3334" y="20479"/>
                    <a:pt x="1429" y="22384"/>
                  </a:cubicBezTo>
                  <a:cubicBezTo>
                    <a:pt x="-476" y="24289"/>
                    <a:pt x="-476" y="27146"/>
                    <a:pt x="1429" y="29051"/>
                  </a:cubicBezTo>
                  <a:lnTo>
                    <a:pt x="29051" y="56674"/>
                  </a:lnTo>
                  <a:cubicBezTo>
                    <a:pt x="30004" y="57626"/>
                    <a:pt x="30956" y="57626"/>
                    <a:pt x="32861" y="57626"/>
                  </a:cubicBezTo>
                  <a:cubicBezTo>
                    <a:pt x="33814" y="57626"/>
                    <a:pt x="34766" y="57626"/>
                    <a:pt x="35719" y="56674"/>
                  </a:cubicBezTo>
                  <a:lnTo>
                    <a:pt x="87154" y="9049"/>
                  </a:lnTo>
                  <a:cubicBezTo>
                    <a:pt x="87154" y="6191"/>
                    <a:pt x="88106" y="3334"/>
                    <a:pt x="86201" y="1429"/>
                  </a:cubicBezTo>
                  <a:close/>
                </a:path>
              </a:pathLst>
            </a:custGeom>
            <a:solidFill>
              <a:srgbClr val="101010"/>
            </a:solidFill>
            <a:ln w="9525" cap="flat">
              <a:noFill/>
              <a:prstDash val="solid"/>
              <a:miter/>
            </a:ln>
          </p:spPr>
          <p:txBody>
            <a:bodyPr rtlCol="0" anchor="ctr"/>
            <a:lstStyle/>
            <a:p>
              <a:endParaRPr lang="de-DE"/>
            </a:p>
          </p:txBody>
        </p:sp>
      </p:grpSp>
      <p:grpSp>
        <p:nvGrpSpPr>
          <p:cNvPr id="5127" name="Graphic 3">
            <a:extLst>
              <a:ext uri="{FF2B5EF4-FFF2-40B4-BE49-F238E27FC236}">
                <a16:creationId xmlns:a16="http://schemas.microsoft.com/office/drawing/2014/main" id="{64B0EABF-3D38-455F-9B4C-CCD86A095BFC}"/>
              </a:ext>
              <a:ext uri="{C183D7F6-B498-43B3-948B-1728B52AA6E4}">
                <adec:decorative xmlns:adec="http://schemas.microsoft.com/office/drawing/2017/decorative" val="1"/>
              </a:ext>
            </a:extLst>
          </p:cNvPr>
          <p:cNvGrpSpPr>
            <a:grpSpLocks noChangeAspect="1"/>
          </p:cNvGrpSpPr>
          <p:nvPr/>
        </p:nvGrpSpPr>
        <p:grpSpPr>
          <a:xfrm>
            <a:off x="5123156" y="3462016"/>
            <a:ext cx="112198" cy="124219"/>
            <a:chOff x="5962650" y="3281362"/>
            <a:chExt cx="266700" cy="295275"/>
          </a:xfrm>
        </p:grpSpPr>
        <p:sp>
          <p:nvSpPr>
            <p:cNvPr id="5128" name="Freeform: Shape 5127">
              <a:extLst>
                <a:ext uri="{FF2B5EF4-FFF2-40B4-BE49-F238E27FC236}">
                  <a16:creationId xmlns:a16="http://schemas.microsoft.com/office/drawing/2014/main" id="{53B018AD-086F-47FA-81C6-03C77AD09672}"/>
                </a:ext>
              </a:extLst>
            </p:cNvPr>
            <p:cNvSpPr/>
            <p:nvPr/>
          </p:nvSpPr>
          <p:spPr>
            <a:xfrm>
              <a:off x="5962650" y="3281362"/>
              <a:ext cx="266700" cy="295275"/>
            </a:xfrm>
            <a:custGeom>
              <a:avLst/>
              <a:gdLst>
                <a:gd name="connsiteX0" fmla="*/ 233363 w 266700"/>
                <a:gd name="connsiteY0" fmla="*/ 28575 h 295275"/>
                <a:gd name="connsiteX1" fmla="*/ 209550 w 266700"/>
                <a:gd name="connsiteY1" fmla="*/ 28575 h 295275"/>
                <a:gd name="connsiteX2" fmla="*/ 209550 w 266700"/>
                <a:gd name="connsiteY2" fmla="*/ 4763 h 295275"/>
                <a:gd name="connsiteX3" fmla="*/ 204788 w 266700"/>
                <a:gd name="connsiteY3" fmla="*/ 0 h 295275"/>
                <a:gd name="connsiteX4" fmla="*/ 200025 w 266700"/>
                <a:gd name="connsiteY4" fmla="*/ 4763 h 295275"/>
                <a:gd name="connsiteX5" fmla="*/ 200025 w 266700"/>
                <a:gd name="connsiteY5" fmla="*/ 28575 h 295275"/>
                <a:gd name="connsiteX6" fmla="*/ 66675 w 266700"/>
                <a:gd name="connsiteY6" fmla="*/ 28575 h 295275"/>
                <a:gd name="connsiteX7" fmla="*/ 66675 w 266700"/>
                <a:gd name="connsiteY7" fmla="*/ 4763 h 295275"/>
                <a:gd name="connsiteX8" fmla="*/ 61913 w 266700"/>
                <a:gd name="connsiteY8" fmla="*/ 0 h 295275"/>
                <a:gd name="connsiteX9" fmla="*/ 57150 w 266700"/>
                <a:gd name="connsiteY9" fmla="*/ 4763 h 295275"/>
                <a:gd name="connsiteX10" fmla="*/ 57150 w 266700"/>
                <a:gd name="connsiteY10" fmla="*/ 28575 h 295275"/>
                <a:gd name="connsiteX11" fmla="*/ 33338 w 266700"/>
                <a:gd name="connsiteY11" fmla="*/ 28575 h 295275"/>
                <a:gd name="connsiteX12" fmla="*/ 0 w 266700"/>
                <a:gd name="connsiteY12" fmla="*/ 61913 h 295275"/>
                <a:gd name="connsiteX13" fmla="*/ 0 w 266700"/>
                <a:gd name="connsiteY13" fmla="*/ 261938 h 295275"/>
                <a:gd name="connsiteX14" fmla="*/ 33338 w 266700"/>
                <a:gd name="connsiteY14" fmla="*/ 295275 h 295275"/>
                <a:gd name="connsiteX15" fmla="*/ 233363 w 266700"/>
                <a:gd name="connsiteY15" fmla="*/ 295275 h 295275"/>
                <a:gd name="connsiteX16" fmla="*/ 266700 w 266700"/>
                <a:gd name="connsiteY16" fmla="*/ 261938 h 295275"/>
                <a:gd name="connsiteX17" fmla="*/ 266700 w 266700"/>
                <a:gd name="connsiteY17" fmla="*/ 61913 h 295275"/>
                <a:gd name="connsiteX18" fmla="*/ 233363 w 266700"/>
                <a:gd name="connsiteY18" fmla="*/ 28575 h 295275"/>
                <a:gd name="connsiteX19" fmla="*/ 33338 w 266700"/>
                <a:gd name="connsiteY19" fmla="*/ 38100 h 295275"/>
                <a:gd name="connsiteX20" fmla="*/ 57150 w 266700"/>
                <a:gd name="connsiteY20" fmla="*/ 38100 h 295275"/>
                <a:gd name="connsiteX21" fmla="*/ 57150 w 266700"/>
                <a:gd name="connsiteY21" fmla="*/ 61913 h 295275"/>
                <a:gd name="connsiteX22" fmla="*/ 61913 w 266700"/>
                <a:gd name="connsiteY22" fmla="*/ 66675 h 295275"/>
                <a:gd name="connsiteX23" fmla="*/ 66675 w 266700"/>
                <a:gd name="connsiteY23" fmla="*/ 61913 h 295275"/>
                <a:gd name="connsiteX24" fmla="*/ 66675 w 266700"/>
                <a:gd name="connsiteY24" fmla="*/ 38100 h 295275"/>
                <a:gd name="connsiteX25" fmla="*/ 200025 w 266700"/>
                <a:gd name="connsiteY25" fmla="*/ 38100 h 295275"/>
                <a:gd name="connsiteX26" fmla="*/ 200025 w 266700"/>
                <a:gd name="connsiteY26" fmla="*/ 61913 h 295275"/>
                <a:gd name="connsiteX27" fmla="*/ 204788 w 266700"/>
                <a:gd name="connsiteY27" fmla="*/ 66675 h 295275"/>
                <a:gd name="connsiteX28" fmla="*/ 209550 w 266700"/>
                <a:gd name="connsiteY28" fmla="*/ 61913 h 295275"/>
                <a:gd name="connsiteX29" fmla="*/ 209550 w 266700"/>
                <a:gd name="connsiteY29" fmla="*/ 38100 h 295275"/>
                <a:gd name="connsiteX30" fmla="*/ 233363 w 266700"/>
                <a:gd name="connsiteY30" fmla="*/ 38100 h 295275"/>
                <a:gd name="connsiteX31" fmla="*/ 257175 w 266700"/>
                <a:gd name="connsiteY31" fmla="*/ 61913 h 295275"/>
                <a:gd name="connsiteX32" fmla="*/ 257175 w 266700"/>
                <a:gd name="connsiteY32" fmla="*/ 85725 h 295275"/>
                <a:gd name="connsiteX33" fmla="*/ 9525 w 266700"/>
                <a:gd name="connsiteY33" fmla="*/ 85725 h 295275"/>
                <a:gd name="connsiteX34" fmla="*/ 9525 w 266700"/>
                <a:gd name="connsiteY34" fmla="*/ 61913 h 295275"/>
                <a:gd name="connsiteX35" fmla="*/ 33338 w 266700"/>
                <a:gd name="connsiteY35" fmla="*/ 38100 h 295275"/>
                <a:gd name="connsiteX36" fmla="*/ 233363 w 266700"/>
                <a:gd name="connsiteY36" fmla="*/ 285750 h 295275"/>
                <a:gd name="connsiteX37" fmla="*/ 33338 w 266700"/>
                <a:gd name="connsiteY37" fmla="*/ 285750 h 295275"/>
                <a:gd name="connsiteX38" fmla="*/ 9525 w 266700"/>
                <a:gd name="connsiteY38" fmla="*/ 261938 h 295275"/>
                <a:gd name="connsiteX39" fmla="*/ 9525 w 266700"/>
                <a:gd name="connsiteY39" fmla="*/ 95250 h 295275"/>
                <a:gd name="connsiteX40" fmla="*/ 257175 w 266700"/>
                <a:gd name="connsiteY40" fmla="*/ 95250 h 295275"/>
                <a:gd name="connsiteX41" fmla="*/ 257175 w 266700"/>
                <a:gd name="connsiteY41" fmla="*/ 261938 h 295275"/>
                <a:gd name="connsiteX42" fmla="*/ 233363 w 266700"/>
                <a:gd name="connsiteY42" fmla="*/ 28575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700" h="295275">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61938"/>
                  </a:lnTo>
                  <a:cubicBezTo>
                    <a:pt x="0" y="280035"/>
                    <a:pt x="15240" y="295275"/>
                    <a:pt x="33338" y="295275"/>
                  </a:cubicBezTo>
                  <a:lnTo>
                    <a:pt x="233363" y="295275"/>
                  </a:lnTo>
                  <a:cubicBezTo>
                    <a:pt x="251460" y="295275"/>
                    <a:pt x="266700" y="280035"/>
                    <a:pt x="266700" y="261938"/>
                  </a:cubicBezTo>
                  <a:lnTo>
                    <a:pt x="266700" y="61913"/>
                  </a:lnTo>
                  <a:cubicBezTo>
                    <a:pt x="266700" y="43815"/>
                    <a:pt x="251460" y="28575"/>
                    <a:pt x="233363" y="28575"/>
                  </a:cubicBezTo>
                  <a:close/>
                  <a:moveTo>
                    <a:pt x="33338" y="38100"/>
                  </a:move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lnTo>
                    <a:pt x="9525" y="61913"/>
                  </a:lnTo>
                  <a:cubicBezTo>
                    <a:pt x="9525" y="48578"/>
                    <a:pt x="20003" y="38100"/>
                    <a:pt x="33338" y="38100"/>
                  </a:cubicBezTo>
                  <a:close/>
                  <a:moveTo>
                    <a:pt x="233363" y="285750"/>
                  </a:moveTo>
                  <a:lnTo>
                    <a:pt x="33338" y="285750"/>
                  </a:lnTo>
                  <a:cubicBezTo>
                    <a:pt x="20003" y="285750"/>
                    <a:pt x="9525" y="275273"/>
                    <a:pt x="9525" y="261938"/>
                  </a:cubicBezTo>
                  <a:lnTo>
                    <a:pt x="9525" y="95250"/>
                  </a:lnTo>
                  <a:lnTo>
                    <a:pt x="257175" y="95250"/>
                  </a:lnTo>
                  <a:lnTo>
                    <a:pt x="257175" y="261938"/>
                  </a:lnTo>
                  <a:cubicBezTo>
                    <a:pt x="257175" y="275273"/>
                    <a:pt x="246698" y="285750"/>
                    <a:pt x="233363" y="285750"/>
                  </a:cubicBezTo>
                  <a:close/>
                </a:path>
              </a:pathLst>
            </a:custGeom>
            <a:solidFill>
              <a:srgbClr val="101010"/>
            </a:solidFill>
            <a:ln w="9525" cap="flat">
              <a:noFill/>
              <a:prstDash val="solid"/>
              <a:miter/>
            </a:ln>
          </p:spPr>
          <p:txBody>
            <a:bodyPr rtlCol="0" anchor="ctr"/>
            <a:lstStyle/>
            <a:p>
              <a:endParaRPr lang="de-DE"/>
            </a:p>
          </p:txBody>
        </p:sp>
        <p:sp>
          <p:nvSpPr>
            <p:cNvPr id="5129" name="Freeform: Shape 5128">
              <a:extLst>
                <a:ext uri="{FF2B5EF4-FFF2-40B4-BE49-F238E27FC236}">
                  <a16:creationId xmlns:a16="http://schemas.microsoft.com/office/drawing/2014/main" id="{B4A2FC1A-F352-4B76-B182-594970476B28}"/>
                </a:ext>
              </a:extLst>
            </p:cNvPr>
            <p:cNvSpPr/>
            <p:nvPr/>
          </p:nvSpPr>
          <p:spPr>
            <a:xfrm>
              <a:off x="59912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0" name="Freeform: Shape 5129">
              <a:extLst>
                <a:ext uri="{FF2B5EF4-FFF2-40B4-BE49-F238E27FC236}">
                  <a16:creationId xmlns:a16="http://schemas.microsoft.com/office/drawing/2014/main" id="{3B5F44F5-1D0B-46EF-B830-13D0C8841CC8}"/>
                </a:ext>
              </a:extLst>
            </p:cNvPr>
            <p:cNvSpPr/>
            <p:nvPr/>
          </p:nvSpPr>
          <p:spPr>
            <a:xfrm>
              <a:off x="59912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1" name="Freeform: Shape 5130">
              <a:extLst>
                <a:ext uri="{FF2B5EF4-FFF2-40B4-BE49-F238E27FC236}">
                  <a16:creationId xmlns:a16="http://schemas.microsoft.com/office/drawing/2014/main" id="{B34A9D82-0800-402C-8CDF-71FB31F94F65}"/>
                </a:ext>
              </a:extLst>
            </p:cNvPr>
            <p:cNvSpPr/>
            <p:nvPr/>
          </p:nvSpPr>
          <p:spPr>
            <a:xfrm>
              <a:off x="60483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2" name="Freeform: Shape 5131">
              <a:extLst>
                <a:ext uri="{FF2B5EF4-FFF2-40B4-BE49-F238E27FC236}">
                  <a16:creationId xmlns:a16="http://schemas.microsoft.com/office/drawing/2014/main" id="{D7A7F1CC-D98C-4251-BDB3-F81BFD804827}"/>
                </a:ext>
              </a:extLst>
            </p:cNvPr>
            <p:cNvSpPr/>
            <p:nvPr/>
          </p:nvSpPr>
          <p:spPr>
            <a:xfrm>
              <a:off x="60483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3" name="Freeform: Shape 5132">
              <a:extLst>
                <a:ext uri="{FF2B5EF4-FFF2-40B4-BE49-F238E27FC236}">
                  <a16:creationId xmlns:a16="http://schemas.microsoft.com/office/drawing/2014/main" id="{8952D70C-1C81-46F9-89F1-722511CE9939}"/>
                </a:ext>
              </a:extLst>
            </p:cNvPr>
            <p:cNvSpPr/>
            <p:nvPr/>
          </p:nvSpPr>
          <p:spPr>
            <a:xfrm>
              <a:off x="61055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34" name="Graphic 3">
              <a:extLst>
                <a:ext uri="{FF2B5EF4-FFF2-40B4-BE49-F238E27FC236}">
                  <a16:creationId xmlns:a16="http://schemas.microsoft.com/office/drawing/2014/main" id="{2A6D6908-8170-4079-8ACE-20184BE04190}"/>
                </a:ext>
              </a:extLst>
            </p:cNvPr>
            <p:cNvGrpSpPr/>
            <p:nvPr/>
          </p:nvGrpSpPr>
          <p:grpSpPr>
            <a:xfrm>
              <a:off x="6105525" y="3452812"/>
              <a:ext cx="38100" cy="38100"/>
              <a:chOff x="6105525" y="3452812"/>
              <a:chExt cx="38100" cy="38100"/>
            </a:xfrm>
            <a:solidFill>
              <a:srgbClr val="231F20"/>
            </a:solidFill>
          </p:grpSpPr>
          <p:sp>
            <p:nvSpPr>
              <p:cNvPr id="5140" name="Freeform: Shape 5139">
                <a:extLst>
                  <a:ext uri="{FF2B5EF4-FFF2-40B4-BE49-F238E27FC236}">
                    <a16:creationId xmlns:a16="http://schemas.microsoft.com/office/drawing/2014/main" id="{AAB6080E-BCEF-4E4E-8952-8E4FDB009585}"/>
                  </a:ext>
                </a:extLst>
              </p:cNvPr>
              <p:cNvSpPr/>
              <p:nvPr/>
            </p:nvSpPr>
            <p:spPr>
              <a:xfrm>
                <a:off x="611028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41" name="Freeform: Shape 5140">
                <a:extLst>
                  <a:ext uri="{FF2B5EF4-FFF2-40B4-BE49-F238E27FC236}">
                    <a16:creationId xmlns:a16="http://schemas.microsoft.com/office/drawing/2014/main" id="{D24136A7-B663-405D-8653-AD1AA43944B6}"/>
                  </a:ext>
                </a:extLst>
              </p:cNvPr>
              <p:cNvSpPr/>
              <p:nvPr/>
            </p:nvSpPr>
            <p:spPr>
              <a:xfrm>
                <a:off x="61055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35" name="Freeform: Shape 5134">
              <a:extLst>
                <a:ext uri="{FF2B5EF4-FFF2-40B4-BE49-F238E27FC236}">
                  <a16:creationId xmlns:a16="http://schemas.microsoft.com/office/drawing/2014/main" id="{808C2124-7E62-4B29-81AC-B4F4C0834F16}"/>
                </a:ext>
              </a:extLst>
            </p:cNvPr>
            <p:cNvSpPr/>
            <p:nvPr/>
          </p:nvSpPr>
          <p:spPr>
            <a:xfrm>
              <a:off x="61626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6" name="Freeform: Shape 5135">
              <a:extLst>
                <a:ext uri="{FF2B5EF4-FFF2-40B4-BE49-F238E27FC236}">
                  <a16:creationId xmlns:a16="http://schemas.microsoft.com/office/drawing/2014/main" id="{DB6E2940-25E7-4612-80F4-F24E9E116DD4}"/>
                </a:ext>
              </a:extLst>
            </p:cNvPr>
            <p:cNvSpPr/>
            <p:nvPr/>
          </p:nvSpPr>
          <p:spPr>
            <a:xfrm>
              <a:off x="61626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7" name="Freeform: Shape 5136">
              <a:extLst>
                <a:ext uri="{FF2B5EF4-FFF2-40B4-BE49-F238E27FC236}">
                  <a16:creationId xmlns:a16="http://schemas.microsoft.com/office/drawing/2014/main" id="{1FD840C8-8165-4DAB-BD4B-6CC8ED033073}"/>
                </a:ext>
              </a:extLst>
            </p:cNvPr>
            <p:cNvSpPr/>
            <p:nvPr/>
          </p:nvSpPr>
          <p:spPr>
            <a:xfrm>
              <a:off x="59912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8" name="Freeform: Shape 5137">
              <a:extLst>
                <a:ext uri="{FF2B5EF4-FFF2-40B4-BE49-F238E27FC236}">
                  <a16:creationId xmlns:a16="http://schemas.microsoft.com/office/drawing/2014/main" id="{2798EB43-F77F-491B-8224-D7A31151617A}"/>
                </a:ext>
              </a:extLst>
            </p:cNvPr>
            <p:cNvSpPr/>
            <p:nvPr/>
          </p:nvSpPr>
          <p:spPr>
            <a:xfrm>
              <a:off x="604837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39" name="Freeform: Shape 5138">
              <a:extLst>
                <a:ext uri="{FF2B5EF4-FFF2-40B4-BE49-F238E27FC236}">
                  <a16:creationId xmlns:a16="http://schemas.microsoft.com/office/drawing/2014/main" id="{6F64C067-12FB-4D80-A167-B87EC7FDDB4E}"/>
                </a:ext>
              </a:extLst>
            </p:cNvPr>
            <p:cNvSpPr/>
            <p:nvPr/>
          </p:nvSpPr>
          <p:spPr>
            <a:xfrm>
              <a:off x="61055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grpSp>
        <p:nvGrpSpPr>
          <p:cNvPr id="5142" name="Graphic 3">
            <a:extLst>
              <a:ext uri="{FF2B5EF4-FFF2-40B4-BE49-F238E27FC236}">
                <a16:creationId xmlns:a16="http://schemas.microsoft.com/office/drawing/2014/main" id="{23EC638A-7E24-4C3C-8AE9-073F4B524949}"/>
              </a:ext>
              <a:ext uri="{C183D7F6-B498-43B3-948B-1728B52AA6E4}">
                <adec:decorative xmlns:adec="http://schemas.microsoft.com/office/drawing/2017/decorative" val="1"/>
              </a:ext>
            </a:extLst>
          </p:cNvPr>
          <p:cNvGrpSpPr>
            <a:grpSpLocks noChangeAspect="1"/>
          </p:cNvGrpSpPr>
          <p:nvPr/>
        </p:nvGrpSpPr>
        <p:grpSpPr>
          <a:xfrm>
            <a:off x="5381524" y="3462016"/>
            <a:ext cx="112198" cy="124219"/>
            <a:chOff x="5962650" y="3281362"/>
            <a:chExt cx="266700" cy="295275"/>
          </a:xfrm>
        </p:grpSpPr>
        <p:sp>
          <p:nvSpPr>
            <p:cNvPr id="5143" name="Freeform: Shape 5142">
              <a:extLst>
                <a:ext uri="{FF2B5EF4-FFF2-40B4-BE49-F238E27FC236}">
                  <a16:creationId xmlns:a16="http://schemas.microsoft.com/office/drawing/2014/main" id="{1A6227EF-0AD8-45AF-999F-99C05764263B}"/>
                </a:ext>
              </a:extLst>
            </p:cNvPr>
            <p:cNvSpPr/>
            <p:nvPr/>
          </p:nvSpPr>
          <p:spPr>
            <a:xfrm>
              <a:off x="5962650" y="3281362"/>
              <a:ext cx="266700" cy="295275"/>
            </a:xfrm>
            <a:custGeom>
              <a:avLst/>
              <a:gdLst>
                <a:gd name="connsiteX0" fmla="*/ 233363 w 266700"/>
                <a:gd name="connsiteY0" fmla="*/ 28575 h 295275"/>
                <a:gd name="connsiteX1" fmla="*/ 209550 w 266700"/>
                <a:gd name="connsiteY1" fmla="*/ 28575 h 295275"/>
                <a:gd name="connsiteX2" fmla="*/ 209550 w 266700"/>
                <a:gd name="connsiteY2" fmla="*/ 4763 h 295275"/>
                <a:gd name="connsiteX3" fmla="*/ 204788 w 266700"/>
                <a:gd name="connsiteY3" fmla="*/ 0 h 295275"/>
                <a:gd name="connsiteX4" fmla="*/ 200025 w 266700"/>
                <a:gd name="connsiteY4" fmla="*/ 4763 h 295275"/>
                <a:gd name="connsiteX5" fmla="*/ 200025 w 266700"/>
                <a:gd name="connsiteY5" fmla="*/ 28575 h 295275"/>
                <a:gd name="connsiteX6" fmla="*/ 66675 w 266700"/>
                <a:gd name="connsiteY6" fmla="*/ 28575 h 295275"/>
                <a:gd name="connsiteX7" fmla="*/ 66675 w 266700"/>
                <a:gd name="connsiteY7" fmla="*/ 4763 h 295275"/>
                <a:gd name="connsiteX8" fmla="*/ 61913 w 266700"/>
                <a:gd name="connsiteY8" fmla="*/ 0 h 295275"/>
                <a:gd name="connsiteX9" fmla="*/ 57150 w 266700"/>
                <a:gd name="connsiteY9" fmla="*/ 4763 h 295275"/>
                <a:gd name="connsiteX10" fmla="*/ 57150 w 266700"/>
                <a:gd name="connsiteY10" fmla="*/ 28575 h 295275"/>
                <a:gd name="connsiteX11" fmla="*/ 33338 w 266700"/>
                <a:gd name="connsiteY11" fmla="*/ 28575 h 295275"/>
                <a:gd name="connsiteX12" fmla="*/ 0 w 266700"/>
                <a:gd name="connsiteY12" fmla="*/ 61913 h 295275"/>
                <a:gd name="connsiteX13" fmla="*/ 0 w 266700"/>
                <a:gd name="connsiteY13" fmla="*/ 261938 h 295275"/>
                <a:gd name="connsiteX14" fmla="*/ 33338 w 266700"/>
                <a:gd name="connsiteY14" fmla="*/ 295275 h 295275"/>
                <a:gd name="connsiteX15" fmla="*/ 233363 w 266700"/>
                <a:gd name="connsiteY15" fmla="*/ 295275 h 295275"/>
                <a:gd name="connsiteX16" fmla="*/ 266700 w 266700"/>
                <a:gd name="connsiteY16" fmla="*/ 261938 h 295275"/>
                <a:gd name="connsiteX17" fmla="*/ 266700 w 266700"/>
                <a:gd name="connsiteY17" fmla="*/ 61913 h 295275"/>
                <a:gd name="connsiteX18" fmla="*/ 233363 w 266700"/>
                <a:gd name="connsiteY18" fmla="*/ 28575 h 295275"/>
                <a:gd name="connsiteX19" fmla="*/ 33338 w 266700"/>
                <a:gd name="connsiteY19" fmla="*/ 38100 h 295275"/>
                <a:gd name="connsiteX20" fmla="*/ 57150 w 266700"/>
                <a:gd name="connsiteY20" fmla="*/ 38100 h 295275"/>
                <a:gd name="connsiteX21" fmla="*/ 57150 w 266700"/>
                <a:gd name="connsiteY21" fmla="*/ 61913 h 295275"/>
                <a:gd name="connsiteX22" fmla="*/ 61913 w 266700"/>
                <a:gd name="connsiteY22" fmla="*/ 66675 h 295275"/>
                <a:gd name="connsiteX23" fmla="*/ 66675 w 266700"/>
                <a:gd name="connsiteY23" fmla="*/ 61913 h 295275"/>
                <a:gd name="connsiteX24" fmla="*/ 66675 w 266700"/>
                <a:gd name="connsiteY24" fmla="*/ 38100 h 295275"/>
                <a:gd name="connsiteX25" fmla="*/ 200025 w 266700"/>
                <a:gd name="connsiteY25" fmla="*/ 38100 h 295275"/>
                <a:gd name="connsiteX26" fmla="*/ 200025 w 266700"/>
                <a:gd name="connsiteY26" fmla="*/ 61913 h 295275"/>
                <a:gd name="connsiteX27" fmla="*/ 204788 w 266700"/>
                <a:gd name="connsiteY27" fmla="*/ 66675 h 295275"/>
                <a:gd name="connsiteX28" fmla="*/ 209550 w 266700"/>
                <a:gd name="connsiteY28" fmla="*/ 61913 h 295275"/>
                <a:gd name="connsiteX29" fmla="*/ 209550 w 266700"/>
                <a:gd name="connsiteY29" fmla="*/ 38100 h 295275"/>
                <a:gd name="connsiteX30" fmla="*/ 233363 w 266700"/>
                <a:gd name="connsiteY30" fmla="*/ 38100 h 295275"/>
                <a:gd name="connsiteX31" fmla="*/ 257175 w 266700"/>
                <a:gd name="connsiteY31" fmla="*/ 61913 h 295275"/>
                <a:gd name="connsiteX32" fmla="*/ 257175 w 266700"/>
                <a:gd name="connsiteY32" fmla="*/ 85725 h 295275"/>
                <a:gd name="connsiteX33" fmla="*/ 9525 w 266700"/>
                <a:gd name="connsiteY33" fmla="*/ 85725 h 295275"/>
                <a:gd name="connsiteX34" fmla="*/ 9525 w 266700"/>
                <a:gd name="connsiteY34" fmla="*/ 61913 h 295275"/>
                <a:gd name="connsiteX35" fmla="*/ 33338 w 266700"/>
                <a:gd name="connsiteY35" fmla="*/ 38100 h 295275"/>
                <a:gd name="connsiteX36" fmla="*/ 233363 w 266700"/>
                <a:gd name="connsiteY36" fmla="*/ 285750 h 295275"/>
                <a:gd name="connsiteX37" fmla="*/ 33338 w 266700"/>
                <a:gd name="connsiteY37" fmla="*/ 285750 h 295275"/>
                <a:gd name="connsiteX38" fmla="*/ 9525 w 266700"/>
                <a:gd name="connsiteY38" fmla="*/ 261938 h 295275"/>
                <a:gd name="connsiteX39" fmla="*/ 9525 w 266700"/>
                <a:gd name="connsiteY39" fmla="*/ 95250 h 295275"/>
                <a:gd name="connsiteX40" fmla="*/ 257175 w 266700"/>
                <a:gd name="connsiteY40" fmla="*/ 95250 h 295275"/>
                <a:gd name="connsiteX41" fmla="*/ 257175 w 266700"/>
                <a:gd name="connsiteY41" fmla="*/ 261938 h 295275"/>
                <a:gd name="connsiteX42" fmla="*/ 233363 w 266700"/>
                <a:gd name="connsiteY42" fmla="*/ 28575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6700" h="295275">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61938"/>
                  </a:lnTo>
                  <a:cubicBezTo>
                    <a:pt x="0" y="280035"/>
                    <a:pt x="15240" y="295275"/>
                    <a:pt x="33338" y="295275"/>
                  </a:cubicBezTo>
                  <a:lnTo>
                    <a:pt x="233363" y="295275"/>
                  </a:lnTo>
                  <a:cubicBezTo>
                    <a:pt x="251460" y="295275"/>
                    <a:pt x="266700" y="280035"/>
                    <a:pt x="266700" y="261938"/>
                  </a:cubicBezTo>
                  <a:lnTo>
                    <a:pt x="266700" y="61913"/>
                  </a:lnTo>
                  <a:cubicBezTo>
                    <a:pt x="266700" y="43815"/>
                    <a:pt x="251460" y="28575"/>
                    <a:pt x="233363" y="28575"/>
                  </a:cubicBezTo>
                  <a:close/>
                  <a:moveTo>
                    <a:pt x="33338" y="38100"/>
                  </a:move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lnTo>
                    <a:pt x="9525" y="61913"/>
                  </a:lnTo>
                  <a:cubicBezTo>
                    <a:pt x="9525" y="48578"/>
                    <a:pt x="20003" y="38100"/>
                    <a:pt x="33338" y="38100"/>
                  </a:cubicBezTo>
                  <a:close/>
                  <a:moveTo>
                    <a:pt x="233363" y="285750"/>
                  </a:moveTo>
                  <a:lnTo>
                    <a:pt x="33338" y="285750"/>
                  </a:lnTo>
                  <a:cubicBezTo>
                    <a:pt x="20003" y="285750"/>
                    <a:pt x="9525" y="275273"/>
                    <a:pt x="9525" y="261938"/>
                  </a:cubicBezTo>
                  <a:lnTo>
                    <a:pt x="9525" y="95250"/>
                  </a:lnTo>
                  <a:lnTo>
                    <a:pt x="257175" y="95250"/>
                  </a:lnTo>
                  <a:lnTo>
                    <a:pt x="257175" y="261938"/>
                  </a:lnTo>
                  <a:cubicBezTo>
                    <a:pt x="257175" y="275273"/>
                    <a:pt x="246698" y="285750"/>
                    <a:pt x="233363" y="285750"/>
                  </a:cubicBezTo>
                  <a:close/>
                </a:path>
              </a:pathLst>
            </a:custGeom>
            <a:solidFill>
              <a:srgbClr val="101010"/>
            </a:solidFill>
            <a:ln w="9525" cap="flat">
              <a:noFill/>
              <a:prstDash val="solid"/>
              <a:miter/>
            </a:ln>
          </p:spPr>
          <p:txBody>
            <a:bodyPr rtlCol="0" anchor="ctr"/>
            <a:lstStyle/>
            <a:p>
              <a:endParaRPr lang="de-DE"/>
            </a:p>
          </p:txBody>
        </p:sp>
        <p:sp>
          <p:nvSpPr>
            <p:cNvPr id="5144" name="Freeform: Shape 5143">
              <a:extLst>
                <a:ext uri="{FF2B5EF4-FFF2-40B4-BE49-F238E27FC236}">
                  <a16:creationId xmlns:a16="http://schemas.microsoft.com/office/drawing/2014/main" id="{33FEAA9F-556F-4B6B-88E6-51CCAFCFA98A}"/>
                </a:ext>
              </a:extLst>
            </p:cNvPr>
            <p:cNvSpPr/>
            <p:nvPr/>
          </p:nvSpPr>
          <p:spPr>
            <a:xfrm>
              <a:off x="59912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45" name="Graphic 3">
              <a:extLst>
                <a:ext uri="{FF2B5EF4-FFF2-40B4-BE49-F238E27FC236}">
                  <a16:creationId xmlns:a16="http://schemas.microsoft.com/office/drawing/2014/main" id="{D340B09F-5C39-4ECE-AA99-7F9DA758F5D6}"/>
                </a:ext>
              </a:extLst>
            </p:cNvPr>
            <p:cNvGrpSpPr/>
            <p:nvPr/>
          </p:nvGrpSpPr>
          <p:grpSpPr>
            <a:xfrm>
              <a:off x="5991225" y="3452812"/>
              <a:ext cx="38100" cy="38100"/>
              <a:chOff x="5991225" y="3452812"/>
              <a:chExt cx="38100" cy="38100"/>
            </a:xfrm>
            <a:solidFill>
              <a:srgbClr val="231F20"/>
            </a:solidFill>
          </p:grpSpPr>
          <p:sp>
            <p:nvSpPr>
              <p:cNvPr id="5161" name="Freeform: Shape 5160">
                <a:extLst>
                  <a:ext uri="{FF2B5EF4-FFF2-40B4-BE49-F238E27FC236}">
                    <a16:creationId xmlns:a16="http://schemas.microsoft.com/office/drawing/2014/main" id="{033A201F-C738-4DF8-91F0-964CD7EBB6B6}"/>
                  </a:ext>
                </a:extLst>
              </p:cNvPr>
              <p:cNvSpPr/>
              <p:nvPr/>
            </p:nvSpPr>
            <p:spPr>
              <a:xfrm>
                <a:off x="599598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62" name="Freeform: Shape 5161">
                <a:extLst>
                  <a:ext uri="{FF2B5EF4-FFF2-40B4-BE49-F238E27FC236}">
                    <a16:creationId xmlns:a16="http://schemas.microsoft.com/office/drawing/2014/main" id="{38836863-D959-4F94-8DBA-C2260A599E2D}"/>
                  </a:ext>
                </a:extLst>
              </p:cNvPr>
              <p:cNvSpPr/>
              <p:nvPr/>
            </p:nvSpPr>
            <p:spPr>
              <a:xfrm>
                <a:off x="59912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46" name="Freeform: Shape 5145">
              <a:extLst>
                <a:ext uri="{FF2B5EF4-FFF2-40B4-BE49-F238E27FC236}">
                  <a16:creationId xmlns:a16="http://schemas.microsoft.com/office/drawing/2014/main" id="{AC545A70-8945-4594-AFE5-BB95694709F8}"/>
                </a:ext>
              </a:extLst>
            </p:cNvPr>
            <p:cNvSpPr/>
            <p:nvPr/>
          </p:nvSpPr>
          <p:spPr>
            <a:xfrm>
              <a:off x="60483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47" name="Graphic 3">
              <a:extLst>
                <a:ext uri="{FF2B5EF4-FFF2-40B4-BE49-F238E27FC236}">
                  <a16:creationId xmlns:a16="http://schemas.microsoft.com/office/drawing/2014/main" id="{A88B54D0-F346-4824-8AE7-83EE034084D2}"/>
                </a:ext>
              </a:extLst>
            </p:cNvPr>
            <p:cNvGrpSpPr/>
            <p:nvPr/>
          </p:nvGrpSpPr>
          <p:grpSpPr>
            <a:xfrm>
              <a:off x="6048375" y="3452812"/>
              <a:ext cx="38100" cy="38100"/>
              <a:chOff x="6048375" y="3452812"/>
              <a:chExt cx="38100" cy="38100"/>
            </a:xfrm>
            <a:solidFill>
              <a:srgbClr val="231F20"/>
            </a:solidFill>
          </p:grpSpPr>
          <p:sp>
            <p:nvSpPr>
              <p:cNvPr id="5159" name="Freeform: Shape 5158">
                <a:extLst>
                  <a:ext uri="{FF2B5EF4-FFF2-40B4-BE49-F238E27FC236}">
                    <a16:creationId xmlns:a16="http://schemas.microsoft.com/office/drawing/2014/main" id="{A3F6FBCA-676A-40F1-A2CD-993B7794911C}"/>
                  </a:ext>
                </a:extLst>
              </p:cNvPr>
              <p:cNvSpPr/>
              <p:nvPr/>
            </p:nvSpPr>
            <p:spPr>
              <a:xfrm>
                <a:off x="605313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60" name="Freeform: Shape 5159">
                <a:extLst>
                  <a:ext uri="{FF2B5EF4-FFF2-40B4-BE49-F238E27FC236}">
                    <a16:creationId xmlns:a16="http://schemas.microsoft.com/office/drawing/2014/main" id="{94A6EC94-10F9-47F4-A6A1-A5FD1FCDE923}"/>
                  </a:ext>
                </a:extLst>
              </p:cNvPr>
              <p:cNvSpPr/>
              <p:nvPr/>
            </p:nvSpPr>
            <p:spPr>
              <a:xfrm>
                <a:off x="60483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48" name="Freeform: Shape 5147">
              <a:extLst>
                <a:ext uri="{FF2B5EF4-FFF2-40B4-BE49-F238E27FC236}">
                  <a16:creationId xmlns:a16="http://schemas.microsoft.com/office/drawing/2014/main" id="{4E3CF1B9-4C00-498F-8E5E-AE4A427736C1}"/>
                </a:ext>
              </a:extLst>
            </p:cNvPr>
            <p:cNvSpPr/>
            <p:nvPr/>
          </p:nvSpPr>
          <p:spPr>
            <a:xfrm>
              <a:off x="610552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49" name="Graphic 3">
              <a:extLst>
                <a:ext uri="{FF2B5EF4-FFF2-40B4-BE49-F238E27FC236}">
                  <a16:creationId xmlns:a16="http://schemas.microsoft.com/office/drawing/2014/main" id="{0AEE8BD8-DB46-4AC5-80F1-F08365FC1AD4}"/>
                </a:ext>
              </a:extLst>
            </p:cNvPr>
            <p:cNvGrpSpPr/>
            <p:nvPr/>
          </p:nvGrpSpPr>
          <p:grpSpPr>
            <a:xfrm>
              <a:off x="6105525" y="3452812"/>
              <a:ext cx="38100" cy="38100"/>
              <a:chOff x="6105525" y="3452812"/>
              <a:chExt cx="38100" cy="38100"/>
            </a:xfrm>
            <a:solidFill>
              <a:srgbClr val="231F20"/>
            </a:solidFill>
          </p:grpSpPr>
          <p:sp>
            <p:nvSpPr>
              <p:cNvPr id="5157" name="Freeform: Shape 5156">
                <a:extLst>
                  <a:ext uri="{FF2B5EF4-FFF2-40B4-BE49-F238E27FC236}">
                    <a16:creationId xmlns:a16="http://schemas.microsoft.com/office/drawing/2014/main" id="{3EE4045A-15A7-43BF-851B-15839A87A906}"/>
                  </a:ext>
                </a:extLst>
              </p:cNvPr>
              <p:cNvSpPr/>
              <p:nvPr/>
            </p:nvSpPr>
            <p:spPr>
              <a:xfrm>
                <a:off x="611028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58" name="Freeform: Shape 5157">
                <a:extLst>
                  <a:ext uri="{FF2B5EF4-FFF2-40B4-BE49-F238E27FC236}">
                    <a16:creationId xmlns:a16="http://schemas.microsoft.com/office/drawing/2014/main" id="{CB92F836-B7FA-4DC3-A0C9-9E9AE1E323B1}"/>
                  </a:ext>
                </a:extLst>
              </p:cNvPr>
              <p:cNvSpPr/>
              <p:nvPr/>
            </p:nvSpPr>
            <p:spPr>
              <a:xfrm>
                <a:off x="610552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50" name="Freeform: Shape 5149">
              <a:extLst>
                <a:ext uri="{FF2B5EF4-FFF2-40B4-BE49-F238E27FC236}">
                  <a16:creationId xmlns:a16="http://schemas.microsoft.com/office/drawing/2014/main" id="{386CA686-19DC-493E-A4EB-AF907DA1DD52}"/>
                </a:ext>
              </a:extLst>
            </p:cNvPr>
            <p:cNvSpPr/>
            <p:nvPr/>
          </p:nvSpPr>
          <p:spPr>
            <a:xfrm>
              <a:off x="6162675" y="33956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nvGrpSpPr>
            <p:cNvPr id="5151" name="Graphic 3">
              <a:extLst>
                <a:ext uri="{FF2B5EF4-FFF2-40B4-BE49-F238E27FC236}">
                  <a16:creationId xmlns:a16="http://schemas.microsoft.com/office/drawing/2014/main" id="{0A13D0FE-C92F-48F8-A145-D8046B44E626}"/>
                </a:ext>
              </a:extLst>
            </p:cNvPr>
            <p:cNvGrpSpPr/>
            <p:nvPr/>
          </p:nvGrpSpPr>
          <p:grpSpPr>
            <a:xfrm>
              <a:off x="6162675" y="3452812"/>
              <a:ext cx="38100" cy="38100"/>
              <a:chOff x="6162675" y="3452812"/>
              <a:chExt cx="38100" cy="38100"/>
            </a:xfrm>
            <a:solidFill>
              <a:srgbClr val="231F20"/>
            </a:solidFill>
          </p:grpSpPr>
          <p:sp>
            <p:nvSpPr>
              <p:cNvPr id="5155" name="Freeform: Shape 5154">
                <a:extLst>
                  <a:ext uri="{FF2B5EF4-FFF2-40B4-BE49-F238E27FC236}">
                    <a16:creationId xmlns:a16="http://schemas.microsoft.com/office/drawing/2014/main" id="{8BDE7246-ABD9-4551-928E-4803DC7B8FF3}"/>
                  </a:ext>
                </a:extLst>
              </p:cNvPr>
              <p:cNvSpPr/>
              <p:nvPr/>
            </p:nvSpPr>
            <p:spPr>
              <a:xfrm>
                <a:off x="6167438" y="3457575"/>
                <a:ext cx="28575" cy="28575"/>
              </a:xfrm>
              <a:custGeom>
                <a:avLst/>
                <a:gdLst>
                  <a:gd name="connsiteX0" fmla="*/ 23813 w 28575"/>
                  <a:gd name="connsiteY0" fmla="*/ 28575 h 28575"/>
                  <a:gd name="connsiteX1" fmla="*/ 4763 w 28575"/>
                  <a:gd name="connsiteY1" fmla="*/ 28575 h 28575"/>
                  <a:gd name="connsiteX2" fmla="*/ 0 w 28575"/>
                  <a:gd name="connsiteY2" fmla="*/ 23813 h 28575"/>
                  <a:gd name="connsiteX3" fmla="*/ 0 w 28575"/>
                  <a:gd name="connsiteY3" fmla="*/ 4763 h 28575"/>
                  <a:gd name="connsiteX4" fmla="*/ 4763 w 28575"/>
                  <a:gd name="connsiteY4" fmla="*/ 0 h 28575"/>
                  <a:gd name="connsiteX5" fmla="*/ 23813 w 28575"/>
                  <a:gd name="connsiteY5" fmla="*/ 0 h 28575"/>
                  <a:gd name="connsiteX6" fmla="*/ 28575 w 28575"/>
                  <a:gd name="connsiteY6" fmla="*/ 4763 h 28575"/>
                  <a:gd name="connsiteX7" fmla="*/ 28575 w 28575"/>
                  <a:gd name="connsiteY7" fmla="*/ 23813 h 28575"/>
                  <a:gd name="connsiteX8" fmla="*/ 23813 w 28575"/>
                  <a:gd name="connsiteY8"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23813" y="28575"/>
                    </a:moveTo>
                    <a:lnTo>
                      <a:pt x="4763" y="28575"/>
                    </a:lnTo>
                    <a:cubicBezTo>
                      <a:pt x="1905" y="28575"/>
                      <a:pt x="0" y="26670"/>
                      <a:pt x="0" y="23813"/>
                    </a:cubicBezTo>
                    <a:lnTo>
                      <a:pt x="0" y="4763"/>
                    </a:lnTo>
                    <a:cubicBezTo>
                      <a:pt x="0" y="1905"/>
                      <a:pt x="1905" y="0"/>
                      <a:pt x="4763" y="0"/>
                    </a:cubicBezTo>
                    <a:lnTo>
                      <a:pt x="23813" y="0"/>
                    </a:lnTo>
                    <a:cubicBezTo>
                      <a:pt x="26670" y="0"/>
                      <a:pt x="28575" y="1905"/>
                      <a:pt x="28575" y="4763"/>
                    </a:cubicBezTo>
                    <a:lnTo>
                      <a:pt x="28575" y="23813"/>
                    </a:lnTo>
                    <a:cubicBezTo>
                      <a:pt x="28575" y="26670"/>
                      <a:pt x="26670" y="28575"/>
                      <a:pt x="23813" y="28575"/>
                    </a:cubicBezTo>
                    <a:close/>
                  </a:path>
                </a:pathLst>
              </a:custGeom>
              <a:solidFill>
                <a:srgbClr val="231F20"/>
              </a:solidFill>
              <a:ln w="9525" cap="flat">
                <a:noFill/>
                <a:prstDash val="solid"/>
                <a:miter/>
              </a:ln>
            </p:spPr>
            <p:txBody>
              <a:bodyPr rtlCol="0" anchor="ctr"/>
              <a:lstStyle/>
              <a:p>
                <a:endParaRPr lang="de-DE"/>
              </a:p>
            </p:txBody>
          </p:sp>
          <p:sp>
            <p:nvSpPr>
              <p:cNvPr id="5156" name="Freeform: Shape 5155">
                <a:extLst>
                  <a:ext uri="{FF2B5EF4-FFF2-40B4-BE49-F238E27FC236}">
                    <a16:creationId xmlns:a16="http://schemas.microsoft.com/office/drawing/2014/main" id="{4599BFB4-E7B0-46E7-A5AA-16446E14CDCB}"/>
                  </a:ext>
                </a:extLst>
              </p:cNvPr>
              <p:cNvSpPr/>
              <p:nvPr/>
            </p:nvSpPr>
            <p:spPr>
              <a:xfrm>
                <a:off x="6162675" y="345281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231F20"/>
              </a:solidFill>
              <a:ln w="9525" cap="flat">
                <a:noFill/>
                <a:prstDash val="solid"/>
                <a:miter/>
              </a:ln>
            </p:spPr>
            <p:txBody>
              <a:bodyPr rtlCol="0" anchor="ctr"/>
              <a:lstStyle/>
              <a:p>
                <a:endParaRPr lang="de-DE"/>
              </a:p>
            </p:txBody>
          </p:sp>
        </p:grpSp>
        <p:sp>
          <p:nvSpPr>
            <p:cNvPr id="5152" name="Freeform: Shape 5151">
              <a:extLst>
                <a:ext uri="{FF2B5EF4-FFF2-40B4-BE49-F238E27FC236}">
                  <a16:creationId xmlns:a16="http://schemas.microsoft.com/office/drawing/2014/main" id="{C2616E86-68AB-4FAC-8687-ECAD6BDEB491}"/>
                </a:ext>
              </a:extLst>
            </p:cNvPr>
            <p:cNvSpPr/>
            <p:nvPr/>
          </p:nvSpPr>
          <p:spPr>
            <a:xfrm>
              <a:off x="59912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53" name="Freeform: Shape 5152">
              <a:extLst>
                <a:ext uri="{FF2B5EF4-FFF2-40B4-BE49-F238E27FC236}">
                  <a16:creationId xmlns:a16="http://schemas.microsoft.com/office/drawing/2014/main" id="{426F08E9-E012-4EF3-92E3-7F5C259D5AE6}"/>
                </a:ext>
              </a:extLst>
            </p:cNvPr>
            <p:cNvSpPr/>
            <p:nvPr/>
          </p:nvSpPr>
          <p:spPr>
            <a:xfrm>
              <a:off x="604837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sp>
          <p:nvSpPr>
            <p:cNvPr id="5154" name="Freeform: Shape 5153">
              <a:extLst>
                <a:ext uri="{FF2B5EF4-FFF2-40B4-BE49-F238E27FC236}">
                  <a16:creationId xmlns:a16="http://schemas.microsoft.com/office/drawing/2014/main" id="{6787CDB3-08A3-49EB-AAF2-E336B4F53494}"/>
                </a:ext>
              </a:extLst>
            </p:cNvPr>
            <p:cNvSpPr/>
            <p:nvPr/>
          </p:nvSpPr>
          <p:spPr>
            <a:xfrm>
              <a:off x="6105525" y="3509962"/>
              <a:ext cx="38100" cy="38100"/>
            </a:xfrm>
            <a:custGeom>
              <a:avLst/>
              <a:gdLst>
                <a:gd name="connsiteX0" fmla="*/ 28575 w 38100"/>
                <a:gd name="connsiteY0" fmla="*/ 38100 h 38100"/>
                <a:gd name="connsiteX1" fmla="*/ 9525 w 38100"/>
                <a:gd name="connsiteY1" fmla="*/ 38100 h 38100"/>
                <a:gd name="connsiteX2" fmla="*/ 0 w 38100"/>
                <a:gd name="connsiteY2" fmla="*/ 28575 h 38100"/>
                <a:gd name="connsiteX3" fmla="*/ 0 w 38100"/>
                <a:gd name="connsiteY3" fmla="*/ 9525 h 38100"/>
                <a:gd name="connsiteX4" fmla="*/ 9525 w 38100"/>
                <a:gd name="connsiteY4" fmla="*/ 0 h 38100"/>
                <a:gd name="connsiteX5" fmla="*/ 28575 w 38100"/>
                <a:gd name="connsiteY5" fmla="*/ 0 h 38100"/>
                <a:gd name="connsiteX6" fmla="*/ 38100 w 38100"/>
                <a:gd name="connsiteY6" fmla="*/ 9525 h 38100"/>
                <a:gd name="connsiteX7" fmla="*/ 38100 w 38100"/>
                <a:gd name="connsiteY7" fmla="*/ 28575 h 38100"/>
                <a:gd name="connsiteX8" fmla="*/ 28575 w 38100"/>
                <a:gd name="connsiteY8" fmla="*/ 38100 h 38100"/>
                <a:gd name="connsiteX9" fmla="*/ 28575 w 38100"/>
                <a:gd name="connsiteY9" fmla="*/ 28575 h 38100"/>
                <a:gd name="connsiteX10" fmla="*/ 28575 w 38100"/>
                <a:gd name="connsiteY10" fmla="*/ 33338 h 38100"/>
                <a:gd name="connsiteX11" fmla="*/ 28575 w 38100"/>
                <a:gd name="connsiteY11" fmla="*/ 28575 h 38100"/>
                <a:gd name="connsiteX12" fmla="*/ 28575 w 38100"/>
                <a:gd name="connsiteY12" fmla="*/ 28575 h 38100"/>
                <a:gd name="connsiteX13" fmla="*/ 9525 w 38100"/>
                <a:gd name="connsiteY13" fmla="*/ 9525 h 38100"/>
                <a:gd name="connsiteX14" fmla="*/ 9525 w 38100"/>
                <a:gd name="connsiteY14" fmla="*/ 28575 h 38100"/>
                <a:gd name="connsiteX15" fmla="*/ 28575 w 38100"/>
                <a:gd name="connsiteY15" fmla="*/ 28575 h 38100"/>
                <a:gd name="connsiteX16" fmla="*/ 28575 w 38100"/>
                <a:gd name="connsiteY16" fmla="*/ 9525 h 38100"/>
                <a:gd name="connsiteX17" fmla="*/ 9525 w 38100"/>
                <a:gd name="connsiteY17"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38100">
                  <a:moveTo>
                    <a:pt x="28575" y="38100"/>
                  </a:moveTo>
                  <a:lnTo>
                    <a:pt x="9525" y="38100"/>
                  </a:lnTo>
                  <a:cubicBezTo>
                    <a:pt x="3810" y="38100"/>
                    <a:pt x="0" y="34290"/>
                    <a:pt x="0" y="28575"/>
                  </a:cubicBezTo>
                  <a:lnTo>
                    <a:pt x="0" y="9525"/>
                  </a:lnTo>
                  <a:cubicBezTo>
                    <a:pt x="0" y="3810"/>
                    <a:pt x="3810" y="0"/>
                    <a:pt x="9525" y="0"/>
                  </a:cubicBezTo>
                  <a:lnTo>
                    <a:pt x="28575" y="0"/>
                  </a:lnTo>
                  <a:cubicBezTo>
                    <a:pt x="34290" y="0"/>
                    <a:pt x="38100" y="3810"/>
                    <a:pt x="38100" y="9525"/>
                  </a:cubicBezTo>
                  <a:lnTo>
                    <a:pt x="38100" y="28575"/>
                  </a:lnTo>
                  <a:cubicBezTo>
                    <a:pt x="38100" y="34290"/>
                    <a:pt x="34290" y="38100"/>
                    <a:pt x="28575" y="38100"/>
                  </a:cubicBezTo>
                  <a:close/>
                  <a:moveTo>
                    <a:pt x="28575" y="28575"/>
                  </a:moveTo>
                  <a:lnTo>
                    <a:pt x="28575" y="33338"/>
                  </a:lnTo>
                  <a:lnTo>
                    <a:pt x="28575" y="28575"/>
                  </a:lnTo>
                  <a:cubicBezTo>
                    <a:pt x="28575" y="28575"/>
                    <a:pt x="28575" y="28575"/>
                    <a:pt x="28575" y="28575"/>
                  </a:cubicBezTo>
                  <a:close/>
                  <a:moveTo>
                    <a:pt x="9525" y="9525"/>
                  </a:moveTo>
                  <a:lnTo>
                    <a:pt x="9525" y="28575"/>
                  </a:lnTo>
                  <a:lnTo>
                    <a:pt x="28575" y="28575"/>
                  </a:lnTo>
                  <a:lnTo>
                    <a:pt x="28575" y="9525"/>
                  </a:lnTo>
                  <a:lnTo>
                    <a:pt x="9525" y="9525"/>
                  </a:lnTo>
                  <a:close/>
                </a:path>
              </a:pathLst>
            </a:custGeom>
            <a:solidFill>
              <a:srgbClr val="101010"/>
            </a:solidFill>
            <a:ln w="9525" cap="flat">
              <a:noFill/>
              <a:prstDash val="solid"/>
              <a:miter/>
            </a:ln>
          </p:spPr>
          <p:txBody>
            <a:bodyPr rtlCol="0" anchor="ctr"/>
            <a:lstStyle/>
            <a:p>
              <a:endParaRPr lang="de-DE"/>
            </a:p>
          </p:txBody>
        </p:sp>
      </p:grpSp>
      <p:grpSp>
        <p:nvGrpSpPr>
          <p:cNvPr id="5163" name="Graphic 3">
            <a:extLst>
              <a:ext uri="{FF2B5EF4-FFF2-40B4-BE49-F238E27FC236}">
                <a16:creationId xmlns:a16="http://schemas.microsoft.com/office/drawing/2014/main" id="{8A31FA28-2320-44E1-9C96-1487BE858307}"/>
              </a:ext>
              <a:ext uri="{C183D7F6-B498-43B3-948B-1728B52AA6E4}">
                <adec:decorative xmlns:adec="http://schemas.microsoft.com/office/drawing/2017/decorative" val="1"/>
              </a:ext>
            </a:extLst>
          </p:cNvPr>
          <p:cNvGrpSpPr>
            <a:grpSpLocks noChangeAspect="1"/>
          </p:cNvGrpSpPr>
          <p:nvPr/>
        </p:nvGrpSpPr>
        <p:grpSpPr>
          <a:xfrm>
            <a:off x="5639884" y="3457110"/>
            <a:ext cx="127735" cy="134031"/>
            <a:chOff x="5953125" y="3286125"/>
            <a:chExt cx="270510" cy="283845"/>
          </a:xfrm>
        </p:grpSpPr>
        <p:sp>
          <p:nvSpPr>
            <p:cNvPr id="5164" name="Freeform: Shape 5163">
              <a:extLst>
                <a:ext uri="{FF2B5EF4-FFF2-40B4-BE49-F238E27FC236}">
                  <a16:creationId xmlns:a16="http://schemas.microsoft.com/office/drawing/2014/main" id="{A26894CC-11A1-4DB1-AF88-F327F8D21CA8}"/>
                </a:ext>
              </a:extLst>
            </p:cNvPr>
            <p:cNvSpPr/>
            <p:nvPr/>
          </p:nvSpPr>
          <p:spPr>
            <a:xfrm>
              <a:off x="5953125" y="3286125"/>
              <a:ext cx="266700" cy="266700"/>
            </a:xfrm>
            <a:custGeom>
              <a:avLst/>
              <a:gdLst>
                <a:gd name="connsiteX0" fmla="*/ 233363 w 266700"/>
                <a:gd name="connsiteY0" fmla="*/ 28575 h 266700"/>
                <a:gd name="connsiteX1" fmla="*/ 209550 w 266700"/>
                <a:gd name="connsiteY1" fmla="*/ 28575 h 266700"/>
                <a:gd name="connsiteX2" fmla="*/ 209550 w 266700"/>
                <a:gd name="connsiteY2" fmla="*/ 4763 h 266700"/>
                <a:gd name="connsiteX3" fmla="*/ 204788 w 266700"/>
                <a:gd name="connsiteY3" fmla="*/ 0 h 266700"/>
                <a:gd name="connsiteX4" fmla="*/ 200025 w 266700"/>
                <a:gd name="connsiteY4" fmla="*/ 4763 h 266700"/>
                <a:gd name="connsiteX5" fmla="*/ 200025 w 266700"/>
                <a:gd name="connsiteY5" fmla="*/ 28575 h 266700"/>
                <a:gd name="connsiteX6" fmla="*/ 66675 w 266700"/>
                <a:gd name="connsiteY6" fmla="*/ 28575 h 266700"/>
                <a:gd name="connsiteX7" fmla="*/ 66675 w 266700"/>
                <a:gd name="connsiteY7" fmla="*/ 4763 h 266700"/>
                <a:gd name="connsiteX8" fmla="*/ 61913 w 266700"/>
                <a:gd name="connsiteY8" fmla="*/ 0 h 266700"/>
                <a:gd name="connsiteX9" fmla="*/ 57150 w 266700"/>
                <a:gd name="connsiteY9" fmla="*/ 4763 h 266700"/>
                <a:gd name="connsiteX10" fmla="*/ 57150 w 266700"/>
                <a:gd name="connsiteY10" fmla="*/ 28575 h 266700"/>
                <a:gd name="connsiteX11" fmla="*/ 33338 w 266700"/>
                <a:gd name="connsiteY11" fmla="*/ 28575 h 266700"/>
                <a:gd name="connsiteX12" fmla="*/ 0 w 266700"/>
                <a:gd name="connsiteY12" fmla="*/ 61913 h 266700"/>
                <a:gd name="connsiteX13" fmla="*/ 0 w 266700"/>
                <a:gd name="connsiteY13" fmla="*/ 233363 h 266700"/>
                <a:gd name="connsiteX14" fmla="*/ 33338 w 266700"/>
                <a:gd name="connsiteY14" fmla="*/ 266700 h 266700"/>
                <a:gd name="connsiteX15" fmla="*/ 219075 w 266700"/>
                <a:gd name="connsiteY15" fmla="*/ 266700 h 266700"/>
                <a:gd name="connsiteX16" fmla="*/ 223838 w 266700"/>
                <a:gd name="connsiteY16" fmla="*/ 261938 h 266700"/>
                <a:gd name="connsiteX17" fmla="*/ 219075 w 266700"/>
                <a:gd name="connsiteY17" fmla="*/ 257175 h 266700"/>
                <a:gd name="connsiteX18" fmla="*/ 33338 w 266700"/>
                <a:gd name="connsiteY18" fmla="*/ 257175 h 266700"/>
                <a:gd name="connsiteX19" fmla="*/ 9525 w 266700"/>
                <a:gd name="connsiteY19" fmla="*/ 233363 h 266700"/>
                <a:gd name="connsiteX20" fmla="*/ 9525 w 266700"/>
                <a:gd name="connsiteY20" fmla="*/ 95250 h 266700"/>
                <a:gd name="connsiteX21" fmla="*/ 257175 w 266700"/>
                <a:gd name="connsiteY21" fmla="*/ 95250 h 266700"/>
                <a:gd name="connsiteX22" fmla="*/ 257175 w 266700"/>
                <a:gd name="connsiteY22" fmla="*/ 161925 h 266700"/>
                <a:gd name="connsiteX23" fmla="*/ 261938 w 266700"/>
                <a:gd name="connsiteY23" fmla="*/ 166688 h 266700"/>
                <a:gd name="connsiteX24" fmla="*/ 266700 w 266700"/>
                <a:gd name="connsiteY24" fmla="*/ 161925 h 266700"/>
                <a:gd name="connsiteX25" fmla="*/ 266700 w 266700"/>
                <a:gd name="connsiteY25" fmla="*/ 61913 h 266700"/>
                <a:gd name="connsiteX26" fmla="*/ 233363 w 266700"/>
                <a:gd name="connsiteY26" fmla="*/ 28575 h 266700"/>
                <a:gd name="connsiteX27" fmla="*/ 9525 w 266700"/>
                <a:gd name="connsiteY27" fmla="*/ 85725 h 266700"/>
                <a:gd name="connsiteX28" fmla="*/ 9525 w 266700"/>
                <a:gd name="connsiteY28" fmla="*/ 61913 h 266700"/>
                <a:gd name="connsiteX29" fmla="*/ 33338 w 266700"/>
                <a:gd name="connsiteY29" fmla="*/ 38100 h 266700"/>
                <a:gd name="connsiteX30" fmla="*/ 57150 w 266700"/>
                <a:gd name="connsiteY30" fmla="*/ 38100 h 266700"/>
                <a:gd name="connsiteX31" fmla="*/ 57150 w 266700"/>
                <a:gd name="connsiteY31" fmla="*/ 61913 h 266700"/>
                <a:gd name="connsiteX32" fmla="*/ 61913 w 266700"/>
                <a:gd name="connsiteY32" fmla="*/ 66675 h 266700"/>
                <a:gd name="connsiteX33" fmla="*/ 66675 w 266700"/>
                <a:gd name="connsiteY33" fmla="*/ 61913 h 266700"/>
                <a:gd name="connsiteX34" fmla="*/ 66675 w 266700"/>
                <a:gd name="connsiteY34" fmla="*/ 38100 h 266700"/>
                <a:gd name="connsiteX35" fmla="*/ 200025 w 266700"/>
                <a:gd name="connsiteY35" fmla="*/ 38100 h 266700"/>
                <a:gd name="connsiteX36" fmla="*/ 200025 w 266700"/>
                <a:gd name="connsiteY36" fmla="*/ 61913 h 266700"/>
                <a:gd name="connsiteX37" fmla="*/ 204788 w 266700"/>
                <a:gd name="connsiteY37" fmla="*/ 66675 h 266700"/>
                <a:gd name="connsiteX38" fmla="*/ 209550 w 266700"/>
                <a:gd name="connsiteY38" fmla="*/ 61913 h 266700"/>
                <a:gd name="connsiteX39" fmla="*/ 209550 w 266700"/>
                <a:gd name="connsiteY39" fmla="*/ 38100 h 266700"/>
                <a:gd name="connsiteX40" fmla="*/ 233363 w 266700"/>
                <a:gd name="connsiteY40" fmla="*/ 38100 h 266700"/>
                <a:gd name="connsiteX41" fmla="*/ 257175 w 266700"/>
                <a:gd name="connsiteY41" fmla="*/ 61913 h 266700"/>
                <a:gd name="connsiteX42" fmla="*/ 257175 w 266700"/>
                <a:gd name="connsiteY42" fmla="*/ 85725 h 266700"/>
                <a:gd name="connsiteX43" fmla="*/ 9525 w 266700"/>
                <a:gd name="connsiteY43" fmla="*/ 857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6700" h="266700">
                  <a:moveTo>
                    <a:pt x="233363" y="28575"/>
                  </a:moveTo>
                  <a:lnTo>
                    <a:pt x="209550" y="28575"/>
                  </a:lnTo>
                  <a:lnTo>
                    <a:pt x="209550" y="4763"/>
                  </a:lnTo>
                  <a:cubicBezTo>
                    <a:pt x="209550" y="1905"/>
                    <a:pt x="207645" y="0"/>
                    <a:pt x="204788" y="0"/>
                  </a:cubicBezTo>
                  <a:cubicBezTo>
                    <a:pt x="201930" y="0"/>
                    <a:pt x="200025" y="1905"/>
                    <a:pt x="200025" y="4763"/>
                  </a:cubicBezTo>
                  <a:lnTo>
                    <a:pt x="200025" y="28575"/>
                  </a:lnTo>
                  <a:lnTo>
                    <a:pt x="66675" y="28575"/>
                  </a:lnTo>
                  <a:lnTo>
                    <a:pt x="66675" y="4763"/>
                  </a:lnTo>
                  <a:cubicBezTo>
                    <a:pt x="66675" y="1905"/>
                    <a:pt x="64770" y="0"/>
                    <a:pt x="61913" y="0"/>
                  </a:cubicBezTo>
                  <a:cubicBezTo>
                    <a:pt x="59055" y="0"/>
                    <a:pt x="57150" y="1905"/>
                    <a:pt x="57150" y="4763"/>
                  </a:cubicBezTo>
                  <a:lnTo>
                    <a:pt x="57150" y="28575"/>
                  </a:lnTo>
                  <a:lnTo>
                    <a:pt x="33338" y="28575"/>
                  </a:lnTo>
                  <a:cubicBezTo>
                    <a:pt x="15240" y="28575"/>
                    <a:pt x="0" y="43815"/>
                    <a:pt x="0" y="61913"/>
                  </a:cubicBezTo>
                  <a:lnTo>
                    <a:pt x="0" y="233363"/>
                  </a:lnTo>
                  <a:cubicBezTo>
                    <a:pt x="0" y="251460"/>
                    <a:pt x="15240" y="266700"/>
                    <a:pt x="33338" y="266700"/>
                  </a:cubicBezTo>
                  <a:lnTo>
                    <a:pt x="219075" y="266700"/>
                  </a:lnTo>
                  <a:cubicBezTo>
                    <a:pt x="221933" y="266700"/>
                    <a:pt x="223838" y="264795"/>
                    <a:pt x="223838" y="261938"/>
                  </a:cubicBezTo>
                  <a:cubicBezTo>
                    <a:pt x="223838" y="259080"/>
                    <a:pt x="221933" y="257175"/>
                    <a:pt x="219075" y="257175"/>
                  </a:cubicBezTo>
                  <a:lnTo>
                    <a:pt x="33338" y="257175"/>
                  </a:lnTo>
                  <a:cubicBezTo>
                    <a:pt x="20003" y="257175"/>
                    <a:pt x="9525" y="246698"/>
                    <a:pt x="9525" y="233363"/>
                  </a:cubicBezTo>
                  <a:lnTo>
                    <a:pt x="9525" y="95250"/>
                  </a:lnTo>
                  <a:lnTo>
                    <a:pt x="257175" y="95250"/>
                  </a:lnTo>
                  <a:lnTo>
                    <a:pt x="257175" y="161925"/>
                  </a:lnTo>
                  <a:cubicBezTo>
                    <a:pt x="257175" y="164783"/>
                    <a:pt x="259080" y="166688"/>
                    <a:pt x="261938" y="166688"/>
                  </a:cubicBezTo>
                  <a:cubicBezTo>
                    <a:pt x="264795" y="166688"/>
                    <a:pt x="266700" y="164783"/>
                    <a:pt x="266700" y="161925"/>
                  </a:cubicBezTo>
                  <a:lnTo>
                    <a:pt x="266700" y="61913"/>
                  </a:lnTo>
                  <a:cubicBezTo>
                    <a:pt x="266700" y="43815"/>
                    <a:pt x="251460" y="28575"/>
                    <a:pt x="233363" y="28575"/>
                  </a:cubicBezTo>
                  <a:close/>
                  <a:moveTo>
                    <a:pt x="9525" y="85725"/>
                  </a:moveTo>
                  <a:lnTo>
                    <a:pt x="9525" y="61913"/>
                  </a:lnTo>
                  <a:cubicBezTo>
                    <a:pt x="9525" y="48578"/>
                    <a:pt x="20003" y="38100"/>
                    <a:pt x="33338" y="38100"/>
                  </a:cubicBezTo>
                  <a:lnTo>
                    <a:pt x="57150" y="38100"/>
                  </a:lnTo>
                  <a:lnTo>
                    <a:pt x="57150" y="61913"/>
                  </a:lnTo>
                  <a:cubicBezTo>
                    <a:pt x="57150" y="64770"/>
                    <a:pt x="59055" y="66675"/>
                    <a:pt x="61913" y="66675"/>
                  </a:cubicBezTo>
                  <a:cubicBezTo>
                    <a:pt x="64770" y="66675"/>
                    <a:pt x="66675" y="64770"/>
                    <a:pt x="66675" y="61913"/>
                  </a:cubicBezTo>
                  <a:lnTo>
                    <a:pt x="66675" y="38100"/>
                  </a:lnTo>
                  <a:lnTo>
                    <a:pt x="200025" y="38100"/>
                  </a:lnTo>
                  <a:lnTo>
                    <a:pt x="200025" y="61913"/>
                  </a:lnTo>
                  <a:cubicBezTo>
                    <a:pt x="200025" y="64770"/>
                    <a:pt x="201930" y="66675"/>
                    <a:pt x="204788" y="66675"/>
                  </a:cubicBezTo>
                  <a:cubicBezTo>
                    <a:pt x="207645" y="66675"/>
                    <a:pt x="209550" y="64770"/>
                    <a:pt x="209550" y="61913"/>
                  </a:cubicBezTo>
                  <a:lnTo>
                    <a:pt x="209550" y="38100"/>
                  </a:lnTo>
                  <a:lnTo>
                    <a:pt x="233363" y="38100"/>
                  </a:lnTo>
                  <a:cubicBezTo>
                    <a:pt x="246698" y="38100"/>
                    <a:pt x="257175" y="48578"/>
                    <a:pt x="257175" y="61913"/>
                  </a:cubicBezTo>
                  <a:lnTo>
                    <a:pt x="257175" y="85725"/>
                  </a:lnTo>
                  <a:lnTo>
                    <a:pt x="9525" y="85725"/>
                  </a:lnTo>
                  <a:close/>
                </a:path>
              </a:pathLst>
            </a:custGeom>
            <a:solidFill>
              <a:srgbClr val="101010"/>
            </a:solidFill>
            <a:ln w="9525" cap="flat">
              <a:noFill/>
              <a:prstDash val="solid"/>
              <a:miter/>
            </a:ln>
          </p:spPr>
          <p:txBody>
            <a:bodyPr rtlCol="0" anchor="ctr"/>
            <a:lstStyle/>
            <a:p>
              <a:endParaRPr lang="de-DE"/>
            </a:p>
          </p:txBody>
        </p:sp>
        <p:grpSp>
          <p:nvGrpSpPr>
            <p:cNvPr id="5165" name="Graphic 3">
              <a:extLst>
                <a:ext uri="{FF2B5EF4-FFF2-40B4-BE49-F238E27FC236}">
                  <a16:creationId xmlns:a16="http://schemas.microsoft.com/office/drawing/2014/main" id="{DA1F6353-4D4F-439E-98FF-3904DF9D3EB7}"/>
                </a:ext>
              </a:extLst>
            </p:cNvPr>
            <p:cNvGrpSpPr/>
            <p:nvPr/>
          </p:nvGrpSpPr>
          <p:grpSpPr>
            <a:xfrm>
              <a:off x="6204585" y="3550920"/>
              <a:ext cx="19050" cy="19050"/>
              <a:chOff x="6204585" y="3550920"/>
              <a:chExt cx="19050" cy="19050"/>
            </a:xfrm>
            <a:solidFill>
              <a:schemeClr val="accent1"/>
            </a:solidFill>
          </p:grpSpPr>
          <p:grpSp>
            <p:nvGrpSpPr>
              <p:cNvPr id="5166" name="Graphic 3">
                <a:extLst>
                  <a:ext uri="{FF2B5EF4-FFF2-40B4-BE49-F238E27FC236}">
                    <a16:creationId xmlns:a16="http://schemas.microsoft.com/office/drawing/2014/main" id="{0E572152-169D-4F6A-8D74-4B45B8EE9ADD}"/>
                  </a:ext>
                </a:extLst>
              </p:cNvPr>
              <p:cNvGrpSpPr/>
              <p:nvPr/>
            </p:nvGrpSpPr>
            <p:grpSpPr>
              <a:xfrm>
                <a:off x="6204585" y="3550920"/>
                <a:ext cx="19050" cy="19050"/>
                <a:chOff x="6204585" y="3550920"/>
                <a:chExt cx="19050" cy="19050"/>
              </a:xfrm>
              <a:solidFill>
                <a:schemeClr val="accent1"/>
              </a:solidFill>
            </p:grpSpPr>
            <p:sp>
              <p:nvSpPr>
                <p:cNvPr id="5168" name="Freeform: Shape 5167">
                  <a:extLst>
                    <a:ext uri="{FF2B5EF4-FFF2-40B4-BE49-F238E27FC236}">
                      <a16:creationId xmlns:a16="http://schemas.microsoft.com/office/drawing/2014/main" id="{1ADA54B0-EFDC-4FED-A215-9CE333B1B7FD}"/>
                    </a:ext>
                  </a:extLst>
                </p:cNvPr>
                <p:cNvSpPr/>
                <p:nvPr/>
              </p:nvSpPr>
              <p:spPr>
                <a:xfrm>
                  <a:off x="6209348" y="3555683"/>
                  <a:ext cx="9525" cy="9525"/>
                </a:xfrm>
                <a:custGeom>
                  <a:avLst/>
                  <a:gdLst>
                    <a:gd name="connsiteX0" fmla="*/ 11430 w 9525"/>
                    <a:gd name="connsiteY0" fmla="*/ 5715 h 9525"/>
                    <a:gd name="connsiteX1" fmla="*/ 5715 w 9525"/>
                    <a:gd name="connsiteY1" fmla="*/ 11430 h 9525"/>
                    <a:gd name="connsiteX2" fmla="*/ 0 w 9525"/>
                    <a:gd name="connsiteY2" fmla="*/ 5715 h 9525"/>
                    <a:gd name="connsiteX3" fmla="*/ 5715 w 9525"/>
                    <a:gd name="connsiteY3" fmla="*/ 0 h 9525"/>
                    <a:gd name="connsiteX4" fmla="*/ 11430 w 9525"/>
                    <a:gd name="connsiteY4" fmla="*/ 571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430" y="5715"/>
                      </a:moveTo>
                      <a:cubicBezTo>
                        <a:pt x="11430" y="8871"/>
                        <a:pt x="8871" y="11430"/>
                        <a:pt x="5715" y="11430"/>
                      </a:cubicBezTo>
                      <a:cubicBezTo>
                        <a:pt x="2559" y="11430"/>
                        <a:pt x="0" y="8871"/>
                        <a:pt x="0" y="5715"/>
                      </a:cubicBezTo>
                      <a:cubicBezTo>
                        <a:pt x="0" y="2559"/>
                        <a:pt x="2559" y="0"/>
                        <a:pt x="5715" y="0"/>
                      </a:cubicBezTo>
                      <a:cubicBezTo>
                        <a:pt x="8871" y="0"/>
                        <a:pt x="11430" y="2559"/>
                        <a:pt x="11430" y="5715"/>
                      </a:cubicBezTo>
                      <a:close/>
                    </a:path>
                  </a:pathLst>
                </a:custGeom>
                <a:solidFill>
                  <a:srgbClr val="231F20"/>
                </a:solidFill>
                <a:ln w="9525" cap="flat">
                  <a:noFill/>
                  <a:prstDash val="solid"/>
                  <a:miter/>
                </a:ln>
              </p:spPr>
              <p:txBody>
                <a:bodyPr rtlCol="0" anchor="ctr"/>
                <a:lstStyle/>
                <a:p>
                  <a:endParaRPr lang="de-DE"/>
                </a:p>
              </p:txBody>
            </p:sp>
            <p:sp>
              <p:nvSpPr>
                <p:cNvPr id="5169" name="Freeform: Shape 5168">
                  <a:extLst>
                    <a:ext uri="{FF2B5EF4-FFF2-40B4-BE49-F238E27FC236}">
                      <a16:creationId xmlns:a16="http://schemas.microsoft.com/office/drawing/2014/main" id="{54E6C232-5EFB-44F5-B347-8280E365E6C3}"/>
                    </a:ext>
                  </a:extLst>
                </p:cNvPr>
                <p:cNvSpPr/>
                <p:nvPr/>
              </p:nvSpPr>
              <p:spPr>
                <a:xfrm>
                  <a:off x="6204585" y="3550920"/>
                  <a:ext cx="19050" cy="19050"/>
                </a:xfrm>
                <a:custGeom>
                  <a:avLst/>
                  <a:gdLst>
                    <a:gd name="connsiteX0" fmla="*/ 10478 w 19050"/>
                    <a:gd name="connsiteY0" fmla="*/ 20955 h 19050"/>
                    <a:gd name="connsiteX1" fmla="*/ 0 w 19050"/>
                    <a:gd name="connsiteY1" fmla="*/ 10478 h 19050"/>
                    <a:gd name="connsiteX2" fmla="*/ 10478 w 19050"/>
                    <a:gd name="connsiteY2" fmla="*/ 0 h 19050"/>
                    <a:gd name="connsiteX3" fmla="*/ 20955 w 19050"/>
                    <a:gd name="connsiteY3" fmla="*/ 10478 h 19050"/>
                    <a:gd name="connsiteX4" fmla="*/ 10478 w 19050"/>
                    <a:gd name="connsiteY4" fmla="*/ 20955 h 19050"/>
                    <a:gd name="connsiteX5" fmla="*/ 10478 w 19050"/>
                    <a:gd name="connsiteY5" fmla="*/ 10478 h 19050"/>
                    <a:gd name="connsiteX6" fmla="*/ 10478 w 19050"/>
                    <a:gd name="connsiteY6" fmla="*/ 11430 h 19050"/>
                    <a:gd name="connsiteX7" fmla="*/ 10478 w 19050"/>
                    <a:gd name="connsiteY7" fmla="*/ 10478 h 19050"/>
                    <a:gd name="connsiteX8" fmla="*/ 10478 w 19050"/>
                    <a:gd name="connsiteY8" fmla="*/ 10478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19050">
                      <a:moveTo>
                        <a:pt x="10478" y="20955"/>
                      </a:moveTo>
                      <a:cubicBezTo>
                        <a:pt x="4763" y="20955"/>
                        <a:pt x="0" y="16193"/>
                        <a:pt x="0" y="10478"/>
                      </a:cubicBezTo>
                      <a:cubicBezTo>
                        <a:pt x="0" y="4763"/>
                        <a:pt x="4763" y="0"/>
                        <a:pt x="10478" y="0"/>
                      </a:cubicBezTo>
                      <a:cubicBezTo>
                        <a:pt x="16193" y="0"/>
                        <a:pt x="20955" y="4763"/>
                        <a:pt x="20955" y="10478"/>
                      </a:cubicBezTo>
                      <a:cubicBezTo>
                        <a:pt x="20003" y="16193"/>
                        <a:pt x="16193" y="20955"/>
                        <a:pt x="10478" y="20955"/>
                      </a:cubicBezTo>
                      <a:close/>
                      <a:moveTo>
                        <a:pt x="10478" y="10478"/>
                      </a:moveTo>
                      <a:lnTo>
                        <a:pt x="10478" y="11430"/>
                      </a:lnTo>
                      <a:lnTo>
                        <a:pt x="10478" y="10478"/>
                      </a:lnTo>
                      <a:cubicBezTo>
                        <a:pt x="10478" y="10478"/>
                        <a:pt x="10478" y="10478"/>
                        <a:pt x="10478" y="10478"/>
                      </a:cubicBezTo>
                      <a:close/>
                    </a:path>
                  </a:pathLst>
                </a:custGeom>
                <a:solidFill>
                  <a:srgbClr val="101010"/>
                </a:solidFill>
                <a:ln w="9525" cap="flat">
                  <a:noFill/>
                  <a:prstDash val="solid"/>
                  <a:miter/>
                </a:ln>
              </p:spPr>
              <p:txBody>
                <a:bodyPr rtlCol="0" anchor="ctr"/>
                <a:lstStyle/>
                <a:p>
                  <a:endParaRPr lang="de-DE"/>
                </a:p>
              </p:txBody>
            </p:sp>
          </p:grpSp>
          <p:sp>
            <p:nvSpPr>
              <p:cNvPr id="5167" name="Freeform: Shape 5166">
                <a:extLst>
                  <a:ext uri="{FF2B5EF4-FFF2-40B4-BE49-F238E27FC236}">
                    <a16:creationId xmlns:a16="http://schemas.microsoft.com/office/drawing/2014/main" id="{BB0EAF91-0FB6-4A02-8826-73220A901D7D}"/>
                  </a:ext>
                </a:extLst>
              </p:cNvPr>
              <p:cNvSpPr/>
              <p:nvPr/>
            </p:nvSpPr>
            <p:spPr>
              <a:xfrm>
                <a:off x="6179820" y="3466431"/>
                <a:ext cx="57150" cy="66675"/>
              </a:xfrm>
              <a:custGeom>
                <a:avLst/>
                <a:gdLst>
                  <a:gd name="connsiteX0" fmla="*/ 35243 w 57150"/>
                  <a:gd name="connsiteY0" fmla="*/ 75917 h 66675"/>
                  <a:gd name="connsiteX1" fmla="*/ 30480 w 57150"/>
                  <a:gd name="connsiteY1" fmla="*/ 71154 h 66675"/>
                  <a:gd name="connsiteX2" fmla="*/ 30480 w 57150"/>
                  <a:gd name="connsiteY2" fmla="*/ 60677 h 66675"/>
                  <a:gd name="connsiteX3" fmla="*/ 35243 w 57150"/>
                  <a:gd name="connsiteY3" fmla="*/ 51152 h 66675"/>
                  <a:gd name="connsiteX4" fmla="*/ 36195 w 57150"/>
                  <a:gd name="connsiteY4" fmla="*/ 51152 h 66675"/>
                  <a:gd name="connsiteX5" fmla="*/ 50483 w 57150"/>
                  <a:gd name="connsiteY5" fmla="*/ 31149 h 66675"/>
                  <a:gd name="connsiteX6" fmla="*/ 40958 w 57150"/>
                  <a:gd name="connsiteY6" fmla="*/ 14004 h 66675"/>
                  <a:gd name="connsiteX7" fmla="*/ 20955 w 57150"/>
                  <a:gd name="connsiteY7" fmla="*/ 12099 h 66675"/>
                  <a:gd name="connsiteX8" fmla="*/ 9525 w 57150"/>
                  <a:gd name="connsiteY8" fmla="*/ 30197 h 66675"/>
                  <a:gd name="connsiteX9" fmla="*/ 9525 w 57150"/>
                  <a:gd name="connsiteY9" fmla="*/ 33054 h 66675"/>
                  <a:gd name="connsiteX10" fmla="*/ 4763 w 57150"/>
                  <a:gd name="connsiteY10" fmla="*/ 37817 h 66675"/>
                  <a:gd name="connsiteX11" fmla="*/ 0 w 57150"/>
                  <a:gd name="connsiteY11" fmla="*/ 33054 h 66675"/>
                  <a:gd name="connsiteX12" fmla="*/ 0 w 57150"/>
                  <a:gd name="connsiteY12" fmla="*/ 30197 h 66675"/>
                  <a:gd name="connsiteX13" fmla="*/ 17145 w 57150"/>
                  <a:gd name="connsiteY13" fmla="*/ 2574 h 66675"/>
                  <a:gd name="connsiteX14" fmla="*/ 46673 w 57150"/>
                  <a:gd name="connsiteY14" fmla="*/ 5432 h 66675"/>
                  <a:gd name="connsiteX15" fmla="*/ 60008 w 57150"/>
                  <a:gd name="connsiteY15" fmla="*/ 30197 h 66675"/>
                  <a:gd name="connsiteX16" fmla="*/ 39053 w 57150"/>
                  <a:gd name="connsiteY16" fmla="*/ 58772 h 66675"/>
                  <a:gd name="connsiteX17" fmla="*/ 39053 w 57150"/>
                  <a:gd name="connsiteY17" fmla="*/ 58772 h 66675"/>
                  <a:gd name="connsiteX18" fmla="*/ 39053 w 57150"/>
                  <a:gd name="connsiteY18" fmla="*/ 59724 h 66675"/>
                  <a:gd name="connsiteX19" fmla="*/ 39053 w 57150"/>
                  <a:gd name="connsiteY19" fmla="*/ 70202 h 66675"/>
                  <a:gd name="connsiteX20" fmla="*/ 35243 w 57150"/>
                  <a:gd name="connsiteY20" fmla="*/ 75917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150" h="66675">
                    <a:moveTo>
                      <a:pt x="35243" y="75917"/>
                    </a:moveTo>
                    <a:cubicBezTo>
                      <a:pt x="32385" y="75917"/>
                      <a:pt x="30480" y="74012"/>
                      <a:pt x="30480" y="71154"/>
                    </a:cubicBezTo>
                    <a:lnTo>
                      <a:pt x="30480" y="60677"/>
                    </a:lnTo>
                    <a:cubicBezTo>
                      <a:pt x="30480" y="58772"/>
                      <a:pt x="30480" y="53057"/>
                      <a:pt x="35243" y="51152"/>
                    </a:cubicBezTo>
                    <a:cubicBezTo>
                      <a:pt x="35243" y="51152"/>
                      <a:pt x="36195" y="51152"/>
                      <a:pt x="36195" y="51152"/>
                    </a:cubicBezTo>
                    <a:cubicBezTo>
                      <a:pt x="44768" y="48294"/>
                      <a:pt x="50483" y="40674"/>
                      <a:pt x="50483" y="31149"/>
                    </a:cubicBezTo>
                    <a:cubicBezTo>
                      <a:pt x="50483" y="24482"/>
                      <a:pt x="46673" y="17814"/>
                      <a:pt x="40958" y="14004"/>
                    </a:cubicBezTo>
                    <a:cubicBezTo>
                      <a:pt x="35243" y="10194"/>
                      <a:pt x="27623" y="9242"/>
                      <a:pt x="20955" y="12099"/>
                    </a:cubicBezTo>
                    <a:cubicBezTo>
                      <a:pt x="14288" y="14957"/>
                      <a:pt x="9525" y="22577"/>
                      <a:pt x="9525" y="30197"/>
                    </a:cubicBezTo>
                    <a:lnTo>
                      <a:pt x="9525" y="33054"/>
                    </a:lnTo>
                    <a:cubicBezTo>
                      <a:pt x="9525" y="35912"/>
                      <a:pt x="7620" y="37817"/>
                      <a:pt x="4763" y="37817"/>
                    </a:cubicBezTo>
                    <a:cubicBezTo>
                      <a:pt x="1905" y="37817"/>
                      <a:pt x="0" y="35912"/>
                      <a:pt x="0" y="33054"/>
                    </a:cubicBezTo>
                    <a:lnTo>
                      <a:pt x="0" y="30197"/>
                    </a:lnTo>
                    <a:cubicBezTo>
                      <a:pt x="0" y="17814"/>
                      <a:pt x="6668" y="7337"/>
                      <a:pt x="17145" y="2574"/>
                    </a:cubicBezTo>
                    <a:cubicBezTo>
                      <a:pt x="26670" y="-1236"/>
                      <a:pt x="38100" y="-1236"/>
                      <a:pt x="46673" y="5432"/>
                    </a:cubicBezTo>
                    <a:cubicBezTo>
                      <a:pt x="55245" y="11147"/>
                      <a:pt x="60008" y="20672"/>
                      <a:pt x="60008" y="30197"/>
                    </a:cubicBezTo>
                    <a:cubicBezTo>
                      <a:pt x="60008" y="43532"/>
                      <a:pt x="51435" y="54962"/>
                      <a:pt x="39053" y="58772"/>
                    </a:cubicBezTo>
                    <a:cubicBezTo>
                      <a:pt x="39053" y="58772"/>
                      <a:pt x="39053" y="58772"/>
                      <a:pt x="39053" y="58772"/>
                    </a:cubicBezTo>
                    <a:cubicBezTo>
                      <a:pt x="39053" y="58772"/>
                      <a:pt x="39053" y="58772"/>
                      <a:pt x="39053" y="59724"/>
                    </a:cubicBezTo>
                    <a:lnTo>
                      <a:pt x="39053" y="70202"/>
                    </a:lnTo>
                    <a:cubicBezTo>
                      <a:pt x="40005" y="73059"/>
                      <a:pt x="38100" y="75917"/>
                      <a:pt x="35243" y="75917"/>
                    </a:cubicBezTo>
                    <a:close/>
                  </a:path>
                </a:pathLst>
              </a:custGeom>
              <a:solidFill>
                <a:srgbClr val="101010"/>
              </a:solidFill>
              <a:ln w="9525" cap="flat">
                <a:noFill/>
                <a:prstDash val="solid"/>
                <a:miter/>
              </a:ln>
            </p:spPr>
            <p:txBody>
              <a:bodyPr rtlCol="0" anchor="ctr"/>
              <a:lstStyle/>
              <a:p>
                <a:endParaRPr lang="de-DE"/>
              </a:p>
            </p:txBody>
          </p:sp>
        </p:grpSp>
      </p:grpSp>
      <p:grpSp>
        <p:nvGrpSpPr>
          <p:cNvPr id="5170" name="Graphic 3">
            <a:extLst>
              <a:ext uri="{FF2B5EF4-FFF2-40B4-BE49-F238E27FC236}">
                <a16:creationId xmlns:a16="http://schemas.microsoft.com/office/drawing/2014/main" id="{E5B7C00D-B25E-4292-AF60-9449B53590C2}"/>
              </a:ext>
              <a:ext uri="{C183D7F6-B498-43B3-948B-1728B52AA6E4}">
                <adec:decorative xmlns:adec="http://schemas.microsoft.com/office/drawing/2017/decorative" val="1"/>
              </a:ext>
            </a:extLst>
          </p:cNvPr>
          <p:cNvGrpSpPr>
            <a:grpSpLocks noChangeAspect="1"/>
          </p:cNvGrpSpPr>
          <p:nvPr/>
        </p:nvGrpSpPr>
        <p:grpSpPr>
          <a:xfrm>
            <a:off x="591923" y="3823119"/>
            <a:ext cx="116855" cy="103238"/>
            <a:chOff x="5943600" y="3300412"/>
            <a:chExt cx="291465" cy="257502"/>
          </a:xfrm>
        </p:grpSpPr>
        <p:grpSp>
          <p:nvGrpSpPr>
            <p:cNvPr id="5171" name="Graphic 3">
              <a:extLst>
                <a:ext uri="{FF2B5EF4-FFF2-40B4-BE49-F238E27FC236}">
                  <a16:creationId xmlns:a16="http://schemas.microsoft.com/office/drawing/2014/main" id="{D1D73F69-B1B5-4660-9067-EDF8064DB0E7}"/>
                </a:ext>
              </a:extLst>
            </p:cNvPr>
            <p:cNvGrpSpPr/>
            <p:nvPr/>
          </p:nvGrpSpPr>
          <p:grpSpPr>
            <a:xfrm>
              <a:off x="5943600" y="3348037"/>
              <a:ext cx="180975" cy="180975"/>
              <a:chOff x="5943600" y="3348037"/>
              <a:chExt cx="180975" cy="180975"/>
            </a:xfrm>
            <a:solidFill>
              <a:srgbClr val="101010"/>
            </a:solidFill>
          </p:grpSpPr>
          <p:sp>
            <p:nvSpPr>
              <p:cNvPr id="5178" name="Freeform: Shape 5177">
                <a:extLst>
                  <a:ext uri="{FF2B5EF4-FFF2-40B4-BE49-F238E27FC236}">
                    <a16:creationId xmlns:a16="http://schemas.microsoft.com/office/drawing/2014/main" id="{65E067A5-6AB1-4FC3-B686-26C0D1A4959D}"/>
                  </a:ext>
                </a:extLst>
              </p:cNvPr>
              <p:cNvSpPr/>
              <p:nvPr/>
            </p:nvSpPr>
            <p:spPr>
              <a:xfrm>
                <a:off x="5943600" y="3348037"/>
                <a:ext cx="180975" cy="180975"/>
              </a:xfrm>
              <a:custGeom>
                <a:avLst/>
                <a:gdLst>
                  <a:gd name="connsiteX0" fmla="*/ 105728 w 180975"/>
                  <a:gd name="connsiteY0" fmla="*/ 180975 h 180975"/>
                  <a:gd name="connsiteX1" fmla="*/ 75248 w 180975"/>
                  <a:gd name="connsiteY1" fmla="*/ 180975 h 180975"/>
                  <a:gd name="connsiteX2" fmla="*/ 70485 w 180975"/>
                  <a:gd name="connsiteY2" fmla="*/ 178118 h 180975"/>
                  <a:gd name="connsiteX3" fmla="*/ 65723 w 180975"/>
                  <a:gd name="connsiteY3" fmla="*/ 164783 h 180975"/>
                  <a:gd name="connsiteX4" fmla="*/ 55245 w 180975"/>
                  <a:gd name="connsiteY4" fmla="*/ 160020 h 180975"/>
                  <a:gd name="connsiteX5" fmla="*/ 42863 w 180975"/>
                  <a:gd name="connsiteY5" fmla="*/ 165735 h 180975"/>
                  <a:gd name="connsiteX6" fmla="*/ 37148 w 180975"/>
                  <a:gd name="connsiteY6" fmla="*/ 164783 h 180975"/>
                  <a:gd name="connsiteX7" fmla="*/ 15240 w 180975"/>
                  <a:gd name="connsiteY7" fmla="*/ 142875 h 180975"/>
                  <a:gd name="connsiteX8" fmla="*/ 14288 w 180975"/>
                  <a:gd name="connsiteY8" fmla="*/ 137160 h 180975"/>
                  <a:gd name="connsiteX9" fmla="*/ 20003 w 180975"/>
                  <a:gd name="connsiteY9" fmla="*/ 124778 h 180975"/>
                  <a:gd name="connsiteX10" fmla="*/ 16193 w 180975"/>
                  <a:gd name="connsiteY10" fmla="*/ 114300 h 180975"/>
                  <a:gd name="connsiteX11" fmla="*/ 2858 w 180975"/>
                  <a:gd name="connsiteY11" fmla="*/ 109538 h 180975"/>
                  <a:gd name="connsiteX12" fmla="*/ 0 w 180975"/>
                  <a:gd name="connsiteY12" fmla="*/ 105728 h 180975"/>
                  <a:gd name="connsiteX13" fmla="*/ 0 w 180975"/>
                  <a:gd name="connsiteY13" fmla="*/ 75248 h 180975"/>
                  <a:gd name="connsiteX14" fmla="*/ 2858 w 180975"/>
                  <a:gd name="connsiteY14" fmla="*/ 70485 h 180975"/>
                  <a:gd name="connsiteX15" fmla="*/ 16193 w 180975"/>
                  <a:gd name="connsiteY15" fmla="*/ 65723 h 180975"/>
                  <a:gd name="connsiteX16" fmla="*/ 20955 w 180975"/>
                  <a:gd name="connsiteY16" fmla="*/ 55245 h 180975"/>
                  <a:gd name="connsiteX17" fmla="*/ 15240 w 180975"/>
                  <a:gd name="connsiteY17" fmla="*/ 41910 h 180975"/>
                  <a:gd name="connsiteX18" fmla="*/ 15240 w 180975"/>
                  <a:gd name="connsiteY18" fmla="*/ 37147 h 180975"/>
                  <a:gd name="connsiteX19" fmla="*/ 37148 w 180975"/>
                  <a:gd name="connsiteY19" fmla="*/ 15240 h 180975"/>
                  <a:gd name="connsiteX20" fmla="*/ 42863 w 180975"/>
                  <a:gd name="connsiteY20" fmla="*/ 14288 h 180975"/>
                  <a:gd name="connsiteX21" fmla="*/ 55245 w 180975"/>
                  <a:gd name="connsiteY21" fmla="*/ 20003 h 180975"/>
                  <a:gd name="connsiteX22" fmla="*/ 65723 w 180975"/>
                  <a:gd name="connsiteY22" fmla="*/ 15240 h 180975"/>
                  <a:gd name="connsiteX23" fmla="*/ 70485 w 180975"/>
                  <a:gd name="connsiteY23" fmla="*/ 1905 h 180975"/>
                  <a:gd name="connsiteX24" fmla="*/ 75248 w 180975"/>
                  <a:gd name="connsiteY24" fmla="*/ 0 h 180975"/>
                  <a:gd name="connsiteX25" fmla="*/ 90488 w 180975"/>
                  <a:gd name="connsiteY25" fmla="*/ 0 h 180975"/>
                  <a:gd name="connsiteX26" fmla="*/ 105728 w 180975"/>
                  <a:gd name="connsiteY26" fmla="*/ 0 h 180975"/>
                  <a:gd name="connsiteX27" fmla="*/ 110490 w 180975"/>
                  <a:gd name="connsiteY27" fmla="*/ 2858 h 180975"/>
                  <a:gd name="connsiteX28" fmla="*/ 115253 w 180975"/>
                  <a:gd name="connsiteY28" fmla="*/ 16192 h 180975"/>
                  <a:gd name="connsiteX29" fmla="*/ 125730 w 180975"/>
                  <a:gd name="connsiteY29" fmla="*/ 20955 h 180975"/>
                  <a:gd name="connsiteX30" fmla="*/ 138113 w 180975"/>
                  <a:gd name="connsiteY30" fmla="*/ 15240 h 180975"/>
                  <a:gd name="connsiteX31" fmla="*/ 143828 w 180975"/>
                  <a:gd name="connsiteY31" fmla="*/ 16192 h 180975"/>
                  <a:gd name="connsiteX32" fmla="*/ 165735 w 180975"/>
                  <a:gd name="connsiteY32" fmla="*/ 38100 h 180975"/>
                  <a:gd name="connsiteX33" fmla="*/ 166688 w 180975"/>
                  <a:gd name="connsiteY33" fmla="*/ 43815 h 180975"/>
                  <a:gd name="connsiteX34" fmla="*/ 160973 w 180975"/>
                  <a:gd name="connsiteY34" fmla="*/ 56197 h 180975"/>
                  <a:gd name="connsiteX35" fmla="*/ 165735 w 180975"/>
                  <a:gd name="connsiteY35" fmla="*/ 66675 h 180975"/>
                  <a:gd name="connsiteX36" fmla="*/ 179070 w 180975"/>
                  <a:gd name="connsiteY36" fmla="*/ 71438 h 180975"/>
                  <a:gd name="connsiteX37" fmla="*/ 181928 w 180975"/>
                  <a:gd name="connsiteY37" fmla="*/ 76200 h 180975"/>
                  <a:gd name="connsiteX38" fmla="*/ 181928 w 180975"/>
                  <a:gd name="connsiteY38" fmla="*/ 106680 h 180975"/>
                  <a:gd name="connsiteX39" fmla="*/ 179070 w 180975"/>
                  <a:gd name="connsiteY39" fmla="*/ 111443 h 180975"/>
                  <a:gd name="connsiteX40" fmla="*/ 164783 w 180975"/>
                  <a:gd name="connsiteY40" fmla="*/ 114300 h 180975"/>
                  <a:gd name="connsiteX41" fmla="*/ 160020 w 180975"/>
                  <a:gd name="connsiteY41" fmla="*/ 124778 h 180975"/>
                  <a:gd name="connsiteX42" fmla="*/ 165735 w 180975"/>
                  <a:gd name="connsiteY42" fmla="*/ 137160 h 180975"/>
                  <a:gd name="connsiteX43" fmla="*/ 164783 w 180975"/>
                  <a:gd name="connsiteY43" fmla="*/ 142875 h 180975"/>
                  <a:gd name="connsiteX44" fmla="*/ 142875 w 180975"/>
                  <a:gd name="connsiteY44" fmla="*/ 164783 h 180975"/>
                  <a:gd name="connsiteX45" fmla="*/ 137160 w 180975"/>
                  <a:gd name="connsiteY45" fmla="*/ 165735 h 180975"/>
                  <a:gd name="connsiteX46" fmla="*/ 124778 w 180975"/>
                  <a:gd name="connsiteY46" fmla="*/ 160020 h 180975"/>
                  <a:gd name="connsiteX47" fmla="*/ 114300 w 180975"/>
                  <a:gd name="connsiteY47" fmla="*/ 164783 h 180975"/>
                  <a:gd name="connsiteX48" fmla="*/ 109538 w 180975"/>
                  <a:gd name="connsiteY48" fmla="*/ 178118 h 180975"/>
                  <a:gd name="connsiteX49" fmla="*/ 105728 w 180975"/>
                  <a:gd name="connsiteY49" fmla="*/ 180975 h 180975"/>
                  <a:gd name="connsiteX50" fmla="*/ 79058 w 180975"/>
                  <a:gd name="connsiteY50" fmla="*/ 171450 h 180975"/>
                  <a:gd name="connsiteX51" fmla="*/ 102870 w 180975"/>
                  <a:gd name="connsiteY51" fmla="*/ 171450 h 180975"/>
                  <a:gd name="connsiteX52" fmla="*/ 106680 w 180975"/>
                  <a:gd name="connsiteY52" fmla="*/ 159068 h 180975"/>
                  <a:gd name="connsiteX53" fmla="*/ 109538 w 180975"/>
                  <a:gd name="connsiteY53" fmla="*/ 156210 h 180975"/>
                  <a:gd name="connsiteX54" fmla="*/ 122873 w 180975"/>
                  <a:gd name="connsiteY54" fmla="*/ 150495 h 180975"/>
                  <a:gd name="connsiteX55" fmla="*/ 127635 w 180975"/>
                  <a:gd name="connsiteY55" fmla="*/ 150495 h 180975"/>
                  <a:gd name="connsiteX56" fmla="*/ 139065 w 180975"/>
                  <a:gd name="connsiteY56" fmla="*/ 156210 h 180975"/>
                  <a:gd name="connsiteX57" fmla="*/ 156210 w 180975"/>
                  <a:gd name="connsiteY57" fmla="*/ 139065 h 180975"/>
                  <a:gd name="connsiteX58" fmla="*/ 150495 w 180975"/>
                  <a:gd name="connsiteY58" fmla="*/ 127635 h 180975"/>
                  <a:gd name="connsiteX59" fmla="*/ 150495 w 180975"/>
                  <a:gd name="connsiteY59" fmla="*/ 122873 h 180975"/>
                  <a:gd name="connsiteX60" fmla="*/ 156210 w 180975"/>
                  <a:gd name="connsiteY60" fmla="*/ 109538 h 180975"/>
                  <a:gd name="connsiteX61" fmla="*/ 159068 w 180975"/>
                  <a:gd name="connsiteY61" fmla="*/ 106680 h 180975"/>
                  <a:gd name="connsiteX62" fmla="*/ 171450 w 180975"/>
                  <a:gd name="connsiteY62" fmla="*/ 102870 h 180975"/>
                  <a:gd name="connsiteX63" fmla="*/ 171450 w 180975"/>
                  <a:gd name="connsiteY63" fmla="*/ 79058 h 180975"/>
                  <a:gd name="connsiteX64" fmla="*/ 159068 w 180975"/>
                  <a:gd name="connsiteY64" fmla="*/ 75248 h 180975"/>
                  <a:gd name="connsiteX65" fmla="*/ 156210 w 180975"/>
                  <a:gd name="connsiteY65" fmla="*/ 72390 h 180975"/>
                  <a:gd name="connsiteX66" fmla="*/ 150495 w 180975"/>
                  <a:gd name="connsiteY66" fmla="*/ 59055 h 180975"/>
                  <a:gd name="connsiteX67" fmla="*/ 150495 w 180975"/>
                  <a:gd name="connsiteY67" fmla="*/ 54293 h 180975"/>
                  <a:gd name="connsiteX68" fmla="*/ 156210 w 180975"/>
                  <a:gd name="connsiteY68" fmla="*/ 42863 h 180975"/>
                  <a:gd name="connsiteX69" fmla="*/ 139065 w 180975"/>
                  <a:gd name="connsiteY69" fmla="*/ 25717 h 180975"/>
                  <a:gd name="connsiteX70" fmla="*/ 127635 w 180975"/>
                  <a:gd name="connsiteY70" fmla="*/ 31433 h 180975"/>
                  <a:gd name="connsiteX71" fmla="*/ 122873 w 180975"/>
                  <a:gd name="connsiteY71" fmla="*/ 31433 h 180975"/>
                  <a:gd name="connsiteX72" fmla="*/ 109538 w 180975"/>
                  <a:gd name="connsiteY72" fmla="*/ 25717 h 180975"/>
                  <a:gd name="connsiteX73" fmla="*/ 106680 w 180975"/>
                  <a:gd name="connsiteY73" fmla="*/ 22860 h 180975"/>
                  <a:gd name="connsiteX74" fmla="*/ 102870 w 180975"/>
                  <a:gd name="connsiteY74" fmla="*/ 9525 h 180975"/>
                  <a:gd name="connsiteX75" fmla="*/ 90488 w 180975"/>
                  <a:gd name="connsiteY75" fmla="*/ 9525 h 180975"/>
                  <a:gd name="connsiteX76" fmla="*/ 79058 w 180975"/>
                  <a:gd name="connsiteY76" fmla="*/ 9525 h 180975"/>
                  <a:gd name="connsiteX77" fmla="*/ 74295 w 180975"/>
                  <a:gd name="connsiteY77" fmla="*/ 20955 h 180975"/>
                  <a:gd name="connsiteX78" fmla="*/ 71438 w 180975"/>
                  <a:gd name="connsiteY78" fmla="*/ 23813 h 180975"/>
                  <a:gd name="connsiteX79" fmla="*/ 58103 w 180975"/>
                  <a:gd name="connsiteY79" fmla="*/ 29528 h 180975"/>
                  <a:gd name="connsiteX80" fmla="*/ 53340 w 180975"/>
                  <a:gd name="connsiteY80" fmla="*/ 29528 h 180975"/>
                  <a:gd name="connsiteX81" fmla="*/ 41910 w 180975"/>
                  <a:gd name="connsiteY81" fmla="*/ 24765 h 180975"/>
                  <a:gd name="connsiteX82" fmla="*/ 24765 w 180975"/>
                  <a:gd name="connsiteY82" fmla="*/ 40958 h 180975"/>
                  <a:gd name="connsiteX83" fmla="*/ 30480 w 180975"/>
                  <a:gd name="connsiteY83" fmla="*/ 52388 h 180975"/>
                  <a:gd name="connsiteX84" fmla="*/ 30480 w 180975"/>
                  <a:gd name="connsiteY84" fmla="*/ 57150 h 180975"/>
                  <a:gd name="connsiteX85" fmla="*/ 24765 w 180975"/>
                  <a:gd name="connsiteY85" fmla="*/ 70485 h 180975"/>
                  <a:gd name="connsiteX86" fmla="*/ 21908 w 180975"/>
                  <a:gd name="connsiteY86" fmla="*/ 73343 h 180975"/>
                  <a:gd name="connsiteX87" fmla="*/ 9525 w 180975"/>
                  <a:gd name="connsiteY87" fmla="*/ 78105 h 180975"/>
                  <a:gd name="connsiteX88" fmla="*/ 9525 w 180975"/>
                  <a:gd name="connsiteY88" fmla="*/ 101918 h 180975"/>
                  <a:gd name="connsiteX89" fmla="*/ 21908 w 180975"/>
                  <a:gd name="connsiteY89" fmla="*/ 105728 h 180975"/>
                  <a:gd name="connsiteX90" fmla="*/ 24765 w 180975"/>
                  <a:gd name="connsiteY90" fmla="*/ 108585 h 180975"/>
                  <a:gd name="connsiteX91" fmla="*/ 30480 w 180975"/>
                  <a:gd name="connsiteY91" fmla="*/ 121920 h 180975"/>
                  <a:gd name="connsiteX92" fmla="*/ 30480 w 180975"/>
                  <a:gd name="connsiteY92" fmla="*/ 126682 h 180975"/>
                  <a:gd name="connsiteX93" fmla="*/ 24765 w 180975"/>
                  <a:gd name="connsiteY93" fmla="*/ 138113 h 180975"/>
                  <a:gd name="connsiteX94" fmla="*/ 41910 w 180975"/>
                  <a:gd name="connsiteY94" fmla="*/ 155258 h 180975"/>
                  <a:gd name="connsiteX95" fmla="*/ 53340 w 180975"/>
                  <a:gd name="connsiteY95" fmla="*/ 149543 h 180975"/>
                  <a:gd name="connsiteX96" fmla="*/ 58103 w 180975"/>
                  <a:gd name="connsiteY96" fmla="*/ 149543 h 180975"/>
                  <a:gd name="connsiteX97" fmla="*/ 71438 w 180975"/>
                  <a:gd name="connsiteY97" fmla="*/ 156210 h 180975"/>
                  <a:gd name="connsiteX98" fmla="*/ 74295 w 180975"/>
                  <a:gd name="connsiteY98" fmla="*/ 159068 h 180975"/>
                  <a:gd name="connsiteX99" fmla="*/ 79058 w 180975"/>
                  <a:gd name="connsiteY99" fmla="*/ 1714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80975" h="180975">
                    <a:moveTo>
                      <a:pt x="105728" y="180975"/>
                    </a:moveTo>
                    <a:lnTo>
                      <a:pt x="75248" y="180975"/>
                    </a:lnTo>
                    <a:cubicBezTo>
                      <a:pt x="73343" y="180975"/>
                      <a:pt x="71438" y="180023"/>
                      <a:pt x="70485" y="178118"/>
                    </a:cubicBezTo>
                    <a:lnTo>
                      <a:pt x="65723" y="164783"/>
                    </a:lnTo>
                    <a:cubicBezTo>
                      <a:pt x="61913" y="163830"/>
                      <a:pt x="58103" y="161925"/>
                      <a:pt x="55245" y="160020"/>
                    </a:cubicBezTo>
                    <a:lnTo>
                      <a:pt x="42863" y="165735"/>
                    </a:lnTo>
                    <a:cubicBezTo>
                      <a:pt x="40958" y="166688"/>
                      <a:pt x="39053" y="166688"/>
                      <a:pt x="37148" y="164783"/>
                    </a:cubicBezTo>
                    <a:lnTo>
                      <a:pt x="15240" y="142875"/>
                    </a:lnTo>
                    <a:cubicBezTo>
                      <a:pt x="13335" y="140970"/>
                      <a:pt x="13335" y="139065"/>
                      <a:pt x="14288" y="137160"/>
                    </a:cubicBezTo>
                    <a:lnTo>
                      <a:pt x="20003" y="124778"/>
                    </a:lnTo>
                    <a:cubicBezTo>
                      <a:pt x="19050" y="121920"/>
                      <a:pt x="17145" y="118110"/>
                      <a:pt x="16193" y="114300"/>
                    </a:cubicBezTo>
                    <a:lnTo>
                      <a:pt x="2858" y="109538"/>
                    </a:lnTo>
                    <a:cubicBezTo>
                      <a:pt x="953" y="109538"/>
                      <a:pt x="0" y="107632"/>
                      <a:pt x="0" y="105728"/>
                    </a:cubicBezTo>
                    <a:lnTo>
                      <a:pt x="0" y="75248"/>
                    </a:lnTo>
                    <a:cubicBezTo>
                      <a:pt x="0" y="73343"/>
                      <a:pt x="953" y="71438"/>
                      <a:pt x="2858" y="70485"/>
                    </a:cubicBezTo>
                    <a:lnTo>
                      <a:pt x="16193" y="65723"/>
                    </a:lnTo>
                    <a:cubicBezTo>
                      <a:pt x="17145" y="61913"/>
                      <a:pt x="19050" y="58103"/>
                      <a:pt x="20955" y="55245"/>
                    </a:cubicBezTo>
                    <a:lnTo>
                      <a:pt x="15240" y="41910"/>
                    </a:lnTo>
                    <a:cubicBezTo>
                      <a:pt x="14288" y="40958"/>
                      <a:pt x="14288" y="38100"/>
                      <a:pt x="15240" y="37147"/>
                    </a:cubicBezTo>
                    <a:lnTo>
                      <a:pt x="37148" y="15240"/>
                    </a:lnTo>
                    <a:cubicBezTo>
                      <a:pt x="38100" y="14288"/>
                      <a:pt x="40958" y="13335"/>
                      <a:pt x="42863" y="14288"/>
                    </a:cubicBezTo>
                    <a:lnTo>
                      <a:pt x="55245" y="20003"/>
                    </a:lnTo>
                    <a:cubicBezTo>
                      <a:pt x="59055" y="18098"/>
                      <a:pt x="62865" y="17145"/>
                      <a:pt x="65723" y="15240"/>
                    </a:cubicBezTo>
                    <a:lnTo>
                      <a:pt x="70485" y="1905"/>
                    </a:lnTo>
                    <a:cubicBezTo>
                      <a:pt x="71438" y="952"/>
                      <a:pt x="73343" y="0"/>
                      <a:pt x="75248" y="0"/>
                    </a:cubicBezTo>
                    <a:lnTo>
                      <a:pt x="90488" y="0"/>
                    </a:lnTo>
                    <a:lnTo>
                      <a:pt x="105728" y="0"/>
                    </a:lnTo>
                    <a:cubicBezTo>
                      <a:pt x="107633" y="0"/>
                      <a:pt x="109538" y="952"/>
                      <a:pt x="110490" y="2858"/>
                    </a:cubicBezTo>
                    <a:lnTo>
                      <a:pt x="115253" y="16192"/>
                    </a:lnTo>
                    <a:cubicBezTo>
                      <a:pt x="119063" y="17145"/>
                      <a:pt x="122873" y="19050"/>
                      <a:pt x="125730" y="20955"/>
                    </a:cubicBezTo>
                    <a:lnTo>
                      <a:pt x="138113" y="15240"/>
                    </a:lnTo>
                    <a:cubicBezTo>
                      <a:pt x="140018" y="14288"/>
                      <a:pt x="141923" y="14288"/>
                      <a:pt x="143828" y="16192"/>
                    </a:cubicBezTo>
                    <a:lnTo>
                      <a:pt x="165735" y="38100"/>
                    </a:lnTo>
                    <a:cubicBezTo>
                      <a:pt x="167640" y="40005"/>
                      <a:pt x="167640" y="41910"/>
                      <a:pt x="166688" y="43815"/>
                    </a:cubicBezTo>
                    <a:lnTo>
                      <a:pt x="160973" y="56197"/>
                    </a:lnTo>
                    <a:cubicBezTo>
                      <a:pt x="162878" y="60008"/>
                      <a:pt x="163830" y="63818"/>
                      <a:pt x="165735" y="66675"/>
                    </a:cubicBezTo>
                    <a:lnTo>
                      <a:pt x="179070" y="71438"/>
                    </a:lnTo>
                    <a:cubicBezTo>
                      <a:pt x="180975" y="72390"/>
                      <a:pt x="181928" y="74295"/>
                      <a:pt x="181928" y="76200"/>
                    </a:cubicBezTo>
                    <a:lnTo>
                      <a:pt x="181928" y="106680"/>
                    </a:lnTo>
                    <a:cubicBezTo>
                      <a:pt x="181928" y="108585"/>
                      <a:pt x="180975" y="110490"/>
                      <a:pt x="179070" y="111443"/>
                    </a:cubicBezTo>
                    <a:lnTo>
                      <a:pt x="164783" y="114300"/>
                    </a:lnTo>
                    <a:cubicBezTo>
                      <a:pt x="163830" y="118110"/>
                      <a:pt x="161925" y="121920"/>
                      <a:pt x="160020" y="124778"/>
                    </a:cubicBezTo>
                    <a:lnTo>
                      <a:pt x="165735" y="137160"/>
                    </a:lnTo>
                    <a:cubicBezTo>
                      <a:pt x="166688" y="139065"/>
                      <a:pt x="166688" y="140970"/>
                      <a:pt x="164783" y="142875"/>
                    </a:cubicBezTo>
                    <a:lnTo>
                      <a:pt x="142875" y="164783"/>
                    </a:lnTo>
                    <a:cubicBezTo>
                      <a:pt x="141923" y="166688"/>
                      <a:pt x="139065" y="166688"/>
                      <a:pt x="137160" y="165735"/>
                    </a:cubicBezTo>
                    <a:lnTo>
                      <a:pt x="124778" y="160020"/>
                    </a:lnTo>
                    <a:cubicBezTo>
                      <a:pt x="120968" y="161925"/>
                      <a:pt x="117158" y="162878"/>
                      <a:pt x="114300" y="164783"/>
                    </a:cubicBezTo>
                    <a:lnTo>
                      <a:pt x="109538" y="178118"/>
                    </a:lnTo>
                    <a:cubicBezTo>
                      <a:pt x="109538" y="179070"/>
                      <a:pt x="107633" y="180975"/>
                      <a:pt x="105728" y="180975"/>
                    </a:cubicBezTo>
                    <a:close/>
                    <a:moveTo>
                      <a:pt x="79058" y="171450"/>
                    </a:moveTo>
                    <a:lnTo>
                      <a:pt x="102870" y="171450"/>
                    </a:lnTo>
                    <a:lnTo>
                      <a:pt x="106680" y="159068"/>
                    </a:lnTo>
                    <a:cubicBezTo>
                      <a:pt x="107633" y="157163"/>
                      <a:pt x="108585" y="156210"/>
                      <a:pt x="109538" y="156210"/>
                    </a:cubicBezTo>
                    <a:cubicBezTo>
                      <a:pt x="114300" y="155258"/>
                      <a:pt x="119063" y="153353"/>
                      <a:pt x="122873" y="150495"/>
                    </a:cubicBezTo>
                    <a:cubicBezTo>
                      <a:pt x="123825" y="149543"/>
                      <a:pt x="125730" y="149543"/>
                      <a:pt x="127635" y="150495"/>
                    </a:cubicBezTo>
                    <a:lnTo>
                      <a:pt x="139065" y="156210"/>
                    </a:lnTo>
                    <a:lnTo>
                      <a:pt x="156210" y="139065"/>
                    </a:lnTo>
                    <a:lnTo>
                      <a:pt x="150495" y="127635"/>
                    </a:lnTo>
                    <a:cubicBezTo>
                      <a:pt x="149543" y="126682"/>
                      <a:pt x="149543" y="124778"/>
                      <a:pt x="150495" y="122873"/>
                    </a:cubicBezTo>
                    <a:cubicBezTo>
                      <a:pt x="153353" y="118110"/>
                      <a:pt x="155258" y="114300"/>
                      <a:pt x="156210" y="109538"/>
                    </a:cubicBezTo>
                    <a:cubicBezTo>
                      <a:pt x="156210" y="107632"/>
                      <a:pt x="158115" y="106680"/>
                      <a:pt x="159068" y="106680"/>
                    </a:cubicBezTo>
                    <a:lnTo>
                      <a:pt x="171450" y="102870"/>
                    </a:lnTo>
                    <a:lnTo>
                      <a:pt x="171450" y="79058"/>
                    </a:lnTo>
                    <a:lnTo>
                      <a:pt x="159068" y="75248"/>
                    </a:lnTo>
                    <a:cubicBezTo>
                      <a:pt x="157163" y="74295"/>
                      <a:pt x="156210" y="73343"/>
                      <a:pt x="156210" y="72390"/>
                    </a:cubicBezTo>
                    <a:cubicBezTo>
                      <a:pt x="155258" y="67628"/>
                      <a:pt x="153353" y="62865"/>
                      <a:pt x="150495" y="59055"/>
                    </a:cubicBezTo>
                    <a:cubicBezTo>
                      <a:pt x="149543" y="58103"/>
                      <a:pt x="149543" y="56197"/>
                      <a:pt x="150495" y="54293"/>
                    </a:cubicBezTo>
                    <a:lnTo>
                      <a:pt x="156210" y="42863"/>
                    </a:lnTo>
                    <a:lnTo>
                      <a:pt x="139065" y="25717"/>
                    </a:lnTo>
                    <a:lnTo>
                      <a:pt x="127635" y="31433"/>
                    </a:lnTo>
                    <a:cubicBezTo>
                      <a:pt x="126683" y="32385"/>
                      <a:pt x="124778" y="32385"/>
                      <a:pt x="122873" y="31433"/>
                    </a:cubicBezTo>
                    <a:cubicBezTo>
                      <a:pt x="118110" y="28575"/>
                      <a:pt x="114300" y="26670"/>
                      <a:pt x="109538" y="25717"/>
                    </a:cubicBezTo>
                    <a:cubicBezTo>
                      <a:pt x="107633" y="25717"/>
                      <a:pt x="106680" y="23813"/>
                      <a:pt x="106680" y="22860"/>
                    </a:cubicBezTo>
                    <a:lnTo>
                      <a:pt x="102870" y="9525"/>
                    </a:lnTo>
                    <a:lnTo>
                      <a:pt x="90488" y="9525"/>
                    </a:lnTo>
                    <a:lnTo>
                      <a:pt x="79058" y="9525"/>
                    </a:lnTo>
                    <a:lnTo>
                      <a:pt x="74295" y="20955"/>
                    </a:lnTo>
                    <a:cubicBezTo>
                      <a:pt x="73343" y="22860"/>
                      <a:pt x="72390" y="23813"/>
                      <a:pt x="71438" y="23813"/>
                    </a:cubicBezTo>
                    <a:cubicBezTo>
                      <a:pt x="66675" y="25717"/>
                      <a:pt x="61913" y="27623"/>
                      <a:pt x="58103" y="29528"/>
                    </a:cubicBezTo>
                    <a:cubicBezTo>
                      <a:pt x="57150" y="30480"/>
                      <a:pt x="55245" y="30480"/>
                      <a:pt x="53340" y="29528"/>
                    </a:cubicBezTo>
                    <a:lnTo>
                      <a:pt x="41910" y="24765"/>
                    </a:lnTo>
                    <a:lnTo>
                      <a:pt x="24765" y="40958"/>
                    </a:lnTo>
                    <a:lnTo>
                      <a:pt x="30480" y="52388"/>
                    </a:lnTo>
                    <a:cubicBezTo>
                      <a:pt x="31433" y="53340"/>
                      <a:pt x="31433" y="55245"/>
                      <a:pt x="30480" y="57150"/>
                    </a:cubicBezTo>
                    <a:cubicBezTo>
                      <a:pt x="27623" y="61913"/>
                      <a:pt x="25718" y="65723"/>
                      <a:pt x="24765" y="70485"/>
                    </a:cubicBezTo>
                    <a:cubicBezTo>
                      <a:pt x="24765" y="72390"/>
                      <a:pt x="22860" y="73343"/>
                      <a:pt x="21908" y="73343"/>
                    </a:cubicBezTo>
                    <a:lnTo>
                      <a:pt x="9525" y="78105"/>
                    </a:lnTo>
                    <a:lnTo>
                      <a:pt x="9525" y="101918"/>
                    </a:lnTo>
                    <a:lnTo>
                      <a:pt x="21908" y="105728"/>
                    </a:lnTo>
                    <a:cubicBezTo>
                      <a:pt x="23813" y="106680"/>
                      <a:pt x="24765" y="107632"/>
                      <a:pt x="24765" y="108585"/>
                    </a:cubicBezTo>
                    <a:cubicBezTo>
                      <a:pt x="25718" y="113348"/>
                      <a:pt x="27623" y="118110"/>
                      <a:pt x="30480" y="121920"/>
                    </a:cubicBezTo>
                    <a:cubicBezTo>
                      <a:pt x="31433" y="122873"/>
                      <a:pt x="31433" y="124778"/>
                      <a:pt x="30480" y="126682"/>
                    </a:cubicBezTo>
                    <a:lnTo>
                      <a:pt x="24765" y="138113"/>
                    </a:lnTo>
                    <a:lnTo>
                      <a:pt x="41910" y="155258"/>
                    </a:lnTo>
                    <a:lnTo>
                      <a:pt x="53340" y="149543"/>
                    </a:lnTo>
                    <a:cubicBezTo>
                      <a:pt x="54293" y="148590"/>
                      <a:pt x="56198" y="148590"/>
                      <a:pt x="58103" y="149543"/>
                    </a:cubicBezTo>
                    <a:cubicBezTo>
                      <a:pt x="61913" y="152400"/>
                      <a:pt x="66675" y="154305"/>
                      <a:pt x="71438" y="156210"/>
                    </a:cubicBezTo>
                    <a:cubicBezTo>
                      <a:pt x="73343" y="156210"/>
                      <a:pt x="74295" y="158115"/>
                      <a:pt x="74295" y="159068"/>
                    </a:cubicBezTo>
                    <a:lnTo>
                      <a:pt x="79058" y="171450"/>
                    </a:lnTo>
                    <a:close/>
                  </a:path>
                </a:pathLst>
              </a:custGeom>
              <a:solidFill>
                <a:srgbClr val="101010"/>
              </a:solidFill>
              <a:ln w="9525" cap="flat">
                <a:noFill/>
                <a:prstDash val="solid"/>
                <a:miter/>
              </a:ln>
            </p:spPr>
            <p:txBody>
              <a:bodyPr rtlCol="0" anchor="ctr"/>
              <a:lstStyle/>
              <a:p>
                <a:endParaRPr lang="de-DE"/>
              </a:p>
            </p:txBody>
          </p:sp>
          <p:sp>
            <p:nvSpPr>
              <p:cNvPr id="5179" name="Freeform: Shape 5178">
                <a:extLst>
                  <a:ext uri="{FF2B5EF4-FFF2-40B4-BE49-F238E27FC236}">
                    <a16:creationId xmlns:a16="http://schemas.microsoft.com/office/drawing/2014/main" id="{A8211E29-E9AE-4671-816A-CD3CE91E4AC2}"/>
                  </a:ext>
                </a:extLst>
              </p:cNvPr>
              <p:cNvSpPr/>
              <p:nvPr/>
            </p:nvSpPr>
            <p:spPr>
              <a:xfrm>
                <a:off x="6000274" y="3405663"/>
                <a:ext cx="66675" cy="57150"/>
              </a:xfrm>
              <a:custGeom>
                <a:avLst/>
                <a:gdLst>
                  <a:gd name="connsiteX0" fmla="*/ 33814 w 66675"/>
                  <a:gd name="connsiteY0" fmla="*/ 66199 h 57150"/>
                  <a:gd name="connsiteX1" fmla="*/ 10001 w 66675"/>
                  <a:gd name="connsiteY1" fmla="*/ 56674 h 57150"/>
                  <a:gd name="connsiteX2" fmla="*/ 10001 w 66675"/>
                  <a:gd name="connsiteY2" fmla="*/ 10001 h 57150"/>
                  <a:gd name="connsiteX3" fmla="*/ 56674 w 66675"/>
                  <a:gd name="connsiteY3" fmla="*/ 10001 h 57150"/>
                  <a:gd name="connsiteX4" fmla="*/ 56674 w 66675"/>
                  <a:gd name="connsiteY4" fmla="*/ 10001 h 57150"/>
                  <a:gd name="connsiteX5" fmla="*/ 56674 w 66675"/>
                  <a:gd name="connsiteY5" fmla="*/ 56674 h 57150"/>
                  <a:gd name="connsiteX6" fmla="*/ 33814 w 66675"/>
                  <a:gd name="connsiteY6" fmla="*/ 66199 h 57150"/>
                  <a:gd name="connsiteX7" fmla="*/ 33814 w 66675"/>
                  <a:gd name="connsiteY7" fmla="*/ 9049 h 57150"/>
                  <a:gd name="connsiteX8" fmla="*/ 16669 w 66675"/>
                  <a:gd name="connsiteY8" fmla="*/ 15716 h 57150"/>
                  <a:gd name="connsiteX9" fmla="*/ 16669 w 66675"/>
                  <a:gd name="connsiteY9" fmla="*/ 49054 h 57150"/>
                  <a:gd name="connsiteX10" fmla="*/ 50006 w 66675"/>
                  <a:gd name="connsiteY10" fmla="*/ 49054 h 57150"/>
                  <a:gd name="connsiteX11" fmla="*/ 50006 w 66675"/>
                  <a:gd name="connsiteY11" fmla="*/ 15716 h 57150"/>
                  <a:gd name="connsiteX12" fmla="*/ 33814 w 66675"/>
                  <a:gd name="connsiteY12" fmla="*/ 904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75" h="57150">
                    <a:moveTo>
                      <a:pt x="33814" y="66199"/>
                    </a:moveTo>
                    <a:cubicBezTo>
                      <a:pt x="25241" y="66199"/>
                      <a:pt x="16669" y="63341"/>
                      <a:pt x="10001" y="56674"/>
                    </a:cubicBezTo>
                    <a:cubicBezTo>
                      <a:pt x="-3334" y="43339"/>
                      <a:pt x="-3334" y="22384"/>
                      <a:pt x="10001" y="10001"/>
                    </a:cubicBezTo>
                    <a:cubicBezTo>
                      <a:pt x="23336" y="-3334"/>
                      <a:pt x="44291" y="-3334"/>
                      <a:pt x="56674" y="10001"/>
                    </a:cubicBezTo>
                    <a:lnTo>
                      <a:pt x="56674" y="10001"/>
                    </a:lnTo>
                    <a:cubicBezTo>
                      <a:pt x="70009" y="23336"/>
                      <a:pt x="70009" y="44291"/>
                      <a:pt x="56674" y="56674"/>
                    </a:cubicBezTo>
                    <a:cubicBezTo>
                      <a:pt x="50959" y="62389"/>
                      <a:pt x="42386" y="66199"/>
                      <a:pt x="33814" y="66199"/>
                    </a:cubicBezTo>
                    <a:close/>
                    <a:moveTo>
                      <a:pt x="33814" y="9049"/>
                    </a:moveTo>
                    <a:cubicBezTo>
                      <a:pt x="28099" y="9049"/>
                      <a:pt x="21431" y="10954"/>
                      <a:pt x="16669" y="15716"/>
                    </a:cubicBezTo>
                    <a:cubicBezTo>
                      <a:pt x="7144" y="25241"/>
                      <a:pt x="7144" y="40481"/>
                      <a:pt x="16669" y="49054"/>
                    </a:cubicBezTo>
                    <a:cubicBezTo>
                      <a:pt x="26194" y="58579"/>
                      <a:pt x="41434" y="58579"/>
                      <a:pt x="50006" y="49054"/>
                    </a:cubicBezTo>
                    <a:cubicBezTo>
                      <a:pt x="59531" y="39529"/>
                      <a:pt x="59531" y="24289"/>
                      <a:pt x="50006" y="15716"/>
                    </a:cubicBezTo>
                    <a:cubicBezTo>
                      <a:pt x="46196" y="10954"/>
                      <a:pt x="39529" y="9049"/>
                      <a:pt x="33814" y="9049"/>
                    </a:cubicBezTo>
                    <a:close/>
                  </a:path>
                </a:pathLst>
              </a:custGeom>
              <a:solidFill>
                <a:srgbClr val="101010"/>
              </a:solidFill>
              <a:ln w="9525" cap="flat">
                <a:noFill/>
                <a:prstDash val="solid"/>
                <a:miter/>
              </a:ln>
            </p:spPr>
            <p:txBody>
              <a:bodyPr rtlCol="0" anchor="ctr"/>
              <a:lstStyle/>
              <a:p>
                <a:endParaRPr lang="de-DE"/>
              </a:p>
            </p:txBody>
          </p:sp>
        </p:grpSp>
        <p:grpSp>
          <p:nvGrpSpPr>
            <p:cNvPr id="5172" name="Graphic 3">
              <a:extLst>
                <a:ext uri="{FF2B5EF4-FFF2-40B4-BE49-F238E27FC236}">
                  <a16:creationId xmlns:a16="http://schemas.microsoft.com/office/drawing/2014/main" id="{BE3A1D6F-A047-4273-97A9-B02233E0DCBA}"/>
                </a:ext>
              </a:extLst>
            </p:cNvPr>
            <p:cNvGrpSpPr/>
            <p:nvPr/>
          </p:nvGrpSpPr>
          <p:grpSpPr>
            <a:xfrm>
              <a:off x="6111240" y="3300412"/>
              <a:ext cx="123825" cy="123825"/>
              <a:chOff x="6111240" y="3300412"/>
              <a:chExt cx="123825" cy="123825"/>
            </a:xfrm>
            <a:solidFill>
              <a:srgbClr val="101010"/>
            </a:solidFill>
          </p:grpSpPr>
          <p:sp>
            <p:nvSpPr>
              <p:cNvPr id="5176" name="Freeform: Shape 5175">
                <a:extLst>
                  <a:ext uri="{FF2B5EF4-FFF2-40B4-BE49-F238E27FC236}">
                    <a16:creationId xmlns:a16="http://schemas.microsoft.com/office/drawing/2014/main" id="{4B3EF7DE-74FB-4DD7-A8FA-7B691DC51CBA}"/>
                  </a:ext>
                </a:extLst>
              </p:cNvPr>
              <p:cNvSpPr/>
              <p:nvPr/>
            </p:nvSpPr>
            <p:spPr>
              <a:xfrm>
                <a:off x="6111240" y="3300412"/>
                <a:ext cx="123825" cy="123825"/>
              </a:xfrm>
              <a:custGeom>
                <a:avLst/>
                <a:gdLst>
                  <a:gd name="connsiteX0" fmla="*/ 77153 w 123825"/>
                  <a:gd name="connsiteY0" fmla="*/ 132398 h 123825"/>
                  <a:gd name="connsiteX1" fmla="*/ 55245 w 123825"/>
                  <a:gd name="connsiteY1" fmla="*/ 132398 h 123825"/>
                  <a:gd name="connsiteX2" fmla="*/ 50482 w 123825"/>
                  <a:gd name="connsiteY2" fmla="*/ 129540 h 123825"/>
                  <a:gd name="connsiteX3" fmla="*/ 47625 w 123825"/>
                  <a:gd name="connsiteY3" fmla="*/ 120968 h 123825"/>
                  <a:gd name="connsiteX4" fmla="*/ 40957 w 123825"/>
                  <a:gd name="connsiteY4" fmla="*/ 118110 h 123825"/>
                  <a:gd name="connsiteX5" fmla="*/ 32385 w 123825"/>
                  <a:gd name="connsiteY5" fmla="*/ 121920 h 123825"/>
                  <a:gd name="connsiteX6" fmla="*/ 26670 w 123825"/>
                  <a:gd name="connsiteY6" fmla="*/ 120968 h 123825"/>
                  <a:gd name="connsiteX7" fmla="*/ 11430 w 123825"/>
                  <a:gd name="connsiteY7" fmla="*/ 105728 h 123825"/>
                  <a:gd name="connsiteX8" fmla="*/ 10478 w 123825"/>
                  <a:gd name="connsiteY8" fmla="*/ 100013 h 123825"/>
                  <a:gd name="connsiteX9" fmla="*/ 14288 w 123825"/>
                  <a:gd name="connsiteY9" fmla="*/ 91440 h 123825"/>
                  <a:gd name="connsiteX10" fmla="*/ 11430 w 123825"/>
                  <a:gd name="connsiteY10" fmla="*/ 84773 h 123825"/>
                  <a:gd name="connsiteX11" fmla="*/ 2857 w 123825"/>
                  <a:gd name="connsiteY11" fmla="*/ 81915 h 123825"/>
                  <a:gd name="connsiteX12" fmla="*/ 0 w 123825"/>
                  <a:gd name="connsiteY12" fmla="*/ 77153 h 123825"/>
                  <a:gd name="connsiteX13" fmla="*/ 0 w 123825"/>
                  <a:gd name="connsiteY13" fmla="*/ 55245 h 123825"/>
                  <a:gd name="connsiteX14" fmla="*/ 2857 w 123825"/>
                  <a:gd name="connsiteY14" fmla="*/ 50483 h 123825"/>
                  <a:gd name="connsiteX15" fmla="*/ 11430 w 123825"/>
                  <a:gd name="connsiteY15" fmla="*/ 47625 h 123825"/>
                  <a:gd name="connsiteX16" fmla="*/ 14288 w 123825"/>
                  <a:gd name="connsiteY16" fmla="*/ 40958 h 123825"/>
                  <a:gd name="connsiteX17" fmla="*/ 10478 w 123825"/>
                  <a:gd name="connsiteY17" fmla="*/ 32385 h 123825"/>
                  <a:gd name="connsiteX18" fmla="*/ 11430 w 123825"/>
                  <a:gd name="connsiteY18" fmla="*/ 26670 h 123825"/>
                  <a:gd name="connsiteX19" fmla="*/ 26670 w 123825"/>
                  <a:gd name="connsiteY19" fmla="*/ 11430 h 123825"/>
                  <a:gd name="connsiteX20" fmla="*/ 32385 w 123825"/>
                  <a:gd name="connsiteY20" fmla="*/ 10478 h 123825"/>
                  <a:gd name="connsiteX21" fmla="*/ 40957 w 123825"/>
                  <a:gd name="connsiteY21" fmla="*/ 14288 h 123825"/>
                  <a:gd name="connsiteX22" fmla="*/ 47625 w 123825"/>
                  <a:gd name="connsiteY22" fmla="*/ 11430 h 123825"/>
                  <a:gd name="connsiteX23" fmla="*/ 50482 w 123825"/>
                  <a:gd name="connsiteY23" fmla="*/ 2858 h 123825"/>
                  <a:gd name="connsiteX24" fmla="*/ 54292 w 123825"/>
                  <a:gd name="connsiteY24" fmla="*/ 0 h 123825"/>
                  <a:gd name="connsiteX25" fmla="*/ 65723 w 123825"/>
                  <a:gd name="connsiteY25" fmla="*/ 0 h 123825"/>
                  <a:gd name="connsiteX26" fmla="*/ 77153 w 123825"/>
                  <a:gd name="connsiteY26" fmla="*/ 0 h 123825"/>
                  <a:gd name="connsiteX27" fmla="*/ 81915 w 123825"/>
                  <a:gd name="connsiteY27" fmla="*/ 2858 h 123825"/>
                  <a:gd name="connsiteX28" fmla="*/ 84773 w 123825"/>
                  <a:gd name="connsiteY28" fmla="*/ 11430 h 123825"/>
                  <a:gd name="connsiteX29" fmla="*/ 91440 w 123825"/>
                  <a:gd name="connsiteY29" fmla="*/ 14288 h 123825"/>
                  <a:gd name="connsiteX30" fmla="*/ 99060 w 123825"/>
                  <a:gd name="connsiteY30" fmla="*/ 10478 h 123825"/>
                  <a:gd name="connsiteX31" fmla="*/ 104775 w 123825"/>
                  <a:gd name="connsiteY31" fmla="*/ 11430 h 123825"/>
                  <a:gd name="connsiteX32" fmla="*/ 120015 w 123825"/>
                  <a:gd name="connsiteY32" fmla="*/ 26670 h 123825"/>
                  <a:gd name="connsiteX33" fmla="*/ 120967 w 123825"/>
                  <a:gd name="connsiteY33" fmla="*/ 32385 h 123825"/>
                  <a:gd name="connsiteX34" fmla="*/ 117157 w 123825"/>
                  <a:gd name="connsiteY34" fmla="*/ 40958 h 123825"/>
                  <a:gd name="connsiteX35" fmla="*/ 120015 w 123825"/>
                  <a:gd name="connsiteY35" fmla="*/ 47625 h 123825"/>
                  <a:gd name="connsiteX36" fmla="*/ 128588 w 123825"/>
                  <a:gd name="connsiteY36" fmla="*/ 50483 h 123825"/>
                  <a:gd name="connsiteX37" fmla="*/ 131445 w 123825"/>
                  <a:gd name="connsiteY37" fmla="*/ 55245 h 123825"/>
                  <a:gd name="connsiteX38" fmla="*/ 131445 w 123825"/>
                  <a:gd name="connsiteY38" fmla="*/ 77153 h 123825"/>
                  <a:gd name="connsiteX39" fmla="*/ 128588 w 123825"/>
                  <a:gd name="connsiteY39" fmla="*/ 81915 h 123825"/>
                  <a:gd name="connsiteX40" fmla="*/ 120015 w 123825"/>
                  <a:gd name="connsiteY40" fmla="*/ 84773 h 123825"/>
                  <a:gd name="connsiteX41" fmla="*/ 117157 w 123825"/>
                  <a:gd name="connsiteY41" fmla="*/ 91440 h 123825"/>
                  <a:gd name="connsiteX42" fmla="*/ 120967 w 123825"/>
                  <a:gd name="connsiteY42" fmla="*/ 100013 h 123825"/>
                  <a:gd name="connsiteX43" fmla="*/ 120015 w 123825"/>
                  <a:gd name="connsiteY43" fmla="*/ 105728 h 123825"/>
                  <a:gd name="connsiteX44" fmla="*/ 104775 w 123825"/>
                  <a:gd name="connsiteY44" fmla="*/ 120968 h 123825"/>
                  <a:gd name="connsiteX45" fmla="*/ 99060 w 123825"/>
                  <a:gd name="connsiteY45" fmla="*/ 121920 h 123825"/>
                  <a:gd name="connsiteX46" fmla="*/ 90488 w 123825"/>
                  <a:gd name="connsiteY46" fmla="*/ 118110 h 123825"/>
                  <a:gd name="connsiteX47" fmla="*/ 83820 w 123825"/>
                  <a:gd name="connsiteY47" fmla="*/ 120968 h 123825"/>
                  <a:gd name="connsiteX48" fmla="*/ 80963 w 123825"/>
                  <a:gd name="connsiteY48" fmla="*/ 129540 h 123825"/>
                  <a:gd name="connsiteX49" fmla="*/ 77153 w 123825"/>
                  <a:gd name="connsiteY49" fmla="*/ 132398 h 123825"/>
                  <a:gd name="connsiteX50" fmla="*/ 58103 w 123825"/>
                  <a:gd name="connsiteY50" fmla="*/ 122873 h 123825"/>
                  <a:gd name="connsiteX51" fmla="*/ 73342 w 123825"/>
                  <a:gd name="connsiteY51" fmla="*/ 122873 h 123825"/>
                  <a:gd name="connsiteX52" fmla="*/ 76200 w 123825"/>
                  <a:gd name="connsiteY52" fmla="*/ 115253 h 123825"/>
                  <a:gd name="connsiteX53" fmla="*/ 79057 w 123825"/>
                  <a:gd name="connsiteY53" fmla="*/ 112395 h 123825"/>
                  <a:gd name="connsiteX54" fmla="*/ 88582 w 123825"/>
                  <a:gd name="connsiteY54" fmla="*/ 108585 h 123825"/>
                  <a:gd name="connsiteX55" fmla="*/ 93345 w 123825"/>
                  <a:gd name="connsiteY55" fmla="*/ 108585 h 123825"/>
                  <a:gd name="connsiteX56" fmla="*/ 100965 w 123825"/>
                  <a:gd name="connsiteY56" fmla="*/ 112395 h 123825"/>
                  <a:gd name="connsiteX57" fmla="*/ 111442 w 123825"/>
                  <a:gd name="connsiteY57" fmla="*/ 101918 h 123825"/>
                  <a:gd name="connsiteX58" fmla="*/ 107632 w 123825"/>
                  <a:gd name="connsiteY58" fmla="*/ 94298 h 123825"/>
                  <a:gd name="connsiteX59" fmla="*/ 107632 w 123825"/>
                  <a:gd name="connsiteY59" fmla="*/ 89535 h 123825"/>
                  <a:gd name="connsiteX60" fmla="*/ 111442 w 123825"/>
                  <a:gd name="connsiteY60" fmla="*/ 80010 h 123825"/>
                  <a:gd name="connsiteX61" fmla="*/ 114300 w 123825"/>
                  <a:gd name="connsiteY61" fmla="*/ 77153 h 123825"/>
                  <a:gd name="connsiteX62" fmla="*/ 121920 w 123825"/>
                  <a:gd name="connsiteY62" fmla="*/ 74295 h 123825"/>
                  <a:gd name="connsiteX63" fmla="*/ 121920 w 123825"/>
                  <a:gd name="connsiteY63" fmla="*/ 59055 h 123825"/>
                  <a:gd name="connsiteX64" fmla="*/ 114300 w 123825"/>
                  <a:gd name="connsiteY64" fmla="*/ 56198 h 123825"/>
                  <a:gd name="connsiteX65" fmla="*/ 111442 w 123825"/>
                  <a:gd name="connsiteY65" fmla="*/ 53340 h 123825"/>
                  <a:gd name="connsiteX66" fmla="*/ 107632 w 123825"/>
                  <a:gd name="connsiteY66" fmla="*/ 43815 h 123825"/>
                  <a:gd name="connsiteX67" fmla="*/ 107632 w 123825"/>
                  <a:gd name="connsiteY67" fmla="*/ 39053 h 123825"/>
                  <a:gd name="connsiteX68" fmla="*/ 111442 w 123825"/>
                  <a:gd name="connsiteY68" fmla="*/ 31433 h 123825"/>
                  <a:gd name="connsiteX69" fmla="*/ 100965 w 123825"/>
                  <a:gd name="connsiteY69" fmla="*/ 20955 h 123825"/>
                  <a:gd name="connsiteX70" fmla="*/ 93345 w 123825"/>
                  <a:gd name="connsiteY70" fmla="*/ 24765 h 123825"/>
                  <a:gd name="connsiteX71" fmla="*/ 88582 w 123825"/>
                  <a:gd name="connsiteY71" fmla="*/ 24765 h 123825"/>
                  <a:gd name="connsiteX72" fmla="*/ 79057 w 123825"/>
                  <a:gd name="connsiteY72" fmla="*/ 20955 h 123825"/>
                  <a:gd name="connsiteX73" fmla="*/ 76200 w 123825"/>
                  <a:gd name="connsiteY73" fmla="*/ 18098 h 123825"/>
                  <a:gd name="connsiteX74" fmla="*/ 73342 w 123825"/>
                  <a:gd name="connsiteY74" fmla="*/ 9525 h 123825"/>
                  <a:gd name="connsiteX75" fmla="*/ 65723 w 123825"/>
                  <a:gd name="connsiteY75" fmla="*/ 9525 h 123825"/>
                  <a:gd name="connsiteX76" fmla="*/ 58103 w 123825"/>
                  <a:gd name="connsiteY76" fmla="*/ 9525 h 123825"/>
                  <a:gd name="connsiteX77" fmla="*/ 55245 w 123825"/>
                  <a:gd name="connsiteY77" fmla="*/ 17145 h 123825"/>
                  <a:gd name="connsiteX78" fmla="*/ 52388 w 123825"/>
                  <a:gd name="connsiteY78" fmla="*/ 20003 h 123825"/>
                  <a:gd name="connsiteX79" fmla="*/ 42863 w 123825"/>
                  <a:gd name="connsiteY79" fmla="*/ 23813 h 123825"/>
                  <a:gd name="connsiteX80" fmla="*/ 38100 w 123825"/>
                  <a:gd name="connsiteY80" fmla="*/ 23813 h 123825"/>
                  <a:gd name="connsiteX81" fmla="*/ 30480 w 123825"/>
                  <a:gd name="connsiteY81" fmla="*/ 20003 h 123825"/>
                  <a:gd name="connsiteX82" fmla="*/ 20003 w 123825"/>
                  <a:gd name="connsiteY82" fmla="*/ 30480 h 123825"/>
                  <a:gd name="connsiteX83" fmla="*/ 23813 w 123825"/>
                  <a:gd name="connsiteY83" fmla="*/ 38100 h 123825"/>
                  <a:gd name="connsiteX84" fmla="*/ 23813 w 123825"/>
                  <a:gd name="connsiteY84" fmla="*/ 42863 h 123825"/>
                  <a:gd name="connsiteX85" fmla="*/ 20003 w 123825"/>
                  <a:gd name="connsiteY85" fmla="*/ 52388 h 123825"/>
                  <a:gd name="connsiteX86" fmla="*/ 17145 w 123825"/>
                  <a:gd name="connsiteY86" fmla="*/ 55245 h 123825"/>
                  <a:gd name="connsiteX87" fmla="*/ 9525 w 123825"/>
                  <a:gd name="connsiteY87" fmla="*/ 58103 h 123825"/>
                  <a:gd name="connsiteX88" fmla="*/ 9525 w 123825"/>
                  <a:gd name="connsiteY88" fmla="*/ 73343 h 123825"/>
                  <a:gd name="connsiteX89" fmla="*/ 17145 w 123825"/>
                  <a:gd name="connsiteY89" fmla="*/ 76200 h 123825"/>
                  <a:gd name="connsiteX90" fmla="*/ 20003 w 123825"/>
                  <a:gd name="connsiteY90" fmla="*/ 79058 h 123825"/>
                  <a:gd name="connsiteX91" fmla="*/ 23813 w 123825"/>
                  <a:gd name="connsiteY91" fmla="*/ 88583 h 123825"/>
                  <a:gd name="connsiteX92" fmla="*/ 23813 w 123825"/>
                  <a:gd name="connsiteY92" fmla="*/ 93345 h 123825"/>
                  <a:gd name="connsiteX93" fmla="*/ 20003 w 123825"/>
                  <a:gd name="connsiteY93" fmla="*/ 100965 h 123825"/>
                  <a:gd name="connsiteX94" fmla="*/ 30480 w 123825"/>
                  <a:gd name="connsiteY94" fmla="*/ 111443 h 123825"/>
                  <a:gd name="connsiteX95" fmla="*/ 38100 w 123825"/>
                  <a:gd name="connsiteY95" fmla="*/ 107633 h 123825"/>
                  <a:gd name="connsiteX96" fmla="*/ 42863 w 123825"/>
                  <a:gd name="connsiteY96" fmla="*/ 107633 h 123825"/>
                  <a:gd name="connsiteX97" fmla="*/ 52388 w 123825"/>
                  <a:gd name="connsiteY97" fmla="*/ 111443 h 123825"/>
                  <a:gd name="connsiteX98" fmla="*/ 55245 w 123825"/>
                  <a:gd name="connsiteY98" fmla="*/ 114300 h 123825"/>
                  <a:gd name="connsiteX99" fmla="*/ 58103 w 123825"/>
                  <a:gd name="connsiteY99" fmla="*/ 12287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23825" h="123825">
                    <a:moveTo>
                      <a:pt x="77153" y="132398"/>
                    </a:moveTo>
                    <a:lnTo>
                      <a:pt x="55245" y="132398"/>
                    </a:lnTo>
                    <a:cubicBezTo>
                      <a:pt x="53340" y="132398"/>
                      <a:pt x="51435" y="131445"/>
                      <a:pt x="50482" y="129540"/>
                    </a:cubicBezTo>
                    <a:lnTo>
                      <a:pt x="47625" y="120968"/>
                    </a:lnTo>
                    <a:cubicBezTo>
                      <a:pt x="45720" y="120015"/>
                      <a:pt x="42863" y="119063"/>
                      <a:pt x="40957" y="118110"/>
                    </a:cubicBezTo>
                    <a:lnTo>
                      <a:pt x="32385" y="121920"/>
                    </a:lnTo>
                    <a:cubicBezTo>
                      <a:pt x="30480" y="122873"/>
                      <a:pt x="28575" y="122873"/>
                      <a:pt x="26670" y="120968"/>
                    </a:cubicBezTo>
                    <a:lnTo>
                      <a:pt x="11430" y="105728"/>
                    </a:lnTo>
                    <a:cubicBezTo>
                      <a:pt x="9525" y="103823"/>
                      <a:pt x="9525" y="101918"/>
                      <a:pt x="10478" y="100013"/>
                    </a:cubicBezTo>
                    <a:lnTo>
                      <a:pt x="14288" y="91440"/>
                    </a:lnTo>
                    <a:cubicBezTo>
                      <a:pt x="13335" y="89535"/>
                      <a:pt x="12382" y="86678"/>
                      <a:pt x="11430" y="84773"/>
                    </a:cubicBezTo>
                    <a:lnTo>
                      <a:pt x="2857" y="81915"/>
                    </a:lnTo>
                    <a:cubicBezTo>
                      <a:pt x="953" y="80963"/>
                      <a:pt x="0" y="79058"/>
                      <a:pt x="0" y="77153"/>
                    </a:cubicBezTo>
                    <a:lnTo>
                      <a:pt x="0" y="55245"/>
                    </a:lnTo>
                    <a:cubicBezTo>
                      <a:pt x="0" y="53340"/>
                      <a:pt x="953" y="51435"/>
                      <a:pt x="2857" y="50483"/>
                    </a:cubicBezTo>
                    <a:lnTo>
                      <a:pt x="11430" y="47625"/>
                    </a:lnTo>
                    <a:cubicBezTo>
                      <a:pt x="12382" y="45720"/>
                      <a:pt x="13335" y="42863"/>
                      <a:pt x="14288" y="40958"/>
                    </a:cubicBezTo>
                    <a:lnTo>
                      <a:pt x="10478" y="32385"/>
                    </a:lnTo>
                    <a:cubicBezTo>
                      <a:pt x="9525" y="30480"/>
                      <a:pt x="9525" y="28575"/>
                      <a:pt x="11430" y="26670"/>
                    </a:cubicBezTo>
                    <a:lnTo>
                      <a:pt x="26670" y="11430"/>
                    </a:lnTo>
                    <a:cubicBezTo>
                      <a:pt x="27622" y="10478"/>
                      <a:pt x="30480" y="9525"/>
                      <a:pt x="32385" y="10478"/>
                    </a:cubicBezTo>
                    <a:lnTo>
                      <a:pt x="40957" y="14288"/>
                    </a:lnTo>
                    <a:cubicBezTo>
                      <a:pt x="42863" y="13335"/>
                      <a:pt x="45720" y="12383"/>
                      <a:pt x="47625" y="11430"/>
                    </a:cubicBezTo>
                    <a:lnTo>
                      <a:pt x="50482" y="2858"/>
                    </a:lnTo>
                    <a:cubicBezTo>
                      <a:pt x="50482" y="953"/>
                      <a:pt x="52388" y="0"/>
                      <a:pt x="54292" y="0"/>
                    </a:cubicBezTo>
                    <a:lnTo>
                      <a:pt x="65723" y="0"/>
                    </a:lnTo>
                    <a:lnTo>
                      <a:pt x="77153" y="0"/>
                    </a:lnTo>
                    <a:cubicBezTo>
                      <a:pt x="79057" y="0"/>
                      <a:pt x="80963" y="953"/>
                      <a:pt x="81915" y="2858"/>
                    </a:cubicBezTo>
                    <a:lnTo>
                      <a:pt x="84773" y="11430"/>
                    </a:lnTo>
                    <a:cubicBezTo>
                      <a:pt x="86678" y="12383"/>
                      <a:pt x="89535" y="13335"/>
                      <a:pt x="91440" y="14288"/>
                    </a:cubicBezTo>
                    <a:lnTo>
                      <a:pt x="99060" y="10478"/>
                    </a:lnTo>
                    <a:cubicBezTo>
                      <a:pt x="100965" y="9525"/>
                      <a:pt x="102870" y="9525"/>
                      <a:pt x="104775" y="11430"/>
                    </a:cubicBezTo>
                    <a:lnTo>
                      <a:pt x="120015" y="26670"/>
                    </a:lnTo>
                    <a:cubicBezTo>
                      <a:pt x="121920" y="28575"/>
                      <a:pt x="121920" y="30480"/>
                      <a:pt x="120967" y="32385"/>
                    </a:cubicBezTo>
                    <a:lnTo>
                      <a:pt x="117157" y="40958"/>
                    </a:lnTo>
                    <a:cubicBezTo>
                      <a:pt x="118110" y="42863"/>
                      <a:pt x="119063" y="45720"/>
                      <a:pt x="120015" y="47625"/>
                    </a:cubicBezTo>
                    <a:lnTo>
                      <a:pt x="128588" y="50483"/>
                    </a:lnTo>
                    <a:cubicBezTo>
                      <a:pt x="130492" y="51435"/>
                      <a:pt x="131445" y="53340"/>
                      <a:pt x="131445" y="55245"/>
                    </a:cubicBezTo>
                    <a:lnTo>
                      <a:pt x="131445" y="77153"/>
                    </a:lnTo>
                    <a:cubicBezTo>
                      <a:pt x="131445" y="79058"/>
                      <a:pt x="130492" y="80963"/>
                      <a:pt x="128588" y="81915"/>
                    </a:cubicBezTo>
                    <a:lnTo>
                      <a:pt x="120015" y="84773"/>
                    </a:lnTo>
                    <a:cubicBezTo>
                      <a:pt x="119063" y="86678"/>
                      <a:pt x="118110" y="89535"/>
                      <a:pt x="117157" y="91440"/>
                    </a:cubicBezTo>
                    <a:lnTo>
                      <a:pt x="120967" y="100013"/>
                    </a:lnTo>
                    <a:cubicBezTo>
                      <a:pt x="121920" y="101918"/>
                      <a:pt x="121920" y="103823"/>
                      <a:pt x="120015" y="105728"/>
                    </a:cubicBezTo>
                    <a:lnTo>
                      <a:pt x="104775" y="120968"/>
                    </a:lnTo>
                    <a:cubicBezTo>
                      <a:pt x="103823" y="121920"/>
                      <a:pt x="100965" y="122873"/>
                      <a:pt x="99060" y="121920"/>
                    </a:cubicBezTo>
                    <a:lnTo>
                      <a:pt x="90488" y="118110"/>
                    </a:lnTo>
                    <a:cubicBezTo>
                      <a:pt x="88582" y="119063"/>
                      <a:pt x="85725" y="120015"/>
                      <a:pt x="83820" y="120968"/>
                    </a:cubicBezTo>
                    <a:lnTo>
                      <a:pt x="80963" y="129540"/>
                    </a:lnTo>
                    <a:cubicBezTo>
                      <a:pt x="80963" y="131445"/>
                      <a:pt x="79057" y="132398"/>
                      <a:pt x="77153" y="132398"/>
                    </a:cubicBezTo>
                    <a:close/>
                    <a:moveTo>
                      <a:pt x="58103" y="122873"/>
                    </a:moveTo>
                    <a:lnTo>
                      <a:pt x="73342" y="122873"/>
                    </a:lnTo>
                    <a:lnTo>
                      <a:pt x="76200" y="115253"/>
                    </a:lnTo>
                    <a:cubicBezTo>
                      <a:pt x="77153" y="113348"/>
                      <a:pt x="78105" y="112395"/>
                      <a:pt x="79057" y="112395"/>
                    </a:cubicBezTo>
                    <a:cubicBezTo>
                      <a:pt x="81915" y="111443"/>
                      <a:pt x="85725" y="110490"/>
                      <a:pt x="88582" y="108585"/>
                    </a:cubicBezTo>
                    <a:cubicBezTo>
                      <a:pt x="89535" y="107633"/>
                      <a:pt x="91440" y="107633"/>
                      <a:pt x="93345" y="108585"/>
                    </a:cubicBezTo>
                    <a:lnTo>
                      <a:pt x="100965" y="112395"/>
                    </a:lnTo>
                    <a:lnTo>
                      <a:pt x="111442" y="101918"/>
                    </a:lnTo>
                    <a:lnTo>
                      <a:pt x="107632" y="94298"/>
                    </a:lnTo>
                    <a:cubicBezTo>
                      <a:pt x="106680" y="93345"/>
                      <a:pt x="106680" y="91440"/>
                      <a:pt x="107632" y="89535"/>
                    </a:cubicBezTo>
                    <a:cubicBezTo>
                      <a:pt x="109538" y="86678"/>
                      <a:pt x="110490" y="82868"/>
                      <a:pt x="111442" y="80010"/>
                    </a:cubicBezTo>
                    <a:cubicBezTo>
                      <a:pt x="111442" y="78105"/>
                      <a:pt x="113348" y="77153"/>
                      <a:pt x="114300" y="77153"/>
                    </a:cubicBezTo>
                    <a:lnTo>
                      <a:pt x="121920" y="74295"/>
                    </a:lnTo>
                    <a:lnTo>
                      <a:pt x="121920" y="59055"/>
                    </a:lnTo>
                    <a:lnTo>
                      <a:pt x="114300" y="56198"/>
                    </a:lnTo>
                    <a:cubicBezTo>
                      <a:pt x="112395" y="55245"/>
                      <a:pt x="111442" y="54293"/>
                      <a:pt x="111442" y="53340"/>
                    </a:cubicBezTo>
                    <a:cubicBezTo>
                      <a:pt x="110490" y="50483"/>
                      <a:pt x="109538" y="46673"/>
                      <a:pt x="107632" y="43815"/>
                    </a:cubicBezTo>
                    <a:cubicBezTo>
                      <a:pt x="106680" y="42863"/>
                      <a:pt x="106680" y="40958"/>
                      <a:pt x="107632" y="39053"/>
                    </a:cubicBezTo>
                    <a:lnTo>
                      <a:pt x="111442" y="31433"/>
                    </a:lnTo>
                    <a:lnTo>
                      <a:pt x="100965" y="20955"/>
                    </a:lnTo>
                    <a:lnTo>
                      <a:pt x="93345" y="24765"/>
                    </a:lnTo>
                    <a:cubicBezTo>
                      <a:pt x="92392" y="25718"/>
                      <a:pt x="90488" y="25718"/>
                      <a:pt x="88582" y="24765"/>
                    </a:cubicBezTo>
                    <a:cubicBezTo>
                      <a:pt x="85725" y="22860"/>
                      <a:pt x="81915" y="21908"/>
                      <a:pt x="79057" y="20955"/>
                    </a:cubicBezTo>
                    <a:cubicBezTo>
                      <a:pt x="77153" y="20955"/>
                      <a:pt x="76200" y="19050"/>
                      <a:pt x="76200" y="18098"/>
                    </a:cubicBezTo>
                    <a:lnTo>
                      <a:pt x="73342" y="9525"/>
                    </a:lnTo>
                    <a:lnTo>
                      <a:pt x="65723" y="9525"/>
                    </a:lnTo>
                    <a:lnTo>
                      <a:pt x="58103" y="9525"/>
                    </a:lnTo>
                    <a:lnTo>
                      <a:pt x="55245" y="17145"/>
                    </a:lnTo>
                    <a:cubicBezTo>
                      <a:pt x="54292" y="19050"/>
                      <a:pt x="53340" y="20003"/>
                      <a:pt x="52388" y="20003"/>
                    </a:cubicBezTo>
                    <a:cubicBezTo>
                      <a:pt x="49530" y="20955"/>
                      <a:pt x="45720" y="21908"/>
                      <a:pt x="42863" y="23813"/>
                    </a:cubicBezTo>
                    <a:cubicBezTo>
                      <a:pt x="41910" y="24765"/>
                      <a:pt x="40005" y="24765"/>
                      <a:pt x="38100" y="23813"/>
                    </a:cubicBezTo>
                    <a:lnTo>
                      <a:pt x="30480" y="20003"/>
                    </a:lnTo>
                    <a:lnTo>
                      <a:pt x="20003" y="30480"/>
                    </a:lnTo>
                    <a:lnTo>
                      <a:pt x="23813" y="38100"/>
                    </a:lnTo>
                    <a:cubicBezTo>
                      <a:pt x="24765" y="39053"/>
                      <a:pt x="24765" y="40958"/>
                      <a:pt x="23813" y="42863"/>
                    </a:cubicBezTo>
                    <a:cubicBezTo>
                      <a:pt x="21907" y="45720"/>
                      <a:pt x="20955" y="49530"/>
                      <a:pt x="20003" y="52388"/>
                    </a:cubicBezTo>
                    <a:cubicBezTo>
                      <a:pt x="20003" y="54293"/>
                      <a:pt x="18097" y="55245"/>
                      <a:pt x="17145" y="55245"/>
                    </a:cubicBezTo>
                    <a:lnTo>
                      <a:pt x="9525" y="58103"/>
                    </a:lnTo>
                    <a:lnTo>
                      <a:pt x="9525" y="73343"/>
                    </a:lnTo>
                    <a:lnTo>
                      <a:pt x="17145" y="76200"/>
                    </a:lnTo>
                    <a:cubicBezTo>
                      <a:pt x="19050" y="77153"/>
                      <a:pt x="20003" y="78105"/>
                      <a:pt x="20003" y="79058"/>
                    </a:cubicBezTo>
                    <a:cubicBezTo>
                      <a:pt x="20955" y="81915"/>
                      <a:pt x="21907" y="85725"/>
                      <a:pt x="23813" y="88583"/>
                    </a:cubicBezTo>
                    <a:cubicBezTo>
                      <a:pt x="24765" y="89535"/>
                      <a:pt x="24765" y="91440"/>
                      <a:pt x="23813" y="93345"/>
                    </a:cubicBezTo>
                    <a:lnTo>
                      <a:pt x="20003" y="100965"/>
                    </a:lnTo>
                    <a:lnTo>
                      <a:pt x="30480" y="111443"/>
                    </a:lnTo>
                    <a:lnTo>
                      <a:pt x="38100" y="107633"/>
                    </a:lnTo>
                    <a:cubicBezTo>
                      <a:pt x="39053" y="106680"/>
                      <a:pt x="40957" y="106680"/>
                      <a:pt x="42863" y="107633"/>
                    </a:cubicBezTo>
                    <a:cubicBezTo>
                      <a:pt x="45720" y="109538"/>
                      <a:pt x="49530" y="110490"/>
                      <a:pt x="52388" y="111443"/>
                    </a:cubicBezTo>
                    <a:cubicBezTo>
                      <a:pt x="54292" y="111443"/>
                      <a:pt x="55245" y="113348"/>
                      <a:pt x="55245" y="114300"/>
                    </a:cubicBezTo>
                    <a:lnTo>
                      <a:pt x="58103" y="122873"/>
                    </a:lnTo>
                    <a:close/>
                  </a:path>
                </a:pathLst>
              </a:custGeom>
              <a:solidFill>
                <a:srgbClr val="101010"/>
              </a:solidFill>
              <a:ln w="9525" cap="flat">
                <a:noFill/>
                <a:prstDash val="solid"/>
                <a:miter/>
              </a:ln>
            </p:spPr>
            <p:txBody>
              <a:bodyPr rtlCol="0" anchor="ctr"/>
              <a:lstStyle/>
              <a:p>
                <a:endParaRPr lang="de-DE"/>
              </a:p>
            </p:txBody>
          </p:sp>
          <p:sp>
            <p:nvSpPr>
              <p:cNvPr id="5177" name="Freeform: Shape 5176">
                <a:extLst>
                  <a:ext uri="{FF2B5EF4-FFF2-40B4-BE49-F238E27FC236}">
                    <a16:creationId xmlns:a16="http://schemas.microsoft.com/office/drawing/2014/main" id="{E9D4DEDC-0412-4D7B-9946-63C3522AE1D3}"/>
                  </a:ext>
                </a:extLst>
              </p:cNvPr>
              <p:cNvSpPr/>
              <p:nvPr/>
            </p:nvSpPr>
            <p:spPr>
              <a:xfrm>
                <a:off x="6151721" y="3341846"/>
                <a:ext cx="47625" cy="47625"/>
              </a:xfrm>
              <a:custGeom>
                <a:avLst/>
                <a:gdLst>
                  <a:gd name="connsiteX0" fmla="*/ 25241 w 47625"/>
                  <a:gd name="connsiteY0" fmla="*/ 50006 h 47625"/>
                  <a:gd name="connsiteX1" fmla="*/ 7144 w 47625"/>
                  <a:gd name="connsiteY1" fmla="*/ 42386 h 47625"/>
                  <a:gd name="connsiteX2" fmla="*/ 7144 w 47625"/>
                  <a:gd name="connsiteY2" fmla="*/ 7144 h 47625"/>
                  <a:gd name="connsiteX3" fmla="*/ 42386 w 47625"/>
                  <a:gd name="connsiteY3" fmla="*/ 7144 h 47625"/>
                  <a:gd name="connsiteX4" fmla="*/ 42386 w 47625"/>
                  <a:gd name="connsiteY4" fmla="*/ 7144 h 47625"/>
                  <a:gd name="connsiteX5" fmla="*/ 42386 w 47625"/>
                  <a:gd name="connsiteY5" fmla="*/ 7144 h 47625"/>
                  <a:gd name="connsiteX6" fmla="*/ 50006 w 47625"/>
                  <a:gd name="connsiteY6" fmla="*/ 25241 h 47625"/>
                  <a:gd name="connsiteX7" fmla="*/ 42386 w 47625"/>
                  <a:gd name="connsiteY7" fmla="*/ 43339 h 47625"/>
                  <a:gd name="connsiteX8" fmla="*/ 25241 w 47625"/>
                  <a:gd name="connsiteY8" fmla="*/ 50006 h 47625"/>
                  <a:gd name="connsiteX9" fmla="*/ 25241 w 47625"/>
                  <a:gd name="connsiteY9" fmla="*/ 9049 h 47625"/>
                  <a:gd name="connsiteX10" fmla="*/ 13811 w 47625"/>
                  <a:gd name="connsiteY10" fmla="*/ 13811 h 47625"/>
                  <a:gd name="connsiteX11" fmla="*/ 13811 w 47625"/>
                  <a:gd name="connsiteY11" fmla="*/ 35719 h 47625"/>
                  <a:gd name="connsiteX12" fmla="*/ 35719 w 47625"/>
                  <a:gd name="connsiteY12" fmla="*/ 35719 h 47625"/>
                  <a:gd name="connsiteX13" fmla="*/ 41434 w 47625"/>
                  <a:gd name="connsiteY13" fmla="*/ 25241 h 47625"/>
                  <a:gd name="connsiteX14" fmla="*/ 36671 w 47625"/>
                  <a:gd name="connsiteY14" fmla="*/ 13811 h 47625"/>
                  <a:gd name="connsiteX15" fmla="*/ 36671 w 47625"/>
                  <a:gd name="connsiteY15" fmla="*/ 13811 h 47625"/>
                  <a:gd name="connsiteX16" fmla="*/ 25241 w 47625"/>
                  <a:gd name="connsiteY16" fmla="*/ 9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25241" y="50006"/>
                    </a:moveTo>
                    <a:cubicBezTo>
                      <a:pt x="18574" y="50006"/>
                      <a:pt x="11906" y="47149"/>
                      <a:pt x="7144" y="42386"/>
                    </a:cubicBezTo>
                    <a:cubicBezTo>
                      <a:pt x="-2381" y="32861"/>
                      <a:pt x="-2381" y="16669"/>
                      <a:pt x="7144" y="7144"/>
                    </a:cubicBezTo>
                    <a:cubicBezTo>
                      <a:pt x="16669" y="-2381"/>
                      <a:pt x="32861" y="-2381"/>
                      <a:pt x="42386" y="7144"/>
                    </a:cubicBezTo>
                    <a:lnTo>
                      <a:pt x="42386" y="7144"/>
                    </a:lnTo>
                    <a:lnTo>
                      <a:pt x="42386" y="7144"/>
                    </a:lnTo>
                    <a:cubicBezTo>
                      <a:pt x="47149" y="11906"/>
                      <a:pt x="50006" y="18574"/>
                      <a:pt x="50006" y="25241"/>
                    </a:cubicBezTo>
                    <a:cubicBezTo>
                      <a:pt x="50006" y="31909"/>
                      <a:pt x="47149" y="38576"/>
                      <a:pt x="42386" y="43339"/>
                    </a:cubicBezTo>
                    <a:cubicBezTo>
                      <a:pt x="38576" y="47149"/>
                      <a:pt x="31909" y="50006"/>
                      <a:pt x="25241" y="50006"/>
                    </a:cubicBezTo>
                    <a:close/>
                    <a:moveTo>
                      <a:pt x="25241" y="9049"/>
                    </a:moveTo>
                    <a:cubicBezTo>
                      <a:pt x="21431" y="9049"/>
                      <a:pt x="16669" y="10954"/>
                      <a:pt x="13811" y="13811"/>
                    </a:cubicBezTo>
                    <a:cubicBezTo>
                      <a:pt x="8096" y="19526"/>
                      <a:pt x="8096" y="30004"/>
                      <a:pt x="13811" y="35719"/>
                    </a:cubicBezTo>
                    <a:cubicBezTo>
                      <a:pt x="19526" y="41434"/>
                      <a:pt x="30004" y="41434"/>
                      <a:pt x="35719" y="35719"/>
                    </a:cubicBezTo>
                    <a:cubicBezTo>
                      <a:pt x="39529" y="32861"/>
                      <a:pt x="41434" y="29051"/>
                      <a:pt x="41434" y="25241"/>
                    </a:cubicBezTo>
                    <a:cubicBezTo>
                      <a:pt x="41434" y="21431"/>
                      <a:pt x="39529" y="16669"/>
                      <a:pt x="36671" y="13811"/>
                    </a:cubicBezTo>
                    <a:lnTo>
                      <a:pt x="36671" y="13811"/>
                    </a:lnTo>
                    <a:cubicBezTo>
                      <a:pt x="33814" y="10954"/>
                      <a:pt x="29051" y="9049"/>
                      <a:pt x="25241" y="9049"/>
                    </a:cubicBezTo>
                    <a:close/>
                  </a:path>
                </a:pathLst>
              </a:custGeom>
              <a:solidFill>
                <a:srgbClr val="101010"/>
              </a:solidFill>
              <a:ln w="9525" cap="flat">
                <a:noFill/>
                <a:prstDash val="solid"/>
                <a:miter/>
              </a:ln>
            </p:spPr>
            <p:txBody>
              <a:bodyPr rtlCol="0" anchor="ctr"/>
              <a:lstStyle/>
              <a:p>
                <a:endParaRPr lang="de-DE"/>
              </a:p>
            </p:txBody>
          </p:sp>
        </p:grpSp>
        <p:grpSp>
          <p:nvGrpSpPr>
            <p:cNvPr id="5173" name="Graphic 3">
              <a:extLst>
                <a:ext uri="{FF2B5EF4-FFF2-40B4-BE49-F238E27FC236}">
                  <a16:creationId xmlns:a16="http://schemas.microsoft.com/office/drawing/2014/main" id="{29B1EB33-3289-492D-BCAC-FFB5A25836F0}"/>
                </a:ext>
              </a:extLst>
            </p:cNvPr>
            <p:cNvGrpSpPr/>
            <p:nvPr/>
          </p:nvGrpSpPr>
          <p:grpSpPr>
            <a:xfrm>
              <a:off x="6119187" y="3443614"/>
              <a:ext cx="114300" cy="114300"/>
              <a:chOff x="6119187" y="3443614"/>
              <a:chExt cx="114300" cy="114300"/>
            </a:xfrm>
            <a:solidFill>
              <a:srgbClr val="101010"/>
            </a:solidFill>
          </p:grpSpPr>
          <p:sp>
            <p:nvSpPr>
              <p:cNvPr id="5174" name="Freeform: Shape 5173">
                <a:extLst>
                  <a:ext uri="{FF2B5EF4-FFF2-40B4-BE49-F238E27FC236}">
                    <a16:creationId xmlns:a16="http://schemas.microsoft.com/office/drawing/2014/main" id="{5A4FE600-2CFA-4905-9364-236A585842B4}"/>
                  </a:ext>
                </a:extLst>
              </p:cNvPr>
              <p:cNvSpPr/>
              <p:nvPr/>
            </p:nvSpPr>
            <p:spPr>
              <a:xfrm>
                <a:off x="6119187" y="3443614"/>
                <a:ext cx="114300" cy="114300"/>
              </a:xfrm>
              <a:custGeom>
                <a:avLst/>
                <a:gdLst>
                  <a:gd name="connsiteX0" fmla="*/ 46346 w 114300"/>
                  <a:gd name="connsiteY0" fmla="*/ 113973 h 114300"/>
                  <a:gd name="connsiteX1" fmla="*/ 44441 w 114300"/>
                  <a:gd name="connsiteY1" fmla="*/ 113973 h 114300"/>
                  <a:gd name="connsiteX2" fmla="*/ 27296 w 114300"/>
                  <a:gd name="connsiteY2" fmla="*/ 107306 h 114300"/>
                  <a:gd name="connsiteX3" fmla="*/ 24438 w 114300"/>
                  <a:gd name="connsiteY3" fmla="*/ 102543 h 114300"/>
                  <a:gd name="connsiteX4" fmla="*/ 24438 w 114300"/>
                  <a:gd name="connsiteY4" fmla="*/ 94923 h 114300"/>
                  <a:gd name="connsiteX5" fmla="*/ 20628 w 114300"/>
                  <a:gd name="connsiteY5" fmla="*/ 91113 h 114300"/>
                  <a:gd name="connsiteX6" fmla="*/ 13008 w 114300"/>
                  <a:gd name="connsiteY6" fmla="*/ 91113 h 114300"/>
                  <a:gd name="connsiteX7" fmla="*/ 8246 w 114300"/>
                  <a:gd name="connsiteY7" fmla="*/ 88256 h 114300"/>
                  <a:gd name="connsiteX8" fmla="*/ 626 w 114300"/>
                  <a:gd name="connsiteY8" fmla="*/ 71111 h 114300"/>
                  <a:gd name="connsiteX9" fmla="*/ 1578 w 114300"/>
                  <a:gd name="connsiteY9" fmla="*/ 65396 h 114300"/>
                  <a:gd name="connsiteX10" fmla="*/ 7293 w 114300"/>
                  <a:gd name="connsiteY10" fmla="*/ 60633 h 114300"/>
                  <a:gd name="connsiteX11" fmla="*/ 7293 w 114300"/>
                  <a:gd name="connsiteY11" fmla="*/ 54918 h 114300"/>
                  <a:gd name="connsiteX12" fmla="*/ 1578 w 114300"/>
                  <a:gd name="connsiteY12" fmla="*/ 50156 h 114300"/>
                  <a:gd name="connsiteX13" fmla="*/ 626 w 114300"/>
                  <a:gd name="connsiteY13" fmla="*/ 44441 h 114300"/>
                  <a:gd name="connsiteX14" fmla="*/ 7293 w 114300"/>
                  <a:gd name="connsiteY14" fmla="*/ 27296 h 114300"/>
                  <a:gd name="connsiteX15" fmla="*/ 12056 w 114300"/>
                  <a:gd name="connsiteY15" fmla="*/ 24438 h 114300"/>
                  <a:gd name="connsiteX16" fmla="*/ 19676 w 114300"/>
                  <a:gd name="connsiteY16" fmla="*/ 24438 h 114300"/>
                  <a:gd name="connsiteX17" fmla="*/ 23486 w 114300"/>
                  <a:gd name="connsiteY17" fmla="*/ 20628 h 114300"/>
                  <a:gd name="connsiteX18" fmla="*/ 23486 w 114300"/>
                  <a:gd name="connsiteY18" fmla="*/ 13008 h 114300"/>
                  <a:gd name="connsiteX19" fmla="*/ 26343 w 114300"/>
                  <a:gd name="connsiteY19" fmla="*/ 8246 h 114300"/>
                  <a:gd name="connsiteX20" fmla="*/ 43488 w 114300"/>
                  <a:gd name="connsiteY20" fmla="*/ 626 h 114300"/>
                  <a:gd name="connsiteX21" fmla="*/ 49203 w 114300"/>
                  <a:gd name="connsiteY21" fmla="*/ 1578 h 114300"/>
                  <a:gd name="connsiteX22" fmla="*/ 53966 w 114300"/>
                  <a:gd name="connsiteY22" fmla="*/ 7293 h 114300"/>
                  <a:gd name="connsiteX23" fmla="*/ 59681 w 114300"/>
                  <a:gd name="connsiteY23" fmla="*/ 7293 h 114300"/>
                  <a:gd name="connsiteX24" fmla="*/ 64443 w 114300"/>
                  <a:gd name="connsiteY24" fmla="*/ 1578 h 114300"/>
                  <a:gd name="connsiteX25" fmla="*/ 70158 w 114300"/>
                  <a:gd name="connsiteY25" fmla="*/ 626 h 114300"/>
                  <a:gd name="connsiteX26" fmla="*/ 87303 w 114300"/>
                  <a:gd name="connsiteY26" fmla="*/ 7293 h 114300"/>
                  <a:gd name="connsiteX27" fmla="*/ 90161 w 114300"/>
                  <a:gd name="connsiteY27" fmla="*/ 12056 h 114300"/>
                  <a:gd name="connsiteX28" fmla="*/ 90161 w 114300"/>
                  <a:gd name="connsiteY28" fmla="*/ 19676 h 114300"/>
                  <a:gd name="connsiteX29" fmla="*/ 93971 w 114300"/>
                  <a:gd name="connsiteY29" fmla="*/ 23486 h 114300"/>
                  <a:gd name="connsiteX30" fmla="*/ 101591 w 114300"/>
                  <a:gd name="connsiteY30" fmla="*/ 23486 h 114300"/>
                  <a:gd name="connsiteX31" fmla="*/ 106353 w 114300"/>
                  <a:gd name="connsiteY31" fmla="*/ 26343 h 114300"/>
                  <a:gd name="connsiteX32" fmla="*/ 113973 w 114300"/>
                  <a:gd name="connsiteY32" fmla="*/ 43488 h 114300"/>
                  <a:gd name="connsiteX33" fmla="*/ 113021 w 114300"/>
                  <a:gd name="connsiteY33" fmla="*/ 49203 h 114300"/>
                  <a:gd name="connsiteX34" fmla="*/ 107306 w 114300"/>
                  <a:gd name="connsiteY34" fmla="*/ 53966 h 114300"/>
                  <a:gd name="connsiteX35" fmla="*/ 107306 w 114300"/>
                  <a:gd name="connsiteY35" fmla="*/ 59681 h 114300"/>
                  <a:gd name="connsiteX36" fmla="*/ 113021 w 114300"/>
                  <a:gd name="connsiteY36" fmla="*/ 64443 h 114300"/>
                  <a:gd name="connsiteX37" fmla="*/ 113973 w 114300"/>
                  <a:gd name="connsiteY37" fmla="*/ 70158 h 114300"/>
                  <a:gd name="connsiteX38" fmla="*/ 107306 w 114300"/>
                  <a:gd name="connsiteY38" fmla="*/ 87303 h 114300"/>
                  <a:gd name="connsiteX39" fmla="*/ 102543 w 114300"/>
                  <a:gd name="connsiteY39" fmla="*/ 90161 h 114300"/>
                  <a:gd name="connsiteX40" fmla="*/ 94923 w 114300"/>
                  <a:gd name="connsiteY40" fmla="*/ 90161 h 114300"/>
                  <a:gd name="connsiteX41" fmla="*/ 91113 w 114300"/>
                  <a:gd name="connsiteY41" fmla="*/ 93971 h 114300"/>
                  <a:gd name="connsiteX42" fmla="*/ 91113 w 114300"/>
                  <a:gd name="connsiteY42" fmla="*/ 101591 h 114300"/>
                  <a:gd name="connsiteX43" fmla="*/ 88256 w 114300"/>
                  <a:gd name="connsiteY43" fmla="*/ 106353 h 114300"/>
                  <a:gd name="connsiteX44" fmla="*/ 71111 w 114300"/>
                  <a:gd name="connsiteY44" fmla="*/ 113973 h 114300"/>
                  <a:gd name="connsiteX45" fmla="*/ 65396 w 114300"/>
                  <a:gd name="connsiteY45" fmla="*/ 113021 h 114300"/>
                  <a:gd name="connsiteX46" fmla="*/ 60633 w 114300"/>
                  <a:gd name="connsiteY46" fmla="*/ 107306 h 114300"/>
                  <a:gd name="connsiteX47" fmla="*/ 54918 w 114300"/>
                  <a:gd name="connsiteY47" fmla="*/ 107306 h 114300"/>
                  <a:gd name="connsiteX48" fmla="*/ 50156 w 114300"/>
                  <a:gd name="connsiteY48" fmla="*/ 113021 h 114300"/>
                  <a:gd name="connsiteX49" fmla="*/ 46346 w 114300"/>
                  <a:gd name="connsiteY49" fmla="*/ 113973 h 114300"/>
                  <a:gd name="connsiteX50" fmla="*/ 33963 w 114300"/>
                  <a:gd name="connsiteY50" fmla="*/ 98733 h 114300"/>
                  <a:gd name="connsiteX51" fmla="*/ 45393 w 114300"/>
                  <a:gd name="connsiteY51" fmla="*/ 103496 h 114300"/>
                  <a:gd name="connsiteX52" fmla="*/ 50156 w 114300"/>
                  <a:gd name="connsiteY52" fmla="*/ 98733 h 114300"/>
                  <a:gd name="connsiteX53" fmla="*/ 53966 w 114300"/>
                  <a:gd name="connsiteY53" fmla="*/ 96828 h 114300"/>
                  <a:gd name="connsiteX54" fmla="*/ 62538 w 114300"/>
                  <a:gd name="connsiteY54" fmla="*/ 96828 h 114300"/>
                  <a:gd name="connsiteX55" fmla="*/ 66348 w 114300"/>
                  <a:gd name="connsiteY55" fmla="*/ 98733 h 114300"/>
                  <a:gd name="connsiteX56" fmla="*/ 71111 w 114300"/>
                  <a:gd name="connsiteY56" fmla="*/ 103496 h 114300"/>
                  <a:gd name="connsiteX57" fmla="*/ 82541 w 114300"/>
                  <a:gd name="connsiteY57" fmla="*/ 98733 h 114300"/>
                  <a:gd name="connsiteX58" fmla="*/ 82541 w 114300"/>
                  <a:gd name="connsiteY58" fmla="*/ 92066 h 114300"/>
                  <a:gd name="connsiteX59" fmla="*/ 84446 w 114300"/>
                  <a:gd name="connsiteY59" fmla="*/ 88256 h 114300"/>
                  <a:gd name="connsiteX60" fmla="*/ 90161 w 114300"/>
                  <a:gd name="connsiteY60" fmla="*/ 82541 h 114300"/>
                  <a:gd name="connsiteX61" fmla="*/ 93971 w 114300"/>
                  <a:gd name="connsiteY61" fmla="*/ 80636 h 114300"/>
                  <a:gd name="connsiteX62" fmla="*/ 100638 w 114300"/>
                  <a:gd name="connsiteY62" fmla="*/ 80636 h 114300"/>
                  <a:gd name="connsiteX63" fmla="*/ 105401 w 114300"/>
                  <a:gd name="connsiteY63" fmla="*/ 69206 h 114300"/>
                  <a:gd name="connsiteX64" fmla="*/ 100638 w 114300"/>
                  <a:gd name="connsiteY64" fmla="*/ 64443 h 114300"/>
                  <a:gd name="connsiteX65" fmla="*/ 98733 w 114300"/>
                  <a:gd name="connsiteY65" fmla="*/ 60633 h 114300"/>
                  <a:gd name="connsiteX66" fmla="*/ 98733 w 114300"/>
                  <a:gd name="connsiteY66" fmla="*/ 52061 h 114300"/>
                  <a:gd name="connsiteX67" fmla="*/ 100638 w 114300"/>
                  <a:gd name="connsiteY67" fmla="*/ 48251 h 114300"/>
                  <a:gd name="connsiteX68" fmla="*/ 105401 w 114300"/>
                  <a:gd name="connsiteY68" fmla="*/ 43488 h 114300"/>
                  <a:gd name="connsiteX69" fmla="*/ 100638 w 114300"/>
                  <a:gd name="connsiteY69" fmla="*/ 32058 h 114300"/>
                  <a:gd name="connsiteX70" fmla="*/ 93971 w 114300"/>
                  <a:gd name="connsiteY70" fmla="*/ 32058 h 114300"/>
                  <a:gd name="connsiteX71" fmla="*/ 90161 w 114300"/>
                  <a:gd name="connsiteY71" fmla="*/ 30153 h 114300"/>
                  <a:gd name="connsiteX72" fmla="*/ 84446 w 114300"/>
                  <a:gd name="connsiteY72" fmla="*/ 24438 h 114300"/>
                  <a:gd name="connsiteX73" fmla="*/ 82541 w 114300"/>
                  <a:gd name="connsiteY73" fmla="*/ 20628 h 114300"/>
                  <a:gd name="connsiteX74" fmla="*/ 82541 w 114300"/>
                  <a:gd name="connsiteY74" fmla="*/ 13961 h 114300"/>
                  <a:gd name="connsiteX75" fmla="*/ 71111 w 114300"/>
                  <a:gd name="connsiteY75" fmla="*/ 9198 h 114300"/>
                  <a:gd name="connsiteX76" fmla="*/ 66348 w 114300"/>
                  <a:gd name="connsiteY76" fmla="*/ 13961 h 114300"/>
                  <a:gd name="connsiteX77" fmla="*/ 62538 w 114300"/>
                  <a:gd name="connsiteY77" fmla="*/ 15866 h 114300"/>
                  <a:gd name="connsiteX78" fmla="*/ 53966 w 114300"/>
                  <a:gd name="connsiteY78" fmla="*/ 15866 h 114300"/>
                  <a:gd name="connsiteX79" fmla="*/ 50156 w 114300"/>
                  <a:gd name="connsiteY79" fmla="*/ 13961 h 114300"/>
                  <a:gd name="connsiteX80" fmla="*/ 45393 w 114300"/>
                  <a:gd name="connsiteY80" fmla="*/ 9198 h 114300"/>
                  <a:gd name="connsiteX81" fmla="*/ 33963 w 114300"/>
                  <a:gd name="connsiteY81" fmla="*/ 14913 h 114300"/>
                  <a:gd name="connsiteX82" fmla="*/ 33963 w 114300"/>
                  <a:gd name="connsiteY82" fmla="*/ 21581 h 114300"/>
                  <a:gd name="connsiteX83" fmla="*/ 32058 w 114300"/>
                  <a:gd name="connsiteY83" fmla="*/ 25391 h 114300"/>
                  <a:gd name="connsiteX84" fmla="*/ 26343 w 114300"/>
                  <a:gd name="connsiteY84" fmla="*/ 31106 h 114300"/>
                  <a:gd name="connsiteX85" fmla="*/ 22533 w 114300"/>
                  <a:gd name="connsiteY85" fmla="*/ 33011 h 114300"/>
                  <a:gd name="connsiteX86" fmla="*/ 15866 w 114300"/>
                  <a:gd name="connsiteY86" fmla="*/ 33011 h 114300"/>
                  <a:gd name="connsiteX87" fmla="*/ 11103 w 114300"/>
                  <a:gd name="connsiteY87" fmla="*/ 44441 h 114300"/>
                  <a:gd name="connsiteX88" fmla="*/ 15866 w 114300"/>
                  <a:gd name="connsiteY88" fmla="*/ 49203 h 114300"/>
                  <a:gd name="connsiteX89" fmla="*/ 17771 w 114300"/>
                  <a:gd name="connsiteY89" fmla="*/ 53013 h 114300"/>
                  <a:gd name="connsiteX90" fmla="*/ 17771 w 114300"/>
                  <a:gd name="connsiteY90" fmla="*/ 61586 h 114300"/>
                  <a:gd name="connsiteX91" fmla="*/ 15866 w 114300"/>
                  <a:gd name="connsiteY91" fmla="*/ 65396 h 114300"/>
                  <a:gd name="connsiteX92" fmla="*/ 11103 w 114300"/>
                  <a:gd name="connsiteY92" fmla="*/ 70158 h 114300"/>
                  <a:gd name="connsiteX93" fmla="*/ 15866 w 114300"/>
                  <a:gd name="connsiteY93" fmla="*/ 81588 h 114300"/>
                  <a:gd name="connsiteX94" fmla="*/ 22533 w 114300"/>
                  <a:gd name="connsiteY94" fmla="*/ 81588 h 114300"/>
                  <a:gd name="connsiteX95" fmla="*/ 26343 w 114300"/>
                  <a:gd name="connsiteY95" fmla="*/ 83493 h 114300"/>
                  <a:gd name="connsiteX96" fmla="*/ 32058 w 114300"/>
                  <a:gd name="connsiteY96" fmla="*/ 89208 h 114300"/>
                  <a:gd name="connsiteX97" fmla="*/ 33963 w 114300"/>
                  <a:gd name="connsiteY97" fmla="*/ 93018 h 114300"/>
                  <a:gd name="connsiteX98" fmla="*/ 33963 w 114300"/>
                  <a:gd name="connsiteY98" fmla="*/ 98733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14300" h="114300">
                    <a:moveTo>
                      <a:pt x="46346" y="113973"/>
                    </a:moveTo>
                    <a:cubicBezTo>
                      <a:pt x="45393" y="113973"/>
                      <a:pt x="45393" y="113973"/>
                      <a:pt x="44441" y="113973"/>
                    </a:cubicBezTo>
                    <a:lnTo>
                      <a:pt x="27296" y="107306"/>
                    </a:lnTo>
                    <a:cubicBezTo>
                      <a:pt x="25391" y="106353"/>
                      <a:pt x="24438" y="104448"/>
                      <a:pt x="24438" y="102543"/>
                    </a:cubicBezTo>
                    <a:lnTo>
                      <a:pt x="24438" y="94923"/>
                    </a:lnTo>
                    <a:cubicBezTo>
                      <a:pt x="23486" y="93971"/>
                      <a:pt x="21581" y="92066"/>
                      <a:pt x="20628" y="91113"/>
                    </a:cubicBezTo>
                    <a:lnTo>
                      <a:pt x="13008" y="91113"/>
                    </a:lnTo>
                    <a:cubicBezTo>
                      <a:pt x="11103" y="91113"/>
                      <a:pt x="9198" y="90161"/>
                      <a:pt x="8246" y="88256"/>
                    </a:cubicBezTo>
                    <a:lnTo>
                      <a:pt x="626" y="71111"/>
                    </a:lnTo>
                    <a:cubicBezTo>
                      <a:pt x="-327" y="69206"/>
                      <a:pt x="626" y="67301"/>
                      <a:pt x="1578" y="65396"/>
                    </a:cubicBezTo>
                    <a:lnTo>
                      <a:pt x="7293" y="60633"/>
                    </a:lnTo>
                    <a:cubicBezTo>
                      <a:pt x="7293" y="58728"/>
                      <a:pt x="7293" y="56823"/>
                      <a:pt x="7293" y="54918"/>
                    </a:cubicBezTo>
                    <a:lnTo>
                      <a:pt x="1578" y="50156"/>
                    </a:lnTo>
                    <a:cubicBezTo>
                      <a:pt x="-327" y="49203"/>
                      <a:pt x="-327" y="46346"/>
                      <a:pt x="626" y="44441"/>
                    </a:cubicBezTo>
                    <a:lnTo>
                      <a:pt x="7293" y="27296"/>
                    </a:lnTo>
                    <a:cubicBezTo>
                      <a:pt x="8246" y="25391"/>
                      <a:pt x="10151" y="24438"/>
                      <a:pt x="12056" y="24438"/>
                    </a:cubicBezTo>
                    <a:lnTo>
                      <a:pt x="19676" y="24438"/>
                    </a:lnTo>
                    <a:cubicBezTo>
                      <a:pt x="20628" y="23486"/>
                      <a:pt x="22533" y="21581"/>
                      <a:pt x="23486" y="20628"/>
                    </a:cubicBezTo>
                    <a:lnTo>
                      <a:pt x="23486" y="13008"/>
                    </a:lnTo>
                    <a:cubicBezTo>
                      <a:pt x="23486" y="11103"/>
                      <a:pt x="24438" y="9198"/>
                      <a:pt x="26343" y="8246"/>
                    </a:cubicBezTo>
                    <a:lnTo>
                      <a:pt x="43488" y="626"/>
                    </a:lnTo>
                    <a:cubicBezTo>
                      <a:pt x="45393" y="-327"/>
                      <a:pt x="47298" y="626"/>
                      <a:pt x="49203" y="1578"/>
                    </a:cubicBezTo>
                    <a:lnTo>
                      <a:pt x="53966" y="7293"/>
                    </a:lnTo>
                    <a:cubicBezTo>
                      <a:pt x="55871" y="7293"/>
                      <a:pt x="57776" y="7293"/>
                      <a:pt x="59681" y="7293"/>
                    </a:cubicBezTo>
                    <a:lnTo>
                      <a:pt x="64443" y="1578"/>
                    </a:lnTo>
                    <a:cubicBezTo>
                      <a:pt x="65396" y="-327"/>
                      <a:pt x="68253" y="-327"/>
                      <a:pt x="70158" y="626"/>
                    </a:cubicBezTo>
                    <a:lnTo>
                      <a:pt x="87303" y="7293"/>
                    </a:lnTo>
                    <a:cubicBezTo>
                      <a:pt x="89208" y="8246"/>
                      <a:pt x="90161" y="10151"/>
                      <a:pt x="90161" y="12056"/>
                    </a:cubicBezTo>
                    <a:lnTo>
                      <a:pt x="90161" y="19676"/>
                    </a:lnTo>
                    <a:cubicBezTo>
                      <a:pt x="91113" y="20628"/>
                      <a:pt x="93018" y="22533"/>
                      <a:pt x="93971" y="23486"/>
                    </a:cubicBezTo>
                    <a:lnTo>
                      <a:pt x="101591" y="23486"/>
                    </a:lnTo>
                    <a:cubicBezTo>
                      <a:pt x="103496" y="23486"/>
                      <a:pt x="105401" y="24438"/>
                      <a:pt x="106353" y="26343"/>
                    </a:cubicBezTo>
                    <a:lnTo>
                      <a:pt x="113973" y="43488"/>
                    </a:lnTo>
                    <a:cubicBezTo>
                      <a:pt x="114926" y="45393"/>
                      <a:pt x="113973" y="47298"/>
                      <a:pt x="113021" y="49203"/>
                    </a:cubicBezTo>
                    <a:lnTo>
                      <a:pt x="107306" y="53966"/>
                    </a:lnTo>
                    <a:cubicBezTo>
                      <a:pt x="107306" y="55871"/>
                      <a:pt x="107306" y="57776"/>
                      <a:pt x="107306" y="59681"/>
                    </a:cubicBezTo>
                    <a:lnTo>
                      <a:pt x="113021" y="64443"/>
                    </a:lnTo>
                    <a:cubicBezTo>
                      <a:pt x="114926" y="65396"/>
                      <a:pt x="114926" y="68253"/>
                      <a:pt x="113973" y="70158"/>
                    </a:cubicBezTo>
                    <a:lnTo>
                      <a:pt x="107306" y="87303"/>
                    </a:lnTo>
                    <a:cubicBezTo>
                      <a:pt x="106353" y="89208"/>
                      <a:pt x="104448" y="90161"/>
                      <a:pt x="102543" y="90161"/>
                    </a:cubicBezTo>
                    <a:lnTo>
                      <a:pt x="94923" y="90161"/>
                    </a:lnTo>
                    <a:cubicBezTo>
                      <a:pt x="93971" y="91113"/>
                      <a:pt x="92066" y="93018"/>
                      <a:pt x="91113" y="93971"/>
                    </a:cubicBezTo>
                    <a:lnTo>
                      <a:pt x="91113" y="101591"/>
                    </a:lnTo>
                    <a:cubicBezTo>
                      <a:pt x="91113" y="103496"/>
                      <a:pt x="90161" y="105401"/>
                      <a:pt x="88256" y="106353"/>
                    </a:cubicBezTo>
                    <a:lnTo>
                      <a:pt x="71111" y="113973"/>
                    </a:lnTo>
                    <a:cubicBezTo>
                      <a:pt x="69206" y="114926"/>
                      <a:pt x="67301" y="113973"/>
                      <a:pt x="65396" y="113021"/>
                    </a:cubicBezTo>
                    <a:lnTo>
                      <a:pt x="60633" y="107306"/>
                    </a:lnTo>
                    <a:cubicBezTo>
                      <a:pt x="58728" y="107306"/>
                      <a:pt x="56823" y="107306"/>
                      <a:pt x="54918" y="107306"/>
                    </a:cubicBezTo>
                    <a:lnTo>
                      <a:pt x="50156" y="113021"/>
                    </a:lnTo>
                    <a:cubicBezTo>
                      <a:pt x="49203" y="113021"/>
                      <a:pt x="48251" y="113973"/>
                      <a:pt x="46346" y="113973"/>
                    </a:cubicBezTo>
                    <a:close/>
                    <a:moveTo>
                      <a:pt x="33963" y="98733"/>
                    </a:moveTo>
                    <a:lnTo>
                      <a:pt x="45393" y="103496"/>
                    </a:lnTo>
                    <a:lnTo>
                      <a:pt x="50156" y="98733"/>
                    </a:lnTo>
                    <a:cubicBezTo>
                      <a:pt x="51108" y="97781"/>
                      <a:pt x="53013" y="96828"/>
                      <a:pt x="53966" y="96828"/>
                    </a:cubicBezTo>
                    <a:cubicBezTo>
                      <a:pt x="56823" y="96828"/>
                      <a:pt x="59681" y="96828"/>
                      <a:pt x="62538" y="96828"/>
                    </a:cubicBezTo>
                    <a:cubicBezTo>
                      <a:pt x="64443" y="96828"/>
                      <a:pt x="65396" y="96828"/>
                      <a:pt x="66348" y="98733"/>
                    </a:cubicBezTo>
                    <a:lnTo>
                      <a:pt x="71111" y="103496"/>
                    </a:lnTo>
                    <a:lnTo>
                      <a:pt x="82541" y="98733"/>
                    </a:lnTo>
                    <a:lnTo>
                      <a:pt x="82541" y="92066"/>
                    </a:lnTo>
                    <a:cubicBezTo>
                      <a:pt x="82541" y="90161"/>
                      <a:pt x="83493" y="89208"/>
                      <a:pt x="84446" y="88256"/>
                    </a:cubicBezTo>
                    <a:cubicBezTo>
                      <a:pt x="86351" y="86351"/>
                      <a:pt x="89208" y="84446"/>
                      <a:pt x="90161" y="82541"/>
                    </a:cubicBezTo>
                    <a:cubicBezTo>
                      <a:pt x="91113" y="81588"/>
                      <a:pt x="93018" y="80636"/>
                      <a:pt x="93971" y="80636"/>
                    </a:cubicBezTo>
                    <a:lnTo>
                      <a:pt x="100638" y="80636"/>
                    </a:lnTo>
                    <a:lnTo>
                      <a:pt x="105401" y="69206"/>
                    </a:lnTo>
                    <a:lnTo>
                      <a:pt x="100638" y="64443"/>
                    </a:lnTo>
                    <a:cubicBezTo>
                      <a:pt x="99686" y="63491"/>
                      <a:pt x="98733" y="61586"/>
                      <a:pt x="98733" y="60633"/>
                    </a:cubicBezTo>
                    <a:cubicBezTo>
                      <a:pt x="98733" y="57776"/>
                      <a:pt x="98733" y="54918"/>
                      <a:pt x="98733" y="52061"/>
                    </a:cubicBezTo>
                    <a:cubicBezTo>
                      <a:pt x="98733" y="50156"/>
                      <a:pt x="98733" y="49203"/>
                      <a:pt x="100638" y="48251"/>
                    </a:cubicBezTo>
                    <a:lnTo>
                      <a:pt x="105401" y="43488"/>
                    </a:lnTo>
                    <a:lnTo>
                      <a:pt x="100638" y="32058"/>
                    </a:lnTo>
                    <a:lnTo>
                      <a:pt x="93971" y="32058"/>
                    </a:lnTo>
                    <a:cubicBezTo>
                      <a:pt x="92066" y="32058"/>
                      <a:pt x="91113" y="31106"/>
                      <a:pt x="90161" y="30153"/>
                    </a:cubicBezTo>
                    <a:cubicBezTo>
                      <a:pt x="88256" y="28248"/>
                      <a:pt x="86351" y="25391"/>
                      <a:pt x="84446" y="24438"/>
                    </a:cubicBezTo>
                    <a:cubicBezTo>
                      <a:pt x="83493" y="23486"/>
                      <a:pt x="82541" y="21581"/>
                      <a:pt x="82541" y="20628"/>
                    </a:cubicBezTo>
                    <a:lnTo>
                      <a:pt x="82541" y="13961"/>
                    </a:lnTo>
                    <a:lnTo>
                      <a:pt x="71111" y="9198"/>
                    </a:lnTo>
                    <a:lnTo>
                      <a:pt x="66348" y="13961"/>
                    </a:lnTo>
                    <a:cubicBezTo>
                      <a:pt x="65396" y="14913"/>
                      <a:pt x="63491" y="15866"/>
                      <a:pt x="62538" y="15866"/>
                    </a:cubicBezTo>
                    <a:cubicBezTo>
                      <a:pt x="59681" y="15866"/>
                      <a:pt x="56823" y="15866"/>
                      <a:pt x="53966" y="15866"/>
                    </a:cubicBezTo>
                    <a:cubicBezTo>
                      <a:pt x="52061" y="15866"/>
                      <a:pt x="51108" y="15866"/>
                      <a:pt x="50156" y="13961"/>
                    </a:cubicBezTo>
                    <a:lnTo>
                      <a:pt x="45393" y="9198"/>
                    </a:lnTo>
                    <a:lnTo>
                      <a:pt x="33963" y="14913"/>
                    </a:lnTo>
                    <a:lnTo>
                      <a:pt x="33963" y="21581"/>
                    </a:lnTo>
                    <a:cubicBezTo>
                      <a:pt x="33963" y="23486"/>
                      <a:pt x="33011" y="24438"/>
                      <a:pt x="32058" y="25391"/>
                    </a:cubicBezTo>
                    <a:cubicBezTo>
                      <a:pt x="30153" y="27296"/>
                      <a:pt x="27296" y="29201"/>
                      <a:pt x="26343" y="31106"/>
                    </a:cubicBezTo>
                    <a:cubicBezTo>
                      <a:pt x="25391" y="32058"/>
                      <a:pt x="23486" y="33011"/>
                      <a:pt x="22533" y="33011"/>
                    </a:cubicBezTo>
                    <a:lnTo>
                      <a:pt x="15866" y="33011"/>
                    </a:lnTo>
                    <a:lnTo>
                      <a:pt x="11103" y="44441"/>
                    </a:lnTo>
                    <a:lnTo>
                      <a:pt x="15866" y="49203"/>
                    </a:lnTo>
                    <a:cubicBezTo>
                      <a:pt x="16818" y="50156"/>
                      <a:pt x="17771" y="52061"/>
                      <a:pt x="17771" y="53013"/>
                    </a:cubicBezTo>
                    <a:cubicBezTo>
                      <a:pt x="17771" y="55871"/>
                      <a:pt x="17771" y="58728"/>
                      <a:pt x="17771" y="61586"/>
                    </a:cubicBezTo>
                    <a:cubicBezTo>
                      <a:pt x="17771" y="63491"/>
                      <a:pt x="17771" y="64443"/>
                      <a:pt x="15866" y="65396"/>
                    </a:cubicBezTo>
                    <a:lnTo>
                      <a:pt x="11103" y="70158"/>
                    </a:lnTo>
                    <a:lnTo>
                      <a:pt x="15866" y="81588"/>
                    </a:lnTo>
                    <a:lnTo>
                      <a:pt x="22533" y="81588"/>
                    </a:lnTo>
                    <a:cubicBezTo>
                      <a:pt x="24438" y="81588"/>
                      <a:pt x="25391" y="82541"/>
                      <a:pt x="26343" y="83493"/>
                    </a:cubicBezTo>
                    <a:cubicBezTo>
                      <a:pt x="28248" y="85398"/>
                      <a:pt x="30153" y="88256"/>
                      <a:pt x="32058" y="89208"/>
                    </a:cubicBezTo>
                    <a:cubicBezTo>
                      <a:pt x="33011" y="90161"/>
                      <a:pt x="33963" y="92066"/>
                      <a:pt x="33963" y="93018"/>
                    </a:cubicBezTo>
                    <a:lnTo>
                      <a:pt x="33963" y="98733"/>
                    </a:lnTo>
                    <a:close/>
                  </a:path>
                </a:pathLst>
              </a:custGeom>
              <a:solidFill>
                <a:srgbClr val="101010"/>
              </a:solidFill>
              <a:ln w="9525" cap="flat">
                <a:noFill/>
                <a:prstDash val="solid"/>
                <a:miter/>
              </a:ln>
            </p:spPr>
            <p:txBody>
              <a:bodyPr rtlCol="0" anchor="ctr"/>
              <a:lstStyle/>
              <a:p>
                <a:endParaRPr lang="de-DE"/>
              </a:p>
            </p:txBody>
          </p:sp>
          <p:sp>
            <p:nvSpPr>
              <p:cNvPr id="5175" name="Freeform: Shape 5174">
                <a:extLst>
                  <a:ext uri="{FF2B5EF4-FFF2-40B4-BE49-F238E27FC236}">
                    <a16:creationId xmlns:a16="http://schemas.microsoft.com/office/drawing/2014/main" id="{B1C7037D-1C6E-4A0E-ABBF-346300AED0D9}"/>
                  </a:ext>
                </a:extLst>
              </p:cNvPr>
              <p:cNvSpPr/>
              <p:nvPr/>
            </p:nvSpPr>
            <p:spPr>
              <a:xfrm>
                <a:off x="6154323" y="3476845"/>
                <a:ext cx="38100" cy="38100"/>
              </a:xfrm>
              <a:custGeom>
                <a:avLst/>
                <a:gdLst>
                  <a:gd name="connsiteX0" fmla="*/ 22639 w 38100"/>
                  <a:gd name="connsiteY0" fmla="*/ 45499 h 38100"/>
                  <a:gd name="connsiteX1" fmla="*/ 14067 w 38100"/>
                  <a:gd name="connsiteY1" fmla="*/ 43594 h 38100"/>
                  <a:gd name="connsiteX2" fmla="*/ 1684 w 38100"/>
                  <a:gd name="connsiteY2" fmla="*/ 31212 h 38100"/>
                  <a:gd name="connsiteX3" fmla="*/ 14067 w 38100"/>
                  <a:gd name="connsiteY3" fmla="*/ 1684 h 38100"/>
                  <a:gd name="connsiteX4" fmla="*/ 43594 w 38100"/>
                  <a:gd name="connsiteY4" fmla="*/ 14067 h 38100"/>
                  <a:gd name="connsiteX5" fmla="*/ 43594 w 38100"/>
                  <a:gd name="connsiteY5" fmla="*/ 14067 h 38100"/>
                  <a:gd name="connsiteX6" fmla="*/ 31212 w 38100"/>
                  <a:gd name="connsiteY6" fmla="*/ 43594 h 38100"/>
                  <a:gd name="connsiteX7" fmla="*/ 22639 w 38100"/>
                  <a:gd name="connsiteY7" fmla="*/ 45499 h 38100"/>
                  <a:gd name="connsiteX8" fmla="*/ 22639 w 38100"/>
                  <a:gd name="connsiteY8" fmla="*/ 10257 h 38100"/>
                  <a:gd name="connsiteX9" fmla="*/ 17877 w 38100"/>
                  <a:gd name="connsiteY9" fmla="*/ 11209 h 38100"/>
                  <a:gd name="connsiteX10" fmla="*/ 11209 w 38100"/>
                  <a:gd name="connsiteY10" fmla="*/ 28354 h 38100"/>
                  <a:gd name="connsiteX11" fmla="*/ 17877 w 38100"/>
                  <a:gd name="connsiteY11" fmla="*/ 35022 h 38100"/>
                  <a:gd name="connsiteX12" fmla="*/ 27402 w 38100"/>
                  <a:gd name="connsiteY12" fmla="*/ 35022 h 38100"/>
                  <a:gd name="connsiteX13" fmla="*/ 34069 w 38100"/>
                  <a:gd name="connsiteY13" fmla="*/ 17877 h 38100"/>
                  <a:gd name="connsiteX14" fmla="*/ 22639 w 38100"/>
                  <a:gd name="connsiteY14" fmla="*/ 1025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22639" y="45499"/>
                    </a:moveTo>
                    <a:cubicBezTo>
                      <a:pt x="19782" y="45499"/>
                      <a:pt x="16924" y="44547"/>
                      <a:pt x="14067" y="43594"/>
                    </a:cubicBezTo>
                    <a:cubicBezTo>
                      <a:pt x="8352" y="41689"/>
                      <a:pt x="4542" y="36927"/>
                      <a:pt x="1684" y="31212"/>
                    </a:cubicBezTo>
                    <a:cubicBezTo>
                      <a:pt x="-3078" y="19782"/>
                      <a:pt x="2637" y="6447"/>
                      <a:pt x="14067" y="1684"/>
                    </a:cubicBezTo>
                    <a:cubicBezTo>
                      <a:pt x="25497" y="-3078"/>
                      <a:pt x="38832" y="2637"/>
                      <a:pt x="43594" y="14067"/>
                    </a:cubicBezTo>
                    <a:lnTo>
                      <a:pt x="43594" y="14067"/>
                    </a:lnTo>
                    <a:cubicBezTo>
                      <a:pt x="48357" y="25497"/>
                      <a:pt x="42642" y="38832"/>
                      <a:pt x="31212" y="43594"/>
                    </a:cubicBezTo>
                    <a:cubicBezTo>
                      <a:pt x="28354" y="44547"/>
                      <a:pt x="25497" y="45499"/>
                      <a:pt x="22639" y="45499"/>
                    </a:cubicBezTo>
                    <a:close/>
                    <a:moveTo>
                      <a:pt x="22639" y="10257"/>
                    </a:moveTo>
                    <a:cubicBezTo>
                      <a:pt x="20734" y="10257"/>
                      <a:pt x="19782" y="10257"/>
                      <a:pt x="17877" y="11209"/>
                    </a:cubicBezTo>
                    <a:cubicBezTo>
                      <a:pt x="11209" y="14067"/>
                      <a:pt x="8352" y="21687"/>
                      <a:pt x="11209" y="28354"/>
                    </a:cubicBezTo>
                    <a:cubicBezTo>
                      <a:pt x="12162" y="31212"/>
                      <a:pt x="15019" y="34069"/>
                      <a:pt x="17877" y="35022"/>
                    </a:cubicBezTo>
                    <a:cubicBezTo>
                      <a:pt x="20734" y="35974"/>
                      <a:pt x="24544" y="35974"/>
                      <a:pt x="27402" y="35022"/>
                    </a:cubicBezTo>
                    <a:cubicBezTo>
                      <a:pt x="34069" y="32164"/>
                      <a:pt x="36927" y="24544"/>
                      <a:pt x="34069" y="17877"/>
                    </a:cubicBezTo>
                    <a:cubicBezTo>
                      <a:pt x="32164" y="13114"/>
                      <a:pt x="27402" y="10257"/>
                      <a:pt x="22639" y="10257"/>
                    </a:cubicBezTo>
                    <a:close/>
                  </a:path>
                </a:pathLst>
              </a:custGeom>
              <a:solidFill>
                <a:srgbClr val="101010"/>
              </a:solidFill>
              <a:ln w="9525" cap="flat">
                <a:noFill/>
                <a:prstDash val="solid"/>
                <a:miter/>
              </a:ln>
            </p:spPr>
            <p:txBody>
              <a:bodyPr rtlCol="0" anchor="ctr"/>
              <a:lstStyle/>
              <a:p>
                <a:endParaRPr lang="de-DE"/>
              </a:p>
            </p:txBody>
          </p:sp>
        </p:grpSp>
      </p:grpSp>
      <p:sp>
        <p:nvSpPr>
          <p:cNvPr id="5180" name="Graphic 3">
            <a:extLst>
              <a:ext uri="{FF2B5EF4-FFF2-40B4-BE49-F238E27FC236}">
                <a16:creationId xmlns:a16="http://schemas.microsoft.com/office/drawing/2014/main" id="{4C22EB6A-FA3B-4BD5-BA4A-FE4C1CB068A5}"/>
              </a:ext>
              <a:ext uri="{C183D7F6-B498-43B3-948B-1728B52AA6E4}">
                <adec:decorative xmlns:adec="http://schemas.microsoft.com/office/drawing/2017/decorative" val="1"/>
              </a:ext>
            </a:extLst>
          </p:cNvPr>
          <p:cNvSpPr>
            <a:spLocks noChangeAspect="1"/>
          </p:cNvSpPr>
          <p:nvPr/>
        </p:nvSpPr>
        <p:spPr>
          <a:xfrm>
            <a:off x="865383" y="3824314"/>
            <a:ext cx="131640" cy="100849"/>
          </a:xfrm>
          <a:custGeom>
            <a:avLst/>
            <a:gdLst>
              <a:gd name="connsiteX0" fmla="*/ 1949017 w 1949016"/>
              <a:gd name="connsiteY0" fmla="*/ 645190 h 1478560"/>
              <a:gd name="connsiteX1" fmla="*/ 1841485 w 1949016"/>
              <a:gd name="connsiteY1" fmla="*/ 598145 h 1478560"/>
              <a:gd name="connsiteX2" fmla="*/ 1841485 w 1949016"/>
              <a:gd name="connsiteY2" fmla="*/ 598145 h 1478560"/>
              <a:gd name="connsiteX3" fmla="*/ 1707070 w 1949016"/>
              <a:gd name="connsiteY3" fmla="*/ 678794 h 1478560"/>
              <a:gd name="connsiteX4" fmla="*/ 1666745 w 1949016"/>
              <a:gd name="connsiteY4" fmla="*/ 678794 h 1478560"/>
              <a:gd name="connsiteX5" fmla="*/ 1666745 w 1949016"/>
              <a:gd name="connsiteY5" fmla="*/ 349478 h 1478560"/>
              <a:gd name="connsiteX6" fmla="*/ 1646583 w 1949016"/>
              <a:gd name="connsiteY6" fmla="*/ 329316 h 1478560"/>
              <a:gd name="connsiteX7" fmla="*/ 1646583 w 1949016"/>
              <a:gd name="connsiteY7" fmla="*/ 329316 h 1478560"/>
              <a:gd name="connsiteX8" fmla="*/ 1303825 w 1949016"/>
              <a:gd name="connsiteY8" fmla="*/ 329316 h 1478560"/>
              <a:gd name="connsiteX9" fmla="*/ 1283663 w 1949016"/>
              <a:gd name="connsiteY9" fmla="*/ 349478 h 1478560"/>
              <a:gd name="connsiteX10" fmla="*/ 1283663 w 1949016"/>
              <a:gd name="connsiteY10" fmla="*/ 349478 h 1478560"/>
              <a:gd name="connsiteX11" fmla="*/ 1283663 w 1949016"/>
              <a:gd name="connsiteY11" fmla="*/ 349478 h 1478560"/>
              <a:gd name="connsiteX12" fmla="*/ 1283663 w 1949016"/>
              <a:gd name="connsiteY12" fmla="*/ 423406 h 1478560"/>
              <a:gd name="connsiteX13" fmla="*/ 1283663 w 1949016"/>
              <a:gd name="connsiteY13" fmla="*/ 423406 h 1478560"/>
              <a:gd name="connsiteX14" fmla="*/ 1297104 w 1949016"/>
              <a:gd name="connsiteY14" fmla="*/ 450289 h 1478560"/>
              <a:gd name="connsiteX15" fmla="*/ 1364312 w 1949016"/>
              <a:gd name="connsiteY15" fmla="*/ 551100 h 1478560"/>
              <a:gd name="connsiteX16" fmla="*/ 1330708 w 1949016"/>
              <a:gd name="connsiteY16" fmla="*/ 631749 h 1478560"/>
              <a:gd name="connsiteX17" fmla="*/ 1250059 w 1949016"/>
              <a:gd name="connsiteY17" fmla="*/ 665352 h 1478560"/>
              <a:gd name="connsiteX18" fmla="*/ 1135806 w 1949016"/>
              <a:gd name="connsiteY18" fmla="*/ 551100 h 1478560"/>
              <a:gd name="connsiteX19" fmla="*/ 1209734 w 1949016"/>
              <a:gd name="connsiteY19" fmla="*/ 443568 h 1478560"/>
              <a:gd name="connsiteX20" fmla="*/ 1223176 w 1949016"/>
              <a:gd name="connsiteY20" fmla="*/ 423406 h 1478560"/>
              <a:gd name="connsiteX21" fmla="*/ 1223176 w 1949016"/>
              <a:gd name="connsiteY21" fmla="*/ 349478 h 1478560"/>
              <a:gd name="connsiteX22" fmla="*/ 1223176 w 1949016"/>
              <a:gd name="connsiteY22" fmla="*/ 349478 h 1478560"/>
              <a:gd name="connsiteX23" fmla="*/ 1223176 w 1949016"/>
              <a:gd name="connsiteY23" fmla="*/ 349478 h 1478560"/>
              <a:gd name="connsiteX24" fmla="*/ 1182852 w 1949016"/>
              <a:gd name="connsiteY24" fmla="*/ 336037 h 1478560"/>
              <a:gd name="connsiteX25" fmla="*/ 1182852 w 1949016"/>
              <a:gd name="connsiteY25" fmla="*/ 336037 h 1478560"/>
              <a:gd name="connsiteX26" fmla="*/ 826652 w 1949016"/>
              <a:gd name="connsiteY26" fmla="*/ 336037 h 1478560"/>
              <a:gd name="connsiteX27" fmla="*/ 826652 w 1949016"/>
              <a:gd name="connsiteY27" fmla="*/ 336037 h 1478560"/>
              <a:gd name="connsiteX28" fmla="*/ 826652 w 1949016"/>
              <a:gd name="connsiteY28" fmla="*/ 336037 h 1478560"/>
              <a:gd name="connsiteX29" fmla="*/ 497335 w 1949016"/>
              <a:gd name="connsiteY29" fmla="*/ 336037 h 1478560"/>
              <a:gd name="connsiteX30" fmla="*/ 497335 w 1949016"/>
              <a:gd name="connsiteY30" fmla="*/ 295712 h 1478560"/>
              <a:gd name="connsiteX31" fmla="*/ 584705 w 1949016"/>
              <a:gd name="connsiteY31" fmla="*/ 154577 h 1478560"/>
              <a:gd name="connsiteX32" fmla="*/ 537660 w 1949016"/>
              <a:gd name="connsiteY32" fmla="*/ 47045 h 1478560"/>
              <a:gd name="connsiteX33" fmla="*/ 423407 w 1949016"/>
              <a:gd name="connsiteY33" fmla="*/ 0 h 1478560"/>
              <a:gd name="connsiteX34" fmla="*/ 423407 w 1949016"/>
              <a:gd name="connsiteY34" fmla="*/ 0 h 1478560"/>
              <a:gd name="connsiteX35" fmla="*/ 268830 w 1949016"/>
              <a:gd name="connsiteY35" fmla="*/ 154577 h 1478560"/>
              <a:gd name="connsiteX36" fmla="*/ 349479 w 1949016"/>
              <a:gd name="connsiteY36" fmla="*/ 288991 h 1478560"/>
              <a:gd name="connsiteX37" fmla="*/ 349479 w 1949016"/>
              <a:gd name="connsiteY37" fmla="*/ 329316 h 1478560"/>
              <a:gd name="connsiteX38" fmla="*/ 20162 w 1949016"/>
              <a:gd name="connsiteY38" fmla="*/ 336037 h 1478560"/>
              <a:gd name="connsiteX39" fmla="*/ 0 w 1949016"/>
              <a:gd name="connsiteY39" fmla="*/ 356199 h 1478560"/>
              <a:gd name="connsiteX40" fmla="*/ 0 w 1949016"/>
              <a:gd name="connsiteY40" fmla="*/ 698956 h 1478560"/>
              <a:gd name="connsiteX41" fmla="*/ 20162 w 1949016"/>
              <a:gd name="connsiteY41" fmla="*/ 719118 h 1478560"/>
              <a:gd name="connsiteX42" fmla="*/ 20162 w 1949016"/>
              <a:gd name="connsiteY42" fmla="*/ 719118 h 1478560"/>
              <a:gd name="connsiteX43" fmla="*/ 20162 w 1949016"/>
              <a:gd name="connsiteY43" fmla="*/ 719118 h 1478560"/>
              <a:gd name="connsiteX44" fmla="*/ 20162 w 1949016"/>
              <a:gd name="connsiteY44" fmla="*/ 719118 h 1478560"/>
              <a:gd name="connsiteX45" fmla="*/ 94090 w 1949016"/>
              <a:gd name="connsiteY45" fmla="*/ 719118 h 1478560"/>
              <a:gd name="connsiteX46" fmla="*/ 94090 w 1949016"/>
              <a:gd name="connsiteY46" fmla="*/ 719118 h 1478560"/>
              <a:gd name="connsiteX47" fmla="*/ 120973 w 1949016"/>
              <a:gd name="connsiteY47" fmla="*/ 705677 h 1478560"/>
              <a:gd name="connsiteX48" fmla="*/ 221785 w 1949016"/>
              <a:gd name="connsiteY48" fmla="*/ 638469 h 1478560"/>
              <a:gd name="connsiteX49" fmla="*/ 221785 w 1949016"/>
              <a:gd name="connsiteY49" fmla="*/ 638469 h 1478560"/>
              <a:gd name="connsiteX50" fmla="*/ 336037 w 1949016"/>
              <a:gd name="connsiteY50" fmla="*/ 752722 h 1478560"/>
              <a:gd name="connsiteX51" fmla="*/ 221785 w 1949016"/>
              <a:gd name="connsiteY51" fmla="*/ 873695 h 1478560"/>
              <a:gd name="connsiteX52" fmla="*/ 221785 w 1949016"/>
              <a:gd name="connsiteY52" fmla="*/ 873695 h 1478560"/>
              <a:gd name="connsiteX53" fmla="*/ 114253 w 1949016"/>
              <a:gd name="connsiteY53" fmla="*/ 799767 h 1478560"/>
              <a:gd name="connsiteX54" fmla="*/ 94090 w 1949016"/>
              <a:gd name="connsiteY54" fmla="*/ 786325 h 1478560"/>
              <a:gd name="connsiteX55" fmla="*/ 20162 w 1949016"/>
              <a:gd name="connsiteY55" fmla="*/ 786325 h 1478560"/>
              <a:gd name="connsiteX56" fmla="*/ 20162 w 1949016"/>
              <a:gd name="connsiteY56" fmla="*/ 786325 h 1478560"/>
              <a:gd name="connsiteX57" fmla="*/ 20162 w 1949016"/>
              <a:gd name="connsiteY57" fmla="*/ 786325 h 1478560"/>
              <a:gd name="connsiteX58" fmla="*/ 20162 w 1949016"/>
              <a:gd name="connsiteY58" fmla="*/ 786325 h 1478560"/>
              <a:gd name="connsiteX59" fmla="*/ 20162 w 1949016"/>
              <a:gd name="connsiteY59" fmla="*/ 786325 h 1478560"/>
              <a:gd name="connsiteX60" fmla="*/ 0 w 1949016"/>
              <a:gd name="connsiteY60" fmla="*/ 806488 h 1478560"/>
              <a:gd name="connsiteX61" fmla="*/ 0 w 1949016"/>
              <a:gd name="connsiteY61" fmla="*/ 1162686 h 1478560"/>
              <a:gd name="connsiteX62" fmla="*/ 20162 w 1949016"/>
              <a:gd name="connsiteY62" fmla="*/ 1182849 h 1478560"/>
              <a:gd name="connsiteX63" fmla="*/ 20162 w 1949016"/>
              <a:gd name="connsiteY63" fmla="*/ 1182849 h 1478560"/>
              <a:gd name="connsiteX64" fmla="*/ 356200 w 1949016"/>
              <a:gd name="connsiteY64" fmla="*/ 1182849 h 1478560"/>
              <a:gd name="connsiteX65" fmla="*/ 356200 w 1949016"/>
              <a:gd name="connsiteY65" fmla="*/ 1223173 h 1478560"/>
              <a:gd name="connsiteX66" fmla="*/ 268830 w 1949016"/>
              <a:gd name="connsiteY66" fmla="*/ 1364308 h 1478560"/>
              <a:gd name="connsiteX67" fmla="*/ 315875 w 1949016"/>
              <a:gd name="connsiteY67" fmla="*/ 1471840 h 1478560"/>
              <a:gd name="connsiteX68" fmla="*/ 423407 w 1949016"/>
              <a:gd name="connsiteY68" fmla="*/ 1518885 h 1478560"/>
              <a:gd name="connsiteX69" fmla="*/ 423407 w 1949016"/>
              <a:gd name="connsiteY69" fmla="*/ 1518885 h 1478560"/>
              <a:gd name="connsiteX70" fmla="*/ 537660 w 1949016"/>
              <a:gd name="connsiteY70" fmla="*/ 1478561 h 1478560"/>
              <a:gd name="connsiteX71" fmla="*/ 584705 w 1949016"/>
              <a:gd name="connsiteY71" fmla="*/ 1371029 h 1478560"/>
              <a:gd name="connsiteX72" fmla="*/ 510777 w 1949016"/>
              <a:gd name="connsiteY72" fmla="*/ 1236614 h 1478560"/>
              <a:gd name="connsiteX73" fmla="*/ 510777 w 1949016"/>
              <a:gd name="connsiteY73" fmla="*/ 1189569 h 1478560"/>
              <a:gd name="connsiteX74" fmla="*/ 833373 w 1949016"/>
              <a:gd name="connsiteY74" fmla="*/ 1189569 h 1478560"/>
              <a:gd name="connsiteX75" fmla="*/ 833373 w 1949016"/>
              <a:gd name="connsiteY75" fmla="*/ 1189569 h 1478560"/>
              <a:gd name="connsiteX76" fmla="*/ 833373 w 1949016"/>
              <a:gd name="connsiteY76" fmla="*/ 1189569 h 1478560"/>
              <a:gd name="connsiteX77" fmla="*/ 1189572 w 1949016"/>
              <a:gd name="connsiteY77" fmla="*/ 1189569 h 1478560"/>
              <a:gd name="connsiteX78" fmla="*/ 1203014 w 1949016"/>
              <a:gd name="connsiteY78" fmla="*/ 1182849 h 1478560"/>
              <a:gd name="connsiteX79" fmla="*/ 1209734 w 1949016"/>
              <a:gd name="connsiteY79" fmla="*/ 1169407 h 1478560"/>
              <a:gd name="connsiteX80" fmla="*/ 1209734 w 1949016"/>
              <a:gd name="connsiteY80" fmla="*/ 1095479 h 1478560"/>
              <a:gd name="connsiteX81" fmla="*/ 1196293 w 1949016"/>
              <a:gd name="connsiteY81" fmla="*/ 1075317 h 1478560"/>
              <a:gd name="connsiteX82" fmla="*/ 1122365 w 1949016"/>
              <a:gd name="connsiteY82" fmla="*/ 967785 h 1478560"/>
              <a:gd name="connsiteX83" fmla="*/ 1155969 w 1949016"/>
              <a:gd name="connsiteY83" fmla="*/ 887136 h 1478560"/>
              <a:gd name="connsiteX84" fmla="*/ 1236617 w 1949016"/>
              <a:gd name="connsiteY84" fmla="*/ 853533 h 1478560"/>
              <a:gd name="connsiteX85" fmla="*/ 1236617 w 1949016"/>
              <a:gd name="connsiteY85" fmla="*/ 853533 h 1478560"/>
              <a:gd name="connsiteX86" fmla="*/ 1317266 w 1949016"/>
              <a:gd name="connsiteY86" fmla="*/ 887136 h 1478560"/>
              <a:gd name="connsiteX87" fmla="*/ 1350870 w 1949016"/>
              <a:gd name="connsiteY87" fmla="*/ 967785 h 1478560"/>
              <a:gd name="connsiteX88" fmla="*/ 1283663 w 1949016"/>
              <a:gd name="connsiteY88" fmla="*/ 1068596 h 1478560"/>
              <a:gd name="connsiteX89" fmla="*/ 1270221 w 1949016"/>
              <a:gd name="connsiteY89" fmla="*/ 1088758 h 1478560"/>
              <a:gd name="connsiteX90" fmla="*/ 1270221 w 1949016"/>
              <a:gd name="connsiteY90" fmla="*/ 1162686 h 1478560"/>
              <a:gd name="connsiteX91" fmla="*/ 1276942 w 1949016"/>
              <a:gd name="connsiteY91" fmla="*/ 1176128 h 1478560"/>
              <a:gd name="connsiteX92" fmla="*/ 1290383 w 1949016"/>
              <a:gd name="connsiteY92" fmla="*/ 1182849 h 1478560"/>
              <a:gd name="connsiteX93" fmla="*/ 1290383 w 1949016"/>
              <a:gd name="connsiteY93" fmla="*/ 1182849 h 1478560"/>
              <a:gd name="connsiteX94" fmla="*/ 1633141 w 1949016"/>
              <a:gd name="connsiteY94" fmla="*/ 1182849 h 1478560"/>
              <a:gd name="connsiteX95" fmla="*/ 1653304 w 1949016"/>
              <a:gd name="connsiteY95" fmla="*/ 1162686 h 1478560"/>
              <a:gd name="connsiteX96" fmla="*/ 1653304 w 1949016"/>
              <a:gd name="connsiteY96" fmla="*/ 833371 h 1478560"/>
              <a:gd name="connsiteX97" fmla="*/ 1693628 w 1949016"/>
              <a:gd name="connsiteY97" fmla="*/ 833371 h 1478560"/>
              <a:gd name="connsiteX98" fmla="*/ 1828043 w 1949016"/>
              <a:gd name="connsiteY98" fmla="*/ 914019 h 1478560"/>
              <a:gd name="connsiteX99" fmla="*/ 1828043 w 1949016"/>
              <a:gd name="connsiteY99" fmla="*/ 914019 h 1478560"/>
              <a:gd name="connsiteX100" fmla="*/ 1935575 w 1949016"/>
              <a:gd name="connsiteY100" fmla="*/ 866974 h 1478560"/>
              <a:gd name="connsiteX101" fmla="*/ 1982620 w 1949016"/>
              <a:gd name="connsiteY101" fmla="*/ 759443 h 1478560"/>
              <a:gd name="connsiteX102" fmla="*/ 1949017 w 1949016"/>
              <a:gd name="connsiteY102" fmla="*/ 645190 h 1478560"/>
              <a:gd name="connsiteX103" fmla="*/ 483894 w 1949016"/>
              <a:gd name="connsiteY103" fmla="*/ 1142524 h 1478560"/>
              <a:gd name="connsiteX104" fmla="*/ 463732 w 1949016"/>
              <a:gd name="connsiteY104" fmla="*/ 1162686 h 1478560"/>
              <a:gd name="connsiteX105" fmla="*/ 463732 w 1949016"/>
              <a:gd name="connsiteY105" fmla="*/ 1162686 h 1478560"/>
              <a:gd name="connsiteX106" fmla="*/ 463732 w 1949016"/>
              <a:gd name="connsiteY106" fmla="*/ 1162686 h 1478560"/>
              <a:gd name="connsiteX107" fmla="*/ 463732 w 1949016"/>
              <a:gd name="connsiteY107" fmla="*/ 1236614 h 1478560"/>
              <a:gd name="connsiteX108" fmla="*/ 463732 w 1949016"/>
              <a:gd name="connsiteY108" fmla="*/ 1236614 h 1478560"/>
              <a:gd name="connsiteX109" fmla="*/ 477173 w 1949016"/>
              <a:gd name="connsiteY109" fmla="*/ 1263497 h 1478560"/>
              <a:gd name="connsiteX110" fmla="*/ 544381 w 1949016"/>
              <a:gd name="connsiteY110" fmla="*/ 1364308 h 1478560"/>
              <a:gd name="connsiteX111" fmla="*/ 510777 w 1949016"/>
              <a:gd name="connsiteY111" fmla="*/ 1444957 h 1478560"/>
              <a:gd name="connsiteX112" fmla="*/ 423407 w 1949016"/>
              <a:gd name="connsiteY112" fmla="*/ 1478561 h 1478560"/>
              <a:gd name="connsiteX113" fmla="*/ 423407 w 1949016"/>
              <a:gd name="connsiteY113" fmla="*/ 1478561 h 1478560"/>
              <a:gd name="connsiteX114" fmla="*/ 342758 w 1949016"/>
              <a:gd name="connsiteY114" fmla="*/ 1444957 h 1478560"/>
              <a:gd name="connsiteX115" fmla="*/ 309154 w 1949016"/>
              <a:gd name="connsiteY115" fmla="*/ 1364308 h 1478560"/>
              <a:gd name="connsiteX116" fmla="*/ 383083 w 1949016"/>
              <a:gd name="connsiteY116" fmla="*/ 1256777 h 1478560"/>
              <a:gd name="connsiteX117" fmla="*/ 396524 w 1949016"/>
              <a:gd name="connsiteY117" fmla="*/ 1236614 h 1478560"/>
              <a:gd name="connsiteX118" fmla="*/ 396524 w 1949016"/>
              <a:gd name="connsiteY118" fmla="*/ 1162686 h 1478560"/>
              <a:gd name="connsiteX119" fmla="*/ 396524 w 1949016"/>
              <a:gd name="connsiteY119" fmla="*/ 1162686 h 1478560"/>
              <a:gd name="connsiteX120" fmla="*/ 396524 w 1949016"/>
              <a:gd name="connsiteY120" fmla="*/ 1162686 h 1478560"/>
              <a:gd name="connsiteX121" fmla="*/ 376362 w 1949016"/>
              <a:gd name="connsiteY121" fmla="*/ 1142524 h 1478560"/>
              <a:gd name="connsiteX122" fmla="*/ 376362 w 1949016"/>
              <a:gd name="connsiteY122" fmla="*/ 1142524 h 1478560"/>
              <a:gd name="connsiteX123" fmla="*/ 40324 w 1949016"/>
              <a:gd name="connsiteY123" fmla="*/ 1142524 h 1478560"/>
              <a:gd name="connsiteX124" fmla="*/ 40324 w 1949016"/>
              <a:gd name="connsiteY124" fmla="*/ 833371 h 1478560"/>
              <a:gd name="connsiteX125" fmla="*/ 80649 w 1949016"/>
              <a:gd name="connsiteY125" fmla="*/ 833371 h 1478560"/>
              <a:gd name="connsiteX126" fmla="*/ 221785 w 1949016"/>
              <a:gd name="connsiteY126" fmla="*/ 920740 h 1478560"/>
              <a:gd name="connsiteX127" fmla="*/ 221785 w 1949016"/>
              <a:gd name="connsiteY127" fmla="*/ 920740 h 1478560"/>
              <a:gd name="connsiteX128" fmla="*/ 376362 w 1949016"/>
              <a:gd name="connsiteY128" fmla="*/ 766163 h 1478560"/>
              <a:gd name="connsiteX129" fmla="*/ 221785 w 1949016"/>
              <a:gd name="connsiteY129" fmla="*/ 604866 h 1478560"/>
              <a:gd name="connsiteX130" fmla="*/ 221785 w 1949016"/>
              <a:gd name="connsiteY130" fmla="*/ 604866 h 1478560"/>
              <a:gd name="connsiteX131" fmla="*/ 87370 w 1949016"/>
              <a:gd name="connsiteY131" fmla="*/ 678794 h 1478560"/>
              <a:gd name="connsiteX132" fmla="*/ 40324 w 1949016"/>
              <a:gd name="connsiteY132" fmla="*/ 678794 h 1478560"/>
              <a:gd name="connsiteX133" fmla="*/ 40324 w 1949016"/>
              <a:gd name="connsiteY133" fmla="*/ 376361 h 1478560"/>
              <a:gd name="connsiteX134" fmla="*/ 369641 w 1949016"/>
              <a:gd name="connsiteY134" fmla="*/ 376361 h 1478560"/>
              <a:gd name="connsiteX135" fmla="*/ 383083 w 1949016"/>
              <a:gd name="connsiteY135" fmla="*/ 369640 h 1478560"/>
              <a:gd name="connsiteX136" fmla="*/ 389803 w 1949016"/>
              <a:gd name="connsiteY136" fmla="*/ 356199 h 1478560"/>
              <a:gd name="connsiteX137" fmla="*/ 389803 w 1949016"/>
              <a:gd name="connsiteY137" fmla="*/ 275550 h 1478560"/>
              <a:gd name="connsiteX138" fmla="*/ 376362 w 1949016"/>
              <a:gd name="connsiteY138" fmla="*/ 255388 h 1478560"/>
              <a:gd name="connsiteX139" fmla="*/ 309154 w 1949016"/>
              <a:gd name="connsiteY139" fmla="*/ 154577 h 1478560"/>
              <a:gd name="connsiteX140" fmla="*/ 423407 w 1949016"/>
              <a:gd name="connsiteY140" fmla="*/ 40324 h 1478560"/>
              <a:gd name="connsiteX141" fmla="*/ 504056 w 1949016"/>
              <a:gd name="connsiteY141" fmla="*/ 73928 h 1478560"/>
              <a:gd name="connsiteX142" fmla="*/ 537660 w 1949016"/>
              <a:gd name="connsiteY142" fmla="*/ 154577 h 1478560"/>
              <a:gd name="connsiteX143" fmla="*/ 470452 w 1949016"/>
              <a:gd name="connsiteY143" fmla="*/ 262109 h 1478560"/>
              <a:gd name="connsiteX144" fmla="*/ 457011 w 1949016"/>
              <a:gd name="connsiteY144" fmla="*/ 282271 h 1478560"/>
              <a:gd name="connsiteX145" fmla="*/ 457011 w 1949016"/>
              <a:gd name="connsiteY145" fmla="*/ 362919 h 1478560"/>
              <a:gd name="connsiteX146" fmla="*/ 477173 w 1949016"/>
              <a:gd name="connsiteY146" fmla="*/ 383082 h 1478560"/>
              <a:gd name="connsiteX147" fmla="*/ 477173 w 1949016"/>
              <a:gd name="connsiteY147" fmla="*/ 383082 h 1478560"/>
              <a:gd name="connsiteX148" fmla="*/ 806490 w 1949016"/>
              <a:gd name="connsiteY148" fmla="*/ 383082 h 1478560"/>
              <a:gd name="connsiteX149" fmla="*/ 806490 w 1949016"/>
              <a:gd name="connsiteY149" fmla="*/ 631749 h 1478560"/>
              <a:gd name="connsiteX150" fmla="*/ 806490 w 1949016"/>
              <a:gd name="connsiteY150" fmla="*/ 685515 h 1478560"/>
              <a:gd name="connsiteX151" fmla="*/ 766165 w 1949016"/>
              <a:gd name="connsiteY151" fmla="*/ 685515 h 1478560"/>
              <a:gd name="connsiteX152" fmla="*/ 631750 w 1949016"/>
              <a:gd name="connsiteY152" fmla="*/ 604866 h 1478560"/>
              <a:gd name="connsiteX153" fmla="*/ 631750 w 1949016"/>
              <a:gd name="connsiteY153" fmla="*/ 604866 h 1478560"/>
              <a:gd name="connsiteX154" fmla="*/ 517497 w 1949016"/>
              <a:gd name="connsiteY154" fmla="*/ 651911 h 1478560"/>
              <a:gd name="connsiteX155" fmla="*/ 470452 w 1949016"/>
              <a:gd name="connsiteY155" fmla="*/ 759443 h 1478560"/>
              <a:gd name="connsiteX156" fmla="*/ 517497 w 1949016"/>
              <a:gd name="connsiteY156" fmla="*/ 866974 h 1478560"/>
              <a:gd name="connsiteX157" fmla="*/ 625029 w 1949016"/>
              <a:gd name="connsiteY157" fmla="*/ 914019 h 1478560"/>
              <a:gd name="connsiteX158" fmla="*/ 625029 w 1949016"/>
              <a:gd name="connsiteY158" fmla="*/ 914019 h 1478560"/>
              <a:gd name="connsiteX159" fmla="*/ 766165 w 1949016"/>
              <a:gd name="connsiteY159" fmla="*/ 826650 h 1478560"/>
              <a:gd name="connsiteX160" fmla="*/ 799769 w 1949016"/>
              <a:gd name="connsiteY160" fmla="*/ 826650 h 1478560"/>
              <a:gd name="connsiteX161" fmla="*/ 799769 w 1949016"/>
              <a:gd name="connsiteY161" fmla="*/ 1135803 h 1478560"/>
              <a:gd name="connsiteX162" fmla="*/ 483894 w 1949016"/>
              <a:gd name="connsiteY162" fmla="*/ 1142524 h 1478560"/>
              <a:gd name="connsiteX163" fmla="*/ 1915413 w 1949016"/>
              <a:gd name="connsiteY163" fmla="*/ 840091 h 1478560"/>
              <a:gd name="connsiteX164" fmla="*/ 1834764 w 1949016"/>
              <a:gd name="connsiteY164" fmla="*/ 873695 h 1478560"/>
              <a:gd name="connsiteX165" fmla="*/ 1834764 w 1949016"/>
              <a:gd name="connsiteY165" fmla="*/ 873695 h 1478560"/>
              <a:gd name="connsiteX166" fmla="*/ 1733953 w 1949016"/>
              <a:gd name="connsiteY166" fmla="*/ 806488 h 1478560"/>
              <a:gd name="connsiteX167" fmla="*/ 1713790 w 1949016"/>
              <a:gd name="connsiteY167" fmla="*/ 793046 h 1478560"/>
              <a:gd name="connsiteX168" fmla="*/ 1713790 w 1949016"/>
              <a:gd name="connsiteY168" fmla="*/ 793046 h 1478560"/>
              <a:gd name="connsiteX169" fmla="*/ 1633141 w 1949016"/>
              <a:gd name="connsiteY169" fmla="*/ 793046 h 1478560"/>
              <a:gd name="connsiteX170" fmla="*/ 1612979 w 1949016"/>
              <a:gd name="connsiteY170" fmla="*/ 813208 h 1478560"/>
              <a:gd name="connsiteX171" fmla="*/ 1612979 w 1949016"/>
              <a:gd name="connsiteY171" fmla="*/ 1142524 h 1478560"/>
              <a:gd name="connsiteX172" fmla="*/ 1310546 w 1949016"/>
              <a:gd name="connsiteY172" fmla="*/ 1142524 h 1478560"/>
              <a:gd name="connsiteX173" fmla="*/ 1310546 w 1949016"/>
              <a:gd name="connsiteY173" fmla="*/ 1102200 h 1478560"/>
              <a:gd name="connsiteX174" fmla="*/ 1384474 w 1949016"/>
              <a:gd name="connsiteY174" fmla="*/ 967785 h 1478560"/>
              <a:gd name="connsiteX175" fmla="*/ 1337429 w 1949016"/>
              <a:gd name="connsiteY175" fmla="*/ 860254 h 1478560"/>
              <a:gd name="connsiteX176" fmla="*/ 1229897 w 1949016"/>
              <a:gd name="connsiteY176" fmla="*/ 813208 h 1478560"/>
              <a:gd name="connsiteX177" fmla="*/ 1229897 w 1949016"/>
              <a:gd name="connsiteY177" fmla="*/ 813208 h 1478560"/>
              <a:gd name="connsiteX178" fmla="*/ 1122365 w 1949016"/>
              <a:gd name="connsiteY178" fmla="*/ 860254 h 1478560"/>
              <a:gd name="connsiteX179" fmla="*/ 1075320 w 1949016"/>
              <a:gd name="connsiteY179" fmla="*/ 967785 h 1478560"/>
              <a:gd name="connsiteX180" fmla="*/ 1162689 w 1949016"/>
              <a:gd name="connsiteY180" fmla="*/ 1108921 h 1478560"/>
              <a:gd name="connsiteX181" fmla="*/ 1162689 w 1949016"/>
              <a:gd name="connsiteY181" fmla="*/ 1142524 h 1478560"/>
              <a:gd name="connsiteX182" fmla="*/ 853535 w 1949016"/>
              <a:gd name="connsiteY182" fmla="*/ 1142524 h 1478560"/>
              <a:gd name="connsiteX183" fmla="*/ 853535 w 1949016"/>
              <a:gd name="connsiteY183" fmla="*/ 819929 h 1478560"/>
              <a:gd name="connsiteX184" fmla="*/ 853535 w 1949016"/>
              <a:gd name="connsiteY184" fmla="*/ 819929 h 1478560"/>
              <a:gd name="connsiteX185" fmla="*/ 853535 w 1949016"/>
              <a:gd name="connsiteY185" fmla="*/ 806488 h 1478560"/>
              <a:gd name="connsiteX186" fmla="*/ 846814 w 1949016"/>
              <a:gd name="connsiteY186" fmla="*/ 793046 h 1478560"/>
              <a:gd name="connsiteX187" fmla="*/ 833373 w 1949016"/>
              <a:gd name="connsiteY187" fmla="*/ 786325 h 1478560"/>
              <a:gd name="connsiteX188" fmla="*/ 833373 w 1949016"/>
              <a:gd name="connsiteY188" fmla="*/ 786325 h 1478560"/>
              <a:gd name="connsiteX189" fmla="*/ 759444 w 1949016"/>
              <a:gd name="connsiteY189" fmla="*/ 786325 h 1478560"/>
              <a:gd name="connsiteX190" fmla="*/ 739282 w 1949016"/>
              <a:gd name="connsiteY190" fmla="*/ 799767 h 1478560"/>
              <a:gd name="connsiteX191" fmla="*/ 631750 w 1949016"/>
              <a:gd name="connsiteY191" fmla="*/ 873695 h 1478560"/>
              <a:gd name="connsiteX192" fmla="*/ 631750 w 1949016"/>
              <a:gd name="connsiteY192" fmla="*/ 873695 h 1478560"/>
              <a:gd name="connsiteX193" fmla="*/ 551101 w 1949016"/>
              <a:gd name="connsiteY193" fmla="*/ 840091 h 1478560"/>
              <a:gd name="connsiteX194" fmla="*/ 517497 w 1949016"/>
              <a:gd name="connsiteY194" fmla="*/ 759443 h 1478560"/>
              <a:gd name="connsiteX195" fmla="*/ 551101 w 1949016"/>
              <a:gd name="connsiteY195" fmla="*/ 678794 h 1478560"/>
              <a:gd name="connsiteX196" fmla="*/ 631750 w 1949016"/>
              <a:gd name="connsiteY196" fmla="*/ 645190 h 1478560"/>
              <a:gd name="connsiteX197" fmla="*/ 631750 w 1949016"/>
              <a:gd name="connsiteY197" fmla="*/ 645190 h 1478560"/>
              <a:gd name="connsiteX198" fmla="*/ 732561 w 1949016"/>
              <a:gd name="connsiteY198" fmla="*/ 712397 h 1478560"/>
              <a:gd name="connsiteX199" fmla="*/ 752724 w 1949016"/>
              <a:gd name="connsiteY199" fmla="*/ 725839 h 1478560"/>
              <a:gd name="connsiteX200" fmla="*/ 752724 w 1949016"/>
              <a:gd name="connsiteY200" fmla="*/ 725839 h 1478560"/>
              <a:gd name="connsiteX201" fmla="*/ 826652 w 1949016"/>
              <a:gd name="connsiteY201" fmla="*/ 725839 h 1478560"/>
              <a:gd name="connsiteX202" fmla="*/ 826652 w 1949016"/>
              <a:gd name="connsiteY202" fmla="*/ 725839 h 1478560"/>
              <a:gd name="connsiteX203" fmla="*/ 840093 w 1949016"/>
              <a:gd name="connsiteY203" fmla="*/ 719118 h 1478560"/>
              <a:gd name="connsiteX204" fmla="*/ 840093 w 1949016"/>
              <a:gd name="connsiteY204" fmla="*/ 719118 h 1478560"/>
              <a:gd name="connsiteX205" fmla="*/ 840093 w 1949016"/>
              <a:gd name="connsiteY205" fmla="*/ 719118 h 1478560"/>
              <a:gd name="connsiteX206" fmla="*/ 846814 w 1949016"/>
              <a:gd name="connsiteY206" fmla="*/ 705677 h 1478560"/>
              <a:gd name="connsiteX207" fmla="*/ 846814 w 1949016"/>
              <a:gd name="connsiteY207" fmla="*/ 705677 h 1478560"/>
              <a:gd name="connsiteX208" fmla="*/ 846814 w 1949016"/>
              <a:gd name="connsiteY208" fmla="*/ 705677 h 1478560"/>
              <a:gd name="connsiteX209" fmla="*/ 846814 w 1949016"/>
              <a:gd name="connsiteY209" fmla="*/ 705677 h 1478560"/>
              <a:gd name="connsiteX210" fmla="*/ 846814 w 1949016"/>
              <a:gd name="connsiteY210" fmla="*/ 383082 h 1478560"/>
              <a:gd name="connsiteX211" fmla="*/ 1155969 w 1949016"/>
              <a:gd name="connsiteY211" fmla="*/ 383082 h 1478560"/>
              <a:gd name="connsiteX212" fmla="*/ 1155969 w 1949016"/>
              <a:gd name="connsiteY212" fmla="*/ 423406 h 1478560"/>
              <a:gd name="connsiteX213" fmla="*/ 1075320 w 1949016"/>
              <a:gd name="connsiteY213" fmla="*/ 557821 h 1478560"/>
              <a:gd name="connsiteX214" fmla="*/ 1229897 w 1949016"/>
              <a:gd name="connsiteY214" fmla="*/ 712397 h 1478560"/>
              <a:gd name="connsiteX215" fmla="*/ 1229897 w 1949016"/>
              <a:gd name="connsiteY215" fmla="*/ 712397 h 1478560"/>
              <a:gd name="connsiteX216" fmla="*/ 1337429 w 1949016"/>
              <a:gd name="connsiteY216" fmla="*/ 665352 h 1478560"/>
              <a:gd name="connsiteX217" fmla="*/ 1384474 w 1949016"/>
              <a:gd name="connsiteY217" fmla="*/ 557821 h 1478560"/>
              <a:gd name="connsiteX218" fmla="*/ 1310546 w 1949016"/>
              <a:gd name="connsiteY218" fmla="*/ 423406 h 1478560"/>
              <a:gd name="connsiteX219" fmla="*/ 1310546 w 1949016"/>
              <a:gd name="connsiteY219" fmla="*/ 376361 h 1478560"/>
              <a:gd name="connsiteX220" fmla="*/ 1612979 w 1949016"/>
              <a:gd name="connsiteY220" fmla="*/ 376361 h 1478560"/>
              <a:gd name="connsiteX221" fmla="*/ 1612979 w 1949016"/>
              <a:gd name="connsiteY221" fmla="*/ 705677 h 1478560"/>
              <a:gd name="connsiteX222" fmla="*/ 1633141 w 1949016"/>
              <a:gd name="connsiteY222" fmla="*/ 725839 h 1478560"/>
              <a:gd name="connsiteX223" fmla="*/ 1633141 w 1949016"/>
              <a:gd name="connsiteY223" fmla="*/ 725839 h 1478560"/>
              <a:gd name="connsiteX224" fmla="*/ 1713790 w 1949016"/>
              <a:gd name="connsiteY224" fmla="*/ 725839 h 1478560"/>
              <a:gd name="connsiteX225" fmla="*/ 1733953 w 1949016"/>
              <a:gd name="connsiteY225" fmla="*/ 712397 h 1478560"/>
              <a:gd name="connsiteX226" fmla="*/ 1834764 w 1949016"/>
              <a:gd name="connsiteY226" fmla="*/ 645190 h 1478560"/>
              <a:gd name="connsiteX227" fmla="*/ 1834764 w 1949016"/>
              <a:gd name="connsiteY227" fmla="*/ 645190 h 1478560"/>
              <a:gd name="connsiteX228" fmla="*/ 1915413 w 1949016"/>
              <a:gd name="connsiteY228" fmla="*/ 678794 h 1478560"/>
              <a:gd name="connsiteX229" fmla="*/ 1949017 w 1949016"/>
              <a:gd name="connsiteY229" fmla="*/ 759443 h 1478560"/>
              <a:gd name="connsiteX230" fmla="*/ 1915413 w 1949016"/>
              <a:gd name="connsiteY230" fmla="*/ 840091 h 1478560"/>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4097 w 1984332"/>
              <a:gd name="connsiteY216" fmla="*/ 670115 h 1520187"/>
              <a:gd name="connsiteX217" fmla="*/ 1384474 w 1984332"/>
              <a:gd name="connsiteY217" fmla="*/ 557821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4097 w 1984332"/>
              <a:gd name="connsiteY216" fmla="*/ 670115 h 1520187"/>
              <a:gd name="connsiteX217" fmla="*/ 1396380 w 1984332"/>
              <a:gd name="connsiteY217" fmla="*/ 543533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43533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46954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9897 w 1984332"/>
              <a:gd name="connsiteY215" fmla="*/ 712397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20372 w 1984332"/>
              <a:gd name="connsiteY215" fmla="*/ 729066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229897 w 1984332"/>
              <a:gd name="connsiteY214" fmla="*/ 712397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98940 w 1984332"/>
              <a:gd name="connsiteY214" fmla="*/ 705254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98940 w 1984332"/>
              <a:gd name="connsiteY214" fmla="*/ 705254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58459 w 1984332"/>
              <a:gd name="connsiteY214" fmla="*/ 674298 h 1520187"/>
              <a:gd name="connsiteX215" fmla="*/ 1251328 w 1984332"/>
              <a:gd name="connsiteY215" fmla="*/ 714779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58459 w 1984332"/>
              <a:gd name="connsiteY214" fmla="*/ 674298 h 1520187"/>
              <a:gd name="connsiteX215" fmla="*/ 1251328 w 1984332"/>
              <a:gd name="connsiteY215" fmla="*/ 721923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58459 w 1984332"/>
              <a:gd name="connsiteY214" fmla="*/ 674298 h 1520187"/>
              <a:gd name="connsiteX215" fmla="*/ 1246566 w 1984332"/>
              <a:gd name="connsiteY215" fmla="*/ 71478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75320 w 1984332"/>
              <a:gd name="connsiteY213" fmla="*/ 557821 h 1520187"/>
              <a:gd name="connsiteX214" fmla="*/ 1139409 w 1984332"/>
              <a:gd name="connsiteY214" fmla="*/ 664773 h 1520187"/>
              <a:gd name="connsiteX215" fmla="*/ 1246566 w 1984332"/>
              <a:gd name="connsiteY215" fmla="*/ 71478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6566 w 1984332"/>
              <a:gd name="connsiteY215" fmla="*/ 71478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64312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1803 w 1984332"/>
              <a:gd name="connsiteY215" fmla="*/ 71240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1803 w 1984332"/>
              <a:gd name="connsiteY215" fmla="*/ 712400 h 1520187"/>
              <a:gd name="connsiteX216" fmla="*/ 1351716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9608 w 1984332"/>
              <a:gd name="connsiteY213" fmla="*/ 560202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7104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3663 w 1984332"/>
              <a:gd name="connsiteY13" fmla="*/ 42340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76520 w 1984332"/>
              <a:gd name="connsiteY13" fmla="*/ 437694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1282 w 1984332"/>
              <a:gd name="connsiteY13" fmla="*/ 442456 h 1520187"/>
              <a:gd name="connsiteX14" fmla="*/ 1294723 w 1984332"/>
              <a:gd name="connsiteY14" fmla="*/ 450289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1282 w 1984332"/>
              <a:gd name="connsiteY13" fmla="*/ 442456 h 1520187"/>
              <a:gd name="connsiteX14" fmla="*/ 1309010 w 1984332"/>
              <a:gd name="connsiteY14" fmla="*/ 471720 h 1520187"/>
              <a:gd name="connsiteX15" fmla="*/ 1357168 w 1984332"/>
              <a:gd name="connsiteY15" fmla="*/ 551100 h 1520187"/>
              <a:gd name="connsiteX16" fmla="*/ 1330708 w 1984332"/>
              <a:gd name="connsiteY16" fmla="*/ 631749 h 1520187"/>
              <a:gd name="connsiteX17" fmla="*/ 1250059 w 1984332"/>
              <a:gd name="connsiteY17" fmla="*/ 665352 h 1520187"/>
              <a:gd name="connsiteX18" fmla="*/ 1135806 w 1984332"/>
              <a:gd name="connsiteY18" fmla="*/ 551100 h 1520187"/>
              <a:gd name="connsiteX19" fmla="*/ 1209734 w 1984332"/>
              <a:gd name="connsiteY19" fmla="*/ 443568 h 1520187"/>
              <a:gd name="connsiteX20" fmla="*/ 1223176 w 1984332"/>
              <a:gd name="connsiteY20" fmla="*/ 423406 h 1520187"/>
              <a:gd name="connsiteX21" fmla="*/ 1223176 w 1984332"/>
              <a:gd name="connsiteY21" fmla="*/ 349478 h 1520187"/>
              <a:gd name="connsiteX22" fmla="*/ 1223176 w 1984332"/>
              <a:gd name="connsiteY22" fmla="*/ 349478 h 1520187"/>
              <a:gd name="connsiteX23" fmla="*/ 1223176 w 1984332"/>
              <a:gd name="connsiteY23" fmla="*/ 349478 h 1520187"/>
              <a:gd name="connsiteX24" fmla="*/ 1182852 w 1984332"/>
              <a:gd name="connsiteY24" fmla="*/ 336037 h 1520187"/>
              <a:gd name="connsiteX25" fmla="*/ 1182852 w 1984332"/>
              <a:gd name="connsiteY25" fmla="*/ 336037 h 1520187"/>
              <a:gd name="connsiteX26" fmla="*/ 826652 w 1984332"/>
              <a:gd name="connsiteY26" fmla="*/ 336037 h 1520187"/>
              <a:gd name="connsiteX27" fmla="*/ 826652 w 1984332"/>
              <a:gd name="connsiteY27" fmla="*/ 336037 h 1520187"/>
              <a:gd name="connsiteX28" fmla="*/ 826652 w 1984332"/>
              <a:gd name="connsiteY28" fmla="*/ 336037 h 1520187"/>
              <a:gd name="connsiteX29" fmla="*/ 497335 w 1984332"/>
              <a:gd name="connsiteY29" fmla="*/ 336037 h 1520187"/>
              <a:gd name="connsiteX30" fmla="*/ 497335 w 1984332"/>
              <a:gd name="connsiteY30" fmla="*/ 295712 h 1520187"/>
              <a:gd name="connsiteX31" fmla="*/ 584705 w 1984332"/>
              <a:gd name="connsiteY31" fmla="*/ 154577 h 1520187"/>
              <a:gd name="connsiteX32" fmla="*/ 537660 w 1984332"/>
              <a:gd name="connsiteY32" fmla="*/ 47045 h 1520187"/>
              <a:gd name="connsiteX33" fmla="*/ 423407 w 1984332"/>
              <a:gd name="connsiteY33" fmla="*/ 0 h 1520187"/>
              <a:gd name="connsiteX34" fmla="*/ 423407 w 1984332"/>
              <a:gd name="connsiteY34" fmla="*/ 0 h 1520187"/>
              <a:gd name="connsiteX35" fmla="*/ 268830 w 1984332"/>
              <a:gd name="connsiteY35" fmla="*/ 154577 h 1520187"/>
              <a:gd name="connsiteX36" fmla="*/ 349479 w 1984332"/>
              <a:gd name="connsiteY36" fmla="*/ 288991 h 1520187"/>
              <a:gd name="connsiteX37" fmla="*/ 349479 w 1984332"/>
              <a:gd name="connsiteY37" fmla="*/ 329316 h 1520187"/>
              <a:gd name="connsiteX38" fmla="*/ 20162 w 1984332"/>
              <a:gd name="connsiteY38" fmla="*/ 336037 h 1520187"/>
              <a:gd name="connsiteX39" fmla="*/ 0 w 1984332"/>
              <a:gd name="connsiteY39" fmla="*/ 356199 h 1520187"/>
              <a:gd name="connsiteX40" fmla="*/ 0 w 1984332"/>
              <a:gd name="connsiteY40" fmla="*/ 698956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20162 w 1984332"/>
              <a:gd name="connsiteY44" fmla="*/ 719118 h 1520187"/>
              <a:gd name="connsiteX45" fmla="*/ 94090 w 1984332"/>
              <a:gd name="connsiteY45" fmla="*/ 719118 h 1520187"/>
              <a:gd name="connsiteX46" fmla="*/ 94090 w 1984332"/>
              <a:gd name="connsiteY46" fmla="*/ 719118 h 1520187"/>
              <a:gd name="connsiteX47" fmla="*/ 120973 w 1984332"/>
              <a:gd name="connsiteY47" fmla="*/ 705677 h 1520187"/>
              <a:gd name="connsiteX48" fmla="*/ 221785 w 1984332"/>
              <a:gd name="connsiteY48" fmla="*/ 638469 h 1520187"/>
              <a:gd name="connsiteX49" fmla="*/ 221785 w 1984332"/>
              <a:gd name="connsiteY49" fmla="*/ 638469 h 1520187"/>
              <a:gd name="connsiteX50" fmla="*/ 336037 w 1984332"/>
              <a:gd name="connsiteY50" fmla="*/ 752722 h 1520187"/>
              <a:gd name="connsiteX51" fmla="*/ 221785 w 1984332"/>
              <a:gd name="connsiteY51" fmla="*/ 873695 h 1520187"/>
              <a:gd name="connsiteX52" fmla="*/ 221785 w 1984332"/>
              <a:gd name="connsiteY52" fmla="*/ 873695 h 1520187"/>
              <a:gd name="connsiteX53" fmla="*/ 114253 w 1984332"/>
              <a:gd name="connsiteY53" fmla="*/ 799767 h 1520187"/>
              <a:gd name="connsiteX54" fmla="*/ 94090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20162 w 1984332"/>
              <a:gd name="connsiteY59" fmla="*/ 786325 h 1520187"/>
              <a:gd name="connsiteX60" fmla="*/ 0 w 1984332"/>
              <a:gd name="connsiteY60" fmla="*/ 806488 h 1520187"/>
              <a:gd name="connsiteX61" fmla="*/ 0 w 1984332"/>
              <a:gd name="connsiteY61" fmla="*/ 1162686 h 1520187"/>
              <a:gd name="connsiteX62" fmla="*/ 20162 w 1984332"/>
              <a:gd name="connsiteY62" fmla="*/ 1182849 h 1520187"/>
              <a:gd name="connsiteX63" fmla="*/ 20162 w 1984332"/>
              <a:gd name="connsiteY63" fmla="*/ 1182849 h 1520187"/>
              <a:gd name="connsiteX64" fmla="*/ 356200 w 1984332"/>
              <a:gd name="connsiteY64" fmla="*/ 1182849 h 1520187"/>
              <a:gd name="connsiteX65" fmla="*/ 356200 w 1984332"/>
              <a:gd name="connsiteY65" fmla="*/ 1223173 h 1520187"/>
              <a:gd name="connsiteX66" fmla="*/ 268830 w 1984332"/>
              <a:gd name="connsiteY66" fmla="*/ 1364308 h 1520187"/>
              <a:gd name="connsiteX67" fmla="*/ 315875 w 1984332"/>
              <a:gd name="connsiteY67" fmla="*/ 1471840 h 1520187"/>
              <a:gd name="connsiteX68" fmla="*/ 423407 w 1984332"/>
              <a:gd name="connsiteY68" fmla="*/ 1518885 h 1520187"/>
              <a:gd name="connsiteX69" fmla="*/ 423407 w 1984332"/>
              <a:gd name="connsiteY69" fmla="*/ 1518885 h 1520187"/>
              <a:gd name="connsiteX70" fmla="*/ 537660 w 1984332"/>
              <a:gd name="connsiteY70" fmla="*/ 1478561 h 1520187"/>
              <a:gd name="connsiteX71" fmla="*/ 584705 w 1984332"/>
              <a:gd name="connsiteY71" fmla="*/ 1371029 h 1520187"/>
              <a:gd name="connsiteX72" fmla="*/ 510777 w 1984332"/>
              <a:gd name="connsiteY72" fmla="*/ 1236614 h 1520187"/>
              <a:gd name="connsiteX73" fmla="*/ 510777 w 1984332"/>
              <a:gd name="connsiteY73" fmla="*/ 1189569 h 1520187"/>
              <a:gd name="connsiteX74" fmla="*/ 833373 w 1984332"/>
              <a:gd name="connsiteY74" fmla="*/ 1189569 h 1520187"/>
              <a:gd name="connsiteX75" fmla="*/ 833373 w 1984332"/>
              <a:gd name="connsiteY75" fmla="*/ 1189569 h 1520187"/>
              <a:gd name="connsiteX76" fmla="*/ 833373 w 1984332"/>
              <a:gd name="connsiteY76" fmla="*/ 1189569 h 1520187"/>
              <a:gd name="connsiteX77" fmla="*/ 1189572 w 1984332"/>
              <a:gd name="connsiteY77" fmla="*/ 1189569 h 1520187"/>
              <a:gd name="connsiteX78" fmla="*/ 1203014 w 1984332"/>
              <a:gd name="connsiteY78" fmla="*/ 1182849 h 1520187"/>
              <a:gd name="connsiteX79" fmla="*/ 1209734 w 1984332"/>
              <a:gd name="connsiteY79" fmla="*/ 1169407 h 1520187"/>
              <a:gd name="connsiteX80" fmla="*/ 1209734 w 1984332"/>
              <a:gd name="connsiteY80" fmla="*/ 1095479 h 1520187"/>
              <a:gd name="connsiteX81" fmla="*/ 1196293 w 1984332"/>
              <a:gd name="connsiteY81" fmla="*/ 1075317 h 1520187"/>
              <a:gd name="connsiteX82" fmla="*/ 1122365 w 1984332"/>
              <a:gd name="connsiteY82" fmla="*/ 967785 h 1520187"/>
              <a:gd name="connsiteX83" fmla="*/ 1155969 w 1984332"/>
              <a:gd name="connsiteY83" fmla="*/ 887136 h 1520187"/>
              <a:gd name="connsiteX84" fmla="*/ 1236617 w 1984332"/>
              <a:gd name="connsiteY84" fmla="*/ 853533 h 1520187"/>
              <a:gd name="connsiteX85" fmla="*/ 1236617 w 1984332"/>
              <a:gd name="connsiteY85" fmla="*/ 853533 h 1520187"/>
              <a:gd name="connsiteX86" fmla="*/ 1317266 w 1984332"/>
              <a:gd name="connsiteY86" fmla="*/ 887136 h 1520187"/>
              <a:gd name="connsiteX87" fmla="*/ 1350870 w 1984332"/>
              <a:gd name="connsiteY87" fmla="*/ 967785 h 1520187"/>
              <a:gd name="connsiteX88" fmla="*/ 1283663 w 1984332"/>
              <a:gd name="connsiteY88" fmla="*/ 1068596 h 1520187"/>
              <a:gd name="connsiteX89" fmla="*/ 1270221 w 1984332"/>
              <a:gd name="connsiteY89" fmla="*/ 1088758 h 1520187"/>
              <a:gd name="connsiteX90" fmla="*/ 1270221 w 1984332"/>
              <a:gd name="connsiteY90" fmla="*/ 1162686 h 1520187"/>
              <a:gd name="connsiteX91" fmla="*/ 1276942 w 1984332"/>
              <a:gd name="connsiteY91" fmla="*/ 1176128 h 1520187"/>
              <a:gd name="connsiteX92" fmla="*/ 1290383 w 1984332"/>
              <a:gd name="connsiteY92" fmla="*/ 1182849 h 1520187"/>
              <a:gd name="connsiteX93" fmla="*/ 1290383 w 1984332"/>
              <a:gd name="connsiteY93" fmla="*/ 1182849 h 1520187"/>
              <a:gd name="connsiteX94" fmla="*/ 1633141 w 1984332"/>
              <a:gd name="connsiteY94" fmla="*/ 1182849 h 1520187"/>
              <a:gd name="connsiteX95" fmla="*/ 1653304 w 1984332"/>
              <a:gd name="connsiteY95" fmla="*/ 1162686 h 1520187"/>
              <a:gd name="connsiteX96" fmla="*/ 1653304 w 1984332"/>
              <a:gd name="connsiteY96" fmla="*/ 833371 h 1520187"/>
              <a:gd name="connsiteX97" fmla="*/ 1693628 w 1984332"/>
              <a:gd name="connsiteY97" fmla="*/ 833371 h 1520187"/>
              <a:gd name="connsiteX98" fmla="*/ 1828043 w 1984332"/>
              <a:gd name="connsiteY98" fmla="*/ 914019 h 1520187"/>
              <a:gd name="connsiteX99" fmla="*/ 1828043 w 1984332"/>
              <a:gd name="connsiteY99" fmla="*/ 914019 h 1520187"/>
              <a:gd name="connsiteX100" fmla="*/ 1935575 w 1984332"/>
              <a:gd name="connsiteY100" fmla="*/ 866974 h 1520187"/>
              <a:gd name="connsiteX101" fmla="*/ 1982620 w 1984332"/>
              <a:gd name="connsiteY101" fmla="*/ 759443 h 1520187"/>
              <a:gd name="connsiteX102" fmla="*/ 1949017 w 1984332"/>
              <a:gd name="connsiteY102" fmla="*/ 645190 h 1520187"/>
              <a:gd name="connsiteX103" fmla="*/ 483894 w 1984332"/>
              <a:gd name="connsiteY103" fmla="*/ 1142524 h 1520187"/>
              <a:gd name="connsiteX104" fmla="*/ 463732 w 1984332"/>
              <a:gd name="connsiteY104" fmla="*/ 1162686 h 1520187"/>
              <a:gd name="connsiteX105" fmla="*/ 463732 w 1984332"/>
              <a:gd name="connsiteY105" fmla="*/ 1162686 h 1520187"/>
              <a:gd name="connsiteX106" fmla="*/ 463732 w 1984332"/>
              <a:gd name="connsiteY106" fmla="*/ 1162686 h 1520187"/>
              <a:gd name="connsiteX107" fmla="*/ 463732 w 1984332"/>
              <a:gd name="connsiteY107" fmla="*/ 1236614 h 1520187"/>
              <a:gd name="connsiteX108" fmla="*/ 463732 w 1984332"/>
              <a:gd name="connsiteY108" fmla="*/ 1236614 h 1520187"/>
              <a:gd name="connsiteX109" fmla="*/ 477173 w 1984332"/>
              <a:gd name="connsiteY109" fmla="*/ 1263497 h 1520187"/>
              <a:gd name="connsiteX110" fmla="*/ 544381 w 1984332"/>
              <a:gd name="connsiteY110" fmla="*/ 1364308 h 1520187"/>
              <a:gd name="connsiteX111" fmla="*/ 510777 w 1984332"/>
              <a:gd name="connsiteY111" fmla="*/ 1444957 h 1520187"/>
              <a:gd name="connsiteX112" fmla="*/ 423407 w 1984332"/>
              <a:gd name="connsiteY112" fmla="*/ 1478561 h 1520187"/>
              <a:gd name="connsiteX113" fmla="*/ 423407 w 1984332"/>
              <a:gd name="connsiteY113" fmla="*/ 1478561 h 1520187"/>
              <a:gd name="connsiteX114" fmla="*/ 342758 w 1984332"/>
              <a:gd name="connsiteY114" fmla="*/ 1444957 h 1520187"/>
              <a:gd name="connsiteX115" fmla="*/ 309154 w 1984332"/>
              <a:gd name="connsiteY115" fmla="*/ 1364308 h 1520187"/>
              <a:gd name="connsiteX116" fmla="*/ 383083 w 1984332"/>
              <a:gd name="connsiteY116" fmla="*/ 1256777 h 1520187"/>
              <a:gd name="connsiteX117" fmla="*/ 396524 w 1984332"/>
              <a:gd name="connsiteY117" fmla="*/ 1236614 h 1520187"/>
              <a:gd name="connsiteX118" fmla="*/ 396524 w 1984332"/>
              <a:gd name="connsiteY118" fmla="*/ 1162686 h 1520187"/>
              <a:gd name="connsiteX119" fmla="*/ 396524 w 1984332"/>
              <a:gd name="connsiteY119" fmla="*/ 1162686 h 1520187"/>
              <a:gd name="connsiteX120" fmla="*/ 396524 w 1984332"/>
              <a:gd name="connsiteY120" fmla="*/ 1162686 h 1520187"/>
              <a:gd name="connsiteX121" fmla="*/ 376362 w 1984332"/>
              <a:gd name="connsiteY121" fmla="*/ 1142524 h 1520187"/>
              <a:gd name="connsiteX122" fmla="*/ 376362 w 1984332"/>
              <a:gd name="connsiteY122" fmla="*/ 1142524 h 1520187"/>
              <a:gd name="connsiteX123" fmla="*/ 40324 w 1984332"/>
              <a:gd name="connsiteY123" fmla="*/ 1142524 h 1520187"/>
              <a:gd name="connsiteX124" fmla="*/ 40324 w 1984332"/>
              <a:gd name="connsiteY124" fmla="*/ 833371 h 1520187"/>
              <a:gd name="connsiteX125" fmla="*/ 80649 w 1984332"/>
              <a:gd name="connsiteY125" fmla="*/ 833371 h 1520187"/>
              <a:gd name="connsiteX126" fmla="*/ 221785 w 1984332"/>
              <a:gd name="connsiteY126" fmla="*/ 920740 h 1520187"/>
              <a:gd name="connsiteX127" fmla="*/ 221785 w 1984332"/>
              <a:gd name="connsiteY127" fmla="*/ 920740 h 1520187"/>
              <a:gd name="connsiteX128" fmla="*/ 376362 w 1984332"/>
              <a:gd name="connsiteY128" fmla="*/ 766163 h 1520187"/>
              <a:gd name="connsiteX129" fmla="*/ 221785 w 1984332"/>
              <a:gd name="connsiteY129" fmla="*/ 604866 h 1520187"/>
              <a:gd name="connsiteX130" fmla="*/ 221785 w 1984332"/>
              <a:gd name="connsiteY130" fmla="*/ 604866 h 1520187"/>
              <a:gd name="connsiteX131" fmla="*/ 87370 w 1984332"/>
              <a:gd name="connsiteY131" fmla="*/ 678794 h 1520187"/>
              <a:gd name="connsiteX132" fmla="*/ 40324 w 1984332"/>
              <a:gd name="connsiteY132" fmla="*/ 678794 h 1520187"/>
              <a:gd name="connsiteX133" fmla="*/ 40324 w 1984332"/>
              <a:gd name="connsiteY133" fmla="*/ 376361 h 1520187"/>
              <a:gd name="connsiteX134" fmla="*/ 369641 w 1984332"/>
              <a:gd name="connsiteY134" fmla="*/ 376361 h 1520187"/>
              <a:gd name="connsiteX135" fmla="*/ 383083 w 1984332"/>
              <a:gd name="connsiteY135" fmla="*/ 369640 h 1520187"/>
              <a:gd name="connsiteX136" fmla="*/ 389803 w 1984332"/>
              <a:gd name="connsiteY136" fmla="*/ 356199 h 1520187"/>
              <a:gd name="connsiteX137" fmla="*/ 389803 w 1984332"/>
              <a:gd name="connsiteY137" fmla="*/ 275550 h 1520187"/>
              <a:gd name="connsiteX138" fmla="*/ 376362 w 1984332"/>
              <a:gd name="connsiteY138" fmla="*/ 255388 h 1520187"/>
              <a:gd name="connsiteX139" fmla="*/ 309154 w 1984332"/>
              <a:gd name="connsiteY139" fmla="*/ 154577 h 1520187"/>
              <a:gd name="connsiteX140" fmla="*/ 423407 w 1984332"/>
              <a:gd name="connsiteY140" fmla="*/ 40324 h 1520187"/>
              <a:gd name="connsiteX141" fmla="*/ 504056 w 1984332"/>
              <a:gd name="connsiteY141" fmla="*/ 73928 h 1520187"/>
              <a:gd name="connsiteX142" fmla="*/ 537660 w 1984332"/>
              <a:gd name="connsiteY142" fmla="*/ 154577 h 1520187"/>
              <a:gd name="connsiteX143" fmla="*/ 470452 w 1984332"/>
              <a:gd name="connsiteY143" fmla="*/ 262109 h 1520187"/>
              <a:gd name="connsiteX144" fmla="*/ 457011 w 1984332"/>
              <a:gd name="connsiteY144" fmla="*/ 282271 h 1520187"/>
              <a:gd name="connsiteX145" fmla="*/ 457011 w 1984332"/>
              <a:gd name="connsiteY145" fmla="*/ 362919 h 1520187"/>
              <a:gd name="connsiteX146" fmla="*/ 477173 w 1984332"/>
              <a:gd name="connsiteY146" fmla="*/ 383082 h 1520187"/>
              <a:gd name="connsiteX147" fmla="*/ 477173 w 1984332"/>
              <a:gd name="connsiteY147" fmla="*/ 383082 h 1520187"/>
              <a:gd name="connsiteX148" fmla="*/ 806490 w 1984332"/>
              <a:gd name="connsiteY148" fmla="*/ 383082 h 1520187"/>
              <a:gd name="connsiteX149" fmla="*/ 806490 w 1984332"/>
              <a:gd name="connsiteY149" fmla="*/ 631749 h 1520187"/>
              <a:gd name="connsiteX150" fmla="*/ 806490 w 1984332"/>
              <a:gd name="connsiteY150" fmla="*/ 685515 h 1520187"/>
              <a:gd name="connsiteX151" fmla="*/ 766165 w 1984332"/>
              <a:gd name="connsiteY151" fmla="*/ 685515 h 1520187"/>
              <a:gd name="connsiteX152" fmla="*/ 631750 w 1984332"/>
              <a:gd name="connsiteY152" fmla="*/ 604866 h 1520187"/>
              <a:gd name="connsiteX153" fmla="*/ 631750 w 1984332"/>
              <a:gd name="connsiteY153" fmla="*/ 604866 h 1520187"/>
              <a:gd name="connsiteX154" fmla="*/ 517497 w 1984332"/>
              <a:gd name="connsiteY154" fmla="*/ 651911 h 1520187"/>
              <a:gd name="connsiteX155" fmla="*/ 470452 w 1984332"/>
              <a:gd name="connsiteY155" fmla="*/ 759443 h 1520187"/>
              <a:gd name="connsiteX156" fmla="*/ 517497 w 1984332"/>
              <a:gd name="connsiteY156" fmla="*/ 866974 h 1520187"/>
              <a:gd name="connsiteX157" fmla="*/ 625029 w 1984332"/>
              <a:gd name="connsiteY157" fmla="*/ 914019 h 1520187"/>
              <a:gd name="connsiteX158" fmla="*/ 625029 w 1984332"/>
              <a:gd name="connsiteY158" fmla="*/ 914019 h 1520187"/>
              <a:gd name="connsiteX159" fmla="*/ 766165 w 1984332"/>
              <a:gd name="connsiteY159" fmla="*/ 826650 h 1520187"/>
              <a:gd name="connsiteX160" fmla="*/ 799769 w 1984332"/>
              <a:gd name="connsiteY160" fmla="*/ 826650 h 1520187"/>
              <a:gd name="connsiteX161" fmla="*/ 799769 w 1984332"/>
              <a:gd name="connsiteY161" fmla="*/ 1135803 h 1520187"/>
              <a:gd name="connsiteX162" fmla="*/ 483894 w 1984332"/>
              <a:gd name="connsiteY162" fmla="*/ 1142524 h 1520187"/>
              <a:gd name="connsiteX163" fmla="*/ 1915413 w 1984332"/>
              <a:gd name="connsiteY163" fmla="*/ 840091 h 1520187"/>
              <a:gd name="connsiteX164" fmla="*/ 1834764 w 1984332"/>
              <a:gd name="connsiteY164" fmla="*/ 873695 h 1520187"/>
              <a:gd name="connsiteX165" fmla="*/ 1834764 w 1984332"/>
              <a:gd name="connsiteY165" fmla="*/ 873695 h 1520187"/>
              <a:gd name="connsiteX166" fmla="*/ 1733953 w 1984332"/>
              <a:gd name="connsiteY166" fmla="*/ 806488 h 1520187"/>
              <a:gd name="connsiteX167" fmla="*/ 1713790 w 1984332"/>
              <a:gd name="connsiteY167" fmla="*/ 793046 h 1520187"/>
              <a:gd name="connsiteX168" fmla="*/ 1713790 w 1984332"/>
              <a:gd name="connsiteY168" fmla="*/ 793046 h 1520187"/>
              <a:gd name="connsiteX169" fmla="*/ 1633141 w 1984332"/>
              <a:gd name="connsiteY169" fmla="*/ 793046 h 1520187"/>
              <a:gd name="connsiteX170" fmla="*/ 1612979 w 1984332"/>
              <a:gd name="connsiteY170" fmla="*/ 813208 h 1520187"/>
              <a:gd name="connsiteX171" fmla="*/ 1612979 w 1984332"/>
              <a:gd name="connsiteY171" fmla="*/ 1142524 h 1520187"/>
              <a:gd name="connsiteX172" fmla="*/ 1310546 w 1984332"/>
              <a:gd name="connsiteY172" fmla="*/ 1142524 h 1520187"/>
              <a:gd name="connsiteX173" fmla="*/ 1310546 w 1984332"/>
              <a:gd name="connsiteY173" fmla="*/ 1102200 h 1520187"/>
              <a:gd name="connsiteX174" fmla="*/ 1384474 w 1984332"/>
              <a:gd name="connsiteY174" fmla="*/ 967785 h 1520187"/>
              <a:gd name="connsiteX175" fmla="*/ 1337429 w 1984332"/>
              <a:gd name="connsiteY175" fmla="*/ 860254 h 1520187"/>
              <a:gd name="connsiteX176" fmla="*/ 1229897 w 1984332"/>
              <a:gd name="connsiteY176" fmla="*/ 813208 h 1520187"/>
              <a:gd name="connsiteX177" fmla="*/ 1229897 w 1984332"/>
              <a:gd name="connsiteY177" fmla="*/ 813208 h 1520187"/>
              <a:gd name="connsiteX178" fmla="*/ 1122365 w 1984332"/>
              <a:gd name="connsiteY178" fmla="*/ 860254 h 1520187"/>
              <a:gd name="connsiteX179" fmla="*/ 1075320 w 1984332"/>
              <a:gd name="connsiteY179" fmla="*/ 967785 h 1520187"/>
              <a:gd name="connsiteX180" fmla="*/ 1162689 w 1984332"/>
              <a:gd name="connsiteY180" fmla="*/ 1108921 h 1520187"/>
              <a:gd name="connsiteX181" fmla="*/ 1162689 w 1984332"/>
              <a:gd name="connsiteY181" fmla="*/ 1142524 h 1520187"/>
              <a:gd name="connsiteX182" fmla="*/ 853535 w 1984332"/>
              <a:gd name="connsiteY182" fmla="*/ 1142524 h 1520187"/>
              <a:gd name="connsiteX183" fmla="*/ 853535 w 1984332"/>
              <a:gd name="connsiteY183" fmla="*/ 819929 h 1520187"/>
              <a:gd name="connsiteX184" fmla="*/ 853535 w 1984332"/>
              <a:gd name="connsiteY184" fmla="*/ 819929 h 1520187"/>
              <a:gd name="connsiteX185" fmla="*/ 853535 w 1984332"/>
              <a:gd name="connsiteY185" fmla="*/ 806488 h 1520187"/>
              <a:gd name="connsiteX186" fmla="*/ 846814 w 1984332"/>
              <a:gd name="connsiteY186" fmla="*/ 793046 h 1520187"/>
              <a:gd name="connsiteX187" fmla="*/ 833373 w 1984332"/>
              <a:gd name="connsiteY187" fmla="*/ 786325 h 1520187"/>
              <a:gd name="connsiteX188" fmla="*/ 833373 w 1984332"/>
              <a:gd name="connsiteY188" fmla="*/ 786325 h 1520187"/>
              <a:gd name="connsiteX189" fmla="*/ 759444 w 1984332"/>
              <a:gd name="connsiteY189" fmla="*/ 786325 h 1520187"/>
              <a:gd name="connsiteX190" fmla="*/ 739282 w 1984332"/>
              <a:gd name="connsiteY190" fmla="*/ 799767 h 1520187"/>
              <a:gd name="connsiteX191" fmla="*/ 631750 w 1984332"/>
              <a:gd name="connsiteY191" fmla="*/ 873695 h 1520187"/>
              <a:gd name="connsiteX192" fmla="*/ 631750 w 1984332"/>
              <a:gd name="connsiteY192" fmla="*/ 873695 h 1520187"/>
              <a:gd name="connsiteX193" fmla="*/ 551101 w 1984332"/>
              <a:gd name="connsiteY193" fmla="*/ 840091 h 1520187"/>
              <a:gd name="connsiteX194" fmla="*/ 517497 w 1984332"/>
              <a:gd name="connsiteY194" fmla="*/ 759443 h 1520187"/>
              <a:gd name="connsiteX195" fmla="*/ 551101 w 1984332"/>
              <a:gd name="connsiteY195" fmla="*/ 678794 h 1520187"/>
              <a:gd name="connsiteX196" fmla="*/ 631750 w 1984332"/>
              <a:gd name="connsiteY196" fmla="*/ 645190 h 1520187"/>
              <a:gd name="connsiteX197" fmla="*/ 631750 w 1984332"/>
              <a:gd name="connsiteY197" fmla="*/ 645190 h 1520187"/>
              <a:gd name="connsiteX198" fmla="*/ 732561 w 1984332"/>
              <a:gd name="connsiteY198" fmla="*/ 712397 h 1520187"/>
              <a:gd name="connsiteX199" fmla="*/ 752724 w 1984332"/>
              <a:gd name="connsiteY199" fmla="*/ 725839 h 1520187"/>
              <a:gd name="connsiteX200" fmla="*/ 752724 w 1984332"/>
              <a:gd name="connsiteY200" fmla="*/ 725839 h 1520187"/>
              <a:gd name="connsiteX201" fmla="*/ 826652 w 1984332"/>
              <a:gd name="connsiteY201" fmla="*/ 725839 h 1520187"/>
              <a:gd name="connsiteX202" fmla="*/ 826652 w 1984332"/>
              <a:gd name="connsiteY202" fmla="*/ 725839 h 1520187"/>
              <a:gd name="connsiteX203" fmla="*/ 840093 w 1984332"/>
              <a:gd name="connsiteY203" fmla="*/ 719118 h 1520187"/>
              <a:gd name="connsiteX204" fmla="*/ 840093 w 1984332"/>
              <a:gd name="connsiteY204" fmla="*/ 719118 h 1520187"/>
              <a:gd name="connsiteX205" fmla="*/ 840093 w 1984332"/>
              <a:gd name="connsiteY205" fmla="*/ 719118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705677 h 1520187"/>
              <a:gd name="connsiteX210" fmla="*/ 846814 w 1984332"/>
              <a:gd name="connsiteY210" fmla="*/ 383082 h 1520187"/>
              <a:gd name="connsiteX211" fmla="*/ 1155969 w 1984332"/>
              <a:gd name="connsiteY211" fmla="*/ 383082 h 1520187"/>
              <a:gd name="connsiteX212" fmla="*/ 1155969 w 1984332"/>
              <a:gd name="connsiteY212" fmla="*/ 423406 h 1520187"/>
              <a:gd name="connsiteX213" fmla="*/ 1084846 w 1984332"/>
              <a:gd name="connsiteY213" fmla="*/ 555440 h 1520187"/>
              <a:gd name="connsiteX214" fmla="*/ 1139409 w 1984332"/>
              <a:gd name="connsiteY214" fmla="*/ 664773 h 1520187"/>
              <a:gd name="connsiteX215" fmla="*/ 1241803 w 1984332"/>
              <a:gd name="connsiteY215" fmla="*/ 712400 h 1520187"/>
              <a:gd name="connsiteX216" fmla="*/ 1354098 w 1984332"/>
              <a:gd name="connsiteY216" fmla="*/ 670115 h 1520187"/>
              <a:gd name="connsiteX217" fmla="*/ 1396380 w 1984332"/>
              <a:gd name="connsiteY217" fmla="*/ 553058 h 1520187"/>
              <a:gd name="connsiteX218" fmla="*/ 1310546 w 1984332"/>
              <a:gd name="connsiteY218" fmla="*/ 423406 h 1520187"/>
              <a:gd name="connsiteX219" fmla="*/ 1310546 w 1984332"/>
              <a:gd name="connsiteY219" fmla="*/ 376361 h 1520187"/>
              <a:gd name="connsiteX220" fmla="*/ 1612979 w 1984332"/>
              <a:gd name="connsiteY220" fmla="*/ 376361 h 1520187"/>
              <a:gd name="connsiteX221" fmla="*/ 1612979 w 1984332"/>
              <a:gd name="connsiteY221" fmla="*/ 705677 h 1520187"/>
              <a:gd name="connsiteX222" fmla="*/ 1633141 w 1984332"/>
              <a:gd name="connsiteY222" fmla="*/ 725839 h 1520187"/>
              <a:gd name="connsiteX223" fmla="*/ 1633141 w 1984332"/>
              <a:gd name="connsiteY223" fmla="*/ 725839 h 1520187"/>
              <a:gd name="connsiteX224" fmla="*/ 1713790 w 1984332"/>
              <a:gd name="connsiteY224" fmla="*/ 725839 h 1520187"/>
              <a:gd name="connsiteX225" fmla="*/ 1733953 w 1984332"/>
              <a:gd name="connsiteY225" fmla="*/ 712397 h 1520187"/>
              <a:gd name="connsiteX226" fmla="*/ 1834764 w 1984332"/>
              <a:gd name="connsiteY226" fmla="*/ 645190 h 1520187"/>
              <a:gd name="connsiteX227" fmla="*/ 1834764 w 1984332"/>
              <a:gd name="connsiteY227" fmla="*/ 645190 h 1520187"/>
              <a:gd name="connsiteX228" fmla="*/ 1915413 w 1984332"/>
              <a:gd name="connsiteY228" fmla="*/ 678794 h 1520187"/>
              <a:gd name="connsiteX229" fmla="*/ 1949017 w 1984332"/>
              <a:gd name="connsiteY229" fmla="*/ 759443 h 1520187"/>
              <a:gd name="connsiteX230" fmla="*/ 1915413 w 1984332"/>
              <a:gd name="connsiteY230"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1282 w 1984332"/>
              <a:gd name="connsiteY13" fmla="*/ 442456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8425 w 1984332"/>
              <a:gd name="connsiteY13" fmla="*/ 449600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8425 w 1984332"/>
              <a:gd name="connsiteY13" fmla="*/ 449600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 name="connsiteX0" fmla="*/ 1949017 w 1984332"/>
              <a:gd name="connsiteY0" fmla="*/ 645190 h 1520187"/>
              <a:gd name="connsiteX1" fmla="*/ 1841485 w 1984332"/>
              <a:gd name="connsiteY1" fmla="*/ 598145 h 1520187"/>
              <a:gd name="connsiteX2" fmla="*/ 1841485 w 1984332"/>
              <a:gd name="connsiteY2" fmla="*/ 598145 h 1520187"/>
              <a:gd name="connsiteX3" fmla="*/ 1707070 w 1984332"/>
              <a:gd name="connsiteY3" fmla="*/ 678794 h 1520187"/>
              <a:gd name="connsiteX4" fmla="*/ 1666745 w 1984332"/>
              <a:gd name="connsiteY4" fmla="*/ 678794 h 1520187"/>
              <a:gd name="connsiteX5" fmla="*/ 1666745 w 1984332"/>
              <a:gd name="connsiteY5" fmla="*/ 349478 h 1520187"/>
              <a:gd name="connsiteX6" fmla="*/ 1646583 w 1984332"/>
              <a:gd name="connsiteY6" fmla="*/ 329316 h 1520187"/>
              <a:gd name="connsiteX7" fmla="*/ 1646583 w 1984332"/>
              <a:gd name="connsiteY7" fmla="*/ 329316 h 1520187"/>
              <a:gd name="connsiteX8" fmla="*/ 1303825 w 1984332"/>
              <a:gd name="connsiteY8" fmla="*/ 329316 h 1520187"/>
              <a:gd name="connsiteX9" fmla="*/ 1283663 w 1984332"/>
              <a:gd name="connsiteY9" fmla="*/ 349478 h 1520187"/>
              <a:gd name="connsiteX10" fmla="*/ 1283663 w 1984332"/>
              <a:gd name="connsiteY10" fmla="*/ 349478 h 1520187"/>
              <a:gd name="connsiteX11" fmla="*/ 1283663 w 1984332"/>
              <a:gd name="connsiteY11" fmla="*/ 349478 h 1520187"/>
              <a:gd name="connsiteX12" fmla="*/ 1283663 w 1984332"/>
              <a:gd name="connsiteY12" fmla="*/ 423406 h 1520187"/>
              <a:gd name="connsiteX13" fmla="*/ 1288425 w 1984332"/>
              <a:gd name="connsiteY13" fmla="*/ 449600 h 1520187"/>
              <a:gd name="connsiteX14" fmla="*/ 1357168 w 1984332"/>
              <a:gd name="connsiteY14" fmla="*/ 551100 h 1520187"/>
              <a:gd name="connsiteX15" fmla="*/ 1330708 w 1984332"/>
              <a:gd name="connsiteY15" fmla="*/ 631749 h 1520187"/>
              <a:gd name="connsiteX16" fmla="*/ 1250059 w 1984332"/>
              <a:gd name="connsiteY16" fmla="*/ 665352 h 1520187"/>
              <a:gd name="connsiteX17" fmla="*/ 1135806 w 1984332"/>
              <a:gd name="connsiteY17" fmla="*/ 551100 h 1520187"/>
              <a:gd name="connsiteX18" fmla="*/ 1209734 w 1984332"/>
              <a:gd name="connsiteY18" fmla="*/ 443568 h 1520187"/>
              <a:gd name="connsiteX19" fmla="*/ 1223176 w 1984332"/>
              <a:gd name="connsiteY19" fmla="*/ 423406 h 1520187"/>
              <a:gd name="connsiteX20" fmla="*/ 1223176 w 1984332"/>
              <a:gd name="connsiteY20" fmla="*/ 349478 h 1520187"/>
              <a:gd name="connsiteX21" fmla="*/ 1223176 w 1984332"/>
              <a:gd name="connsiteY21" fmla="*/ 349478 h 1520187"/>
              <a:gd name="connsiteX22" fmla="*/ 1223176 w 1984332"/>
              <a:gd name="connsiteY22" fmla="*/ 349478 h 1520187"/>
              <a:gd name="connsiteX23" fmla="*/ 1182852 w 1984332"/>
              <a:gd name="connsiteY23" fmla="*/ 336037 h 1520187"/>
              <a:gd name="connsiteX24" fmla="*/ 1182852 w 1984332"/>
              <a:gd name="connsiteY24" fmla="*/ 336037 h 1520187"/>
              <a:gd name="connsiteX25" fmla="*/ 826652 w 1984332"/>
              <a:gd name="connsiteY25" fmla="*/ 336037 h 1520187"/>
              <a:gd name="connsiteX26" fmla="*/ 826652 w 1984332"/>
              <a:gd name="connsiteY26" fmla="*/ 336037 h 1520187"/>
              <a:gd name="connsiteX27" fmla="*/ 826652 w 1984332"/>
              <a:gd name="connsiteY27" fmla="*/ 336037 h 1520187"/>
              <a:gd name="connsiteX28" fmla="*/ 497335 w 1984332"/>
              <a:gd name="connsiteY28" fmla="*/ 336037 h 1520187"/>
              <a:gd name="connsiteX29" fmla="*/ 497335 w 1984332"/>
              <a:gd name="connsiteY29" fmla="*/ 295712 h 1520187"/>
              <a:gd name="connsiteX30" fmla="*/ 584705 w 1984332"/>
              <a:gd name="connsiteY30" fmla="*/ 154577 h 1520187"/>
              <a:gd name="connsiteX31" fmla="*/ 537660 w 1984332"/>
              <a:gd name="connsiteY31" fmla="*/ 47045 h 1520187"/>
              <a:gd name="connsiteX32" fmla="*/ 423407 w 1984332"/>
              <a:gd name="connsiteY32" fmla="*/ 0 h 1520187"/>
              <a:gd name="connsiteX33" fmla="*/ 423407 w 1984332"/>
              <a:gd name="connsiteY33" fmla="*/ 0 h 1520187"/>
              <a:gd name="connsiteX34" fmla="*/ 268830 w 1984332"/>
              <a:gd name="connsiteY34" fmla="*/ 154577 h 1520187"/>
              <a:gd name="connsiteX35" fmla="*/ 349479 w 1984332"/>
              <a:gd name="connsiteY35" fmla="*/ 288991 h 1520187"/>
              <a:gd name="connsiteX36" fmla="*/ 349479 w 1984332"/>
              <a:gd name="connsiteY36" fmla="*/ 329316 h 1520187"/>
              <a:gd name="connsiteX37" fmla="*/ 20162 w 1984332"/>
              <a:gd name="connsiteY37" fmla="*/ 336037 h 1520187"/>
              <a:gd name="connsiteX38" fmla="*/ 0 w 1984332"/>
              <a:gd name="connsiteY38" fmla="*/ 356199 h 1520187"/>
              <a:gd name="connsiteX39" fmla="*/ 0 w 1984332"/>
              <a:gd name="connsiteY39" fmla="*/ 698956 h 1520187"/>
              <a:gd name="connsiteX40" fmla="*/ 20162 w 1984332"/>
              <a:gd name="connsiteY40" fmla="*/ 719118 h 1520187"/>
              <a:gd name="connsiteX41" fmla="*/ 20162 w 1984332"/>
              <a:gd name="connsiteY41" fmla="*/ 719118 h 1520187"/>
              <a:gd name="connsiteX42" fmla="*/ 20162 w 1984332"/>
              <a:gd name="connsiteY42" fmla="*/ 719118 h 1520187"/>
              <a:gd name="connsiteX43" fmla="*/ 20162 w 1984332"/>
              <a:gd name="connsiteY43" fmla="*/ 719118 h 1520187"/>
              <a:gd name="connsiteX44" fmla="*/ 94090 w 1984332"/>
              <a:gd name="connsiteY44" fmla="*/ 719118 h 1520187"/>
              <a:gd name="connsiteX45" fmla="*/ 94090 w 1984332"/>
              <a:gd name="connsiteY45" fmla="*/ 719118 h 1520187"/>
              <a:gd name="connsiteX46" fmla="*/ 120973 w 1984332"/>
              <a:gd name="connsiteY46" fmla="*/ 705677 h 1520187"/>
              <a:gd name="connsiteX47" fmla="*/ 221785 w 1984332"/>
              <a:gd name="connsiteY47" fmla="*/ 638469 h 1520187"/>
              <a:gd name="connsiteX48" fmla="*/ 221785 w 1984332"/>
              <a:gd name="connsiteY48" fmla="*/ 638469 h 1520187"/>
              <a:gd name="connsiteX49" fmla="*/ 336037 w 1984332"/>
              <a:gd name="connsiteY49" fmla="*/ 752722 h 1520187"/>
              <a:gd name="connsiteX50" fmla="*/ 221785 w 1984332"/>
              <a:gd name="connsiteY50" fmla="*/ 873695 h 1520187"/>
              <a:gd name="connsiteX51" fmla="*/ 221785 w 1984332"/>
              <a:gd name="connsiteY51" fmla="*/ 873695 h 1520187"/>
              <a:gd name="connsiteX52" fmla="*/ 114253 w 1984332"/>
              <a:gd name="connsiteY52" fmla="*/ 799767 h 1520187"/>
              <a:gd name="connsiteX53" fmla="*/ 94090 w 1984332"/>
              <a:gd name="connsiteY53" fmla="*/ 786325 h 1520187"/>
              <a:gd name="connsiteX54" fmla="*/ 20162 w 1984332"/>
              <a:gd name="connsiteY54" fmla="*/ 786325 h 1520187"/>
              <a:gd name="connsiteX55" fmla="*/ 20162 w 1984332"/>
              <a:gd name="connsiteY55" fmla="*/ 786325 h 1520187"/>
              <a:gd name="connsiteX56" fmla="*/ 20162 w 1984332"/>
              <a:gd name="connsiteY56" fmla="*/ 786325 h 1520187"/>
              <a:gd name="connsiteX57" fmla="*/ 20162 w 1984332"/>
              <a:gd name="connsiteY57" fmla="*/ 786325 h 1520187"/>
              <a:gd name="connsiteX58" fmla="*/ 20162 w 1984332"/>
              <a:gd name="connsiteY58" fmla="*/ 786325 h 1520187"/>
              <a:gd name="connsiteX59" fmla="*/ 0 w 1984332"/>
              <a:gd name="connsiteY59" fmla="*/ 806488 h 1520187"/>
              <a:gd name="connsiteX60" fmla="*/ 0 w 1984332"/>
              <a:gd name="connsiteY60" fmla="*/ 1162686 h 1520187"/>
              <a:gd name="connsiteX61" fmla="*/ 20162 w 1984332"/>
              <a:gd name="connsiteY61" fmla="*/ 1182849 h 1520187"/>
              <a:gd name="connsiteX62" fmla="*/ 20162 w 1984332"/>
              <a:gd name="connsiteY62" fmla="*/ 1182849 h 1520187"/>
              <a:gd name="connsiteX63" fmla="*/ 356200 w 1984332"/>
              <a:gd name="connsiteY63" fmla="*/ 1182849 h 1520187"/>
              <a:gd name="connsiteX64" fmla="*/ 356200 w 1984332"/>
              <a:gd name="connsiteY64" fmla="*/ 1223173 h 1520187"/>
              <a:gd name="connsiteX65" fmla="*/ 268830 w 1984332"/>
              <a:gd name="connsiteY65" fmla="*/ 1364308 h 1520187"/>
              <a:gd name="connsiteX66" fmla="*/ 315875 w 1984332"/>
              <a:gd name="connsiteY66" fmla="*/ 1471840 h 1520187"/>
              <a:gd name="connsiteX67" fmla="*/ 423407 w 1984332"/>
              <a:gd name="connsiteY67" fmla="*/ 1518885 h 1520187"/>
              <a:gd name="connsiteX68" fmla="*/ 423407 w 1984332"/>
              <a:gd name="connsiteY68" fmla="*/ 1518885 h 1520187"/>
              <a:gd name="connsiteX69" fmla="*/ 537660 w 1984332"/>
              <a:gd name="connsiteY69" fmla="*/ 1478561 h 1520187"/>
              <a:gd name="connsiteX70" fmla="*/ 584705 w 1984332"/>
              <a:gd name="connsiteY70" fmla="*/ 1371029 h 1520187"/>
              <a:gd name="connsiteX71" fmla="*/ 510777 w 1984332"/>
              <a:gd name="connsiteY71" fmla="*/ 1236614 h 1520187"/>
              <a:gd name="connsiteX72" fmla="*/ 510777 w 1984332"/>
              <a:gd name="connsiteY72" fmla="*/ 1189569 h 1520187"/>
              <a:gd name="connsiteX73" fmla="*/ 833373 w 1984332"/>
              <a:gd name="connsiteY73" fmla="*/ 1189569 h 1520187"/>
              <a:gd name="connsiteX74" fmla="*/ 833373 w 1984332"/>
              <a:gd name="connsiteY74" fmla="*/ 1189569 h 1520187"/>
              <a:gd name="connsiteX75" fmla="*/ 833373 w 1984332"/>
              <a:gd name="connsiteY75" fmla="*/ 1189569 h 1520187"/>
              <a:gd name="connsiteX76" fmla="*/ 1189572 w 1984332"/>
              <a:gd name="connsiteY76" fmla="*/ 1189569 h 1520187"/>
              <a:gd name="connsiteX77" fmla="*/ 1203014 w 1984332"/>
              <a:gd name="connsiteY77" fmla="*/ 1182849 h 1520187"/>
              <a:gd name="connsiteX78" fmla="*/ 1209734 w 1984332"/>
              <a:gd name="connsiteY78" fmla="*/ 1169407 h 1520187"/>
              <a:gd name="connsiteX79" fmla="*/ 1209734 w 1984332"/>
              <a:gd name="connsiteY79" fmla="*/ 1095479 h 1520187"/>
              <a:gd name="connsiteX80" fmla="*/ 1196293 w 1984332"/>
              <a:gd name="connsiteY80" fmla="*/ 1075317 h 1520187"/>
              <a:gd name="connsiteX81" fmla="*/ 1122365 w 1984332"/>
              <a:gd name="connsiteY81" fmla="*/ 967785 h 1520187"/>
              <a:gd name="connsiteX82" fmla="*/ 1155969 w 1984332"/>
              <a:gd name="connsiteY82" fmla="*/ 887136 h 1520187"/>
              <a:gd name="connsiteX83" fmla="*/ 1236617 w 1984332"/>
              <a:gd name="connsiteY83" fmla="*/ 853533 h 1520187"/>
              <a:gd name="connsiteX84" fmla="*/ 1236617 w 1984332"/>
              <a:gd name="connsiteY84" fmla="*/ 853533 h 1520187"/>
              <a:gd name="connsiteX85" fmla="*/ 1317266 w 1984332"/>
              <a:gd name="connsiteY85" fmla="*/ 887136 h 1520187"/>
              <a:gd name="connsiteX86" fmla="*/ 1350870 w 1984332"/>
              <a:gd name="connsiteY86" fmla="*/ 967785 h 1520187"/>
              <a:gd name="connsiteX87" fmla="*/ 1283663 w 1984332"/>
              <a:gd name="connsiteY87" fmla="*/ 1068596 h 1520187"/>
              <a:gd name="connsiteX88" fmla="*/ 1270221 w 1984332"/>
              <a:gd name="connsiteY88" fmla="*/ 1088758 h 1520187"/>
              <a:gd name="connsiteX89" fmla="*/ 1270221 w 1984332"/>
              <a:gd name="connsiteY89" fmla="*/ 1162686 h 1520187"/>
              <a:gd name="connsiteX90" fmla="*/ 1276942 w 1984332"/>
              <a:gd name="connsiteY90" fmla="*/ 1176128 h 1520187"/>
              <a:gd name="connsiteX91" fmla="*/ 1290383 w 1984332"/>
              <a:gd name="connsiteY91" fmla="*/ 1182849 h 1520187"/>
              <a:gd name="connsiteX92" fmla="*/ 1290383 w 1984332"/>
              <a:gd name="connsiteY92" fmla="*/ 1182849 h 1520187"/>
              <a:gd name="connsiteX93" fmla="*/ 1633141 w 1984332"/>
              <a:gd name="connsiteY93" fmla="*/ 1182849 h 1520187"/>
              <a:gd name="connsiteX94" fmla="*/ 1653304 w 1984332"/>
              <a:gd name="connsiteY94" fmla="*/ 1162686 h 1520187"/>
              <a:gd name="connsiteX95" fmla="*/ 1653304 w 1984332"/>
              <a:gd name="connsiteY95" fmla="*/ 833371 h 1520187"/>
              <a:gd name="connsiteX96" fmla="*/ 1693628 w 1984332"/>
              <a:gd name="connsiteY96" fmla="*/ 833371 h 1520187"/>
              <a:gd name="connsiteX97" fmla="*/ 1828043 w 1984332"/>
              <a:gd name="connsiteY97" fmla="*/ 914019 h 1520187"/>
              <a:gd name="connsiteX98" fmla="*/ 1828043 w 1984332"/>
              <a:gd name="connsiteY98" fmla="*/ 914019 h 1520187"/>
              <a:gd name="connsiteX99" fmla="*/ 1935575 w 1984332"/>
              <a:gd name="connsiteY99" fmla="*/ 866974 h 1520187"/>
              <a:gd name="connsiteX100" fmla="*/ 1982620 w 1984332"/>
              <a:gd name="connsiteY100" fmla="*/ 759443 h 1520187"/>
              <a:gd name="connsiteX101" fmla="*/ 1949017 w 1984332"/>
              <a:gd name="connsiteY101" fmla="*/ 645190 h 1520187"/>
              <a:gd name="connsiteX102" fmla="*/ 483894 w 1984332"/>
              <a:gd name="connsiteY102" fmla="*/ 1142524 h 1520187"/>
              <a:gd name="connsiteX103" fmla="*/ 463732 w 1984332"/>
              <a:gd name="connsiteY103" fmla="*/ 1162686 h 1520187"/>
              <a:gd name="connsiteX104" fmla="*/ 463732 w 1984332"/>
              <a:gd name="connsiteY104" fmla="*/ 1162686 h 1520187"/>
              <a:gd name="connsiteX105" fmla="*/ 463732 w 1984332"/>
              <a:gd name="connsiteY105" fmla="*/ 1162686 h 1520187"/>
              <a:gd name="connsiteX106" fmla="*/ 463732 w 1984332"/>
              <a:gd name="connsiteY106" fmla="*/ 1236614 h 1520187"/>
              <a:gd name="connsiteX107" fmla="*/ 463732 w 1984332"/>
              <a:gd name="connsiteY107" fmla="*/ 1236614 h 1520187"/>
              <a:gd name="connsiteX108" fmla="*/ 477173 w 1984332"/>
              <a:gd name="connsiteY108" fmla="*/ 1263497 h 1520187"/>
              <a:gd name="connsiteX109" fmla="*/ 544381 w 1984332"/>
              <a:gd name="connsiteY109" fmla="*/ 1364308 h 1520187"/>
              <a:gd name="connsiteX110" fmla="*/ 510777 w 1984332"/>
              <a:gd name="connsiteY110" fmla="*/ 1444957 h 1520187"/>
              <a:gd name="connsiteX111" fmla="*/ 423407 w 1984332"/>
              <a:gd name="connsiteY111" fmla="*/ 1478561 h 1520187"/>
              <a:gd name="connsiteX112" fmla="*/ 423407 w 1984332"/>
              <a:gd name="connsiteY112" fmla="*/ 1478561 h 1520187"/>
              <a:gd name="connsiteX113" fmla="*/ 342758 w 1984332"/>
              <a:gd name="connsiteY113" fmla="*/ 1444957 h 1520187"/>
              <a:gd name="connsiteX114" fmla="*/ 309154 w 1984332"/>
              <a:gd name="connsiteY114" fmla="*/ 1364308 h 1520187"/>
              <a:gd name="connsiteX115" fmla="*/ 383083 w 1984332"/>
              <a:gd name="connsiteY115" fmla="*/ 1256777 h 1520187"/>
              <a:gd name="connsiteX116" fmla="*/ 396524 w 1984332"/>
              <a:gd name="connsiteY116" fmla="*/ 1236614 h 1520187"/>
              <a:gd name="connsiteX117" fmla="*/ 396524 w 1984332"/>
              <a:gd name="connsiteY117" fmla="*/ 1162686 h 1520187"/>
              <a:gd name="connsiteX118" fmla="*/ 396524 w 1984332"/>
              <a:gd name="connsiteY118" fmla="*/ 1162686 h 1520187"/>
              <a:gd name="connsiteX119" fmla="*/ 396524 w 1984332"/>
              <a:gd name="connsiteY119" fmla="*/ 1162686 h 1520187"/>
              <a:gd name="connsiteX120" fmla="*/ 376362 w 1984332"/>
              <a:gd name="connsiteY120" fmla="*/ 1142524 h 1520187"/>
              <a:gd name="connsiteX121" fmla="*/ 376362 w 1984332"/>
              <a:gd name="connsiteY121" fmla="*/ 1142524 h 1520187"/>
              <a:gd name="connsiteX122" fmla="*/ 40324 w 1984332"/>
              <a:gd name="connsiteY122" fmla="*/ 1142524 h 1520187"/>
              <a:gd name="connsiteX123" fmla="*/ 40324 w 1984332"/>
              <a:gd name="connsiteY123" fmla="*/ 833371 h 1520187"/>
              <a:gd name="connsiteX124" fmla="*/ 80649 w 1984332"/>
              <a:gd name="connsiteY124" fmla="*/ 833371 h 1520187"/>
              <a:gd name="connsiteX125" fmla="*/ 221785 w 1984332"/>
              <a:gd name="connsiteY125" fmla="*/ 920740 h 1520187"/>
              <a:gd name="connsiteX126" fmla="*/ 221785 w 1984332"/>
              <a:gd name="connsiteY126" fmla="*/ 920740 h 1520187"/>
              <a:gd name="connsiteX127" fmla="*/ 376362 w 1984332"/>
              <a:gd name="connsiteY127" fmla="*/ 766163 h 1520187"/>
              <a:gd name="connsiteX128" fmla="*/ 221785 w 1984332"/>
              <a:gd name="connsiteY128" fmla="*/ 604866 h 1520187"/>
              <a:gd name="connsiteX129" fmla="*/ 221785 w 1984332"/>
              <a:gd name="connsiteY129" fmla="*/ 604866 h 1520187"/>
              <a:gd name="connsiteX130" fmla="*/ 87370 w 1984332"/>
              <a:gd name="connsiteY130" fmla="*/ 678794 h 1520187"/>
              <a:gd name="connsiteX131" fmla="*/ 40324 w 1984332"/>
              <a:gd name="connsiteY131" fmla="*/ 678794 h 1520187"/>
              <a:gd name="connsiteX132" fmla="*/ 40324 w 1984332"/>
              <a:gd name="connsiteY132" fmla="*/ 376361 h 1520187"/>
              <a:gd name="connsiteX133" fmla="*/ 369641 w 1984332"/>
              <a:gd name="connsiteY133" fmla="*/ 376361 h 1520187"/>
              <a:gd name="connsiteX134" fmla="*/ 383083 w 1984332"/>
              <a:gd name="connsiteY134" fmla="*/ 369640 h 1520187"/>
              <a:gd name="connsiteX135" fmla="*/ 389803 w 1984332"/>
              <a:gd name="connsiteY135" fmla="*/ 356199 h 1520187"/>
              <a:gd name="connsiteX136" fmla="*/ 389803 w 1984332"/>
              <a:gd name="connsiteY136" fmla="*/ 275550 h 1520187"/>
              <a:gd name="connsiteX137" fmla="*/ 376362 w 1984332"/>
              <a:gd name="connsiteY137" fmla="*/ 255388 h 1520187"/>
              <a:gd name="connsiteX138" fmla="*/ 309154 w 1984332"/>
              <a:gd name="connsiteY138" fmla="*/ 154577 h 1520187"/>
              <a:gd name="connsiteX139" fmla="*/ 423407 w 1984332"/>
              <a:gd name="connsiteY139" fmla="*/ 40324 h 1520187"/>
              <a:gd name="connsiteX140" fmla="*/ 504056 w 1984332"/>
              <a:gd name="connsiteY140" fmla="*/ 73928 h 1520187"/>
              <a:gd name="connsiteX141" fmla="*/ 537660 w 1984332"/>
              <a:gd name="connsiteY141" fmla="*/ 154577 h 1520187"/>
              <a:gd name="connsiteX142" fmla="*/ 470452 w 1984332"/>
              <a:gd name="connsiteY142" fmla="*/ 262109 h 1520187"/>
              <a:gd name="connsiteX143" fmla="*/ 457011 w 1984332"/>
              <a:gd name="connsiteY143" fmla="*/ 282271 h 1520187"/>
              <a:gd name="connsiteX144" fmla="*/ 457011 w 1984332"/>
              <a:gd name="connsiteY144" fmla="*/ 362919 h 1520187"/>
              <a:gd name="connsiteX145" fmla="*/ 477173 w 1984332"/>
              <a:gd name="connsiteY145" fmla="*/ 383082 h 1520187"/>
              <a:gd name="connsiteX146" fmla="*/ 477173 w 1984332"/>
              <a:gd name="connsiteY146" fmla="*/ 383082 h 1520187"/>
              <a:gd name="connsiteX147" fmla="*/ 806490 w 1984332"/>
              <a:gd name="connsiteY147" fmla="*/ 383082 h 1520187"/>
              <a:gd name="connsiteX148" fmla="*/ 806490 w 1984332"/>
              <a:gd name="connsiteY148" fmla="*/ 631749 h 1520187"/>
              <a:gd name="connsiteX149" fmla="*/ 806490 w 1984332"/>
              <a:gd name="connsiteY149" fmla="*/ 685515 h 1520187"/>
              <a:gd name="connsiteX150" fmla="*/ 766165 w 1984332"/>
              <a:gd name="connsiteY150" fmla="*/ 685515 h 1520187"/>
              <a:gd name="connsiteX151" fmla="*/ 631750 w 1984332"/>
              <a:gd name="connsiteY151" fmla="*/ 604866 h 1520187"/>
              <a:gd name="connsiteX152" fmla="*/ 631750 w 1984332"/>
              <a:gd name="connsiteY152" fmla="*/ 604866 h 1520187"/>
              <a:gd name="connsiteX153" fmla="*/ 517497 w 1984332"/>
              <a:gd name="connsiteY153" fmla="*/ 651911 h 1520187"/>
              <a:gd name="connsiteX154" fmla="*/ 470452 w 1984332"/>
              <a:gd name="connsiteY154" fmla="*/ 759443 h 1520187"/>
              <a:gd name="connsiteX155" fmla="*/ 517497 w 1984332"/>
              <a:gd name="connsiteY155" fmla="*/ 866974 h 1520187"/>
              <a:gd name="connsiteX156" fmla="*/ 625029 w 1984332"/>
              <a:gd name="connsiteY156" fmla="*/ 914019 h 1520187"/>
              <a:gd name="connsiteX157" fmla="*/ 625029 w 1984332"/>
              <a:gd name="connsiteY157" fmla="*/ 914019 h 1520187"/>
              <a:gd name="connsiteX158" fmla="*/ 766165 w 1984332"/>
              <a:gd name="connsiteY158" fmla="*/ 826650 h 1520187"/>
              <a:gd name="connsiteX159" fmla="*/ 799769 w 1984332"/>
              <a:gd name="connsiteY159" fmla="*/ 826650 h 1520187"/>
              <a:gd name="connsiteX160" fmla="*/ 799769 w 1984332"/>
              <a:gd name="connsiteY160" fmla="*/ 1135803 h 1520187"/>
              <a:gd name="connsiteX161" fmla="*/ 483894 w 1984332"/>
              <a:gd name="connsiteY161" fmla="*/ 1142524 h 1520187"/>
              <a:gd name="connsiteX162" fmla="*/ 1915413 w 1984332"/>
              <a:gd name="connsiteY162" fmla="*/ 840091 h 1520187"/>
              <a:gd name="connsiteX163" fmla="*/ 1834764 w 1984332"/>
              <a:gd name="connsiteY163" fmla="*/ 873695 h 1520187"/>
              <a:gd name="connsiteX164" fmla="*/ 1834764 w 1984332"/>
              <a:gd name="connsiteY164" fmla="*/ 873695 h 1520187"/>
              <a:gd name="connsiteX165" fmla="*/ 1733953 w 1984332"/>
              <a:gd name="connsiteY165" fmla="*/ 806488 h 1520187"/>
              <a:gd name="connsiteX166" fmla="*/ 1713790 w 1984332"/>
              <a:gd name="connsiteY166" fmla="*/ 793046 h 1520187"/>
              <a:gd name="connsiteX167" fmla="*/ 1713790 w 1984332"/>
              <a:gd name="connsiteY167" fmla="*/ 793046 h 1520187"/>
              <a:gd name="connsiteX168" fmla="*/ 1633141 w 1984332"/>
              <a:gd name="connsiteY168" fmla="*/ 793046 h 1520187"/>
              <a:gd name="connsiteX169" fmla="*/ 1612979 w 1984332"/>
              <a:gd name="connsiteY169" fmla="*/ 813208 h 1520187"/>
              <a:gd name="connsiteX170" fmla="*/ 1612979 w 1984332"/>
              <a:gd name="connsiteY170" fmla="*/ 1142524 h 1520187"/>
              <a:gd name="connsiteX171" fmla="*/ 1310546 w 1984332"/>
              <a:gd name="connsiteY171" fmla="*/ 1142524 h 1520187"/>
              <a:gd name="connsiteX172" fmla="*/ 1310546 w 1984332"/>
              <a:gd name="connsiteY172" fmla="*/ 1102200 h 1520187"/>
              <a:gd name="connsiteX173" fmla="*/ 1384474 w 1984332"/>
              <a:gd name="connsiteY173" fmla="*/ 967785 h 1520187"/>
              <a:gd name="connsiteX174" fmla="*/ 1337429 w 1984332"/>
              <a:gd name="connsiteY174" fmla="*/ 860254 h 1520187"/>
              <a:gd name="connsiteX175" fmla="*/ 1229897 w 1984332"/>
              <a:gd name="connsiteY175" fmla="*/ 813208 h 1520187"/>
              <a:gd name="connsiteX176" fmla="*/ 1229897 w 1984332"/>
              <a:gd name="connsiteY176" fmla="*/ 813208 h 1520187"/>
              <a:gd name="connsiteX177" fmla="*/ 1122365 w 1984332"/>
              <a:gd name="connsiteY177" fmla="*/ 860254 h 1520187"/>
              <a:gd name="connsiteX178" fmla="*/ 1075320 w 1984332"/>
              <a:gd name="connsiteY178" fmla="*/ 967785 h 1520187"/>
              <a:gd name="connsiteX179" fmla="*/ 1162689 w 1984332"/>
              <a:gd name="connsiteY179" fmla="*/ 1108921 h 1520187"/>
              <a:gd name="connsiteX180" fmla="*/ 1162689 w 1984332"/>
              <a:gd name="connsiteY180" fmla="*/ 1142524 h 1520187"/>
              <a:gd name="connsiteX181" fmla="*/ 853535 w 1984332"/>
              <a:gd name="connsiteY181" fmla="*/ 1142524 h 1520187"/>
              <a:gd name="connsiteX182" fmla="*/ 853535 w 1984332"/>
              <a:gd name="connsiteY182" fmla="*/ 819929 h 1520187"/>
              <a:gd name="connsiteX183" fmla="*/ 853535 w 1984332"/>
              <a:gd name="connsiteY183" fmla="*/ 819929 h 1520187"/>
              <a:gd name="connsiteX184" fmla="*/ 853535 w 1984332"/>
              <a:gd name="connsiteY184" fmla="*/ 806488 h 1520187"/>
              <a:gd name="connsiteX185" fmla="*/ 846814 w 1984332"/>
              <a:gd name="connsiteY185" fmla="*/ 793046 h 1520187"/>
              <a:gd name="connsiteX186" fmla="*/ 833373 w 1984332"/>
              <a:gd name="connsiteY186" fmla="*/ 786325 h 1520187"/>
              <a:gd name="connsiteX187" fmla="*/ 833373 w 1984332"/>
              <a:gd name="connsiteY187" fmla="*/ 786325 h 1520187"/>
              <a:gd name="connsiteX188" fmla="*/ 759444 w 1984332"/>
              <a:gd name="connsiteY188" fmla="*/ 786325 h 1520187"/>
              <a:gd name="connsiteX189" fmla="*/ 739282 w 1984332"/>
              <a:gd name="connsiteY189" fmla="*/ 799767 h 1520187"/>
              <a:gd name="connsiteX190" fmla="*/ 631750 w 1984332"/>
              <a:gd name="connsiteY190" fmla="*/ 873695 h 1520187"/>
              <a:gd name="connsiteX191" fmla="*/ 631750 w 1984332"/>
              <a:gd name="connsiteY191" fmla="*/ 873695 h 1520187"/>
              <a:gd name="connsiteX192" fmla="*/ 551101 w 1984332"/>
              <a:gd name="connsiteY192" fmla="*/ 840091 h 1520187"/>
              <a:gd name="connsiteX193" fmla="*/ 517497 w 1984332"/>
              <a:gd name="connsiteY193" fmla="*/ 759443 h 1520187"/>
              <a:gd name="connsiteX194" fmla="*/ 551101 w 1984332"/>
              <a:gd name="connsiteY194" fmla="*/ 678794 h 1520187"/>
              <a:gd name="connsiteX195" fmla="*/ 631750 w 1984332"/>
              <a:gd name="connsiteY195" fmla="*/ 645190 h 1520187"/>
              <a:gd name="connsiteX196" fmla="*/ 631750 w 1984332"/>
              <a:gd name="connsiteY196" fmla="*/ 645190 h 1520187"/>
              <a:gd name="connsiteX197" fmla="*/ 732561 w 1984332"/>
              <a:gd name="connsiteY197" fmla="*/ 712397 h 1520187"/>
              <a:gd name="connsiteX198" fmla="*/ 752724 w 1984332"/>
              <a:gd name="connsiteY198" fmla="*/ 725839 h 1520187"/>
              <a:gd name="connsiteX199" fmla="*/ 752724 w 1984332"/>
              <a:gd name="connsiteY199" fmla="*/ 725839 h 1520187"/>
              <a:gd name="connsiteX200" fmla="*/ 826652 w 1984332"/>
              <a:gd name="connsiteY200" fmla="*/ 725839 h 1520187"/>
              <a:gd name="connsiteX201" fmla="*/ 826652 w 1984332"/>
              <a:gd name="connsiteY201" fmla="*/ 725839 h 1520187"/>
              <a:gd name="connsiteX202" fmla="*/ 840093 w 1984332"/>
              <a:gd name="connsiteY202" fmla="*/ 719118 h 1520187"/>
              <a:gd name="connsiteX203" fmla="*/ 840093 w 1984332"/>
              <a:gd name="connsiteY203" fmla="*/ 719118 h 1520187"/>
              <a:gd name="connsiteX204" fmla="*/ 840093 w 1984332"/>
              <a:gd name="connsiteY204" fmla="*/ 719118 h 1520187"/>
              <a:gd name="connsiteX205" fmla="*/ 846814 w 1984332"/>
              <a:gd name="connsiteY205" fmla="*/ 705677 h 1520187"/>
              <a:gd name="connsiteX206" fmla="*/ 846814 w 1984332"/>
              <a:gd name="connsiteY206" fmla="*/ 705677 h 1520187"/>
              <a:gd name="connsiteX207" fmla="*/ 846814 w 1984332"/>
              <a:gd name="connsiteY207" fmla="*/ 705677 h 1520187"/>
              <a:gd name="connsiteX208" fmla="*/ 846814 w 1984332"/>
              <a:gd name="connsiteY208" fmla="*/ 705677 h 1520187"/>
              <a:gd name="connsiteX209" fmla="*/ 846814 w 1984332"/>
              <a:gd name="connsiteY209" fmla="*/ 383082 h 1520187"/>
              <a:gd name="connsiteX210" fmla="*/ 1155969 w 1984332"/>
              <a:gd name="connsiteY210" fmla="*/ 383082 h 1520187"/>
              <a:gd name="connsiteX211" fmla="*/ 1155969 w 1984332"/>
              <a:gd name="connsiteY211" fmla="*/ 423406 h 1520187"/>
              <a:gd name="connsiteX212" fmla="*/ 1084846 w 1984332"/>
              <a:gd name="connsiteY212" fmla="*/ 555440 h 1520187"/>
              <a:gd name="connsiteX213" fmla="*/ 1139409 w 1984332"/>
              <a:gd name="connsiteY213" fmla="*/ 664773 h 1520187"/>
              <a:gd name="connsiteX214" fmla="*/ 1241803 w 1984332"/>
              <a:gd name="connsiteY214" fmla="*/ 712400 h 1520187"/>
              <a:gd name="connsiteX215" fmla="*/ 1354098 w 1984332"/>
              <a:gd name="connsiteY215" fmla="*/ 670115 h 1520187"/>
              <a:gd name="connsiteX216" fmla="*/ 1396380 w 1984332"/>
              <a:gd name="connsiteY216" fmla="*/ 553058 h 1520187"/>
              <a:gd name="connsiteX217" fmla="*/ 1310546 w 1984332"/>
              <a:gd name="connsiteY217" fmla="*/ 423406 h 1520187"/>
              <a:gd name="connsiteX218" fmla="*/ 1310546 w 1984332"/>
              <a:gd name="connsiteY218" fmla="*/ 376361 h 1520187"/>
              <a:gd name="connsiteX219" fmla="*/ 1612979 w 1984332"/>
              <a:gd name="connsiteY219" fmla="*/ 376361 h 1520187"/>
              <a:gd name="connsiteX220" fmla="*/ 1612979 w 1984332"/>
              <a:gd name="connsiteY220" fmla="*/ 705677 h 1520187"/>
              <a:gd name="connsiteX221" fmla="*/ 1633141 w 1984332"/>
              <a:gd name="connsiteY221" fmla="*/ 725839 h 1520187"/>
              <a:gd name="connsiteX222" fmla="*/ 1633141 w 1984332"/>
              <a:gd name="connsiteY222" fmla="*/ 725839 h 1520187"/>
              <a:gd name="connsiteX223" fmla="*/ 1713790 w 1984332"/>
              <a:gd name="connsiteY223" fmla="*/ 725839 h 1520187"/>
              <a:gd name="connsiteX224" fmla="*/ 1733953 w 1984332"/>
              <a:gd name="connsiteY224" fmla="*/ 712397 h 1520187"/>
              <a:gd name="connsiteX225" fmla="*/ 1834764 w 1984332"/>
              <a:gd name="connsiteY225" fmla="*/ 645190 h 1520187"/>
              <a:gd name="connsiteX226" fmla="*/ 1834764 w 1984332"/>
              <a:gd name="connsiteY226" fmla="*/ 645190 h 1520187"/>
              <a:gd name="connsiteX227" fmla="*/ 1915413 w 1984332"/>
              <a:gd name="connsiteY227" fmla="*/ 678794 h 1520187"/>
              <a:gd name="connsiteX228" fmla="*/ 1949017 w 1984332"/>
              <a:gd name="connsiteY228" fmla="*/ 759443 h 1520187"/>
              <a:gd name="connsiteX229" fmla="*/ 1915413 w 1984332"/>
              <a:gd name="connsiteY229" fmla="*/ 840091 h 152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984332" h="1520187">
                <a:moveTo>
                  <a:pt x="1949017" y="645190"/>
                </a:moveTo>
                <a:cubicBezTo>
                  <a:pt x="1922134" y="618307"/>
                  <a:pt x="1881809" y="598145"/>
                  <a:pt x="1841485" y="598145"/>
                </a:cubicBezTo>
                <a:lnTo>
                  <a:pt x="1841485" y="598145"/>
                </a:lnTo>
                <a:cubicBezTo>
                  <a:pt x="1780998" y="598145"/>
                  <a:pt x="1733953" y="631749"/>
                  <a:pt x="1707070" y="678794"/>
                </a:cubicBezTo>
                <a:lnTo>
                  <a:pt x="1666745" y="678794"/>
                </a:lnTo>
                <a:lnTo>
                  <a:pt x="1666745" y="349478"/>
                </a:lnTo>
                <a:cubicBezTo>
                  <a:pt x="1666745" y="336037"/>
                  <a:pt x="1660025" y="329316"/>
                  <a:pt x="1646583" y="329316"/>
                </a:cubicBezTo>
                <a:lnTo>
                  <a:pt x="1646583" y="329316"/>
                </a:lnTo>
                <a:lnTo>
                  <a:pt x="1303825" y="329316"/>
                </a:lnTo>
                <a:cubicBezTo>
                  <a:pt x="1290383" y="329316"/>
                  <a:pt x="1283663" y="336037"/>
                  <a:pt x="1283663" y="349478"/>
                </a:cubicBezTo>
                <a:lnTo>
                  <a:pt x="1283663" y="349478"/>
                </a:lnTo>
                <a:lnTo>
                  <a:pt x="1283663" y="349478"/>
                </a:lnTo>
                <a:lnTo>
                  <a:pt x="1283663" y="423406"/>
                </a:lnTo>
                <a:cubicBezTo>
                  <a:pt x="1282869" y="429756"/>
                  <a:pt x="1286044" y="436503"/>
                  <a:pt x="1288425" y="449600"/>
                </a:cubicBezTo>
                <a:cubicBezTo>
                  <a:pt x="1319726" y="473264"/>
                  <a:pt x="1350121" y="520742"/>
                  <a:pt x="1357168" y="551100"/>
                </a:cubicBezTo>
                <a:cubicBezTo>
                  <a:pt x="1364215" y="581458"/>
                  <a:pt x="1348559" y="612707"/>
                  <a:pt x="1330708" y="631749"/>
                </a:cubicBezTo>
                <a:cubicBezTo>
                  <a:pt x="1312857" y="650791"/>
                  <a:pt x="1283663" y="665352"/>
                  <a:pt x="1250059" y="665352"/>
                </a:cubicBezTo>
                <a:cubicBezTo>
                  <a:pt x="1189572" y="665352"/>
                  <a:pt x="1135806" y="618307"/>
                  <a:pt x="1135806" y="551100"/>
                </a:cubicBezTo>
                <a:cubicBezTo>
                  <a:pt x="1135806" y="504055"/>
                  <a:pt x="1162689" y="463730"/>
                  <a:pt x="1209734" y="443568"/>
                </a:cubicBezTo>
                <a:cubicBezTo>
                  <a:pt x="1216455" y="443568"/>
                  <a:pt x="1223176" y="430127"/>
                  <a:pt x="1223176" y="423406"/>
                </a:cubicBezTo>
                <a:lnTo>
                  <a:pt x="1223176" y="349478"/>
                </a:lnTo>
                <a:lnTo>
                  <a:pt x="1223176" y="349478"/>
                </a:lnTo>
                <a:lnTo>
                  <a:pt x="1223176" y="349478"/>
                </a:lnTo>
                <a:cubicBezTo>
                  <a:pt x="1209734" y="342757"/>
                  <a:pt x="1196293" y="336037"/>
                  <a:pt x="1182852" y="336037"/>
                </a:cubicBezTo>
                <a:lnTo>
                  <a:pt x="1182852" y="336037"/>
                </a:lnTo>
                <a:lnTo>
                  <a:pt x="826652" y="336037"/>
                </a:lnTo>
                <a:lnTo>
                  <a:pt x="826652" y="336037"/>
                </a:lnTo>
                <a:lnTo>
                  <a:pt x="826652" y="336037"/>
                </a:lnTo>
                <a:lnTo>
                  <a:pt x="497335" y="336037"/>
                </a:lnTo>
                <a:lnTo>
                  <a:pt x="497335" y="295712"/>
                </a:lnTo>
                <a:cubicBezTo>
                  <a:pt x="551101" y="268829"/>
                  <a:pt x="584705" y="215063"/>
                  <a:pt x="584705" y="154577"/>
                </a:cubicBezTo>
                <a:cubicBezTo>
                  <a:pt x="584705" y="114252"/>
                  <a:pt x="571263" y="73928"/>
                  <a:pt x="537660" y="47045"/>
                </a:cubicBezTo>
                <a:cubicBezTo>
                  <a:pt x="504056" y="13441"/>
                  <a:pt x="463732" y="0"/>
                  <a:pt x="423407" y="0"/>
                </a:cubicBezTo>
                <a:lnTo>
                  <a:pt x="423407" y="0"/>
                </a:lnTo>
                <a:cubicBezTo>
                  <a:pt x="336037" y="0"/>
                  <a:pt x="268830" y="67207"/>
                  <a:pt x="268830" y="154577"/>
                </a:cubicBezTo>
                <a:cubicBezTo>
                  <a:pt x="268830" y="215063"/>
                  <a:pt x="302434" y="262109"/>
                  <a:pt x="349479" y="288991"/>
                </a:cubicBezTo>
                <a:lnTo>
                  <a:pt x="349479" y="329316"/>
                </a:lnTo>
                <a:lnTo>
                  <a:pt x="20162" y="336037"/>
                </a:lnTo>
                <a:cubicBezTo>
                  <a:pt x="6721" y="336037"/>
                  <a:pt x="0" y="342757"/>
                  <a:pt x="0" y="356199"/>
                </a:cubicBezTo>
                <a:lnTo>
                  <a:pt x="0" y="698956"/>
                </a:lnTo>
                <a:cubicBezTo>
                  <a:pt x="0" y="712397"/>
                  <a:pt x="6721" y="719118"/>
                  <a:pt x="20162" y="719118"/>
                </a:cubicBezTo>
                <a:lnTo>
                  <a:pt x="20162" y="719118"/>
                </a:lnTo>
                <a:lnTo>
                  <a:pt x="20162" y="719118"/>
                </a:lnTo>
                <a:lnTo>
                  <a:pt x="20162" y="719118"/>
                </a:lnTo>
                <a:lnTo>
                  <a:pt x="94090" y="719118"/>
                </a:lnTo>
                <a:lnTo>
                  <a:pt x="94090" y="719118"/>
                </a:lnTo>
                <a:cubicBezTo>
                  <a:pt x="107532" y="719118"/>
                  <a:pt x="114253" y="719118"/>
                  <a:pt x="120973" y="705677"/>
                </a:cubicBezTo>
                <a:cubicBezTo>
                  <a:pt x="141136" y="665352"/>
                  <a:pt x="181460" y="638469"/>
                  <a:pt x="221785" y="638469"/>
                </a:cubicBezTo>
                <a:lnTo>
                  <a:pt x="221785" y="638469"/>
                </a:lnTo>
                <a:cubicBezTo>
                  <a:pt x="282271" y="638469"/>
                  <a:pt x="336037" y="685515"/>
                  <a:pt x="336037" y="752722"/>
                </a:cubicBezTo>
                <a:cubicBezTo>
                  <a:pt x="336037" y="819929"/>
                  <a:pt x="288992" y="873695"/>
                  <a:pt x="221785" y="873695"/>
                </a:cubicBezTo>
                <a:lnTo>
                  <a:pt x="221785" y="873695"/>
                </a:lnTo>
                <a:cubicBezTo>
                  <a:pt x="174739" y="873695"/>
                  <a:pt x="134415" y="846812"/>
                  <a:pt x="114253" y="799767"/>
                </a:cubicBezTo>
                <a:cubicBezTo>
                  <a:pt x="114253" y="793046"/>
                  <a:pt x="100811" y="786325"/>
                  <a:pt x="94090" y="786325"/>
                </a:cubicBezTo>
                <a:lnTo>
                  <a:pt x="20162" y="786325"/>
                </a:lnTo>
                <a:lnTo>
                  <a:pt x="20162" y="786325"/>
                </a:lnTo>
                <a:lnTo>
                  <a:pt x="20162" y="786325"/>
                </a:lnTo>
                <a:lnTo>
                  <a:pt x="20162" y="786325"/>
                </a:lnTo>
                <a:lnTo>
                  <a:pt x="20162" y="786325"/>
                </a:lnTo>
                <a:cubicBezTo>
                  <a:pt x="13441" y="786325"/>
                  <a:pt x="0" y="793046"/>
                  <a:pt x="0" y="806488"/>
                </a:cubicBezTo>
                <a:lnTo>
                  <a:pt x="0" y="1162686"/>
                </a:lnTo>
                <a:cubicBezTo>
                  <a:pt x="0" y="1176128"/>
                  <a:pt x="6721" y="1182849"/>
                  <a:pt x="20162" y="1182849"/>
                </a:cubicBezTo>
                <a:lnTo>
                  <a:pt x="20162" y="1182849"/>
                </a:lnTo>
                <a:lnTo>
                  <a:pt x="356200" y="1182849"/>
                </a:lnTo>
                <a:lnTo>
                  <a:pt x="356200" y="1223173"/>
                </a:lnTo>
                <a:cubicBezTo>
                  <a:pt x="302434" y="1250056"/>
                  <a:pt x="268830" y="1303822"/>
                  <a:pt x="268830" y="1364308"/>
                </a:cubicBezTo>
                <a:cubicBezTo>
                  <a:pt x="268830" y="1404633"/>
                  <a:pt x="282271" y="1444957"/>
                  <a:pt x="315875" y="1471840"/>
                </a:cubicBezTo>
                <a:cubicBezTo>
                  <a:pt x="342758" y="1498723"/>
                  <a:pt x="383083" y="1518885"/>
                  <a:pt x="423407" y="1518885"/>
                </a:cubicBezTo>
                <a:lnTo>
                  <a:pt x="423407" y="1518885"/>
                </a:lnTo>
                <a:cubicBezTo>
                  <a:pt x="470452" y="1525606"/>
                  <a:pt x="504056" y="1505444"/>
                  <a:pt x="537660" y="1478561"/>
                </a:cubicBezTo>
                <a:cubicBezTo>
                  <a:pt x="571263" y="1451678"/>
                  <a:pt x="584705" y="1411353"/>
                  <a:pt x="584705" y="1371029"/>
                </a:cubicBezTo>
                <a:cubicBezTo>
                  <a:pt x="584705" y="1317263"/>
                  <a:pt x="557822" y="1263497"/>
                  <a:pt x="510777" y="1236614"/>
                </a:cubicBezTo>
                <a:lnTo>
                  <a:pt x="510777" y="1189569"/>
                </a:lnTo>
                <a:lnTo>
                  <a:pt x="833373" y="1189569"/>
                </a:lnTo>
                <a:lnTo>
                  <a:pt x="833373" y="1189569"/>
                </a:lnTo>
                <a:lnTo>
                  <a:pt x="833373" y="1189569"/>
                </a:lnTo>
                <a:lnTo>
                  <a:pt x="1189572" y="1189569"/>
                </a:lnTo>
                <a:cubicBezTo>
                  <a:pt x="1196293" y="1189569"/>
                  <a:pt x="1203014" y="1189569"/>
                  <a:pt x="1203014" y="1182849"/>
                </a:cubicBezTo>
                <a:cubicBezTo>
                  <a:pt x="1203014" y="1176128"/>
                  <a:pt x="1209734" y="1176128"/>
                  <a:pt x="1209734" y="1169407"/>
                </a:cubicBezTo>
                <a:lnTo>
                  <a:pt x="1209734" y="1095479"/>
                </a:lnTo>
                <a:cubicBezTo>
                  <a:pt x="1209734" y="1088758"/>
                  <a:pt x="1203014" y="1075317"/>
                  <a:pt x="1196293" y="1075317"/>
                </a:cubicBezTo>
                <a:cubicBezTo>
                  <a:pt x="1155969" y="1061875"/>
                  <a:pt x="1122365" y="1014830"/>
                  <a:pt x="1122365" y="967785"/>
                </a:cubicBezTo>
                <a:cubicBezTo>
                  <a:pt x="1122365" y="940902"/>
                  <a:pt x="1135806" y="907299"/>
                  <a:pt x="1155969" y="887136"/>
                </a:cubicBezTo>
                <a:cubicBezTo>
                  <a:pt x="1176131" y="866974"/>
                  <a:pt x="1203014" y="853533"/>
                  <a:pt x="1236617" y="853533"/>
                </a:cubicBezTo>
                <a:lnTo>
                  <a:pt x="1236617" y="853533"/>
                </a:lnTo>
                <a:cubicBezTo>
                  <a:pt x="1263500" y="853533"/>
                  <a:pt x="1297104" y="866974"/>
                  <a:pt x="1317266" y="887136"/>
                </a:cubicBezTo>
                <a:cubicBezTo>
                  <a:pt x="1337429" y="907299"/>
                  <a:pt x="1350870" y="934182"/>
                  <a:pt x="1350870" y="967785"/>
                </a:cubicBezTo>
                <a:cubicBezTo>
                  <a:pt x="1350870" y="1008110"/>
                  <a:pt x="1323987" y="1048434"/>
                  <a:pt x="1283663" y="1068596"/>
                </a:cubicBezTo>
                <a:cubicBezTo>
                  <a:pt x="1276942" y="1075317"/>
                  <a:pt x="1270221" y="1082038"/>
                  <a:pt x="1270221" y="1088758"/>
                </a:cubicBezTo>
                <a:lnTo>
                  <a:pt x="1270221" y="1162686"/>
                </a:lnTo>
                <a:cubicBezTo>
                  <a:pt x="1270221" y="1169407"/>
                  <a:pt x="1270221" y="1176128"/>
                  <a:pt x="1276942" y="1176128"/>
                </a:cubicBezTo>
                <a:cubicBezTo>
                  <a:pt x="1283663" y="1182849"/>
                  <a:pt x="1283663" y="1182849"/>
                  <a:pt x="1290383" y="1182849"/>
                </a:cubicBezTo>
                <a:lnTo>
                  <a:pt x="1290383" y="1182849"/>
                </a:lnTo>
                <a:lnTo>
                  <a:pt x="1633141" y="1182849"/>
                </a:lnTo>
                <a:cubicBezTo>
                  <a:pt x="1646583" y="1182849"/>
                  <a:pt x="1653304" y="1176128"/>
                  <a:pt x="1653304" y="1162686"/>
                </a:cubicBezTo>
                <a:lnTo>
                  <a:pt x="1653304" y="833371"/>
                </a:lnTo>
                <a:lnTo>
                  <a:pt x="1693628" y="833371"/>
                </a:lnTo>
                <a:cubicBezTo>
                  <a:pt x="1720511" y="880416"/>
                  <a:pt x="1774277" y="914019"/>
                  <a:pt x="1828043" y="914019"/>
                </a:cubicBezTo>
                <a:lnTo>
                  <a:pt x="1828043" y="914019"/>
                </a:lnTo>
                <a:cubicBezTo>
                  <a:pt x="1868368" y="914019"/>
                  <a:pt x="1908692" y="900578"/>
                  <a:pt x="1935575" y="866974"/>
                </a:cubicBezTo>
                <a:cubicBezTo>
                  <a:pt x="1962458" y="840091"/>
                  <a:pt x="1982620" y="799767"/>
                  <a:pt x="1982620" y="759443"/>
                </a:cubicBezTo>
                <a:cubicBezTo>
                  <a:pt x="1989341" y="719118"/>
                  <a:pt x="1975900" y="678794"/>
                  <a:pt x="1949017" y="645190"/>
                </a:cubicBezTo>
                <a:close/>
                <a:moveTo>
                  <a:pt x="483894" y="1142524"/>
                </a:moveTo>
                <a:cubicBezTo>
                  <a:pt x="470452" y="1142524"/>
                  <a:pt x="463732" y="1149245"/>
                  <a:pt x="463732" y="1162686"/>
                </a:cubicBezTo>
                <a:lnTo>
                  <a:pt x="463732" y="1162686"/>
                </a:lnTo>
                <a:lnTo>
                  <a:pt x="463732" y="1162686"/>
                </a:lnTo>
                <a:lnTo>
                  <a:pt x="463732" y="1236614"/>
                </a:lnTo>
                <a:lnTo>
                  <a:pt x="463732" y="1236614"/>
                </a:lnTo>
                <a:cubicBezTo>
                  <a:pt x="463732" y="1250056"/>
                  <a:pt x="463732" y="1256777"/>
                  <a:pt x="477173" y="1263497"/>
                </a:cubicBezTo>
                <a:cubicBezTo>
                  <a:pt x="517497" y="1283660"/>
                  <a:pt x="544381" y="1323984"/>
                  <a:pt x="544381" y="1364308"/>
                </a:cubicBezTo>
                <a:cubicBezTo>
                  <a:pt x="544381" y="1391191"/>
                  <a:pt x="530939" y="1424795"/>
                  <a:pt x="510777" y="1444957"/>
                </a:cubicBezTo>
                <a:cubicBezTo>
                  <a:pt x="483894" y="1465119"/>
                  <a:pt x="457011" y="1478561"/>
                  <a:pt x="423407" y="1478561"/>
                </a:cubicBezTo>
                <a:lnTo>
                  <a:pt x="423407" y="1478561"/>
                </a:lnTo>
                <a:cubicBezTo>
                  <a:pt x="396524" y="1478561"/>
                  <a:pt x="362920" y="1465119"/>
                  <a:pt x="342758" y="1444957"/>
                </a:cubicBezTo>
                <a:cubicBezTo>
                  <a:pt x="322596" y="1424795"/>
                  <a:pt x="309154" y="1397912"/>
                  <a:pt x="309154" y="1364308"/>
                </a:cubicBezTo>
                <a:cubicBezTo>
                  <a:pt x="309154" y="1317263"/>
                  <a:pt x="336037" y="1276939"/>
                  <a:pt x="383083" y="1256777"/>
                </a:cubicBezTo>
                <a:cubicBezTo>
                  <a:pt x="389803" y="1256777"/>
                  <a:pt x="396524" y="1243335"/>
                  <a:pt x="396524" y="1236614"/>
                </a:cubicBezTo>
                <a:lnTo>
                  <a:pt x="396524" y="1162686"/>
                </a:lnTo>
                <a:lnTo>
                  <a:pt x="396524" y="1162686"/>
                </a:lnTo>
                <a:lnTo>
                  <a:pt x="396524" y="1162686"/>
                </a:lnTo>
                <a:cubicBezTo>
                  <a:pt x="403245" y="1149245"/>
                  <a:pt x="389803" y="1142524"/>
                  <a:pt x="376362" y="1142524"/>
                </a:cubicBezTo>
                <a:lnTo>
                  <a:pt x="376362" y="1142524"/>
                </a:lnTo>
                <a:lnTo>
                  <a:pt x="40324" y="1142524"/>
                </a:lnTo>
                <a:lnTo>
                  <a:pt x="40324" y="833371"/>
                </a:lnTo>
                <a:lnTo>
                  <a:pt x="80649" y="833371"/>
                </a:lnTo>
                <a:cubicBezTo>
                  <a:pt x="107532" y="887136"/>
                  <a:pt x="161298" y="920740"/>
                  <a:pt x="221785" y="920740"/>
                </a:cubicBezTo>
                <a:lnTo>
                  <a:pt x="221785" y="920740"/>
                </a:lnTo>
                <a:cubicBezTo>
                  <a:pt x="309154" y="920740"/>
                  <a:pt x="376362" y="853533"/>
                  <a:pt x="376362" y="766163"/>
                </a:cubicBezTo>
                <a:cubicBezTo>
                  <a:pt x="383083" y="672073"/>
                  <a:pt x="309154" y="604866"/>
                  <a:pt x="221785" y="604866"/>
                </a:cubicBezTo>
                <a:lnTo>
                  <a:pt x="221785" y="604866"/>
                </a:lnTo>
                <a:cubicBezTo>
                  <a:pt x="168019" y="604866"/>
                  <a:pt x="114253" y="631749"/>
                  <a:pt x="87370" y="678794"/>
                </a:cubicBezTo>
                <a:lnTo>
                  <a:pt x="40324" y="678794"/>
                </a:lnTo>
                <a:lnTo>
                  <a:pt x="40324" y="376361"/>
                </a:lnTo>
                <a:lnTo>
                  <a:pt x="369641" y="376361"/>
                </a:lnTo>
                <a:cubicBezTo>
                  <a:pt x="376362" y="376361"/>
                  <a:pt x="383083" y="376361"/>
                  <a:pt x="383083" y="369640"/>
                </a:cubicBezTo>
                <a:cubicBezTo>
                  <a:pt x="383083" y="362919"/>
                  <a:pt x="389803" y="362919"/>
                  <a:pt x="389803" y="356199"/>
                </a:cubicBezTo>
                <a:lnTo>
                  <a:pt x="389803" y="275550"/>
                </a:lnTo>
                <a:cubicBezTo>
                  <a:pt x="389803" y="268829"/>
                  <a:pt x="383083" y="255388"/>
                  <a:pt x="376362" y="255388"/>
                </a:cubicBezTo>
                <a:cubicBezTo>
                  <a:pt x="336037" y="235226"/>
                  <a:pt x="309154" y="194901"/>
                  <a:pt x="309154" y="154577"/>
                </a:cubicBezTo>
                <a:cubicBezTo>
                  <a:pt x="309154" y="94090"/>
                  <a:pt x="356200" y="40324"/>
                  <a:pt x="423407" y="40324"/>
                </a:cubicBezTo>
                <a:cubicBezTo>
                  <a:pt x="457011" y="40324"/>
                  <a:pt x="483894" y="53766"/>
                  <a:pt x="504056" y="73928"/>
                </a:cubicBezTo>
                <a:cubicBezTo>
                  <a:pt x="524218" y="100811"/>
                  <a:pt x="537660" y="127694"/>
                  <a:pt x="537660" y="154577"/>
                </a:cubicBezTo>
                <a:cubicBezTo>
                  <a:pt x="537660" y="201622"/>
                  <a:pt x="510777" y="241946"/>
                  <a:pt x="470452" y="262109"/>
                </a:cubicBezTo>
                <a:cubicBezTo>
                  <a:pt x="457011" y="262109"/>
                  <a:pt x="457011" y="268829"/>
                  <a:pt x="457011" y="282271"/>
                </a:cubicBezTo>
                <a:lnTo>
                  <a:pt x="457011" y="362919"/>
                </a:lnTo>
                <a:cubicBezTo>
                  <a:pt x="457011" y="376361"/>
                  <a:pt x="463732" y="383082"/>
                  <a:pt x="477173" y="383082"/>
                </a:cubicBezTo>
                <a:lnTo>
                  <a:pt x="477173" y="383082"/>
                </a:lnTo>
                <a:lnTo>
                  <a:pt x="806490" y="383082"/>
                </a:lnTo>
                <a:lnTo>
                  <a:pt x="806490" y="631749"/>
                </a:lnTo>
                <a:lnTo>
                  <a:pt x="806490" y="685515"/>
                </a:lnTo>
                <a:lnTo>
                  <a:pt x="766165" y="685515"/>
                </a:lnTo>
                <a:cubicBezTo>
                  <a:pt x="739282" y="631749"/>
                  <a:pt x="685516" y="604866"/>
                  <a:pt x="631750" y="604866"/>
                </a:cubicBezTo>
                <a:lnTo>
                  <a:pt x="631750" y="604866"/>
                </a:lnTo>
                <a:cubicBezTo>
                  <a:pt x="591426" y="604866"/>
                  <a:pt x="551101" y="618307"/>
                  <a:pt x="517497" y="651911"/>
                </a:cubicBezTo>
                <a:cubicBezTo>
                  <a:pt x="490615" y="678794"/>
                  <a:pt x="470452" y="719118"/>
                  <a:pt x="470452" y="759443"/>
                </a:cubicBezTo>
                <a:cubicBezTo>
                  <a:pt x="470452" y="799767"/>
                  <a:pt x="483894" y="840091"/>
                  <a:pt x="517497" y="866974"/>
                </a:cubicBezTo>
                <a:cubicBezTo>
                  <a:pt x="544381" y="893857"/>
                  <a:pt x="584705" y="914019"/>
                  <a:pt x="625029" y="914019"/>
                </a:cubicBezTo>
                <a:lnTo>
                  <a:pt x="625029" y="914019"/>
                </a:lnTo>
                <a:cubicBezTo>
                  <a:pt x="685516" y="914019"/>
                  <a:pt x="739282" y="880416"/>
                  <a:pt x="766165" y="826650"/>
                </a:cubicBezTo>
                <a:lnTo>
                  <a:pt x="799769" y="826650"/>
                </a:lnTo>
                <a:lnTo>
                  <a:pt x="799769" y="1135803"/>
                </a:lnTo>
                <a:lnTo>
                  <a:pt x="483894" y="1142524"/>
                </a:lnTo>
                <a:close/>
                <a:moveTo>
                  <a:pt x="1915413" y="840091"/>
                </a:moveTo>
                <a:cubicBezTo>
                  <a:pt x="1895251" y="860254"/>
                  <a:pt x="1868368" y="873695"/>
                  <a:pt x="1834764" y="873695"/>
                </a:cubicBezTo>
                <a:lnTo>
                  <a:pt x="1834764" y="873695"/>
                </a:lnTo>
                <a:cubicBezTo>
                  <a:pt x="1787719" y="873695"/>
                  <a:pt x="1747394" y="846812"/>
                  <a:pt x="1733953" y="806488"/>
                </a:cubicBezTo>
                <a:cubicBezTo>
                  <a:pt x="1727232" y="799767"/>
                  <a:pt x="1720511" y="793046"/>
                  <a:pt x="1713790" y="793046"/>
                </a:cubicBezTo>
                <a:lnTo>
                  <a:pt x="1713790" y="793046"/>
                </a:lnTo>
                <a:lnTo>
                  <a:pt x="1633141" y="793046"/>
                </a:lnTo>
                <a:cubicBezTo>
                  <a:pt x="1619700" y="793046"/>
                  <a:pt x="1612979" y="799767"/>
                  <a:pt x="1612979" y="813208"/>
                </a:cubicBezTo>
                <a:lnTo>
                  <a:pt x="1612979" y="1142524"/>
                </a:lnTo>
                <a:lnTo>
                  <a:pt x="1310546" y="1142524"/>
                </a:lnTo>
                <a:lnTo>
                  <a:pt x="1310546" y="1102200"/>
                </a:lnTo>
                <a:cubicBezTo>
                  <a:pt x="1357591" y="1075317"/>
                  <a:pt x="1384474" y="1021551"/>
                  <a:pt x="1384474" y="967785"/>
                </a:cubicBezTo>
                <a:cubicBezTo>
                  <a:pt x="1384474" y="927461"/>
                  <a:pt x="1371032" y="887136"/>
                  <a:pt x="1337429" y="860254"/>
                </a:cubicBezTo>
                <a:cubicBezTo>
                  <a:pt x="1310546" y="833371"/>
                  <a:pt x="1270221" y="813208"/>
                  <a:pt x="1229897" y="813208"/>
                </a:cubicBezTo>
                <a:lnTo>
                  <a:pt x="1229897" y="813208"/>
                </a:lnTo>
                <a:cubicBezTo>
                  <a:pt x="1189572" y="813208"/>
                  <a:pt x="1149248" y="826650"/>
                  <a:pt x="1122365" y="860254"/>
                </a:cubicBezTo>
                <a:cubicBezTo>
                  <a:pt x="1095482" y="887136"/>
                  <a:pt x="1075320" y="927461"/>
                  <a:pt x="1075320" y="967785"/>
                </a:cubicBezTo>
                <a:cubicBezTo>
                  <a:pt x="1075320" y="1028272"/>
                  <a:pt x="1108923" y="1082038"/>
                  <a:pt x="1162689" y="1108921"/>
                </a:cubicBezTo>
                <a:lnTo>
                  <a:pt x="1162689" y="1142524"/>
                </a:lnTo>
                <a:lnTo>
                  <a:pt x="853535" y="1142524"/>
                </a:lnTo>
                <a:lnTo>
                  <a:pt x="853535" y="819929"/>
                </a:lnTo>
                <a:lnTo>
                  <a:pt x="853535" y="819929"/>
                </a:lnTo>
                <a:lnTo>
                  <a:pt x="853535" y="806488"/>
                </a:lnTo>
                <a:cubicBezTo>
                  <a:pt x="853535" y="799767"/>
                  <a:pt x="853535" y="793046"/>
                  <a:pt x="846814" y="793046"/>
                </a:cubicBezTo>
                <a:cubicBezTo>
                  <a:pt x="840093" y="793046"/>
                  <a:pt x="840093" y="786325"/>
                  <a:pt x="833373" y="786325"/>
                </a:cubicBezTo>
                <a:lnTo>
                  <a:pt x="833373" y="786325"/>
                </a:lnTo>
                <a:lnTo>
                  <a:pt x="759444" y="786325"/>
                </a:lnTo>
                <a:cubicBezTo>
                  <a:pt x="752724" y="786325"/>
                  <a:pt x="739282" y="793046"/>
                  <a:pt x="739282" y="799767"/>
                </a:cubicBezTo>
                <a:cubicBezTo>
                  <a:pt x="725841" y="840091"/>
                  <a:pt x="678795" y="873695"/>
                  <a:pt x="631750" y="873695"/>
                </a:cubicBezTo>
                <a:lnTo>
                  <a:pt x="631750" y="873695"/>
                </a:lnTo>
                <a:cubicBezTo>
                  <a:pt x="604867" y="873695"/>
                  <a:pt x="571263" y="860254"/>
                  <a:pt x="551101" y="840091"/>
                </a:cubicBezTo>
                <a:cubicBezTo>
                  <a:pt x="530939" y="819929"/>
                  <a:pt x="517497" y="793046"/>
                  <a:pt x="517497" y="759443"/>
                </a:cubicBezTo>
                <a:cubicBezTo>
                  <a:pt x="517497" y="732560"/>
                  <a:pt x="530939" y="698956"/>
                  <a:pt x="551101" y="678794"/>
                </a:cubicBezTo>
                <a:cubicBezTo>
                  <a:pt x="571263" y="658632"/>
                  <a:pt x="598146" y="645190"/>
                  <a:pt x="631750" y="645190"/>
                </a:cubicBezTo>
                <a:lnTo>
                  <a:pt x="631750" y="645190"/>
                </a:lnTo>
                <a:cubicBezTo>
                  <a:pt x="672075" y="645190"/>
                  <a:pt x="712399" y="672073"/>
                  <a:pt x="732561" y="712397"/>
                </a:cubicBezTo>
                <a:cubicBezTo>
                  <a:pt x="739282" y="719118"/>
                  <a:pt x="746003" y="725839"/>
                  <a:pt x="752724" y="725839"/>
                </a:cubicBezTo>
                <a:lnTo>
                  <a:pt x="752724" y="725839"/>
                </a:lnTo>
                <a:lnTo>
                  <a:pt x="826652" y="725839"/>
                </a:lnTo>
                <a:lnTo>
                  <a:pt x="826652" y="725839"/>
                </a:lnTo>
                <a:cubicBezTo>
                  <a:pt x="833373" y="725839"/>
                  <a:pt x="833373" y="725839"/>
                  <a:pt x="840093" y="719118"/>
                </a:cubicBezTo>
                <a:lnTo>
                  <a:pt x="840093" y="719118"/>
                </a:lnTo>
                <a:lnTo>
                  <a:pt x="840093" y="719118"/>
                </a:lnTo>
                <a:cubicBezTo>
                  <a:pt x="846814" y="712397"/>
                  <a:pt x="846814" y="712397"/>
                  <a:pt x="846814" y="705677"/>
                </a:cubicBezTo>
                <a:lnTo>
                  <a:pt x="846814" y="705677"/>
                </a:lnTo>
                <a:lnTo>
                  <a:pt x="846814" y="705677"/>
                </a:lnTo>
                <a:lnTo>
                  <a:pt x="846814" y="705677"/>
                </a:lnTo>
                <a:lnTo>
                  <a:pt x="846814" y="383082"/>
                </a:lnTo>
                <a:lnTo>
                  <a:pt x="1155969" y="383082"/>
                </a:lnTo>
                <a:lnTo>
                  <a:pt x="1155969" y="423406"/>
                </a:lnTo>
                <a:cubicBezTo>
                  <a:pt x="1108923" y="443568"/>
                  <a:pt x="1087606" y="515212"/>
                  <a:pt x="1084846" y="555440"/>
                </a:cubicBezTo>
                <a:cubicBezTo>
                  <a:pt x="1082086" y="595668"/>
                  <a:pt x="1113250" y="638613"/>
                  <a:pt x="1139409" y="664773"/>
                </a:cubicBezTo>
                <a:cubicBezTo>
                  <a:pt x="1165568" y="690933"/>
                  <a:pt x="1206022" y="711510"/>
                  <a:pt x="1241803" y="712400"/>
                </a:cubicBezTo>
                <a:cubicBezTo>
                  <a:pt x="1277584" y="713290"/>
                  <a:pt x="1328335" y="696672"/>
                  <a:pt x="1354098" y="670115"/>
                </a:cubicBezTo>
                <a:cubicBezTo>
                  <a:pt x="1379861" y="643558"/>
                  <a:pt x="1403639" y="594176"/>
                  <a:pt x="1396380" y="553058"/>
                </a:cubicBezTo>
                <a:cubicBezTo>
                  <a:pt x="1389121" y="511940"/>
                  <a:pt x="1357591" y="450289"/>
                  <a:pt x="1310546" y="423406"/>
                </a:cubicBezTo>
                <a:lnTo>
                  <a:pt x="1310546" y="376361"/>
                </a:lnTo>
                <a:lnTo>
                  <a:pt x="1612979" y="376361"/>
                </a:lnTo>
                <a:lnTo>
                  <a:pt x="1612979" y="705677"/>
                </a:lnTo>
                <a:cubicBezTo>
                  <a:pt x="1612979" y="719118"/>
                  <a:pt x="1619700" y="725839"/>
                  <a:pt x="1633141" y="725839"/>
                </a:cubicBezTo>
                <a:lnTo>
                  <a:pt x="1633141" y="725839"/>
                </a:lnTo>
                <a:lnTo>
                  <a:pt x="1713790" y="725839"/>
                </a:lnTo>
                <a:cubicBezTo>
                  <a:pt x="1720511" y="725839"/>
                  <a:pt x="1733953" y="719118"/>
                  <a:pt x="1733953" y="712397"/>
                </a:cubicBezTo>
                <a:cubicBezTo>
                  <a:pt x="1754115" y="672073"/>
                  <a:pt x="1794439" y="645190"/>
                  <a:pt x="1834764" y="645190"/>
                </a:cubicBezTo>
                <a:lnTo>
                  <a:pt x="1834764" y="645190"/>
                </a:lnTo>
                <a:cubicBezTo>
                  <a:pt x="1861647" y="645190"/>
                  <a:pt x="1895251" y="658632"/>
                  <a:pt x="1915413" y="678794"/>
                </a:cubicBezTo>
                <a:cubicBezTo>
                  <a:pt x="1935575" y="698956"/>
                  <a:pt x="1949017" y="725839"/>
                  <a:pt x="1949017" y="759443"/>
                </a:cubicBezTo>
                <a:cubicBezTo>
                  <a:pt x="1949017" y="786325"/>
                  <a:pt x="1935575" y="819929"/>
                  <a:pt x="1915413" y="840091"/>
                </a:cubicBezTo>
                <a:close/>
              </a:path>
            </a:pathLst>
          </a:custGeom>
          <a:solidFill>
            <a:srgbClr val="101010"/>
          </a:solidFill>
          <a:ln w="66993" cap="flat">
            <a:noFill/>
            <a:prstDash val="solid"/>
            <a:miter/>
          </a:ln>
        </p:spPr>
        <p:txBody>
          <a:bodyPr rtlCol="0" anchor="ctr"/>
          <a:lstStyle/>
          <a:p>
            <a:endParaRPr lang="de-DE"/>
          </a:p>
        </p:txBody>
      </p:sp>
      <p:grpSp>
        <p:nvGrpSpPr>
          <p:cNvPr id="5181" name="Graphic 3">
            <a:extLst>
              <a:ext uri="{FF2B5EF4-FFF2-40B4-BE49-F238E27FC236}">
                <a16:creationId xmlns:a16="http://schemas.microsoft.com/office/drawing/2014/main" id="{BF1FEAEE-6957-472C-A6FA-0B2B34EB7C3B}"/>
              </a:ext>
              <a:ext uri="{C183D7F6-B498-43B3-948B-1728B52AA6E4}">
                <adec:decorative xmlns:adec="http://schemas.microsoft.com/office/drawing/2017/decorative" val="1"/>
              </a:ext>
            </a:extLst>
          </p:cNvPr>
          <p:cNvGrpSpPr>
            <a:grpSpLocks noChangeAspect="1"/>
          </p:cNvGrpSpPr>
          <p:nvPr/>
        </p:nvGrpSpPr>
        <p:grpSpPr>
          <a:xfrm>
            <a:off x="1153628" y="3812142"/>
            <a:ext cx="117116" cy="125192"/>
            <a:chOff x="5957887" y="3281362"/>
            <a:chExt cx="276225" cy="295275"/>
          </a:xfrm>
        </p:grpSpPr>
        <p:sp>
          <p:nvSpPr>
            <p:cNvPr id="5182" name="Freeform: Shape 5181">
              <a:extLst>
                <a:ext uri="{FF2B5EF4-FFF2-40B4-BE49-F238E27FC236}">
                  <a16:creationId xmlns:a16="http://schemas.microsoft.com/office/drawing/2014/main" id="{3A8C3CD1-9C4F-41A6-AB60-B10C9679A5AC}"/>
                </a:ext>
              </a:extLst>
            </p:cNvPr>
            <p:cNvSpPr/>
            <p:nvPr/>
          </p:nvSpPr>
          <p:spPr>
            <a:xfrm>
              <a:off x="5990272" y="3313747"/>
              <a:ext cx="228600" cy="228600"/>
            </a:xfrm>
            <a:custGeom>
              <a:avLst/>
              <a:gdLst>
                <a:gd name="connsiteX0" fmla="*/ 118110 w 228600"/>
                <a:gd name="connsiteY0" fmla="*/ 0 h 228600"/>
                <a:gd name="connsiteX1" fmla="*/ 34290 w 228600"/>
                <a:gd name="connsiteY1" fmla="*/ 34290 h 228600"/>
                <a:gd name="connsiteX2" fmla="*/ 0 w 228600"/>
                <a:gd name="connsiteY2" fmla="*/ 118110 h 228600"/>
                <a:gd name="connsiteX3" fmla="*/ 120015 w 228600"/>
                <a:gd name="connsiteY3" fmla="*/ 238125 h 228600"/>
                <a:gd name="connsiteX4" fmla="*/ 121920 w 228600"/>
                <a:gd name="connsiteY4" fmla="*/ 238125 h 228600"/>
                <a:gd name="connsiteX5" fmla="*/ 203835 w 228600"/>
                <a:gd name="connsiteY5" fmla="*/ 203835 h 228600"/>
                <a:gd name="connsiteX6" fmla="*/ 238125 w 228600"/>
                <a:gd name="connsiteY6" fmla="*/ 120015 h 228600"/>
                <a:gd name="connsiteX7" fmla="*/ 238125 w 228600"/>
                <a:gd name="connsiteY7" fmla="*/ 120015 h 228600"/>
                <a:gd name="connsiteX8" fmla="*/ 118110 w 228600"/>
                <a:gd name="connsiteY8" fmla="*/ 0 h 228600"/>
                <a:gd name="connsiteX9" fmla="*/ 123825 w 228600"/>
                <a:gd name="connsiteY9" fmla="*/ 227647 h 228600"/>
                <a:gd name="connsiteX10" fmla="*/ 123825 w 228600"/>
                <a:gd name="connsiteY10" fmla="*/ 184785 h 228600"/>
                <a:gd name="connsiteX11" fmla="*/ 160972 w 228600"/>
                <a:gd name="connsiteY11" fmla="*/ 189547 h 228600"/>
                <a:gd name="connsiteX12" fmla="*/ 143828 w 228600"/>
                <a:gd name="connsiteY12" fmla="*/ 217170 h 228600"/>
                <a:gd name="connsiteX13" fmla="*/ 123825 w 228600"/>
                <a:gd name="connsiteY13" fmla="*/ 227647 h 228600"/>
                <a:gd name="connsiteX14" fmla="*/ 123825 w 228600"/>
                <a:gd name="connsiteY14" fmla="*/ 175260 h 228600"/>
                <a:gd name="connsiteX15" fmla="*/ 123825 w 228600"/>
                <a:gd name="connsiteY15" fmla="*/ 122872 h 228600"/>
                <a:gd name="connsiteX16" fmla="*/ 173355 w 228600"/>
                <a:gd name="connsiteY16" fmla="*/ 122872 h 228600"/>
                <a:gd name="connsiteX17" fmla="*/ 163830 w 228600"/>
                <a:gd name="connsiteY17" fmla="*/ 180975 h 228600"/>
                <a:gd name="connsiteX18" fmla="*/ 123825 w 228600"/>
                <a:gd name="connsiteY18" fmla="*/ 175260 h 228600"/>
                <a:gd name="connsiteX19" fmla="*/ 122872 w 228600"/>
                <a:gd name="connsiteY19" fmla="*/ 113348 h 228600"/>
                <a:gd name="connsiteX20" fmla="*/ 122872 w 228600"/>
                <a:gd name="connsiteY20" fmla="*/ 66675 h 228600"/>
                <a:gd name="connsiteX21" fmla="*/ 163830 w 228600"/>
                <a:gd name="connsiteY21" fmla="*/ 62865 h 228600"/>
                <a:gd name="connsiteX22" fmla="*/ 172403 w 228600"/>
                <a:gd name="connsiteY22" fmla="*/ 114300 h 228600"/>
                <a:gd name="connsiteX23" fmla="*/ 122872 w 228600"/>
                <a:gd name="connsiteY23" fmla="*/ 114300 h 228600"/>
                <a:gd name="connsiteX24" fmla="*/ 122872 w 228600"/>
                <a:gd name="connsiteY24" fmla="*/ 57150 h 228600"/>
                <a:gd name="connsiteX25" fmla="*/ 122872 w 228600"/>
                <a:gd name="connsiteY25" fmla="*/ 12382 h 228600"/>
                <a:gd name="connsiteX26" fmla="*/ 160972 w 228600"/>
                <a:gd name="connsiteY26" fmla="*/ 54293 h 228600"/>
                <a:gd name="connsiteX27" fmla="*/ 122872 w 228600"/>
                <a:gd name="connsiteY27" fmla="*/ 57150 h 228600"/>
                <a:gd name="connsiteX28" fmla="*/ 113348 w 228600"/>
                <a:gd name="connsiteY28" fmla="*/ 11430 h 228600"/>
                <a:gd name="connsiteX29" fmla="*/ 113348 w 228600"/>
                <a:gd name="connsiteY29" fmla="*/ 56198 h 228600"/>
                <a:gd name="connsiteX30" fmla="*/ 75248 w 228600"/>
                <a:gd name="connsiteY30" fmla="*/ 52387 h 228600"/>
                <a:gd name="connsiteX31" fmla="*/ 94298 w 228600"/>
                <a:gd name="connsiteY31" fmla="*/ 21907 h 228600"/>
                <a:gd name="connsiteX32" fmla="*/ 113348 w 228600"/>
                <a:gd name="connsiteY32" fmla="*/ 11430 h 228600"/>
                <a:gd name="connsiteX33" fmla="*/ 113348 w 228600"/>
                <a:gd name="connsiteY33" fmla="*/ 66675 h 228600"/>
                <a:gd name="connsiteX34" fmla="*/ 113348 w 228600"/>
                <a:gd name="connsiteY34" fmla="*/ 113348 h 228600"/>
                <a:gd name="connsiteX35" fmla="*/ 63818 w 228600"/>
                <a:gd name="connsiteY35" fmla="*/ 113348 h 228600"/>
                <a:gd name="connsiteX36" fmla="*/ 71437 w 228600"/>
                <a:gd name="connsiteY36" fmla="*/ 62865 h 228600"/>
                <a:gd name="connsiteX37" fmla="*/ 113348 w 228600"/>
                <a:gd name="connsiteY37" fmla="*/ 66675 h 228600"/>
                <a:gd name="connsiteX38" fmla="*/ 54293 w 228600"/>
                <a:gd name="connsiteY38" fmla="*/ 113348 h 228600"/>
                <a:gd name="connsiteX39" fmla="*/ 9525 w 228600"/>
                <a:gd name="connsiteY39" fmla="*/ 113348 h 228600"/>
                <a:gd name="connsiteX40" fmla="*/ 31432 w 228600"/>
                <a:gd name="connsiteY40" fmla="*/ 52387 h 228600"/>
                <a:gd name="connsiteX41" fmla="*/ 62865 w 228600"/>
                <a:gd name="connsiteY41" fmla="*/ 60960 h 228600"/>
                <a:gd name="connsiteX42" fmla="*/ 54293 w 228600"/>
                <a:gd name="connsiteY42" fmla="*/ 113348 h 228600"/>
                <a:gd name="connsiteX43" fmla="*/ 54293 w 228600"/>
                <a:gd name="connsiteY43" fmla="*/ 122872 h 228600"/>
                <a:gd name="connsiteX44" fmla="*/ 62865 w 228600"/>
                <a:gd name="connsiteY44" fmla="*/ 179070 h 228600"/>
                <a:gd name="connsiteX45" fmla="*/ 34290 w 228600"/>
                <a:gd name="connsiteY45" fmla="*/ 185738 h 228600"/>
                <a:gd name="connsiteX46" fmla="*/ 9525 w 228600"/>
                <a:gd name="connsiteY46" fmla="*/ 121920 h 228600"/>
                <a:gd name="connsiteX47" fmla="*/ 54293 w 228600"/>
                <a:gd name="connsiteY47" fmla="*/ 121920 h 228600"/>
                <a:gd name="connsiteX48" fmla="*/ 63818 w 228600"/>
                <a:gd name="connsiteY48" fmla="*/ 122872 h 228600"/>
                <a:gd name="connsiteX49" fmla="*/ 113348 w 228600"/>
                <a:gd name="connsiteY49" fmla="*/ 122872 h 228600"/>
                <a:gd name="connsiteX50" fmla="*/ 113348 w 228600"/>
                <a:gd name="connsiteY50" fmla="*/ 175260 h 228600"/>
                <a:gd name="connsiteX51" fmla="*/ 113348 w 228600"/>
                <a:gd name="connsiteY51" fmla="*/ 175260 h 228600"/>
                <a:gd name="connsiteX52" fmla="*/ 72390 w 228600"/>
                <a:gd name="connsiteY52" fmla="*/ 178118 h 228600"/>
                <a:gd name="connsiteX53" fmla="*/ 63818 w 228600"/>
                <a:gd name="connsiteY53" fmla="*/ 122872 h 228600"/>
                <a:gd name="connsiteX54" fmla="*/ 113348 w 228600"/>
                <a:gd name="connsiteY54" fmla="*/ 184785 h 228600"/>
                <a:gd name="connsiteX55" fmla="*/ 113348 w 228600"/>
                <a:gd name="connsiteY55" fmla="*/ 184785 h 228600"/>
                <a:gd name="connsiteX56" fmla="*/ 114300 w 228600"/>
                <a:gd name="connsiteY56" fmla="*/ 227647 h 228600"/>
                <a:gd name="connsiteX57" fmla="*/ 76200 w 228600"/>
                <a:gd name="connsiteY57" fmla="*/ 186690 h 228600"/>
                <a:gd name="connsiteX58" fmla="*/ 113348 w 228600"/>
                <a:gd name="connsiteY58" fmla="*/ 184785 h 228600"/>
                <a:gd name="connsiteX59" fmla="*/ 149543 w 228600"/>
                <a:gd name="connsiteY59" fmla="*/ 223838 h 228600"/>
                <a:gd name="connsiteX60" fmla="*/ 169545 w 228600"/>
                <a:gd name="connsiteY60" fmla="*/ 192405 h 228600"/>
                <a:gd name="connsiteX61" fmla="*/ 195263 w 228600"/>
                <a:gd name="connsiteY61" fmla="*/ 200025 h 228600"/>
                <a:gd name="connsiteX62" fmla="*/ 148590 w 228600"/>
                <a:gd name="connsiteY62" fmla="*/ 225743 h 228600"/>
                <a:gd name="connsiteX63" fmla="*/ 149543 w 228600"/>
                <a:gd name="connsiteY63" fmla="*/ 223838 h 228600"/>
                <a:gd name="connsiteX64" fmla="*/ 173355 w 228600"/>
                <a:gd name="connsiteY64" fmla="*/ 182880 h 228600"/>
                <a:gd name="connsiteX65" fmla="*/ 182880 w 228600"/>
                <a:gd name="connsiteY65" fmla="*/ 122872 h 228600"/>
                <a:gd name="connsiteX66" fmla="*/ 228600 w 228600"/>
                <a:gd name="connsiteY66" fmla="*/ 122872 h 228600"/>
                <a:gd name="connsiteX67" fmla="*/ 202883 w 228600"/>
                <a:gd name="connsiteY67" fmla="*/ 192405 h 228600"/>
                <a:gd name="connsiteX68" fmla="*/ 173355 w 228600"/>
                <a:gd name="connsiteY68" fmla="*/ 182880 h 228600"/>
                <a:gd name="connsiteX69" fmla="*/ 181928 w 228600"/>
                <a:gd name="connsiteY69" fmla="*/ 113348 h 228600"/>
                <a:gd name="connsiteX70" fmla="*/ 173355 w 228600"/>
                <a:gd name="connsiteY70" fmla="*/ 60007 h 228600"/>
                <a:gd name="connsiteX71" fmla="*/ 202883 w 228600"/>
                <a:gd name="connsiteY71" fmla="*/ 51435 h 228600"/>
                <a:gd name="connsiteX72" fmla="*/ 227647 w 228600"/>
                <a:gd name="connsiteY72" fmla="*/ 113348 h 228600"/>
                <a:gd name="connsiteX73" fmla="*/ 181928 w 228600"/>
                <a:gd name="connsiteY73" fmla="*/ 113348 h 228600"/>
                <a:gd name="connsiteX74" fmla="*/ 196215 w 228600"/>
                <a:gd name="connsiteY74" fmla="*/ 43815 h 228600"/>
                <a:gd name="connsiteX75" fmla="*/ 170497 w 228600"/>
                <a:gd name="connsiteY75" fmla="*/ 51435 h 228600"/>
                <a:gd name="connsiteX76" fmla="*/ 147638 w 228600"/>
                <a:gd name="connsiteY76" fmla="*/ 15240 h 228600"/>
                <a:gd name="connsiteX77" fmla="*/ 196215 w 228600"/>
                <a:gd name="connsiteY77" fmla="*/ 43815 h 228600"/>
                <a:gd name="connsiteX78" fmla="*/ 89535 w 228600"/>
                <a:gd name="connsiteY78" fmla="*/ 13335 h 228600"/>
                <a:gd name="connsiteX79" fmla="*/ 86678 w 228600"/>
                <a:gd name="connsiteY79" fmla="*/ 15240 h 228600"/>
                <a:gd name="connsiteX80" fmla="*/ 65723 w 228600"/>
                <a:gd name="connsiteY80" fmla="*/ 51435 h 228600"/>
                <a:gd name="connsiteX81" fmla="*/ 38100 w 228600"/>
                <a:gd name="connsiteY81" fmla="*/ 43815 h 228600"/>
                <a:gd name="connsiteX82" fmla="*/ 40957 w 228600"/>
                <a:gd name="connsiteY82" fmla="*/ 40957 h 228600"/>
                <a:gd name="connsiteX83" fmla="*/ 89535 w 228600"/>
                <a:gd name="connsiteY83" fmla="*/ 13335 h 228600"/>
                <a:gd name="connsiteX84" fmla="*/ 40957 w 228600"/>
                <a:gd name="connsiteY84" fmla="*/ 194310 h 228600"/>
                <a:gd name="connsiteX85" fmla="*/ 65723 w 228600"/>
                <a:gd name="connsiteY85" fmla="*/ 188595 h 228600"/>
                <a:gd name="connsiteX86" fmla="*/ 86678 w 228600"/>
                <a:gd name="connsiteY86" fmla="*/ 223838 h 228600"/>
                <a:gd name="connsiteX87" fmla="*/ 40957 w 228600"/>
                <a:gd name="connsiteY87" fmla="*/ 19431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28600" h="228600">
                  <a:moveTo>
                    <a:pt x="118110" y="0"/>
                  </a:moveTo>
                  <a:cubicBezTo>
                    <a:pt x="86678" y="0"/>
                    <a:pt x="56198" y="12382"/>
                    <a:pt x="34290" y="34290"/>
                  </a:cubicBezTo>
                  <a:cubicBezTo>
                    <a:pt x="12382" y="56198"/>
                    <a:pt x="0" y="86678"/>
                    <a:pt x="0" y="118110"/>
                  </a:cubicBezTo>
                  <a:cubicBezTo>
                    <a:pt x="952" y="183833"/>
                    <a:pt x="55245" y="237172"/>
                    <a:pt x="120015" y="238125"/>
                  </a:cubicBezTo>
                  <a:cubicBezTo>
                    <a:pt x="120968" y="238125"/>
                    <a:pt x="120968" y="238125"/>
                    <a:pt x="121920" y="238125"/>
                  </a:cubicBezTo>
                  <a:cubicBezTo>
                    <a:pt x="153353" y="238125"/>
                    <a:pt x="181928" y="225743"/>
                    <a:pt x="203835" y="203835"/>
                  </a:cubicBezTo>
                  <a:cubicBezTo>
                    <a:pt x="225743" y="181928"/>
                    <a:pt x="238125" y="151447"/>
                    <a:pt x="238125" y="120015"/>
                  </a:cubicBezTo>
                  <a:lnTo>
                    <a:pt x="238125" y="120015"/>
                  </a:lnTo>
                  <a:cubicBezTo>
                    <a:pt x="237172" y="55245"/>
                    <a:pt x="182880" y="952"/>
                    <a:pt x="118110" y="0"/>
                  </a:cubicBezTo>
                  <a:close/>
                  <a:moveTo>
                    <a:pt x="123825" y="227647"/>
                  </a:moveTo>
                  <a:lnTo>
                    <a:pt x="123825" y="184785"/>
                  </a:lnTo>
                  <a:cubicBezTo>
                    <a:pt x="136208" y="185738"/>
                    <a:pt x="148590" y="187643"/>
                    <a:pt x="160972" y="189547"/>
                  </a:cubicBezTo>
                  <a:cubicBezTo>
                    <a:pt x="156210" y="200978"/>
                    <a:pt x="150495" y="209550"/>
                    <a:pt x="143828" y="217170"/>
                  </a:cubicBezTo>
                  <a:cubicBezTo>
                    <a:pt x="137160" y="222885"/>
                    <a:pt x="130493" y="226695"/>
                    <a:pt x="123825" y="227647"/>
                  </a:cubicBezTo>
                  <a:close/>
                  <a:moveTo>
                    <a:pt x="123825" y="175260"/>
                  </a:moveTo>
                  <a:lnTo>
                    <a:pt x="123825" y="122872"/>
                  </a:lnTo>
                  <a:lnTo>
                    <a:pt x="173355" y="122872"/>
                  </a:lnTo>
                  <a:cubicBezTo>
                    <a:pt x="173355" y="143828"/>
                    <a:pt x="169545" y="163830"/>
                    <a:pt x="163830" y="180975"/>
                  </a:cubicBezTo>
                  <a:cubicBezTo>
                    <a:pt x="150495" y="178118"/>
                    <a:pt x="136208" y="176213"/>
                    <a:pt x="123825" y="175260"/>
                  </a:cubicBezTo>
                  <a:close/>
                  <a:moveTo>
                    <a:pt x="122872" y="113348"/>
                  </a:moveTo>
                  <a:lnTo>
                    <a:pt x="122872" y="66675"/>
                  </a:lnTo>
                  <a:cubicBezTo>
                    <a:pt x="136208" y="66675"/>
                    <a:pt x="150495" y="64770"/>
                    <a:pt x="163830" y="62865"/>
                  </a:cubicBezTo>
                  <a:cubicBezTo>
                    <a:pt x="168593" y="78105"/>
                    <a:pt x="172403" y="95250"/>
                    <a:pt x="172403" y="114300"/>
                  </a:cubicBezTo>
                  <a:lnTo>
                    <a:pt x="122872" y="114300"/>
                  </a:lnTo>
                  <a:close/>
                  <a:moveTo>
                    <a:pt x="122872" y="57150"/>
                  </a:moveTo>
                  <a:lnTo>
                    <a:pt x="122872" y="12382"/>
                  </a:lnTo>
                  <a:cubicBezTo>
                    <a:pt x="138113" y="15240"/>
                    <a:pt x="151447" y="30480"/>
                    <a:pt x="160972" y="54293"/>
                  </a:cubicBezTo>
                  <a:cubicBezTo>
                    <a:pt x="147638" y="55245"/>
                    <a:pt x="135255" y="56198"/>
                    <a:pt x="122872" y="57150"/>
                  </a:cubicBezTo>
                  <a:close/>
                  <a:moveTo>
                    <a:pt x="113348" y="11430"/>
                  </a:moveTo>
                  <a:lnTo>
                    <a:pt x="113348" y="56198"/>
                  </a:lnTo>
                  <a:cubicBezTo>
                    <a:pt x="100012" y="56198"/>
                    <a:pt x="87630" y="54293"/>
                    <a:pt x="75248" y="52387"/>
                  </a:cubicBezTo>
                  <a:cubicBezTo>
                    <a:pt x="80010" y="40005"/>
                    <a:pt x="86678" y="29528"/>
                    <a:pt x="94298" y="21907"/>
                  </a:cubicBezTo>
                  <a:cubicBezTo>
                    <a:pt x="100012" y="16192"/>
                    <a:pt x="106680" y="12382"/>
                    <a:pt x="113348" y="11430"/>
                  </a:cubicBezTo>
                  <a:close/>
                  <a:moveTo>
                    <a:pt x="113348" y="66675"/>
                  </a:moveTo>
                  <a:lnTo>
                    <a:pt x="113348" y="113348"/>
                  </a:lnTo>
                  <a:lnTo>
                    <a:pt x="63818" y="113348"/>
                  </a:lnTo>
                  <a:cubicBezTo>
                    <a:pt x="63818" y="95250"/>
                    <a:pt x="66675" y="77153"/>
                    <a:pt x="71437" y="62865"/>
                  </a:cubicBezTo>
                  <a:cubicBezTo>
                    <a:pt x="84773" y="64770"/>
                    <a:pt x="99060" y="65723"/>
                    <a:pt x="113348" y="66675"/>
                  </a:cubicBezTo>
                  <a:close/>
                  <a:moveTo>
                    <a:pt x="54293" y="113348"/>
                  </a:moveTo>
                  <a:lnTo>
                    <a:pt x="9525" y="113348"/>
                  </a:lnTo>
                  <a:cubicBezTo>
                    <a:pt x="10477" y="90487"/>
                    <a:pt x="18098" y="69533"/>
                    <a:pt x="31432" y="52387"/>
                  </a:cubicBezTo>
                  <a:cubicBezTo>
                    <a:pt x="40957" y="56198"/>
                    <a:pt x="51435" y="59055"/>
                    <a:pt x="62865" y="60960"/>
                  </a:cubicBezTo>
                  <a:cubicBezTo>
                    <a:pt x="58103" y="76200"/>
                    <a:pt x="55245" y="94298"/>
                    <a:pt x="54293" y="113348"/>
                  </a:cubicBezTo>
                  <a:close/>
                  <a:moveTo>
                    <a:pt x="54293" y="122872"/>
                  </a:moveTo>
                  <a:cubicBezTo>
                    <a:pt x="54293" y="143828"/>
                    <a:pt x="58103" y="162878"/>
                    <a:pt x="62865" y="179070"/>
                  </a:cubicBezTo>
                  <a:cubicBezTo>
                    <a:pt x="53340" y="180975"/>
                    <a:pt x="43815" y="182880"/>
                    <a:pt x="34290" y="185738"/>
                  </a:cubicBezTo>
                  <a:cubicBezTo>
                    <a:pt x="20003" y="167640"/>
                    <a:pt x="11430" y="145733"/>
                    <a:pt x="9525" y="121920"/>
                  </a:cubicBezTo>
                  <a:lnTo>
                    <a:pt x="54293" y="121920"/>
                  </a:lnTo>
                  <a:close/>
                  <a:moveTo>
                    <a:pt x="63818" y="122872"/>
                  </a:moveTo>
                  <a:lnTo>
                    <a:pt x="113348" y="122872"/>
                  </a:lnTo>
                  <a:lnTo>
                    <a:pt x="113348" y="175260"/>
                  </a:lnTo>
                  <a:cubicBezTo>
                    <a:pt x="113348" y="175260"/>
                    <a:pt x="113348" y="175260"/>
                    <a:pt x="113348" y="175260"/>
                  </a:cubicBezTo>
                  <a:cubicBezTo>
                    <a:pt x="99060" y="175260"/>
                    <a:pt x="85725" y="176213"/>
                    <a:pt x="72390" y="178118"/>
                  </a:cubicBezTo>
                  <a:cubicBezTo>
                    <a:pt x="67628" y="161925"/>
                    <a:pt x="64770" y="142875"/>
                    <a:pt x="63818" y="122872"/>
                  </a:cubicBezTo>
                  <a:close/>
                  <a:moveTo>
                    <a:pt x="113348" y="184785"/>
                  </a:moveTo>
                  <a:cubicBezTo>
                    <a:pt x="114300" y="184785"/>
                    <a:pt x="114300" y="184785"/>
                    <a:pt x="113348" y="184785"/>
                  </a:cubicBezTo>
                  <a:lnTo>
                    <a:pt x="114300" y="227647"/>
                  </a:lnTo>
                  <a:cubicBezTo>
                    <a:pt x="99060" y="224790"/>
                    <a:pt x="85725" y="209550"/>
                    <a:pt x="76200" y="186690"/>
                  </a:cubicBezTo>
                  <a:cubicBezTo>
                    <a:pt x="88583" y="185738"/>
                    <a:pt x="100965" y="184785"/>
                    <a:pt x="113348" y="184785"/>
                  </a:cubicBezTo>
                  <a:close/>
                  <a:moveTo>
                    <a:pt x="149543" y="223838"/>
                  </a:moveTo>
                  <a:cubicBezTo>
                    <a:pt x="157163" y="216218"/>
                    <a:pt x="163830" y="204788"/>
                    <a:pt x="169545" y="192405"/>
                  </a:cubicBezTo>
                  <a:cubicBezTo>
                    <a:pt x="178118" y="194310"/>
                    <a:pt x="186690" y="197168"/>
                    <a:pt x="195263" y="200025"/>
                  </a:cubicBezTo>
                  <a:cubicBezTo>
                    <a:pt x="181928" y="212408"/>
                    <a:pt x="165735" y="220980"/>
                    <a:pt x="148590" y="225743"/>
                  </a:cubicBezTo>
                  <a:cubicBezTo>
                    <a:pt x="148590" y="224790"/>
                    <a:pt x="149543" y="224790"/>
                    <a:pt x="149543" y="223838"/>
                  </a:cubicBezTo>
                  <a:close/>
                  <a:moveTo>
                    <a:pt x="173355" y="182880"/>
                  </a:moveTo>
                  <a:cubicBezTo>
                    <a:pt x="179070" y="164783"/>
                    <a:pt x="182880" y="144780"/>
                    <a:pt x="182880" y="122872"/>
                  </a:cubicBezTo>
                  <a:lnTo>
                    <a:pt x="228600" y="122872"/>
                  </a:lnTo>
                  <a:cubicBezTo>
                    <a:pt x="228600" y="148590"/>
                    <a:pt x="219075" y="173355"/>
                    <a:pt x="202883" y="192405"/>
                  </a:cubicBezTo>
                  <a:cubicBezTo>
                    <a:pt x="193358" y="188595"/>
                    <a:pt x="182880" y="185738"/>
                    <a:pt x="173355" y="182880"/>
                  </a:cubicBezTo>
                  <a:close/>
                  <a:moveTo>
                    <a:pt x="181928" y="113348"/>
                  </a:moveTo>
                  <a:cubicBezTo>
                    <a:pt x="180975" y="94298"/>
                    <a:pt x="178118" y="76200"/>
                    <a:pt x="173355" y="60007"/>
                  </a:cubicBezTo>
                  <a:cubicBezTo>
                    <a:pt x="183833" y="58103"/>
                    <a:pt x="193358" y="55245"/>
                    <a:pt x="202883" y="51435"/>
                  </a:cubicBezTo>
                  <a:cubicBezTo>
                    <a:pt x="217170" y="68580"/>
                    <a:pt x="225743" y="89535"/>
                    <a:pt x="227647" y="113348"/>
                  </a:cubicBezTo>
                  <a:lnTo>
                    <a:pt x="181928" y="113348"/>
                  </a:lnTo>
                  <a:close/>
                  <a:moveTo>
                    <a:pt x="196215" y="43815"/>
                  </a:moveTo>
                  <a:cubicBezTo>
                    <a:pt x="187643" y="46673"/>
                    <a:pt x="179070" y="49530"/>
                    <a:pt x="170497" y="51435"/>
                  </a:cubicBezTo>
                  <a:cubicBezTo>
                    <a:pt x="164783" y="36195"/>
                    <a:pt x="156210" y="23813"/>
                    <a:pt x="147638" y="15240"/>
                  </a:cubicBezTo>
                  <a:cubicBezTo>
                    <a:pt x="165735" y="20003"/>
                    <a:pt x="182880" y="30480"/>
                    <a:pt x="196215" y="43815"/>
                  </a:cubicBezTo>
                  <a:close/>
                  <a:moveTo>
                    <a:pt x="89535" y="13335"/>
                  </a:moveTo>
                  <a:cubicBezTo>
                    <a:pt x="88583" y="14288"/>
                    <a:pt x="87630" y="14288"/>
                    <a:pt x="86678" y="15240"/>
                  </a:cubicBezTo>
                  <a:cubicBezTo>
                    <a:pt x="78105" y="23813"/>
                    <a:pt x="70485" y="36195"/>
                    <a:pt x="65723" y="51435"/>
                  </a:cubicBezTo>
                  <a:cubicBezTo>
                    <a:pt x="56198" y="49530"/>
                    <a:pt x="46673" y="46673"/>
                    <a:pt x="38100" y="43815"/>
                  </a:cubicBezTo>
                  <a:cubicBezTo>
                    <a:pt x="39053" y="42863"/>
                    <a:pt x="40005" y="41910"/>
                    <a:pt x="40957" y="40957"/>
                  </a:cubicBezTo>
                  <a:cubicBezTo>
                    <a:pt x="54293" y="27623"/>
                    <a:pt x="71437" y="18098"/>
                    <a:pt x="89535" y="13335"/>
                  </a:cubicBezTo>
                  <a:close/>
                  <a:moveTo>
                    <a:pt x="40957" y="194310"/>
                  </a:moveTo>
                  <a:cubicBezTo>
                    <a:pt x="48578" y="192405"/>
                    <a:pt x="57150" y="190500"/>
                    <a:pt x="65723" y="188595"/>
                  </a:cubicBezTo>
                  <a:cubicBezTo>
                    <a:pt x="71437" y="202883"/>
                    <a:pt x="79058" y="215265"/>
                    <a:pt x="86678" y="223838"/>
                  </a:cubicBezTo>
                  <a:cubicBezTo>
                    <a:pt x="70485" y="217170"/>
                    <a:pt x="54293" y="207645"/>
                    <a:pt x="40957" y="194310"/>
                  </a:cubicBezTo>
                  <a:close/>
                </a:path>
              </a:pathLst>
            </a:custGeom>
            <a:solidFill>
              <a:srgbClr val="101010"/>
            </a:solidFill>
            <a:ln w="9525" cap="flat">
              <a:noFill/>
              <a:prstDash val="solid"/>
              <a:miter/>
            </a:ln>
          </p:spPr>
          <p:txBody>
            <a:bodyPr rtlCol="0" anchor="ctr"/>
            <a:lstStyle/>
            <a:p>
              <a:endParaRPr lang="de-DE"/>
            </a:p>
          </p:txBody>
        </p:sp>
        <p:sp>
          <p:nvSpPr>
            <p:cNvPr id="5183" name="Freeform: Shape 5182">
              <a:extLst>
                <a:ext uri="{FF2B5EF4-FFF2-40B4-BE49-F238E27FC236}">
                  <a16:creationId xmlns:a16="http://schemas.microsoft.com/office/drawing/2014/main" id="{DCC45475-A2D3-444D-BE55-2E4F5F266C60}"/>
                </a:ext>
              </a:extLst>
            </p:cNvPr>
            <p:cNvSpPr/>
            <p:nvPr/>
          </p:nvSpPr>
          <p:spPr>
            <a:xfrm>
              <a:off x="5957887" y="3281362"/>
              <a:ext cx="209550" cy="295275"/>
            </a:xfrm>
            <a:custGeom>
              <a:avLst/>
              <a:gdLst>
                <a:gd name="connsiteX0" fmla="*/ 108585 w 209550"/>
                <a:gd name="connsiteY0" fmla="*/ 298133 h 295275"/>
                <a:gd name="connsiteX1" fmla="*/ 106680 w 209550"/>
                <a:gd name="connsiteY1" fmla="*/ 298133 h 295275"/>
                <a:gd name="connsiteX2" fmla="*/ 88583 w 209550"/>
                <a:gd name="connsiteY2" fmla="*/ 290513 h 295275"/>
                <a:gd name="connsiteX3" fmla="*/ 86678 w 209550"/>
                <a:gd name="connsiteY3" fmla="*/ 283845 h 295275"/>
                <a:gd name="connsiteX4" fmla="*/ 93345 w 209550"/>
                <a:gd name="connsiteY4" fmla="*/ 281940 h 295275"/>
                <a:gd name="connsiteX5" fmla="*/ 110490 w 209550"/>
                <a:gd name="connsiteY5" fmla="*/ 288608 h 295275"/>
                <a:gd name="connsiteX6" fmla="*/ 113348 w 209550"/>
                <a:gd name="connsiteY6" fmla="*/ 294323 h 295275"/>
                <a:gd name="connsiteX7" fmla="*/ 108585 w 209550"/>
                <a:gd name="connsiteY7" fmla="*/ 298133 h 295275"/>
                <a:gd name="connsiteX8" fmla="*/ 74295 w 209550"/>
                <a:gd name="connsiteY8" fmla="*/ 280988 h 295275"/>
                <a:gd name="connsiteX9" fmla="*/ 71438 w 209550"/>
                <a:gd name="connsiteY9" fmla="*/ 280035 h 295275"/>
                <a:gd name="connsiteX10" fmla="*/ 55245 w 209550"/>
                <a:gd name="connsiteY10" fmla="*/ 268605 h 295275"/>
                <a:gd name="connsiteX11" fmla="*/ 54293 w 209550"/>
                <a:gd name="connsiteY11" fmla="*/ 261938 h 295275"/>
                <a:gd name="connsiteX12" fmla="*/ 60960 w 209550"/>
                <a:gd name="connsiteY12" fmla="*/ 260985 h 295275"/>
                <a:gd name="connsiteX13" fmla="*/ 76200 w 209550"/>
                <a:gd name="connsiteY13" fmla="*/ 272415 h 295275"/>
                <a:gd name="connsiteX14" fmla="*/ 77153 w 209550"/>
                <a:gd name="connsiteY14" fmla="*/ 279083 h 295275"/>
                <a:gd name="connsiteX15" fmla="*/ 74295 w 209550"/>
                <a:gd name="connsiteY15" fmla="*/ 280988 h 295275"/>
                <a:gd name="connsiteX16" fmla="*/ 44768 w 209550"/>
                <a:gd name="connsiteY16" fmla="*/ 256223 h 295275"/>
                <a:gd name="connsiteX17" fmla="*/ 40958 w 209550"/>
                <a:gd name="connsiteY17" fmla="*/ 254318 h 295275"/>
                <a:gd name="connsiteX18" fmla="*/ 28575 w 209550"/>
                <a:gd name="connsiteY18" fmla="*/ 239078 h 295275"/>
                <a:gd name="connsiteX19" fmla="*/ 29528 w 209550"/>
                <a:gd name="connsiteY19" fmla="*/ 232410 h 295275"/>
                <a:gd name="connsiteX20" fmla="*/ 36195 w 209550"/>
                <a:gd name="connsiteY20" fmla="*/ 233363 h 295275"/>
                <a:gd name="connsiteX21" fmla="*/ 47625 w 209550"/>
                <a:gd name="connsiteY21" fmla="*/ 247650 h 295275"/>
                <a:gd name="connsiteX22" fmla="*/ 47625 w 209550"/>
                <a:gd name="connsiteY22" fmla="*/ 254318 h 295275"/>
                <a:gd name="connsiteX23" fmla="*/ 44768 w 209550"/>
                <a:gd name="connsiteY23" fmla="*/ 256223 h 295275"/>
                <a:gd name="connsiteX24" fmla="*/ 22860 w 209550"/>
                <a:gd name="connsiteY24" fmla="*/ 225743 h 295275"/>
                <a:gd name="connsiteX25" fmla="*/ 19050 w 209550"/>
                <a:gd name="connsiteY25" fmla="*/ 222885 h 295275"/>
                <a:gd name="connsiteX26" fmla="*/ 10478 w 209550"/>
                <a:gd name="connsiteY26" fmla="*/ 204788 h 295275"/>
                <a:gd name="connsiteX27" fmla="*/ 13335 w 209550"/>
                <a:gd name="connsiteY27" fmla="*/ 199073 h 295275"/>
                <a:gd name="connsiteX28" fmla="*/ 19050 w 209550"/>
                <a:gd name="connsiteY28" fmla="*/ 201930 h 295275"/>
                <a:gd name="connsiteX29" fmla="*/ 26670 w 209550"/>
                <a:gd name="connsiteY29" fmla="*/ 219075 h 295275"/>
                <a:gd name="connsiteX30" fmla="*/ 24765 w 209550"/>
                <a:gd name="connsiteY30" fmla="*/ 225743 h 295275"/>
                <a:gd name="connsiteX31" fmla="*/ 22860 w 209550"/>
                <a:gd name="connsiteY31" fmla="*/ 225743 h 295275"/>
                <a:gd name="connsiteX32" fmla="*/ 9525 w 209550"/>
                <a:gd name="connsiteY32" fmla="*/ 190500 h 295275"/>
                <a:gd name="connsiteX33" fmla="*/ 4763 w 209550"/>
                <a:gd name="connsiteY33" fmla="*/ 186690 h 295275"/>
                <a:gd name="connsiteX34" fmla="*/ 953 w 209550"/>
                <a:gd name="connsiteY34" fmla="*/ 167640 h 295275"/>
                <a:gd name="connsiteX35" fmla="*/ 4763 w 209550"/>
                <a:gd name="connsiteY35" fmla="*/ 161925 h 295275"/>
                <a:gd name="connsiteX36" fmla="*/ 10478 w 209550"/>
                <a:gd name="connsiteY36" fmla="*/ 165735 h 295275"/>
                <a:gd name="connsiteX37" fmla="*/ 13335 w 209550"/>
                <a:gd name="connsiteY37" fmla="*/ 183833 h 295275"/>
                <a:gd name="connsiteX38" fmla="*/ 9525 w 209550"/>
                <a:gd name="connsiteY38" fmla="*/ 189548 h 295275"/>
                <a:gd name="connsiteX39" fmla="*/ 9525 w 209550"/>
                <a:gd name="connsiteY39" fmla="*/ 190500 h 295275"/>
                <a:gd name="connsiteX40" fmla="*/ 4763 w 209550"/>
                <a:gd name="connsiteY40" fmla="*/ 152400 h 295275"/>
                <a:gd name="connsiteX41" fmla="*/ 4763 w 209550"/>
                <a:gd name="connsiteY41" fmla="*/ 152400 h 295275"/>
                <a:gd name="connsiteX42" fmla="*/ 0 w 209550"/>
                <a:gd name="connsiteY42" fmla="*/ 147638 h 295275"/>
                <a:gd name="connsiteX43" fmla="*/ 1905 w 209550"/>
                <a:gd name="connsiteY43" fmla="*/ 127635 h 295275"/>
                <a:gd name="connsiteX44" fmla="*/ 7620 w 209550"/>
                <a:gd name="connsiteY44" fmla="*/ 123825 h 295275"/>
                <a:gd name="connsiteX45" fmla="*/ 11430 w 209550"/>
                <a:gd name="connsiteY45" fmla="*/ 129540 h 295275"/>
                <a:gd name="connsiteX46" fmla="*/ 9525 w 209550"/>
                <a:gd name="connsiteY46" fmla="*/ 147638 h 295275"/>
                <a:gd name="connsiteX47" fmla="*/ 4763 w 209550"/>
                <a:gd name="connsiteY47" fmla="*/ 152400 h 295275"/>
                <a:gd name="connsiteX48" fmla="*/ 10478 w 209550"/>
                <a:gd name="connsiteY48" fmla="*/ 115253 h 295275"/>
                <a:gd name="connsiteX49" fmla="*/ 9525 w 209550"/>
                <a:gd name="connsiteY49" fmla="*/ 115253 h 295275"/>
                <a:gd name="connsiteX50" fmla="*/ 6668 w 209550"/>
                <a:gd name="connsiteY50" fmla="*/ 109538 h 295275"/>
                <a:gd name="connsiteX51" fmla="*/ 13335 w 209550"/>
                <a:gd name="connsiteY51" fmla="*/ 90488 h 295275"/>
                <a:gd name="connsiteX52" fmla="*/ 20003 w 209550"/>
                <a:gd name="connsiteY52" fmla="*/ 87630 h 295275"/>
                <a:gd name="connsiteX53" fmla="*/ 22860 w 209550"/>
                <a:gd name="connsiteY53" fmla="*/ 94298 h 295275"/>
                <a:gd name="connsiteX54" fmla="*/ 17145 w 209550"/>
                <a:gd name="connsiteY54" fmla="*/ 111443 h 295275"/>
                <a:gd name="connsiteX55" fmla="*/ 10478 w 209550"/>
                <a:gd name="connsiteY55" fmla="*/ 115253 h 295275"/>
                <a:gd name="connsiteX56" fmla="*/ 24765 w 209550"/>
                <a:gd name="connsiteY56" fmla="*/ 80010 h 295275"/>
                <a:gd name="connsiteX57" fmla="*/ 21908 w 209550"/>
                <a:gd name="connsiteY57" fmla="*/ 79058 h 295275"/>
                <a:gd name="connsiteX58" fmla="*/ 20955 w 209550"/>
                <a:gd name="connsiteY58" fmla="*/ 72390 h 295275"/>
                <a:gd name="connsiteX59" fmla="*/ 32385 w 209550"/>
                <a:gd name="connsiteY59" fmla="*/ 56198 h 295275"/>
                <a:gd name="connsiteX60" fmla="*/ 39053 w 209550"/>
                <a:gd name="connsiteY60" fmla="*/ 55245 h 295275"/>
                <a:gd name="connsiteX61" fmla="*/ 39053 w 209550"/>
                <a:gd name="connsiteY61" fmla="*/ 61913 h 295275"/>
                <a:gd name="connsiteX62" fmla="*/ 28575 w 209550"/>
                <a:gd name="connsiteY62" fmla="*/ 77153 h 295275"/>
                <a:gd name="connsiteX63" fmla="*/ 24765 w 209550"/>
                <a:gd name="connsiteY63" fmla="*/ 80010 h 295275"/>
                <a:gd name="connsiteX64" fmla="*/ 48578 w 209550"/>
                <a:gd name="connsiteY64" fmla="*/ 50483 h 295275"/>
                <a:gd name="connsiteX65" fmla="*/ 44768 w 209550"/>
                <a:gd name="connsiteY65" fmla="*/ 48578 h 295275"/>
                <a:gd name="connsiteX66" fmla="*/ 44768 w 209550"/>
                <a:gd name="connsiteY66" fmla="*/ 41910 h 295275"/>
                <a:gd name="connsiteX67" fmla="*/ 60008 w 209550"/>
                <a:gd name="connsiteY67" fmla="*/ 29528 h 295275"/>
                <a:gd name="connsiteX68" fmla="*/ 66675 w 209550"/>
                <a:gd name="connsiteY68" fmla="*/ 30480 h 295275"/>
                <a:gd name="connsiteX69" fmla="*/ 65723 w 209550"/>
                <a:gd name="connsiteY69" fmla="*/ 37148 h 295275"/>
                <a:gd name="connsiteX70" fmla="*/ 51435 w 209550"/>
                <a:gd name="connsiteY70" fmla="*/ 48578 h 295275"/>
                <a:gd name="connsiteX71" fmla="*/ 48578 w 209550"/>
                <a:gd name="connsiteY71" fmla="*/ 50483 h 295275"/>
                <a:gd name="connsiteX72" fmla="*/ 79058 w 209550"/>
                <a:gd name="connsiteY72" fmla="*/ 27623 h 295275"/>
                <a:gd name="connsiteX73" fmla="*/ 75248 w 209550"/>
                <a:gd name="connsiteY73" fmla="*/ 24765 h 295275"/>
                <a:gd name="connsiteX74" fmla="*/ 76200 w 209550"/>
                <a:gd name="connsiteY74" fmla="*/ 18098 h 295275"/>
                <a:gd name="connsiteX75" fmla="*/ 94298 w 209550"/>
                <a:gd name="connsiteY75" fmla="*/ 9525 h 295275"/>
                <a:gd name="connsiteX76" fmla="*/ 100013 w 209550"/>
                <a:gd name="connsiteY76" fmla="*/ 12383 h 295275"/>
                <a:gd name="connsiteX77" fmla="*/ 97155 w 209550"/>
                <a:gd name="connsiteY77" fmla="*/ 18098 h 295275"/>
                <a:gd name="connsiteX78" fmla="*/ 80963 w 209550"/>
                <a:gd name="connsiteY78" fmla="*/ 26670 h 295275"/>
                <a:gd name="connsiteX79" fmla="*/ 79058 w 209550"/>
                <a:gd name="connsiteY79" fmla="*/ 27623 h 295275"/>
                <a:gd name="connsiteX80" fmla="*/ 207645 w 209550"/>
                <a:gd name="connsiteY80" fmla="*/ 20955 h 295275"/>
                <a:gd name="connsiteX81" fmla="*/ 205740 w 209550"/>
                <a:gd name="connsiteY81" fmla="*/ 20955 h 295275"/>
                <a:gd name="connsiteX82" fmla="*/ 188595 w 209550"/>
                <a:gd name="connsiteY82" fmla="*/ 15240 h 295275"/>
                <a:gd name="connsiteX83" fmla="*/ 185738 w 209550"/>
                <a:gd name="connsiteY83" fmla="*/ 9525 h 295275"/>
                <a:gd name="connsiteX84" fmla="*/ 191453 w 209550"/>
                <a:gd name="connsiteY84" fmla="*/ 6668 h 295275"/>
                <a:gd name="connsiteX85" fmla="*/ 209550 w 209550"/>
                <a:gd name="connsiteY85" fmla="*/ 12383 h 295275"/>
                <a:gd name="connsiteX86" fmla="*/ 212408 w 209550"/>
                <a:gd name="connsiteY86" fmla="*/ 19050 h 295275"/>
                <a:gd name="connsiteX87" fmla="*/ 207645 w 209550"/>
                <a:gd name="connsiteY87" fmla="*/ 20955 h 295275"/>
                <a:gd name="connsiteX88" fmla="*/ 114300 w 209550"/>
                <a:gd name="connsiteY88" fmla="*/ 13335 h 295275"/>
                <a:gd name="connsiteX89" fmla="*/ 109538 w 209550"/>
                <a:gd name="connsiteY89" fmla="*/ 9525 h 295275"/>
                <a:gd name="connsiteX90" fmla="*/ 113348 w 209550"/>
                <a:gd name="connsiteY90" fmla="*/ 3810 h 295275"/>
                <a:gd name="connsiteX91" fmla="*/ 132398 w 209550"/>
                <a:gd name="connsiteY91" fmla="*/ 0 h 295275"/>
                <a:gd name="connsiteX92" fmla="*/ 138113 w 209550"/>
                <a:gd name="connsiteY92" fmla="*/ 3810 h 295275"/>
                <a:gd name="connsiteX93" fmla="*/ 133350 w 209550"/>
                <a:gd name="connsiteY93" fmla="*/ 10478 h 295275"/>
                <a:gd name="connsiteX94" fmla="*/ 115253 w 209550"/>
                <a:gd name="connsiteY94" fmla="*/ 13335 h 295275"/>
                <a:gd name="connsiteX95" fmla="*/ 114300 w 209550"/>
                <a:gd name="connsiteY95" fmla="*/ 13335 h 295275"/>
                <a:gd name="connsiteX96" fmla="*/ 171450 w 209550"/>
                <a:gd name="connsiteY96" fmla="*/ 11430 h 295275"/>
                <a:gd name="connsiteX97" fmla="*/ 171450 w 209550"/>
                <a:gd name="connsiteY97" fmla="*/ 11430 h 295275"/>
                <a:gd name="connsiteX98" fmla="*/ 152400 w 209550"/>
                <a:gd name="connsiteY98" fmla="*/ 9525 h 295275"/>
                <a:gd name="connsiteX99" fmla="*/ 147638 w 209550"/>
                <a:gd name="connsiteY99" fmla="*/ 4763 h 295275"/>
                <a:gd name="connsiteX100" fmla="*/ 152400 w 209550"/>
                <a:gd name="connsiteY100" fmla="*/ 0 h 295275"/>
                <a:gd name="connsiteX101" fmla="*/ 172403 w 209550"/>
                <a:gd name="connsiteY101" fmla="*/ 1905 h 295275"/>
                <a:gd name="connsiteX102" fmla="*/ 176213 w 209550"/>
                <a:gd name="connsiteY102" fmla="*/ 7620 h 295275"/>
                <a:gd name="connsiteX103" fmla="*/ 171450 w 209550"/>
                <a:gd name="connsiteY103" fmla="*/ 1143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09550" h="295275">
                  <a:moveTo>
                    <a:pt x="108585" y="298133"/>
                  </a:moveTo>
                  <a:cubicBezTo>
                    <a:pt x="107633" y="298133"/>
                    <a:pt x="107633" y="298133"/>
                    <a:pt x="106680" y="298133"/>
                  </a:cubicBezTo>
                  <a:cubicBezTo>
                    <a:pt x="100965" y="296228"/>
                    <a:pt x="94298" y="293370"/>
                    <a:pt x="88583" y="290513"/>
                  </a:cubicBezTo>
                  <a:cubicBezTo>
                    <a:pt x="85725" y="288608"/>
                    <a:pt x="84773" y="285750"/>
                    <a:pt x="86678" y="283845"/>
                  </a:cubicBezTo>
                  <a:cubicBezTo>
                    <a:pt x="87630" y="281940"/>
                    <a:pt x="90488" y="280035"/>
                    <a:pt x="93345" y="281940"/>
                  </a:cubicBezTo>
                  <a:cubicBezTo>
                    <a:pt x="99060" y="284798"/>
                    <a:pt x="104775" y="286703"/>
                    <a:pt x="110490" y="288608"/>
                  </a:cubicBezTo>
                  <a:cubicBezTo>
                    <a:pt x="113348" y="289560"/>
                    <a:pt x="114300" y="292418"/>
                    <a:pt x="113348" y="294323"/>
                  </a:cubicBezTo>
                  <a:cubicBezTo>
                    <a:pt x="112395" y="296228"/>
                    <a:pt x="110490" y="298133"/>
                    <a:pt x="108585" y="298133"/>
                  </a:cubicBezTo>
                  <a:close/>
                  <a:moveTo>
                    <a:pt x="74295" y="280988"/>
                  </a:moveTo>
                  <a:cubicBezTo>
                    <a:pt x="73343" y="280988"/>
                    <a:pt x="72390" y="280988"/>
                    <a:pt x="71438" y="280035"/>
                  </a:cubicBezTo>
                  <a:cubicBezTo>
                    <a:pt x="65723" y="276225"/>
                    <a:pt x="60960" y="272415"/>
                    <a:pt x="55245" y="268605"/>
                  </a:cubicBezTo>
                  <a:cubicBezTo>
                    <a:pt x="53340" y="266700"/>
                    <a:pt x="53340" y="263843"/>
                    <a:pt x="54293" y="261938"/>
                  </a:cubicBezTo>
                  <a:cubicBezTo>
                    <a:pt x="56198" y="260033"/>
                    <a:pt x="59055" y="260033"/>
                    <a:pt x="60960" y="260985"/>
                  </a:cubicBezTo>
                  <a:cubicBezTo>
                    <a:pt x="65723" y="264795"/>
                    <a:pt x="70485" y="268605"/>
                    <a:pt x="76200" y="272415"/>
                  </a:cubicBezTo>
                  <a:cubicBezTo>
                    <a:pt x="78105" y="274320"/>
                    <a:pt x="79058" y="277178"/>
                    <a:pt x="77153" y="279083"/>
                  </a:cubicBezTo>
                  <a:cubicBezTo>
                    <a:pt x="77153" y="280035"/>
                    <a:pt x="75248" y="280988"/>
                    <a:pt x="74295" y="280988"/>
                  </a:cubicBezTo>
                  <a:close/>
                  <a:moveTo>
                    <a:pt x="44768" y="256223"/>
                  </a:moveTo>
                  <a:cubicBezTo>
                    <a:pt x="43815" y="256223"/>
                    <a:pt x="41910" y="255270"/>
                    <a:pt x="40958" y="254318"/>
                  </a:cubicBezTo>
                  <a:cubicBezTo>
                    <a:pt x="36195" y="249555"/>
                    <a:pt x="32385" y="244793"/>
                    <a:pt x="28575" y="239078"/>
                  </a:cubicBezTo>
                  <a:cubicBezTo>
                    <a:pt x="26670" y="237173"/>
                    <a:pt x="27623" y="234315"/>
                    <a:pt x="29528" y="232410"/>
                  </a:cubicBezTo>
                  <a:cubicBezTo>
                    <a:pt x="31433" y="230505"/>
                    <a:pt x="34290" y="231458"/>
                    <a:pt x="36195" y="233363"/>
                  </a:cubicBezTo>
                  <a:cubicBezTo>
                    <a:pt x="40005" y="238125"/>
                    <a:pt x="43815" y="242888"/>
                    <a:pt x="47625" y="247650"/>
                  </a:cubicBezTo>
                  <a:cubicBezTo>
                    <a:pt x="49530" y="249555"/>
                    <a:pt x="49530" y="252413"/>
                    <a:pt x="47625" y="254318"/>
                  </a:cubicBezTo>
                  <a:cubicBezTo>
                    <a:pt x="47625" y="256223"/>
                    <a:pt x="46673" y="256223"/>
                    <a:pt x="44768" y="256223"/>
                  </a:cubicBezTo>
                  <a:close/>
                  <a:moveTo>
                    <a:pt x="22860" y="225743"/>
                  </a:moveTo>
                  <a:cubicBezTo>
                    <a:pt x="20955" y="225743"/>
                    <a:pt x="20003" y="224790"/>
                    <a:pt x="19050" y="222885"/>
                  </a:cubicBezTo>
                  <a:cubicBezTo>
                    <a:pt x="16193" y="217170"/>
                    <a:pt x="13335" y="211455"/>
                    <a:pt x="10478" y="204788"/>
                  </a:cubicBezTo>
                  <a:cubicBezTo>
                    <a:pt x="9525" y="201930"/>
                    <a:pt x="10478" y="200025"/>
                    <a:pt x="13335" y="199073"/>
                  </a:cubicBezTo>
                  <a:cubicBezTo>
                    <a:pt x="16193" y="198120"/>
                    <a:pt x="18098" y="199073"/>
                    <a:pt x="19050" y="201930"/>
                  </a:cubicBezTo>
                  <a:cubicBezTo>
                    <a:pt x="20955" y="207645"/>
                    <a:pt x="23813" y="213360"/>
                    <a:pt x="26670" y="219075"/>
                  </a:cubicBezTo>
                  <a:cubicBezTo>
                    <a:pt x="27623" y="220980"/>
                    <a:pt x="26670" y="223838"/>
                    <a:pt x="24765" y="225743"/>
                  </a:cubicBezTo>
                  <a:cubicBezTo>
                    <a:pt x="24765" y="225743"/>
                    <a:pt x="23813" y="225743"/>
                    <a:pt x="22860" y="225743"/>
                  </a:cubicBezTo>
                  <a:close/>
                  <a:moveTo>
                    <a:pt x="9525" y="190500"/>
                  </a:moveTo>
                  <a:cubicBezTo>
                    <a:pt x="7620" y="190500"/>
                    <a:pt x="5715" y="188595"/>
                    <a:pt x="4763" y="186690"/>
                  </a:cubicBezTo>
                  <a:cubicBezTo>
                    <a:pt x="2858" y="180023"/>
                    <a:pt x="1905" y="173355"/>
                    <a:pt x="953" y="167640"/>
                  </a:cubicBezTo>
                  <a:cubicBezTo>
                    <a:pt x="953" y="164783"/>
                    <a:pt x="2858" y="162878"/>
                    <a:pt x="4763" y="161925"/>
                  </a:cubicBezTo>
                  <a:cubicBezTo>
                    <a:pt x="7620" y="161925"/>
                    <a:pt x="9525" y="163830"/>
                    <a:pt x="10478" y="165735"/>
                  </a:cubicBezTo>
                  <a:cubicBezTo>
                    <a:pt x="11430" y="171450"/>
                    <a:pt x="12383" y="178118"/>
                    <a:pt x="13335" y="183833"/>
                  </a:cubicBezTo>
                  <a:cubicBezTo>
                    <a:pt x="14288" y="186690"/>
                    <a:pt x="12383" y="188595"/>
                    <a:pt x="9525" y="189548"/>
                  </a:cubicBezTo>
                  <a:cubicBezTo>
                    <a:pt x="9525" y="190500"/>
                    <a:pt x="9525" y="190500"/>
                    <a:pt x="9525" y="190500"/>
                  </a:cubicBezTo>
                  <a:close/>
                  <a:moveTo>
                    <a:pt x="4763" y="152400"/>
                  </a:moveTo>
                  <a:cubicBezTo>
                    <a:pt x="4763" y="152400"/>
                    <a:pt x="4763" y="152400"/>
                    <a:pt x="4763" y="152400"/>
                  </a:cubicBezTo>
                  <a:cubicBezTo>
                    <a:pt x="1905" y="152400"/>
                    <a:pt x="0" y="150495"/>
                    <a:pt x="0" y="147638"/>
                  </a:cubicBezTo>
                  <a:cubicBezTo>
                    <a:pt x="0" y="140970"/>
                    <a:pt x="953" y="134303"/>
                    <a:pt x="1905" y="127635"/>
                  </a:cubicBezTo>
                  <a:cubicBezTo>
                    <a:pt x="1905" y="124778"/>
                    <a:pt x="4763" y="122873"/>
                    <a:pt x="7620" y="123825"/>
                  </a:cubicBezTo>
                  <a:cubicBezTo>
                    <a:pt x="10478" y="123825"/>
                    <a:pt x="12383" y="126683"/>
                    <a:pt x="11430" y="129540"/>
                  </a:cubicBezTo>
                  <a:cubicBezTo>
                    <a:pt x="10478" y="135255"/>
                    <a:pt x="9525" y="141923"/>
                    <a:pt x="9525" y="147638"/>
                  </a:cubicBezTo>
                  <a:cubicBezTo>
                    <a:pt x="9525" y="150495"/>
                    <a:pt x="7620" y="152400"/>
                    <a:pt x="4763" y="152400"/>
                  </a:cubicBezTo>
                  <a:close/>
                  <a:moveTo>
                    <a:pt x="10478" y="115253"/>
                  </a:moveTo>
                  <a:cubicBezTo>
                    <a:pt x="10478" y="115253"/>
                    <a:pt x="9525" y="115253"/>
                    <a:pt x="9525" y="115253"/>
                  </a:cubicBezTo>
                  <a:cubicBezTo>
                    <a:pt x="6668" y="114300"/>
                    <a:pt x="5715" y="112395"/>
                    <a:pt x="6668" y="109538"/>
                  </a:cubicBezTo>
                  <a:cubicBezTo>
                    <a:pt x="8573" y="102870"/>
                    <a:pt x="10478" y="97155"/>
                    <a:pt x="13335" y="90488"/>
                  </a:cubicBezTo>
                  <a:cubicBezTo>
                    <a:pt x="14288" y="87630"/>
                    <a:pt x="17145" y="86678"/>
                    <a:pt x="20003" y="87630"/>
                  </a:cubicBezTo>
                  <a:cubicBezTo>
                    <a:pt x="22860" y="88583"/>
                    <a:pt x="23813" y="91440"/>
                    <a:pt x="22860" y="94298"/>
                  </a:cubicBezTo>
                  <a:cubicBezTo>
                    <a:pt x="20003" y="100013"/>
                    <a:pt x="18098" y="105728"/>
                    <a:pt x="17145" y="111443"/>
                  </a:cubicBezTo>
                  <a:cubicBezTo>
                    <a:pt x="14288" y="113348"/>
                    <a:pt x="12383" y="115253"/>
                    <a:pt x="10478" y="115253"/>
                  </a:cubicBezTo>
                  <a:close/>
                  <a:moveTo>
                    <a:pt x="24765" y="80010"/>
                  </a:moveTo>
                  <a:cubicBezTo>
                    <a:pt x="23813" y="80010"/>
                    <a:pt x="22860" y="80010"/>
                    <a:pt x="21908" y="79058"/>
                  </a:cubicBezTo>
                  <a:cubicBezTo>
                    <a:pt x="20003" y="78105"/>
                    <a:pt x="19050" y="75248"/>
                    <a:pt x="20955" y="72390"/>
                  </a:cubicBezTo>
                  <a:cubicBezTo>
                    <a:pt x="23813" y="66675"/>
                    <a:pt x="27623" y="61913"/>
                    <a:pt x="32385" y="56198"/>
                  </a:cubicBezTo>
                  <a:cubicBezTo>
                    <a:pt x="34290" y="54293"/>
                    <a:pt x="37148" y="53340"/>
                    <a:pt x="39053" y="55245"/>
                  </a:cubicBezTo>
                  <a:cubicBezTo>
                    <a:pt x="40958" y="57150"/>
                    <a:pt x="40958" y="60008"/>
                    <a:pt x="39053" y="61913"/>
                  </a:cubicBezTo>
                  <a:cubicBezTo>
                    <a:pt x="35243" y="67628"/>
                    <a:pt x="32385" y="72390"/>
                    <a:pt x="28575" y="77153"/>
                  </a:cubicBezTo>
                  <a:cubicBezTo>
                    <a:pt x="28575" y="79058"/>
                    <a:pt x="26670" y="80010"/>
                    <a:pt x="24765" y="80010"/>
                  </a:cubicBezTo>
                  <a:close/>
                  <a:moveTo>
                    <a:pt x="48578" y="50483"/>
                  </a:moveTo>
                  <a:cubicBezTo>
                    <a:pt x="47625" y="50483"/>
                    <a:pt x="45720" y="49530"/>
                    <a:pt x="44768" y="48578"/>
                  </a:cubicBezTo>
                  <a:cubicBezTo>
                    <a:pt x="42863" y="46673"/>
                    <a:pt x="42863" y="43815"/>
                    <a:pt x="44768" y="41910"/>
                  </a:cubicBezTo>
                  <a:cubicBezTo>
                    <a:pt x="49530" y="37148"/>
                    <a:pt x="54293" y="33338"/>
                    <a:pt x="60008" y="29528"/>
                  </a:cubicBezTo>
                  <a:cubicBezTo>
                    <a:pt x="61913" y="27623"/>
                    <a:pt x="64770" y="27623"/>
                    <a:pt x="66675" y="30480"/>
                  </a:cubicBezTo>
                  <a:cubicBezTo>
                    <a:pt x="68580" y="32385"/>
                    <a:pt x="67628" y="35243"/>
                    <a:pt x="65723" y="37148"/>
                  </a:cubicBezTo>
                  <a:cubicBezTo>
                    <a:pt x="60960" y="40958"/>
                    <a:pt x="56198" y="44768"/>
                    <a:pt x="51435" y="48578"/>
                  </a:cubicBezTo>
                  <a:cubicBezTo>
                    <a:pt x="50483" y="49530"/>
                    <a:pt x="49530" y="50483"/>
                    <a:pt x="48578" y="50483"/>
                  </a:cubicBezTo>
                  <a:close/>
                  <a:moveTo>
                    <a:pt x="79058" y="27623"/>
                  </a:moveTo>
                  <a:cubicBezTo>
                    <a:pt x="77153" y="27623"/>
                    <a:pt x="76200" y="26670"/>
                    <a:pt x="75248" y="24765"/>
                  </a:cubicBezTo>
                  <a:cubicBezTo>
                    <a:pt x="73343" y="22860"/>
                    <a:pt x="74295" y="20003"/>
                    <a:pt x="76200" y="18098"/>
                  </a:cubicBezTo>
                  <a:cubicBezTo>
                    <a:pt x="81915" y="15240"/>
                    <a:pt x="87630" y="12383"/>
                    <a:pt x="94298" y="9525"/>
                  </a:cubicBezTo>
                  <a:cubicBezTo>
                    <a:pt x="97155" y="8573"/>
                    <a:pt x="99060" y="9525"/>
                    <a:pt x="100013" y="12383"/>
                  </a:cubicBezTo>
                  <a:cubicBezTo>
                    <a:pt x="100965" y="15240"/>
                    <a:pt x="100013" y="17145"/>
                    <a:pt x="97155" y="18098"/>
                  </a:cubicBezTo>
                  <a:cubicBezTo>
                    <a:pt x="92393" y="20955"/>
                    <a:pt x="86678" y="23813"/>
                    <a:pt x="80963" y="26670"/>
                  </a:cubicBezTo>
                  <a:cubicBezTo>
                    <a:pt x="80963" y="27623"/>
                    <a:pt x="80010" y="27623"/>
                    <a:pt x="79058" y="27623"/>
                  </a:cubicBezTo>
                  <a:close/>
                  <a:moveTo>
                    <a:pt x="207645" y="20955"/>
                  </a:moveTo>
                  <a:cubicBezTo>
                    <a:pt x="206693" y="20955"/>
                    <a:pt x="206693" y="20955"/>
                    <a:pt x="205740" y="20955"/>
                  </a:cubicBezTo>
                  <a:cubicBezTo>
                    <a:pt x="200025" y="19050"/>
                    <a:pt x="194310" y="16193"/>
                    <a:pt x="188595" y="15240"/>
                  </a:cubicBezTo>
                  <a:cubicBezTo>
                    <a:pt x="185738" y="14288"/>
                    <a:pt x="184785" y="11430"/>
                    <a:pt x="185738" y="9525"/>
                  </a:cubicBezTo>
                  <a:cubicBezTo>
                    <a:pt x="186690" y="6668"/>
                    <a:pt x="189548" y="5715"/>
                    <a:pt x="191453" y="6668"/>
                  </a:cubicBezTo>
                  <a:cubicBezTo>
                    <a:pt x="197168" y="7620"/>
                    <a:pt x="203835" y="9525"/>
                    <a:pt x="209550" y="12383"/>
                  </a:cubicBezTo>
                  <a:cubicBezTo>
                    <a:pt x="212408" y="13335"/>
                    <a:pt x="213360" y="16193"/>
                    <a:pt x="212408" y="19050"/>
                  </a:cubicBezTo>
                  <a:cubicBezTo>
                    <a:pt x="211455" y="20003"/>
                    <a:pt x="209550" y="20955"/>
                    <a:pt x="207645" y="20955"/>
                  </a:cubicBezTo>
                  <a:close/>
                  <a:moveTo>
                    <a:pt x="114300" y="13335"/>
                  </a:moveTo>
                  <a:cubicBezTo>
                    <a:pt x="112395" y="13335"/>
                    <a:pt x="110490" y="11430"/>
                    <a:pt x="109538" y="9525"/>
                  </a:cubicBezTo>
                  <a:cubicBezTo>
                    <a:pt x="108585" y="6668"/>
                    <a:pt x="110490" y="4763"/>
                    <a:pt x="113348" y="3810"/>
                  </a:cubicBezTo>
                  <a:cubicBezTo>
                    <a:pt x="120015" y="1905"/>
                    <a:pt x="125730" y="953"/>
                    <a:pt x="132398" y="0"/>
                  </a:cubicBezTo>
                  <a:cubicBezTo>
                    <a:pt x="135255" y="0"/>
                    <a:pt x="137160" y="1905"/>
                    <a:pt x="138113" y="3810"/>
                  </a:cubicBezTo>
                  <a:cubicBezTo>
                    <a:pt x="139065" y="5715"/>
                    <a:pt x="136208" y="10478"/>
                    <a:pt x="133350" y="10478"/>
                  </a:cubicBezTo>
                  <a:cubicBezTo>
                    <a:pt x="127635" y="11430"/>
                    <a:pt x="120968" y="12383"/>
                    <a:pt x="115253" y="13335"/>
                  </a:cubicBezTo>
                  <a:cubicBezTo>
                    <a:pt x="115253" y="13335"/>
                    <a:pt x="114300" y="13335"/>
                    <a:pt x="114300" y="13335"/>
                  </a:cubicBezTo>
                  <a:close/>
                  <a:moveTo>
                    <a:pt x="171450" y="11430"/>
                  </a:moveTo>
                  <a:cubicBezTo>
                    <a:pt x="170498" y="11430"/>
                    <a:pt x="170498" y="11430"/>
                    <a:pt x="171450" y="11430"/>
                  </a:cubicBezTo>
                  <a:cubicBezTo>
                    <a:pt x="164783" y="10478"/>
                    <a:pt x="158115" y="9525"/>
                    <a:pt x="152400" y="9525"/>
                  </a:cubicBezTo>
                  <a:cubicBezTo>
                    <a:pt x="149543" y="9525"/>
                    <a:pt x="147638" y="7620"/>
                    <a:pt x="147638" y="4763"/>
                  </a:cubicBezTo>
                  <a:cubicBezTo>
                    <a:pt x="147638" y="1905"/>
                    <a:pt x="149543" y="0"/>
                    <a:pt x="152400" y="0"/>
                  </a:cubicBezTo>
                  <a:cubicBezTo>
                    <a:pt x="159068" y="0"/>
                    <a:pt x="165735" y="953"/>
                    <a:pt x="172403" y="1905"/>
                  </a:cubicBezTo>
                  <a:cubicBezTo>
                    <a:pt x="175260" y="1905"/>
                    <a:pt x="177165" y="4763"/>
                    <a:pt x="176213" y="7620"/>
                  </a:cubicBezTo>
                  <a:cubicBezTo>
                    <a:pt x="175260" y="9525"/>
                    <a:pt x="173355" y="11430"/>
                    <a:pt x="171450" y="11430"/>
                  </a:cubicBezTo>
                  <a:close/>
                </a:path>
              </a:pathLst>
            </a:custGeom>
            <a:solidFill>
              <a:srgbClr val="101010"/>
            </a:solidFill>
            <a:ln w="9525" cap="flat">
              <a:noFill/>
              <a:prstDash val="solid"/>
              <a:miter/>
            </a:ln>
          </p:spPr>
          <p:txBody>
            <a:bodyPr rtlCol="0" anchor="ctr"/>
            <a:lstStyle/>
            <a:p>
              <a:endParaRPr lang="de-DE"/>
            </a:p>
          </p:txBody>
        </p:sp>
        <p:sp>
          <p:nvSpPr>
            <p:cNvPr id="5184" name="Freeform: Shape 5183">
              <a:extLst>
                <a:ext uri="{FF2B5EF4-FFF2-40B4-BE49-F238E27FC236}">
                  <a16:creationId xmlns:a16="http://schemas.microsoft.com/office/drawing/2014/main" id="{487DBC20-87AA-4A44-8EE1-EDF9A405E922}"/>
                </a:ext>
              </a:extLst>
            </p:cNvPr>
            <p:cNvSpPr/>
            <p:nvPr/>
          </p:nvSpPr>
          <p:spPr>
            <a:xfrm>
              <a:off x="6178867" y="3296602"/>
              <a:ext cx="47625" cy="38100"/>
            </a:xfrm>
            <a:custGeom>
              <a:avLst/>
              <a:gdLst>
                <a:gd name="connsiteX0" fmla="*/ 10477 w 47625"/>
                <a:gd name="connsiteY0" fmla="*/ 44768 h 38100"/>
                <a:gd name="connsiteX1" fmla="*/ 16192 w 47625"/>
                <a:gd name="connsiteY1" fmla="*/ 47625 h 38100"/>
                <a:gd name="connsiteX2" fmla="*/ 37147 w 47625"/>
                <a:gd name="connsiteY2" fmla="*/ 34290 h 38100"/>
                <a:gd name="connsiteX3" fmla="*/ 42863 w 47625"/>
                <a:gd name="connsiteY3" fmla="*/ 38100 h 38100"/>
                <a:gd name="connsiteX4" fmla="*/ 48577 w 47625"/>
                <a:gd name="connsiteY4" fmla="*/ 40005 h 38100"/>
                <a:gd name="connsiteX5" fmla="*/ 48577 w 47625"/>
                <a:gd name="connsiteY5" fmla="*/ 31433 h 38100"/>
                <a:gd name="connsiteX6" fmla="*/ 40957 w 47625"/>
                <a:gd name="connsiteY6" fmla="*/ 27623 h 38100"/>
                <a:gd name="connsiteX7" fmla="*/ 41910 w 47625"/>
                <a:gd name="connsiteY7" fmla="*/ 2857 h 38100"/>
                <a:gd name="connsiteX8" fmla="*/ 36195 w 47625"/>
                <a:gd name="connsiteY8" fmla="*/ 0 h 38100"/>
                <a:gd name="connsiteX9" fmla="*/ 29527 w 47625"/>
                <a:gd name="connsiteY9" fmla="*/ 21908 h 38100"/>
                <a:gd name="connsiteX10" fmla="*/ 17145 w 47625"/>
                <a:gd name="connsiteY10" fmla="*/ 12383 h 38100"/>
                <a:gd name="connsiteX11" fmla="*/ 14288 w 47625"/>
                <a:gd name="connsiteY11" fmla="*/ 3810 h 38100"/>
                <a:gd name="connsiteX12" fmla="*/ 9525 w 47625"/>
                <a:gd name="connsiteY12" fmla="*/ 953 h 38100"/>
                <a:gd name="connsiteX13" fmla="*/ 9525 w 47625"/>
                <a:gd name="connsiteY13" fmla="*/ 11430 h 38100"/>
                <a:gd name="connsiteX14" fmla="*/ 0 w 47625"/>
                <a:gd name="connsiteY14" fmla="*/ 17145 h 38100"/>
                <a:gd name="connsiteX15" fmla="*/ 4763 w 47625"/>
                <a:gd name="connsiteY15" fmla="*/ 20003 h 38100"/>
                <a:gd name="connsiteX16" fmla="*/ 12382 w 47625"/>
                <a:gd name="connsiteY16" fmla="*/ 19050 h 38100"/>
                <a:gd name="connsiteX17" fmla="*/ 25717 w 47625"/>
                <a:gd name="connsiteY17" fmla="*/ 26670 h 38100"/>
                <a:gd name="connsiteX18" fmla="*/ 10477 w 47625"/>
                <a:gd name="connsiteY18" fmla="*/ 4476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625" h="38100">
                  <a:moveTo>
                    <a:pt x="10477" y="44768"/>
                  </a:moveTo>
                  <a:lnTo>
                    <a:pt x="16192" y="47625"/>
                  </a:lnTo>
                  <a:lnTo>
                    <a:pt x="37147" y="34290"/>
                  </a:lnTo>
                  <a:lnTo>
                    <a:pt x="42863" y="38100"/>
                  </a:lnTo>
                  <a:cubicBezTo>
                    <a:pt x="44767" y="39052"/>
                    <a:pt x="46672" y="40005"/>
                    <a:pt x="48577" y="40005"/>
                  </a:cubicBezTo>
                  <a:cubicBezTo>
                    <a:pt x="58102" y="40958"/>
                    <a:pt x="51435" y="33338"/>
                    <a:pt x="48577" y="31433"/>
                  </a:cubicBezTo>
                  <a:lnTo>
                    <a:pt x="40957" y="27623"/>
                  </a:lnTo>
                  <a:lnTo>
                    <a:pt x="41910" y="2857"/>
                  </a:lnTo>
                  <a:lnTo>
                    <a:pt x="36195" y="0"/>
                  </a:lnTo>
                  <a:lnTo>
                    <a:pt x="29527" y="21908"/>
                  </a:lnTo>
                  <a:lnTo>
                    <a:pt x="17145" y="12383"/>
                  </a:lnTo>
                  <a:lnTo>
                    <a:pt x="14288" y="3810"/>
                  </a:lnTo>
                  <a:lnTo>
                    <a:pt x="9525" y="953"/>
                  </a:lnTo>
                  <a:lnTo>
                    <a:pt x="9525" y="11430"/>
                  </a:lnTo>
                  <a:lnTo>
                    <a:pt x="0" y="17145"/>
                  </a:lnTo>
                  <a:lnTo>
                    <a:pt x="4763" y="20003"/>
                  </a:lnTo>
                  <a:lnTo>
                    <a:pt x="12382" y="19050"/>
                  </a:lnTo>
                  <a:lnTo>
                    <a:pt x="25717" y="26670"/>
                  </a:lnTo>
                  <a:lnTo>
                    <a:pt x="10477" y="44768"/>
                  </a:lnTo>
                  <a:close/>
                </a:path>
              </a:pathLst>
            </a:custGeom>
            <a:solidFill>
              <a:srgbClr val="101010"/>
            </a:solidFill>
            <a:ln w="9525" cap="flat">
              <a:noFill/>
              <a:prstDash val="solid"/>
              <a:miter/>
            </a:ln>
          </p:spPr>
          <p:txBody>
            <a:bodyPr rtlCol="0" anchor="ctr"/>
            <a:lstStyle/>
            <a:p>
              <a:endParaRPr lang="de-DE"/>
            </a:p>
          </p:txBody>
        </p:sp>
      </p:grpSp>
      <p:pic>
        <p:nvPicPr>
          <p:cNvPr id="5185" name="Graphic 5184">
            <a:extLst>
              <a:ext uri="{FF2B5EF4-FFF2-40B4-BE49-F238E27FC236}">
                <a16:creationId xmlns:a16="http://schemas.microsoft.com/office/drawing/2014/main" id="{5D9304EA-21F5-4696-8DBC-4ABA0D081A2E}"/>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427349" y="3827788"/>
            <a:ext cx="106705" cy="93901"/>
          </a:xfrm>
          <a:prstGeom prst="rect">
            <a:avLst/>
          </a:prstGeom>
        </p:spPr>
      </p:pic>
      <p:grpSp>
        <p:nvGrpSpPr>
          <p:cNvPr id="5186" name="Graphic 3">
            <a:extLst>
              <a:ext uri="{FF2B5EF4-FFF2-40B4-BE49-F238E27FC236}">
                <a16:creationId xmlns:a16="http://schemas.microsoft.com/office/drawing/2014/main" id="{A9889F9A-5DC5-47DC-A2A8-F172E3319527}"/>
              </a:ext>
              <a:ext uri="{C183D7F6-B498-43B3-948B-1728B52AA6E4}">
                <adec:decorative xmlns:adec="http://schemas.microsoft.com/office/drawing/2017/decorative" val="1"/>
              </a:ext>
            </a:extLst>
          </p:cNvPr>
          <p:cNvGrpSpPr>
            <a:grpSpLocks noChangeAspect="1"/>
          </p:cNvGrpSpPr>
          <p:nvPr/>
        </p:nvGrpSpPr>
        <p:grpSpPr>
          <a:xfrm>
            <a:off x="1690659" y="3807144"/>
            <a:ext cx="71570" cy="135188"/>
            <a:chOff x="5965031" y="3181614"/>
            <a:chExt cx="261938" cy="494772"/>
          </a:xfrm>
          <a:solidFill>
            <a:srgbClr val="101010"/>
          </a:solidFill>
        </p:grpSpPr>
        <p:sp>
          <p:nvSpPr>
            <p:cNvPr id="5187" name="Freeform: Shape 5186">
              <a:extLst>
                <a:ext uri="{FF2B5EF4-FFF2-40B4-BE49-F238E27FC236}">
                  <a16:creationId xmlns:a16="http://schemas.microsoft.com/office/drawing/2014/main" id="{B564E540-2DCF-4D60-882D-148E8A913289}"/>
                </a:ext>
              </a:extLst>
            </p:cNvPr>
            <p:cNvSpPr/>
            <p:nvPr/>
          </p:nvSpPr>
          <p:spPr>
            <a:xfrm>
              <a:off x="6075627" y="3378068"/>
              <a:ext cx="29104" cy="58208"/>
            </a:xfrm>
            <a:custGeom>
              <a:avLst/>
              <a:gdLst>
                <a:gd name="connsiteX0" fmla="*/ 14552 w 29104"/>
                <a:gd name="connsiteY0" fmla="*/ 0 h 58208"/>
                <a:gd name="connsiteX1" fmla="*/ 0 w 29104"/>
                <a:gd name="connsiteY1" fmla="*/ 14552 h 58208"/>
                <a:gd name="connsiteX2" fmla="*/ 0 w 29104"/>
                <a:gd name="connsiteY2" fmla="*/ 43656 h 58208"/>
                <a:gd name="connsiteX3" fmla="*/ 14552 w 29104"/>
                <a:gd name="connsiteY3" fmla="*/ 58208 h 58208"/>
                <a:gd name="connsiteX4" fmla="*/ 14552 w 29104"/>
                <a:gd name="connsiteY4" fmla="*/ 58208 h 58208"/>
                <a:gd name="connsiteX5" fmla="*/ 29104 w 29104"/>
                <a:gd name="connsiteY5" fmla="*/ 43656 h 58208"/>
                <a:gd name="connsiteX6" fmla="*/ 29104 w 29104"/>
                <a:gd name="connsiteY6" fmla="*/ 14552 h 58208"/>
                <a:gd name="connsiteX7" fmla="*/ 14552 w 29104"/>
                <a:gd name="connsiteY7" fmla="*/ 0 h 58208"/>
                <a:gd name="connsiteX8" fmla="*/ 14552 w 29104"/>
                <a:gd name="connsiteY8" fmla="*/ 0 h 5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04" h="58208">
                  <a:moveTo>
                    <a:pt x="14552" y="0"/>
                  </a:moveTo>
                  <a:cubicBezTo>
                    <a:pt x="5821" y="0"/>
                    <a:pt x="0" y="7276"/>
                    <a:pt x="0" y="14552"/>
                  </a:cubicBezTo>
                  <a:lnTo>
                    <a:pt x="0" y="43656"/>
                  </a:lnTo>
                  <a:cubicBezTo>
                    <a:pt x="0" y="52388"/>
                    <a:pt x="7276" y="58208"/>
                    <a:pt x="14552" y="58208"/>
                  </a:cubicBezTo>
                  <a:lnTo>
                    <a:pt x="14552" y="58208"/>
                  </a:lnTo>
                  <a:cubicBezTo>
                    <a:pt x="23283" y="58208"/>
                    <a:pt x="29104" y="50932"/>
                    <a:pt x="29104" y="43656"/>
                  </a:cubicBezTo>
                  <a:lnTo>
                    <a:pt x="29104" y="14552"/>
                  </a:lnTo>
                  <a:cubicBezTo>
                    <a:pt x="29104" y="5821"/>
                    <a:pt x="23283" y="0"/>
                    <a:pt x="14552" y="0"/>
                  </a:cubicBezTo>
                  <a:lnTo>
                    <a:pt x="14552" y="0"/>
                  </a:lnTo>
                  <a:close/>
                </a:path>
              </a:pathLst>
            </a:custGeom>
            <a:solidFill>
              <a:srgbClr val="101010"/>
            </a:solidFill>
            <a:ln w="14288" cap="flat">
              <a:noFill/>
              <a:prstDash val="solid"/>
              <a:miter/>
            </a:ln>
          </p:spPr>
          <p:txBody>
            <a:bodyPr rtlCol="0" anchor="ctr"/>
            <a:lstStyle/>
            <a:p>
              <a:endParaRPr lang="de-DE"/>
            </a:p>
          </p:txBody>
        </p:sp>
        <p:sp>
          <p:nvSpPr>
            <p:cNvPr id="5188" name="Freeform: Shape 5187">
              <a:extLst>
                <a:ext uri="{FF2B5EF4-FFF2-40B4-BE49-F238E27FC236}">
                  <a16:creationId xmlns:a16="http://schemas.microsoft.com/office/drawing/2014/main" id="{3C37AB18-B541-410F-917C-8B7E78AD1002}"/>
                </a:ext>
              </a:extLst>
            </p:cNvPr>
            <p:cNvSpPr/>
            <p:nvPr/>
          </p:nvSpPr>
          <p:spPr>
            <a:xfrm>
              <a:off x="5965031" y="3181614"/>
              <a:ext cx="261938" cy="494772"/>
            </a:xfrm>
            <a:custGeom>
              <a:avLst/>
              <a:gdLst>
                <a:gd name="connsiteX0" fmla="*/ 256117 w 261938"/>
                <a:gd name="connsiteY0" fmla="*/ 87313 h 494772"/>
                <a:gd name="connsiteX1" fmla="*/ 219737 w 261938"/>
                <a:gd name="connsiteY1" fmla="*/ 50932 h 494772"/>
                <a:gd name="connsiteX2" fmla="*/ 168805 w 261938"/>
                <a:gd name="connsiteY2" fmla="*/ 0 h 494772"/>
                <a:gd name="connsiteX3" fmla="*/ 130969 w 261938"/>
                <a:gd name="connsiteY3" fmla="*/ 14552 h 494772"/>
                <a:gd name="connsiteX4" fmla="*/ 117872 w 261938"/>
                <a:gd name="connsiteY4" fmla="*/ 50932 h 494772"/>
                <a:gd name="connsiteX5" fmla="*/ 117872 w 261938"/>
                <a:gd name="connsiteY5" fmla="*/ 87313 h 494772"/>
                <a:gd name="connsiteX6" fmla="*/ 0 w 261938"/>
                <a:gd name="connsiteY6" fmla="*/ 213916 h 494772"/>
                <a:gd name="connsiteX7" fmla="*/ 0 w 261938"/>
                <a:gd name="connsiteY7" fmla="*/ 368169 h 494772"/>
                <a:gd name="connsiteX8" fmla="*/ 125148 w 261938"/>
                <a:gd name="connsiteY8" fmla="*/ 494772 h 494772"/>
                <a:gd name="connsiteX9" fmla="*/ 250296 w 261938"/>
                <a:gd name="connsiteY9" fmla="*/ 368169 h 494772"/>
                <a:gd name="connsiteX10" fmla="*/ 250296 w 261938"/>
                <a:gd name="connsiteY10" fmla="*/ 213916 h 494772"/>
                <a:gd name="connsiteX11" fmla="*/ 132424 w 261938"/>
                <a:gd name="connsiteY11" fmla="*/ 87313 h 494772"/>
                <a:gd name="connsiteX12" fmla="*/ 132424 w 261938"/>
                <a:gd name="connsiteY12" fmla="*/ 49477 h 494772"/>
                <a:gd name="connsiteX13" fmla="*/ 141155 w 261938"/>
                <a:gd name="connsiteY13" fmla="*/ 23283 h 494772"/>
                <a:gd name="connsiteX14" fmla="*/ 168805 w 261938"/>
                <a:gd name="connsiteY14" fmla="*/ 13097 h 494772"/>
                <a:gd name="connsiteX15" fmla="*/ 205185 w 261938"/>
                <a:gd name="connsiteY15" fmla="*/ 49477 h 494772"/>
                <a:gd name="connsiteX16" fmla="*/ 256117 w 261938"/>
                <a:gd name="connsiteY16" fmla="*/ 100410 h 494772"/>
                <a:gd name="connsiteX17" fmla="*/ 263393 w 261938"/>
                <a:gd name="connsiteY17" fmla="*/ 93134 h 494772"/>
                <a:gd name="connsiteX18" fmla="*/ 256117 w 261938"/>
                <a:gd name="connsiteY18" fmla="*/ 87313 h 494772"/>
                <a:gd name="connsiteX19" fmla="*/ 235744 w 261938"/>
                <a:gd name="connsiteY19" fmla="*/ 213916 h 494772"/>
                <a:gd name="connsiteX20" fmla="*/ 235744 w 261938"/>
                <a:gd name="connsiteY20" fmla="*/ 218282 h 494772"/>
                <a:gd name="connsiteX21" fmla="*/ 160073 w 261938"/>
                <a:gd name="connsiteY21" fmla="*/ 218282 h 494772"/>
                <a:gd name="connsiteX22" fmla="*/ 152797 w 261938"/>
                <a:gd name="connsiteY22" fmla="*/ 225558 h 494772"/>
                <a:gd name="connsiteX23" fmla="*/ 160073 w 261938"/>
                <a:gd name="connsiteY23" fmla="*/ 232834 h 494772"/>
                <a:gd name="connsiteX24" fmla="*/ 235744 w 261938"/>
                <a:gd name="connsiteY24" fmla="*/ 232834 h 494772"/>
                <a:gd name="connsiteX25" fmla="*/ 235744 w 261938"/>
                <a:gd name="connsiteY25" fmla="*/ 368169 h 494772"/>
                <a:gd name="connsiteX26" fmla="*/ 125148 w 261938"/>
                <a:gd name="connsiteY26" fmla="*/ 480220 h 494772"/>
                <a:gd name="connsiteX27" fmla="*/ 14552 w 261938"/>
                <a:gd name="connsiteY27" fmla="*/ 368169 h 494772"/>
                <a:gd name="connsiteX28" fmla="*/ 14552 w 261938"/>
                <a:gd name="connsiteY28" fmla="*/ 232834 h 494772"/>
                <a:gd name="connsiteX29" fmla="*/ 90223 w 261938"/>
                <a:gd name="connsiteY29" fmla="*/ 232834 h 494772"/>
                <a:gd name="connsiteX30" fmla="*/ 97499 w 261938"/>
                <a:gd name="connsiteY30" fmla="*/ 225558 h 494772"/>
                <a:gd name="connsiteX31" fmla="*/ 90223 w 261938"/>
                <a:gd name="connsiteY31" fmla="*/ 218282 h 494772"/>
                <a:gd name="connsiteX32" fmla="*/ 14552 w 261938"/>
                <a:gd name="connsiteY32" fmla="*/ 218282 h 494772"/>
                <a:gd name="connsiteX33" fmla="*/ 14552 w 261938"/>
                <a:gd name="connsiteY33" fmla="*/ 213916 h 494772"/>
                <a:gd name="connsiteX34" fmla="*/ 125148 w 261938"/>
                <a:gd name="connsiteY34" fmla="*/ 101865 h 494772"/>
                <a:gd name="connsiteX35" fmla="*/ 235744 w 261938"/>
                <a:gd name="connsiteY35" fmla="*/ 213916 h 49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1938" h="494772">
                  <a:moveTo>
                    <a:pt x="256117" y="87313"/>
                  </a:moveTo>
                  <a:cubicBezTo>
                    <a:pt x="221192" y="87313"/>
                    <a:pt x="219737" y="55298"/>
                    <a:pt x="219737" y="50932"/>
                  </a:cubicBezTo>
                  <a:cubicBezTo>
                    <a:pt x="219737" y="33470"/>
                    <a:pt x="209550" y="0"/>
                    <a:pt x="168805" y="0"/>
                  </a:cubicBezTo>
                  <a:cubicBezTo>
                    <a:pt x="152797" y="0"/>
                    <a:pt x="139700" y="4366"/>
                    <a:pt x="130969" y="14552"/>
                  </a:cubicBezTo>
                  <a:cubicBezTo>
                    <a:pt x="116417" y="29104"/>
                    <a:pt x="117872" y="50932"/>
                    <a:pt x="117872" y="50932"/>
                  </a:cubicBezTo>
                  <a:lnTo>
                    <a:pt x="117872" y="87313"/>
                  </a:lnTo>
                  <a:cubicBezTo>
                    <a:pt x="52388" y="91678"/>
                    <a:pt x="0" y="146976"/>
                    <a:pt x="0" y="213916"/>
                  </a:cubicBezTo>
                  <a:lnTo>
                    <a:pt x="0" y="368169"/>
                  </a:lnTo>
                  <a:cubicBezTo>
                    <a:pt x="0" y="438019"/>
                    <a:pt x="56753" y="494772"/>
                    <a:pt x="125148" y="494772"/>
                  </a:cubicBezTo>
                  <a:cubicBezTo>
                    <a:pt x="193543" y="494772"/>
                    <a:pt x="250296" y="438019"/>
                    <a:pt x="250296" y="368169"/>
                  </a:cubicBezTo>
                  <a:lnTo>
                    <a:pt x="250296" y="213916"/>
                  </a:lnTo>
                  <a:cubicBezTo>
                    <a:pt x="250296" y="146976"/>
                    <a:pt x="197909" y="91678"/>
                    <a:pt x="132424" y="87313"/>
                  </a:cubicBezTo>
                  <a:lnTo>
                    <a:pt x="132424" y="49477"/>
                  </a:lnTo>
                  <a:cubicBezTo>
                    <a:pt x="132424" y="49477"/>
                    <a:pt x="132424" y="33470"/>
                    <a:pt x="141155" y="23283"/>
                  </a:cubicBezTo>
                  <a:cubicBezTo>
                    <a:pt x="146976" y="17463"/>
                    <a:pt x="155708" y="13097"/>
                    <a:pt x="168805" y="13097"/>
                  </a:cubicBezTo>
                  <a:cubicBezTo>
                    <a:pt x="203730" y="13097"/>
                    <a:pt x="205185" y="45112"/>
                    <a:pt x="205185" y="49477"/>
                  </a:cubicBezTo>
                  <a:cubicBezTo>
                    <a:pt x="205185" y="66940"/>
                    <a:pt x="215371" y="100410"/>
                    <a:pt x="256117" y="100410"/>
                  </a:cubicBezTo>
                  <a:cubicBezTo>
                    <a:pt x="260483" y="100410"/>
                    <a:pt x="263393" y="97499"/>
                    <a:pt x="263393" y="93134"/>
                  </a:cubicBezTo>
                  <a:cubicBezTo>
                    <a:pt x="263393" y="90223"/>
                    <a:pt x="260483" y="87313"/>
                    <a:pt x="256117" y="87313"/>
                  </a:cubicBezTo>
                  <a:close/>
                  <a:moveTo>
                    <a:pt x="235744" y="213916"/>
                  </a:moveTo>
                  <a:lnTo>
                    <a:pt x="235744" y="218282"/>
                  </a:lnTo>
                  <a:lnTo>
                    <a:pt x="160073" y="218282"/>
                  </a:lnTo>
                  <a:cubicBezTo>
                    <a:pt x="155708" y="218282"/>
                    <a:pt x="152797" y="221192"/>
                    <a:pt x="152797" y="225558"/>
                  </a:cubicBezTo>
                  <a:cubicBezTo>
                    <a:pt x="152797" y="229923"/>
                    <a:pt x="155708" y="232834"/>
                    <a:pt x="160073" y="232834"/>
                  </a:cubicBezTo>
                  <a:lnTo>
                    <a:pt x="235744" y="232834"/>
                  </a:lnTo>
                  <a:lnTo>
                    <a:pt x="235744" y="368169"/>
                  </a:lnTo>
                  <a:cubicBezTo>
                    <a:pt x="235744" y="430743"/>
                    <a:pt x="186267" y="480220"/>
                    <a:pt x="125148" y="480220"/>
                  </a:cubicBezTo>
                  <a:cubicBezTo>
                    <a:pt x="64029" y="480220"/>
                    <a:pt x="14552" y="429287"/>
                    <a:pt x="14552" y="368169"/>
                  </a:cubicBezTo>
                  <a:lnTo>
                    <a:pt x="14552" y="232834"/>
                  </a:lnTo>
                  <a:lnTo>
                    <a:pt x="90223" y="232834"/>
                  </a:lnTo>
                  <a:cubicBezTo>
                    <a:pt x="94589" y="232834"/>
                    <a:pt x="97499" y="229923"/>
                    <a:pt x="97499" y="225558"/>
                  </a:cubicBezTo>
                  <a:cubicBezTo>
                    <a:pt x="97499" y="221192"/>
                    <a:pt x="94589" y="218282"/>
                    <a:pt x="90223" y="218282"/>
                  </a:cubicBezTo>
                  <a:lnTo>
                    <a:pt x="14552" y="218282"/>
                  </a:lnTo>
                  <a:lnTo>
                    <a:pt x="14552" y="213916"/>
                  </a:lnTo>
                  <a:cubicBezTo>
                    <a:pt x="14552" y="152797"/>
                    <a:pt x="64029" y="101865"/>
                    <a:pt x="125148" y="101865"/>
                  </a:cubicBezTo>
                  <a:cubicBezTo>
                    <a:pt x="186267" y="101865"/>
                    <a:pt x="235744" y="152797"/>
                    <a:pt x="235744" y="213916"/>
                  </a:cubicBezTo>
                  <a:close/>
                </a:path>
              </a:pathLst>
            </a:custGeom>
            <a:solidFill>
              <a:srgbClr val="101010"/>
            </a:solidFill>
            <a:ln w="14288" cap="flat">
              <a:noFill/>
              <a:prstDash val="solid"/>
              <a:miter/>
            </a:ln>
          </p:spPr>
          <p:txBody>
            <a:bodyPr rtlCol="0" anchor="ctr"/>
            <a:lstStyle/>
            <a:p>
              <a:endParaRPr lang="de-DE"/>
            </a:p>
          </p:txBody>
        </p:sp>
      </p:grpSp>
      <p:sp>
        <p:nvSpPr>
          <p:cNvPr id="5189" name="Graphic 3">
            <a:extLst>
              <a:ext uri="{FF2B5EF4-FFF2-40B4-BE49-F238E27FC236}">
                <a16:creationId xmlns:a16="http://schemas.microsoft.com/office/drawing/2014/main" id="{FEA0938F-BE95-4DE7-83F0-9B259472A6DB}"/>
              </a:ext>
              <a:ext uri="{C183D7F6-B498-43B3-948B-1728B52AA6E4}">
                <adec:decorative xmlns:adec="http://schemas.microsoft.com/office/drawing/2017/decorative" val="1"/>
              </a:ext>
            </a:extLst>
          </p:cNvPr>
          <p:cNvSpPr>
            <a:spLocks noChangeAspect="1"/>
          </p:cNvSpPr>
          <p:nvPr/>
        </p:nvSpPr>
        <p:spPr>
          <a:xfrm>
            <a:off x="1918834" y="3813612"/>
            <a:ext cx="77426" cy="122252"/>
          </a:xfrm>
          <a:custGeom>
            <a:avLst/>
            <a:gdLst>
              <a:gd name="connsiteX0" fmla="*/ 149543 w 180975"/>
              <a:gd name="connsiteY0" fmla="*/ 217544 h 285750"/>
              <a:gd name="connsiteX1" fmla="*/ 149543 w 180975"/>
              <a:gd name="connsiteY1" fmla="*/ 217544 h 285750"/>
              <a:gd name="connsiteX2" fmla="*/ 141923 w 180975"/>
              <a:gd name="connsiteY2" fmla="*/ 203256 h 285750"/>
              <a:gd name="connsiteX3" fmla="*/ 174308 w 180975"/>
              <a:gd name="connsiteY3" fmla="*/ 136581 h 285750"/>
              <a:gd name="connsiteX4" fmla="*/ 171450 w 180975"/>
              <a:gd name="connsiteY4" fmla="*/ 61334 h 285750"/>
              <a:gd name="connsiteX5" fmla="*/ 133350 w 180975"/>
              <a:gd name="connsiteY5" fmla="*/ 31806 h 285750"/>
              <a:gd name="connsiteX6" fmla="*/ 104775 w 180975"/>
              <a:gd name="connsiteY6" fmla="*/ 374 h 285750"/>
              <a:gd name="connsiteX7" fmla="*/ 96203 w 180975"/>
              <a:gd name="connsiteY7" fmla="*/ 2279 h 285750"/>
              <a:gd name="connsiteX8" fmla="*/ 93345 w 180975"/>
              <a:gd name="connsiteY8" fmla="*/ 9899 h 285750"/>
              <a:gd name="connsiteX9" fmla="*/ 93345 w 180975"/>
              <a:gd name="connsiteY9" fmla="*/ 30854 h 285750"/>
              <a:gd name="connsiteX10" fmla="*/ 78105 w 180975"/>
              <a:gd name="connsiteY10" fmla="*/ 50856 h 285750"/>
              <a:gd name="connsiteX11" fmla="*/ 78105 w 180975"/>
              <a:gd name="connsiteY11" fmla="*/ 51809 h 285750"/>
              <a:gd name="connsiteX12" fmla="*/ 52388 w 180975"/>
              <a:gd name="connsiteY12" fmla="*/ 91814 h 285750"/>
              <a:gd name="connsiteX13" fmla="*/ 47625 w 180975"/>
              <a:gd name="connsiteY13" fmla="*/ 101339 h 285750"/>
              <a:gd name="connsiteX14" fmla="*/ 76200 w 180975"/>
              <a:gd name="connsiteY14" fmla="*/ 132771 h 285750"/>
              <a:gd name="connsiteX15" fmla="*/ 89535 w 180975"/>
              <a:gd name="connsiteY15" fmla="*/ 127056 h 285750"/>
              <a:gd name="connsiteX16" fmla="*/ 99060 w 180975"/>
              <a:gd name="connsiteY16" fmla="*/ 116579 h 285750"/>
              <a:gd name="connsiteX17" fmla="*/ 100013 w 180975"/>
              <a:gd name="connsiteY17" fmla="*/ 116579 h 285750"/>
              <a:gd name="connsiteX18" fmla="*/ 120968 w 180975"/>
              <a:gd name="connsiteY18" fmla="*/ 113721 h 285750"/>
              <a:gd name="connsiteX19" fmla="*/ 80010 w 180975"/>
              <a:gd name="connsiteY19" fmla="*/ 156584 h 285750"/>
              <a:gd name="connsiteX20" fmla="*/ 46673 w 180975"/>
              <a:gd name="connsiteY20" fmla="*/ 202304 h 285750"/>
              <a:gd name="connsiteX21" fmla="*/ 46673 w 180975"/>
              <a:gd name="connsiteY21" fmla="*/ 202304 h 285750"/>
              <a:gd name="connsiteX22" fmla="*/ 31433 w 180975"/>
              <a:gd name="connsiteY22" fmla="*/ 217544 h 285750"/>
              <a:gd name="connsiteX23" fmla="*/ 31433 w 180975"/>
              <a:gd name="connsiteY23" fmla="*/ 218496 h 285750"/>
              <a:gd name="connsiteX24" fmla="*/ 0 w 180975"/>
              <a:gd name="connsiteY24" fmla="*/ 252786 h 285750"/>
              <a:gd name="connsiteX25" fmla="*/ 0 w 180975"/>
              <a:gd name="connsiteY25" fmla="*/ 273741 h 285750"/>
              <a:gd name="connsiteX26" fmla="*/ 15240 w 180975"/>
              <a:gd name="connsiteY26" fmla="*/ 288981 h 285750"/>
              <a:gd name="connsiteX27" fmla="*/ 165735 w 180975"/>
              <a:gd name="connsiteY27" fmla="*/ 288981 h 285750"/>
              <a:gd name="connsiteX28" fmla="*/ 180975 w 180975"/>
              <a:gd name="connsiteY28" fmla="*/ 273741 h 285750"/>
              <a:gd name="connsiteX29" fmla="*/ 180975 w 180975"/>
              <a:gd name="connsiteY29" fmla="*/ 252786 h 285750"/>
              <a:gd name="connsiteX30" fmla="*/ 149543 w 180975"/>
              <a:gd name="connsiteY30" fmla="*/ 217544 h 285750"/>
              <a:gd name="connsiteX31" fmla="*/ 85725 w 180975"/>
              <a:gd name="connsiteY31" fmla="*/ 163251 h 285750"/>
              <a:gd name="connsiteX32" fmla="*/ 133350 w 180975"/>
              <a:gd name="connsiteY32" fmla="*/ 107054 h 285750"/>
              <a:gd name="connsiteX33" fmla="*/ 130493 w 180975"/>
              <a:gd name="connsiteY33" fmla="*/ 99434 h 285750"/>
              <a:gd name="connsiteX34" fmla="*/ 121920 w 180975"/>
              <a:gd name="connsiteY34" fmla="*/ 100386 h 285750"/>
              <a:gd name="connsiteX35" fmla="*/ 100965 w 180975"/>
              <a:gd name="connsiteY35" fmla="*/ 105149 h 285750"/>
              <a:gd name="connsiteX36" fmla="*/ 93345 w 180975"/>
              <a:gd name="connsiteY36" fmla="*/ 107054 h 285750"/>
              <a:gd name="connsiteX37" fmla="*/ 80963 w 180975"/>
              <a:gd name="connsiteY37" fmla="*/ 120389 h 285750"/>
              <a:gd name="connsiteX38" fmla="*/ 77153 w 180975"/>
              <a:gd name="connsiteY38" fmla="*/ 123246 h 285750"/>
              <a:gd name="connsiteX39" fmla="*/ 56198 w 180975"/>
              <a:gd name="connsiteY39" fmla="*/ 100386 h 285750"/>
              <a:gd name="connsiteX40" fmla="*/ 87630 w 180975"/>
              <a:gd name="connsiteY40" fmla="*/ 49904 h 285750"/>
              <a:gd name="connsiteX41" fmla="*/ 98108 w 180975"/>
              <a:gd name="connsiteY41" fmla="*/ 39426 h 285750"/>
              <a:gd name="connsiteX42" fmla="*/ 102870 w 180975"/>
              <a:gd name="connsiteY42" fmla="*/ 34664 h 285750"/>
              <a:gd name="connsiteX43" fmla="*/ 103823 w 180975"/>
              <a:gd name="connsiteY43" fmla="*/ 8946 h 285750"/>
              <a:gd name="connsiteX44" fmla="*/ 124778 w 180975"/>
              <a:gd name="connsiteY44" fmla="*/ 35616 h 285750"/>
              <a:gd name="connsiteX45" fmla="*/ 128588 w 180975"/>
              <a:gd name="connsiteY45" fmla="*/ 39426 h 285750"/>
              <a:gd name="connsiteX46" fmla="*/ 162878 w 180975"/>
              <a:gd name="connsiteY46" fmla="*/ 66096 h 285750"/>
              <a:gd name="connsiteX47" fmla="*/ 164783 w 180975"/>
              <a:gd name="connsiteY47" fmla="*/ 133724 h 285750"/>
              <a:gd name="connsiteX48" fmla="*/ 131445 w 180975"/>
              <a:gd name="connsiteY48" fmla="*/ 201351 h 285750"/>
              <a:gd name="connsiteX49" fmla="*/ 56198 w 180975"/>
              <a:gd name="connsiteY49" fmla="*/ 201351 h 285750"/>
              <a:gd name="connsiteX50" fmla="*/ 85725 w 180975"/>
              <a:gd name="connsiteY50" fmla="*/ 163251 h 285750"/>
              <a:gd name="connsiteX51" fmla="*/ 40958 w 180975"/>
              <a:gd name="connsiteY51" fmla="*/ 216591 h 285750"/>
              <a:gd name="connsiteX52" fmla="*/ 46673 w 180975"/>
              <a:gd name="connsiteY52" fmla="*/ 210876 h 285750"/>
              <a:gd name="connsiteX53" fmla="*/ 135255 w 180975"/>
              <a:gd name="connsiteY53" fmla="*/ 210876 h 285750"/>
              <a:gd name="connsiteX54" fmla="*/ 140970 w 180975"/>
              <a:gd name="connsiteY54" fmla="*/ 216591 h 285750"/>
              <a:gd name="connsiteX55" fmla="*/ 40958 w 180975"/>
              <a:gd name="connsiteY55" fmla="*/ 216591 h 285750"/>
              <a:gd name="connsiteX56" fmla="*/ 40958 w 180975"/>
              <a:gd name="connsiteY56" fmla="*/ 216591 h 285750"/>
              <a:gd name="connsiteX57" fmla="*/ 171450 w 180975"/>
              <a:gd name="connsiteY57" fmla="*/ 273741 h 285750"/>
              <a:gd name="connsiteX58" fmla="*/ 165735 w 180975"/>
              <a:gd name="connsiteY58" fmla="*/ 279456 h 285750"/>
              <a:gd name="connsiteX59" fmla="*/ 15240 w 180975"/>
              <a:gd name="connsiteY59" fmla="*/ 279456 h 285750"/>
              <a:gd name="connsiteX60" fmla="*/ 9525 w 180975"/>
              <a:gd name="connsiteY60" fmla="*/ 273741 h 285750"/>
              <a:gd name="connsiteX61" fmla="*/ 9525 w 180975"/>
              <a:gd name="connsiteY61" fmla="*/ 252786 h 285750"/>
              <a:gd name="connsiteX62" fmla="*/ 36195 w 180975"/>
              <a:gd name="connsiteY62" fmla="*/ 226116 h 285750"/>
              <a:gd name="connsiteX63" fmla="*/ 145733 w 180975"/>
              <a:gd name="connsiteY63" fmla="*/ 226116 h 285750"/>
              <a:gd name="connsiteX64" fmla="*/ 172403 w 180975"/>
              <a:gd name="connsiteY64" fmla="*/ 252786 h 285750"/>
              <a:gd name="connsiteX65" fmla="*/ 172403 w 180975"/>
              <a:gd name="connsiteY65" fmla="*/ 27374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285750">
                <a:moveTo>
                  <a:pt x="149543" y="217544"/>
                </a:moveTo>
                <a:lnTo>
                  <a:pt x="149543" y="217544"/>
                </a:lnTo>
                <a:cubicBezTo>
                  <a:pt x="149543" y="210876"/>
                  <a:pt x="146685" y="206114"/>
                  <a:pt x="141923" y="203256"/>
                </a:cubicBezTo>
                <a:cubicBezTo>
                  <a:pt x="157163" y="178491"/>
                  <a:pt x="168593" y="156584"/>
                  <a:pt x="174308" y="136581"/>
                </a:cubicBezTo>
                <a:cubicBezTo>
                  <a:pt x="183833" y="106101"/>
                  <a:pt x="182880" y="80384"/>
                  <a:pt x="171450" y="61334"/>
                </a:cubicBezTo>
                <a:cubicBezTo>
                  <a:pt x="160020" y="41331"/>
                  <a:pt x="140970" y="33711"/>
                  <a:pt x="133350" y="31806"/>
                </a:cubicBezTo>
                <a:cubicBezTo>
                  <a:pt x="131445" y="20376"/>
                  <a:pt x="123825" y="3231"/>
                  <a:pt x="104775" y="374"/>
                </a:cubicBezTo>
                <a:cubicBezTo>
                  <a:pt x="101918" y="-579"/>
                  <a:pt x="99060" y="374"/>
                  <a:pt x="96203" y="2279"/>
                </a:cubicBezTo>
                <a:cubicBezTo>
                  <a:pt x="95250" y="3231"/>
                  <a:pt x="93345" y="6089"/>
                  <a:pt x="93345" y="9899"/>
                </a:cubicBezTo>
                <a:lnTo>
                  <a:pt x="93345" y="30854"/>
                </a:lnTo>
                <a:cubicBezTo>
                  <a:pt x="84773" y="32759"/>
                  <a:pt x="78105" y="41331"/>
                  <a:pt x="78105" y="50856"/>
                </a:cubicBezTo>
                <a:cubicBezTo>
                  <a:pt x="78105" y="50856"/>
                  <a:pt x="78105" y="51809"/>
                  <a:pt x="78105" y="51809"/>
                </a:cubicBezTo>
                <a:cubicBezTo>
                  <a:pt x="78105" y="52761"/>
                  <a:pt x="82868" y="76574"/>
                  <a:pt x="52388" y="91814"/>
                </a:cubicBezTo>
                <a:cubicBezTo>
                  <a:pt x="48578" y="93719"/>
                  <a:pt x="46673" y="97529"/>
                  <a:pt x="47625" y="101339"/>
                </a:cubicBezTo>
                <a:cubicBezTo>
                  <a:pt x="49530" y="109911"/>
                  <a:pt x="55245" y="128961"/>
                  <a:pt x="76200" y="132771"/>
                </a:cubicBezTo>
                <a:cubicBezTo>
                  <a:pt x="80963" y="133724"/>
                  <a:pt x="86678" y="130866"/>
                  <a:pt x="89535" y="127056"/>
                </a:cubicBezTo>
                <a:cubicBezTo>
                  <a:pt x="91440" y="124199"/>
                  <a:pt x="94298" y="119436"/>
                  <a:pt x="99060" y="116579"/>
                </a:cubicBezTo>
                <a:cubicBezTo>
                  <a:pt x="99060" y="116579"/>
                  <a:pt x="100013" y="116579"/>
                  <a:pt x="100013" y="116579"/>
                </a:cubicBezTo>
                <a:cubicBezTo>
                  <a:pt x="103823" y="116579"/>
                  <a:pt x="113348" y="117531"/>
                  <a:pt x="120968" y="113721"/>
                </a:cubicBezTo>
                <a:cubicBezTo>
                  <a:pt x="116205" y="124199"/>
                  <a:pt x="104775" y="139439"/>
                  <a:pt x="80010" y="156584"/>
                </a:cubicBezTo>
                <a:cubicBezTo>
                  <a:pt x="53340" y="174681"/>
                  <a:pt x="47625" y="193731"/>
                  <a:pt x="46673" y="202304"/>
                </a:cubicBezTo>
                <a:lnTo>
                  <a:pt x="46673" y="202304"/>
                </a:lnTo>
                <a:cubicBezTo>
                  <a:pt x="38100" y="202304"/>
                  <a:pt x="31433" y="208971"/>
                  <a:pt x="31433" y="217544"/>
                </a:cubicBezTo>
                <a:lnTo>
                  <a:pt x="31433" y="218496"/>
                </a:lnTo>
                <a:cubicBezTo>
                  <a:pt x="13335" y="220401"/>
                  <a:pt x="0" y="234689"/>
                  <a:pt x="0" y="252786"/>
                </a:cubicBezTo>
                <a:lnTo>
                  <a:pt x="0" y="273741"/>
                </a:lnTo>
                <a:cubicBezTo>
                  <a:pt x="0" y="282314"/>
                  <a:pt x="6668" y="288981"/>
                  <a:pt x="15240" y="288981"/>
                </a:cubicBezTo>
                <a:lnTo>
                  <a:pt x="165735" y="288981"/>
                </a:lnTo>
                <a:cubicBezTo>
                  <a:pt x="174308" y="288981"/>
                  <a:pt x="180975" y="282314"/>
                  <a:pt x="180975" y="273741"/>
                </a:cubicBezTo>
                <a:lnTo>
                  <a:pt x="180975" y="252786"/>
                </a:lnTo>
                <a:cubicBezTo>
                  <a:pt x="180975" y="234689"/>
                  <a:pt x="167640" y="220401"/>
                  <a:pt x="149543" y="217544"/>
                </a:cubicBezTo>
                <a:close/>
                <a:moveTo>
                  <a:pt x="85725" y="163251"/>
                </a:moveTo>
                <a:cubicBezTo>
                  <a:pt x="119063" y="140391"/>
                  <a:pt x="129540" y="120389"/>
                  <a:pt x="133350" y="107054"/>
                </a:cubicBezTo>
                <a:cubicBezTo>
                  <a:pt x="134303" y="104196"/>
                  <a:pt x="132398" y="101339"/>
                  <a:pt x="130493" y="99434"/>
                </a:cubicBezTo>
                <a:cubicBezTo>
                  <a:pt x="127635" y="97529"/>
                  <a:pt x="124778" y="98481"/>
                  <a:pt x="121920" y="100386"/>
                </a:cubicBezTo>
                <a:cubicBezTo>
                  <a:pt x="116205" y="106101"/>
                  <a:pt x="105728" y="106101"/>
                  <a:pt x="100965" y="105149"/>
                </a:cubicBezTo>
                <a:cubicBezTo>
                  <a:pt x="98108" y="105149"/>
                  <a:pt x="95250" y="105149"/>
                  <a:pt x="93345" y="107054"/>
                </a:cubicBezTo>
                <a:cubicBezTo>
                  <a:pt x="87630" y="110864"/>
                  <a:pt x="82868" y="116579"/>
                  <a:pt x="80963" y="120389"/>
                </a:cubicBezTo>
                <a:cubicBezTo>
                  <a:pt x="80010" y="123246"/>
                  <a:pt x="79058" y="123246"/>
                  <a:pt x="77153" y="123246"/>
                </a:cubicBezTo>
                <a:cubicBezTo>
                  <a:pt x="62865" y="120389"/>
                  <a:pt x="58103" y="107054"/>
                  <a:pt x="56198" y="100386"/>
                </a:cubicBezTo>
                <a:cubicBezTo>
                  <a:pt x="90488" y="83241"/>
                  <a:pt x="87630" y="54666"/>
                  <a:pt x="87630" y="49904"/>
                </a:cubicBezTo>
                <a:cubicBezTo>
                  <a:pt x="87630" y="44189"/>
                  <a:pt x="92393" y="39426"/>
                  <a:pt x="98108" y="39426"/>
                </a:cubicBezTo>
                <a:cubicBezTo>
                  <a:pt x="100965" y="39426"/>
                  <a:pt x="102870" y="37521"/>
                  <a:pt x="102870" y="34664"/>
                </a:cubicBezTo>
                <a:lnTo>
                  <a:pt x="103823" y="8946"/>
                </a:lnTo>
                <a:cubicBezTo>
                  <a:pt x="122873" y="12756"/>
                  <a:pt x="124778" y="34664"/>
                  <a:pt x="124778" y="35616"/>
                </a:cubicBezTo>
                <a:cubicBezTo>
                  <a:pt x="124778" y="37521"/>
                  <a:pt x="126683" y="39426"/>
                  <a:pt x="128588" y="39426"/>
                </a:cubicBezTo>
                <a:cubicBezTo>
                  <a:pt x="128588" y="39426"/>
                  <a:pt x="151448" y="44189"/>
                  <a:pt x="162878" y="66096"/>
                </a:cubicBezTo>
                <a:cubicBezTo>
                  <a:pt x="172403" y="83241"/>
                  <a:pt x="173355" y="106101"/>
                  <a:pt x="164783" y="133724"/>
                </a:cubicBezTo>
                <a:cubicBezTo>
                  <a:pt x="158115" y="153726"/>
                  <a:pt x="147638" y="176586"/>
                  <a:pt x="131445" y="201351"/>
                </a:cubicBezTo>
                <a:lnTo>
                  <a:pt x="56198" y="201351"/>
                </a:lnTo>
                <a:cubicBezTo>
                  <a:pt x="58103" y="194684"/>
                  <a:pt x="62865" y="178491"/>
                  <a:pt x="85725" y="163251"/>
                </a:cubicBezTo>
                <a:close/>
                <a:moveTo>
                  <a:pt x="40958" y="216591"/>
                </a:moveTo>
                <a:cubicBezTo>
                  <a:pt x="40958" y="213734"/>
                  <a:pt x="43815" y="210876"/>
                  <a:pt x="46673" y="210876"/>
                </a:cubicBezTo>
                <a:lnTo>
                  <a:pt x="135255" y="210876"/>
                </a:lnTo>
                <a:cubicBezTo>
                  <a:pt x="138113" y="210876"/>
                  <a:pt x="140970" y="213734"/>
                  <a:pt x="140970" y="216591"/>
                </a:cubicBezTo>
                <a:lnTo>
                  <a:pt x="40958" y="216591"/>
                </a:lnTo>
                <a:lnTo>
                  <a:pt x="40958" y="216591"/>
                </a:lnTo>
                <a:close/>
                <a:moveTo>
                  <a:pt x="171450" y="273741"/>
                </a:moveTo>
                <a:cubicBezTo>
                  <a:pt x="171450" y="276599"/>
                  <a:pt x="168593" y="279456"/>
                  <a:pt x="165735" y="279456"/>
                </a:cubicBezTo>
                <a:lnTo>
                  <a:pt x="15240" y="279456"/>
                </a:lnTo>
                <a:cubicBezTo>
                  <a:pt x="12383" y="279456"/>
                  <a:pt x="9525" y="276599"/>
                  <a:pt x="9525" y="273741"/>
                </a:cubicBezTo>
                <a:lnTo>
                  <a:pt x="9525" y="252786"/>
                </a:lnTo>
                <a:cubicBezTo>
                  <a:pt x="9525" y="238499"/>
                  <a:pt x="20955" y="226116"/>
                  <a:pt x="36195" y="226116"/>
                </a:cubicBezTo>
                <a:lnTo>
                  <a:pt x="145733" y="226116"/>
                </a:lnTo>
                <a:cubicBezTo>
                  <a:pt x="160020" y="226116"/>
                  <a:pt x="172403" y="237546"/>
                  <a:pt x="172403" y="252786"/>
                </a:cubicBezTo>
                <a:lnTo>
                  <a:pt x="172403" y="273741"/>
                </a:lnTo>
                <a:close/>
              </a:path>
            </a:pathLst>
          </a:custGeom>
          <a:solidFill>
            <a:srgbClr val="101010"/>
          </a:solidFill>
          <a:ln w="9525" cap="flat">
            <a:noFill/>
            <a:prstDash val="solid"/>
            <a:miter/>
          </a:ln>
        </p:spPr>
        <p:txBody>
          <a:bodyPr rtlCol="0" anchor="ctr"/>
          <a:lstStyle/>
          <a:p>
            <a:endParaRPr lang="de-DE"/>
          </a:p>
        </p:txBody>
      </p:sp>
      <p:grpSp>
        <p:nvGrpSpPr>
          <p:cNvPr id="5190" name="Graphic 3">
            <a:extLst>
              <a:ext uri="{FF2B5EF4-FFF2-40B4-BE49-F238E27FC236}">
                <a16:creationId xmlns:a16="http://schemas.microsoft.com/office/drawing/2014/main" id="{3DC33F60-7469-4BF4-8C6A-4D9F7A0552DF}"/>
              </a:ext>
              <a:ext uri="{C183D7F6-B498-43B3-948B-1728B52AA6E4}">
                <adec:decorative xmlns:adec="http://schemas.microsoft.com/office/drawing/2017/decorative" val="1"/>
              </a:ext>
            </a:extLst>
          </p:cNvPr>
          <p:cNvGrpSpPr>
            <a:grpSpLocks noChangeAspect="1"/>
          </p:cNvGrpSpPr>
          <p:nvPr/>
        </p:nvGrpSpPr>
        <p:grpSpPr>
          <a:xfrm>
            <a:off x="2152865" y="3807722"/>
            <a:ext cx="98553" cy="134032"/>
            <a:chOff x="5976937" y="3267075"/>
            <a:chExt cx="238125" cy="323850"/>
          </a:xfrm>
        </p:grpSpPr>
        <p:grpSp>
          <p:nvGrpSpPr>
            <p:cNvPr id="5191" name="Graphic 3">
              <a:extLst>
                <a:ext uri="{FF2B5EF4-FFF2-40B4-BE49-F238E27FC236}">
                  <a16:creationId xmlns:a16="http://schemas.microsoft.com/office/drawing/2014/main" id="{768455CF-B9E9-4096-B689-AAD6E4EE4DEB}"/>
                </a:ext>
              </a:extLst>
            </p:cNvPr>
            <p:cNvGrpSpPr/>
            <p:nvPr/>
          </p:nvGrpSpPr>
          <p:grpSpPr>
            <a:xfrm>
              <a:off x="5976937" y="3267075"/>
              <a:ext cx="238125" cy="323850"/>
              <a:chOff x="5976937" y="3267075"/>
              <a:chExt cx="238125" cy="323850"/>
            </a:xfrm>
            <a:solidFill>
              <a:srgbClr val="101010"/>
            </a:solidFill>
          </p:grpSpPr>
          <p:sp>
            <p:nvSpPr>
              <p:cNvPr id="5195" name="Freeform: Shape 5194">
                <a:extLst>
                  <a:ext uri="{FF2B5EF4-FFF2-40B4-BE49-F238E27FC236}">
                    <a16:creationId xmlns:a16="http://schemas.microsoft.com/office/drawing/2014/main" id="{47AD19EA-70C3-4C79-903A-F665402AB821}"/>
                  </a:ext>
                </a:extLst>
              </p:cNvPr>
              <p:cNvSpPr/>
              <p:nvPr/>
            </p:nvSpPr>
            <p:spPr>
              <a:xfrm>
                <a:off x="5976937" y="3267075"/>
                <a:ext cx="238125" cy="323850"/>
              </a:xfrm>
              <a:custGeom>
                <a:avLst/>
                <a:gdLst>
                  <a:gd name="connsiteX0" fmla="*/ 204788 w 238125"/>
                  <a:gd name="connsiteY0" fmla="*/ 323850 h 323850"/>
                  <a:gd name="connsiteX1" fmla="*/ 33338 w 238125"/>
                  <a:gd name="connsiteY1" fmla="*/ 323850 h 323850"/>
                  <a:gd name="connsiteX2" fmla="*/ 0 w 238125"/>
                  <a:gd name="connsiteY2" fmla="*/ 290513 h 323850"/>
                  <a:gd name="connsiteX3" fmla="*/ 0 w 238125"/>
                  <a:gd name="connsiteY3" fmla="*/ 33338 h 323850"/>
                  <a:gd name="connsiteX4" fmla="*/ 33338 w 238125"/>
                  <a:gd name="connsiteY4" fmla="*/ 0 h 323850"/>
                  <a:gd name="connsiteX5" fmla="*/ 204788 w 238125"/>
                  <a:gd name="connsiteY5" fmla="*/ 0 h 323850"/>
                  <a:gd name="connsiteX6" fmla="*/ 238125 w 238125"/>
                  <a:gd name="connsiteY6" fmla="*/ 33338 h 323850"/>
                  <a:gd name="connsiteX7" fmla="*/ 238125 w 238125"/>
                  <a:gd name="connsiteY7" fmla="*/ 290513 h 323850"/>
                  <a:gd name="connsiteX8" fmla="*/ 204788 w 238125"/>
                  <a:gd name="connsiteY8" fmla="*/ 323850 h 323850"/>
                  <a:gd name="connsiteX9" fmla="*/ 33338 w 238125"/>
                  <a:gd name="connsiteY9" fmla="*/ 9525 h 323850"/>
                  <a:gd name="connsiteX10" fmla="*/ 9525 w 238125"/>
                  <a:gd name="connsiteY10" fmla="*/ 33338 h 323850"/>
                  <a:gd name="connsiteX11" fmla="*/ 9525 w 238125"/>
                  <a:gd name="connsiteY11" fmla="*/ 290513 h 323850"/>
                  <a:gd name="connsiteX12" fmla="*/ 33338 w 238125"/>
                  <a:gd name="connsiteY12" fmla="*/ 314325 h 323850"/>
                  <a:gd name="connsiteX13" fmla="*/ 204788 w 238125"/>
                  <a:gd name="connsiteY13" fmla="*/ 314325 h 323850"/>
                  <a:gd name="connsiteX14" fmla="*/ 228600 w 238125"/>
                  <a:gd name="connsiteY14" fmla="*/ 290513 h 323850"/>
                  <a:gd name="connsiteX15" fmla="*/ 228600 w 238125"/>
                  <a:gd name="connsiteY15" fmla="*/ 33338 h 323850"/>
                  <a:gd name="connsiteX16" fmla="*/ 204788 w 238125"/>
                  <a:gd name="connsiteY16" fmla="*/ 9525 h 323850"/>
                  <a:gd name="connsiteX17" fmla="*/ 33338 w 238125"/>
                  <a:gd name="connsiteY17" fmla="*/ 952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8125" h="323850">
                    <a:moveTo>
                      <a:pt x="204788" y="323850"/>
                    </a:moveTo>
                    <a:lnTo>
                      <a:pt x="33338" y="323850"/>
                    </a:lnTo>
                    <a:cubicBezTo>
                      <a:pt x="15240" y="323850"/>
                      <a:pt x="0" y="308610"/>
                      <a:pt x="0" y="290513"/>
                    </a:cubicBezTo>
                    <a:lnTo>
                      <a:pt x="0" y="33338"/>
                    </a:lnTo>
                    <a:cubicBezTo>
                      <a:pt x="0" y="15240"/>
                      <a:pt x="15240" y="0"/>
                      <a:pt x="33338" y="0"/>
                    </a:cubicBezTo>
                    <a:lnTo>
                      <a:pt x="204788" y="0"/>
                    </a:lnTo>
                    <a:cubicBezTo>
                      <a:pt x="222885" y="0"/>
                      <a:pt x="238125" y="15240"/>
                      <a:pt x="238125" y="33338"/>
                    </a:cubicBezTo>
                    <a:lnTo>
                      <a:pt x="238125" y="290513"/>
                    </a:lnTo>
                    <a:cubicBezTo>
                      <a:pt x="238125" y="308610"/>
                      <a:pt x="222885" y="323850"/>
                      <a:pt x="204788" y="323850"/>
                    </a:cubicBezTo>
                    <a:close/>
                    <a:moveTo>
                      <a:pt x="33338" y="9525"/>
                    </a:moveTo>
                    <a:cubicBezTo>
                      <a:pt x="20003" y="9525"/>
                      <a:pt x="9525" y="20003"/>
                      <a:pt x="9525" y="33338"/>
                    </a:cubicBezTo>
                    <a:lnTo>
                      <a:pt x="9525" y="290513"/>
                    </a:lnTo>
                    <a:cubicBezTo>
                      <a:pt x="9525" y="303848"/>
                      <a:pt x="20003" y="314325"/>
                      <a:pt x="33338" y="314325"/>
                    </a:cubicBezTo>
                    <a:lnTo>
                      <a:pt x="204788" y="314325"/>
                    </a:lnTo>
                    <a:cubicBezTo>
                      <a:pt x="218123" y="314325"/>
                      <a:pt x="228600" y="303848"/>
                      <a:pt x="228600" y="290513"/>
                    </a:cubicBezTo>
                    <a:lnTo>
                      <a:pt x="228600" y="33338"/>
                    </a:lnTo>
                    <a:cubicBezTo>
                      <a:pt x="228600" y="20003"/>
                      <a:pt x="218123" y="9525"/>
                      <a:pt x="204788" y="9525"/>
                    </a:cubicBezTo>
                    <a:lnTo>
                      <a:pt x="33338" y="9525"/>
                    </a:lnTo>
                    <a:close/>
                  </a:path>
                </a:pathLst>
              </a:custGeom>
              <a:solidFill>
                <a:srgbClr val="101010"/>
              </a:solidFill>
              <a:ln w="9525" cap="flat">
                <a:noFill/>
                <a:prstDash val="solid"/>
                <a:miter/>
              </a:ln>
            </p:spPr>
            <p:txBody>
              <a:bodyPr rtlCol="0" anchor="ctr"/>
              <a:lstStyle/>
              <a:p>
                <a:endParaRPr lang="de-DE"/>
              </a:p>
            </p:txBody>
          </p:sp>
          <p:sp>
            <p:nvSpPr>
              <p:cNvPr id="5196" name="Freeform: Shape 5195">
                <a:extLst>
                  <a:ext uri="{FF2B5EF4-FFF2-40B4-BE49-F238E27FC236}">
                    <a16:creationId xmlns:a16="http://schemas.microsoft.com/office/drawing/2014/main" id="{2B7ED215-0914-4204-B423-E5A2CB00B842}"/>
                  </a:ext>
                </a:extLst>
              </p:cNvPr>
              <p:cNvSpPr/>
              <p:nvPr/>
            </p:nvSpPr>
            <p:spPr>
              <a:xfrm>
                <a:off x="6017895" y="3393758"/>
                <a:ext cx="38100" cy="38100"/>
              </a:xfrm>
              <a:custGeom>
                <a:avLst/>
                <a:gdLst>
                  <a:gd name="connsiteX0" fmla="*/ 31432 w 38100"/>
                  <a:gd name="connsiteY0" fmla="*/ 41910 h 38100"/>
                  <a:gd name="connsiteX1" fmla="*/ 10477 w 38100"/>
                  <a:gd name="connsiteY1" fmla="*/ 41910 h 38100"/>
                  <a:gd name="connsiteX2" fmla="*/ 0 w 38100"/>
                  <a:gd name="connsiteY2" fmla="*/ 31433 h 38100"/>
                  <a:gd name="connsiteX3" fmla="*/ 0 w 38100"/>
                  <a:gd name="connsiteY3" fmla="*/ 10477 h 38100"/>
                  <a:gd name="connsiteX4" fmla="*/ 10477 w 38100"/>
                  <a:gd name="connsiteY4" fmla="*/ 0 h 38100"/>
                  <a:gd name="connsiteX5" fmla="*/ 31432 w 38100"/>
                  <a:gd name="connsiteY5" fmla="*/ 0 h 38100"/>
                  <a:gd name="connsiteX6" fmla="*/ 41910 w 38100"/>
                  <a:gd name="connsiteY6" fmla="*/ 10477 h 38100"/>
                  <a:gd name="connsiteX7" fmla="*/ 41910 w 38100"/>
                  <a:gd name="connsiteY7" fmla="*/ 31433 h 38100"/>
                  <a:gd name="connsiteX8" fmla="*/ 31432 w 38100"/>
                  <a:gd name="connsiteY8" fmla="*/ 41910 h 38100"/>
                  <a:gd name="connsiteX9" fmla="*/ 10477 w 38100"/>
                  <a:gd name="connsiteY9" fmla="*/ 9525 h 38100"/>
                  <a:gd name="connsiteX10" fmla="*/ 9525 w 38100"/>
                  <a:gd name="connsiteY10" fmla="*/ 31433 h 38100"/>
                  <a:gd name="connsiteX11" fmla="*/ 31432 w 38100"/>
                  <a:gd name="connsiteY11" fmla="*/ 32385 h 38100"/>
                  <a:gd name="connsiteX12" fmla="*/ 32385 w 38100"/>
                  <a:gd name="connsiteY12" fmla="*/ 31433 h 38100"/>
                  <a:gd name="connsiteX13" fmla="*/ 32385 w 38100"/>
                  <a:gd name="connsiteY13" fmla="*/ 10477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2" y="41910"/>
                    </a:moveTo>
                    <a:lnTo>
                      <a:pt x="10477" y="41910"/>
                    </a:lnTo>
                    <a:cubicBezTo>
                      <a:pt x="4763" y="41910"/>
                      <a:pt x="0" y="37148"/>
                      <a:pt x="0" y="31433"/>
                    </a:cubicBezTo>
                    <a:lnTo>
                      <a:pt x="0" y="10477"/>
                    </a:lnTo>
                    <a:cubicBezTo>
                      <a:pt x="0" y="4763"/>
                      <a:pt x="4763" y="0"/>
                      <a:pt x="10477" y="0"/>
                    </a:cubicBezTo>
                    <a:lnTo>
                      <a:pt x="31432" y="0"/>
                    </a:lnTo>
                    <a:cubicBezTo>
                      <a:pt x="37147" y="0"/>
                      <a:pt x="41910" y="4763"/>
                      <a:pt x="41910" y="10477"/>
                    </a:cubicBezTo>
                    <a:lnTo>
                      <a:pt x="41910" y="31433"/>
                    </a:lnTo>
                    <a:cubicBezTo>
                      <a:pt x="41910" y="37148"/>
                      <a:pt x="37147" y="41910"/>
                      <a:pt x="31432" y="41910"/>
                    </a:cubicBezTo>
                    <a:close/>
                    <a:moveTo>
                      <a:pt x="10477" y="9525"/>
                    </a:moveTo>
                    <a:lnTo>
                      <a:pt x="9525" y="31433"/>
                    </a:lnTo>
                    <a:lnTo>
                      <a:pt x="31432" y="32385"/>
                    </a:lnTo>
                    <a:cubicBezTo>
                      <a:pt x="31432" y="32385"/>
                      <a:pt x="32385" y="32385"/>
                      <a:pt x="32385" y="31433"/>
                    </a:cubicBezTo>
                    <a:lnTo>
                      <a:pt x="32385" y="10477"/>
                    </a:lnTo>
                    <a:lnTo>
                      <a:pt x="10477" y="9525"/>
                    </a:lnTo>
                    <a:close/>
                  </a:path>
                </a:pathLst>
              </a:custGeom>
              <a:solidFill>
                <a:srgbClr val="101010"/>
              </a:solidFill>
              <a:ln w="9525" cap="flat">
                <a:noFill/>
                <a:prstDash val="solid"/>
                <a:miter/>
              </a:ln>
            </p:spPr>
            <p:txBody>
              <a:bodyPr rtlCol="0" anchor="ctr"/>
              <a:lstStyle/>
              <a:p>
                <a:endParaRPr lang="de-DE"/>
              </a:p>
            </p:txBody>
          </p:sp>
          <p:sp>
            <p:nvSpPr>
              <p:cNvPr id="5197" name="Freeform: Shape 5196">
                <a:extLst>
                  <a:ext uri="{FF2B5EF4-FFF2-40B4-BE49-F238E27FC236}">
                    <a16:creationId xmlns:a16="http://schemas.microsoft.com/office/drawing/2014/main" id="{A35C5235-5769-42B5-8944-B5D2CA879E28}"/>
                  </a:ext>
                </a:extLst>
              </p:cNvPr>
              <p:cNvSpPr/>
              <p:nvPr/>
            </p:nvSpPr>
            <p:spPr>
              <a:xfrm>
                <a:off x="6017895" y="3450907"/>
                <a:ext cx="38100" cy="38100"/>
              </a:xfrm>
              <a:custGeom>
                <a:avLst/>
                <a:gdLst>
                  <a:gd name="connsiteX0" fmla="*/ 31432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2 w 38100"/>
                  <a:gd name="connsiteY5" fmla="*/ 0 h 38100"/>
                  <a:gd name="connsiteX6" fmla="*/ 41910 w 38100"/>
                  <a:gd name="connsiteY6" fmla="*/ 10478 h 38100"/>
                  <a:gd name="connsiteX7" fmla="*/ 41910 w 38100"/>
                  <a:gd name="connsiteY7" fmla="*/ 31433 h 38100"/>
                  <a:gd name="connsiteX8" fmla="*/ 31432 w 38100"/>
                  <a:gd name="connsiteY8" fmla="*/ 41910 h 38100"/>
                  <a:gd name="connsiteX9" fmla="*/ 10477 w 38100"/>
                  <a:gd name="connsiteY9" fmla="*/ 9525 h 38100"/>
                  <a:gd name="connsiteX10" fmla="*/ 9525 w 38100"/>
                  <a:gd name="connsiteY10" fmla="*/ 31433 h 38100"/>
                  <a:gd name="connsiteX11" fmla="*/ 31432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2" y="41910"/>
                    </a:moveTo>
                    <a:lnTo>
                      <a:pt x="10477" y="41910"/>
                    </a:lnTo>
                    <a:cubicBezTo>
                      <a:pt x="4763" y="41910"/>
                      <a:pt x="0" y="37148"/>
                      <a:pt x="0" y="31433"/>
                    </a:cubicBezTo>
                    <a:lnTo>
                      <a:pt x="0" y="10478"/>
                    </a:lnTo>
                    <a:cubicBezTo>
                      <a:pt x="0" y="4763"/>
                      <a:pt x="4763" y="0"/>
                      <a:pt x="10477" y="0"/>
                    </a:cubicBezTo>
                    <a:lnTo>
                      <a:pt x="31432" y="0"/>
                    </a:lnTo>
                    <a:cubicBezTo>
                      <a:pt x="37147" y="0"/>
                      <a:pt x="41910" y="4763"/>
                      <a:pt x="41910" y="10478"/>
                    </a:cubicBezTo>
                    <a:lnTo>
                      <a:pt x="41910" y="31433"/>
                    </a:lnTo>
                    <a:cubicBezTo>
                      <a:pt x="41910" y="37148"/>
                      <a:pt x="37147" y="41910"/>
                      <a:pt x="31432" y="41910"/>
                    </a:cubicBezTo>
                    <a:close/>
                    <a:moveTo>
                      <a:pt x="10477" y="9525"/>
                    </a:moveTo>
                    <a:lnTo>
                      <a:pt x="9525" y="31433"/>
                    </a:lnTo>
                    <a:lnTo>
                      <a:pt x="31432" y="32385"/>
                    </a:lnTo>
                    <a:cubicBezTo>
                      <a:pt x="31432"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198" name="Freeform: Shape 5197">
                <a:extLst>
                  <a:ext uri="{FF2B5EF4-FFF2-40B4-BE49-F238E27FC236}">
                    <a16:creationId xmlns:a16="http://schemas.microsoft.com/office/drawing/2014/main" id="{1B4CB9F3-3836-44D3-BD7D-732D80E2BAF2}"/>
                  </a:ext>
                </a:extLst>
              </p:cNvPr>
              <p:cNvSpPr/>
              <p:nvPr/>
            </p:nvSpPr>
            <p:spPr>
              <a:xfrm>
                <a:off x="6017895" y="3508057"/>
                <a:ext cx="38100" cy="38100"/>
              </a:xfrm>
              <a:custGeom>
                <a:avLst/>
                <a:gdLst>
                  <a:gd name="connsiteX0" fmla="*/ 31432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2 w 38100"/>
                  <a:gd name="connsiteY5" fmla="*/ 0 h 38100"/>
                  <a:gd name="connsiteX6" fmla="*/ 41910 w 38100"/>
                  <a:gd name="connsiteY6" fmla="*/ 10478 h 38100"/>
                  <a:gd name="connsiteX7" fmla="*/ 41910 w 38100"/>
                  <a:gd name="connsiteY7" fmla="*/ 31433 h 38100"/>
                  <a:gd name="connsiteX8" fmla="*/ 31432 w 38100"/>
                  <a:gd name="connsiteY8" fmla="*/ 41910 h 38100"/>
                  <a:gd name="connsiteX9" fmla="*/ 10477 w 38100"/>
                  <a:gd name="connsiteY9" fmla="*/ 9525 h 38100"/>
                  <a:gd name="connsiteX10" fmla="*/ 9525 w 38100"/>
                  <a:gd name="connsiteY10" fmla="*/ 31433 h 38100"/>
                  <a:gd name="connsiteX11" fmla="*/ 31432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2" y="41910"/>
                    </a:moveTo>
                    <a:lnTo>
                      <a:pt x="10477" y="41910"/>
                    </a:lnTo>
                    <a:cubicBezTo>
                      <a:pt x="4763" y="41910"/>
                      <a:pt x="0" y="37148"/>
                      <a:pt x="0" y="31433"/>
                    </a:cubicBezTo>
                    <a:lnTo>
                      <a:pt x="0" y="10478"/>
                    </a:lnTo>
                    <a:cubicBezTo>
                      <a:pt x="0" y="4763"/>
                      <a:pt x="4763" y="0"/>
                      <a:pt x="10477" y="0"/>
                    </a:cubicBezTo>
                    <a:lnTo>
                      <a:pt x="31432" y="0"/>
                    </a:lnTo>
                    <a:cubicBezTo>
                      <a:pt x="37147" y="0"/>
                      <a:pt x="41910" y="4763"/>
                      <a:pt x="41910" y="10478"/>
                    </a:cubicBezTo>
                    <a:lnTo>
                      <a:pt x="41910" y="31433"/>
                    </a:lnTo>
                    <a:cubicBezTo>
                      <a:pt x="41910" y="37148"/>
                      <a:pt x="37147" y="41910"/>
                      <a:pt x="31432" y="41910"/>
                    </a:cubicBezTo>
                    <a:close/>
                    <a:moveTo>
                      <a:pt x="10477" y="9525"/>
                    </a:moveTo>
                    <a:lnTo>
                      <a:pt x="9525" y="31433"/>
                    </a:lnTo>
                    <a:lnTo>
                      <a:pt x="31432" y="32385"/>
                    </a:lnTo>
                    <a:cubicBezTo>
                      <a:pt x="31432"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199" name="Freeform: Shape 5198">
                <a:extLst>
                  <a:ext uri="{FF2B5EF4-FFF2-40B4-BE49-F238E27FC236}">
                    <a16:creationId xmlns:a16="http://schemas.microsoft.com/office/drawing/2014/main" id="{CB29318C-AD43-49A6-9041-FC7344B0CA50}"/>
                  </a:ext>
                </a:extLst>
              </p:cNvPr>
              <p:cNvSpPr/>
              <p:nvPr/>
            </p:nvSpPr>
            <p:spPr>
              <a:xfrm>
                <a:off x="6075045" y="3393758"/>
                <a:ext cx="38100" cy="38100"/>
              </a:xfrm>
              <a:custGeom>
                <a:avLst/>
                <a:gdLst>
                  <a:gd name="connsiteX0" fmla="*/ 31433 w 38100"/>
                  <a:gd name="connsiteY0" fmla="*/ 41910 h 38100"/>
                  <a:gd name="connsiteX1" fmla="*/ 10477 w 38100"/>
                  <a:gd name="connsiteY1" fmla="*/ 41910 h 38100"/>
                  <a:gd name="connsiteX2" fmla="*/ 0 w 38100"/>
                  <a:gd name="connsiteY2" fmla="*/ 31433 h 38100"/>
                  <a:gd name="connsiteX3" fmla="*/ 0 w 38100"/>
                  <a:gd name="connsiteY3" fmla="*/ 10477 h 38100"/>
                  <a:gd name="connsiteX4" fmla="*/ 10477 w 38100"/>
                  <a:gd name="connsiteY4" fmla="*/ 0 h 38100"/>
                  <a:gd name="connsiteX5" fmla="*/ 31433 w 38100"/>
                  <a:gd name="connsiteY5" fmla="*/ 0 h 38100"/>
                  <a:gd name="connsiteX6" fmla="*/ 41910 w 38100"/>
                  <a:gd name="connsiteY6" fmla="*/ 10477 h 38100"/>
                  <a:gd name="connsiteX7" fmla="*/ 41910 w 38100"/>
                  <a:gd name="connsiteY7" fmla="*/ 31433 h 38100"/>
                  <a:gd name="connsiteX8" fmla="*/ 31433 w 38100"/>
                  <a:gd name="connsiteY8" fmla="*/ 41910 h 38100"/>
                  <a:gd name="connsiteX9" fmla="*/ 10477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7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7" y="41910"/>
                    </a:lnTo>
                    <a:cubicBezTo>
                      <a:pt x="4763" y="41910"/>
                      <a:pt x="0" y="37148"/>
                      <a:pt x="0" y="31433"/>
                    </a:cubicBezTo>
                    <a:lnTo>
                      <a:pt x="0" y="10477"/>
                    </a:lnTo>
                    <a:cubicBezTo>
                      <a:pt x="0" y="4763"/>
                      <a:pt x="4763" y="0"/>
                      <a:pt x="10477" y="0"/>
                    </a:cubicBezTo>
                    <a:lnTo>
                      <a:pt x="31433" y="0"/>
                    </a:lnTo>
                    <a:cubicBezTo>
                      <a:pt x="37147" y="0"/>
                      <a:pt x="41910" y="4763"/>
                      <a:pt x="41910" y="10477"/>
                    </a:cubicBezTo>
                    <a:lnTo>
                      <a:pt x="41910" y="31433"/>
                    </a:lnTo>
                    <a:cubicBezTo>
                      <a:pt x="41910" y="37148"/>
                      <a:pt x="37147" y="41910"/>
                      <a:pt x="31433" y="41910"/>
                    </a:cubicBezTo>
                    <a:close/>
                    <a:moveTo>
                      <a:pt x="10477" y="9525"/>
                    </a:moveTo>
                    <a:lnTo>
                      <a:pt x="9525" y="31433"/>
                    </a:lnTo>
                    <a:lnTo>
                      <a:pt x="31433" y="32385"/>
                    </a:lnTo>
                    <a:cubicBezTo>
                      <a:pt x="31433" y="32385"/>
                      <a:pt x="32385" y="32385"/>
                      <a:pt x="32385" y="31433"/>
                    </a:cubicBezTo>
                    <a:lnTo>
                      <a:pt x="32385" y="10477"/>
                    </a:lnTo>
                    <a:lnTo>
                      <a:pt x="10477" y="9525"/>
                    </a:lnTo>
                    <a:close/>
                  </a:path>
                </a:pathLst>
              </a:custGeom>
              <a:solidFill>
                <a:srgbClr val="101010"/>
              </a:solidFill>
              <a:ln w="9525" cap="flat">
                <a:noFill/>
                <a:prstDash val="solid"/>
                <a:miter/>
              </a:ln>
            </p:spPr>
            <p:txBody>
              <a:bodyPr rtlCol="0" anchor="ctr"/>
              <a:lstStyle/>
              <a:p>
                <a:endParaRPr lang="de-DE"/>
              </a:p>
            </p:txBody>
          </p:sp>
          <p:sp>
            <p:nvSpPr>
              <p:cNvPr id="5200" name="Freeform: Shape 5199">
                <a:extLst>
                  <a:ext uri="{FF2B5EF4-FFF2-40B4-BE49-F238E27FC236}">
                    <a16:creationId xmlns:a16="http://schemas.microsoft.com/office/drawing/2014/main" id="{DDD8157E-8986-4CA3-9CD9-F1F87E60BEEE}"/>
                  </a:ext>
                </a:extLst>
              </p:cNvPr>
              <p:cNvSpPr/>
              <p:nvPr/>
            </p:nvSpPr>
            <p:spPr>
              <a:xfrm>
                <a:off x="6132194" y="3393758"/>
                <a:ext cx="38100" cy="38100"/>
              </a:xfrm>
              <a:custGeom>
                <a:avLst/>
                <a:gdLst>
                  <a:gd name="connsiteX0" fmla="*/ 31433 w 38100"/>
                  <a:gd name="connsiteY0" fmla="*/ 41910 h 38100"/>
                  <a:gd name="connsiteX1" fmla="*/ 10478 w 38100"/>
                  <a:gd name="connsiteY1" fmla="*/ 41910 h 38100"/>
                  <a:gd name="connsiteX2" fmla="*/ 0 w 38100"/>
                  <a:gd name="connsiteY2" fmla="*/ 31433 h 38100"/>
                  <a:gd name="connsiteX3" fmla="*/ 0 w 38100"/>
                  <a:gd name="connsiteY3" fmla="*/ 10477 h 38100"/>
                  <a:gd name="connsiteX4" fmla="*/ 10478 w 38100"/>
                  <a:gd name="connsiteY4" fmla="*/ 0 h 38100"/>
                  <a:gd name="connsiteX5" fmla="*/ 31433 w 38100"/>
                  <a:gd name="connsiteY5" fmla="*/ 0 h 38100"/>
                  <a:gd name="connsiteX6" fmla="*/ 41910 w 38100"/>
                  <a:gd name="connsiteY6" fmla="*/ 10477 h 38100"/>
                  <a:gd name="connsiteX7" fmla="*/ 41910 w 38100"/>
                  <a:gd name="connsiteY7" fmla="*/ 31433 h 38100"/>
                  <a:gd name="connsiteX8" fmla="*/ 31433 w 38100"/>
                  <a:gd name="connsiteY8" fmla="*/ 41910 h 38100"/>
                  <a:gd name="connsiteX9" fmla="*/ 10478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7 h 38100"/>
                  <a:gd name="connsiteX14" fmla="*/ 10478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8" y="41910"/>
                    </a:lnTo>
                    <a:cubicBezTo>
                      <a:pt x="4763" y="41910"/>
                      <a:pt x="0" y="37148"/>
                      <a:pt x="0" y="31433"/>
                    </a:cubicBezTo>
                    <a:lnTo>
                      <a:pt x="0" y="10477"/>
                    </a:lnTo>
                    <a:cubicBezTo>
                      <a:pt x="0" y="4763"/>
                      <a:pt x="4763" y="0"/>
                      <a:pt x="10478" y="0"/>
                    </a:cubicBezTo>
                    <a:lnTo>
                      <a:pt x="31433" y="0"/>
                    </a:lnTo>
                    <a:cubicBezTo>
                      <a:pt x="37148" y="0"/>
                      <a:pt x="41910" y="4763"/>
                      <a:pt x="41910" y="10477"/>
                    </a:cubicBezTo>
                    <a:lnTo>
                      <a:pt x="41910" y="31433"/>
                    </a:lnTo>
                    <a:cubicBezTo>
                      <a:pt x="41910" y="37148"/>
                      <a:pt x="37148" y="41910"/>
                      <a:pt x="31433" y="41910"/>
                    </a:cubicBezTo>
                    <a:close/>
                    <a:moveTo>
                      <a:pt x="10478" y="9525"/>
                    </a:moveTo>
                    <a:lnTo>
                      <a:pt x="9525" y="31433"/>
                    </a:lnTo>
                    <a:lnTo>
                      <a:pt x="31433" y="32385"/>
                    </a:lnTo>
                    <a:cubicBezTo>
                      <a:pt x="31433" y="32385"/>
                      <a:pt x="32385" y="32385"/>
                      <a:pt x="32385" y="31433"/>
                    </a:cubicBezTo>
                    <a:lnTo>
                      <a:pt x="32385" y="10477"/>
                    </a:lnTo>
                    <a:lnTo>
                      <a:pt x="10478" y="9525"/>
                    </a:lnTo>
                    <a:close/>
                  </a:path>
                </a:pathLst>
              </a:custGeom>
              <a:solidFill>
                <a:srgbClr val="101010"/>
              </a:solidFill>
              <a:ln w="9525" cap="flat">
                <a:noFill/>
                <a:prstDash val="solid"/>
                <a:miter/>
              </a:ln>
            </p:spPr>
            <p:txBody>
              <a:bodyPr rtlCol="0" anchor="ctr"/>
              <a:lstStyle/>
              <a:p>
                <a:endParaRPr lang="de-DE"/>
              </a:p>
            </p:txBody>
          </p:sp>
          <p:sp>
            <p:nvSpPr>
              <p:cNvPr id="5201" name="Freeform: Shape 5200">
                <a:extLst>
                  <a:ext uri="{FF2B5EF4-FFF2-40B4-BE49-F238E27FC236}">
                    <a16:creationId xmlns:a16="http://schemas.microsoft.com/office/drawing/2014/main" id="{F0797C5A-771F-4E60-B204-072FF6859DAB}"/>
                  </a:ext>
                </a:extLst>
              </p:cNvPr>
              <p:cNvSpPr/>
              <p:nvPr/>
            </p:nvSpPr>
            <p:spPr>
              <a:xfrm>
                <a:off x="6075045" y="3450907"/>
                <a:ext cx="38100" cy="38100"/>
              </a:xfrm>
              <a:custGeom>
                <a:avLst/>
                <a:gdLst>
                  <a:gd name="connsiteX0" fmla="*/ 31433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3 w 38100"/>
                  <a:gd name="connsiteY5" fmla="*/ 0 h 38100"/>
                  <a:gd name="connsiteX6" fmla="*/ 41910 w 38100"/>
                  <a:gd name="connsiteY6" fmla="*/ 10478 h 38100"/>
                  <a:gd name="connsiteX7" fmla="*/ 41910 w 38100"/>
                  <a:gd name="connsiteY7" fmla="*/ 31433 h 38100"/>
                  <a:gd name="connsiteX8" fmla="*/ 31433 w 38100"/>
                  <a:gd name="connsiteY8" fmla="*/ 41910 h 38100"/>
                  <a:gd name="connsiteX9" fmla="*/ 10477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7" y="41910"/>
                    </a:lnTo>
                    <a:cubicBezTo>
                      <a:pt x="4763" y="41910"/>
                      <a:pt x="0" y="37148"/>
                      <a:pt x="0" y="31433"/>
                    </a:cubicBezTo>
                    <a:lnTo>
                      <a:pt x="0" y="10478"/>
                    </a:lnTo>
                    <a:cubicBezTo>
                      <a:pt x="0" y="4763"/>
                      <a:pt x="4763" y="0"/>
                      <a:pt x="10477" y="0"/>
                    </a:cubicBezTo>
                    <a:lnTo>
                      <a:pt x="31433" y="0"/>
                    </a:lnTo>
                    <a:cubicBezTo>
                      <a:pt x="37147" y="0"/>
                      <a:pt x="41910" y="4763"/>
                      <a:pt x="41910" y="10478"/>
                    </a:cubicBezTo>
                    <a:lnTo>
                      <a:pt x="41910" y="31433"/>
                    </a:lnTo>
                    <a:cubicBezTo>
                      <a:pt x="41910" y="37148"/>
                      <a:pt x="37147" y="41910"/>
                      <a:pt x="31433" y="41910"/>
                    </a:cubicBezTo>
                    <a:close/>
                    <a:moveTo>
                      <a:pt x="10477" y="9525"/>
                    </a:moveTo>
                    <a:lnTo>
                      <a:pt x="9525" y="31433"/>
                    </a:lnTo>
                    <a:lnTo>
                      <a:pt x="31433" y="32385"/>
                    </a:lnTo>
                    <a:cubicBezTo>
                      <a:pt x="31433"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202" name="Freeform: Shape 5201">
                <a:extLst>
                  <a:ext uri="{FF2B5EF4-FFF2-40B4-BE49-F238E27FC236}">
                    <a16:creationId xmlns:a16="http://schemas.microsoft.com/office/drawing/2014/main" id="{CEFC41F4-B0D5-45A0-A462-CF28C6CDF80A}"/>
                  </a:ext>
                </a:extLst>
              </p:cNvPr>
              <p:cNvSpPr/>
              <p:nvPr/>
            </p:nvSpPr>
            <p:spPr>
              <a:xfrm>
                <a:off x="6075045" y="3508057"/>
                <a:ext cx="38100" cy="38100"/>
              </a:xfrm>
              <a:custGeom>
                <a:avLst/>
                <a:gdLst>
                  <a:gd name="connsiteX0" fmla="*/ 31433 w 38100"/>
                  <a:gd name="connsiteY0" fmla="*/ 41910 h 38100"/>
                  <a:gd name="connsiteX1" fmla="*/ 10477 w 38100"/>
                  <a:gd name="connsiteY1" fmla="*/ 41910 h 38100"/>
                  <a:gd name="connsiteX2" fmla="*/ 0 w 38100"/>
                  <a:gd name="connsiteY2" fmla="*/ 31433 h 38100"/>
                  <a:gd name="connsiteX3" fmla="*/ 0 w 38100"/>
                  <a:gd name="connsiteY3" fmla="*/ 10478 h 38100"/>
                  <a:gd name="connsiteX4" fmla="*/ 10477 w 38100"/>
                  <a:gd name="connsiteY4" fmla="*/ 0 h 38100"/>
                  <a:gd name="connsiteX5" fmla="*/ 31433 w 38100"/>
                  <a:gd name="connsiteY5" fmla="*/ 0 h 38100"/>
                  <a:gd name="connsiteX6" fmla="*/ 41910 w 38100"/>
                  <a:gd name="connsiteY6" fmla="*/ 10478 h 38100"/>
                  <a:gd name="connsiteX7" fmla="*/ 41910 w 38100"/>
                  <a:gd name="connsiteY7" fmla="*/ 31433 h 38100"/>
                  <a:gd name="connsiteX8" fmla="*/ 31433 w 38100"/>
                  <a:gd name="connsiteY8" fmla="*/ 41910 h 38100"/>
                  <a:gd name="connsiteX9" fmla="*/ 10477 w 38100"/>
                  <a:gd name="connsiteY9" fmla="*/ 9525 h 38100"/>
                  <a:gd name="connsiteX10" fmla="*/ 9525 w 38100"/>
                  <a:gd name="connsiteY10" fmla="*/ 31433 h 38100"/>
                  <a:gd name="connsiteX11" fmla="*/ 31433 w 38100"/>
                  <a:gd name="connsiteY11" fmla="*/ 32385 h 38100"/>
                  <a:gd name="connsiteX12" fmla="*/ 32385 w 38100"/>
                  <a:gd name="connsiteY12" fmla="*/ 31433 h 38100"/>
                  <a:gd name="connsiteX13" fmla="*/ 32385 w 38100"/>
                  <a:gd name="connsiteY13" fmla="*/ 10478 h 38100"/>
                  <a:gd name="connsiteX14" fmla="*/ 10477 w 38100"/>
                  <a:gd name="connsiteY14"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38100">
                    <a:moveTo>
                      <a:pt x="31433" y="41910"/>
                    </a:moveTo>
                    <a:lnTo>
                      <a:pt x="10477" y="41910"/>
                    </a:lnTo>
                    <a:cubicBezTo>
                      <a:pt x="4763" y="41910"/>
                      <a:pt x="0" y="37148"/>
                      <a:pt x="0" y="31433"/>
                    </a:cubicBezTo>
                    <a:lnTo>
                      <a:pt x="0" y="10478"/>
                    </a:lnTo>
                    <a:cubicBezTo>
                      <a:pt x="0" y="4763"/>
                      <a:pt x="4763" y="0"/>
                      <a:pt x="10477" y="0"/>
                    </a:cubicBezTo>
                    <a:lnTo>
                      <a:pt x="31433" y="0"/>
                    </a:lnTo>
                    <a:cubicBezTo>
                      <a:pt x="37147" y="0"/>
                      <a:pt x="41910" y="4763"/>
                      <a:pt x="41910" y="10478"/>
                    </a:cubicBezTo>
                    <a:lnTo>
                      <a:pt x="41910" y="31433"/>
                    </a:lnTo>
                    <a:cubicBezTo>
                      <a:pt x="41910" y="37148"/>
                      <a:pt x="37147" y="41910"/>
                      <a:pt x="31433" y="41910"/>
                    </a:cubicBezTo>
                    <a:close/>
                    <a:moveTo>
                      <a:pt x="10477" y="9525"/>
                    </a:moveTo>
                    <a:lnTo>
                      <a:pt x="9525" y="31433"/>
                    </a:lnTo>
                    <a:lnTo>
                      <a:pt x="31433" y="32385"/>
                    </a:lnTo>
                    <a:cubicBezTo>
                      <a:pt x="31433" y="32385"/>
                      <a:pt x="32385" y="32385"/>
                      <a:pt x="32385" y="31433"/>
                    </a:cubicBezTo>
                    <a:lnTo>
                      <a:pt x="32385" y="10478"/>
                    </a:lnTo>
                    <a:lnTo>
                      <a:pt x="10477" y="9525"/>
                    </a:lnTo>
                    <a:close/>
                  </a:path>
                </a:pathLst>
              </a:custGeom>
              <a:solidFill>
                <a:srgbClr val="101010"/>
              </a:solidFill>
              <a:ln w="9525" cap="flat">
                <a:noFill/>
                <a:prstDash val="solid"/>
                <a:miter/>
              </a:ln>
            </p:spPr>
            <p:txBody>
              <a:bodyPr rtlCol="0" anchor="ctr"/>
              <a:lstStyle/>
              <a:p>
                <a:endParaRPr lang="de-DE"/>
              </a:p>
            </p:txBody>
          </p:sp>
          <p:sp>
            <p:nvSpPr>
              <p:cNvPr id="5203" name="Freeform: Shape 5202">
                <a:extLst>
                  <a:ext uri="{FF2B5EF4-FFF2-40B4-BE49-F238E27FC236}">
                    <a16:creationId xmlns:a16="http://schemas.microsoft.com/office/drawing/2014/main" id="{41898D9E-DB4A-42A3-BC51-D039B55DF5F1}"/>
                  </a:ext>
                </a:extLst>
              </p:cNvPr>
              <p:cNvSpPr/>
              <p:nvPr/>
            </p:nvSpPr>
            <p:spPr>
              <a:xfrm>
                <a:off x="6131242" y="3451860"/>
                <a:ext cx="38100" cy="95250"/>
              </a:xfrm>
              <a:custGeom>
                <a:avLst/>
                <a:gdLst>
                  <a:gd name="connsiteX0" fmla="*/ 33338 w 38100"/>
                  <a:gd name="connsiteY0" fmla="*/ 98108 h 95250"/>
                  <a:gd name="connsiteX1" fmla="*/ 10477 w 38100"/>
                  <a:gd name="connsiteY1" fmla="*/ 98108 h 95250"/>
                  <a:gd name="connsiteX2" fmla="*/ 0 w 38100"/>
                  <a:gd name="connsiteY2" fmla="*/ 87630 h 95250"/>
                  <a:gd name="connsiteX3" fmla="*/ 0 w 38100"/>
                  <a:gd name="connsiteY3" fmla="*/ 10478 h 95250"/>
                  <a:gd name="connsiteX4" fmla="*/ 10477 w 38100"/>
                  <a:gd name="connsiteY4" fmla="*/ 0 h 95250"/>
                  <a:gd name="connsiteX5" fmla="*/ 33338 w 38100"/>
                  <a:gd name="connsiteY5" fmla="*/ 0 h 95250"/>
                  <a:gd name="connsiteX6" fmla="*/ 43815 w 38100"/>
                  <a:gd name="connsiteY6" fmla="*/ 10478 h 95250"/>
                  <a:gd name="connsiteX7" fmla="*/ 43815 w 38100"/>
                  <a:gd name="connsiteY7" fmla="*/ 87630 h 95250"/>
                  <a:gd name="connsiteX8" fmla="*/ 33338 w 38100"/>
                  <a:gd name="connsiteY8" fmla="*/ 98108 h 95250"/>
                  <a:gd name="connsiteX9" fmla="*/ 10477 w 38100"/>
                  <a:gd name="connsiteY9" fmla="*/ 8572 h 95250"/>
                  <a:gd name="connsiteX10" fmla="*/ 9525 w 38100"/>
                  <a:gd name="connsiteY10" fmla="*/ 9525 h 95250"/>
                  <a:gd name="connsiteX11" fmla="*/ 9525 w 38100"/>
                  <a:gd name="connsiteY11" fmla="*/ 86678 h 95250"/>
                  <a:gd name="connsiteX12" fmla="*/ 10477 w 38100"/>
                  <a:gd name="connsiteY12" fmla="*/ 87630 h 95250"/>
                  <a:gd name="connsiteX13" fmla="*/ 33338 w 38100"/>
                  <a:gd name="connsiteY13" fmla="*/ 87630 h 95250"/>
                  <a:gd name="connsiteX14" fmla="*/ 34290 w 38100"/>
                  <a:gd name="connsiteY14" fmla="*/ 86678 h 95250"/>
                  <a:gd name="connsiteX15" fmla="*/ 34290 w 38100"/>
                  <a:gd name="connsiteY15" fmla="*/ 9525 h 95250"/>
                  <a:gd name="connsiteX16" fmla="*/ 33338 w 38100"/>
                  <a:gd name="connsiteY16" fmla="*/ 8572 h 95250"/>
                  <a:gd name="connsiteX17" fmla="*/ 10477 w 38100"/>
                  <a:gd name="connsiteY17" fmla="*/ 8572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95250">
                    <a:moveTo>
                      <a:pt x="33338" y="98108"/>
                    </a:moveTo>
                    <a:lnTo>
                      <a:pt x="10477" y="98108"/>
                    </a:lnTo>
                    <a:cubicBezTo>
                      <a:pt x="4763" y="98108"/>
                      <a:pt x="0" y="93345"/>
                      <a:pt x="0" y="87630"/>
                    </a:cubicBezTo>
                    <a:lnTo>
                      <a:pt x="0" y="10478"/>
                    </a:lnTo>
                    <a:cubicBezTo>
                      <a:pt x="0" y="4763"/>
                      <a:pt x="4763" y="0"/>
                      <a:pt x="10477" y="0"/>
                    </a:cubicBezTo>
                    <a:lnTo>
                      <a:pt x="33338" y="0"/>
                    </a:lnTo>
                    <a:cubicBezTo>
                      <a:pt x="39052" y="0"/>
                      <a:pt x="43815" y="4763"/>
                      <a:pt x="43815" y="10478"/>
                    </a:cubicBezTo>
                    <a:lnTo>
                      <a:pt x="43815" y="87630"/>
                    </a:lnTo>
                    <a:cubicBezTo>
                      <a:pt x="43815" y="93345"/>
                      <a:pt x="39052" y="98108"/>
                      <a:pt x="33338" y="98108"/>
                    </a:cubicBezTo>
                    <a:close/>
                    <a:moveTo>
                      <a:pt x="10477" y="8572"/>
                    </a:moveTo>
                    <a:cubicBezTo>
                      <a:pt x="9525" y="8572"/>
                      <a:pt x="9525" y="8572"/>
                      <a:pt x="9525" y="9525"/>
                    </a:cubicBezTo>
                    <a:lnTo>
                      <a:pt x="9525" y="86678"/>
                    </a:lnTo>
                    <a:cubicBezTo>
                      <a:pt x="9525" y="87630"/>
                      <a:pt x="9525" y="87630"/>
                      <a:pt x="10477" y="87630"/>
                    </a:cubicBezTo>
                    <a:lnTo>
                      <a:pt x="33338" y="87630"/>
                    </a:lnTo>
                    <a:cubicBezTo>
                      <a:pt x="34290" y="87630"/>
                      <a:pt x="34290" y="87630"/>
                      <a:pt x="34290" y="86678"/>
                    </a:cubicBezTo>
                    <a:lnTo>
                      <a:pt x="34290" y="9525"/>
                    </a:lnTo>
                    <a:cubicBezTo>
                      <a:pt x="34290" y="8572"/>
                      <a:pt x="34290" y="8572"/>
                      <a:pt x="33338" y="8572"/>
                    </a:cubicBezTo>
                    <a:lnTo>
                      <a:pt x="10477" y="8572"/>
                    </a:lnTo>
                    <a:close/>
                  </a:path>
                </a:pathLst>
              </a:custGeom>
              <a:solidFill>
                <a:srgbClr val="101010"/>
              </a:solidFill>
              <a:ln w="9525" cap="flat">
                <a:noFill/>
                <a:prstDash val="solid"/>
                <a:miter/>
              </a:ln>
            </p:spPr>
            <p:txBody>
              <a:bodyPr rtlCol="0" anchor="ctr"/>
              <a:lstStyle/>
              <a:p>
                <a:endParaRPr lang="de-DE"/>
              </a:p>
            </p:txBody>
          </p:sp>
          <p:sp>
            <p:nvSpPr>
              <p:cNvPr id="5204" name="Freeform: Shape 5203">
                <a:extLst>
                  <a:ext uri="{FF2B5EF4-FFF2-40B4-BE49-F238E27FC236}">
                    <a16:creationId xmlns:a16="http://schemas.microsoft.com/office/drawing/2014/main" id="{78CB887D-4225-49A8-AA96-D36506DE8423}"/>
                  </a:ext>
                </a:extLst>
              </p:cNvPr>
              <p:cNvSpPr/>
              <p:nvPr/>
            </p:nvSpPr>
            <p:spPr>
              <a:xfrm>
                <a:off x="6016942" y="3295650"/>
                <a:ext cx="152400" cy="66675"/>
              </a:xfrm>
              <a:custGeom>
                <a:avLst/>
                <a:gdLst>
                  <a:gd name="connsiteX0" fmla="*/ 147638 w 152400"/>
                  <a:gd name="connsiteY0" fmla="*/ 66675 h 66675"/>
                  <a:gd name="connsiteX1" fmla="*/ 10478 w 152400"/>
                  <a:gd name="connsiteY1" fmla="*/ 66675 h 66675"/>
                  <a:gd name="connsiteX2" fmla="*/ 0 w 152400"/>
                  <a:gd name="connsiteY2" fmla="*/ 56197 h 66675"/>
                  <a:gd name="connsiteX3" fmla="*/ 0 w 152400"/>
                  <a:gd name="connsiteY3" fmla="*/ 10477 h 66675"/>
                  <a:gd name="connsiteX4" fmla="*/ 10478 w 152400"/>
                  <a:gd name="connsiteY4" fmla="*/ 0 h 66675"/>
                  <a:gd name="connsiteX5" fmla="*/ 147638 w 152400"/>
                  <a:gd name="connsiteY5" fmla="*/ 0 h 66675"/>
                  <a:gd name="connsiteX6" fmla="*/ 158115 w 152400"/>
                  <a:gd name="connsiteY6" fmla="*/ 10477 h 66675"/>
                  <a:gd name="connsiteX7" fmla="*/ 158115 w 152400"/>
                  <a:gd name="connsiteY7" fmla="*/ 56197 h 66675"/>
                  <a:gd name="connsiteX8" fmla="*/ 147638 w 152400"/>
                  <a:gd name="connsiteY8" fmla="*/ 66675 h 66675"/>
                  <a:gd name="connsiteX9" fmla="*/ 10478 w 152400"/>
                  <a:gd name="connsiteY9" fmla="*/ 9525 h 66675"/>
                  <a:gd name="connsiteX10" fmla="*/ 9525 w 152400"/>
                  <a:gd name="connsiteY10" fmla="*/ 10477 h 66675"/>
                  <a:gd name="connsiteX11" fmla="*/ 9525 w 152400"/>
                  <a:gd name="connsiteY11" fmla="*/ 56197 h 66675"/>
                  <a:gd name="connsiteX12" fmla="*/ 10478 w 152400"/>
                  <a:gd name="connsiteY12" fmla="*/ 57150 h 66675"/>
                  <a:gd name="connsiteX13" fmla="*/ 147638 w 152400"/>
                  <a:gd name="connsiteY13" fmla="*/ 57150 h 66675"/>
                  <a:gd name="connsiteX14" fmla="*/ 148590 w 152400"/>
                  <a:gd name="connsiteY14" fmla="*/ 56197 h 66675"/>
                  <a:gd name="connsiteX15" fmla="*/ 148590 w 152400"/>
                  <a:gd name="connsiteY15" fmla="*/ 10477 h 66675"/>
                  <a:gd name="connsiteX16" fmla="*/ 147638 w 152400"/>
                  <a:gd name="connsiteY16" fmla="*/ 9525 h 66675"/>
                  <a:gd name="connsiteX17" fmla="*/ 10478 w 152400"/>
                  <a:gd name="connsiteY17"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400" h="66675">
                    <a:moveTo>
                      <a:pt x="147638" y="66675"/>
                    </a:moveTo>
                    <a:lnTo>
                      <a:pt x="10478" y="66675"/>
                    </a:lnTo>
                    <a:cubicBezTo>
                      <a:pt x="4763" y="66675"/>
                      <a:pt x="0" y="61913"/>
                      <a:pt x="0" y="56197"/>
                    </a:cubicBezTo>
                    <a:lnTo>
                      <a:pt x="0" y="10477"/>
                    </a:lnTo>
                    <a:cubicBezTo>
                      <a:pt x="0" y="4763"/>
                      <a:pt x="4763" y="0"/>
                      <a:pt x="10478" y="0"/>
                    </a:cubicBezTo>
                    <a:lnTo>
                      <a:pt x="147638" y="0"/>
                    </a:lnTo>
                    <a:cubicBezTo>
                      <a:pt x="153353" y="0"/>
                      <a:pt x="158115" y="4763"/>
                      <a:pt x="158115" y="10477"/>
                    </a:cubicBezTo>
                    <a:lnTo>
                      <a:pt x="158115" y="56197"/>
                    </a:lnTo>
                    <a:cubicBezTo>
                      <a:pt x="158115" y="61913"/>
                      <a:pt x="153353" y="66675"/>
                      <a:pt x="147638" y="66675"/>
                    </a:cubicBezTo>
                    <a:close/>
                    <a:moveTo>
                      <a:pt x="10478" y="9525"/>
                    </a:moveTo>
                    <a:cubicBezTo>
                      <a:pt x="9525" y="9525"/>
                      <a:pt x="9525" y="9525"/>
                      <a:pt x="9525" y="10477"/>
                    </a:cubicBezTo>
                    <a:lnTo>
                      <a:pt x="9525" y="56197"/>
                    </a:lnTo>
                    <a:cubicBezTo>
                      <a:pt x="9525" y="57150"/>
                      <a:pt x="9525" y="57150"/>
                      <a:pt x="10478" y="57150"/>
                    </a:cubicBezTo>
                    <a:lnTo>
                      <a:pt x="147638" y="57150"/>
                    </a:lnTo>
                    <a:cubicBezTo>
                      <a:pt x="148590" y="57150"/>
                      <a:pt x="148590" y="57150"/>
                      <a:pt x="148590" y="56197"/>
                    </a:cubicBezTo>
                    <a:lnTo>
                      <a:pt x="148590" y="10477"/>
                    </a:lnTo>
                    <a:cubicBezTo>
                      <a:pt x="148590" y="9525"/>
                      <a:pt x="148590" y="9525"/>
                      <a:pt x="147638" y="9525"/>
                    </a:cubicBezTo>
                    <a:lnTo>
                      <a:pt x="10478" y="9525"/>
                    </a:lnTo>
                    <a:close/>
                  </a:path>
                </a:pathLst>
              </a:custGeom>
              <a:solidFill>
                <a:srgbClr val="101010"/>
              </a:solidFill>
              <a:ln w="9525" cap="flat">
                <a:noFill/>
                <a:prstDash val="solid"/>
                <a:miter/>
              </a:ln>
            </p:spPr>
            <p:txBody>
              <a:bodyPr rtlCol="0" anchor="ctr"/>
              <a:lstStyle/>
              <a:p>
                <a:endParaRPr lang="de-DE"/>
              </a:p>
            </p:txBody>
          </p:sp>
        </p:grpSp>
        <p:sp>
          <p:nvSpPr>
            <p:cNvPr id="5192" name="Freeform: Shape 5191">
              <a:extLst>
                <a:ext uri="{FF2B5EF4-FFF2-40B4-BE49-F238E27FC236}">
                  <a16:creationId xmlns:a16="http://schemas.microsoft.com/office/drawing/2014/main" id="{9D287B3D-B52C-435C-B881-4C069D25C284}"/>
                </a:ext>
              </a:extLst>
            </p:cNvPr>
            <p:cNvSpPr/>
            <p:nvPr/>
          </p:nvSpPr>
          <p:spPr>
            <a:xfrm>
              <a:off x="6143625" y="3338513"/>
              <a:ext cx="9525" cy="9525"/>
            </a:xfrm>
            <a:custGeom>
              <a:avLst/>
              <a:gdLst>
                <a:gd name="connsiteX0" fmla="*/ 0 w 0"/>
                <a:gd name="connsiteY0" fmla="*/ 0 h 0"/>
                <a:gd name="connsiteX1" fmla="*/ 8572 w 0"/>
                <a:gd name="connsiteY1" fmla="*/ 0 h 0"/>
                <a:gd name="connsiteX2" fmla="*/ 8572 w 0"/>
                <a:gd name="connsiteY2" fmla="*/ 8572 h 0"/>
                <a:gd name="connsiteX3" fmla="*/ 0 w 0"/>
                <a:gd name="connsiteY3" fmla="*/ 8572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8572" y="0"/>
                  </a:lnTo>
                  <a:lnTo>
                    <a:pt x="8572" y="8572"/>
                  </a:lnTo>
                  <a:lnTo>
                    <a:pt x="0" y="8572"/>
                  </a:lnTo>
                  <a:close/>
                </a:path>
              </a:pathLst>
            </a:custGeom>
            <a:solidFill>
              <a:srgbClr val="000000"/>
            </a:solidFill>
            <a:ln w="9525" cap="flat">
              <a:noFill/>
              <a:prstDash val="solid"/>
              <a:miter/>
            </a:ln>
          </p:spPr>
          <p:txBody>
            <a:bodyPr rtlCol="0" anchor="ctr"/>
            <a:lstStyle/>
            <a:p>
              <a:endParaRPr lang="de-DE"/>
            </a:p>
          </p:txBody>
        </p:sp>
        <p:sp>
          <p:nvSpPr>
            <p:cNvPr id="5193" name="Freeform: Shape 5192">
              <a:extLst>
                <a:ext uri="{FF2B5EF4-FFF2-40B4-BE49-F238E27FC236}">
                  <a16:creationId xmlns:a16="http://schemas.microsoft.com/office/drawing/2014/main" id="{F9B57CC1-75BD-4D40-B35B-7BECD063ECA2}"/>
                </a:ext>
              </a:extLst>
            </p:cNvPr>
            <p:cNvSpPr/>
            <p:nvPr/>
          </p:nvSpPr>
          <p:spPr>
            <a:xfrm>
              <a:off x="6129337" y="3338513"/>
              <a:ext cx="9525" cy="9525"/>
            </a:xfrm>
            <a:custGeom>
              <a:avLst/>
              <a:gdLst>
                <a:gd name="connsiteX0" fmla="*/ 0 w 0"/>
                <a:gd name="connsiteY0" fmla="*/ 0 h 0"/>
                <a:gd name="connsiteX1" fmla="*/ 8572 w 0"/>
                <a:gd name="connsiteY1" fmla="*/ 0 h 0"/>
                <a:gd name="connsiteX2" fmla="*/ 8572 w 0"/>
                <a:gd name="connsiteY2" fmla="*/ 8572 h 0"/>
                <a:gd name="connsiteX3" fmla="*/ 0 w 0"/>
                <a:gd name="connsiteY3" fmla="*/ 8572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8572" y="0"/>
                  </a:lnTo>
                  <a:lnTo>
                    <a:pt x="8572" y="8572"/>
                  </a:lnTo>
                  <a:lnTo>
                    <a:pt x="0" y="8572"/>
                  </a:lnTo>
                  <a:close/>
                </a:path>
              </a:pathLst>
            </a:custGeom>
            <a:solidFill>
              <a:srgbClr val="000000"/>
            </a:solidFill>
            <a:ln w="9525" cap="flat">
              <a:noFill/>
              <a:prstDash val="solid"/>
              <a:miter/>
            </a:ln>
          </p:spPr>
          <p:txBody>
            <a:bodyPr rtlCol="0" anchor="ctr"/>
            <a:lstStyle/>
            <a:p>
              <a:endParaRPr lang="de-DE"/>
            </a:p>
          </p:txBody>
        </p:sp>
        <p:sp>
          <p:nvSpPr>
            <p:cNvPr id="5194" name="Freeform: Shape 5193">
              <a:extLst>
                <a:ext uri="{FF2B5EF4-FFF2-40B4-BE49-F238E27FC236}">
                  <a16:creationId xmlns:a16="http://schemas.microsoft.com/office/drawing/2014/main" id="{2BB42DA8-E339-40FA-85E8-F2F7C59C3DBC}"/>
                </a:ext>
              </a:extLst>
            </p:cNvPr>
            <p:cNvSpPr/>
            <p:nvPr/>
          </p:nvSpPr>
          <p:spPr>
            <a:xfrm>
              <a:off x="6115050" y="3338513"/>
              <a:ext cx="9525" cy="9525"/>
            </a:xfrm>
            <a:custGeom>
              <a:avLst/>
              <a:gdLst>
                <a:gd name="connsiteX0" fmla="*/ 0 w 0"/>
                <a:gd name="connsiteY0" fmla="*/ 0 h 0"/>
                <a:gd name="connsiteX1" fmla="*/ 8572 w 0"/>
                <a:gd name="connsiteY1" fmla="*/ 0 h 0"/>
                <a:gd name="connsiteX2" fmla="*/ 8572 w 0"/>
                <a:gd name="connsiteY2" fmla="*/ 8572 h 0"/>
                <a:gd name="connsiteX3" fmla="*/ 0 w 0"/>
                <a:gd name="connsiteY3" fmla="*/ 8572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8572" y="0"/>
                  </a:lnTo>
                  <a:lnTo>
                    <a:pt x="8572" y="8572"/>
                  </a:lnTo>
                  <a:lnTo>
                    <a:pt x="0" y="8572"/>
                  </a:lnTo>
                  <a:close/>
                </a:path>
              </a:pathLst>
            </a:custGeom>
            <a:solidFill>
              <a:srgbClr val="000000"/>
            </a:solidFill>
            <a:ln w="9525" cap="flat">
              <a:noFill/>
              <a:prstDash val="solid"/>
              <a:miter/>
            </a:ln>
          </p:spPr>
          <p:txBody>
            <a:bodyPr rtlCol="0" anchor="ctr"/>
            <a:lstStyle/>
            <a:p>
              <a:endParaRPr lang="de-DE"/>
            </a:p>
          </p:txBody>
        </p:sp>
      </p:grpSp>
      <p:sp>
        <p:nvSpPr>
          <p:cNvPr id="5205" name="Graphic 3">
            <a:extLst>
              <a:ext uri="{FF2B5EF4-FFF2-40B4-BE49-F238E27FC236}">
                <a16:creationId xmlns:a16="http://schemas.microsoft.com/office/drawing/2014/main" id="{AA99C9EF-AB78-42FE-9A35-E0FDB4468B59}"/>
              </a:ext>
              <a:ext uri="{C183D7F6-B498-43B3-948B-1728B52AA6E4}">
                <adec:decorative xmlns:adec="http://schemas.microsoft.com/office/drawing/2017/decorative" val="1"/>
              </a:ext>
            </a:extLst>
          </p:cNvPr>
          <p:cNvSpPr>
            <a:spLocks noChangeAspect="1"/>
          </p:cNvSpPr>
          <p:nvPr/>
        </p:nvSpPr>
        <p:spPr>
          <a:xfrm>
            <a:off x="2408023" y="3825012"/>
            <a:ext cx="99453" cy="99453"/>
          </a:xfrm>
          <a:custGeom>
            <a:avLst/>
            <a:gdLst>
              <a:gd name="connsiteX0" fmla="*/ 238125 w 238125"/>
              <a:gd name="connsiteY0" fmla="*/ 20003 h 238125"/>
              <a:gd name="connsiteX1" fmla="*/ 218123 w 238125"/>
              <a:gd name="connsiteY1" fmla="*/ 0 h 238125"/>
              <a:gd name="connsiteX2" fmla="*/ 20003 w 238125"/>
              <a:gd name="connsiteY2" fmla="*/ 0 h 238125"/>
              <a:gd name="connsiteX3" fmla="*/ 0 w 238125"/>
              <a:gd name="connsiteY3" fmla="*/ 20003 h 238125"/>
              <a:gd name="connsiteX4" fmla="*/ 0 w 238125"/>
              <a:gd name="connsiteY4" fmla="*/ 219075 h 238125"/>
              <a:gd name="connsiteX5" fmla="*/ 20003 w 238125"/>
              <a:gd name="connsiteY5" fmla="*/ 239078 h 238125"/>
              <a:gd name="connsiteX6" fmla="*/ 124778 w 238125"/>
              <a:gd name="connsiteY6" fmla="*/ 239078 h 238125"/>
              <a:gd name="connsiteX7" fmla="*/ 141923 w 238125"/>
              <a:gd name="connsiteY7" fmla="*/ 232410 h 238125"/>
              <a:gd name="connsiteX8" fmla="*/ 142875 w 238125"/>
              <a:gd name="connsiteY8" fmla="*/ 231458 h 238125"/>
              <a:gd name="connsiteX9" fmla="*/ 143828 w 238125"/>
              <a:gd name="connsiteY9" fmla="*/ 230505 h 238125"/>
              <a:gd name="connsiteX10" fmla="*/ 229553 w 238125"/>
              <a:gd name="connsiteY10" fmla="*/ 145733 h 238125"/>
              <a:gd name="connsiteX11" fmla="*/ 231458 w 238125"/>
              <a:gd name="connsiteY11" fmla="*/ 143828 h 238125"/>
              <a:gd name="connsiteX12" fmla="*/ 232410 w 238125"/>
              <a:gd name="connsiteY12" fmla="*/ 142875 h 238125"/>
              <a:gd name="connsiteX13" fmla="*/ 238125 w 238125"/>
              <a:gd name="connsiteY13" fmla="*/ 125730 h 238125"/>
              <a:gd name="connsiteX14" fmla="*/ 238125 w 238125"/>
              <a:gd name="connsiteY14" fmla="*/ 20003 h 238125"/>
              <a:gd name="connsiteX15" fmla="*/ 20003 w 238125"/>
              <a:gd name="connsiteY15" fmla="*/ 229553 h 238125"/>
              <a:gd name="connsiteX16" fmla="*/ 9525 w 238125"/>
              <a:gd name="connsiteY16" fmla="*/ 219075 h 238125"/>
              <a:gd name="connsiteX17" fmla="*/ 9525 w 238125"/>
              <a:gd name="connsiteY17" fmla="*/ 20003 h 238125"/>
              <a:gd name="connsiteX18" fmla="*/ 20003 w 238125"/>
              <a:gd name="connsiteY18" fmla="*/ 9525 h 238125"/>
              <a:gd name="connsiteX19" fmla="*/ 218123 w 238125"/>
              <a:gd name="connsiteY19" fmla="*/ 9525 h 238125"/>
              <a:gd name="connsiteX20" fmla="*/ 228600 w 238125"/>
              <a:gd name="connsiteY20" fmla="*/ 20003 h 238125"/>
              <a:gd name="connsiteX21" fmla="*/ 228600 w 238125"/>
              <a:gd name="connsiteY21" fmla="*/ 125730 h 238125"/>
              <a:gd name="connsiteX22" fmla="*/ 225743 w 238125"/>
              <a:gd name="connsiteY22" fmla="*/ 135255 h 238125"/>
              <a:gd name="connsiteX23" fmla="*/ 162878 w 238125"/>
              <a:gd name="connsiteY23" fmla="*/ 135255 h 238125"/>
              <a:gd name="connsiteX24" fmla="*/ 134303 w 238125"/>
              <a:gd name="connsiteY24" fmla="*/ 163830 h 238125"/>
              <a:gd name="connsiteX25" fmla="*/ 134303 w 238125"/>
              <a:gd name="connsiteY25" fmla="*/ 226695 h 238125"/>
              <a:gd name="connsiteX26" fmla="*/ 123825 w 238125"/>
              <a:gd name="connsiteY26" fmla="*/ 229553 h 238125"/>
              <a:gd name="connsiteX27" fmla="*/ 20003 w 238125"/>
              <a:gd name="connsiteY27" fmla="*/ 229553 h 238125"/>
              <a:gd name="connsiteX28" fmla="*/ 217170 w 238125"/>
              <a:gd name="connsiteY28" fmla="*/ 144780 h 238125"/>
              <a:gd name="connsiteX29" fmla="*/ 143828 w 238125"/>
              <a:gd name="connsiteY29" fmla="*/ 217170 h 238125"/>
              <a:gd name="connsiteX30" fmla="*/ 143828 w 238125"/>
              <a:gd name="connsiteY30" fmla="*/ 163830 h 238125"/>
              <a:gd name="connsiteX31" fmla="*/ 162878 w 238125"/>
              <a:gd name="connsiteY31" fmla="*/ 144780 h 238125"/>
              <a:gd name="connsiteX32" fmla="*/ 217170 w 238125"/>
              <a:gd name="connsiteY32" fmla="*/ 14478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8125" h="238125">
                <a:moveTo>
                  <a:pt x="238125" y="20003"/>
                </a:moveTo>
                <a:cubicBezTo>
                  <a:pt x="238125" y="8573"/>
                  <a:pt x="228600" y="0"/>
                  <a:pt x="218123" y="0"/>
                </a:cubicBezTo>
                <a:lnTo>
                  <a:pt x="20003" y="0"/>
                </a:lnTo>
                <a:cubicBezTo>
                  <a:pt x="9525" y="0"/>
                  <a:pt x="0" y="8573"/>
                  <a:pt x="0" y="20003"/>
                </a:cubicBezTo>
                <a:lnTo>
                  <a:pt x="0" y="219075"/>
                </a:lnTo>
                <a:cubicBezTo>
                  <a:pt x="0" y="230505"/>
                  <a:pt x="9525" y="239078"/>
                  <a:pt x="20003" y="239078"/>
                </a:cubicBezTo>
                <a:lnTo>
                  <a:pt x="124778" y="239078"/>
                </a:lnTo>
                <a:cubicBezTo>
                  <a:pt x="131445" y="239078"/>
                  <a:pt x="137160" y="237173"/>
                  <a:pt x="141923" y="232410"/>
                </a:cubicBezTo>
                <a:cubicBezTo>
                  <a:pt x="141923" y="232410"/>
                  <a:pt x="142875" y="231458"/>
                  <a:pt x="142875" y="231458"/>
                </a:cubicBezTo>
                <a:cubicBezTo>
                  <a:pt x="142875" y="231458"/>
                  <a:pt x="143828" y="230505"/>
                  <a:pt x="143828" y="230505"/>
                </a:cubicBezTo>
                <a:lnTo>
                  <a:pt x="229553" y="145733"/>
                </a:lnTo>
                <a:cubicBezTo>
                  <a:pt x="230505" y="144780"/>
                  <a:pt x="230505" y="143828"/>
                  <a:pt x="231458" y="143828"/>
                </a:cubicBezTo>
                <a:cubicBezTo>
                  <a:pt x="231458" y="143828"/>
                  <a:pt x="232410" y="142875"/>
                  <a:pt x="232410" y="142875"/>
                </a:cubicBezTo>
                <a:cubicBezTo>
                  <a:pt x="236220" y="138113"/>
                  <a:pt x="238125" y="132398"/>
                  <a:pt x="238125" y="125730"/>
                </a:cubicBezTo>
                <a:lnTo>
                  <a:pt x="238125" y="20003"/>
                </a:lnTo>
                <a:close/>
                <a:moveTo>
                  <a:pt x="20003" y="229553"/>
                </a:moveTo>
                <a:cubicBezTo>
                  <a:pt x="14288" y="229553"/>
                  <a:pt x="9525" y="224790"/>
                  <a:pt x="9525" y="219075"/>
                </a:cubicBezTo>
                <a:lnTo>
                  <a:pt x="9525" y="20003"/>
                </a:lnTo>
                <a:cubicBezTo>
                  <a:pt x="9525" y="14288"/>
                  <a:pt x="14288" y="9525"/>
                  <a:pt x="20003" y="9525"/>
                </a:cubicBezTo>
                <a:lnTo>
                  <a:pt x="218123" y="9525"/>
                </a:lnTo>
                <a:cubicBezTo>
                  <a:pt x="223838" y="9525"/>
                  <a:pt x="228600" y="14288"/>
                  <a:pt x="228600" y="20003"/>
                </a:cubicBezTo>
                <a:lnTo>
                  <a:pt x="228600" y="125730"/>
                </a:lnTo>
                <a:cubicBezTo>
                  <a:pt x="228600" y="129540"/>
                  <a:pt x="227648" y="132398"/>
                  <a:pt x="225743" y="135255"/>
                </a:cubicBezTo>
                <a:lnTo>
                  <a:pt x="162878" y="135255"/>
                </a:lnTo>
                <a:cubicBezTo>
                  <a:pt x="147638" y="135255"/>
                  <a:pt x="134303" y="147638"/>
                  <a:pt x="134303" y="163830"/>
                </a:cubicBezTo>
                <a:lnTo>
                  <a:pt x="134303" y="226695"/>
                </a:lnTo>
                <a:cubicBezTo>
                  <a:pt x="131445" y="228600"/>
                  <a:pt x="127635" y="229553"/>
                  <a:pt x="123825" y="229553"/>
                </a:cubicBezTo>
                <a:lnTo>
                  <a:pt x="20003" y="229553"/>
                </a:lnTo>
                <a:close/>
                <a:moveTo>
                  <a:pt x="217170" y="144780"/>
                </a:moveTo>
                <a:lnTo>
                  <a:pt x="143828" y="217170"/>
                </a:lnTo>
                <a:lnTo>
                  <a:pt x="143828" y="163830"/>
                </a:lnTo>
                <a:cubicBezTo>
                  <a:pt x="143828" y="153353"/>
                  <a:pt x="152400" y="144780"/>
                  <a:pt x="162878" y="144780"/>
                </a:cubicBezTo>
                <a:lnTo>
                  <a:pt x="217170" y="144780"/>
                </a:lnTo>
                <a:close/>
              </a:path>
            </a:pathLst>
          </a:custGeom>
          <a:solidFill>
            <a:srgbClr val="101010"/>
          </a:solidFill>
          <a:ln w="9525" cap="flat">
            <a:noFill/>
            <a:prstDash val="solid"/>
            <a:miter/>
          </a:ln>
        </p:spPr>
        <p:txBody>
          <a:bodyPr rtlCol="0" anchor="ctr"/>
          <a:lstStyle/>
          <a:p>
            <a:endParaRPr lang="de-DE"/>
          </a:p>
        </p:txBody>
      </p:sp>
      <p:sp>
        <p:nvSpPr>
          <p:cNvPr id="5206" name="Graphic 3">
            <a:extLst>
              <a:ext uri="{FF2B5EF4-FFF2-40B4-BE49-F238E27FC236}">
                <a16:creationId xmlns:a16="http://schemas.microsoft.com/office/drawing/2014/main" id="{E4109355-8A48-4D38-8B44-BBCC7C9EE35E}"/>
              </a:ext>
              <a:ext uri="{C183D7F6-B498-43B3-948B-1728B52AA6E4}">
                <adec:decorative xmlns:adec="http://schemas.microsoft.com/office/drawing/2017/decorative" val="1"/>
              </a:ext>
            </a:extLst>
          </p:cNvPr>
          <p:cNvSpPr>
            <a:spLocks noChangeAspect="1"/>
          </p:cNvSpPr>
          <p:nvPr/>
        </p:nvSpPr>
        <p:spPr>
          <a:xfrm>
            <a:off x="2664081" y="3818766"/>
            <a:ext cx="111944" cy="111944"/>
          </a:xfrm>
          <a:custGeom>
            <a:avLst/>
            <a:gdLst>
              <a:gd name="connsiteX0" fmla="*/ 252413 w 266700"/>
              <a:gd name="connsiteY0" fmla="*/ 58103 h 266700"/>
              <a:gd name="connsiteX1" fmla="*/ 238125 w 266700"/>
              <a:gd name="connsiteY1" fmla="*/ 58103 h 266700"/>
              <a:gd name="connsiteX2" fmla="*/ 238125 w 266700"/>
              <a:gd name="connsiteY2" fmla="*/ 43815 h 266700"/>
              <a:gd name="connsiteX3" fmla="*/ 223838 w 266700"/>
              <a:gd name="connsiteY3" fmla="*/ 29528 h 266700"/>
              <a:gd name="connsiteX4" fmla="*/ 209550 w 266700"/>
              <a:gd name="connsiteY4" fmla="*/ 29528 h 266700"/>
              <a:gd name="connsiteX5" fmla="*/ 209550 w 266700"/>
              <a:gd name="connsiteY5" fmla="*/ 14288 h 266700"/>
              <a:gd name="connsiteX6" fmla="*/ 195263 w 266700"/>
              <a:gd name="connsiteY6" fmla="*/ 0 h 266700"/>
              <a:gd name="connsiteX7" fmla="*/ 14288 w 266700"/>
              <a:gd name="connsiteY7" fmla="*/ 0 h 266700"/>
              <a:gd name="connsiteX8" fmla="*/ 0 w 266700"/>
              <a:gd name="connsiteY8" fmla="*/ 14288 h 266700"/>
              <a:gd name="connsiteX9" fmla="*/ 0 w 266700"/>
              <a:gd name="connsiteY9" fmla="*/ 195263 h 266700"/>
              <a:gd name="connsiteX10" fmla="*/ 14288 w 266700"/>
              <a:gd name="connsiteY10" fmla="*/ 209550 h 266700"/>
              <a:gd name="connsiteX11" fmla="*/ 28575 w 266700"/>
              <a:gd name="connsiteY11" fmla="*/ 209550 h 266700"/>
              <a:gd name="connsiteX12" fmla="*/ 28575 w 266700"/>
              <a:gd name="connsiteY12" fmla="*/ 223838 h 266700"/>
              <a:gd name="connsiteX13" fmla="*/ 42863 w 266700"/>
              <a:gd name="connsiteY13" fmla="*/ 238125 h 266700"/>
              <a:gd name="connsiteX14" fmla="*/ 57150 w 266700"/>
              <a:gd name="connsiteY14" fmla="*/ 238125 h 266700"/>
              <a:gd name="connsiteX15" fmla="*/ 57150 w 266700"/>
              <a:gd name="connsiteY15" fmla="*/ 252413 h 266700"/>
              <a:gd name="connsiteX16" fmla="*/ 71438 w 266700"/>
              <a:gd name="connsiteY16" fmla="*/ 266700 h 266700"/>
              <a:gd name="connsiteX17" fmla="*/ 252413 w 266700"/>
              <a:gd name="connsiteY17" fmla="*/ 266700 h 266700"/>
              <a:gd name="connsiteX18" fmla="*/ 266700 w 266700"/>
              <a:gd name="connsiteY18" fmla="*/ 252413 h 266700"/>
              <a:gd name="connsiteX19" fmla="*/ 266700 w 266700"/>
              <a:gd name="connsiteY19" fmla="*/ 71438 h 266700"/>
              <a:gd name="connsiteX20" fmla="*/ 252413 w 266700"/>
              <a:gd name="connsiteY20" fmla="*/ 58103 h 266700"/>
              <a:gd name="connsiteX21" fmla="*/ 9525 w 266700"/>
              <a:gd name="connsiteY21" fmla="*/ 195263 h 266700"/>
              <a:gd name="connsiteX22" fmla="*/ 9525 w 266700"/>
              <a:gd name="connsiteY22" fmla="*/ 14288 h 266700"/>
              <a:gd name="connsiteX23" fmla="*/ 14288 w 266700"/>
              <a:gd name="connsiteY23" fmla="*/ 9525 h 266700"/>
              <a:gd name="connsiteX24" fmla="*/ 195263 w 266700"/>
              <a:gd name="connsiteY24" fmla="*/ 9525 h 266700"/>
              <a:gd name="connsiteX25" fmla="*/ 200025 w 266700"/>
              <a:gd name="connsiteY25" fmla="*/ 14288 h 266700"/>
              <a:gd name="connsiteX26" fmla="*/ 200025 w 266700"/>
              <a:gd name="connsiteY26" fmla="*/ 135255 h 266700"/>
              <a:gd name="connsiteX27" fmla="*/ 157163 w 266700"/>
              <a:gd name="connsiteY27" fmla="*/ 135255 h 266700"/>
              <a:gd name="connsiteX28" fmla="*/ 135255 w 266700"/>
              <a:gd name="connsiteY28" fmla="*/ 157163 h 266700"/>
              <a:gd name="connsiteX29" fmla="*/ 135255 w 266700"/>
              <a:gd name="connsiteY29" fmla="*/ 200025 h 266700"/>
              <a:gd name="connsiteX30" fmla="*/ 14288 w 266700"/>
              <a:gd name="connsiteY30" fmla="*/ 200025 h 266700"/>
              <a:gd name="connsiteX31" fmla="*/ 9525 w 266700"/>
              <a:gd name="connsiteY31" fmla="*/ 195263 h 266700"/>
              <a:gd name="connsiteX32" fmla="*/ 193358 w 266700"/>
              <a:gd name="connsiteY32" fmla="*/ 144780 h 266700"/>
              <a:gd name="connsiteX33" fmla="*/ 144780 w 266700"/>
              <a:gd name="connsiteY33" fmla="*/ 193358 h 266700"/>
              <a:gd name="connsiteX34" fmla="*/ 144780 w 266700"/>
              <a:gd name="connsiteY34" fmla="*/ 157163 h 266700"/>
              <a:gd name="connsiteX35" fmla="*/ 157163 w 266700"/>
              <a:gd name="connsiteY35" fmla="*/ 144780 h 266700"/>
              <a:gd name="connsiteX36" fmla="*/ 193358 w 266700"/>
              <a:gd name="connsiteY36" fmla="*/ 144780 h 266700"/>
              <a:gd name="connsiteX37" fmla="*/ 38100 w 266700"/>
              <a:gd name="connsiteY37" fmla="*/ 224790 h 266700"/>
              <a:gd name="connsiteX38" fmla="*/ 38100 w 266700"/>
              <a:gd name="connsiteY38" fmla="*/ 209550 h 266700"/>
              <a:gd name="connsiteX39" fmla="*/ 139065 w 266700"/>
              <a:gd name="connsiteY39" fmla="*/ 209550 h 266700"/>
              <a:gd name="connsiteX40" fmla="*/ 140970 w 266700"/>
              <a:gd name="connsiteY40" fmla="*/ 209550 h 266700"/>
              <a:gd name="connsiteX41" fmla="*/ 141923 w 266700"/>
              <a:gd name="connsiteY41" fmla="*/ 208598 h 266700"/>
              <a:gd name="connsiteX42" fmla="*/ 141923 w 266700"/>
              <a:gd name="connsiteY42" fmla="*/ 208598 h 266700"/>
              <a:gd name="connsiteX43" fmla="*/ 141923 w 266700"/>
              <a:gd name="connsiteY43" fmla="*/ 208598 h 266700"/>
              <a:gd name="connsiteX44" fmla="*/ 141923 w 266700"/>
              <a:gd name="connsiteY44" fmla="*/ 208598 h 266700"/>
              <a:gd name="connsiteX45" fmla="*/ 207645 w 266700"/>
              <a:gd name="connsiteY45" fmla="*/ 143828 h 266700"/>
              <a:gd name="connsiteX46" fmla="*/ 208598 w 266700"/>
              <a:gd name="connsiteY46" fmla="*/ 140018 h 266700"/>
              <a:gd name="connsiteX47" fmla="*/ 208598 w 266700"/>
              <a:gd name="connsiteY47" fmla="*/ 140018 h 266700"/>
              <a:gd name="connsiteX48" fmla="*/ 208598 w 266700"/>
              <a:gd name="connsiteY48" fmla="*/ 39053 h 266700"/>
              <a:gd name="connsiteX49" fmla="*/ 222885 w 266700"/>
              <a:gd name="connsiteY49" fmla="*/ 39053 h 266700"/>
              <a:gd name="connsiteX50" fmla="*/ 227648 w 266700"/>
              <a:gd name="connsiteY50" fmla="*/ 43815 h 266700"/>
              <a:gd name="connsiteX51" fmla="*/ 227648 w 266700"/>
              <a:gd name="connsiteY51" fmla="*/ 224790 h 266700"/>
              <a:gd name="connsiteX52" fmla="*/ 222885 w 266700"/>
              <a:gd name="connsiteY52" fmla="*/ 229553 h 266700"/>
              <a:gd name="connsiteX53" fmla="*/ 41910 w 266700"/>
              <a:gd name="connsiteY53" fmla="*/ 229553 h 266700"/>
              <a:gd name="connsiteX54" fmla="*/ 38100 w 266700"/>
              <a:gd name="connsiteY54" fmla="*/ 224790 h 266700"/>
              <a:gd name="connsiteX55" fmla="*/ 257175 w 266700"/>
              <a:gd name="connsiteY55" fmla="*/ 253365 h 266700"/>
              <a:gd name="connsiteX56" fmla="*/ 252413 w 266700"/>
              <a:gd name="connsiteY56" fmla="*/ 258128 h 266700"/>
              <a:gd name="connsiteX57" fmla="*/ 71438 w 266700"/>
              <a:gd name="connsiteY57" fmla="*/ 258128 h 266700"/>
              <a:gd name="connsiteX58" fmla="*/ 66675 w 266700"/>
              <a:gd name="connsiteY58" fmla="*/ 253365 h 266700"/>
              <a:gd name="connsiteX59" fmla="*/ 66675 w 266700"/>
              <a:gd name="connsiteY59" fmla="*/ 239078 h 266700"/>
              <a:gd name="connsiteX60" fmla="*/ 223838 w 266700"/>
              <a:gd name="connsiteY60" fmla="*/ 239078 h 266700"/>
              <a:gd name="connsiteX61" fmla="*/ 238125 w 266700"/>
              <a:gd name="connsiteY61" fmla="*/ 224790 h 266700"/>
              <a:gd name="connsiteX62" fmla="*/ 238125 w 266700"/>
              <a:gd name="connsiteY62" fmla="*/ 67628 h 266700"/>
              <a:gd name="connsiteX63" fmla="*/ 252413 w 266700"/>
              <a:gd name="connsiteY63" fmla="*/ 67628 h 266700"/>
              <a:gd name="connsiteX64" fmla="*/ 257175 w 266700"/>
              <a:gd name="connsiteY64" fmla="*/ 72390 h 266700"/>
              <a:gd name="connsiteX65" fmla="*/ 257175 w 266700"/>
              <a:gd name="connsiteY65" fmla="*/ 25336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6700" h="266700">
                <a:moveTo>
                  <a:pt x="252413" y="58103"/>
                </a:moveTo>
                <a:lnTo>
                  <a:pt x="238125" y="58103"/>
                </a:lnTo>
                <a:lnTo>
                  <a:pt x="238125" y="43815"/>
                </a:lnTo>
                <a:cubicBezTo>
                  <a:pt x="238125" y="36195"/>
                  <a:pt x="231458" y="29528"/>
                  <a:pt x="223838" y="29528"/>
                </a:cubicBezTo>
                <a:lnTo>
                  <a:pt x="209550" y="29528"/>
                </a:lnTo>
                <a:lnTo>
                  <a:pt x="209550" y="14288"/>
                </a:lnTo>
                <a:cubicBezTo>
                  <a:pt x="209550" y="6668"/>
                  <a:pt x="202883" y="0"/>
                  <a:pt x="195263" y="0"/>
                </a:cubicBezTo>
                <a:lnTo>
                  <a:pt x="14288" y="0"/>
                </a:lnTo>
                <a:cubicBezTo>
                  <a:pt x="6668" y="0"/>
                  <a:pt x="0" y="6668"/>
                  <a:pt x="0" y="14288"/>
                </a:cubicBezTo>
                <a:lnTo>
                  <a:pt x="0" y="195263"/>
                </a:lnTo>
                <a:cubicBezTo>
                  <a:pt x="0" y="203835"/>
                  <a:pt x="6668" y="209550"/>
                  <a:pt x="14288" y="209550"/>
                </a:cubicBezTo>
                <a:lnTo>
                  <a:pt x="28575" y="209550"/>
                </a:lnTo>
                <a:lnTo>
                  <a:pt x="28575" y="223838"/>
                </a:lnTo>
                <a:cubicBezTo>
                  <a:pt x="28575" y="231458"/>
                  <a:pt x="35243" y="238125"/>
                  <a:pt x="42863" y="238125"/>
                </a:cubicBezTo>
                <a:lnTo>
                  <a:pt x="57150" y="238125"/>
                </a:lnTo>
                <a:lnTo>
                  <a:pt x="57150" y="252413"/>
                </a:lnTo>
                <a:cubicBezTo>
                  <a:pt x="57150" y="260033"/>
                  <a:pt x="63818" y="266700"/>
                  <a:pt x="71438" y="266700"/>
                </a:cubicBezTo>
                <a:lnTo>
                  <a:pt x="252413" y="266700"/>
                </a:lnTo>
                <a:cubicBezTo>
                  <a:pt x="260033" y="266700"/>
                  <a:pt x="266700" y="260033"/>
                  <a:pt x="266700" y="252413"/>
                </a:cubicBezTo>
                <a:lnTo>
                  <a:pt x="266700" y="71438"/>
                </a:lnTo>
                <a:cubicBezTo>
                  <a:pt x="266700" y="63818"/>
                  <a:pt x="260033" y="58103"/>
                  <a:pt x="252413" y="58103"/>
                </a:cubicBezTo>
                <a:close/>
                <a:moveTo>
                  <a:pt x="9525" y="195263"/>
                </a:moveTo>
                <a:lnTo>
                  <a:pt x="9525" y="14288"/>
                </a:lnTo>
                <a:cubicBezTo>
                  <a:pt x="9525" y="11430"/>
                  <a:pt x="11430" y="9525"/>
                  <a:pt x="14288" y="9525"/>
                </a:cubicBezTo>
                <a:lnTo>
                  <a:pt x="195263" y="9525"/>
                </a:lnTo>
                <a:cubicBezTo>
                  <a:pt x="198120" y="9525"/>
                  <a:pt x="200025" y="11430"/>
                  <a:pt x="200025" y="14288"/>
                </a:cubicBezTo>
                <a:lnTo>
                  <a:pt x="200025" y="135255"/>
                </a:lnTo>
                <a:lnTo>
                  <a:pt x="157163" y="135255"/>
                </a:lnTo>
                <a:cubicBezTo>
                  <a:pt x="144780" y="135255"/>
                  <a:pt x="135255" y="144780"/>
                  <a:pt x="135255" y="157163"/>
                </a:cubicBezTo>
                <a:lnTo>
                  <a:pt x="135255" y="200025"/>
                </a:lnTo>
                <a:lnTo>
                  <a:pt x="14288" y="200025"/>
                </a:lnTo>
                <a:cubicBezTo>
                  <a:pt x="11430" y="200025"/>
                  <a:pt x="9525" y="198120"/>
                  <a:pt x="9525" y="195263"/>
                </a:cubicBezTo>
                <a:close/>
                <a:moveTo>
                  <a:pt x="193358" y="144780"/>
                </a:moveTo>
                <a:lnTo>
                  <a:pt x="144780" y="193358"/>
                </a:lnTo>
                <a:lnTo>
                  <a:pt x="144780" y="157163"/>
                </a:lnTo>
                <a:cubicBezTo>
                  <a:pt x="144780" y="150495"/>
                  <a:pt x="150495" y="144780"/>
                  <a:pt x="157163" y="144780"/>
                </a:cubicBezTo>
                <a:lnTo>
                  <a:pt x="193358" y="144780"/>
                </a:lnTo>
                <a:close/>
                <a:moveTo>
                  <a:pt x="38100" y="224790"/>
                </a:moveTo>
                <a:lnTo>
                  <a:pt x="38100" y="209550"/>
                </a:lnTo>
                <a:lnTo>
                  <a:pt x="139065" y="209550"/>
                </a:lnTo>
                <a:cubicBezTo>
                  <a:pt x="140018" y="209550"/>
                  <a:pt x="140018" y="209550"/>
                  <a:pt x="140970" y="209550"/>
                </a:cubicBezTo>
                <a:cubicBezTo>
                  <a:pt x="140970" y="209550"/>
                  <a:pt x="141923" y="209550"/>
                  <a:pt x="141923" y="208598"/>
                </a:cubicBezTo>
                <a:cubicBezTo>
                  <a:pt x="141923" y="208598"/>
                  <a:pt x="141923" y="208598"/>
                  <a:pt x="141923" y="208598"/>
                </a:cubicBezTo>
                <a:lnTo>
                  <a:pt x="141923" y="208598"/>
                </a:lnTo>
                <a:lnTo>
                  <a:pt x="141923" y="208598"/>
                </a:lnTo>
                <a:lnTo>
                  <a:pt x="207645" y="143828"/>
                </a:lnTo>
                <a:cubicBezTo>
                  <a:pt x="208598" y="142875"/>
                  <a:pt x="208598" y="141923"/>
                  <a:pt x="208598" y="140018"/>
                </a:cubicBezTo>
                <a:cubicBezTo>
                  <a:pt x="208598" y="140018"/>
                  <a:pt x="208598" y="140018"/>
                  <a:pt x="208598" y="140018"/>
                </a:cubicBezTo>
                <a:lnTo>
                  <a:pt x="208598" y="39053"/>
                </a:lnTo>
                <a:lnTo>
                  <a:pt x="222885" y="39053"/>
                </a:lnTo>
                <a:cubicBezTo>
                  <a:pt x="225743" y="39053"/>
                  <a:pt x="227648" y="40958"/>
                  <a:pt x="227648" y="43815"/>
                </a:cubicBezTo>
                <a:lnTo>
                  <a:pt x="227648" y="224790"/>
                </a:lnTo>
                <a:cubicBezTo>
                  <a:pt x="227648" y="227648"/>
                  <a:pt x="225743" y="229553"/>
                  <a:pt x="222885" y="229553"/>
                </a:cubicBezTo>
                <a:lnTo>
                  <a:pt x="41910" y="229553"/>
                </a:lnTo>
                <a:cubicBezTo>
                  <a:pt x="40005" y="229553"/>
                  <a:pt x="38100" y="226695"/>
                  <a:pt x="38100" y="224790"/>
                </a:cubicBezTo>
                <a:close/>
                <a:moveTo>
                  <a:pt x="257175" y="253365"/>
                </a:moveTo>
                <a:cubicBezTo>
                  <a:pt x="257175" y="256223"/>
                  <a:pt x="255270" y="258128"/>
                  <a:pt x="252413" y="258128"/>
                </a:cubicBezTo>
                <a:lnTo>
                  <a:pt x="71438" y="258128"/>
                </a:lnTo>
                <a:cubicBezTo>
                  <a:pt x="68580" y="258128"/>
                  <a:pt x="66675" y="256223"/>
                  <a:pt x="66675" y="253365"/>
                </a:cubicBezTo>
                <a:lnTo>
                  <a:pt x="66675" y="239078"/>
                </a:lnTo>
                <a:lnTo>
                  <a:pt x="223838" y="239078"/>
                </a:lnTo>
                <a:cubicBezTo>
                  <a:pt x="231458" y="239078"/>
                  <a:pt x="238125" y="232410"/>
                  <a:pt x="238125" y="224790"/>
                </a:cubicBezTo>
                <a:lnTo>
                  <a:pt x="238125" y="67628"/>
                </a:lnTo>
                <a:lnTo>
                  <a:pt x="252413" y="67628"/>
                </a:lnTo>
                <a:cubicBezTo>
                  <a:pt x="255270" y="67628"/>
                  <a:pt x="257175" y="69533"/>
                  <a:pt x="257175" y="72390"/>
                </a:cubicBezTo>
                <a:lnTo>
                  <a:pt x="257175" y="253365"/>
                </a:lnTo>
                <a:close/>
              </a:path>
            </a:pathLst>
          </a:custGeom>
          <a:solidFill>
            <a:srgbClr val="101010"/>
          </a:solidFill>
          <a:ln w="9525" cap="flat">
            <a:noFill/>
            <a:prstDash val="solid"/>
            <a:miter/>
          </a:ln>
        </p:spPr>
        <p:txBody>
          <a:bodyPr rtlCol="0" anchor="ctr"/>
          <a:lstStyle/>
          <a:p>
            <a:endParaRPr lang="de-DE"/>
          </a:p>
        </p:txBody>
      </p:sp>
      <p:grpSp>
        <p:nvGrpSpPr>
          <p:cNvPr id="5207" name="Graphic 3">
            <a:extLst>
              <a:ext uri="{FF2B5EF4-FFF2-40B4-BE49-F238E27FC236}">
                <a16:creationId xmlns:a16="http://schemas.microsoft.com/office/drawing/2014/main" id="{2B472556-358F-49A2-A1DF-AC74B91BB808}"/>
              </a:ext>
              <a:ext uri="{C183D7F6-B498-43B3-948B-1728B52AA6E4}">
                <adec:decorative xmlns:adec="http://schemas.microsoft.com/office/drawing/2017/decorative" val="1"/>
              </a:ext>
            </a:extLst>
          </p:cNvPr>
          <p:cNvGrpSpPr>
            <a:grpSpLocks noChangeAspect="1"/>
          </p:cNvGrpSpPr>
          <p:nvPr/>
        </p:nvGrpSpPr>
        <p:grpSpPr>
          <a:xfrm>
            <a:off x="2932630" y="3820301"/>
            <a:ext cx="108874" cy="108874"/>
            <a:chOff x="5948362" y="3281362"/>
            <a:chExt cx="285750" cy="285750"/>
          </a:xfrm>
          <a:solidFill>
            <a:srgbClr val="101010"/>
          </a:solidFill>
        </p:grpSpPr>
        <p:sp>
          <p:nvSpPr>
            <p:cNvPr id="5208" name="Freeform: Shape 5207">
              <a:extLst>
                <a:ext uri="{FF2B5EF4-FFF2-40B4-BE49-F238E27FC236}">
                  <a16:creationId xmlns:a16="http://schemas.microsoft.com/office/drawing/2014/main" id="{7A742B32-9671-4D72-BDBF-398C700A0D5A}"/>
                </a:ext>
              </a:extLst>
            </p:cNvPr>
            <p:cNvSpPr/>
            <p:nvPr/>
          </p:nvSpPr>
          <p:spPr>
            <a:xfrm>
              <a:off x="5948362" y="3281362"/>
              <a:ext cx="285750" cy="285750"/>
            </a:xfrm>
            <a:custGeom>
              <a:avLst/>
              <a:gdLst>
                <a:gd name="connsiteX0" fmla="*/ 256223 w 285750"/>
                <a:gd name="connsiteY0" fmla="*/ 0 h 285750"/>
                <a:gd name="connsiteX1" fmla="*/ 36195 w 285750"/>
                <a:gd name="connsiteY1" fmla="*/ 0 h 285750"/>
                <a:gd name="connsiteX2" fmla="*/ 0 w 285750"/>
                <a:gd name="connsiteY2" fmla="*/ 36195 h 285750"/>
                <a:gd name="connsiteX3" fmla="*/ 0 w 285750"/>
                <a:gd name="connsiteY3" fmla="*/ 256223 h 285750"/>
                <a:gd name="connsiteX4" fmla="*/ 36195 w 285750"/>
                <a:gd name="connsiteY4" fmla="*/ 292418 h 285750"/>
                <a:gd name="connsiteX5" fmla="*/ 256223 w 285750"/>
                <a:gd name="connsiteY5" fmla="*/ 292418 h 285750"/>
                <a:gd name="connsiteX6" fmla="*/ 292418 w 285750"/>
                <a:gd name="connsiteY6" fmla="*/ 256223 h 285750"/>
                <a:gd name="connsiteX7" fmla="*/ 292418 w 285750"/>
                <a:gd name="connsiteY7" fmla="*/ 36195 h 285750"/>
                <a:gd name="connsiteX8" fmla="*/ 256223 w 285750"/>
                <a:gd name="connsiteY8" fmla="*/ 0 h 285750"/>
                <a:gd name="connsiteX9" fmla="*/ 282893 w 285750"/>
                <a:gd name="connsiteY9" fmla="*/ 256223 h 285750"/>
                <a:gd name="connsiteX10" fmla="*/ 256223 w 285750"/>
                <a:gd name="connsiteY10" fmla="*/ 282893 h 285750"/>
                <a:gd name="connsiteX11" fmla="*/ 36195 w 285750"/>
                <a:gd name="connsiteY11" fmla="*/ 282893 h 285750"/>
                <a:gd name="connsiteX12" fmla="*/ 9525 w 285750"/>
                <a:gd name="connsiteY12" fmla="*/ 256223 h 285750"/>
                <a:gd name="connsiteX13" fmla="*/ 9525 w 285750"/>
                <a:gd name="connsiteY13" fmla="*/ 36195 h 285750"/>
                <a:gd name="connsiteX14" fmla="*/ 36195 w 285750"/>
                <a:gd name="connsiteY14" fmla="*/ 9525 h 285750"/>
                <a:gd name="connsiteX15" fmla="*/ 256223 w 285750"/>
                <a:gd name="connsiteY15" fmla="*/ 9525 h 285750"/>
                <a:gd name="connsiteX16" fmla="*/ 282893 w 285750"/>
                <a:gd name="connsiteY16" fmla="*/ 36195 h 285750"/>
                <a:gd name="connsiteX17" fmla="*/ 282893 w 285750"/>
                <a:gd name="connsiteY17" fmla="*/ 256223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5750" h="285750">
                  <a:moveTo>
                    <a:pt x="256223" y="0"/>
                  </a:moveTo>
                  <a:lnTo>
                    <a:pt x="36195" y="0"/>
                  </a:lnTo>
                  <a:cubicBezTo>
                    <a:pt x="16193" y="0"/>
                    <a:pt x="0" y="16193"/>
                    <a:pt x="0" y="36195"/>
                  </a:cubicBezTo>
                  <a:lnTo>
                    <a:pt x="0" y="256223"/>
                  </a:lnTo>
                  <a:cubicBezTo>
                    <a:pt x="0" y="276225"/>
                    <a:pt x="16193" y="292418"/>
                    <a:pt x="36195" y="292418"/>
                  </a:cubicBezTo>
                  <a:lnTo>
                    <a:pt x="256223" y="292418"/>
                  </a:lnTo>
                  <a:cubicBezTo>
                    <a:pt x="276225" y="292418"/>
                    <a:pt x="292418" y="276225"/>
                    <a:pt x="292418" y="256223"/>
                  </a:cubicBezTo>
                  <a:lnTo>
                    <a:pt x="292418" y="36195"/>
                  </a:lnTo>
                  <a:cubicBezTo>
                    <a:pt x="292418" y="16193"/>
                    <a:pt x="276225" y="0"/>
                    <a:pt x="256223" y="0"/>
                  </a:cubicBezTo>
                  <a:close/>
                  <a:moveTo>
                    <a:pt x="282893" y="256223"/>
                  </a:moveTo>
                  <a:cubicBezTo>
                    <a:pt x="282893" y="270510"/>
                    <a:pt x="270510" y="282893"/>
                    <a:pt x="256223" y="282893"/>
                  </a:cubicBezTo>
                  <a:lnTo>
                    <a:pt x="36195" y="282893"/>
                  </a:lnTo>
                  <a:cubicBezTo>
                    <a:pt x="21908" y="282893"/>
                    <a:pt x="9525" y="270510"/>
                    <a:pt x="9525" y="256223"/>
                  </a:cubicBezTo>
                  <a:lnTo>
                    <a:pt x="9525" y="36195"/>
                  </a:lnTo>
                  <a:cubicBezTo>
                    <a:pt x="9525" y="21908"/>
                    <a:pt x="21908" y="9525"/>
                    <a:pt x="36195" y="9525"/>
                  </a:cubicBezTo>
                  <a:lnTo>
                    <a:pt x="256223" y="9525"/>
                  </a:lnTo>
                  <a:cubicBezTo>
                    <a:pt x="270510" y="9525"/>
                    <a:pt x="282893" y="21908"/>
                    <a:pt x="282893" y="36195"/>
                  </a:cubicBezTo>
                  <a:lnTo>
                    <a:pt x="282893" y="256223"/>
                  </a:lnTo>
                  <a:close/>
                </a:path>
              </a:pathLst>
            </a:custGeom>
            <a:solidFill>
              <a:srgbClr val="101010"/>
            </a:solidFill>
            <a:ln w="9525" cap="flat">
              <a:noFill/>
              <a:prstDash val="solid"/>
              <a:miter/>
            </a:ln>
          </p:spPr>
          <p:txBody>
            <a:bodyPr rtlCol="0" anchor="ctr"/>
            <a:lstStyle/>
            <a:p>
              <a:endParaRPr lang="de-DE"/>
            </a:p>
          </p:txBody>
        </p:sp>
        <p:sp>
          <p:nvSpPr>
            <p:cNvPr id="5209" name="Freeform: Shape 5208">
              <a:extLst>
                <a:ext uri="{FF2B5EF4-FFF2-40B4-BE49-F238E27FC236}">
                  <a16:creationId xmlns:a16="http://schemas.microsoft.com/office/drawing/2014/main" id="{8A13EB7B-771E-4EAF-863F-168B27C23488}"/>
                </a:ext>
              </a:extLst>
            </p:cNvPr>
            <p:cNvSpPr/>
            <p:nvPr/>
          </p:nvSpPr>
          <p:spPr>
            <a:xfrm>
              <a:off x="5980747" y="3323272"/>
              <a:ext cx="209550" cy="200025"/>
            </a:xfrm>
            <a:custGeom>
              <a:avLst/>
              <a:gdLst>
                <a:gd name="connsiteX0" fmla="*/ 180975 w 209550"/>
                <a:gd name="connsiteY0" fmla="*/ 0 h 200025"/>
                <a:gd name="connsiteX1" fmla="*/ 47625 w 209550"/>
                <a:gd name="connsiteY1" fmla="*/ 0 h 200025"/>
                <a:gd name="connsiteX2" fmla="*/ 9525 w 209550"/>
                <a:gd name="connsiteY2" fmla="*/ 38100 h 200025"/>
                <a:gd name="connsiteX3" fmla="*/ 9525 w 209550"/>
                <a:gd name="connsiteY3" fmla="*/ 43815 h 200025"/>
                <a:gd name="connsiteX4" fmla="*/ 0 w 209550"/>
                <a:gd name="connsiteY4" fmla="*/ 53340 h 200025"/>
                <a:gd name="connsiteX5" fmla="*/ 0 w 209550"/>
                <a:gd name="connsiteY5" fmla="*/ 74295 h 200025"/>
                <a:gd name="connsiteX6" fmla="*/ 9525 w 209550"/>
                <a:gd name="connsiteY6" fmla="*/ 83820 h 200025"/>
                <a:gd name="connsiteX7" fmla="*/ 9525 w 209550"/>
                <a:gd name="connsiteY7" fmla="*/ 126683 h 200025"/>
                <a:gd name="connsiteX8" fmla="*/ 0 w 209550"/>
                <a:gd name="connsiteY8" fmla="*/ 136208 h 200025"/>
                <a:gd name="connsiteX9" fmla="*/ 0 w 209550"/>
                <a:gd name="connsiteY9" fmla="*/ 158115 h 200025"/>
                <a:gd name="connsiteX10" fmla="*/ 9525 w 209550"/>
                <a:gd name="connsiteY10" fmla="*/ 167640 h 200025"/>
                <a:gd name="connsiteX11" fmla="*/ 9525 w 209550"/>
                <a:gd name="connsiteY11" fmla="*/ 171450 h 200025"/>
                <a:gd name="connsiteX12" fmla="*/ 47625 w 209550"/>
                <a:gd name="connsiteY12" fmla="*/ 209550 h 200025"/>
                <a:gd name="connsiteX13" fmla="*/ 180975 w 209550"/>
                <a:gd name="connsiteY13" fmla="*/ 209550 h 200025"/>
                <a:gd name="connsiteX14" fmla="*/ 219075 w 209550"/>
                <a:gd name="connsiteY14" fmla="*/ 171450 h 200025"/>
                <a:gd name="connsiteX15" fmla="*/ 219075 w 209550"/>
                <a:gd name="connsiteY15" fmla="*/ 38100 h 200025"/>
                <a:gd name="connsiteX16" fmla="*/ 180975 w 209550"/>
                <a:gd name="connsiteY16" fmla="*/ 0 h 200025"/>
                <a:gd name="connsiteX17" fmla="*/ 9525 w 209550"/>
                <a:gd name="connsiteY17" fmla="*/ 137160 h 200025"/>
                <a:gd name="connsiteX18" fmla="*/ 18098 w 209550"/>
                <a:gd name="connsiteY18" fmla="*/ 137160 h 200025"/>
                <a:gd name="connsiteX19" fmla="*/ 18098 w 209550"/>
                <a:gd name="connsiteY19" fmla="*/ 158115 h 200025"/>
                <a:gd name="connsiteX20" fmla="*/ 9525 w 209550"/>
                <a:gd name="connsiteY20" fmla="*/ 158115 h 200025"/>
                <a:gd name="connsiteX21" fmla="*/ 9525 w 209550"/>
                <a:gd name="connsiteY21" fmla="*/ 137160 h 200025"/>
                <a:gd name="connsiteX22" fmla="*/ 18098 w 209550"/>
                <a:gd name="connsiteY22" fmla="*/ 158115 h 200025"/>
                <a:gd name="connsiteX23" fmla="*/ 18098 w 209550"/>
                <a:gd name="connsiteY23" fmla="*/ 162878 h 200025"/>
                <a:gd name="connsiteX24" fmla="*/ 18098 w 209550"/>
                <a:gd name="connsiteY24" fmla="*/ 158115 h 200025"/>
                <a:gd name="connsiteX25" fmla="*/ 18098 w 209550"/>
                <a:gd name="connsiteY25" fmla="*/ 158115 h 200025"/>
                <a:gd name="connsiteX26" fmla="*/ 9525 w 209550"/>
                <a:gd name="connsiteY26" fmla="*/ 53340 h 200025"/>
                <a:gd name="connsiteX27" fmla="*/ 18098 w 209550"/>
                <a:gd name="connsiteY27" fmla="*/ 53340 h 200025"/>
                <a:gd name="connsiteX28" fmla="*/ 18098 w 209550"/>
                <a:gd name="connsiteY28" fmla="*/ 74295 h 200025"/>
                <a:gd name="connsiteX29" fmla="*/ 9525 w 209550"/>
                <a:gd name="connsiteY29" fmla="*/ 74295 h 200025"/>
                <a:gd name="connsiteX30" fmla="*/ 9525 w 209550"/>
                <a:gd name="connsiteY30" fmla="*/ 53340 h 200025"/>
                <a:gd name="connsiteX31" fmla="*/ 18098 w 209550"/>
                <a:gd name="connsiteY31" fmla="*/ 78105 h 200025"/>
                <a:gd name="connsiteX32" fmla="*/ 18098 w 209550"/>
                <a:gd name="connsiteY32" fmla="*/ 74295 h 200025"/>
                <a:gd name="connsiteX33" fmla="*/ 18098 w 209550"/>
                <a:gd name="connsiteY33" fmla="*/ 74295 h 200025"/>
                <a:gd name="connsiteX34" fmla="*/ 18098 w 209550"/>
                <a:gd name="connsiteY34" fmla="*/ 78105 h 200025"/>
                <a:gd name="connsiteX35" fmla="*/ 18098 w 209550"/>
                <a:gd name="connsiteY35" fmla="*/ 78105 h 200025"/>
                <a:gd name="connsiteX36" fmla="*/ 209550 w 209550"/>
                <a:gd name="connsiteY36" fmla="*/ 171450 h 200025"/>
                <a:gd name="connsiteX37" fmla="*/ 180975 w 209550"/>
                <a:gd name="connsiteY37" fmla="*/ 200025 h 200025"/>
                <a:gd name="connsiteX38" fmla="*/ 47625 w 209550"/>
                <a:gd name="connsiteY38" fmla="*/ 200025 h 200025"/>
                <a:gd name="connsiteX39" fmla="*/ 19050 w 209550"/>
                <a:gd name="connsiteY39" fmla="*/ 171450 h 200025"/>
                <a:gd name="connsiteX40" fmla="*/ 19050 w 209550"/>
                <a:gd name="connsiteY40" fmla="*/ 167640 h 200025"/>
                <a:gd name="connsiteX41" fmla="*/ 28575 w 209550"/>
                <a:gd name="connsiteY41" fmla="*/ 158115 h 200025"/>
                <a:gd name="connsiteX42" fmla="*/ 28575 w 209550"/>
                <a:gd name="connsiteY42" fmla="*/ 137160 h 200025"/>
                <a:gd name="connsiteX43" fmla="*/ 19050 w 209550"/>
                <a:gd name="connsiteY43" fmla="*/ 127635 h 200025"/>
                <a:gd name="connsiteX44" fmla="*/ 19050 w 209550"/>
                <a:gd name="connsiteY44" fmla="*/ 84773 h 200025"/>
                <a:gd name="connsiteX45" fmla="*/ 28575 w 209550"/>
                <a:gd name="connsiteY45" fmla="*/ 75248 h 200025"/>
                <a:gd name="connsiteX46" fmla="*/ 28575 w 209550"/>
                <a:gd name="connsiteY46" fmla="*/ 53340 h 200025"/>
                <a:gd name="connsiteX47" fmla="*/ 19050 w 209550"/>
                <a:gd name="connsiteY47" fmla="*/ 43815 h 200025"/>
                <a:gd name="connsiteX48" fmla="*/ 19050 w 209550"/>
                <a:gd name="connsiteY48" fmla="*/ 38100 h 200025"/>
                <a:gd name="connsiteX49" fmla="*/ 47625 w 209550"/>
                <a:gd name="connsiteY49" fmla="*/ 9525 h 200025"/>
                <a:gd name="connsiteX50" fmla="*/ 180975 w 209550"/>
                <a:gd name="connsiteY50" fmla="*/ 9525 h 200025"/>
                <a:gd name="connsiteX51" fmla="*/ 209550 w 209550"/>
                <a:gd name="connsiteY51" fmla="*/ 38100 h 200025"/>
                <a:gd name="connsiteX52" fmla="*/ 209550 w 209550"/>
                <a:gd name="connsiteY52" fmla="*/ 17145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9550" h="200025">
                  <a:moveTo>
                    <a:pt x="180975" y="0"/>
                  </a:moveTo>
                  <a:lnTo>
                    <a:pt x="47625" y="0"/>
                  </a:lnTo>
                  <a:cubicBezTo>
                    <a:pt x="26670" y="0"/>
                    <a:pt x="9525" y="17145"/>
                    <a:pt x="9525" y="38100"/>
                  </a:cubicBezTo>
                  <a:lnTo>
                    <a:pt x="9525" y="43815"/>
                  </a:lnTo>
                  <a:cubicBezTo>
                    <a:pt x="4763" y="43815"/>
                    <a:pt x="0" y="48578"/>
                    <a:pt x="0" y="53340"/>
                  </a:cubicBezTo>
                  <a:lnTo>
                    <a:pt x="0" y="74295"/>
                  </a:lnTo>
                  <a:cubicBezTo>
                    <a:pt x="0" y="79058"/>
                    <a:pt x="3810" y="83820"/>
                    <a:pt x="9525" y="83820"/>
                  </a:cubicBezTo>
                  <a:lnTo>
                    <a:pt x="9525" y="126683"/>
                  </a:lnTo>
                  <a:cubicBezTo>
                    <a:pt x="4763" y="126683"/>
                    <a:pt x="0" y="131445"/>
                    <a:pt x="0" y="136208"/>
                  </a:cubicBezTo>
                  <a:lnTo>
                    <a:pt x="0" y="158115"/>
                  </a:lnTo>
                  <a:cubicBezTo>
                    <a:pt x="0" y="162878"/>
                    <a:pt x="3810" y="167640"/>
                    <a:pt x="9525" y="167640"/>
                  </a:cubicBezTo>
                  <a:lnTo>
                    <a:pt x="9525" y="171450"/>
                  </a:lnTo>
                  <a:cubicBezTo>
                    <a:pt x="9525" y="192405"/>
                    <a:pt x="26670" y="209550"/>
                    <a:pt x="47625" y="209550"/>
                  </a:cubicBezTo>
                  <a:lnTo>
                    <a:pt x="180975" y="209550"/>
                  </a:lnTo>
                  <a:cubicBezTo>
                    <a:pt x="201930" y="209550"/>
                    <a:pt x="219075" y="192405"/>
                    <a:pt x="219075" y="171450"/>
                  </a:cubicBezTo>
                  <a:lnTo>
                    <a:pt x="219075" y="38100"/>
                  </a:lnTo>
                  <a:cubicBezTo>
                    <a:pt x="219075" y="16192"/>
                    <a:pt x="201930" y="0"/>
                    <a:pt x="180975" y="0"/>
                  </a:cubicBezTo>
                  <a:close/>
                  <a:moveTo>
                    <a:pt x="9525" y="137160"/>
                  </a:moveTo>
                  <a:lnTo>
                    <a:pt x="18098" y="137160"/>
                  </a:lnTo>
                  <a:lnTo>
                    <a:pt x="18098" y="158115"/>
                  </a:lnTo>
                  <a:lnTo>
                    <a:pt x="9525" y="158115"/>
                  </a:lnTo>
                  <a:lnTo>
                    <a:pt x="9525" y="137160"/>
                  </a:lnTo>
                  <a:close/>
                  <a:moveTo>
                    <a:pt x="18098" y="158115"/>
                  </a:moveTo>
                  <a:lnTo>
                    <a:pt x="18098" y="162878"/>
                  </a:lnTo>
                  <a:lnTo>
                    <a:pt x="18098" y="158115"/>
                  </a:lnTo>
                  <a:cubicBezTo>
                    <a:pt x="18098" y="158115"/>
                    <a:pt x="18098" y="158115"/>
                    <a:pt x="18098" y="158115"/>
                  </a:cubicBezTo>
                  <a:close/>
                  <a:moveTo>
                    <a:pt x="9525" y="53340"/>
                  </a:moveTo>
                  <a:lnTo>
                    <a:pt x="18098" y="53340"/>
                  </a:lnTo>
                  <a:lnTo>
                    <a:pt x="18098" y="74295"/>
                  </a:lnTo>
                  <a:lnTo>
                    <a:pt x="9525" y="74295"/>
                  </a:lnTo>
                  <a:lnTo>
                    <a:pt x="9525" y="53340"/>
                  </a:lnTo>
                  <a:close/>
                  <a:moveTo>
                    <a:pt x="18098" y="78105"/>
                  </a:moveTo>
                  <a:lnTo>
                    <a:pt x="18098" y="74295"/>
                  </a:lnTo>
                  <a:cubicBezTo>
                    <a:pt x="18098" y="74295"/>
                    <a:pt x="18098" y="74295"/>
                    <a:pt x="18098" y="74295"/>
                  </a:cubicBezTo>
                  <a:lnTo>
                    <a:pt x="18098" y="78105"/>
                  </a:lnTo>
                  <a:cubicBezTo>
                    <a:pt x="18098" y="78105"/>
                    <a:pt x="18098" y="78105"/>
                    <a:pt x="18098" y="78105"/>
                  </a:cubicBezTo>
                  <a:close/>
                  <a:moveTo>
                    <a:pt x="209550" y="171450"/>
                  </a:moveTo>
                  <a:cubicBezTo>
                    <a:pt x="209550" y="187643"/>
                    <a:pt x="197168" y="200025"/>
                    <a:pt x="180975" y="200025"/>
                  </a:cubicBezTo>
                  <a:lnTo>
                    <a:pt x="47625" y="200025"/>
                  </a:lnTo>
                  <a:cubicBezTo>
                    <a:pt x="31432" y="200025"/>
                    <a:pt x="19050" y="187643"/>
                    <a:pt x="19050" y="171450"/>
                  </a:cubicBezTo>
                  <a:lnTo>
                    <a:pt x="19050" y="167640"/>
                  </a:lnTo>
                  <a:cubicBezTo>
                    <a:pt x="23813" y="167640"/>
                    <a:pt x="28575" y="162878"/>
                    <a:pt x="28575" y="158115"/>
                  </a:cubicBezTo>
                  <a:lnTo>
                    <a:pt x="28575" y="137160"/>
                  </a:lnTo>
                  <a:cubicBezTo>
                    <a:pt x="28575" y="132397"/>
                    <a:pt x="24765" y="127635"/>
                    <a:pt x="19050" y="127635"/>
                  </a:cubicBezTo>
                  <a:lnTo>
                    <a:pt x="19050" y="84773"/>
                  </a:lnTo>
                  <a:cubicBezTo>
                    <a:pt x="23813" y="84773"/>
                    <a:pt x="28575" y="80010"/>
                    <a:pt x="28575" y="75248"/>
                  </a:cubicBezTo>
                  <a:lnTo>
                    <a:pt x="28575" y="53340"/>
                  </a:lnTo>
                  <a:cubicBezTo>
                    <a:pt x="28575" y="48578"/>
                    <a:pt x="24765" y="43815"/>
                    <a:pt x="19050" y="43815"/>
                  </a:cubicBezTo>
                  <a:lnTo>
                    <a:pt x="19050" y="38100"/>
                  </a:lnTo>
                  <a:cubicBezTo>
                    <a:pt x="19050" y="21907"/>
                    <a:pt x="31432" y="9525"/>
                    <a:pt x="47625" y="9525"/>
                  </a:cubicBezTo>
                  <a:lnTo>
                    <a:pt x="180975" y="9525"/>
                  </a:lnTo>
                  <a:cubicBezTo>
                    <a:pt x="197168" y="9525"/>
                    <a:pt x="209550" y="21907"/>
                    <a:pt x="209550" y="38100"/>
                  </a:cubicBezTo>
                  <a:lnTo>
                    <a:pt x="209550" y="171450"/>
                  </a:lnTo>
                  <a:close/>
                </a:path>
              </a:pathLst>
            </a:custGeom>
            <a:solidFill>
              <a:srgbClr val="101010"/>
            </a:solidFill>
            <a:ln w="9525" cap="flat">
              <a:noFill/>
              <a:prstDash val="solid"/>
              <a:miter/>
            </a:ln>
          </p:spPr>
          <p:txBody>
            <a:bodyPr rtlCol="0" anchor="ctr"/>
            <a:lstStyle/>
            <a:p>
              <a:endParaRPr lang="de-DE"/>
            </a:p>
          </p:txBody>
        </p:sp>
        <p:sp>
          <p:nvSpPr>
            <p:cNvPr id="5210" name="Freeform: Shape 5209">
              <a:extLst>
                <a:ext uri="{FF2B5EF4-FFF2-40B4-BE49-F238E27FC236}">
                  <a16:creationId xmlns:a16="http://schemas.microsoft.com/office/drawing/2014/main" id="{0B212E46-7CBA-4D1A-9415-9CFEAB659848}"/>
                </a:ext>
              </a:extLst>
            </p:cNvPr>
            <p:cNvSpPr/>
            <p:nvPr/>
          </p:nvSpPr>
          <p:spPr>
            <a:xfrm>
              <a:off x="6046852" y="3372802"/>
              <a:ext cx="95250" cy="104775"/>
            </a:xfrm>
            <a:custGeom>
              <a:avLst/>
              <a:gdLst>
                <a:gd name="connsiteX0" fmla="*/ 90105 w 95250"/>
                <a:gd name="connsiteY0" fmla="*/ 24765 h 104775"/>
                <a:gd name="connsiteX1" fmla="*/ 73912 w 95250"/>
                <a:gd name="connsiteY1" fmla="*/ 34290 h 104775"/>
                <a:gd name="connsiteX2" fmla="*/ 52957 w 95250"/>
                <a:gd name="connsiteY2" fmla="*/ 22860 h 104775"/>
                <a:gd name="connsiteX3" fmla="*/ 52957 w 95250"/>
                <a:gd name="connsiteY3" fmla="*/ 4763 h 104775"/>
                <a:gd name="connsiteX4" fmla="*/ 48195 w 95250"/>
                <a:gd name="connsiteY4" fmla="*/ 0 h 104775"/>
                <a:gd name="connsiteX5" fmla="*/ 43432 w 95250"/>
                <a:gd name="connsiteY5" fmla="*/ 4763 h 104775"/>
                <a:gd name="connsiteX6" fmla="*/ 43432 w 95250"/>
                <a:gd name="connsiteY6" fmla="*/ 22860 h 104775"/>
                <a:gd name="connsiteX7" fmla="*/ 22477 w 95250"/>
                <a:gd name="connsiteY7" fmla="*/ 34290 h 104775"/>
                <a:gd name="connsiteX8" fmla="*/ 7237 w 95250"/>
                <a:gd name="connsiteY8" fmla="*/ 24765 h 104775"/>
                <a:gd name="connsiteX9" fmla="*/ 570 w 95250"/>
                <a:gd name="connsiteY9" fmla="*/ 26670 h 104775"/>
                <a:gd name="connsiteX10" fmla="*/ 2475 w 95250"/>
                <a:gd name="connsiteY10" fmla="*/ 33338 h 104775"/>
                <a:gd name="connsiteX11" fmla="*/ 17715 w 95250"/>
                <a:gd name="connsiteY11" fmla="*/ 42863 h 104775"/>
                <a:gd name="connsiteX12" fmla="*/ 14857 w 95250"/>
                <a:gd name="connsiteY12" fmla="*/ 56197 h 104775"/>
                <a:gd name="connsiteX13" fmla="*/ 17715 w 95250"/>
                <a:gd name="connsiteY13" fmla="*/ 69532 h 104775"/>
                <a:gd name="connsiteX14" fmla="*/ 2475 w 95250"/>
                <a:gd name="connsiteY14" fmla="*/ 79057 h 104775"/>
                <a:gd name="connsiteX15" fmla="*/ 570 w 95250"/>
                <a:gd name="connsiteY15" fmla="*/ 85725 h 104775"/>
                <a:gd name="connsiteX16" fmla="*/ 4380 w 95250"/>
                <a:gd name="connsiteY16" fmla="*/ 87630 h 104775"/>
                <a:gd name="connsiteX17" fmla="*/ 7237 w 95250"/>
                <a:gd name="connsiteY17" fmla="*/ 86678 h 104775"/>
                <a:gd name="connsiteX18" fmla="*/ 22477 w 95250"/>
                <a:gd name="connsiteY18" fmla="*/ 77153 h 104775"/>
                <a:gd name="connsiteX19" fmla="*/ 43432 w 95250"/>
                <a:gd name="connsiteY19" fmla="*/ 88582 h 104775"/>
                <a:gd name="connsiteX20" fmla="*/ 43432 w 95250"/>
                <a:gd name="connsiteY20" fmla="*/ 106680 h 104775"/>
                <a:gd name="connsiteX21" fmla="*/ 48195 w 95250"/>
                <a:gd name="connsiteY21" fmla="*/ 111442 h 104775"/>
                <a:gd name="connsiteX22" fmla="*/ 52957 w 95250"/>
                <a:gd name="connsiteY22" fmla="*/ 106680 h 104775"/>
                <a:gd name="connsiteX23" fmla="*/ 52957 w 95250"/>
                <a:gd name="connsiteY23" fmla="*/ 88582 h 104775"/>
                <a:gd name="connsiteX24" fmla="*/ 73912 w 95250"/>
                <a:gd name="connsiteY24" fmla="*/ 77153 h 104775"/>
                <a:gd name="connsiteX25" fmla="*/ 89152 w 95250"/>
                <a:gd name="connsiteY25" fmla="*/ 86678 h 104775"/>
                <a:gd name="connsiteX26" fmla="*/ 92010 w 95250"/>
                <a:gd name="connsiteY26" fmla="*/ 87630 h 104775"/>
                <a:gd name="connsiteX27" fmla="*/ 95820 w 95250"/>
                <a:gd name="connsiteY27" fmla="*/ 85725 h 104775"/>
                <a:gd name="connsiteX28" fmla="*/ 93915 w 95250"/>
                <a:gd name="connsiteY28" fmla="*/ 79057 h 104775"/>
                <a:gd name="connsiteX29" fmla="*/ 78675 w 95250"/>
                <a:gd name="connsiteY29" fmla="*/ 69532 h 104775"/>
                <a:gd name="connsiteX30" fmla="*/ 81532 w 95250"/>
                <a:gd name="connsiteY30" fmla="*/ 56197 h 104775"/>
                <a:gd name="connsiteX31" fmla="*/ 78675 w 95250"/>
                <a:gd name="connsiteY31" fmla="*/ 42863 h 104775"/>
                <a:gd name="connsiteX32" fmla="*/ 94867 w 95250"/>
                <a:gd name="connsiteY32" fmla="*/ 33338 h 104775"/>
                <a:gd name="connsiteX33" fmla="*/ 96772 w 95250"/>
                <a:gd name="connsiteY33" fmla="*/ 26670 h 104775"/>
                <a:gd name="connsiteX34" fmla="*/ 90105 w 95250"/>
                <a:gd name="connsiteY34" fmla="*/ 24765 h 104775"/>
                <a:gd name="connsiteX35" fmla="*/ 48195 w 95250"/>
                <a:gd name="connsiteY35" fmla="*/ 80010 h 104775"/>
                <a:gd name="connsiteX36" fmla="*/ 24382 w 95250"/>
                <a:gd name="connsiteY36" fmla="*/ 56197 h 104775"/>
                <a:gd name="connsiteX37" fmla="*/ 48195 w 95250"/>
                <a:gd name="connsiteY37" fmla="*/ 32385 h 104775"/>
                <a:gd name="connsiteX38" fmla="*/ 72007 w 95250"/>
                <a:gd name="connsiteY38" fmla="*/ 56197 h 104775"/>
                <a:gd name="connsiteX39" fmla="*/ 48195 w 95250"/>
                <a:gd name="connsiteY39" fmla="*/ 8001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250" h="104775">
                  <a:moveTo>
                    <a:pt x="90105" y="24765"/>
                  </a:moveTo>
                  <a:lnTo>
                    <a:pt x="73912" y="34290"/>
                  </a:lnTo>
                  <a:cubicBezTo>
                    <a:pt x="69150" y="28575"/>
                    <a:pt x="61530" y="23813"/>
                    <a:pt x="52957" y="22860"/>
                  </a:cubicBezTo>
                  <a:lnTo>
                    <a:pt x="52957" y="4763"/>
                  </a:lnTo>
                  <a:cubicBezTo>
                    <a:pt x="52957" y="1905"/>
                    <a:pt x="51052" y="0"/>
                    <a:pt x="48195" y="0"/>
                  </a:cubicBezTo>
                  <a:cubicBezTo>
                    <a:pt x="45337" y="0"/>
                    <a:pt x="43432" y="1905"/>
                    <a:pt x="43432" y="4763"/>
                  </a:cubicBezTo>
                  <a:lnTo>
                    <a:pt x="43432" y="22860"/>
                  </a:lnTo>
                  <a:cubicBezTo>
                    <a:pt x="34860" y="23813"/>
                    <a:pt x="28192" y="28575"/>
                    <a:pt x="22477" y="34290"/>
                  </a:cubicBezTo>
                  <a:lnTo>
                    <a:pt x="7237" y="24765"/>
                  </a:lnTo>
                  <a:cubicBezTo>
                    <a:pt x="5332" y="23813"/>
                    <a:pt x="2475" y="23813"/>
                    <a:pt x="570" y="26670"/>
                  </a:cubicBezTo>
                  <a:cubicBezTo>
                    <a:pt x="-383" y="28575"/>
                    <a:pt x="-383" y="31432"/>
                    <a:pt x="2475" y="33338"/>
                  </a:cubicBezTo>
                  <a:lnTo>
                    <a:pt x="17715" y="42863"/>
                  </a:lnTo>
                  <a:cubicBezTo>
                    <a:pt x="15810" y="46672"/>
                    <a:pt x="14857" y="51435"/>
                    <a:pt x="14857" y="56197"/>
                  </a:cubicBezTo>
                  <a:cubicBezTo>
                    <a:pt x="14857" y="60960"/>
                    <a:pt x="15810" y="65723"/>
                    <a:pt x="17715" y="69532"/>
                  </a:cubicBezTo>
                  <a:lnTo>
                    <a:pt x="2475" y="79057"/>
                  </a:lnTo>
                  <a:cubicBezTo>
                    <a:pt x="570" y="80010"/>
                    <a:pt x="-383" y="83820"/>
                    <a:pt x="570" y="85725"/>
                  </a:cubicBezTo>
                  <a:cubicBezTo>
                    <a:pt x="1522" y="87630"/>
                    <a:pt x="3427" y="87630"/>
                    <a:pt x="4380" y="87630"/>
                  </a:cubicBezTo>
                  <a:cubicBezTo>
                    <a:pt x="5332" y="87630"/>
                    <a:pt x="6285" y="87630"/>
                    <a:pt x="7237" y="86678"/>
                  </a:cubicBezTo>
                  <a:lnTo>
                    <a:pt x="22477" y="77153"/>
                  </a:lnTo>
                  <a:cubicBezTo>
                    <a:pt x="27240" y="82867"/>
                    <a:pt x="34860" y="87630"/>
                    <a:pt x="43432" y="88582"/>
                  </a:cubicBezTo>
                  <a:lnTo>
                    <a:pt x="43432" y="106680"/>
                  </a:lnTo>
                  <a:cubicBezTo>
                    <a:pt x="43432" y="109538"/>
                    <a:pt x="45337" y="111442"/>
                    <a:pt x="48195" y="111442"/>
                  </a:cubicBezTo>
                  <a:cubicBezTo>
                    <a:pt x="51052" y="111442"/>
                    <a:pt x="52957" y="109538"/>
                    <a:pt x="52957" y="106680"/>
                  </a:cubicBezTo>
                  <a:lnTo>
                    <a:pt x="52957" y="88582"/>
                  </a:lnTo>
                  <a:cubicBezTo>
                    <a:pt x="61530" y="87630"/>
                    <a:pt x="68197" y="82867"/>
                    <a:pt x="73912" y="77153"/>
                  </a:cubicBezTo>
                  <a:lnTo>
                    <a:pt x="89152" y="86678"/>
                  </a:lnTo>
                  <a:cubicBezTo>
                    <a:pt x="90105" y="87630"/>
                    <a:pt x="91057" y="87630"/>
                    <a:pt x="92010" y="87630"/>
                  </a:cubicBezTo>
                  <a:cubicBezTo>
                    <a:pt x="93915" y="87630"/>
                    <a:pt x="94867" y="86678"/>
                    <a:pt x="95820" y="85725"/>
                  </a:cubicBezTo>
                  <a:cubicBezTo>
                    <a:pt x="96772" y="83820"/>
                    <a:pt x="96772" y="80963"/>
                    <a:pt x="93915" y="79057"/>
                  </a:cubicBezTo>
                  <a:lnTo>
                    <a:pt x="78675" y="69532"/>
                  </a:lnTo>
                  <a:cubicBezTo>
                    <a:pt x="80580" y="65723"/>
                    <a:pt x="81532" y="60960"/>
                    <a:pt x="81532" y="56197"/>
                  </a:cubicBezTo>
                  <a:cubicBezTo>
                    <a:pt x="81532" y="51435"/>
                    <a:pt x="80580" y="46672"/>
                    <a:pt x="78675" y="42863"/>
                  </a:cubicBezTo>
                  <a:lnTo>
                    <a:pt x="94867" y="33338"/>
                  </a:lnTo>
                  <a:cubicBezTo>
                    <a:pt x="96772" y="32385"/>
                    <a:pt x="97725" y="28575"/>
                    <a:pt x="96772" y="26670"/>
                  </a:cubicBezTo>
                  <a:cubicBezTo>
                    <a:pt x="95820" y="24765"/>
                    <a:pt x="92010" y="22860"/>
                    <a:pt x="90105" y="24765"/>
                  </a:cubicBezTo>
                  <a:close/>
                  <a:moveTo>
                    <a:pt x="48195" y="80010"/>
                  </a:moveTo>
                  <a:cubicBezTo>
                    <a:pt x="34860" y="80010"/>
                    <a:pt x="24382" y="69532"/>
                    <a:pt x="24382" y="56197"/>
                  </a:cubicBezTo>
                  <a:cubicBezTo>
                    <a:pt x="24382" y="42863"/>
                    <a:pt x="34860" y="32385"/>
                    <a:pt x="48195" y="32385"/>
                  </a:cubicBezTo>
                  <a:cubicBezTo>
                    <a:pt x="61530" y="32385"/>
                    <a:pt x="72007" y="42863"/>
                    <a:pt x="72007" y="56197"/>
                  </a:cubicBezTo>
                  <a:cubicBezTo>
                    <a:pt x="72007" y="69532"/>
                    <a:pt x="61530" y="80010"/>
                    <a:pt x="48195" y="80010"/>
                  </a:cubicBezTo>
                  <a:close/>
                </a:path>
              </a:pathLst>
            </a:custGeom>
            <a:solidFill>
              <a:srgbClr val="101010"/>
            </a:solidFill>
            <a:ln w="9525" cap="flat">
              <a:noFill/>
              <a:prstDash val="solid"/>
              <a:miter/>
            </a:ln>
          </p:spPr>
          <p:txBody>
            <a:bodyPr rtlCol="0" anchor="ctr"/>
            <a:lstStyle/>
            <a:p>
              <a:endParaRPr lang="de-DE"/>
            </a:p>
          </p:txBody>
        </p:sp>
      </p:grpSp>
      <p:sp>
        <p:nvSpPr>
          <p:cNvPr id="5211" name="Graphic 3">
            <a:extLst>
              <a:ext uri="{FF2B5EF4-FFF2-40B4-BE49-F238E27FC236}">
                <a16:creationId xmlns:a16="http://schemas.microsoft.com/office/drawing/2014/main" id="{88666621-CB78-4451-9064-133F1AC8B8DF}"/>
              </a:ext>
              <a:ext uri="{C183D7F6-B498-43B3-948B-1728B52AA6E4}">
                <adec:decorative xmlns:adec="http://schemas.microsoft.com/office/drawing/2017/decorative" val="1"/>
              </a:ext>
            </a:extLst>
          </p:cNvPr>
          <p:cNvSpPr>
            <a:spLocks noChangeAspect="1"/>
          </p:cNvSpPr>
          <p:nvPr/>
        </p:nvSpPr>
        <p:spPr>
          <a:xfrm>
            <a:off x="3198109" y="3849364"/>
            <a:ext cx="109307" cy="50749"/>
          </a:xfrm>
          <a:custGeom>
            <a:avLst/>
            <a:gdLst>
              <a:gd name="connsiteX0" fmla="*/ 378619 w 400050"/>
              <a:gd name="connsiteY0" fmla="*/ 21431 h 185736"/>
              <a:gd name="connsiteX1" fmla="*/ 364331 w 400050"/>
              <a:gd name="connsiteY1" fmla="*/ 21431 h 185736"/>
              <a:gd name="connsiteX2" fmla="*/ 357188 w 400050"/>
              <a:gd name="connsiteY2" fmla="*/ 22860 h 185736"/>
              <a:gd name="connsiteX3" fmla="*/ 357188 w 400050"/>
              <a:gd name="connsiteY3" fmla="*/ 21431 h 185736"/>
              <a:gd name="connsiteX4" fmla="*/ 335756 w 400050"/>
              <a:gd name="connsiteY4" fmla="*/ 0 h 185736"/>
              <a:gd name="connsiteX5" fmla="*/ 300038 w 400050"/>
              <a:gd name="connsiteY5" fmla="*/ 0 h 185736"/>
              <a:gd name="connsiteX6" fmla="*/ 278606 w 400050"/>
              <a:gd name="connsiteY6" fmla="*/ 21431 h 185736"/>
              <a:gd name="connsiteX7" fmla="*/ 278606 w 400050"/>
              <a:gd name="connsiteY7" fmla="*/ 64293 h 185736"/>
              <a:gd name="connsiteX8" fmla="*/ 121444 w 400050"/>
              <a:gd name="connsiteY8" fmla="*/ 64293 h 185736"/>
              <a:gd name="connsiteX9" fmla="*/ 121444 w 400050"/>
              <a:gd name="connsiteY9" fmla="*/ 21431 h 185736"/>
              <a:gd name="connsiteX10" fmla="*/ 100013 w 400050"/>
              <a:gd name="connsiteY10" fmla="*/ 0 h 185736"/>
              <a:gd name="connsiteX11" fmla="*/ 64294 w 400050"/>
              <a:gd name="connsiteY11" fmla="*/ 0 h 185736"/>
              <a:gd name="connsiteX12" fmla="*/ 42863 w 400050"/>
              <a:gd name="connsiteY12" fmla="*/ 21431 h 185736"/>
              <a:gd name="connsiteX13" fmla="*/ 42863 w 400050"/>
              <a:gd name="connsiteY13" fmla="*/ 22860 h 185736"/>
              <a:gd name="connsiteX14" fmla="*/ 35719 w 400050"/>
              <a:gd name="connsiteY14" fmla="*/ 21431 h 185736"/>
              <a:gd name="connsiteX15" fmla="*/ 21431 w 400050"/>
              <a:gd name="connsiteY15" fmla="*/ 21431 h 185736"/>
              <a:gd name="connsiteX16" fmla="*/ 0 w 400050"/>
              <a:gd name="connsiteY16" fmla="*/ 42862 h 185736"/>
              <a:gd name="connsiteX17" fmla="*/ 0 w 400050"/>
              <a:gd name="connsiteY17" fmla="*/ 142874 h 185736"/>
              <a:gd name="connsiteX18" fmla="*/ 21431 w 400050"/>
              <a:gd name="connsiteY18" fmla="*/ 164305 h 185736"/>
              <a:gd name="connsiteX19" fmla="*/ 35719 w 400050"/>
              <a:gd name="connsiteY19" fmla="*/ 164305 h 185736"/>
              <a:gd name="connsiteX20" fmla="*/ 42863 w 400050"/>
              <a:gd name="connsiteY20" fmla="*/ 162876 h 185736"/>
              <a:gd name="connsiteX21" fmla="*/ 42863 w 400050"/>
              <a:gd name="connsiteY21" fmla="*/ 164305 h 185736"/>
              <a:gd name="connsiteX22" fmla="*/ 64294 w 400050"/>
              <a:gd name="connsiteY22" fmla="*/ 185736 h 185736"/>
              <a:gd name="connsiteX23" fmla="*/ 100013 w 400050"/>
              <a:gd name="connsiteY23" fmla="*/ 185736 h 185736"/>
              <a:gd name="connsiteX24" fmla="*/ 121444 w 400050"/>
              <a:gd name="connsiteY24" fmla="*/ 164305 h 185736"/>
              <a:gd name="connsiteX25" fmla="*/ 121444 w 400050"/>
              <a:gd name="connsiteY25" fmla="*/ 121443 h 185736"/>
              <a:gd name="connsiteX26" fmla="*/ 278606 w 400050"/>
              <a:gd name="connsiteY26" fmla="*/ 121443 h 185736"/>
              <a:gd name="connsiteX27" fmla="*/ 278606 w 400050"/>
              <a:gd name="connsiteY27" fmla="*/ 164305 h 185736"/>
              <a:gd name="connsiteX28" fmla="*/ 300038 w 400050"/>
              <a:gd name="connsiteY28" fmla="*/ 185736 h 185736"/>
              <a:gd name="connsiteX29" fmla="*/ 335756 w 400050"/>
              <a:gd name="connsiteY29" fmla="*/ 185736 h 185736"/>
              <a:gd name="connsiteX30" fmla="*/ 357188 w 400050"/>
              <a:gd name="connsiteY30" fmla="*/ 164305 h 185736"/>
              <a:gd name="connsiteX31" fmla="*/ 357188 w 400050"/>
              <a:gd name="connsiteY31" fmla="*/ 162876 h 185736"/>
              <a:gd name="connsiteX32" fmla="*/ 364331 w 400050"/>
              <a:gd name="connsiteY32" fmla="*/ 164305 h 185736"/>
              <a:gd name="connsiteX33" fmla="*/ 378619 w 400050"/>
              <a:gd name="connsiteY33" fmla="*/ 164305 h 185736"/>
              <a:gd name="connsiteX34" fmla="*/ 400050 w 400050"/>
              <a:gd name="connsiteY34" fmla="*/ 142874 h 185736"/>
              <a:gd name="connsiteX35" fmla="*/ 400050 w 400050"/>
              <a:gd name="connsiteY35" fmla="*/ 42862 h 185736"/>
              <a:gd name="connsiteX36" fmla="*/ 378619 w 400050"/>
              <a:gd name="connsiteY36" fmla="*/ 21431 h 185736"/>
              <a:gd name="connsiteX37" fmla="*/ 35719 w 400050"/>
              <a:gd name="connsiteY37" fmla="*/ 150018 h 185736"/>
              <a:gd name="connsiteX38" fmla="*/ 21431 w 400050"/>
              <a:gd name="connsiteY38" fmla="*/ 150018 h 185736"/>
              <a:gd name="connsiteX39" fmla="*/ 14288 w 400050"/>
              <a:gd name="connsiteY39" fmla="*/ 142874 h 185736"/>
              <a:gd name="connsiteX40" fmla="*/ 14288 w 400050"/>
              <a:gd name="connsiteY40" fmla="*/ 42862 h 185736"/>
              <a:gd name="connsiteX41" fmla="*/ 21431 w 400050"/>
              <a:gd name="connsiteY41" fmla="*/ 35718 h 185736"/>
              <a:gd name="connsiteX42" fmla="*/ 35719 w 400050"/>
              <a:gd name="connsiteY42" fmla="*/ 35718 h 185736"/>
              <a:gd name="connsiteX43" fmla="*/ 42863 w 400050"/>
              <a:gd name="connsiteY43" fmla="*/ 42862 h 185736"/>
              <a:gd name="connsiteX44" fmla="*/ 42863 w 400050"/>
              <a:gd name="connsiteY44" fmla="*/ 142874 h 185736"/>
              <a:gd name="connsiteX45" fmla="*/ 35719 w 400050"/>
              <a:gd name="connsiteY45" fmla="*/ 150018 h 185736"/>
              <a:gd name="connsiteX46" fmla="*/ 107156 w 400050"/>
              <a:gd name="connsiteY46" fmla="*/ 164305 h 185736"/>
              <a:gd name="connsiteX47" fmla="*/ 100013 w 400050"/>
              <a:gd name="connsiteY47" fmla="*/ 171449 h 185736"/>
              <a:gd name="connsiteX48" fmla="*/ 64294 w 400050"/>
              <a:gd name="connsiteY48" fmla="*/ 171449 h 185736"/>
              <a:gd name="connsiteX49" fmla="*/ 57150 w 400050"/>
              <a:gd name="connsiteY49" fmla="*/ 164305 h 185736"/>
              <a:gd name="connsiteX50" fmla="*/ 57150 w 400050"/>
              <a:gd name="connsiteY50" fmla="*/ 142874 h 185736"/>
              <a:gd name="connsiteX51" fmla="*/ 57150 w 400050"/>
              <a:gd name="connsiteY51" fmla="*/ 42862 h 185736"/>
              <a:gd name="connsiteX52" fmla="*/ 57150 w 400050"/>
              <a:gd name="connsiteY52" fmla="*/ 21431 h 185736"/>
              <a:gd name="connsiteX53" fmla="*/ 64294 w 400050"/>
              <a:gd name="connsiteY53" fmla="*/ 14287 h 185736"/>
              <a:gd name="connsiteX54" fmla="*/ 100013 w 400050"/>
              <a:gd name="connsiteY54" fmla="*/ 14287 h 185736"/>
              <a:gd name="connsiteX55" fmla="*/ 107156 w 400050"/>
              <a:gd name="connsiteY55" fmla="*/ 21431 h 185736"/>
              <a:gd name="connsiteX56" fmla="*/ 107156 w 400050"/>
              <a:gd name="connsiteY56" fmla="*/ 71437 h 185736"/>
              <a:gd name="connsiteX57" fmla="*/ 107156 w 400050"/>
              <a:gd name="connsiteY57" fmla="*/ 114299 h 185736"/>
              <a:gd name="connsiteX58" fmla="*/ 107156 w 400050"/>
              <a:gd name="connsiteY58" fmla="*/ 164305 h 185736"/>
              <a:gd name="connsiteX59" fmla="*/ 121444 w 400050"/>
              <a:gd name="connsiteY59" fmla="*/ 107155 h 185736"/>
              <a:gd name="connsiteX60" fmla="*/ 121444 w 400050"/>
              <a:gd name="connsiteY60" fmla="*/ 78581 h 185736"/>
              <a:gd name="connsiteX61" fmla="*/ 278606 w 400050"/>
              <a:gd name="connsiteY61" fmla="*/ 78581 h 185736"/>
              <a:gd name="connsiteX62" fmla="*/ 278606 w 400050"/>
              <a:gd name="connsiteY62" fmla="*/ 107155 h 185736"/>
              <a:gd name="connsiteX63" fmla="*/ 121444 w 400050"/>
              <a:gd name="connsiteY63" fmla="*/ 107155 h 185736"/>
              <a:gd name="connsiteX64" fmla="*/ 342900 w 400050"/>
              <a:gd name="connsiteY64" fmla="*/ 164305 h 185736"/>
              <a:gd name="connsiteX65" fmla="*/ 335756 w 400050"/>
              <a:gd name="connsiteY65" fmla="*/ 171449 h 185736"/>
              <a:gd name="connsiteX66" fmla="*/ 300038 w 400050"/>
              <a:gd name="connsiteY66" fmla="*/ 171449 h 185736"/>
              <a:gd name="connsiteX67" fmla="*/ 292894 w 400050"/>
              <a:gd name="connsiteY67" fmla="*/ 164305 h 185736"/>
              <a:gd name="connsiteX68" fmla="*/ 292894 w 400050"/>
              <a:gd name="connsiteY68" fmla="*/ 114299 h 185736"/>
              <a:gd name="connsiteX69" fmla="*/ 292894 w 400050"/>
              <a:gd name="connsiteY69" fmla="*/ 71437 h 185736"/>
              <a:gd name="connsiteX70" fmla="*/ 292894 w 400050"/>
              <a:gd name="connsiteY70" fmla="*/ 21431 h 185736"/>
              <a:gd name="connsiteX71" fmla="*/ 300038 w 400050"/>
              <a:gd name="connsiteY71" fmla="*/ 14287 h 185736"/>
              <a:gd name="connsiteX72" fmla="*/ 335756 w 400050"/>
              <a:gd name="connsiteY72" fmla="*/ 14287 h 185736"/>
              <a:gd name="connsiteX73" fmla="*/ 342900 w 400050"/>
              <a:gd name="connsiteY73" fmla="*/ 21431 h 185736"/>
              <a:gd name="connsiteX74" fmla="*/ 342900 w 400050"/>
              <a:gd name="connsiteY74" fmla="*/ 42862 h 185736"/>
              <a:gd name="connsiteX75" fmla="*/ 342900 w 400050"/>
              <a:gd name="connsiteY75" fmla="*/ 142874 h 185736"/>
              <a:gd name="connsiteX76" fmla="*/ 342900 w 400050"/>
              <a:gd name="connsiteY76" fmla="*/ 164305 h 185736"/>
              <a:gd name="connsiteX77" fmla="*/ 385763 w 400050"/>
              <a:gd name="connsiteY77" fmla="*/ 142874 h 185736"/>
              <a:gd name="connsiteX78" fmla="*/ 378619 w 400050"/>
              <a:gd name="connsiteY78" fmla="*/ 150018 h 185736"/>
              <a:gd name="connsiteX79" fmla="*/ 364331 w 400050"/>
              <a:gd name="connsiteY79" fmla="*/ 150018 h 185736"/>
              <a:gd name="connsiteX80" fmla="*/ 357188 w 400050"/>
              <a:gd name="connsiteY80" fmla="*/ 142874 h 185736"/>
              <a:gd name="connsiteX81" fmla="*/ 357188 w 400050"/>
              <a:gd name="connsiteY81" fmla="*/ 42862 h 185736"/>
              <a:gd name="connsiteX82" fmla="*/ 364331 w 400050"/>
              <a:gd name="connsiteY82" fmla="*/ 35718 h 185736"/>
              <a:gd name="connsiteX83" fmla="*/ 378619 w 400050"/>
              <a:gd name="connsiteY83" fmla="*/ 35718 h 185736"/>
              <a:gd name="connsiteX84" fmla="*/ 385763 w 400050"/>
              <a:gd name="connsiteY84" fmla="*/ 42862 h 185736"/>
              <a:gd name="connsiteX85" fmla="*/ 385763 w 400050"/>
              <a:gd name="connsiteY85" fmla="*/ 142874 h 1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00050" h="185736">
                <a:moveTo>
                  <a:pt x="378619" y="21431"/>
                </a:moveTo>
                <a:lnTo>
                  <a:pt x="364331" y="21431"/>
                </a:lnTo>
                <a:cubicBezTo>
                  <a:pt x="361474" y="21431"/>
                  <a:pt x="360045" y="21431"/>
                  <a:pt x="357188" y="22860"/>
                </a:cubicBezTo>
                <a:lnTo>
                  <a:pt x="357188" y="21431"/>
                </a:lnTo>
                <a:cubicBezTo>
                  <a:pt x="357188" y="10001"/>
                  <a:pt x="347186" y="0"/>
                  <a:pt x="335756" y="0"/>
                </a:cubicBezTo>
                <a:lnTo>
                  <a:pt x="300038" y="0"/>
                </a:lnTo>
                <a:cubicBezTo>
                  <a:pt x="288608" y="0"/>
                  <a:pt x="278606" y="10001"/>
                  <a:pt x="278606" y="21431"/>
                </a:cubicBezTo>
                <a:lnTo>
                  <a:pt x="278606" y="64293"/>
                </a:lnTo>
                <a:lnTo>
                  <a:pt x="121444" y="64293"/>
                </a:lnTo>
                <a:lnTo>
                  <a:pt x="121444" y="21431"/>
                </a:lnTo>
                <a:cubicBezTo>
                  <a:pt x="121444" y="10001"/>
                  <a:pt x="111443" y="0"/>
                  <a:pt x="100013" y="0"/>
                </a:cubicBezTo>
                <a:lnTo>
                  <a:pt x="64294" y="0"/>
                </a:lnTo>
                <a:cubicBezTo>
                  <a:pt x="52864" y="0"/>
                  <a:pt x="42863" y="10001"/>
                  <a:pt x="42863" y="21431"/>
                </a:cubicBezTo>
                <a:lnTo>
                  <a:pt x="42863" y="22860"/>
                </a:lnTo>
                <a:cubicBezTo>
                  <a:pt x="40005" y="21431"/>
                  <a:pt x="38576" y="21431"/>
                  <a:pt x="35719" y="21431"/>
                </a:cubicBezTo>
                <a:lnTo>
                  <a:pt x="21431" y="21431"/>
                </a:lnTo>
                <a:cubicBezTo>
                  <a:pt x="10001" y="21431"/>
                  <a:pt x="0" y="31432"/>
                  <a:pt x="0" y="42862"/>
                </a:cubicBezTo>
                <a:lnTo>
                  <a:pt x="0" y="142874"/>
                </a:lnTo>
                <a:cubicBezTo>
                  <a:pt x="0" y="154304"/>
                  <a:pt x="10001" y="164305"/>
                  <a:pt x="21431" y="164305"/>
                </a:cubicBezTo>
                <a:lnTo>
                  <a:pt x="35719" y="164305"/>
                </a:lnTo>
                <a:cubicBezTo>
                  <a:pt x="38576" y="164305"/>
                  <a:pt x="40005" y="164305"/>
                  <a:pt x="42863" y="162876"/>
                </a:cubicBezTo>
                <a:lnTo>
                  <a:pt x="42863" y="164305"/>
                </a:lnTo>
                <a:cubicBezTo>
                  <a:pt x="42863" y="175735"/>
                  <a:pt x="52864" y="185736"/>
                  <a:pt x="64294" y="185736"/>
                </a:cubicBezTo>
                <a:lnTo>
                  <a:pt x="100013" y="185736"/>
                </a:lnTo>
                <a:cubicBezTo>
                  <a:pt x="111443" y="185736"/>
                  <a:pt x="121444" y="175735"/>
                  <a:pt x="121444" y="164305"/>
                </a:cubicBezTo>
                <a:lnTo>
                  <a:pt x="121444" y="121443"/>
                </a:lnTo>
                <a:lnTo>
                  <a:pt x="278606" y="121443"/>
                </a:lnTo>
                <a:lnTo>
                  <a:pt x="278606" y="164305"/>
                </a:lnTo>
                <a:cubicBezTo>
                  <a:pt x="278606" y="175735"/>
                  <a:pt x="288608" y="185736"/>
                  <a:pt x="300038" y="185736"/>
                </a:cubicBezTo>
                <a:lnTo>
                  <a:pt x="335756" y="185736"/>
                </a:lnTo>
                <a:cubicBezTo>
                  <a:pt x="347186" y="185736"/>
                  <a:pt x="357188" y="175735"/>
                  <a:pt x="357188" y="164305"/>
                </a:cubicBezTo>
                <a:lnTo>
                  <a:pt x="357188" y="162876"/>
                </a:lnTo>
                <a:cubicBezTo>
                  <a:pt x="360045" y="164305"/>
                  <a:pt x="361474" y="164305"/>
                  <a:pt x="364331" y="164305"/>
                </a:cubicBezTo>
                <a:lnTo>
                  <a:pt x="378619" y="164305"/>
                </a:lnTo>
                <a:cubicBezTo>
                  <a:pt x="390049" y="164305"/>
                  <a:pt x="400050" y="154304"/>
                  <a:pt x="400050" y="142874"/>
                </a:cubicBezTo>
                <a:lnTo>
                  <a:pt x="400050" y="42862"/>
                </a:lnTo>
                <a:cubicBezTo>
                  <a:pt x="400050" y="31432"/>
                  <a:pt x="390049" y="21431"/>
                  <a:pt x="378619" y="21431"/>
                </a:cubicBezTo>
                <a:close/>
                <a:moveTo>
                  <a:pt x="35719" y="150018"/>
                </a:moveTo>
                <a:lnTo>
                  <a:pt x="21431" y="150018"/>
                </a:lnTo>
                <a:cubicBezTo>
                  <a:pt x="17145" y="150018"/>
                  <a:pt x="14288" y="147160"/>
                  <a:pt x="14288" y="142874"/>
                </a:cubicBezTo>
                <a:lnTo>
                  <a:pt x="14288" y="42862"/>
                </a:lnTo>
                <a:cubicBezTo>
                  <a:pt x="14288" y="38576"/>
                  <a:pt x="17145" y="35718"/>
                  <a:pt x="21431" y="35718"/>
                </a:cubicBezTo>
                <a:lnTo>
                  <a:pt x="35719" y="35718"/>
                </a:lnTo>
                <a:cubicBezTo>
                  <a:pt x="40005" y="35718"/>
                  <a:pt x="42863" y="38576"/>
                  <a:pt x="42863" y="42862"/>
                </a:cubicBezTo>
                <a:lnTo>
                  <a:pt x="42863" y="142874"/>
                </a:lnTo>
                <a:cubicBezTo>
                  <a:pt x="42863" y="147160"/>
                  <a:pt x="40005" y="150018"/>
                  <a:pt x="35719" y="150018"/>
                </a:cubicBezTo>
                <a:close/>
                <a:moveTo>
                  <a:pt x="107156" y="164305"/>
                </a:moveTo>
                <a:cubicBezTo>
                  <a:pt x="107156" y="168591"/>
                  <a:pt x="104299" y="171449"/>
                  <a:pt x="100013" y="171449"/>
                </a:cubicBezTo>
                <a:lnTo>
                  <a:pt x="64294" y="171449"/>
                </a:lnTo>
                <a:cubicBezTo>
                  <a:pt x="60007" y="171449"/>
                  <a:pt x="57150" y="168591"/>
                  <a:pt x="57150" y="164305"/>
                </a:cubicBezTo>
                <a:lnTo>
                  <a:pt x="57150" y="142874"/>
                </a:lnTo>
                <a:lnTo>
                  <a:pt x="57150" y="42862"/>
                </a:lnTo>
                <a:lnTo>
                  <a:pt x="57150" y="21431"/>
                </a:lnTo>
                <a:cubicBezTo>
                  <a:pt x="57150" y="17145"/>
                  <a:pt x="60007" y="14287"/>
                  <a:pt x="64294" y="14287"/>
                </a:cubicBezTo>
                <a:lnTo>
                  <a:pt x="100013" y="14287"/>
                </a:lnTo>
                <a:cubicBezTo>
                  <a:pt x="104299" y="14287"/>
                  <a:pt x="107156" y="17145"/>
                  <a:pt x="107156" y="21431"/>
                </a:cubicBezTo>
                <a:lnTo>
                  <a:pt x="107156" y="71437"/>
                </a:lnTo>
                <a:lnTo>
                  <a:pt x="107156" y="114299"/>
                </a:lnTo>
                <a:lnTo>
                  <a:pt x="107156" y="164305"/>
                </a:lnTo>
                <a:close/>
                <a:moveTo>
                  <a:pt x="121444" y="107155"/>
                </a:moveTo>
                <a:lnTo>
                  <a:pt x="121444" y="78581"/>
                </a:lnTo>
                <a:lnTo>
                  <a:pt x="278606" y="78581"/>
                </a:lnTo>
                <a:lnTo>
                  <a:pt x="278606" y="107155"/>
                </a:lnTo>
                <a:lnTo>
                  <a:pt x="121444" y="107155"/>
                </a:lnTo>
                <a:close/>
                <a:moveTo>
                  <a:pt x="342900" y="164305"/>
                </a:moveTo>
                <a:cubicBezTo>
                  <a:pt x="342900" y="168591"/>
                  <a:pt x="340043" y="171449"/>
                  <a:pt x="335756" y="171449"/>
                </a:cubicBezTo>
                <a:lnTo>
                  <a:pt x="300038" y="171449"/>
                </a:lnTo>
                <a:cubicBezTo>
                  <a:pt x="295751" y="171449"/>
                  <a:pt x="292894" y="168591"/>
                  <a:pt x="292894" y="164305"/>
                </a:cubicBezTo>
                <a:lnTo>
                  <a:pt x="292894" y="114299"/>
                </a:lnTo>
                <a:lnTo>
                  <a:pt x="292894" y="71437"/>
                </a:lnTo>
                <a:lnTo>
                  <a:pt x="292894" y="21431"/>
                </a:lnTo>
                <a:cubicBezTo>
                  <a:pt x="292894" y="17145"/>
                  <a:pt x="295751" y="14287"/>
                  <a:pt x="300038" y="14287"/>
                </a:cubicBezTo>
                <a:lnTo>
                  <a:pt x="335756" y="14287"/>
                </a:lnTo>
                <a:cubicBezTo>
                  <a:pt x="340043" y="14287"/>
                  <a:pt x="342900" y="17145"/>
                  <a:pt x="342900" y="21431"/>
                </a:cubicBezTo>
                <a:lnTo>
                  <a:pt x="342900" y="42862"/>
                </a:lnTo>
                <a:lnTo>
                  <a:pt x="342900" y="142874"/>
                </a:lnTo>
                <a:lnTo>
                  <a:pt x="342900" y="164305"/>
                </a:lnTo>
                <a:close/>
                <a:moveTo>
                  <a:pt x="385763" y="142874"/>
                </a:moveTo>
                <a:cubicBezTo>
                  <a:pt x="385763" y="147160"/>
                  <a:pt x="382905" y="150018"/>
                  <a:pt x="378619" y="150018"/>
                </a:cubicBezTo>
                <a:lnTo>
                  <a:pt x="364331" y="150018"/>
                </a:lnTo>
                <a:cubicBezTo>
                  <a:pt x="360045" y="150018"/>
                  <a:pt x="357188" y="147160"/>
                  <a:pt x="357188" y="142874"/>
                </a:cubicBezTo>
                <a:lnTo>
                  <a:pt x="357188" y="42862"/>
                </a:lnTo>
                <a:cubicBezTo>
                  <a:pt x="357188" y="38576"/>
                  <a:pt x="360045" y="35718"/>
                  <a:pt x="364331" y="35718"/>
                </a:cubicBezTo>
                <a:lnTo>
                  <a:pt x="378619" y="35718"/>
                </a:lnTo>
                <a:cubicBezTo>
                  <a:pt x="382905" y="35718"/>
                  <a:pt x="385763" y="38576"/>
                  <a:pt x="385763" y="42862"/>
                </a:cubicBezTo>
                <a:lnTo>
                  <a:pt x="385763" y="142874"/>
                </a:lnTo>
                <a:close/>
              </a:path>
            </a:pathLst>
          </a:custGeom>
          <a:solidFill>
            <a:srgbClr val="101010"/>
          </a:solidFill>
          <a:ln w="14288" cap="flat">
            <a:noFill/>
            <a:prstDash val="solid"/>
            <a:miter/>
          </a:ln>
        </p:spPr>
        <p:txBody>
          <a:bodyPr rtlCol="0" anchor="ctr"/>
          <a:lstStyle/>
          <a:p>
            <a:endParaRPr lang="de-DE"/>
          </a:p>
        </p:txBody>
      </p:sp>
      <p:sp>
        <p:nvSpPr>
          <p:cNvPr id="5212" name="Graphic 3">
            <a:extLst>
              <a:ext uri="{FF2B5EF4-FFF2-40B4-BE49-F238E27FC236}">
                <a16:creationId xmlns:a16="http://schemas.microsoft.com/office/drawing/2014/main" id="{C33C5F3D-2615-4CAE-BAAD-06800321E73C}"/>
              </a:ext>
              <a:ext uri="{C183D7F6-B498-43B3-948B-1728B52AA6E4}">
                <adec:decorative xmlns:adec="http://schemas.microsoft.com/office/drawing/2017/decorative" val="1"/>
              </a:ext>
            </a:extLst>
          </p:cNvPr>
          <p:cNvSpPr>
            <a:spLocks noChangeAspect="1"/>
          </p:cNvSpPr>
          <p:nvPr/>
        </p:nvSpPr>
        <p:spPr>
          <a:xfrm>
            <a:off x="3464021" y="3808109"/>
            <a:ext cx="125183" cy="133259"/>
          </a:xfrm>
          <a:custGeom>
            <a:avLst/>
            <a:gdLst>
              <a:gd name="connsiteX0" fmla="*/ 296704 w 295275"/>
              <a:gd name="connsiteY0" fmla="*/ 186690 h 314325"/>
              <a:gd name="connsiteX1" fmla="*/ 279559 w 295275"/>
              <a:gd name="connsiteY1" fmla="*/ 172403 h 314325"/>
              <a:gd name="connsiteX2" fmla="*/ 279559 w 295275"/>
              <a:gd name="connsiteY2" fmla="*/ 172403 h 314325"/>
              <a:gd name="connsiteX3" fmla="*/ 277654 w 295275"/>
              <a:gd name="connsiteY3" fmla="*/ 171450 h 314325"/>
              <a:gd name="connsiteX4" fmla="*/ 276701 w 295275"/>
              <a:gd name="connsiteY4" fmla="*/ 171450 h 314325"/>
              <a:gd name="connsiteX5" fmla="*/ 274796 w 295275"/>
              <a:gd name="connsiteY5" fmla="*/ 172403 h 314325"/>
              <a:gd name="connsiteX6" fmla="*/ 274796 w 295275"/>
              <a:gd name="connsiteY6" fmla="*/ 172403 h 314325"/>
              <a:gd name="connsiteX7" fmla="*/ 274796 w 295275"/>
              <a:gd name="connsiteY7" fmla="*/ 172403 h 314325"/>
              <a:gd name="connsiteX8" fmla="*/ 273844 w 295275"/>
              <a:gd name="connsiteY8" fmla="*/ 173355 h 314325"/>
              <a:gd name="connsiteX9" fmla="*/ 260509 w 295275"/>
              <a:gd name="connsiteY9" fmla="*/ 187643 h 314325"/>
              <a:gd name="connsiteX10" fmla="*/ 260509 w 295275"/>
              <a:gd name="connsiteY10" fmla="*/ 194310 h 314325"/>
              <a:gd name="connsiteX11" fmla="*/ 263366 w 295275"/>
              <a:gd name="connsiteY11" fmla="*/ 195263 h 314325"/>
              <a:gd name="connsiteX12" fmla="*/ 267176 w 295275"/>
              <a:gd name="connsiteY12" fmla="*/ 193358 h 314325"/>
              <a:gd name="connsiteX13" fmla="*/ 272891 w 295275"/>
              <a:gd name="connsiteY13" fmla="*/ 186690 h 314325"/>
              <a:gd name="connsiteX14" fmla="*/ 272891 w 295275"/>
              <a:gd name="connsiteY14" fmla="*/ 189548 h 314325"/>
              <a:gd name="connsiteX15" fmla="*/ 153829 w 295275"/>
              <a:gd name="connsiteY15" fmla="*/ 313373 h 314325"/>
              <a:gd name="connsiteX16" fmla="*/ 153829 w 295275"/>
              <a:gd name="connsiteY16" fmla="*/ 109538 h 314325"/>
              <a:gd name="connsiteX17" fmla="*/ 191929 w 295275"/>
              <a:gd name="connsiteY17" fmla="*/ 109538 h 314325"/>
              <a:gd name="connsiteX18" fmla="*/ 196691 w 295275"/>
              <a:gd name="connsiteY18" fmla="*/ 104775 h 314325"/>
              <a:gd name="connsiteX19" fmla="*/ 191929 w 295275"/>
              <a:gd name="connsiteY19" fmla="*/ 100013 h 314325"/>
              <a:gd name="connsiteX20" fmla="*/ 153829 w 295275"/>
              <a:gd name="connsiteY20" fmla="*/ 100013 h 314325"/>
              <a:gd name="connsiteX21" fmla="*/ 153829 w 295275"/>
              <a:gd name="connsiteY21" fmla="*/ 60960 h 314325"/>
              <a:gd name="connsiteX22" fmla="*/ 179546 w 295275"/>
              <a:gd name="connsiteY22" fmla="*/ 30480 h 314325"/>
              <a:gd name="connsiteX23" fmla="*/ 149066 w 295275"/>
              <a:gd name="connsiteY23" fmla="*/ 0 h 314325"/>
              <a:gd name="connsiteX24" fmla="*/ 118586 w 295275"/>
              <a:gd name="connsiteY24" fmla="*/ 30480 h 314325"/>
              <a:gd name="connsiteX25" fmla="*/ 144304 w 295275"/>
              <a:gd name="connsiteY25" fmla="*/ 60960 h 314325"/>
              <a:gd name="connsiteX26" fmla="*/ 144304 w 295275"/>
              <a:gd name="connsiteY26" fmla="*/ 100013 h 314325"/>
              <a:gd name="connsiteX27" fmla="*/ 106204 w 295275"/>
              <a:gd name="connsiteY27" fmla="*/ 100013 h 314325"/>
              <a:gd name="connsiteX28" fmla="*/ 101441 w 295275"/>
              <a:gd name="connsiteY28" fmla="*/ 104775 h 314325"/>
              <a:gd name="connsiteX29" fmla="*/ 106204 w 295275"/>
              <a:gd name="connsiteY29" fmla="*/ 109538 h 314325"/>
              <a:gd name="connsiteX30" fmla="*/ 144304 w 295275"/>
              <a:gd name="connsiteY30" fmla="*/ 109538 h 314325"/>
              <a:gd name="connsiteX31" fmla="*/ 144304 w 295275"/>
              <a:gd name="connsiteY31" fmla="*/ 314325 h 314325"/>
              <a:gd name="connsiteX32" fmla="*/ 24289 w 295275"/>
              <a:gd name="connsiteY32" fmla="*/ 190500 h 314325"/>
              <a:gd name="connsiteX33" fmla="*/ 24289 w 295275"/>
              <a:gd name="connsiteY33" fmla="*/ 187643 h 314325"/>
              <a:gd name="connsiteX34" fmla="*/ 30004 w 295275"/>
              <a:gd name="connsiteY34" fmla="*/ 193358 h 314325"/>
              <a:gd name="connsiteX35" fmla="*/ 32861 w 295275"/>
              <a:gd name="connsiteY35" fmla="*/ 194310 h 314325"/>
              <a:gd name="connsiteX36" fmla="*/ 36671 w 295275"/>
              <a:gd name="connsiteY36" fmla="*/ 192405 h 314325"/>
              <a:gd name="connsiteX37" fmla="*/ 36671 w 295275"/>
              <a:gd name="connsiteY37" fmla="*/ 185738 h 314325"/>
              <a:gd name="connsiteX38" fmla="*/ 23336 w 295275"/>
              <a:gd name="connsiteY38" fmla="*/ 172403 h 314325"/>
              <a:gd name="connsiteX39" fmla="*/ 22384 w 295275"/>
              <a:gd name="connsiteY39" fmla="*/ 171450 h 314325"/>
              <a:gd name="connsiteX40" fmla="*/ 22384 w 295275"/>
              <a:gd name="connsiteY40" fmla="*/ 171450 h 314325"/>
              <a:gd name="connsiteX41" fmla="*/ 22384 w 295275"/>
              <a:gd name="connsiteY41" fmla="*/ 171450 h 314325"/>
              <a:gd name="connsiteX42" fmla="*/ 19526 w 295275"/>
              <a:gd name="connsiteY42" fmla="*/ 171450 h 314325"/>
              <a:gd name="connsiteX43" fmla="*/ 18574 w 295275"/>
              <a:gd name="connsiteY43" fmla="*/ 171450 h 314325"/>
              <a:gd name="connsiteX44" fmla="*/ 16669 w 295275"/>
              <a:gd name="connsiteY44" fmla="*/ 172403 h 314325"/>
              <a:gd name="connsiteX45" fmla="*/ 16669 w 295275"/>
              <a:gd name="connsiteY45" fmla="*/ 172403 h 314325"/>
              <a:gd name="connsiteX46" fmla="*/ 1429 w 295275"/>
              <a:gd name="connsiteY46" fmla="*/ 185738 h 314325"/>
              <a:gd name="connsiteX47" fmla="*/ 1429 w 295275"/>
              <a:gd name="connsiteY47" fmla="*/ 192405 h 314325"/>
              <a:gd name="connsiteX48" fmla="*/ 8096 w 295275"/>
              <a:gd name="connsiteY48" fmla="*/ 192405 h 314325"/>
              <a:gd name="connsiteX49" fmla="*/ 14764 w 295275"/>
              <a:gd name="connsiteY49" fmla="*/ 186690 h 314325"/>
              <a:gd name="connsiteX50" fmla="*/ 14764 w 295275"/>
              <a:gd name="connsiteY50" fmla="*/ 188595 h 314325"/>
              <a:gd name="connsiteX51" fmla="*/ 148114 w 295275"/>
              <a:gd name="connsiteY51" fmla="*/ 321945 h 314325"/>
              <a:gd name="connsiteX52" fmla="*/ 281464 w 295275"/>
              <a:gd name="connsiteY52" fmla="*/ 188595 h 314325"/>
              <a:gd name="connsiteX53" fmla="*/ 281464 w 295275"/>
              <a:gd name="connsiteY53" fmla="*/ 184785 h 314325"/>
              <a:gd name="connsiteX54" fmla="*/ 290036 w 295275"/>
              <a:gd name="connsiteY54" fmla="*/ 192405 h 314325"/>
              <a:gd name="connsiteX55" fmla="*/ 296704 w 295275"/>
              <a:gd name="connsiteY55" fmla="*/ 191453 h 314325"/>
              <a:gd name="connsiteX56" fmla="*/ 296704 w 295275"/>
              <a:gd name="connsiteY56" fmla="*/ 186690 h 314325"/>
              <a:gd name="connsiteX57" fmla="*/ 127159 w 295275"/>
              <a:gd name="connsiteY57" fmla="*/ 30480 h 314325"/>
              <a:gd name="connsiteX58" fmla="*/ 148114 w 295275"/>
              <a:gd name="connsiteY58" fmla="*/ 9525 h 314325"/>
              <a:gd name="connsiteX59" fmla="*/ 169069 w 295275"/>
              <a:gd name="connsiteY59" fmla="*/ 30480 h 314325"/>
              <a:gd name="connsiteX60" fmla="*/ 148114 w 295275"/>
              <a:gd name="connsiteY60" fmla="*/ 51435 h 314325"/>
              <a:gd name="connsiteX61" fmla="*/ 127159 w 295275"/>
              <a:gd name="connsiteY61" fmla="*/ 3048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95275" h="314325">
                <a:moveTo>
                  <a:pt x="296704" y="186690"/>
                </a:moveTo>
                <a:lnTo>
                  <a:pt x="279559" y="172403"/>
                </a:lnTo>
                <a:cubicBezTo>
                  <a:pt x="279559" y="172403"/>
                  <a:pt x="279559" y="172403"/>
                  <a:pt x="279559" y="172403"/>
                </a:cubicBezTo>
                <a:cubicBezTo>
                  <a:pt x="278606" y="172403"/>
                  <a:pt x="278606" y="171450"/>
                  <a:pt x="277654" y="171450"/>
                </a:cubicBezTo>
                <a:cubicBezTo>
                  <a:pt x="277654" y="171450"/>
                  <a:pt x="277654" y="171450"/>
                  <a:pt x="276701" y="171450"/>
                </a:cubicBezTo>
                <a:cubicBezTo>
                  <a:pt x="275749" y="171450"/>
                  <a:pt x="274796" y="171450"/>
                  <a:pt x="274796" y="172403"/>
                </a:cubicBezTo>
                <a:cubicBezTo>
                  <a:pt x="274796" y="172403"/>
                  <a:pt x="274796" y="172403"/>
                  <a:pt x="274796" y="172403"/>
                </a:cubicBezTo>
                <a:cubicBezTo>
                  <a:pt x="274796" y="172403"/>
                  <a:pt x="274796" y="172403"/>
                  <a:pt x="274796" y="172403"/>
                </a:cubicBezTo>
                <a:cubicBezTo>
                  <a:pt x="274796" y="172403"/>
                  <a:pt x="273844" y="172403"/>
                  <a:pt x="273844" y="173355"/>
                </a:cubicBezTo>
                <a:lnTo>
                  <a:pt x="260509" y="187643"/>
                </a:lnTo>
                <a:cubicBezTo>
                  <a:pt x="258604" y="189548"/>
                  <a:pt x="258604" y="192405"/>
                  <a:pt x="260509" y="194310"/>
                </a:cubicBezTo>
                <a:cubicBezTo>
                  <a:pt x="261461" y="195263"/>
                  <a:pt x="262414" y="195263"/>
                  <a:pt x="263366" y="195263"/>
                </a:cubicBezTo>
                <a:cubicBezTo>
                  <a:pt x="264319" y="195263"/>
                  <a:pt x="266224" y="194310"/>
                  <a:pt x="267176" y="193358"/>
                </a:cubicBezTo>
                <a:lnTo>
                  <a:pt x="272891" y="186690"/>
                </a:lnTo>
                <a:cubicBezTo>
                  <a:pt x="272891" y="187643"/>
                  <a:pt x="272891" y="188595"/>
                  <a:pt x="272891" y="189548"/>
                </a:cubicBezTo>
                <a:cubicBezTo>
                  <a:pt x="272891" y="256223"/>
                  <a:pt x="219551" y="310515"/>
                  <a:pt x="153829" y="313373"/>
                </a:cubicBezTo>
                <a:lnTo>
                  <a:pt x="153829" y="109538"/>
                </a:lnTo>
                <a:lnTo>
                  <a:pt x="191929" y="109538"/>
                </a:lnTo>
                <a:cubicBezTo>
                  <a:pt x="194786" y="109538"/>
                  <a:pt x="196691" y="107633"/>
                  <a:pt x="196691" y="104775"/>
                </a:cubicBezTo>
                <a:cubicBezTo>
                  <a:pt x="196691" y="101918"/>
                  <a:pt x="194786" y="100013"/>
                  <a:pt x="191929" y="100013"/>
                </a:cubicBezTo>
                <a:lnTo>
                  <a:pt x="153829" y="100013"/>
                </a:lnTo>
                <a:lnTo>
                  <a:pt x="153829" y="60960"/>
                </a:lnTo>
                <a:cubicBezTo>
                  <a:pt x="168116" y="59055"/>
                  <a:pt x="179546" y="45720"/>
                  <a:pt x="179546" y="30480"/>
                </a:cubicBezTo>
                <a:cubicBezTo>
                  <a:pt x="179546" y="13335"/>
                  <a:pt x="165259" y="0"/>
                  <a:pt x="149066" y="0"/>
                </a:cubicBezTo>
                <a:cubicBezTo>
                  <a:pt x="132874" y="0"/>
                  <a:pt x="118586" y="14288"/>
                  <a:pt x="118586" y="30480"/>
                </a:cubicBezTo>
                <a:cubicBezTo>
                  <a:pt x="118586" y="45720"/>
                  <a:pt x="130016" y="58103"/>
                  <a:pt x="144304" y="60960"/>
                </a:cubicBezTo>
                <a:lnTo>
                  <a:pt x="144304" y="100013"/>
                </a:lnTo>
                <a:lnTo>
                  <a:pt x="106204" y="100013"/>
                </a:lnTo>
                <a:cubicBezTo>
                  <a:pt x="103346" y="100013"/>
                  <a:pt x="101441" y="101918"/>
                  <a:pt x="101441" y="104775"/>
                </a:cubicBezTo>
                <a:cubicBezTo>
                  <a:pt x="101441" y="107633"/>
                  <a:pt x="103346" y="109538"/>
                  <a:pt x="106204" y="109538"/>
                </a:cubicBezTo>
                <a:lnTo>
                  <a:pt x="144304" y="109538"/>
                </a:lnTo>
                <a:lnTo>
                  <a:pt x="144304" y="314325"/>
                </a:lnTo>
                <a:cubicBezTo>
                  <a:pt x="77629" y="311468"/>
                  <a:pt x="24289" y="257175"/>
                  <a:pt x="24289" y="190500"/>
                </a:cubicBezTo>
                <a:cubicBezTo>
                  <a:pt x="24289" y="189548"/>
                  <a:pt x="24289" y="188595"/>
                  <a:pt x="24289" y="187643"/>
                </a:cubicBezTo>
                <a:lnTo>
                  <a:pt x="30004" y="193358"/>
                </a:lnTo>
                <a:cubicBezTo>
                  <a:pt x="30956" y="194310"/>
                  <a:pt x="31909" y="194310"/>
                  <a:pt x="32861" y="194310"/>
                </a:cubicBezTo>
                <a:cubicBezTo>
                  <a:pt x="33814" y="194310"/>
                  <a:pt x="35719" y="193358"/>
                  <a:pt x="36671" y="192405"/>
                </a:cubicBezTo>
                <a:cubicBezTo>
                  <a:pt x="38576" y="190500"/>
                  <a:pt x="38576" y="187643"/>
                  <a:pt x="36671" y="185738"/>
                </a:cubicBezTo>
                <a:lnTo>
                  <a:pt x="23336" y="172403"/>
                </a:lnTo>
                <a:cubicBezTo>
                  <a:pt x="23336" y="172403"/>
                  <a:pt x="22384" y="172403"/>
                  <a:pt x="22384" y="171450"/>
                </a:cubicBezTo>
                <a:cubicBezTo>
                  <a:pt x="22384" y="171450"/>
                  <a:pt x="22384" y="171450"/>
                  <a:pt x="22384" y="171450"/>
                </a:cubicBezTo>
                <a:cubicBezTo>
                  <a:pt x="22384" y="171450"/>
                  <a:pt x="22384" y="171450"/>
                  <a:pt x="22384" y="171450"/>
                </a:cubicBezTo>
                <a:cubicBezTo>
                  <a:pt x="21431" y="171450"/>
                  <a:pt x="20479" y="170498"/>
                  <a:pt x="19526" y="171450"/>
                </a:cubicBezTo>
                <a:cubicBezTo>
                  <a:pt x="19526" y="171450"/>
                  <a:pt x="19526" y="171450"/>
                  <a:pt x="18574" y="171450"/>
                </a:cubicBezTo>
                <a:cubicBezTo>
                  <a:pt x="17621" y="171450"/>
                  <a:pt x="17621" y="171450"/>
                  <a:pt x="16669" y="172403"/>
                </a:cubicBezTo>
                <a:cubicBezTo>
                  <a:pt x="16669" y="172403"/>
                  <a:pt x="16669" y="172403"/>
                  <a:pt x="16669" y="172403"/>
                </a:cubicBezTo>
                <a:lnTo>
                  <a:pt x="1429" y="185738"/>
                </a:lnTo>
                <a:cubicBezTo>
                  <a:pt x="-476" y="187643"/>
                  <a:pt x="-476" y="190500"/>
                  <a:pt x="1429" y="192405"/>
                </a:cubicBezTo>
                <a:cubicBezTo>
                  <a:pt x="3334" y="194310"/>
                  <a:pt x="6191" y="194310"/>
                  <a:pt x="8096" y="192405"/>
                </a:cubicBezTo>
                <a:lnTo>
                  <a:pt x="14764" y="186690"/>
                </a:lnTo>
                <a:cubicBezTo>
                  <a:pt x="14764" y="187643"/>
                  <a:pt x="14764" y="187643"/>
                  <a:pt x="14764" y="188595"/>
                </a:cubicBezTo>
                <a:cubicBezTo>
                  <a:pt x="14764" y="261938"/>
                  <a:pt x="74771" y="321945"/>
                  <a:pt x="148114" y="321945"/>
                </a:cubicBezTo>
                <a:cubicBezTo>
                  <a:pt x="221456" y="321945"/>
                  <a:pt x="281464" y="261938"/>
                  <a:pt x="281464" y="188595"/>
                </a:cubicBezTo>
                <a:cubicBezTo>
                  <a:pt x="281464" y="187643"/>
                  <a:pt x="281464" y="185738"/>
                  <a:pt x="281464" y="184785"/>
                </a:cubicBezTo>
                <a:lnTo>
                  <a:pt x="290036" y="192405"/>
                </a:lnTo>
                <a:cubicBezTo>
                  <a:pt x="291941" y="194310"/>
                  <a:pt x="294799" y="193358"/>
                  <a:pt x="296704" y="191453"/>
                </a:cubicBezTo>
                <a:cubicBezTo>
                  <a:pt x="298609" y="191453"/>
                  <a:pt x="298609" y="188595"/>
                  <a:pt x="296704" y="186690"/>
                </a:cubicBezTo>
                <a:close/>
                <a:moveTo>
                  <a:pt x="127159" y="30480"/>
                </a:moveTo>
                <a:cubicBezTo>
                  <a:pt x="127159" y="19050"/>
                  <a:pt x="136684" y="9525"/>
                  <a:pt x="148114" y="9525"/>
                </a:cubicBezTo>
                <a:cubicBezTo>
                  <a:pt x="159544" y="9525"/>
                  <a:pt x="169069" y="19050"/>
                  <a:pt x="169069" y="30480"/>
                </a:cubicBezTo>
                <a:cubicBezTo>
                  <a:pt x="169069" y="41910"/>
                  <a:pt x="159544" y="51435"/>
                  <a:pt x="148114" y="51435"/>
                </a:cubicBezTo>
                <a:cubicBezTo>
                  <a:pt x="136684" y="52388"/>
                  <a:pt x="127159" y="42863"/>
                  <a:pt x="127159" y="30480"/>
                </a:cubicBezTo>
                <a:close/>
              </a:path>
            </a:pathLst>
          </a:custGeom>
          <a:solidFill>
            <a:srgbClr val="000000"/>
          </a:solidFill>
          <a:ln w="9525" cap="flat">
            <a:noFill/>
            <a:prstDash val="solid"/>
            <a:miter/>
          </a:ln>
        </p:spPr>
        <p:txBody>
          <a:bodyPr rtlCol="0" anchor="ctr"/>
          <a:lstStyle/>
          <a:p>
            <a:endParaRPr lang="de-DE"/>
          </a:p>
        </p:txBody>
      </p:sp>
      <p:grpSp>
        <p:nvGrpSpPr>
          <p:cNvPr id="5213" name="Graphic 3">
            <a:extLst>
              <a:ext uri="{FF2B5EF4-FFF2-40B4-BE49-F238E27FC236}">
                <a16:creationId xmlns:a16="http://schemas.microsoft.com/office/drawing/2014/main" id="{E2EE8BEF-66F8-431D-A66E-22F65BA1D6A3}"/>
              </a:ext>
              <a:ext uri="{C183D7F6-B498-43B3-948B-1728B52AA6E4}">
                <adec:decorative xmlns:adec="http://schemas.microsoft.com/office/drawing/2017/decorative" val="1"/>
              </a:ext>
            </a:extLst>
          </p:cNvPr>
          <p:cNvGrpSpPr>
            <a:grpSpLocks noChangeAspect="1"/>
          </p:cNvGrpSpPr>
          <p:nvPr/>
        </p:nvGrpSpPr>
        <p:grpSpPr>
          <a:xfrm>
            <a:off x="3745809" y="3808894"/>
            <a:ext cx="119717" cy="131689"/>
            <a:chOff x="5876537" y="3188018"/>
            <a:chExt cx="438150" cy="481964"/>
          </a:xfrm>
          <a:solidFill>
            <a:srgbClr val="231F20"/>
          </a:solidFill>
        </p:grpSpPr>
        <p:sp>
          <p:nvSpPr>
            <p:cNvPr id="5214" name="Freeform: Shape 5213">
              <a:extLst>
                <a:ext uri="{FF2B5EF4-FFF2-40B4-BE49-F238E27FC236}">
                  <a16:creationId xmlns:a16="http://schemas.microsoft.com/office/drawing/2014/main" id="{11EC6979-D7C0-4B6D-931E-9BCFA6F0CB14}"/>
                </a:ext>
              </a:extLst>
            </p:cNvPr>
            <p:cNvSpPr/>
            <p:nvPr/>
          </p:nvSpPr>
          <p:spPr>
            <a:xfrm>
              <a:off x="5876537" y="3266496"/>
              <a:ext cx="204470" cy="365124"/>
            </a:xfrm>
            <a:custGeom>
              <a:avLst/>
              <a:gdLst>
                <a:gd name="connsiteX0" fmla="*/ 200477 w 204470"/>
                <a:gd name="connsiteY0" fmla="*/ 28138 h 365124"/>
                <a:gd name="connsiteX1" fmla="*/ 120149 w 204470"/>
                <a:gd name="connsiteY1" fmla="*/ 388 h 365124"/>
                <a:gd name="connsiteX2" fmla="*/ 109926 w 204470"/>
                <a:gd name="connsiteY2" fmla="*/ 4770 h 365124"/>
                <a:gd name="connsiteX3" fmla="*/ 67571 w 204470"/>
                <a:gd name="connsiteY3" fmla="*/ 128912 h 365124"/>
                <a:gd name="connsiteX4" fmla="*/ 67571 w 204470"/>
                <a:gd name="connsiteY4" fmla="*/ 130373 h 365124"/>
                <a:gd name="connsiteX5" fmla="*/ 55887 w 204470"/>
                <a:gd name="connsiteY5" fmla="*/ 162504 h 365124"/>
                <a:gd name="connsiteX6" fmla="*/ 77795 w 204470"/>
                <a:gd name="connsiteY6" fmla="*/ 222384 h 365124"/>
                <a:gd name="connsiteX7" fmla="*/ 38361 w 204470"/>
                <a:gd name="connsiteY7" fmla="*/ 340684 h 365124"/>
                <a:gd name="connsiteX8" fmla="*/ 9151 w 204470"/>
                <a:gd name="connsiteY8" fmla="*/ 330461 h 365124"/>
                <a:gd name="connsiteX9" fmla="*/ 388 w 204470"/>
                <a:gd name="connsiteY9" fmla="*/ 334842 h 365124"/>
                <a:gd name="connsiteX10" fmla="*/ 4770 w 204470"/>
                <a:gd name="connsiteY10" fmla="*/ 343605 h 365124"/>
                <a:gd name="connsiteX11" fmla="*/ 76334 w 204470"/>
                <a:gd name="connsiteY11" fmla="*/ 368434 h 365124"/>
                <a:gd name="connsiteX12" fmla="*/ 79255 w 204470"/>
                <a:gd name="connsiteY12" fmla="*/ 368434 h 365124"/>
                <a:gd name="connsiteX13" fmla="*/ 86558 w 204470"/>
                <a:gd name="connsiteY13" fmla="*/ 364052 h 365124"/>
                <a:gd name="connsiteX14" fmla="*/ 82176 w 204470"/>
                <a:gd name="connsiteY14" fmla="*/ 358210 h 365124"/>
                <a:gd name="connsiteX15" fmla="*/ 52966 w 204470"/>
                <a:gd name="connsiteY15" fmla="*/ 347987 h 365124"/>
                <a:gd name="connsiteX16" fmla="*/ 92400 w 204470"/>
                <a:gd name="connsiteY16" fmla="*/ 229687 h 365124"/>
                <a:gd name="connsiteX17" fmla="*/ 104084 w 204470"/>
                <a:gd name="connsiteY17" fmla="*/ 231147 h 365124"/>
                <a:gd name="connsiteX18" fmla="*/ 125991 w 204470"/>
                <a:gd name="connsiteY18" fmla="*/ 225305 h 365124"/>
                <a:gd name="connsiteX19" fmla="*/ 150820 w 204470"/>
                <a:gd name="connsiteY19" fmla="*/ 196095 h 365124"/>
                <a:gd name="connsiteX20" fmla="*/ 150820 w 204470"/>
                <a:gd name="connsiteY20" fmla="*/ 196095 h 365124"/>
                <a:gd name="connsiteX21" fmla="*/ 150820 w 204470"/>
                <a:gd name="connsiteY21" fmla="*/ 196095 h 365124"/>
                <a:gd name="connsiteX22" fmla="*/ 204858 w 204470"/>
                <a:gd name="connsiteY22" fmla="*/ 36901 h 365124"/>
                <a:gd name="connsiteX23" fmla="*/ 200477 w 204470"/>
                <a:gd name="connsiteY23" fmla="*/ 28138 h 365124"/>
                <a:gd name="connsiteX24" fmla="*/ 120149 w 204470"/>
                <a:gd name="connsiteY24" fmla="*/ 213621 h 365124"/>
                <a:gd name="connsiteX25" fmla="*/ 92400 w 204470"/>
                <a:gd name="connsiteY25" fmla="*/ 215082 h 365124"/>
                <a:gd name="connsiteX26" fmla="*/ 70492 w 204470"/>
                <a:gd name="connsiteY26" fmla="*/ 169806 h 365124"/>
                <a:gd name="connsiteX27" fmla="*/ 80716 w 204470"/>
                <a:gd name="connsiteY27" fmla="*/ 140596 h 365124"/>
                <a:gd name="connsiteX28" fmla="*/ 156662 w 204470"/>
                <a:gd name="connsiteY28" fmla="*/ 140596 h 365124"/>
                <a:gd name="connsiteX29" fmla="*/ 139136 w 204470"/>
                <a:gd name="connsiteY29" fmla="*/ 193174 h 365124"/>
                <a:gd name="connsiteX30" fmla="*/ 120149 w 204470"/>
                <a:gd name="connsiteY30" fmla="*/ 213621 h 365124"/>
                <a:gd name="connsiteX31" fmla="*/ 159583 w 204470"/>
                <a:gd name="connsiteY31" fmla="*/ 125991 h 365124"/>
                <a:gd name="connsiteX32" fmla="*/ 85097 w 204470"/>
                <a:gd name="connsiteY32" fmla="*/ 125991 h 365124"/>
                <a:gd name="connsiteX33" fmla="*/ 121610 w 204470"/>
                <a:gd name="connsiteY33" fmla="*/ 16454 h 365124"/>
                <a:gd name="connsiteX34" fmla="*/ 188793 w 204470"/>
                <a:gd name="connsiteY34" fmla="*/ 39822 h 365124"/>
                <a:gd name="connsiteX35" fmla="*/ 159583 w 204470"/>
                <a:gd name="connsiteY35" fmla="*/ 125991 h 3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470" h="365124">
                  <a:moveTo>
                    <a:pt x="200477" y="28138"/>
                  </a:moveTo>
                  <a:lnTo>
                    <a:pt x="120149" y="388"/>
                  </a:lnTo>
                  <a:cubicBezTo>
                    <a:pt x="115768" y="-1072"/>
                    <a:pt x="111386" y="1849"/>
                    <a:pt x="109926" y="4770"/>
                  </a:cubicBezTo>
                  <a:lnTo>
                    <a:pt x="67571" y="128912"/>
                  </a:lnTo>
                  <a:cubicBezTo>
                    <a:pt x="67571" y="128912"/>
                    <a:pt x="67571" y="130373"/>
                    <a:pt x="67571" y="130373"/>
                  </a:cubicBezTo>
                  <a:lnTo>
                    <a:pt x="55887" y="162504"/>
                  </a:lnTo>
                  <a:cubicBezTo>
                    <a:pt x="48585" y="185872"/>
                    <a:pt x="57348" y="210700"/>
                    <a:pt x="77795" y="222384"/>
                  </a:cubicBezTo>
                  <a:lnTo>
                    <a:pt x="38361" y="340684"/>
                  </a:lnTo>
                  <a:lnTo>
                    <a:pt x="9151" y="330461"/>
                  </a:lnTo>
                  <a:cubicBezTo>
                    <a:pt x="4770" y="329000"/>
                    <a:pt x="1849" y="331921"/>
                    <a:pt x="388" y="334842"/>
                  </a:cubicBezTo>
                  <a:cubicBezTo>
                    <a:pt x="-1072" y="339224"/>
                    <a:pt x="1849" y="342145"/>
                    <a:pt x="4770" y="343605"/>
                  </a:cubicBezTo>
                  <a:lnTo>
                    <a:pt x="76334" y="368434"/>
                  </a:lnTo>
                  <a:cubicBezTo>
                    <a:pt x="77795" y="368434"/>
                    <a:pt x="77795" y="368434"/>
                    <a:pt x="79255" y="368434"/>
                  </a:cubicBezTo>
                  <a:cubicBezTo>
                    <a:pt x="82176" y="368434"/>
                    <a:pt x="85097" y="366973"/>
                    <a:pt x="86558" y="364052"/>
                  </a:cubicBezTo>
                  <a:cubicBezTo>
                    <a:pt x="88018" y="362592"/>
                    <a:pt x="86558" y="359671"/>
                    <a:pt x="82176" y="358210"/>
                  </a:cubicBezTo>
                  <a:lnTo>
                    <a:pt x="52966" y="347987"/>
                  </a:lnTo>
                  <a:lnTo>
                    <a:pt x="92400" y="229687"/>
                  </a:lnTo>
                  <a:cubicBezTo>
                    <a:pt x="96781" y="231147"/>
                    <a:pt x="99702" y="231147"/>
                    <a:pt x="104084" y="231147"/>
                  </a:cubicBezTo>
                  <a:cubicBezTo>
                    <a:pt x="111386" y="231147"/>
                    <a:pt x="118689" y="229687"/>
                    <a:pt x="125991" y="225305"/>
                  </a:cubicBezTo>
                  <a:cubicBezTo>
                    <a:pt x="137675" y="219463"/>
                    <a:pt x="146438" y="209240"/>
                    <a:pt x="150820" y="196095"/>
                  </a:cubicBezTo>
                  <a:cubicBezTo>
                    <a:pt x="150820" y="196095"/>
                    <a:pt x="150820" y="196095"/>
                    <a:pt x="150820" y="196095"/>
                  </a:cubicBezTo>
                  <a:cubicBezTo>
                    <a:pt x="150820" y="196095"/>
                    <a:pt x="150820" y="196095"/>
                    <a:pt x="150820" y="196095"/>
                  </a:cubicBezTo>
                  <a:lnTo>
                    <a:pt x="204858" y="36901"/>
                  </a:lnTo>
                  <a:cubicBezTo>
                    <a:pt x="206319" y="33980"/>
                    <a:pt x="203398" y="29598"/>
                    <a:pt x="200477" y="28138"/>
                  </a:cubicBezTo>
                  <a:close/>
                  <a:moveTo>
                    <a:pt x="120149" y="213621"/>
                  </a:moveTo>
                  <a:cubicBezTo>
                    <a:pt x="111386" y="218003"/>
                    <a:pt x="101163" y="218003"/>
                    <a:pt x="92400" y="215082"/>
                  </a:cubicBezTo>
                  <a:cubicBezTo>
                    <a:pt x="73413" y="209240"/>
                    <a:pt x="63190" y="188793"/>
                    <a:pt x="70492" y="169806"/>
                  </a:cubicBezTo>
                  <a:lnTo>
                    <a:pt x="80716" y="140596"/>
                  </a:lnTo>
                  <a:lnTo>
                    <a:pt x="156662" y="140596"/>
                  </a:lnTo>
                  <a:lnTo>
                    <a:pt x="139136" y="193174"/>
                  </a:lnTo>
                  <a:cubicBezTo>
                    <a:pt x="134754" y="201937"/>
                    <a:pt x="128912" y="209240"/>
                    <a:pt x="120149" y="213621"/>
                  </a:cubicBezTo>
                  <a:close/>
                  <a:moveTo>
                    <a:pt x="159583" y="125991"/>
                  </a:moveTo>
                  <a:lnTo>
                    <a:pt x="85097" y="125991"/>
                  </a:lnTo>
                  <a:lnTo>
                    <a:pt x="121610" y="16454"/>
                  </a:lnTo>
                  <a:lnTo>
                    <a:pt x="188793" y="39822"/>
                  </a:lnTo>
                  <a:lnTo>
                    <a:pt x="159583" y="125991"/>
                  </a:lnTo>
                  <a:close/>
                </a:path>
              </a:pathLst>
            </a:custGeom>
            <a:solidFill>
              <a:srgbClr val="231F20"/>
            </a:solidFill>
            <a:ln w="14605" cap="flat">
              <a:noFill/>
              <a:prstDash val="solid"/>
              <a:miter/>
            </a:ln>
          </p:spPr>
          <p:txBody>
            <a:bodyPr rtlCol="0" anchor="ctr"/>
            <a:lstStyle/>
            <a:p>
              <a:endParaRPr lang="de-DE"/>
            </a:p>
          </p:txBody>
        </p:sp>
        <p:sp>
          <p:nvSpPr>
            <p:cNvPr id="5215" name="Freeform: Shape 5214">
              <a:extLst>
                <a:ext uri="{FF2B5EF4-FFF2-40B4-BE49-F238E27FC236}">
                  <a16:creationId xmlns:a16="http://schemas.microsoft.com/office/drawing/2014/main" id="{CE288F67-A04D-41B7-BA53-C57E743F2538}"/>
                </a:ext>
              </a:extLst>
            </p:cNvPr>
            <p:cNvSpPr/>
            <p:nvPr/>
          </p:nvSpPr>
          <p:spPr>
            <a:xfrm>
              <a:off x="6110078" y="3298468"/>
              <a:ext cx="204470" cy="365124"/>
            </a:xfrm>
            <a:custGeom>
              <a:avLst/>
              <a:gdLst>
                <a:gd name="connsiteX0" fmla="*/ 204997 w 204470"/>
                <a:gd name="connsiteY0" fmla="*/ 337923 h 365124"/>
                <a:gd name="connsiteX1" fmla="*/ 196234 w 204470"/>
                <a:gd name="connsiteY1" fmla="*/ 333541 h 365124"/>
                <a:gd name="connsiteX2" fmla="*/ 167024 w 204470"/>
                <a:gd name="connsiteY2" fmla="*/ 343764 h 365124"/>
                <a:gd name="connsiteX3" fmla="*/ 127590 w 204470"/>
                <a:gd name="connsiteY3" fmla="*/ 225464 h 365124"/>
                <a:gd name="connsiteX4" fmla="*/ 149498 w 204470"/>
                <a:gd name="connsiteY4" fmla="*/ 165584 h 365124"/>
                <a:gd name="connsiteX5" fmla="*/ 95459 w 204470"/>
                <a:gd name="connsiteY5" fmla="*/ 4929 h 365124"/>
                <a:gd name="connsiteX6" fmla="*/ 86696 w 204470"/>
                <a:gd name="connsiteY6" fmla="*/ 548 h 365124"/>
                <a:gd name="connsiteX7" fmla="*/ 6369 w 204470"/>
                <a:gd name="connsiteY7" fmla="*/ 28297 h 365124"/>
                <a:gd name="connsiteX8" fmla="*/ 527 w 204470"/>
                <a:gd name="connsiteY8" fmla="*/ 37060 h 365124"/>
                <a:gd name="connsiteX9" fmla="*/ 53105 w 204470"/>
                <a:gd name="connsiteY9" fmla="*/ 196254 h 365124"/>
                <a:gd name="connsiteX10" fmla="*/ 53105 w 204470"/>
                <a:gd name="connsiteY10" fmla="*/ 196254 h 365124"/>
                <a:gd name="connsiteX11" fmla="*/ 53105 w 204470"/>
                <a:gd name="connsiteY11" fmla="*/ 196254 h 365124"/>
                <a:gd name="connsiteX12" fmla="*/ 77933 w 204470"/>
                <a:gd name="connsiteY12" fmla="*/ 225464 h 365124"/>
                <a:gd name="connsiteX13" fmla="*/ 99841 w 204470"/>
                <a:gd name="connsiteY13" fmla="*/ 231306 h 365124"/>
                <a:gd name="connsiteX14" fmla="*/ 111525 w 204470"/>
                <a:gd name="connsiteY14" fmla="*/ 229846 h 365124"/>
                <a:gd name="connsiteX15" fmla="*/ 150958 w 204470"/>
                <a:gd name="connsiteY15" fmla="*/ 348146 h 365124"/>
                <a:gd name="connsiteX16" fmla="*/ 121748 w 204470"/>
                <a:gd name="connsiteY16" fmla="*/ 358369 h 365124"/>
                <a:gd name="connsiteX17" fmla="*/ 117367 w 204470"/>
                <a:gd name="connsiteY17" fmla="*/ 367132 h 365124"/>
                <a:gd name="connsiteX18" fmla="*/ 124669 w 204470"/>
                <a:gd name="connsiteY18" fmla="*/ 371514 h 365124"/>
                <a:gd name="connsiteX19" fmla="*/ 127590 w 204470"/>
                <a:gd name="connsiteY19" fmla="*/ 371514 h 365124"/>
                <a:gd name="connsiteX20" fmla="*/ 164103 w 204470"/>
                <a:gd name="connsiteY20" fmla="*/ 359830 h 365124"/>
                <a:gd name="connsiteX21" fmla="*/ 164103 w 204470"/>
                <a:gd name="connsiteY21" fmla="*/ 359830 h 365124"/>
                <a:gd name="connsiteX22" fmla="*/ 164103 w 204470"/>
                <a:gd name="connsiteY22" fmla="*/ 359830 h 365124"/>
                <a:gd name="connsiteX23" fmla="*/ 200615 w 204470"/>
                <a:gd name="connsiteY23" fmla="*/ 348146 h 365124"/>
                <a:gd name="connsiteX24" fmla="*/ 204997 w 204470"/>
                <a:gd name="connsiteY24" fmla="*/ 337923 h 365124"/>
                <a:gd name="connsiteX25" fmla="*/ 83775 w 204470"/>
                <a:gd name="connsiteY25" fmla="*/ 16613 h 365124"/>
                <a:gd name="connsiteX26" fmla="*/ 118827 w 204470"/>
                <a:gd name="connsiteY26" fmla="*/ 117387 h 365124"/>
                <a:gd name="connsiteX27" fmla="*/ 44342 w 204470"/>
                <a:gd name="connsiteY27" fmla="*/ 117387 h 365124"/>
                <a:gd name="connsiteX28" fmla="*/ 18053 w 204470"/>
                <a:gd name="connsiteY28" fmla="*/ 38521 h 365124"/>
                <a:gd name="connsiteX29" fmla="*/ 83775 w 204470"/>
                <a:gd name="connsiteY29" fmla="*/ 16613 h 365124"/>
                <a:gd name="connsiteX30" fmla="*/ 85236 w 204470"/>
                <a:gd name="connsiteY30" fmla="*/ 212320 h 365124"/>
                <a:gd name="connsiteX31" fmla="*/ 67710 w 204470"/>
                <a:gd name="connsiteY31" fmla="*/ 191873 h 365124"/>
                <a:gd name="connsiteX32" fmla="*/ 47263 w 204470"/>
                <a:gd name="connsiteY32" fmla="*/ 131992 h 365124"/>
                <a:gd name="connsiteX33" fmla="*/ 123209 w 204470"/>
                <a:gd name="connsiteY33" fmla="*/ 131992 h 365124"/>
                <a:gd name="connsiteX34" fmla="*/ 134893 w 204470"/>
                <a:gd name="connsiteY34" fmla="*/ 168505 h 365124"/>
                <a:gd name="connsiteX35" fmla="*/ 112985 w 204470"/>
                <a:gd name="connsiteY35" fmla="*/ 213780 h 365124"/>
                <a:gd name="connsiteX36" fmla="*/ 85236 w 204470"/>
                <a:gd name="connsiteY36" fmla="*/ 212320 h 3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4470" h="365124">
                  <a:moveTo>
                    <a:pt x="204997" y="337923"/>
                  </a:moveTo>
                  <a:cubicBezTo>
                    <a:pt x="203536" y="333541"/>
                    <a:pt x="199155" y="332081"/>
                    <a:pt x="196234" y="333541"/>
                  </a:cubicBezTo>
                  <a:lnTo>
                    <a:pt x="167024" y="343764"/>
                  </a:lnTo>
                  <a:lnTo>
                    <a:pt x="127590" y="225464"/>
                  </a:lnTo>
                  <a:cubicBezTo>
                    <a:pt x="148037" y="213780"/>
                    <a:pt x="158261" y="188952"/>
                    <a:pt x="149498" y="165584"/>
                  </a:cubicBezTo>
                  <a:lnTo>
                    <a:pt x="95459" y="4929"/>
                  </a:lnTo>
                  <a:cubicBezTo>
                    <a:pt x="93999" y="548"/>
                    <a:pt x="89617" y="-913"/>
                    <a:pt x="86696" y="548"/>
                  </a:cubicBezTo>
                  <a:lnTo>
                    <a:pt x="6369" y="28297"/>
                  </a:lnTo>
                  <a:cubicBezTo>
                    <a:pt x="527" y="29758"/>
                    <a:pt x="-934" y="32679"/>
                    <a:pt x="527" y="37060"/>
                  </a:cubicBezTo>
                  <a:lnTo>
                    <a:pt x="53105" y="196254"/>
                  </a:lnTo>
                  <a:cubicBezTo>
                    <a:pt x="53105" y="196254"/>
                    <a:pt x="53105" y="196254"/>
                    <a:pt x="53105" y="196254"/>
                  </a:cubicBezTo>
                  <a:cubicBezTo>
                    <a:pt x="53105" y="196254"/>
                    <a:pt x="53105" y="196254"/>
                    <a:pt x="53105" y="196254"/>
                  </a:cubicBezTo>
                  <a:cubicBezTo>
                    <a:pt x="57486" y="209399"/>
                    <a:pt x="66249" y="219622"/>
                    <a:pt x="77933" y="225464"/>
                  </a:cubicBezTo>
                  <a:cubicBezTo>
                    <a:pt x="85236" y="228385"/>
                    <a:pt x="92538" y="231306"/>
                    <a:pt x="99841" y="231306"/>
                  </a:cubicBezTo>
                  <a:cubicBezTo>
                    <a:pt x="104222" y="231306"/>
                    <a:pt x="107143" y="231306"/>
                    <a:pt x="111525" y="229846"/>
                  </a:cubicBezTo>
                  <a:lnTo>
                    <a:pt x="150958" y="348146"/>
                  </a:lnTo>
                  <a:lnTo>
                    <a:pt x="121748" y="358369"/>
                  </a:lnTo>
                  <a:cubicBezTo>
                    <a:pt x="117367" y="359830"/>
                    <a:pt x="115906" y="364211"/>
                    <a:pt x="117367" y="367132"/>
                  </a:cubicBezTo>
                  <a:cubicBezTo>
                    <a:pt x="118827" y="370053"/>
                    <a:pt x="121748" y="371514"/>
                    <a:pt x="124669" y="371514"/>
                  </a:cubicBezTo>
                  <a:cubicBezTo>
                    <a:pt x="126130" y="371514"/>
                    <a:pt x="126130" y="371514"/>
                    <a:pt x="127590" y="371514"/>
                  </a:cubicBezTo>
                  <a:lnTo>
                    <a:pt x="164103" y="359830"/>
                  </a:lnTo>
                  <a:cubicBezTo>
                    <a:pt x="164103" y="359830"/>
                    <a:pt x="164103" y="359830"/>
                    <a:pt x="164103" y="359830"/>
                  </a:cubicBezTo>
                  <a:cubicBezTo>
                    <a:pt x="164103" y="359830"/>
                    <a:pt x="164103" y="359830"/>
                    <a:pt x="164103" y="359830"/>
                  </a:cubicBezTo>
                  <a:lnTo>
                    <a:pt x="200615" y="348146"/>
                  </a:lnTo>
                  <a:cubicBezTo>
                    <a:pt x="203536" y="345225"/>
                    <a:pt x="204997" y="340843"/>
                    <a:pt x="204997" y="337923"/>
                  </a:cubicBezTo>
                  <a:close/>
                  <a:moveTo>
                    <a:pt x="83775" y="16613"/>
                  </a:moveTo>
                  <a:lnTo>
                    <a:pt x="118827" y="117387"/>
                  </a:lnTo>
                  <a:lnTo>
                    <a:pt x="44342" y="117387"/>
                  </a:lnTo>
                  <a:lnTo>
                    <a:pt x="18053" y="38521"/>
                  </a:lnTo>
                  <a:lnTo>
                    <a:pt x="83775" y="16613"/>
                  </a:lnTo>
                  <a:close/>
                  <a:moveTo>
                    <a:pt x="85236" y="212320"/>
                  </a:moveTo>
                  <a:cubicBezTo>
                    <a:pt x="76473" y="207938"/>
                    <a:pt x="70631" y="200636"/>
                    <a:pt x="67710" y="191873"/>
                  </a:cubicBezTo>
                  <a:lnTo>
                    <a:pt x="47263" y="131992"/>
                  </a:lnTo>
                  <a:lnTo>
                    <a:pt x="123209" y="131992"/>
                  </a:lnTo>
                  <a:lnTo>
                    <a:pt x="134893" y="168505"/>
                  </a:lnTo>
                  <a:cubicBezTo>
                    <a:pt x="140735" y="187491"/>
                    <a:pt x="130511" y="207938"/>
                    <a:pt x="112985" y="213780"/>
                  </a:cubicBezTo>
                  <a:cubicBezTo>
                    <a:pt x="104222" y="218162"/>
                    <a:pt x="93999" y="216701"/>
                    <a:pt x="85236" y="212320"/>
                  </a:cubicBezTo>
                  <a:close/>
                </a:path>
              </a:pathLst>
            </a:custGeom>
            <a:solidFill>
              <a:srgbClr val="231F20"/>
            </a:solidFill>
            <a:ln w="14605" cap="flat">
              <a:noFill/>
              <a:prstDash val="solid"/>
              <a:miter/>
            </a:ln>
          </p:spPr>
          <p:txBody>
            <a:bodyPr rtlCol="0" anchor="ctr"/>
            <a:lstStyle/>
            <a:p>
              <a:endParaRPr lang="de-DE"/>
            </a:p>
          </p:txBody>
        </p:sp>
        <p:sp>
          <p:nvSpPr>
            <p:cNvPr id="5216" name="Freeform: Shape 5215">
              <a:extLst>
                <a:ext uri="{FF2B5EF4-FFF2-40B4-BE49-F238E27FC236}">
                  <a16:creationId xmlns:a16="http://schemas.microsoft.com/office/drawing/2014/main" id="{59A0D868-CC76-402E-9BF6-7AE025A0CF42}"/>
                </a:ext>
              </a:extLst>
            </p:cNvPr>
            <p:cNvSpPr/>
            <p:nvPr/>
          </p:nvSpPr>
          <p:spPr>
            <a:xfrm>
              <a:off x="6009100" y="3217729"/>
              <a:ext cx="58420" cy="43815"/>
            </a:xfrm>
            <a:custGeom>
              <a:avLst/>
              <a:gdLst>
                <a:gd name="connsiteX0" fmla="*/ 46006 w 58420"/>
                <a:gd name="connsiteY0" fmla="*/ 56458 h 43814"/>
                <a:gd name="connsiteX1" fmla="*/ 51848 w 58420"/>
                <a:gd name="connsiteY1" fmla="*/ 57919 h 43814"/>
                <a:gd name="connsiteX2" fmla="*/ 57690 w 58420"/>
                <a:gd name="connsiteY2" fmla="*/ 56458 h 43814"/>
                <a:gd name="connsiteX3" fmla="*/ 57690 w 58420"/>
                <a:gd name="connsiteY3" fmla="*/ 46235 h 43814"/>
                <a:gd name="connsiteX4" fmla="*/ 13875 w 58420"/>
                <a:gd name="connsiteY4" fmla="*/ 2420 h 43814"/>
                <a:gd name="connsiteX5" fmla="*/ 2191 w 58420"/>
                <a:gd name="connsiteY5" fmla="*/ 959 h 43814"/>
                <a:gd name="connsiteX6" fmla="*/ 2191 w 58420"/>
                <a:gd name="connsiteY6" fmla="*/ 12643 h 43814"/>
                <a:gd name="connsiteX7" fmla="*/ 46006 w 58420"/>
                <a:gd name="connsiteY7" fmla="*/ 56458 h 4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 h="43814">
                  <a:moveTo>
                    <a:pt x="46006" y="56458"/>
                  </a:moveTo>
                  <a:cubicBezTo>
                    <a:pt x="47466" y="57919"/>
                    <a:pt x="48927" y="57919"/>
                    <a:pt x="51848" y="57919"/>
                  </a:cubicBezTo>
                  <a:cubicBezTo>
                    <a:pt x="54769" y="57919"/>
                    <a:pt x="56229" y="57919"/>
                    <a:pt x="57690" y="56458"/>
                  </a:cubicBezTo>
                  <a:cubicBezTo>
                    <a:pt x="60611" y="53537"/>
                    <a:pt x="60611" y="49156"/>
                    <a:pt x="57690" y="46235"/>
                  </a:cubicBezTo>
                  <a:lnTo>
                    <a:pt x="13875" y="2420"/>
                  </a:lnTo>
                  <a:cubicBezTo>
                    <a:pt x="9493" y="-501"/>
                    <a:pt x="5112" y="-501"/>
                    <a:pt x="2191" y="959"/>
                  </a:cubicBezTo>
                  <a:cubicBezTo>
                    <a:pt x="-730" y="2420"/>
                    <a:pt x="-730" y="9722"/>
                    <a:pt x="2191" y="12643"/>
                  </a:cubicBezTo>
                  <a:lnTo>
                    <a:pt x="46006" y="56458"/>
                  </a:lnTo>
                  <a:close/>
                </a:path>
              </a:pathLst>
            </a:custGeom>
            <a:solidFill>
              <a:srgbClr val="231F20"/>
            </a:solidFill>
            <a:ln w="14605" cap="flat">
              <a:noFill/>
              <a:prstDash val="solid"/>
              <a:miter/>
            </a:ln>
          </p:spPr>
          <p:txBody>
            <a:bodyPr rtlCol="0" anchor="ctr"/>
            <a:lstStyle/>
            <a:p>
              <a:endParaRPr lang="de-DE"/>
            </a:p>
          </p:txBody>
        </p:sp>
        <p:sp>
          <p:nvSpPr>
            <p:cNvPr id="5217" name="Freeform: Shape 5216">
              <a:extLst>
                <a:ext uri="{FF2B5EF4-FFF2-40B4-BE49-F238E27FC236}">
                  <a16:creationId xmlns:a16="http://schemas.microsoft.com/office/drawing/2014/main" id="{828789E4-B042-472B-AEAF-7AA8D0E300F3}"/>
                </a:ext>
              </a:extLst>
            </p:cNvPr>
            <p:cNvSpPr/>
            <p:nvPr/>
          </p:nvSpPr>
          <p:spPr>
            <a:xfrm>
              <a:off x="6142006" y="3217958"/>
              <a:ext cx="58420" cy="43815"/>
            </a:xfrm>
            <a:custGeom>
              <a:avLst/>
              <a:gdLst>
                <a:gd name="connsiteX0" fmla="*/ 6572 w 58420"/>
                <a:gd name="connsiteY0" fmla="*/ 57690 h 43814"/>
                <a:gd name="connsiteX1" fmla="*/ 12414 w 58420"/>
                <a:gd name="connsiteY1" fmla="*/ 56229 h 43814"/>
                <a:gd name="connsiteX2" fmla="*/ 56229 w 58420"/>
                <a:gd name="connsiteY2" fmla="*/ 12414 h 43814"/>
                <a:gd name="connsiteX3" fmla="*/ 56229 w 58420"/>
                <a:gd name="connsiteY3" fmla="*/ 2191 h 43814"/>
                <a:gd name="connsiteX4" fmla="*/ 46006 w 58420"/>
                <a:gd name="connsiteY4" fmla="*/ 2191 h 43814"/>
                <a:gd name="connsiteX5" fmla="*/ 2191 w 58420"/>
                <a:gd name="connsiteY5" fmla="*/ 46006 h 43814"/>
                <a:gd name="connsiteX6" fmla="*/ 2191 w 58420"/>
                <a:gd name="connsiteY6" fmla="*/ 56229 h 43814"/>
                <a:gd name="connsiteX7" fmla="*/ 6572 w 58420"/>
                <a:gd name="connsiteY7" fmla="*/ 57690 h 4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 h="43814">
                  <a:moveTo>
                    <a:pt x="6572" y="57690"/>
                  </a:moveTo>
                  <a:cubicBezTo>
                    <a:pt x="8033" y="57690"/>
                    <a:pt x="10954" y="57690"/>
                    <a:pt x="12414" y="56229"/>
                  </a:cubicBezTo>
                  <a:lnTo>
                    <a:pt x="56229" y="12414"/>
                  </a:lnTo>
                  <a:cubicBezTo>
                    <a:pt x="59150" y="9493"/>
                    <a:pt x="59150" y="5112"/>
                    <a:pt x="56229" y="2191"/>
                  </a:cubicBezTo>
                  <a:cubicBezTo>
                    <a:pt x="53308" y="-730"/>
                    <a:pt x="48927" y="-730"/>
                    <a:pt x="46006" y="2191"/>
                  </a:cubicBezTo>
                  <a:lnTo>
                    <a:pt x="2191" y="46006"/>
                  </a:lnTo>
                  <a:cubicBezTo>
                    <a:pt x="-730" y="48927"/>
                    <a:pt x="-730" y="53308"/>
                    <a:pt x="2191" y="56229"/>
                  </a:cubicBezTo>
                  <a:cubicBezTo>
                    <a:pt x="2191" y="57690"/>
                    <a:pt x="3651" y="57690"/>
                    <a:pt x="6572" y="57690"/>
                  </a:cubicBezTo>
                  <a:close/>
                </a:path>
              </a:pathLst>
            </a:custGeom>
            <a:solidFill>
              <a:srgbClr val="231F20"/>
            </a:solidFill>
            <a:ln w="14605" cap="flat">
              <a:noFill/>
              <a:prstDash val="solid"/>
              <a:miter/>
            </a:ln>
          </p:spPr>
          <p:txBody>
            <a:bodyPr rtlCol="0" anchor="ctr"/>
            <a:lstStyle/>
            <a:p>
              <a:endParaRPr lang="de-DE"/>
            </a:p>
          </p:txBody>
        </p:sp>
        <p:sp>
          <p:nvSpPr>
            <p:cNvPr id="5218" name="Freeform: Shape 5217">
              <a:extLst>
                <a:ext uri="{FF2B5EF4-FFF2-40B4-BE49-F238E27FC236}">
                  <a16:creationId xmlns:a16="http://schemas.microsoft.com/office/drawing/2014/main" id="{863224C6-ED1E-498E-8170-394C31DB7B06}"/>
                </a:ext>
              </a:extLst>
            </p:cNvPr>
            <p:cNvSpPr/>
            <p:nvPr/>
          </p:nvSpPr>
          <p:spPr>
            <a:xfrm>
              <a:off x="6097461" y="3188018"/>
              <a:ext cx="14605" cy="58420"/>
            </a:xfrm>
            <a:custGeom>
              <a:avLst/>
              <a:gdLst>
                <a:gd name="connsiteX0" fmla="*/ 14605 w 14605"/>
                <a:gd name="connsiteY0" fmla="*/ 7302 h 58419"/>
                <a:gd name="connsiteX1" fmla="*/ 7303 w 14605"/>
                <a:gd name="connsiteY1" fmla="*/ 0 h 58419"/>
                <a:gd name="connsiteX2" fmla="*/ 0 w 14605"/>
                <a:gd name="connsiteY2" fmla="*/ 7302 h 58419"/>
                <a:gd name="connsiteX3" fmla="*/ 0 w 14605"/>
                <a:gd name="connsiteY3" fmla="*/ 58420 h 58419"/>
                <a:gd name="connsiteX4" fmla="*/ 7303 w 14605"/>
                <a:gd name="connsiteY4" fmla="*/ 65722 h 58419"/>
                <a:gd name="connsiteX5" fmla="*/ 14605 w 14605"/>
                <a:gd name="connsiteY5" fmla="*/ 58420 h 58419"/>
                <a:gd name="connsiteX6" fmla="*/ 14605 w 14605"/>
                <a:gd name="connsiteY6" fmla="*/ 7302 h 5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5" h="58419">
                  <a:moveTo>
                    <a:pt x="14605" y="7302"/>
                  </a:moveTo>
                  <a:cubicBezTo>
                    <a:pt x="14605" y="2921"/>
                    <a:pt x="11684" y="0"/>
                    <a:pt x="7303" y="0"/>
                  </a:cubicBezTo>
                  <a:cubicBezTo>
                    <a:pt x="2921" y="0"/>
                    <a:pt x="0" y="2921"/>
                    <a:pt x="0" y="7302"/>
                  </a:cubicBezTo>
                  <a:lnTo>
                    <a:pt x="0" y="58420"/>
                  </a:lnTo>
                  <a:cubicBezTo>
                    <a:pt x="0" y="62801"/>
                    <a:pt x="2921" y="65722"/>
                    <a:pt x="7303" y="65722"/>
                  </a:cubicBezTo>
                  <a:cubicBezTo>
                    <a:pt x="11684" y="65722"/>
                    <a:pt x="14605" y="62801"/>
                    <a:pt x="14605" y="58420"/>
                  </a:cubicBezTo>
                  <a:lnTo>
                    <a:pt x="14605" y="7302"/>
                  </a:lnTo>
                  <a:close/>
                </a:path>
              </a:pathLst>
            </a:custGeom>
            <a:solidFill>
              <a:srgbClr val="231F20"/>
            </a:solidFill>
            <a:ln w="14605" cap="flat">
              <a:noFill/>
              <a:prstDash val="solid"/>
              <a:miter/>
            </a:ln>
          </p:spPr>
          <p:txBody>
            <a:bodyPr rtlCol="0" anchor="ctr"/>
            <a:lstStyle/>
            <a:p>
              <a:endParaRPr lang="de-DE"/>
            </a:p>
          </p:txBody>
        </p:sp>
      </p:grpSp>
      <p:sp>
        <p:nvSpPr>
          <p:cNvPr id="5219" name="Graphic 3">
            <a:extLst>
              <a:ext uri="{FF2B5EF4-FFF2-40B4-BE49-F238E27FC236}">
                <a16:creationId xmlns:a16="http://schemas.microsoft.com/office/drawing/2014/main" id="{CFA67D86-8300-41FE-9B5F-2F23B9E6FDDE}"/>
              </a:ext>
              <a:ext uri="{C183D7F6-B498-43B3-948B-1728B52AA6E4}">
                <adec:decorative xmlns:adec="http://schemas.microsoft.com/office/drawing/2017/decorative" val="1"/>
              </a:ext>
            </a:extLst>
          </p:cNvPr>
          <p:cNvSpPr>
            <a:spLocks noChangeAspect="1"/>
          </p:cNvSpPr>
          <p:nvPr/>
        </p:nvSpPr>
        <p:spPr>
          <a:xfrm>
            <a:off x="4022131" y="3818090"/>
            <a:ext cx="97112" cy="113296"/>
          </a:xfrm>
          <a:custGeom>
            <a:avLst/>
            <a:gdLst>
              <a:gd name="connsiteX0" fmla="*/ 233983 w 355416"/>
              <a:gd name="connsiteY0" fmla="*/ 254714 h 414650"/>
              <a:gd name="connsiteX1" fmla="*/ 364302 w 355416"/>
              <a:gd name="connsiteY1" fmla="*/ 100701 h 414650"/>
              <a:gd name="connsiteX2" fmla="*/ 365783 w 355416"/>
              <a:gd name="connsiteY2" fmla="*/ 93296 h 414650"/>
              <a:gd name="connsiteX3" fmla="*/ 359860 w 355416"/>
              <a:gd name="connsiteY3" fmla="*/ 88854 h 414650"/>
              <a:gd name="connsiteX4" fmla="*/ 316913 w 355416"/>
              <a:gd name="connsiteY4" fmla="*/ 88854 h 414650"/>
              <a:gd name="connsiteX5" fmla="*/ 343570 w 355416"/>
              <a:gd name="connsiteY5" fmla="*/ 56274 h 414650"/>
              <a:gd name="connsiteX6" fmla="*/ 342089 w 355416"/>
              <a:gd name="connsiteY6" fmla="*/ 45908 h 414650"/>
              <a:gd name="connsiteX7" fmla="*/ 331723 w 355416"/>
              <a:gd name="connsiteY7" fmla="*/ 47389 h 414650"/>
              <a:gd name="connsiteX8" fmla="*/ 297662 w 355416"/>
              <a:gd name="connsiteY8" fmla="*/ 88854 h 414650"/>
              <a:gd name="connsiteX9" fmla="*/ 186594 w 355416"/>
              <a:gd name="connsiteY9" fmla="*/ 88854 h 414650"/>
              <a:gd name="connsiteX10" fmla="*/ 93297 w 355416"/>
              <a:gd name="connsiteY10" fmla="*/ 0 h 414650"/>
              <a:gd name="connsiteX11" fmla="*/ 0 w 355416"/>
              <a:gd name="connsiteY11" fmla="*/ 93296 h 414650"/>
              <a:gd name="connsiteX12" fmla="*/ 93297 w 355416"/>
              <a:gd name="connsiteY12" fmla="*/ 186593 h 414650"/>
              <a:gd name="connsiteX13" fmla="*/ 119953 w 355416"/>
              <a:gd name="connsiteY13" fmla="*/ 182150 h 414650"/>
              <a:gd name="connsiteX14" fmla="*/ 146609 w 355416"/>
              <a:gd name="connsiteY14" fmla="*/ 170303 h 414650"/>
              <a:gd name="connsiteX15" fmla="*/ 219174 w 355416"/>
              <a:gd name="connsiteY15" fmla="*/ 256194 h 414650"/>
              <a:gd name="connsiteX16" fmla="*/ 219174 w 355416"/>
              <a:gd name="connsiteY16" fmla="*/ 256194 h 414650"/>
              <a:gd name="connsiteX17" fmla="*/ 219174 w 355416"/>
              <a:gd name="connsiteY17" fmla="*/ 399841 h 414650"/>
              <a:gd name="connsiteX18" fmla="*/ 137724 w 355416"/>
              <a:gd name="connsiteY18" fmla="*/ 399841 h 414650"/>
              <a:gd name="connsiteX19" fmla="*/ 130320 w 355416"/>
              <a:gd name="connsiteY19" fmla="*/ 407246 h 414650"/>
              <a:gd name="connsiteX20" fmla="*/ 137724 w 355416"/>
              <a:gd name="connsiteY20" fmla="*/ 414650 h 414650"/>
              <a:gd name="connsiteX21" fmla="*/ 315433 w 355416"/>
              <a:gd name="connsiteY21" fmla="*/ 414650 h 414650"/>
              <a:gd name="connsiteX22" fmla="*/ 322837 w 355416"/>
              <a:gd name="connsiteY22" fmla="*/ 407246 h 414650"/>
              <a:gd name="connsiteX23" fmla="*/ 315433 w 355416"/>
              <a:gd name="connsiteY23" fmla="*/ 399841 h 414650"/>
              <a:gd name="connsiteX24" fmla="*/ 233983 w 355416"/>
              <a:gd name="connsiteY24" fmla="*/ 399841 h 414650"/>
              <a:gd name="connsiteX25" fmla="*/ 233983 w 355416"/>
              <a:gd name="connsiteY25" fmla="*/ 254714 h 414650"/>
              <a:gd name="connsiteX26" fmla="*/ 233983 w 355416"/>
              <a:gd name="connsiteY26" fmla="*/ 254714 h 414650"/>
              <a:gd name="connsiteX27" fmla="*/ 343570 w 355416"/>
              <a:gd name="connsiteY27" fmla="*/ 103663 h 414650"/>
              <a:gd name="connsiteX28" fmla="*/ 316913 w 355416"/>
              <a:gd name="connsiteY28" fmla="*/ 133280 h 414650"/>
              <a:gd name="connsiteX29" fmla="*/ 278410 w 355416"/>
              <a:gd name="connsiteY29" fmla="*/ 133280 h 414650"/>
              <a:gd name="connsiteX30" fmla="*/ 303585 w 355416"/>
              <a:gd name="connsiteY30" fmla="*/ 103663 h 414650"/>
              <a:gd name="connsiteX31" fmla="*/ 343570 w 355416"/>
              <a:gd name="connsiteY31" fmla="*/ 103663 h 414650"/>
              <a:gd name="connsiteX32" fmla="*/ 260639 w 355416"/>
              <a:gd name="connsiteY32" fmla="*/ 133280 h 414650"/>
              <a:gd name="connsiteX33" fmla="*/ 134762 w 355416"/>
              <a:gd name="connsiteY33" fmla="*/ 133280 h 414650"/>
              <a:gd name="connsiteX34" fmla="*/ 109587 w 355416"/>
              <a:gd name="connsiteY34" fmla="*/ 103663 h 414650"/>
              <a:gd name="connsiteX35" fmla="*/ 285814 w 355416"/>
              <a:gd name="connsiteY35" fmla="*/ 103663 h 414650"/>
              <a:gd name="connsiteX36" fmla="*/ 260639 w 355416"/>
              <a:gd name="connsiteY36" fmla="*/ 133280 h 414650"/>
              <a:gd name="connsiteX37" fmla="*/ 115511 w 355416"/>
              <a:gd name="connsiteY37" fmla="*/ 168822 h 414650"/>
              <a:gd name="connsiteX38" fmla="*/ 93297 w 355416"/>
              <a:gd name="connsiteY38" fmla="*/ 171784 h 414650"/>
              <a:gd name="connsiteX39" fmla="*/ 14809 w 355416"/>
              <a:gd name="connsiteY39" fmla="*/ 93296 h 414650"/>
              <a:gd name="connsiteX40" fmla="*/ 93297 w 355416"/>
              <a:gd name="connsiteY40" fmla="*/ 14809 h 414650"/>
              <a:gd name="connsiteX41" fmla="*/ 171785 w 355416"/>
              <a:gd name="connsiteY41" fmla="*/ 88854 h 414650"/>
              <a:gd name="connsiteX42" fmla="*/ 93297 w 355416"/>
              <a:gd name="connsiteY42" fmla="*/ 88854 h 414650"/>
              <a:gd name="connsiteX43" fmla="*/ 85892 w 355416"/>
              <a:gd name="connsiteY43" fmla="*/ 93296 h 414650"/>
              <a:gd name="connsiteX44" fmla="*/ 87373 w 355416"/>
              <a:gd name="connsiteY44" fmla="*/ 100701 h 414650"/>
              <a:gd name="connsiteX45" fmla="*/ 136243 w 355416"/>
              <a:gd name="connsiteY45" fmla="*/ 158456 h 414650"/>
              <a:gd name="connsiteX46" fmla="*/ 115511 w 355416"/>
              <a:gd name="connsiteY46" fmla="*/ 168822 h 414650"/>
              <a:gd name="connsiteX47" fmla="*/ 146609 w 355416"/>
              <a:gd name="connsiteY47" fmla="*/ 148089 h 414650"/>
              <a:gd name="connsiteX48" fmla="*/ 247311 w 355416"/>
              <a:gd name="connsiteY48" fmla="*/ 148089 h 414650"/>
              <a:gd name="connsiteX49" fmla="*/ 220655 w 355416"/>
              <a:gd name="connsiteY49" fmla="*/ 180669 h 414650"/>
              <a:gd name="connsiteX50" fmla="*/ 222136 w 355416"/>
              <a:gd name="connsiteY50" fmla="*/ 191035 h 414650"/>
              <a:gd name="connsiteX51" fmla="*/ 226578 w 355416"/>
              <a:gd name="connsiteY51" fmla="*/ 192516 h 414650"/>
              <a:gd name="connsiteX52" fmla="*/ 232502 w 355416"/>
              <a:gd name="connsiteY52" fmla="*/ 189554 h 414650"/>
              <a:gd name="connsiteX53" fmla="*/ 266563 w 355416"/>
              <a:gd name="connsiteY53" fmla="*/ 148089 h 414650"/>
              <a:gd name="connsiteX54" fmla="*/ 303585 w 355416"/>
              <a:gd name="connsiteY54" fmla="*/ 148089 h 414650"/>
              <a:gd name="connsiteX55" fmla="*/ 225097 w 355416"/>
              <a:gd name="connsiteY55" fmla="*/ 241386 h 414650"/>
              <a:gd name="connsiteX56" fmla="*/ 146609 w 355416"/>
              <a:gd name="connsiteY56" fmla="*/ 148089 h 41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55416" h="414650">
                <a:moveTo>
                  <a:pt x="233983" y="254714"/>
                </a:moveTo>
                <a:cubicBezTo>
                  <a:pt x="241387" y="244347"/>
                  <a:pt x="315433" y="158456"/>
                  <a:pt x="364302" y="100701"/>
                </a:cubicBezTo>
                <a:cubicBezTo>
                  <a:pt x="365783" y="99220"/>
                  <a:pt x="367264" y="94777"/>
                  <a:pt x="365783" y="93296"/>
                </a:cubicBezTo>
                <a:cubicBezTo>
                  <a:pt x="365783" y="90334"/>
                  <a:pt x="362821" y="88854"/>
                  <a:pt x="359860" y="88854"/>
                </a:cubicBezTo>
                <a:lnTo>
                  <a:pt x="316913" y="88854"/>
                </a:lnTo>
                <a:lnTo>
                  <a:pt x="343570" y="56274"/>
                </a:lnTo>
                <a:cubicBezTo>
                  <a:pt x="346532" y="53312"/>
                  <a:pt x="345051" y="48869"/>
                  <a:pt x="342089" y="45908"/>
                </a:cubicBezTo>
                <a:cubicBezTo>
                  <a:pt x="339127" y="42946"/>
                  <a:pt x="334684" y="44427"/>
                  <a:pt x="331723" y="47389"/>
                </a:cubicBezTo>
                <a:lnTo>
                  <a:pt x="297662" y="88854"/>
                </a:lnTo>
                <a:lnTo>
                  <a:pt x="186594" y="88854"/>
                </a:lnTo>
                <a:cubicBezTo>
                  <a:pt x="183632" y="39984"/>
                  <a:pt x="143648" y="0"/>
                  <a:pt x="93297" y="0"/>
                </a:cubicBezTo>
                <a:cubicBezTo>
                  <a:pt x="41465" y="0"/>
                  <a:pt x="0" y="41465"/>
                  <a:pt x="0" y="93296"/>
                </a:cubicBezTo>
                <a:cubicBezTo>
                  <a:pt x="0" y="145128"/>
                  <a:pt x="41465" y="186593"/>
                  <a:pt x="93297" y="186593"/>
                </a:cubicBezTo>
                <a:cubicBezTo>
                  <a:pt x="102182" y="186593"/>
                  <a:pt x="111068" y="185112"/>
                  <a:pt x="119953" y="182150"/>
                </a:cubicBezTo>
                <a:cubicBezTo>
                  <a:pt x="119953" y="182150"/>
                  <a:pt x="134762" y="177707"/>
                  <a:pt x="146609" y="170303"/>
                </a:cubicBezTo>
                <a:lnTo>
                  <a:pt x="219174" y="256194"/>
                </a:lnTo>
                <a:cubicBezTo>
                  <a:pt x="219174" y="256194"/>
                  <a:pt x="219174" y="256194"/>
                  <a:pt x="219174" y="256194"/>
                </a:cubicBezTo>
                <a:lnTo>
                  <a:pt x="219174" y="399841"/>
                </a:lnTo>
                <a:lnTo>
                  <a:pt x="137724" y="399841"/>
                </a:lnTo>
                <a:cubicBezTo>
                  <a:pt x="133281" y="399841"/>
                  <a:pt x="130320" y="402803"/>
                  <a:pt x="130320" y="407246"/>
                </a:cubicBezTo>
                <a:cubicBezTo>
                  <a:pt x="130320" y="411688"/>
                  <a:pt x="133281" y="414650"/>
                  <a:pt x="137724" y="414650"/>
                </a:cubicBezTo>
                <a:lnTo>
                  <a:pt x="315433" y="414650"/>
                </a:lnTo>
                <a:cubicBezTo>
                  <a:pt x="319875" y="414650"/>
                  <a:pt x="322837" y="411688"/>
                  <a:pt x="322837" y="407246"/>
                </a:cubicBezTo>
                <a:cubicBezTo>
                  <a:pt x="322837" y="402803"/>
                  <a:pt x="319875" y="399841"/>
                  <a:pt x="315433" y="399841"/>
                </a:cubicBezTo>
                <a:lnTo>
                  <a:pt x="233983" y="399841"/>
                </a:lnTo>
                <a:lnTo>
                  <a:pt x="233983" y="254714"/>
                </a:lnTo>
                <a:cubicBezTo>
                  <a:pt x="233983" y="254714"/>
                  <a:pt x="233983" y="254714"/>
                  <a:pt x="233983" y="254714"/>
                </a:cubicBezTo>
                <a:close/>
                <a:moveTo>
                  <a:pt x="343570" y="103663"/>
                </a:moveTo>
                <a:cubicBezTo>
                  <a:pt x="334684" y="114029"/>
                  <a:pt x="325799" y="124395"/>
                  <a:pt x="316913" y="133280"/>
                </a:cubicBezTo>
                <a:lnTo>
                  <a:pt x="278410" y="133280"/>
                </a:lnTo>
                <a:lnTo>
                  <a:pt x="303585" y="103663"/>
                </a:lnTo>
                <a:lnTo>
                  <a:pt x="343570" y="103663"/>
                </a:lnTo>
                <a:close/>
                <a:moveTo>
                  <a:pt x="260639" y="133280"/>
                </a:moveTo>
                <a:lnTo>
                  <a:pt x="134762" y="133280"/>
                </a:lnTo>
                <a:lnTo>
                  <a:pt x="109587" y="103663"/>
                </a:lnTo>
                <a:lnTo>
                  <a:pt x="285814" y="103663"/>
                </a:lnTo>
                <a:lnTo>
                  <a:pt x="260639" y="133280"/>
                </a:lnTo>
                <a:close/>
                <a:moveTo>
                  <a:pt x="115511" y="168822"/>
                </a:moveTo>
                <a:cubicBezTo>
                  <a:pt x="108106" y="170303"/>
                  <a:pt x="100701" y="171784"/>
                  <a:pt x="93297" y="171784"/>
                </a:cubicBezTo>
                <a:cubicBezTo>
                  <a:pt x="50351" y="171784"/>
                  <a:pt x="14809" y="136242"/>
                  <a:pt x="14809" y="93296"/>
                </a:cubicBezTo>
                <a:cubicBezTo>
                  <a:pt x="14809" y="50350"/>
                  <a:pt x="50351" y="14809"/>
                  <a:pt x="93297" y="14809"/>
                </a:cubicBezTo>
                <a:cubicBezTo>
                  <a:pt x="134762" y="14809"/>
                  <a:pt x="168823" y="47389"/>
                  <a:pt x="171785" y="88854"/>
                </a:cubicBezTo>
                <a:lnTo>
                  <a:pt x="93297" y="88854"/>
                </a:lnTo>
                <a:cubicBezTo>
                  <a:pt x="90335" y="88854"/>
                  <a:pt x="87373" y="90334"/>
                  <a:pt x="85892" y="93296"/>
                </a:cubicBezTo>
                <a:cubicBezTo>
                  <a:pt x="85892" y="94777"/>
                  <a:pt x="85892" y="99220"/>
                  <a:pt x="87373" y="100701"/>
                </a:cubicBezTo>
                <a:lnTo>
                  <a:pt x="136243" y="158456"/>
                </a:lnTo>
                <a:cubicBezTo>
                  <a:pt x="125877" y="165860"/>
                  <a:pt x="115511" y="168822"/>
                  <a:pt x="115511" y="168822"/>
                </a:cubicBezTo>
                <a:close/>
                <a:moveTo>
                  <a:pt x="146609" y="148089"/>
                </a:moveTo>
                <a:lnTo>
                  <a:pt x="247311" y="148089"/>
                </a:lnTo>
                <a:lnTo>
                  <a:pt x="220655" y="180669"/>
                </a:lnTo>
                <a:cubicBezTo>
                  <a:pt x="217693" y="183631"/>
                  <a:pt x="219174" y="188073"/>
                  <a:pt x="222136" y="191035"/>
                </a:cubicBezTo>
                <a:cubicBezTo>
                  <a:pt x="223617" y="192516"/>
                  <a:pt x="225097" y="192516"/>
                  <a:pt x="226578" y="192516"/>
                </a:cubicBezTo>
                <a:cubicBezTo>
                  <a:pt x="228059" y="192516"/>
                  <a:pt x="231021" y="191035"/>
                  <a:pt x="232502" y="189554"/>
                </a:cubicBezTo>
                <a:lnTo>
                  <a:pt x="266563" y="148089"/>
                </a:lnTo>
                <a:lnTo>
                  <a:pt x="303585" y="148089"/>
                </a:lnTo>
                <a:cubicBezTo>
                  <a:pt x="254716" y="204363"/>
                  <a:pt x="233983" y="229538"/>
                  <a:pt x="225097" y="241386"/>
                </a:cubicBezTo>
                <a:lnTo>
                  <a:pt x="146609" y="148089"/>
                </a:lnTo>
                <a:close/>
              </a:path>
            </a:pathLst>
          </a:custGeom>
          <a:solidFill>
            <a:srgbClr val="101010"/>
          </a:solidFill>
          <a:ln w="14478" cap="flat">
            <a:noFill/>
            <a:prstDash val="solid"/>
            <a:miter/>
          </a:ln>
        </p:spPr>
        <p:txBody>
          <a:bodyPr rtlCol="0" anchor="ctr"/>
          <a:lstStyle/>
          <a:p>
            <a:endParaRPr lang="de-DE"/>
          </a:p>
        </p:txBody>
      </p:sp>
      <p:grpSp>
        <p:nvGrpSpPr>
          <p:cNvPr id="5220" name="Graphic 3">
            <a:extLst>
              <a:ext uri="{FF2B5EF4-FFF2-40B4-BE49-F238E27FC236}">
                <a16:creationId xmlns:a16="http://schemas.microsoft.com/office/drawing/2014/main" id="{1F92F8E0-276F-4FE0-A672-212C7646A485}"/>
              </a:ext>
              <a:ext uri="{C183D7F6-B498-43B3-948B-1728B52AA6E4}">
                <adec:decorative xmlns:adec="http://schemas.microsoft.com/office/drawing/2017/decorative" val="1"/>
              </a:ext>
            </a:extLst>
          </p:cNvPr>
          <p:cNvGrpSpPr>
            <a:grpSpLocks noChangeAspect="1"/>
          </p:cNvGrpSpPr>
          <p:nvPr/>
        </p:nvGrpSpPr>
        <p:grpSpPr>
          <a:xfrm>
            <a:off x="4568343" y="3809111"/>
            <a:ext cx="135233" cy="131255"/>
            <a:chOff x="5934075" y="3267551"/>
            <a:chExt cx="323850" cy="314325"/>
          </a:xfrm>
          <a:solidFill>
            <a:srgbClr val="000000"/>
          </a:solidFill>
        </p:grpSpPr>
        <p:sp>
          <p:nvSpPr>
            <p:cNvPr id="5221" name="Freeform: Shape 5220">
              <a:extLst>
                <a:ext uri="{FF2B5EF4-FFF2-40B4-BE49-F238E27FC236}">
                  <a16:creationId xmlns:a16="http://schemas.microsoft.com/office/drawing/2014/main" id="{94B73B4F-C002-4079-9D1A-D9F3E7D09333}"/>
                </a:ext>
              </a:extLst>
            </p:cNvPr>
            <p:cNvSpPr/>
            <p:nvPr/>
          </p:nvSpPr>
          <p:spPr>
            <a:xfrm>
              <a:off x="5934075" y="3267551"/>
              <a:ext cx="323850" cy="314325"/>
            </a:xfrm>
            <a:custGeom>
              <a:avLst/>
              <a:gdLst>
                <a:gd name="connsiteX0" fmla="*/ 301943 w 323850"/>
                <a:gd name="connsiteY0" fmla="*/ 113824 h 314325"/>
                <a:gd name="connsiteX1" fmla="*/ 266700 w 323850"/>
                <a:gd name="connsiteY1" fmla="*/ 113824 h 314325"/>
                <a:gd name="connsiteX2" fmla="*/ 165735 w 323850"/>
                <a:gd name="connsiteY2" fmla="*/ 1429 h 314325"/>
                <a:gd name="connsiteX3" fmla="*/ 159068 w 323850"/>
                <a:gd name="connsiteY3" fmla="*/ 1429 h 314325"/>
                <a:gd name="connsiteX4" fmla="*/ 57150 w 323850"/>
                <a:gd name="connsiteY4" fmla="*/ 113824 h 314325"/>
                <a:gd name="connsiteX5" fmla="*/ 21908 w 323850"/>
                <a:gd name="connsiteY5" fmla="*/ 113824 h 314325"/>
                <a:gd name="connsiteX6" fmla="*/ 0 w 323850"/>
                <a:gd name="connsiteY6" fmla="*/ 134779 h 314325"/>
                <a:gd name="connsiteX7" fmla="*/ 0 w 323850"/>
                <a:gd name="connsiteY7" fmla="*/ 301466 h 314325"/>
                <a:gd name="connsiteX8" fmla="*/ 21908 w 323850"/>
                <a:gd name="connsiteY8" fmla="*/ 323374 h 314325"/>
                <a:gd name="connsiteX9" fmla="*/ 302895 w 323850"/>
                <a:gd name="connsiteY9" fmla="*/ 323374 h 314325"/>
                <a:gd name="connsiteX10" fmla="*/ 324803 w 323850"/>
                <a:gd name="connsiteY10" fmla="*/ 301466 h 314325"/>
                <a:gd name="connsiteX11" fmla="*/ 324803 w 323850"/>
                <a:gd name="connsiteY11" fmla="*/ 134779 h 314325"/>
                <a:gd name="connsiteX12" fmla="*/ 301943 w 323850"/>
                <a:gd name="connsiteY12" fmla="*/ 113824 h 314325"/>
                <a:gd name="connsiteX13" fmla="*/ 161925 w 323850"/>
                <a:gd name="connsiteY13" fmla="*/ 10954 h 314325"/>
                <a:gd name="connsiteX14" fmla="*/ 254318 w 323850"/>
                <a:gd name="connsiteY14" fmla="*/ 113824 h 314325"/>
                <a:gd name="connsiteX15" fmla="*/ 69533 w 323850"/>
                <a:gd name="connsiteY15" fmla="*/ 113824 h 314325"/>
                <a:gd name="connsiteX16" fmla="*/ 161925 w 323850"/>
                <a:gd name="connsiteY16" fmla="*/ 10954 h 314325"/>
                <a:gd name="connsiteX17" fmla="*/ 314325 w 323850"/>
                <a:gd name="connsiteY17" fmla="*/ 301466 h 314325"/>
                <a:gd name="connsiteX18" fmla="*/ 301943 w 323850"/>
                <a:gd name="connsiteY18" fmla="*/ 313849 h 314325"/>
                <a:gd name="connsiteX19" fmla="*/ 21908 w 323850"/>
                <a:gd name="connsiteY19" fmla="*/ 313849 h 314325"/>
                <a:gd name="connsiteX20" fmla="*/ 9525 w 323850"/>
                <a:gd name="connsiteY20" fmla="*/ 301466 h 314325"/>
                <a:gd name="connsiteX21" fmla="*/ 9525 w 323850"/>
                <a:gd name="connsiteY21" fmla="*/ 134779 h 314325"/>
                <a:gd name="connsiteX22" fmla="*/ 21908 w 323850"/>
                <a:gd name="connsiteY22" fmla="*/ 123349 h 314325"/>
                <a:gd name="connsiteX23" fmla="*/ 48578 w 323850"/>
                <a:gd name="connsiteY23" fmla="*/ 123349 h 314325"/>
                <a:gd name="connsiteX24" fmla="*/ 39053 w 323850"/>
                <a:gd name="connsiteY24" fmla="*/ 133826 h 314325"/>
                <a:gd name="connsiteX25" fmla="*/ 33338 w 323850"/>
                <a:gd name="connsiteY25" fmla="*/ 132874 h 314325"/>
                <a:gd name="connsiteX26" fmla="*/ 19050 w 323850"/>
                <a:gd name="connsiteY26" fmla="*/ 147161 h 314325"/>
                <a:gd name="connsiteX27" fmla="*/ 33338 w 323850"/>
                <a:gd name="connsiteY27" fmla="*/ 161449 h 314325"/>
                <a:gd name="connsiteX28" fmla="*/ 47625 w 323850"/>
                <a:gd name="connsiteY28" fmla="*/ 147161 h 314325"/>
                <a:gd name="connsiteX29" fmla="*/ 45720 w 323850"/>
                <a:gd name="connsiteY29" fmla="*/ 140494 h 314325"/>
                <a:gd name="connsiteX30" fmla="*/ 60960 w 323850"/>
                <a:gd name="connsiteY30" fmla="*/ 123349 h 314325"/>
                <a:gd name="connsiteX31" fmla="*/ 262890 w 323850"/>
                <a:gd name="connsiteY31" fmla="*/ 123349 h 314325"/>
                <a:gd name="connsiteX32" fmla="*/ 278130 w 323850"/>
                <a:gd name="connsiteY32" fmla="*/ 140494 h 314325"/>
                <a:gd name="connsiteX33" fmla="*/ 276225 w 323850"/>
                <a:gd name="connsiteY33" fmla="*/ 147161 h 314325"/>
                <a:gd name="connsiteX34" fmla="*/ 290513 w 323850"/>
                <a:gd name="connsiteY34" fmla="*/ 161449 h 314325"/>
                <a:gd name="connsiteX35" fmla="*/ 304800 w 323850"/>
                <a:gd name="connsiteY35" fmla="*/ 147161 h 314325"/>
                <a:gd name="connsiteX36" fmla="*/ 290513 w 323850"/>
                <a:gd name="connsiteY36" fmla="*/ 132874 h 314325"/>
                <a:gd name="connsiteX37" fmla="*/ 284798 w 323850"/>
                <a:gd name="connsiteY37" fmla="*/ 133826 h 314325"/>
                <a:gd name="connsiteX38" fmla="*/ 275273 w 323850"/>
                <a:gd name="connsiteY38" fmla="*/ 123349 h 314325"/>
                <a:gd name="connsiteX39" fmla="*/ 301943 w 323850"/>
                <a:gd name="connsiteY39" fmla="*/ 123349 h 314325"/>
                <a:gd name="connsiteX40" fmla="*/ 314325 w 323850"/>
                <a:gd name="connsiteY40" fmla="*/ 135731 h 314325"/>
                <a:gd name="connsiteX41" fmla="*/ 314325 w 323850"/>
                <a:gd name="connsiteY41" fmla="*/ 3014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3850" h="314325">
                  <a:moveTo>
                    <a:pt x="301943" y="113824"/>
                  </a:moveTo>
                  <a:lnTo>
                    <a:pt x="266700" y="113824"/>
                  </a:lnTo>
                  <a:lnTo>
                    <a:pt x="165735" y="1429"/>
                  </a:lnTo>
                  <a:cubicBezTo>
                    <a:pt x="163830" y="-476"/>
                    <a:pt x="160020" y="-476"/>
                    <a:pt x="159068" y="1429"/>
                  </a:cubicBezTo>
                  <a:lnTo>
                    <a:pt x="57150" y="113824"/>
                  </a:lnTo>
                  <a:lnTo>
                    <a:pt x="21908" y="113824"/>
                  </a:lnTo>
                  <a:cubicBezTo>
                    <a:pt x="9525" y="113824"/>
                    <a:pt x="0" y="123349"/>
                    <a:pt x="0" y="134779"/>
                  </a:cubicBezTo>
                  <a:lnTo>
                    <a:pt x="0" y="301466"/>
                  </a:lnTo>
                  <a:cubicBezTo>
                    <a:pt x="0" y="313849"/>
                    <a:pt x="9525" y="323374"/>
                    <a:pt x="21908" y="323374"/>
                  </a:cubicBezTo>
                  <a:lnTo>
                    <a:pt x="302895" y="323374"/>
                  </a:lnTo>
                  <a:cubicBezTo>
                    <a:pt x="315278" y="323374"/>
                    <a:pt x="324803" y="313849"/>
                    <a:pt x="324803" y="301466"/>
                  </a:cubicBezTo>
                  <a:lnTo>
                    <a:pt x="324803" y="134779"/>
                  </a:lnTo>
                  <a:cubicBezTo>
                    <a:pt x="323850" y="123349"/>
                    <a:pt x="314325" y="113824"/>
                    <a:pt x="301943" y="113824"/>
                  </a:cubicBezTo>
                  <a:close/>
                  <a:moveTo>
                    <a:pt x="161925" y="10954"/>
                  </a:moveTo>
                  <a:lnTo>
                    <a:pt x="254318" y="113824"/>
                  </a:lnTo>
                  <a:lnTo>
                    <a:pt x="69533" y="113824"/>
                  </a:lnTo>
                  <a:lnTo>
                    <a:pt x="161925" y="10954"/>
                  </a:lnTo>
                  <a:close/>
                  <a:moveTo>
                    <a:pt x="314325" y="301466"/>
                  </a:moveTo>
                  <a:cubicBezTo>
                    <a:pt x="314325" y="308134"/>
                    <a:pt x="308610" y="313849"/>
                    <a:pt x="301943" y="313849"/>
                  </a:cubicBezTo>
                  <a:lnTo>
                    <a:pt x="21908" y="313849"/>
                  </a:lnTo>
                  <a:cubicBezTo>
                    <a:pt x="15240" y="313849"/>
                    <a:pt x="9525" y="308134"/>
                    <a:pt x="9525" y="301466"/>
                  </a:cubicBezTo>
                  <a:lnTo>
                    <a:pt x="9525" y="134779"/>
                  </a:lnTo>
                  <a:cubicBezTo>
                    <a:pt x="9525" y="128111"/>
                    <a:pt x="15240" y="123349"/>
                    <a:pt x="21908" y="123349"/>
                  </a:cubicBezTo>
                  <a:lnTo>
                    <a:pt x="48578" y="123349"/>
                  </a:lnTo>
                  <a:lnTo>
                    <a:pt x="39053" y="133826"/>
                  </a:lnTo>
                  <a:cubicBezTo>
                    <a:pt x="37148" y="132874"/>
                    <a:pt x="35243" y="132874"/>
                    <a:pt x="33338" y="132874"/>
                  </a:cubicBezTo>
                  <a:cubicBezTo>
                    <a:pt x="25718" y="132874"/>
                    <a:pt x="19050" y="139541"/>
                    <a:pt x="19050" y="147161"/>
                  </a:cubicBezTo>
                  <a:cubicBezTo>
                    <a:pt x="19050" y="154781"/>
                    <a:pt x="25718" y="161449"/>
                    <a:pt x="33338" y="161449"/>
                  </a:cubicBezTo>
                  <a:cubicBezTo>
                    <a:pt x="40958" y="161449"/>
                    <a:pt x="47625" y="154781"/>
                    <a:pt x="47625" y="147161"/>
                  </a:cubicBezTo>
                  <a:cubicBezTo>
                    <a:pt x="47625" y="144304"/>
                    <a:pt x="46673" y="142399"/>
                    <a:pt x="45720" y="140494"/>
                  </a:cubicBezTo>
                  <a:lnTo>
                    <a:pt x="60960" y="123349"/>
                  </a:lnTo>
                  <a:lnTo>
                    <a:pt x="262890" y="123349"/>
                  </a:lnTo>
                  <a:lnTo>
                    <a:pt x="278130" y="140494"/>
                  </a:lnTo>
                  <a:cubicBezTo>
                    <a:pt x="277178" y="142399"/>
                    <a:pt x="276225" y="144304"/>
                    <a:pt x="276225" y="147161"/>
                  </a:cubicBezTo>
                  <a:cubicBezTo>
                    <a:pt x="276225" y="154781"/>
                    <a:pt x="282893" y="161449"/>
                    <a:pt x="290513" y="161449"/>
                  </a:cubicBezTo>
                  <a:cubicBezTo>
                    <a:pt x="298133" y="161449"/>
                    <a:pt x="304800" y="154781"/>
                    <a:pt x="304800" y="147161"/>
                  </a:cubicBezTo>
                  <a:cubicBezTo>
                    <a:pt x="304800" y="139541"/>
                    <a:pt x="298133" y="132874"/>
                    <a:pt x="290513" y="132874"/>
                  </a:cubicBezTo>
                  <a:cubicBezTo>
                    <a:pt x="288608" y="132874"/>
                    <a:pt x="286703" y="132874"/>
                    <a:pt x="284798" y="133826"/>
                  </a:cubicBezTo>
                  <a:lnTo>
                    <a:pt x="275273" y="123349"/>
                  </a:lnTo>
                  <a:lnTo>
                    <a:pt x="301943" y="123349"/>
                  </a:lnTo>
                  <a:cubicBezTo>
                    <a:pt x="308610" y="123349"/>
                    <a:pt x="314325" y="129064"/>
                    <a:pt x="314325" y="135731"/>
                  </a:cubicBezTo>
                  <a:lnTo>
                    <a:pt x="314325" y="301466"/>
                  </a:lnTo>
                  <a:close/>
                </a:path>
              </a:pathLst>
            </a:custGeom>
            <a:solidFill>
              <a:srgbClr val="000000"/>
            </a:solidFill>
            <a:ln w="9525" cap="flat">
              <a:noFill/>
              <a:prstDash val="solid"/>
              <a:miter/>
            </a:ln>
          </p:spPr>
          <p:txBody>
            <a:bodyPr rtlCol="0" anchor="ctr"/>
            <a:lstStyle/>
            <a:p>
              <a:endParaRPr lang="de-DE"/>
            </a:p>
          </p:txBody>
        </p:sp>
        <p:sp>
          <p:nvSpPr>
            <p:cNvPr id="5222" name="Freeform: Shape 5221">
              <a:extLst>
                <a:ext uri="{FF2B5EF4-FFF2-40B4-BE49-F238E27FC236}">
                  <a16:creationId xmlns:a16="http://schemas.microsoft.com/office/drawing/2014/main" id="{6456EDF5-5955-4E82-BDB7-3A50ACDA2B81}"/>
                </a:ext>
              </a:extLst>
            </p:cNvPr>
            <p:cNvSpPr/>
            <p:nvPr/>
          </p:nvSpPr>
          <p:spPr>
            <a:xfrm>
              <a:off x="5999798" y="3457575"/>
              <a:ext cx="47625" cy="47625"/>
            </a:xfrm>
            <a:custGeom>
              <a:avLst/>
              <a:gdLst>
                <a:gd name="connsiteX0" fmla="*/ 41910 w 47625"/>
                <a:gd name="connsiteY0" fmla="*/ 6668 h 47625"/>
                <a:gd name="connsiteX1" fmla="*/ 34290 w 47625"/>
                <a:gd name="connsiteY1" fmla="*/ 1905 h 47625"/>
                <a:gd name="connsiteX2" fmla="*/ 24765 w 47625"/>
                <a:gd name="connsiteY2" fmla="*/ 0 h 47625"/>
                <a:gd name="connsiteX3" fmla="*/ 15240 w 47625"/>
                <a:gd name="connsiteY3" fmla="*/ 1905 h 47625"/>
                <a:gd name="connsiteX4" fmla="*/ 7620 w 47625"/>
                <a:gd name="connsiteY4" fmla="*/ 6668 h 47625"/>
                <a:gd name="connsiteX5" fmla="*/ 1905 w 47625"/>
                <a:gd name="connsiteY5" fmla="*/ 15240 h 47625"/>
                <a:gd name="connsiteX6" fmla="*/ 0 w 47625"/>
                <a:gd name="connsiteY6" fmla="*/ 26670 h 47625"/>
                <a:gd name="connsiteX7" fmla="*/ 1905 w 47625"/>
                <a:gd name="connsiteY7" fmla="*/ 38100 h 47625"/>
                <a:gd name="connsiteX8" fmla="*/ 7620 w 47625"/>
                <a:gd name="connsiteY8" fmla="*/ 46672 h 47625"/>
                <a:gd name="connsiteX9" fmla="*/ 15240 w 47625"/>
                <a:gd name="connsiteY9" fmla="*/ 51435 h 47625"/>
                <a:gd name="connsiteX10" fmla="*/ 24765 w 47625"/>
                <a:gd name="connsiteY10" fmla="*/ 53340 h 47625"/>
                <a:gd name="connsiteX11" fmla="*/ 34290 w 47625"/>
                <a:gd name="connsiteY11" fmla="*/ 51435 h 47625"/>
                <a:gd name="connsiteX12" fmla="*/ 41910 w 47625"/>
                <a:gd name="connsiteY12" fmla="*/ 46672 h 47625"/>
                <a:gd name="connsiteX13" fmla="*/ 47625 w 47625"/>
                <a:gd name="connsiteY13" fmla="*/ 38100 h 47625"/>
                <a:gd name="connsiteX14" fmla="*/ 49530 w 47625"/>
                <a:gd name="connsiteY14" fmla="*/ 26670 h 47625"/>
                <a:gd name="connsiteX15" fmla="*/ 47625 w 47625"/>
                <a:gd name="connsiteY15" fmla="*/ 15240 h 47625"/>
                <a:gd name="connsiteX16" fmla="*/ 41910 w 47625"/>
                <a:gd name="connsiteY16" fmla="*/ 6668 h 47625"/>
                <a:gd name="connsiteX17" fmla="*/ 39053 w 47625"/>
                <a:gd name="connsiteY17" fmla="*/ 34290 h 47625"/>
                <a:gd name="connsiteX18" fmla="*/ 36195 w 47625"/>
                <a:gd name="connsiteY18" fmla="*/ 40005 h 47625"/>
                <a:gd name="connsiteX19" fmla="*/ 31432 w 47625"/>
                <a:gd name="connsiteY19" fmla="*/ 43815 h 47625"/>
                <a:gd name="connsiteX20" fmla="*/ 24765 w 47625"/>
                <a:gd name="connsiteY20" fmla="*/ 44768 h 47625"/>
                <a:gd name="connsiteX21" fmla="*/ 18098 w 47625"/>
                <a:gd name="connsiteY21" fmla="*/ 43815 h 47625"/>
                <a:gd name="connsiteX22" fmla="*/ 13335 w 47625"/>
                <a:gd name="connsiteY22" fmla="*/ 40005 h 47625"/>
                <a:gd name="connsiteX23" fmla="*/ 10477 w 47625"/>
                <a:gd name="connsiteY23" fmla="*/ 34290 h 47625"/>
                <a:gd name="connsiteX24" fmla="*/ 9525 w 47625"/>
                <a:gd name="connsiteY24" fmla="*/ 26670 h 47625"/>
                <a:gd name="connsiteX25" fmla="*/ 10477 w 47625"/>
                <a:gd name="connsiteY25" fmla="*/ 19050 h 47625"/>
                <a:gd name="connsiteX26" fmla="*/ 13335 w 47625"/>
                <a:gd name="connsiteY26" fmla="*/ 13335 h 47625"/>
                <a:gd name="connsiteX27" fmla="*/ 18098 w 47625"/>
                <a:gd name="connsiteY27" fmla="*/ 9525 h 47625"/>
                <a:gd name="connsiteX28" fmla="*/ 24765 w 47625"/>
                <a:gd name="connsiteY28" fmla="*/ 8572 h 47625"/>
                <a:gd name="connsiteX29" fmla="*/ 31432 w 47625"/>
                <a:gd name="connsiteY29" fmla="*/ 9525 h 47625"/>
                <a:gd name="connsiteX30" fmla="*/ 36195 w 47625"/>
                <a:gd name="connsiteY30" fmla="*/ 13335 h 47625"/>
                <a:gd name="connsiteX31" fmla="*/ 39053 w 47625"/>
                <a:gd name="connsiteY31" fmla="*/ 19050 h 47625"/>
                <a:gd name="connsiteX32" fmla="*/ 40005 w 47625"/>
                <a:gd name="connsiteY32" fmla="*/ 26670 h 47625"/>
                <a:gd name="connsiteX33" fmla="*/ 39053 w 47625"/>
                <a:gd name="connsiteY33"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625" h="47625">
                  <a:moveTo>
                    <a:pt x="41910" y="6668"/>
                  </a:moveTo>
                  <a:cubicBezTo>
                    <a:pt x="40005" y="4763"/>
                    <a:pt x="37148" y="2857"/>
                    <a:pt x="34290" y="1905"/>
                  </a:cubicBezTo>
                  <a:cubicBezTo>
                    <a:pt x="31432" y="953"/>
                    <a:pt x="27623" y="0"/>
                    <a:pt x="24765" y="0"/>
                  </a:cubicBezTo>
                  <a:cubicBezTo>
                    <a:pt x="21907" y="0"/>
                    <a:pt x="18098" y="953"/>
                    <a:pt x="15240" y="1905"/>
                  </a:cubicBezTo>
                  <a:cubicBezTo>
                    <a:pt x="12382" y="2857"/>
                    <a:pt x="9525" y="4763"/>
                    <a:pt x="7620" y="6668"/>
                  </a:cubicBezTo>
                  <a:cubicBezTo>
                    <a:pt x="5715" y="8572"/>
                    <a:pt x="3810" y="11430"/>
                    <a:pt x="1905" y="15240"/>
                  </a:cubicBezTo>
                  <a:cubicBezTo>
                    <a:pt x="0" y="19050"/>
                    <a:pt x="0" y="21907"/>
                    <a:pt x="0" y="26670"/>
                  </a:cubicBezTo>
                  <a:cubicBezTo>
                    <a:pt x="0" y="31432"/>
                    <a:pt x="952" y="34290"/>
                    <a:pt x="1905" y="38100"/>
                  </a:cubicBezTo>
                  <a:cubicBezTo>
                    <a:pt x="2857" y="40957"/>
                    <a:pt x="4763" y="43815"/>
                    <a:pt x="7620" y="46672"/>
                  </a:cubicBezTo>
                  <a:cubicBezTo>
                    <a:pt x="9525" y="48578"/>
                    <a:pt x="12382" y="50482"/>
                    <a:pt x="15240" y="51435"/>
                  </a:cubicBezTo>
                  <a:cubicBezTo>
                    <a:pt x="18098" y="52388"/>
                    <a:pt x="21907" y="53340"/>
                    <a:pt x="24765" y="53340"/>
                  </a:cubicBezTo>
                  <a:cubicBezTo>
                    <a:pt x="27623" y="53340"/>
                    <a:pt x="31432" y="52388"/>
                    <a:pt x="34290" y="51435"/>
                  </a:cubicBezTo>
                  <a:cubicBezTo>
                    <a:pt x="37148" y="50482"/>
                    <a:pt x="40005" y="48578"/>
                    <a:pt x="41910" y="46672"/>
                  </a:cubicBezTo>
                  <a:cubicBezTo>
                    <a:pt x="43815" y="44768"/>
                    <a:pt x="45720" y="41910"/>
                    <a:pt x="47625" y="38100"/>
                  </a:cubicBezTo>
                  <a:cubicBezTo>
                    <a:pt x="48578" y="35243"/>
                    <a:pt x="49530" y="30480"/>
                    <a:pt x="49530" y="26670"/>
                  </a:cubicBezTo>
                  <a:cubicBezTo>
                    <a:pt x="49530" y="22860"/>
                    <a:pt x="48578" y="18097"/>
                    <a:pt x="47625" y="15240"/>
                  </a:cubicBezTo>
                  <a:cubicBezTo>
                    <a:pt x="46673" y="12382"/>
                    <a:pt x="43815" y="8572"/>
                    <a:pt x="41910" y="6668"/>
                  </a:cubicBezTo>
                  <a:close/>
                  <a:moveTo>
                    <a:pt x="39053" y="34290"/>
                  </a:moveTo>
                  <a:cubicBezTo>
                    <a:pt x="38100" y="36195"/>
                    <a:pt x="37148" y="38100"/>
                    <a:pt x="36195" y="40005"/>
                  </a:cubicBezTo>
                  <a:cubicBezTo>
                    <a:pt x="35243" y="41910"/>
                    <a:pt x="33337" y="42863"/>
                    <a:pt x="31432" y="43815"/>
                  </a:cubicBezTo>
                  <a:cubicBezTo>
                    <a:pt x="29528" y="44768"/>
                    <a:pt x="27623" y="44768"/>
                    <a:pt x="24765" y="44768"/>
                  </a:cubicBezTo>
                  <a:cubicBezTo>
                    <a:pt x="22860" y="44768"/>
                    <a:pt x="20003" y="44768"/>
                    <a:pt x="18098" y="43815"/>
                  </a:cubicBezTo>
                  <a:cubicBezTo>
                    <a:pt x="16193" y="42863"/>
                    <a:pt x="14287" y="41910"/>
                    <a:pt x="13335" y="40005"/>
                  </a:cubicBezTo>
                  <a:cubicBezTo>
                    <a:pt x="12382" y="38100"/>
                    <a:pt x="11430" y="36195"/>
                    <a:pt x="10477" y="34290"/>
                  </a:cubicBezTo>
                  <a:cubicBezTo>
                    <a:pt x="9525" y="32385"/>
                    <a:pt x="9525" y="29528"/>
                    <a:pt x="9525" y="26670"/>
                  </a:cubicBezTo>
                  <a:cubicBezTo>
                    <a:pt x="9525" y="23813"/>
                    <a:pt x="9525" y="20955"/>
                    <a:pt x="10477" y="19050"/>
                  </a:cubicBezTo>
                  <a:cubicBezTo>
                    <a:pt x="11430" y="17145"/>
                    <a:pt x="12382" y="15240"/>
                    <a:pt x="13335" y="13335"/>
                  </a:cubicBezTo>
                  <a:cubicBezTo>
                    <a:pt x="14287" y="11430"/>
                    <a:pt x="16193" y="10478"/>
                    <a:pt x="18098" y="9525"/>
                  </a:cubicBezTo>
                  <a:cubicBezTo>
                    <a:pt x="20003" y="8572"/>
                    <a:pt x="21907" y="8572"/>
                    <a:pt x="24765" y="8572"/>
                  </a:cubicBezTo>
                  <a:cubicBezTo>
                    <a:pt x="26670" y="8572"/>
                    <a:pt x="29528" y="8572"/>
                    <a:pt x="31432" y="9525"/>
                  </a:cubicBezTo>
                  <a:cubicBezTo>
                    <a:pt x="33337" y="10478"/>
                    <a:pt x="35243" y="11430"/>
                    <a:pt x="36195" y="13335"/>
                  </a:cubicBezTo>
                  <a:cubicBezTo>
                    <a:pt x="37148" y="15240"/>
                    <a:pt x="38100" y="17145"/>
                    <a:pt x="39053" y="19050"/>
                  </a:cubicBezTo>
                  <a:cubicBezTo>
                    <a:pt x="40005" y="20955"/>
                    <a:pt x="40005" y="23813"/>
                    <a:pt x="40005" y="26670"/>
                  </a:cubicBezTo>
                  <a:cubicBezTo>
                    <a:pt x="40005" y="29528"/>
                    <a:pt x="39053" y="31432"/>
                    <a:pt x="39053" y="34290"/>
                  </a:cubicBezTo>
                  <a:close/>
                </a:path>
              </a:pathLst>
            </a:custGeom>
            <a:solidFill>
              <a:srgbClr val="000000"/>
            </a:solidFill>
            <a:ln w="9525" cap="flat">
              <a:noFill/>
              <a:prstDash val="solid"/>
              <a:miter/>
            </a:ln>
          </p:spPr>
          <p:txBody>
            <a:bodyPr rtlCol="0" anchor="ctr"/>
            <a:lstStyle/>
            <a:p>
              <a:endParaRPr lang="de-DE"/>
            </a:p>
          </p:txBody>
        </p:sp>
        <p:sp>
          <p:nvSpPr>
            <p:cNvPr id="5223" name="Freeform: Shape 5222">
              <a:extLst>
                <a:ext uri="{FF2B5EF4-FFF2-40B4-BE49-F238E27FC236}">
                  <a16:creationId xmlns:a16="http://schemas.microsoft.com/office/drawing/2014/main" id="{414355FB-D865-4AB8-A2CD-681438F282A6}"/>
                </a:ext>
              </a:extLst>
            </p:cNvPr>
            <p:cNvSpPr/>
            <p:nvPr/>
          </p:nvSpPr>
          <p:spPr>
            <a:xfrm>
              <a:off x="6057900" y="3458528"/>
              <a:ext cx="38100" cy="47625"/>
            </a:xfrm>
            <a:custGeom>
              <a:avLst/>
              <a:gdLst>
                <a:gd name="connsiteX0" fmla="*/ 32385 w 38100"/>
                <a:gd name="connsiteY0" fmla="*/ 3810 h 47625"/>
                <a:gd name="connsiteX1" fmla="*/ 15240 w 38100"/>
                <a:gd name="connsiteY1" fmla="*/ 0 h 47625"/>
                <a:gd name="connsiteX2" fmla="*/ 7620 w 38100"/>
                <a:gd name="connsiteY2" fmla="*/ 0 h 47625"/>
                <a:gd name="connsiteX3" fmla="*/ 0 w 38100"/>
                <a:gd name="connsiteY3" fmla="*/ 953 h 47625"/>
                <a:gd name="connsiteX4" fmla="*/ 0 w 38100"/>
                <a:gd name="connsiteY4" fmla="*/ 51435 h 47625"/>
                <a:gd name="connsiteX5" fmla="*/ 9525 w 38100"/>
                <a:gd name="connsiteY5" fmla="*/ 51435 h 47625"/>
                <a:gd name="connsiteX6" fmla="*/ 9525 w 38100"/>
                <a:gd name="connsiteY6" fmla="*/ 33338 h 47625"/>
                <a:gd name="connsiteX7" fmla="*/ 14288 w 38100"/>
                <a:gd name="connsiteY7" fmla="*/ 33338 h 47625"/>
                <a:gd name="connsiteX8" fmla="*/ 23813 w 38100"/>
                <a:gd name="connsiteY8" fmla="*/ 32385 h 47625"/>
                <a:gd name="connsiteX9" fmla="*/ 31432 w 38100"/>
                <a:gd name="connsiteY9" fmla="*/ 29528 h 47625"/>
                <a:gd name="connsiteX10" fmla="*/ 36195 w 38100"/>
                <a:gd name="connsiteY10" fmla="*/ 24765 h 47625"/>
                <a:gd name="connsiteX11" fmla="*/ 38100 w 38100"/>
                <a:gd name="connsiteY11" fmla="*/ 17145 h 47625"/>
                <a:gd name="connsiteX12" fmla="*/ 32385 w 38100"/>
                <a:gd name="connsiteY12" fmla="*/ 3810 h 47625"/>
                <a:gd name="connsiteX13" fmla="*/ 25717 w 38100"/>
                <a:gd name="connsiteY13" fmla="*/ 22860 h 47625"/>
                <a:gd name="connsiteX14" fmla="*/ 15240 w 38100"/>
                <a:gd name="connsiteY14" fmla="*/ 24765 h 47625"/>
                <a:gd name="connsiteX15" fmla="*/ 10478 w 38100"/>
                <a:gd name="connsiteY15" fmla="*/ 24765 h 47625"/>
                <a:gd name="connsiteX16" fmla="*/ 10478 w 38100"/>
                <a:gd name="connsiteY16" fmla="*/ 7620 h 47625"/>
                <a:gd name="connsiteX17" fmla="*/ 16192 w 38100"/>
                <a:gd name="connsiteY17" fmla="*/ 7620 h 47625"/>
                <a:gd name="connsiteX18" fmla="*/ 20955 w 38100"/>
                <a:gd name="connsiteY18" fmla="*/ 7620 h 47625"/>
                <a:gd name="connsiteX19" fmla="*/ 24765 w 38100"/>
                <a:gd name="connsiteY19" fmla="*/ 8572 h 47625"/>
                <a:gd name="connsiteX20" fmla="*/ 27622 w 38100"/>
                <a:gd name="connsiteY20" fmla="*/ 11430 h 47625"/>
                <a:gd name="connsiteX21" fmla="*/ 28575 w 38100"/>
                <a:gd name="connsiteY21" fmla="*/ 15240 h 47625"/>
                <a:gd name="connsiteX22" fmla="*/ 25717 w 38100"/>
                <a:gd name="connsiteY22" fmla="*/ 2286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100" h="47625">
                  <a:moveTo>
                    <a:pt x="32385" y="3810"/>
                  </a:moveTo>
                  <a:cubicBezTo>
                    <a:pt x="28575" y="953"/>
                    <a:pt x="22860" y="0"/>
                    <a:pt x="15240" y="0"/>
                  </a:cubicBezTo>
                  <a:cubicBezTo>
                    <a:pt x="13335" y="0"/>
                    <a:pt x="10478" y="0"/>
                    <a:pt x="7620" y="0"/>
                  </a:cubicBezTo>
                  <a:cubicBezTo>
                    <a:pt x="4763" y="0"/>
                    <a:pt x="2858" y="953"/>
                    <a:pt x="0" y="953"/>
                  </a:cubicBezTo>
                  <a:lnTo>
                    <a:pt x="0" y="51435"/>
                  </a:lnTo>
                  <a:lnTo>
                    <a:pt x="9525" y="51435"/>
                  </a:lnTo>
                  <a:lnTo>
                    <a:pt x="9525" y="33338"/>
                  </a:lnTo>
                  <a:lnTo>
                    <a:pt x="14288" y="33338"/>
                  </a:lnTo>
                  <a:cubicBezTo>
                    <a:pt x="18097" y="33338"/>
                    <a:pt x="20955" y="33338"/>
                    <a:pt x="23813" y="32385"/>
                  </a:cubicBezTo>
                  <a:cubicBezTo>
                    <a:pt x="26670" y="31432"/>
                    <a:pt x="29528" y="30480"/>
                    <a:pt x="31432" y="29528"/>
                  </a:cubicBezTo>
                  <a:cubicBezTo>
                    <a:pt x="33338" y="28575"/>
                    <a:pt x="35243" y="26670"/>
                    <a:pt x="36195" y="24765"/>
                  </a:cubicBezTo>
                  <a:cubicBezTo>
                    <a:pt x="37147" y="22860"/>
                    <a:pt x="38100" y="20003"/>
                    <a:pt x="38100" y="17145"/>
                  </a:cubicBezTo>
                  <a:cubicBezTo>
                    <a:pt x="39053" y="10478"/>
                    <a:pt x="37147" y="6667"/>
                    <a:pt x="32385" y="3810"/>
                  </a:cubicBezTo>
                  <a:close/>
                  <a:moveTo>
                    <a:pt x="25717" y="22860"/>
                  </a:moveTo>
                  <a:cubicBezTo>
                    <a:pt x="22860" y="23813"/>
                    <a:pt x="20003" y="24765"/>
                    <a:pt x="15240" y="24765"/>
                  </a:cubicBezTo>
                  <a:lnTo>
                    <a:pt x="10478" y="24765"/>
                  </a:lnTo>
                  <a:lnTo>
                    <a:pt x="10478" y="7620"/>
                  </a:lnTo>
                  <a:cubicBezTo>
                    <a:pt x="12383" y="7620"/>
                    <a:pt x="14288" y="7620"/>
                    <a:pt x="16192" y="7620"/>
                  </a:cubicBezTo>
                  <a:cubicBezTo>
                    <a:pt x="18097" y="7620"/>
                    <a:pt x="20003" y="7620"/>
                    <a:pt x="20955" y="7620"/>
                  </a:cubicBezTo>
                  <a:cubicBezTo>
                    <a:pt x="22860" y="7620"/>
                    <a:pt x="23813" y="8572"/>
                    <a:pt x="24765" y="8572"/>
                  </a:cubicBezTo>
                  <a:cubicBezTo>
                    <a:pt x="25717" y="9525"/>
                    <a:pt x="26670" y="10478"/>
                    <a:pt x="27622" y="11430"/>
                  </a:cubicBezTo>
                  <a:cubicBezTo>
                    <a:pt x="28575" y="12382"/>
                    <a:pt x="28575" y="14288"/>
                    <a:pt x="28575" y="15240"/>
                  </a:cubicBezTo>
                  <a:cubicBezTo>
                    <a:pt x="28575" y="20003"/>
                    <a:pt x="27622" y="21907"/>
                    <a:pt x="25717" y="22860"/>
                  </a:cubicBezTo>
                  <a:close/>
                </a:path>
              </a:pathLst>
            </a:custGeom>
            <a:solidFill>
              <a:srgbClr val="000000"/>
            </a:solidFill>
            <a:ln w="9525" cap="flat">
              <a:noFill/>
              <a:prstDash val="solid"/>
              <a:miter/>
            </a:ln>
          </p:spPr>
          <p:txBody>
            <a:bodyPr rtlCol="0" anchor="ctr"/>
            <a:lstStyle/>
            <a:p>
              <a:endParaRPr lang="de-DE"/>
            </a:p>
          </p:txBody>
        </p:sp>
        <p:sp>
          <p:nvSpPr>
            <p:cNvPr id="5224" name="Freeform: Shape 5223">
              <a:extLst>
                <a:ext uri="{FF2B5EF4-FFF2-40B4-BE49-F238E27FC236}">
                  <a16:creationId xmlns:a16="http://schemas.microsoft.com/office/drawing/2014/main" id="{0F5014F4-B0B7-4E2E-BBAB-2B04A671FE1E}"/>
                </a:ext>
              </a:extLst>
            </p:cNvPr>
            <p:cNvSpPr/>
            <p:nvPr/>
          </p:nvSpPr>
          <p:spPr>
            <a:xfrm>
              <a:off x="6104572" y="3458528"/>
              <a:ext cx="28575" cy="47625"/>
            </a:xfrm>
            <a:custGeom>
              <a:avLst/>
              <a:gdLst>
                <a:gd name="connsiteX0" fmla="*/ 9525 w 28575"/>
                <a:gd name="connsiteY0" fmla="*/ 28575 h 47625"/>
                <a:gd name="connsiteX1" fmla="*/ 30480 w 28575"/>
                <a:gd name="connsiteY1" fmla="*/ 28575 h 47625"/>
                <a:gd name="connsiteX2" fmla="*/ 30480 w 28575"/>
                <a:gd name="connsiteY2" fmla="*/ 20955 h 47625"/>
                <a:gd name="connsiteX3" fmla="*/ 9525 w 28575"/>
                <a:gd name="connsiteY3" fmla="*/ 20955 h 47625"/>
                <a:gd name="connsiteX4" fmla="*/ 9525 w 28575"/>
                <a:gd name="connsiteY4" fmla="*/ 7620 h 47625"/>
                <a:gd name="connsiteX5" fmla="*/ 33338 w 28575"/>
                <a:gd name="connsiteY5" fmla="*/ 7620 h 47625"/>
                <a:gd name="connsiteX6" fmla="*/ 33338 w 28575"/>
                <a:gd name="connsiteY6" fmla="*/ 0 h 47625"/>
                <a:gd name="connsiteX7" fmla="*/ 0 w 28575"/>
                <a:gd name="connsiteY7" fmla="*/ 0 h 47625"/>
                <a:gd name="connsiteX8" fmla="*/ 0 w 28575"/>
                <a:gd name="connsiteY8" fmla="*/ 50482 h 47625"/>
                <a:gd name="connsiteX9" fmla="*/ 35243 w 28575"/>
                <a:gd name="connsiteY9" fmla="*/ 50482 h 47625"/>
                <a:gd name="connsiteX10" fmla="*/ 35243 w 28575"/>
                <a:gd name="connsiteY10" fmla="*/ 42863 h 47625"/>
                <a:gd name="connsiteX11" fmla="*/ 9525 w 28575"/>
                <a:gd name="connsiteY11" fmla="*/ 4286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9525" y="28575"/>
                  </a:moveTo>
                  <a:lnTo>
                    <a:pt x="30480" y="28575"/>
                  </a:lnTo>
                  <a:lnTo>
                    <a:pt x="30480" y="20955"/>
                  </a:lnTo>
                  <a:lnTo>
                    <a:pt x="9525" y="20955"/>
                  </a:lnTo>
                  <a:lnTo>
                    <a:pt x="9525" y="7620"/>
                  </a:lnTo>
                  <a:lnTo>
                    <a:pt x="33338" y="7620"/>
                  </a:lnTo>
                  <a:lnTo>
                    <a:pt x="33338" y="0"/>
                  </a:lnTo>
                  <a:lnTo>
                    <a:pt x="0" y="0"/>
                  </a:lnTo>
                  <a:lnTo>
                    <a:pt x="0" y="50482"/>
                  </a:lnTo>
                  <a:lnTo>
                    <a:pt x="35243" y="50482"/>
                  </a:lnTo>
                  <a:lnTo>
                    <a:pt x="35243" y="42863"/>
                  </a:lnTo>
                  <a:lnTo>
                    <a:pt x="9525" y="42863"/>
                  </a:lnTo>
                  <a:close/>
                </a:path>
              </a:pathLst>
            </a:custGeom>
            <a:solidFill>
              <a:srgbClr val="000000"/>
            </a:solidFill>
            <a:ln w="9525" cap="flat">
              <a:noFill/>
              <a:prstDash val="solid"/>
              <a:miter/>
            </a:ln>
          </p:spPr>
          <p:txBody>
            <a:bodyPr rtlCol="0" anchor="ctr"/>
            <a:lstStyle/>
            <a:p>
              <a:endParaRPr lang="de-DE"/>
            </a:p>
          </p:txBody>
        </p:sp>
        <p:sp>
          <p:nvSpPr>
            <p:cNvPr id="5225" name="Freeform: Shape 5224">
              <a:extLst>
                <a:ext uri="{FF2B5EF4-FFF2-40B4-BE49-F238E27FC236}">
                  <a16:creationId xmlns:a16="http://schemas.microsoft.com/office/drawing/2014/main" id="{85BF1726-2BB6-4BE4-B743-ED974BE79CE9}"/>
                </a:ext>
              </a:extLst>
            </p:cNvPr>
            <p:cNvSpPr/>
            <p:nvPr/>
          </p:nvSpPr>
          <p:spPr>
            <a:xfrm>
              <a:off x="6147435" y="3458528"/>
              <a:ext cx="38100" cy="47625"/>
            </a:xfrm>
            <a:custGeom>
              <a:avLst/>
              <a:gdLst>
                <a:gd name="connsiteX0" fmla="*/ 33338 w 38100"/>
                <a:gd name="connsiteY0" fmla="*/ 34290 h 47625"/>
                <a:gd name="connsiteX1" fmla="*/ 27622 w 38100"/>
                <a:gd name="connsiteY1" fmla="*/ 25717 h 47625"/>
                <a:gd name="connsiteX2" fmla="*/ 20955 w 38100"/>
                <a:gd name="connsiteY2" fmla="*/ 16192 h 47625"/>
                <a:gd name="connsiteX3" fmla="*/ 14288 w 38100"/>
                <a:gd name="connsiteY3" fmla="*/ 7620 h 47625"/>
                <a:gd name="connsiteX4" fmla="*/ 7620 w 38100"/>
                <a:gd name="connsiteY4" fmla="*/ 0 h 47625"/>
                <a:gd name="connsiteX5" fmla="*/ 0 w 38100"/>
                <a:gd name="connsiteY5" fmla="*/ 0 h 47625"/>
                <a:gd name="connsiteX6" fmla="*/ 0 w 38100"/>
                <a:gd name="connsiteY6" fmla="*/ 50482 h 47625"/>
                <a:gd name="connsiteX7" fmla="*/ 9525 w 38100"/>
                <a:gd name="connsiteY7" fmla="*/ 50482 h 47625"/>
                <a:gd name="connsiteX8" fmla="*/ 9525 w 38100"/>
                <a:gd name="connsiteY8" fmla="*/ 14288 h 47625"/>
                <a:gd name="connsiteX9" fmla="*/ 16193 w 38100"/>
                <a:gd name="connsiteY9" fmla="*/ 22860 h 47625"/>
                <a:gd name="connsiteX10" fmla="*/ 22860 w 38100"/>
                <a:gd name="connsiteY10" fmla="*/ 32385 h 47625"/>
                <a:gd name="connsiteX11" fmla="*/ 29528 w 38100"/>
                <a:gd name="connsiteY11" fmla="*/ 41910 h 47625"/>
                <a:gd name="connsiteX12" fmla="*/ 35243 w 38100"/>
                <a:gd name="connsiteY12" fmla="*/ 50482 h 47625"/>
                <a:gd name="connsiteX13" fmla="*/ 42863 w 38100"/>
                <a:gd name="connsiteY13" fmla="*/ 50482 h 47625"/>
                <a:gd name="connsiteX14" fmla="*/ 42863 w 38100"/>
                <a:gd name="connsiteY14" fmla="*/ 0 h 47625"/>
                <a:gd name="connsiteX15" fmla="*/ 33338 w 38100"/>
                <a:gd name="connsiteY15" fmla="*/ 0 h 47625"/>
                <a:gd name="connsiteX16" fmla="*/ 33338 w 38100"/>
                <a:gd name="connsiteY16" fmla="*/ 3429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3338" y="34290"/>
                  </a:moveTo>
                  <a:cubicBezTo>
                    <a:pt x="31433" y="31432"/>
                    <a:pt x="29528" y="28575"/>
                    <a:pt x="27622" y="25717"/>
                  </a:cubicBezTo>
                  <a:cubicBezTo>
                    <a:pt x="25718" y="22860"/>
                    <a:pt x="22860" y="20003"/>
                    <a:pt x="20955" y="16192"/>
                  </a:cubicBezTo>
                  <a:cubicBezTo>
                    <a:pt x="19050" y="12382"/>
                    <a:pt x="16193" y="10478"/>
                    <a:pt x="14288" y="7620"/>
                  </a:cubicBezTo>
                  <a:cubicBezTo>
                    <a:pt x="12383" y="4763"/>
                    <a:pt x="9525" y="1905"/>
                    <a:pt x="7620" y="0"/>
                  </a:cubicBezTo>
                  <a:lnTo>
                    <a:pt x="0" y="0"/>
                  </a:lnTo>
                  <a:lnTo>
                    <a:pt x="0" y="50482"/>
                  </a:lnTo>
                  <a:lnTo>
                    <a:pt x="9525" y="50482"/>
                  </a:lnTo>
                  <a:lnTo>
                    <a:pt x="9525" y="14288"/>
                  </a:lnTo>
                  <a:cubicBezTo>
                    <a:pt x="11430" y="17145"/>
                    <a:pt x="13335" y="19050"/>
                    <a:pt x="16193" y="22860"/>
                  </a:cubicBezTo>
                  <a:cubicBezTo>
                    <a:pt x="18097" y="25717"/>
                    <a:pt x="20955" y="29528"/>
                    <a:pt x="22860" y="32385"/>
                  </a:cubicBezTo>
                  <a:cubicBezTo>
                    <a:pt x="24765" y="35242"/>
                    <a:pt x="27622" y="39053"/>
                    <a:pt x="29528" y="41910"/>
                  </a:cubicBezTo>
                  <a:cubicBezTo>
                    <a:pt x="31433" y="44767"/>
                    <a:pt x="33338" y="48578"/>
                    <a:pt x="35243" y="50482"/>
                  </a:cubicBezTo>
                  <a:lnTo>
                    <a:pt x="42863" y="50482"/>
                  </a:lnTo>
                  <a:lnTo>
                    <a:pt x="42863" y="0"/>
                  </a:lnTo>
                  <a:lnTo>
                    <a:pt x="33338" y="0"/>
                  </a:lnTo>
                  <a:lnTo>
                    <a:pt x="33338" y="34290"/>
                  </a:lnTo>
                  <a:close/>
                </a:path>
              </a:pathLst>
            </a:custGeom>
            <a:solidFill>
              <a:srgbClr val="000000"/>
            </a:solidFill>
            <a:ln w="9525" cap="flat">
              <a:noFill/>
              <a:prstDash val="solid"/>
              <a:miter/>
            </a:ln>
          </p:spPr>
          <p:txBody>
            <a:bodyPr rtlCol="0" anchor="ctr"/>
            <a:lstStyle/>
            <a:p>
              <a:endParaRPr lang="de-DE"/>
            </a:p>
          </p:txBody>
        </p:sp>
      </p:grpSp>
      <p:grpSp>
        <p:nvGrpSpPr>
          <p:cNvPr id="5226" name="Graphic 3">
            <a:extLst>
              <a:ext uri="{FF2B5EF4-FFF2-40B4-BE49-F238E27FC236}">
                <a16:creationId xmlns:a16="http://schemas.microsoft.com/office/drawing/2014/main" id="{1E891239-367C-46F7-87E3-5BE1B3913A2C}"/>
              </a:ext>
              <a:ext uri="{C183D7F6-B498-43B3-948B-1728B52AA6E4}">
                <adec:decorative xmlns:adec="http://schemas.microsoft.com/office/drawing/2017/decorative" val="1"/>
              </a:ext>
            </a:extLst>
          </p:cNvPr>
          <p:cNvGrpSpPr>
            <a:grpSpLocks noChangeAspect="1"/>
          </p:cNvGrpSpPr>
          <p:nvPr/>
        </p:nvGrpSpPr>
        <p:grpSpPr>
          <a:xfrm>
            <a:off x="4860181" y="3809904"/>
            <a:ext cx="133598" cy="129668"/>
            <a:chOff x="5851525" y="3185244"/>
            <a:chExt cx="488950" cy="474569"/>
          </a:xfrm>
          <a:solidFill>
            <a:srgbClr val="000000"/>
          </a:solidFill>
        </p:grpSpPr>
        <p:sp>
          <p:nvSpPr>
            <p:cNvPr id="5227" name="Freeform: Shape 5226">
              <a:extLst>
                <a:ext uri="{FF2B5EF4-FFF2-40B4-BE49-F238E27FC236}">
                  <a16:creationId xmlns:a16="http://schemas.microsoft.com/office/drawing/2014/main" id="{8F3CB6D0-8FEB-4D23-B555-4579FE8EFDFC}"/>
                </a:ext>
              </a:extLst>
            </p:cNvPr>
            <p:cNvSpPr/>
            <p:nvPr/>
          </p:nvSpPr>
          <p:spPr>
            <a:xfrm>
              <a:off x="5851525" y="3185244"/>
              <a:ext cx="488950" cy="474569"/>
            </a:xfrm>
            <a:custGeom>
              <a:avLst/>
              <a:gdLst>
                <a:gd name="connsiteX0" fmla="*/ 455874 w 488950"/>
                <a:gd name="connsiteY0" fmla="*/ 171852 h 474569"/>
                <a:gd name="connsiteX1" fmla="*/ 402665 w 488950"/>
                <a:gd name="connsiteY1" fmla="*/ 171852 h 474569"/>
                <a:gd name="connsiteX2" fmla="*/ 250227 w 488950"/>
                <a:gd name="connsiteY2" fmla="*/ 2157 h 474569"/>
                <a:gd name="connsiteX3" fmla="*/ 240161 w 488950"/>
                <a:gd name="connsiteY3" fmla="*/ 2157 h 474569"/>
                <a:gd name="connsiteX4" fmla="*/ 86285 w 488950"/>
                <a:gd name="connsiteY4" fmla="*/ 171852 h 474569"/>
                <a:gd name="connsiteX5" fmla="*/ 33076 w 488950"/>
                <a:gd name="connsiteY5" fmla="*/ 171852 h 474569"/>
                <a:gd name="connsiteX6" fmla="*/ 0 w 488950"/>
                <a:gd name="connsiteY6" fmla="*/ 203489 h 474569"/>
                <a:gd name="connsiteX7" fmla="*/ 0 w 488950"/>
                <a:gd name="connsiteY7" fmla="*/ 455155 h 474569"/>
                <a:gd name="connsiteX8" fmla="*/ 33076 w 488950"/>
                <a:gd name="connsiteY8" fmla="*/ 488231 h 474569"/>
                <a:gd name="connsiteX9" fmla="*/ 457312 w 488950"/>
                <a:gd name="connsiteY9" fmla="*/ 488231 h 474569"/>
                <a:gd name="connsiteX10" fmla="*/ 490388 w 488950"/>
                <a:gd name="connsiteY10" fmla="*/ 455155 h 474569"/>
                <a:gd name="connsiteX11" fmla="*/ 490388 w 488950"/>
                <a:gd name="connsiteY11" fmla="*/ 203489 h 474569"/>
                <a:gd name="connsiteX12" fmla="*/ 455874 w 488950"/>
                <a:gd name="connsiteY12" fmla="*/ 171852 h 474569"/>
                <a:gd name="connsiteX13" fmla="*/ 244475 w 488950"/>
                <a:gd name="connsiteY13" fmla="*/ 16538 h 474569"/>
                <a:gd name="connsiteX14" fmla="*/ 383970 w 488950"/>
                <a:gd name="connsiteY14" fmla="*/ 171852 h 474569"/>
                <a:gd name="connsiteX15" fmla="*/ 104980 w 488950"/>
                <a:gd name="connsiteY15" fmla="*/ 171852 h 474569"/>
                <a:gd name="connsiteX16" fmla="*/ 244475 w 488950"/>
                <a:gd name="connsiteY16" fmla="*/ 16538 h 474569"/>
                <a:gd name="connsiteX17" fmla="*/ 474569 w 488950"/>
                <a:gd name="connsiteY17" fmla="*/ 455155 h 474569"/>
                <a:gd name="connsiteX18" fmla="*/ 455874 w 488950"/>
                <a:gd name="connsiteY18" fmla="*/ 473850 h 474569"/>
                <a:gd name="connsiteX19" fmla="*/ 33076 w 488950"/>
                <a:gd name="connsiteY19" fmla="*/ 473850 h 474569"/>
                <a:gd name="connsiteX20" fmla="*/ 14381 w 488950"/>
                <a:gd name="connsiteY20" fmla="*/ 455155 h 474569"/>
                <a:gd name="connsiteX21" fmla="*/ 14381 w 488950"/>
                <a:gd name="connsiteY21" fmla="*/ 203489 h 474569"/>
                <a:gd name="connsiteX22" fmla="*/ 33076 w 488950"/>
                <a:gd name="connsiteY22" fmla="*/ 186232 h 474569"/>
                <a:gd name="connsiteX23" fmla="*/ 73343 w 488950"/>
                <a:gd name="connsiteY23" fmla="*/ 186232 h 474569"/>
                <a:gd name="connsiteX24" fmla="*/ 58962 w 488950"/>
                <a:gd name="connsiteY24" fmla="*/ 202051 h 474569"/>
                <a:gd name="connsiteX25" fmla="*/ 50333 w 488950"/>
                <a:gd name="connsiteY25" fmla="*/ 200613 h 474569"/>
                <a:gd name="connsiteX26" fmla="*/ 28762 w 488950"/>
                <a:gd name="connsiteY26" fmla="*/ 222185 h 474569"/>
                <a:gd name="connsiteX27" fmla="*/ 50333 w 488950"/>
                <a:gd name="connsiteY27" fmla="*/ 243756 h 474569"/>
                <a:gd name="connsiteX28" fmla="*/ 71904 w 488950"/>
                <a:gd name="connsiteY28" fmla="*/ 222185 h 474569"/>
                <a:gd name="connsiteX29" fmla="*/ 69028 w 488950"/>
                <a:gd name="connsiteY29" fmla="*/ 212118 h 474569"/>
                <a:gd name="connsiteX30" fmla="*/ 92038 w 488950"/>
                <a:gd name="connsiteY30" fmla="*/ 186232 h 474569"/>
                <a:gd name="connsiteX31" fmla="*/ 396912 w 488950"/>
                <a:gd name="connsiteY31" fmla="*/ 186232 h 474569"/>
                <a:gd name="connsiteX32" fmla="*/ 419922 w 488950"/>
                <a:gd name="connsiteY32" fmla="*/ 212118 h 474569"/>
                <a:gd name="connsiteX33" fmla="*/ 417046 w 488950"/>
                <a:gd name="connsiteY33" fmla="*/ 222185 h 474569"/>
                <a:gd name="connsiteX34" fmla="*/ 438617 w 488950"/>
                <a:gd name="connsiteY34" fmla="*/ 243756 h 474569"/>
                <a:gd name="connsiteX35" fmla="*/ 460188 w 488950"/>
                <a:gd name="connsiteY35" fmla="*/ 222185 h 474569"/>
                <a:gd name="connsiteX36" fmla="*/ 438617 w 488950"/>
                <a:gd name="connsiteY36" fmla="*/ 200613 h 474569"/>
                <a:gd name="connsiteX37" fmla="*/ 429988 w 488950"/>
                <a:gd name="connsiteY37" fmla="*/ 202051 h 474569"/>
                <a:gd name="connsiteX38" fmla="*/ 415608 w 488950"/>
                <a:gd name="connsiteY38" fmla="*/ 186232 h 474569"/>
                <a:gd name="connsiteX39" fmla="*/ 455874 w 488950"/>
                <a:gd name="connsiteY39" fmla="*/ 186232 h 474569"/>
                <a:gd name="connsiteX40" fmla="*/ 474569 w 488950"/>
                <a:gd name="connsiteY40" fmla="*/ 204928 h 474569"/>
                <a:gd name="connsiteX41" fmla="*/ 474569 w 488950"/>
                <a:gd name="connsiteY41" fmla="*/ 455155 h 47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8950" h="474569">
                  <a:moveTo>
                    <a:pt x="455874" y="171852"/>
                  </a:moveTo>
                  <a:lnTo>
                    <a:pt x="402665" y="171852"/>
                  </a:lnTo>
                  <a:lnTo>
                    <a:pt x="250227" y="2157"/>
                  </a:lnTo>
                  <a:cubicBezTo>
                    <a:pt x="247351" y="-719"/>
                    <a:pt x="241599" y="-719"/>
                    <a:pt x="240161" y="2157"/>
                  </a:cubicBezTo>
                  <a:lnTo>
                    <a:pt x="86285" y="171852"/>
                  </a:lnTo>
                  <a:lnTo>
                    <a:pt x="33076" y="171852"/>
                  </a:lnTo>
                  <a:cubicBezTo>
                    <a:pt x="14381" y="171852"/>
                    <a:pt x="0" y="186232"/>
                    <a:pt x="0" y="203489"/>
                  </a:cubicBezTo>
                  <a:lnTo>
                    <a:pt x="0" y="455155"/>
                  </a:lnTo>
                  <a:cubicBezTo>
                    <a:pt x="0" y="473850"/>
                    <a:pt x="14381" y="488231"/>
                    <a:pt x="33076" y="488231"/>
                  </a:cubicBezTo>
                  <a:lnTo>
                    <a:pt x="457312" y="488231"/>
                  </a:lnTo>
                  <a:cubicBezTo>
                    <a:pt x="476007" y="488231"/>
                    <a:pt x="490388" y="473850"/>
                    <a:pt x="490388" y="455155"/>
                  </a:cubicBezTo>
                  <a:lnTo>
                    <a:pt x="490388" y="203489"/>
                  </a:lnTo>
                  <a:cubicBezTo>
                    <a:pt x="488950" y="186232"/>
                    <a:pt x="474569" y="171852"/>
                    <a:pt x="455874" y="171852"/>
                  </a:cubicBezTo>
                  <a:close/>
                  <a:moveTo>
                    <a:pt x="244475" y="16538"/>
                  </a:moveTo>
                  <a:lnTo>
                    <a:pt x="383970" y="171852"/>
                  </a:lnTo>
                  <a:lnTo>
                    <a:pt x="104980" y="171852"/>
                  </a:lnTo>
                  <a:lnTo>
                    <a:pt x="244475" y="16538"/>
                  </a:lnTo>
                  <a:close/>
                  <a:moveTo>
                    <a:pt x="474569" y="455155"/>
                  </a:moveTo>
                  <a:cubicBezTo>
                    <a:pt x="474569" y="465222"/>
                    <a:pt x="465941" y="473850"/>
                    <a:pt x="455874" y="473850"/>
                  </a:cubicBezTo>
                  <a:lnTo>
                    <a:pt x="33076" y="473850"/>
                  </a:lnTo>
                  <a:cubicBezTo>
                    <a:pt x="23009" y="473850"/>
                    <a:pt x="14381" y="465222"/>
                    <a:pt x="14381" y="455155"/>
                  </a:cubicBezTo>
                  <a:lnTo>
                    <a:pt x="14381" y="203489"/>
                  </a:lnTo>
                  <a:cubicBezTo>
                    <a:pt x="14381" y="193423"/>
                    <a:pt x="23009" y="186232"/>
                    <a:pt x="33076" y="186232"/>
                  </a:cubicBezTo>
                  <a:lnTo>
                    <a:pt x="73343" y="186232"/>
                  </a:lnTo>
                  <a:lnTo>
                    <a:pt x="58962" y="202051"/>
                  </a:lnTo>
                  <a:cubicBezTo>
                    <a:pt x="56085" y="200613"/>
                    <a:pt x="53209" y="200613"/>
                    <a:pt x="50333" y="200613"/>
                  </a:cubicBezTo>
                  <a:cubicBezTo>
                    <a:pt x="38828" y="200613"/>
                    <a:pt x="28762" y="210680"/>
                    <a:pt x="28762" y="222185"/>
                  </a:cubicBezTo>
                  <a:cubicBezTo>
                    <a:pt x="28762" y="233689"/>
                    <a:pt x="38828" y="243756"/>
                    <a:pt x="50333" y="243756"/>
                  </a:cubicBezTo>
                  <a:cubicBezTo>
                    <a:pt x="61838" y="243756"/>
                    <a:pt x="71904" y="233689"/>
                    <a:pt x="71904" y="222185"/>
                  </a:cubicBezTo>
                  <a:cubicBezTo>
                    <a:pt x="71904" y="217870"/>
                    <a:pt x="70466" y="214994"/>
                    <a:pt x="69028" y="212118"/>
                  </a:cubicBezTo>
                  <a:lnTo>
                    <a:pt x="92038" y="186232"/>
                  </a:lnTo>
                  <a:lnTo>
                    <a:pt x="396912" y="186232"/>
                  </a:lnTo>
                  <a:lnTo>
                    <a:pt x="419922" y="212118"/>
                  </a:lnTo>
                  <a:cubicBezTo>
                    <a:pt x="418484" y="214994"/>
                    <a:pt x="417046" y="217870"/>
                    <a:pt x="417046" y="222185"/>
                  </a:cubicBezTo>
                  <a:cubicBezTo>
                    <a:pt x="417046" y="233689"/>
                    <a:pt x="427112" y="243756"/>
                    <a:pt x="438617" y="243756"/>
                  </a:cubicBezTo>
                  <a:cubicBezTo>
                    <a:pt x="450122" y="243756"/>
                    <a:pt x="460188" y="233689"/>
                    <a:pt x="460188" y="222185"/>
                  </a:cubicBezTo>
                  <a:cubicBezTo>
                    <a:pt x="460188" y="210680"/>
                    <a:pt x="450122" y="200613"/>
                    <a:pt x="438617" y="200613"/>
                  </a:cubicBezTo>
                  <a:cubicBezTo>
                    <a:pt x="435741" y="200613"/>
                    <a:pt x="432865" y="200613"/>
                    <a:pt x="429988" y="202051"/>
                  </a:cubicBezTo>
                  <a:lnTo>
                    <a:pt x="415608" y="186232"/>
                  </a:lnTo>
                  <a:lnTo>
                    <a:pt x="455874" y="186232"/>
                  </a:lnTo>
                  <a:cubicBezTo>
                    <a:pt x="465941" y="186232"/>
                    <a:pt x="474569" y="194861"/>
                    <a:pt x="474569" y="204928"/>
                  </a:cubicBezTo>
                  <a:lnTo>
                    <a:pt x="474569" y="455155"/>
                  </a:lnTo>
                  <a:close/>
                </a:path>
              </a:pathLst>
            </a:custGeom>
            <a:solidFill>
              <a:srgbClr val="000000"/>
            </a:solidFill>
            <a:ln w="14288" cap="flat">
              <a:noFill/>
              <a:prstDash val="solid"/>
              <a:miter/>
            </a:ln>
          </p:spPr>
          <p:txBody>
            <a:bodyPr rtlCol="0" anchor="ctr"/>
            <a:lstStyle/>
            <a:p>
              <a:endParaRPr lang="de-DE"/>
            </a:p>
          </p:txBody>
        </p:sp>
        <p:sp>
          <p:nvSpPr>
            <p:cNvPr id="5228" name="Freeform: Shape 5227">
              <a:extLst>
                <a:ext uri="{FF2B5EF4-FFF2-40B4-BE49-F238E27FC236}">
                  <a16:creationId xmlns:a16="http://schemas.microsoft.com/office/drawing/2014/main" id="{CBE7B057-37FE-435A-92D5-5064FAC31225}"/>
                </a:ext>
              </a:extLst>
            </p:cNvPr>
            <p:cNvSpPr/>
            <p:nvPr/>
          </p:nvSpPr>
          <p:spPr>
            <a:xfrm>
              <a:off x="5894668" y="3473581"/>
              <a:ext cx="57524" cy="71904"/>
            </a:xfrm>
            <a:custGeom>
              <a:avLst/>
              <a:gdLst>
                <a:gd name="connsiteX0" fmla="*/ 50333 w 57523"/>
                <a:gd name="connsiteY0" fmla="*/ 64714 h 71904"/>
                <a:gd name="connsiteX1" fmla="*/ 38828 w 57523"/>
                <a:gd name="connsiteY1" fmla="*/ 66152 h 71904"/>
                <a:gd name="connsiteX2" fmla="*/ 28762 w 57523"/>
                <a:gd name="connsiteY2" fmla="*/ 64714 h 71904"/>
                <a:gd name="connsiteX3" fmla="*/ 21571 w 57523"/>
                <a:gd name="connsiteY3" fmla="*/ 58962 h 71904"/>
                <a:gd name="connsiteX4" fmla="*/ 17257 w 57523"/>
                <a:gd name="connsiteY4" fmla="*/ 50333 h 71904"/>
                <a:gd name="connsiteX5" fmla="*/ 14381 w 57523"/>
                <a:gd name="connsiteY5" fmla="*/ 38828 h 71904"/>
                <a:gd name="connsiteX6" fmla="*/ 15819 w 57523"/>
                <a:gd name="connsiteY6" fmla="*/ 27324 h 71904"/>
                <a:gd name="connsiteX7" fmla="*/ 20133 w 57523"/>
                <a:gd name="connsiteY7" fmla="*/ 18695 h 71904"/>
                <a:gd name="connsiteX8" fmla="*/ 28762 w 57523"/>
                <a:gd name="connsiteY8" fmla="*/ 12943 h 71904"/>
                <a:gd name="connsiteX9" fmla="*/ 37390 w 57523"/>
                <a:gd name="connsiteY9" fmla="*/ 11505 h 71904"/>
                <a:gd name="connsiteX10" fmla="*/ 47457 w 57523"/>
                <a:gd name="connsiteY10" fmla="*/ 12943 h 71904"/>
                <a:gd name="connsiteX11" fmla="*/ 54647 w 57523"/>
                <a:gd name="connsiteY11" fmla="*/ 15819 h 71904"/>
                <a:gd name="connsiteX12" fmla="*/ 58962 w 57523"/>
                <a:gd name="connsiteY12" fmla="*/ 4314 h 71904"/>
                <a:gd name="connsiteX13" fmla="*/ 56085 w 57523"/>
                <a:gd name="connsiteY13" fmla="*/ 2876 h 71904"/>
                <a:gd name="connsiteX14" fmla="*/ 51771 w 57523"/>
                <a:gd name="connsiteY14" fmla="*/ 1438 h 71904"/>
                <a:gd name="connsiteX15" fmla="*/ 44581 w 57523"/>
                <a:gd name="connsiteY15" fmla="*/ 0 h 71904"/>
                <a:gd name="connsiteX16" fmla="*/ 35952 w 57523"/>
                <a:gd name="connsiteY16" fmla="*/ 0 h 71904"/>
                <a:gd name="connsiteX17" fmla="*/ 21571 w 57523"/>
                <a:gd name="connsiteY17" fmla="*/ 2876 h 71904"/>
                <a:gd name="connsiteX18" fmla="*/ 10067 w 57523"/>
                <a:gd name="connsiteY18" fmla="*/ 10067 h 71904"/>
                <a:gd name="connsiteX19" fmla="*/ 1438 w 57523"/>
                <a:gd name="connsiteY19" fmla="*/ 23009 h 71904"/>
                <a:gd name="connsiteX20" fmla="*/ 0 w 57523"/>
                <a:gd name="connsiteY20" fmla="*/ 38828 h 71904"/>
                <a:gd name="connsiteX21" fmla="*/ 1438 w 57523"/>
                <a:gd name="connsiteY21" fmla="*/ 56085 h 71904"/>
                <a:gd name="connsiteX22" fmla="*/ 8629 w 57523"/>
                <a:gd name="connsiteY22" fmla="*/ 69028 h 71904"/>
                <a:gd name="connsiteX23" fmla="*/ 20133 w 57523"/>
                <a:gd name="connsiteY23" fmla="*/ 76219 h 71904"/>
                <a:gd name="connsiteX24" fmla="*/ 35952 w 57523"/>
                <a:gd name="connsiteY24" fmla="*/ 79095 h 71904"/>
                <a:gd name="connsiteX25" fmla="*/ 44581 w 57523"/>
                <a:gd name="connsiteY25" fmla="*/ 79095 h 71904"/>
                <a:gd name="connsiteX26" fmla="*/ 51771 w 57523"/>
                <a:gd name="connsiteY26" fmla="*/ 77657 h 71904"/>
                <a:gd name="connsiteX27" fmla="*/ 57524 w 57523"/>
                <a:gd name="connsiteY27" fmla="*/ 76219 h 71904"/>
                <a:gd name="connsiteX28" fmla="*/ 61838 w 57523"/>
                <a:gd name="connsiteY28" fmla="*/ 74781 h 71904"/>
                <a:gd name="connsiteX29" fmla="*/ 57524 w 57523"/>
                <a:gd name="connsiteY29" fmla="*/ 61838 h 71904"/>
                <a:gd name="connsiteX30" fmla="*/ 50333 w 57523"/>
                <a:gd name="connsiteY30" fmla="*/ 64714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7523" h="71904">
                  <a:moveTo>
                    <a:pt x="50333" y="64714"/>
                  </a:moveTo>
                  <a:cubicBezTo>
                    <a:pt x="47457" y="66152"/>
                    <a:pt x="43143" y="66152"/>
                    <a:pt x="38828" y="66152"/>
                  </a:cubicBezTo>
                  <a:cubicBezTo>
                    <a:pt x="34514" y="66152"/>
                    <a:pt x="31638" y="66152"/>
                    <a:pt x="28762" y="64714"/>
                  </a:cubicBezTo>
                  <a:cubicBezTo>
                    <a:pt x="25886" y="63276"/>
                    <a:pt x="23009" y="61838"/>
                    <a:pt x="21571" y="58962"/>
                  </a:cubicBezTo>
                  <a:cubicBezTo>
                    <a:pt x="20133" y="56085"/>
                    <a:pt x="18695" y="53209"/>
                    <a:pt x="17257" y="50333"/>
                  </a:cubicBezTo>
                  <a:cubicBezTo>
                    <a:pt x="15819" y="47457"/>
                    <a:pt x="14381" y="41705"/>
                    <a:pt x="14381" y="38828"/>
                  </a:cubicBezTo>
                  <a:cubicBezTo>
                    <a:pt x="14381" y="34514"/>
                    <a:pt x="14381" y="30200"/>
                    <a:pt x="15819" y="27324"/>
                  </a:cubicBezTo>
                  <a:cubicBezTo>
                    <a:pt x="17257" y="24447"/>
                    <a:pt x="18695" y="21571"/>
                    <a:pt x="20133" y="18695"/>
                  </a:cubicBezTo>
                  <a:cubicBezTo>
                    <a:pt x="21571" y="15819"/>
                    <a:pt x="25886" y="12943"/>
                    <a:pt x="28762" y="12943"/>
                  </a:cubicBezTo>
                  <a:cubicBezTo>
                    <a:pt x="31638" y="11505"/>
                    <a:pt x="34514" y="11505"/>
                    <a:pt x="37390" y="11505"/>
                  </a:cubicBezTo>
                  <a:cubicBezTo>
                    <a:pt x="41705" y="11505"/>
                    <a:pt x="44581" y="11505"/>
                    <a:pt x="47457" y="12943"/>
                  </a:cubicBezTo>
                  <a:cubicBezTo>
                    <a:pt x="50333" y="14381"/>
                    <a:pt x="53209" y="14381"/>
                    <a:pt x="54647" y="15819"/>
                  </a:cubicBezTo>
                  <a:lnTo>
                    <a:pt x="58962" y="4314"/>
                  </a:lnTo>
                  <a:cubicBezTo>
                    <a:pt x="58962" y="4314"/>
                    <a:pt x="57524" y="2876"/>
                    <a:pt x="56085" y="2876"/>
                  </a:cubicBezTo>
                  <a:cubicBezTo>
                    <a:pt x="54647" y="2876"/>
                    <a:pt x="53209" y="1438"/>
                    <a:pt x="51771" y="1438"/>
                  </a:cubicBezTo>
                  <a:cubicBezTo>
                    <a:pt x="50333" y="1438"/>
                    <a:pt x="47457" y="0"/>
                    <a:pt x="44581" y="0"/>
                  </a:cubicBezTo>
                  <a:cubicBezTo>
                    <a:pt x="41705" y="0"/>
                    <a:pt x="38828" y="0"/>
                    <a:pt x="35952" y="0"/>
                  </a:cubicBezTo>
                  <a:cubicBezTo>
                    <a:pt x="30200" y="0"/>
                    <a:pt x="25886" y="1438"/>
                    <a:pt x="21571" y="2876"/>
                  </a:cubicBezTo>
                  <a:cubicBezTo>
                    <a:pt x="17257" y="4314"/>
                    <a:pt x="12943" y="7190"/>
                    <a:pt x="10067" y="10067"/>
                  </a:cubicBezTo>
                  <a:cubicBezTo>
                    <a:pt x="7190" y="12943"/>
                    <a:pt x="4314" y="17257"/>
                    <a:pt x="1438" y="23009"/>
                  </a:cubicBezTo>
                  <a:cubicBezTo>
                    <a:pt x="0" y="25886"/>
                    <a:pt x="0" y="31638"/>
                    <a:pt x="0" y="38828"/>
                  </a:cubicBezTo>
                  <a:cubicBezTo>
                    <a:pt x="0" y="44581"/>
                    <a:pt x="0" y="50333"/>
                    <a:pt x="1438" y="56085"/>
                  </a:cubicBezTo>
                  <a:cubicBezTo>
                    <a:pt x="2876" y="60400"/>
                    <a:pt x="5752" y="64714"/>
                    <a:pt x="8629" y="69028"/>
                  </a:cubicBezTo>
                  <a:cubicBezTo>
                    <a:pt x="11505" y="71904"/>
                    <a:pt x="15819" y="74781"/>
                    <a:pt x="20133" y="76219"/>
                  </a:cubicBezTo>
                  <a:cubicBezTo>
                    <a:pt x="24447" y="77657"/>
                    <a:pt x="30200" y="79095"/>
                    <a:pt x="35952" y="79095"/>
                  </a:cubicBezTo>
                  <a:cubicBezTo>
                    <a:pt x="38828" y="79095"/>
                    <a:pt x="41705" y="79095"/>
                    <a:pt x="44581" y="79095"/>
                  </a:cubicBezTo>
                  <a:cubicBezTo>
                    <a:pt x="47457" y="79095"/>
                    <a:pt x="48895" y="77657"/>
                    <a:pt x="51771" y="77657"/>
                  </a:cubicBezTo>
                  <a:cubicBezTo>
                    <a:pt x="53209" y="77657"/>
                    <a:pt x="56085" y="76219"/>
                    <a:pt x="57524" y="76219"/>
                  </a:cubicBezTo>
                  <a:cubicBezTo>
                    <a:pt x="58962" y="76219"/>
                    <a:pt x="60400" y="74781"/>
                    <a:pt x="61838" y="74781"/>
                  </a:cubicBezTo>
                  <a:lnTo>
                    <a:pt x="57524" y="61838"/>
                  </a:lnTo>
                  <a:cubicBezTo>
                    <a:pt x="54647" y="63276"/>
                    <a:pt x="53209" y="63276"/>
                    <a:pt x="50333" y="64714"/>
                  </a:cubicBezTo>
                  <a:close/>
                </a:path>
              </a:pathLst>
            </a:custGeom>
            <a:solidFill>
              <a:srgbClr val="000000"/>
            </a:solidFill>
            <a:ln w="14288" cap="flat">
              <a:noFill/>
              <a:prstDash val="solid"/>
              <a:miter/>
            </a:ln>
          </p:spPr>
          <p:txBody>
            <a:bodyPr rtlCol="0" anchor="ctr"/>
            <a:lstStyle/>
            <a:p>
              <a:endParaRPr lang="de-DE"/>
            </a:p>
          </p:txBody>
        </p:sp>
        <p:sp>
          <p:nvSpPr>
            <p:cNvPr id="5229" name="Freeform: Shape 5228">
              <a:extLst>
                <a:ext uri="{FF2B5EF4-FFF2-40B4-BE49-F238E27FC236}">
                  <a16:creationId xmlns:a16="http://schemas.microsoft.com/office/drawing/2014/main" id="{8328D3AA-2E22-4C0A-B166-4CBCB434C9E5}"/>
                </a:ext>
              </a:extLst>
            </p:cNvPr>
            <p:cNvSpPr/>
            <p:nvPr/>
          </p:nvSpPr>
          <p:spPr>
            <a:xfrm>
              <a:off x="5968010" y="3473581"/>
              <a:ext cx="43143" cy="71904"/>
            </a:xfrm>
            <a:custGeom>
              <a:avLst/>
              <a:gdLst>
                <a:gd name="connsiteX0" fmla="*/ 14381 w 43142"/>
                <a:gd name="connsiteY0" fmla="*/ 0 h 71904"/>
                <a:gd name="connsiteX1" fmla="*/ 0 w 43142"/>
                <a:gd name="connsiteY1" fmla="*/ 0 h 71904"/>
                <a:gd name="connsiteX2" fmla="*/ 0 w 43142"/>
                <a:gd name="connsiteY2" fmla="*/ 76219 h 71904"/>
                <a:gd name="connsiteX3" fmla="*/ 48895 w 43142"/>
                <a:gd name="connsiteY3" fmla="*/ 76219 h 71904"/>
                <a:gd name="connsiteX4" fmla="*/ 48895 w 43142"/>
                <a:gd name="connsiteY4" fmla="*/ 64714 h 71904"/>
                <a:gd name="connsiteX5" fmla="*/ 14381 w 43142"/>
                <a:gd name="connsiteY5" fmla="*/ 64714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42" h="71904">
                  <a:moveTo>
                    <a:pt x="14381" y="0"/>
                  </a:moveTo>
                  <a:lnTo>
                    <a:pt x="0" y="0"/>
                  </a:lnTo>
                  <a:lnTo>
                    <a:pt x="0" y="76219"/>
                  </a:lnTo>
                  <a:lnTo>
                    <a:pt x="48895" y="76219"/>
                  </a:lnTo>
                  <a:lnTo>
                    <a:pt x="48895" y="64714"/>
                  </a:lnTo>
                  <a:lnTo>
                    <a:pt x="14381" y="64714"/>
                  </a:lnTo>
                  <a:close/>
                </a:path>
              </a:pathLst>
            </a:custGeom>
            <a:solidFill>
              <a:srgbClr val="000000"/>
            </a:solidFill>
            <a:ln w="14288" cap="flat">
              <a:noFill/>
              <a:prstDash val="solid"/>
              <a:miter/>
            </a:ln>
          </p:spPr>
          <p:txBody>
            <a:bodyPr rtlCol="0" anchor="ctr"/>
            <a:lstStyle/>
            <a:p>
              <a:endParaRPr lang="de-DE"/>
            </a:p>
          </p:txBody>
        </p:sp>
        <p:sp>
          <p:nvSpPr>
            <p:cNvPr id="5230" name="Freeform: Shape 5229">
              <a:extLst>
                <a:ext uri="{FF2B5EF4-FFF2-40B4-BE49-F238E27FC236}">
                  <a16:creationId xmlns:a16="http://schemas.microsoft.com/office/drawing/2014/main" id="{1916424E-75AF-4A88-A76A-08B1A7D5A024}"/>
                </a:ext>
              </a:extLst>
            </p:cNvPr>
            <p:cNvSpPr/>
            <p:nvPr/>
          </p:nvSpPr>
          <p:spPr>
            <a:xfrm>
              <a:off x="6019781" y="3472143"/>
              <a:ext cx="71904" cy="71904"/>
            </a:xfrm>
            <a:custGeom>
              <a:avLst/>
              <a:gdLst>
                <a:gd name="connsiteX0" fmla="*/ 63276 w 71904"/>
                <a:gd name="connsiteY0" fmla="*/ 10067 h 71904"/>
                <a:gd name="connsiteX1" fmla="*/ 51771 w 71904"/>
                <a:gd name="connsiteY1" fmla="*/ 2876 h 71904"/>
                <a:gd name="connsiteX2" fmla="*/ 37390 w 71904"/>
                <a:gd name="connsiteY2" fmla="*/ 0 h 71904"/>
                <a:gd name="connsiteX3" fmla="*/ 23009 w 71904"/>
                <a:gd name="connsiteY3" fmla="*/ 2876 h 71904"/>
                <a:gd name="connsiteX4" fmla="*/ 11505 w 71904"/>
                <a:gd name="connsiteY4" fmla="*/ 10067 h 71904"/>
                <a:gd name="connsiteX5" fmla="*/ 2876 w 71904"/>
                <a:gd name="connsiteY5" fmla="*/ 23009 h 71904"/>
                <a:gd name="connsiteX6" fmla="*/ 0 w 71904"/>
                <a:gd name="connsiteY6" fmla="*/ 40266 h 71904"/>
                <a:gd name="connsiteX7" fmla="*/ 2876 w 71904"/>
                <a:gd name="connsiteY7" fmla="*/ 57524 h 71904"/>
                <a:gd name="connsiteX8" fmla="*/ 11505 w 71904"/>
                <a:gd name="connsiteY8" fmla="*/ 70466 h 71904"/>
                <a:gd name="connsiteX9" fmla="*/ 23009 w 71904"/>
                <a:gd name="connsiteY9" fmla="*/ 77657 h 71904"/>
                <a:gd name="connsiteX10" fmla="*/ 37390 w 71904"/>
                <a:gd name="connsiteY10" fmla="*/ 80533 h 71904"/>
                <a:gd name="connsiteX11" fmla="*/ 51771 w 71904"/>
                <a:gd name="connsiteY11" fmla="*/ 77657 h 71904"/>
                <a:gd name="connsiteX12" fmla="*/ 63276 w 71904"/>
                <a:gd name="connsiteY12" fmla="*/ 70466 h 71904"/>
                <a:gd name="connsiteX13" fmla="*/ 71904 w 71904"/>
                <a:gd name="connsiteY13" fmla="*/ 57524 h 71904"/>
                <a:gd name="connsiteX14" fmla="*/ 74781 w 71904"/>
                <a:gd name="connsiteY14" fmla="*/ 40266 h 71904"/>
                <a:gd name="connsiteX15" fmla="*/ 71904 w 71904"/>
                <a:gd name="connsiteY15" fmla="*/ 23009 h 71904"/>
                <a:gd name="connsiteX16" fmla="*/ 63276 w 71904"/>
                <a:gd name="connsiteY16" fmla="*/ 10067 h 71904"/>
                <a:gd name="connsiteX17" fmla="*/ 57524 w 71904"/>
                <a:gd name="connsiteY17" fmla="*/ 51771 h 71904"/>
                <a:gd name="connsiteX18" fmla="*/ 53209 w 71904"/>
                <a:gd name="connsiteY18" fmla="*/ 60400 h 71904"/>
                <a:gd name="connsiteX19" fmla="*/ 46019 w 71904"/>
                <a:gd name="connsiteY19" fmla="*/ 66152 h 71904"/>
                <a:gd name="connsiteX20" fmla="*/ 35952 w 71904"/>
                <a:gd name="connsiteY20" fmla="*/ 67590 h 71904"/>
                <a:gd name="connsiteX21" fmla="*/ 25886 w 71904"/>
                <a:gd name="connsiteY21" fmla="*/ 66152 h 71904"/>
                <a:gd name="connsiteX22" fmla="*/ 18695 w 71904"/>
                <a:gd name="connsiteY22" fmla="*/ 60400 h 71904"/>
                <a:gd name="connsiteX23" fmla="*/ 14381 w 71904"/>
                <a:gd name="connsiteY23" fmla="*/ 51771 h 71904"/>
                <a:gd name="connsiteX24" fmla="*/ 12943 w 71904"/>
                <a:gd name="connsiteY24" fmla="*/ 40266 h 71904"/>
                <a:gd name="connsiteX25" fmla="*/ 14381 w 71904"/>
                <a:gd name="connsiteY25" fmla="*/ 28762 h 71904"/>
                <a:gd name="connsiteX26" fmla="*/ 18695 w 71904"/>
                <a:gd name="connsiteY26" fmla="*/ 20133 h 71904"/>
                <a:gd name="connsiteX27" fmla="*/ 25886 w 71904"/>
                <a:gd name="connsiteY27" fmla="*/ 14381 h 71904"/>
                <a:gd name="connsiteX28" fmla="*/ 35952 w 71904"/>
                <a:gd name="connsiteY28" fmla="*/ 12943 h 71904"/>
                <a:gd name="connsiteX29" fmla="*/ 46019 w 71904"/>
                <a:gd name="connsiteY29" fmla="*/ 14381 h 71904"/>
                <a:gd name="connsiteX30" fmla="*/ 53209 w 71904"/>
                <a:gd name="connsiteY30" fmla="*/ 20133 h 71904"/>
                <a:gd name="connsiteX31" fmla="*/ 57524 w 71904"/>
                <a:gd name="connsiteY31" fmla="*/ 28762 h 71904"/>
                <a:gd name="connsiteX32" fmla="*/ 58962 w 71904"/>
                <a:gd name="connsiteY32" fmla="*/ 40266 h 71904"/>
                <a:gd name="connsiteX33" fmla="*/ 57524 w 71904"/>
                <a:gd name="connsiteY33" fmla="*/ 51771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1904" h="71904">
                  <a:moveTo>
                    <a:pt x="63276" y="10067"/>
                  </a:moveTo>
                  <a:cubicBezTo>
                    <a:pt x="60400" y="7190"/>
                    <a:pt x="56085" y="4314"/>
                    <a:pt x="51771" y="2876"/>
                  </a:cubicBezTo>
                  <a:cubicBezTo>
                    <a:pt x="47457" y="1438"/>
                    <a:pt x="43143" y="0"/>
                    <a:pt x="37390" y="0"/>
                  </a:cubicBezTo>
                  <a:cubicBezTo>
                    <a:pt x="31638" y="0"/>
                    <a:pt x="27324" y="1438"/>
                    <a:pt x="23009" y="2876"/>
                  </a:cubicBezTo>
                  <a:cubicBezTo>
                    <a:pt x="18695" y="4314"/>
                    <a:pt x="14381" y="7190"/>
                    <a:pt x="11505" y="10067"/>
                  </a:cubicBezTo>
                  <a:cubicBezTo>
                    <a:pt x="8629" y="12943"/>
                    <a:pt x="5752" y="17257"/>
                    <a:pt x="2876" y="23009"/>
                  </a:cubicBezTo>
                  <a:cubicBezTo>
                    <a:pt x="0" y="28762"/>
                    <a:pt x="0" y="33076"/>
                    <a:pt x="0" y="40266"/>
                  </a:cubicBezTo>
                  <a:cubicBezTo>
                    <a:pt x="0" y="47457"/>
                    <a:pt x="1438" y="53209"/>
                    <a:pt x="2876" y="57524"/>
                  </a:cubicBezTo>
                  <a:cubicBezTo>
                    <a:pt x="4314" y="61838"/>
                    <a:pt x="7190" y="66152"/>
                    <a:pt x="11505" y="70466"/>
                  </a:cubicBezTo>
                  <a:cubicBezTo>
                    <a:pt x="14381" y="73343"/>
                    <a:pt x="18695" y="76219"/>
                    <a:pt x="23009" y="77657"/>
                  </a:cubicBezTo>
                  <a:cubicBezTo>
                    <a:pt x="27324" y="79095"/>
                    <a:pt x="33076" y="80533"/>
                    <a:pt x="37390" y="80533"/>
                  </a:cubicBezTo>
                  <a:cubicBezTo>
                    <a:pt x="41705" y="80533"/>
                    <a:pt x="47457" y="79095"/>
                    <a:pt x="51771" y="77657"/>
                  </a:cubicBezTo>
                  <a:cubicBezTo>
                    <a:pt x="56085" y="76219"/>
                    <a:pt x="60400" y="73343"/>
                    <a:pt x="63276" y="70466"/>
                  </a:cubicBezTo>
                  <a:cubicBezTo>
                    <a:pt x="66152" y="67590"/>
                    <a:pt x="69028" y="63276"/>
                    <a:pt x="71904" y="57524"/>
                  </a:cubicBezTo>
                  <a:cubicBezTo>
                    <a:pt x="73342" y="53209"/>
                    <a:pt x="74781" y="46019"/>
                    <a:pt x="74781" y="40266"/>
                  </a:cubicBezTo>
                  <a:cubicBezTo>
                    <a:pt x="74781" y="34514"/>
                    <a:pt x="73342" y="27324"/>
                    <a:pt x="71904" y="23009"/>
                  </a:cubicBezTo>
                  <a:cubicBezTo>
                    <a:pt x="70466" y="18695"/>
                    <a:pt x="66152" y="12943"/>
                    <a:pt x="63276" y="10067"/>
                  </a:cubicBezTo>
                  <a:close/>
                  <a:moveTo>
                    <a:pt x="57524" y="51771"/>
                  </a:moveTo>
                  <a:cubicBezTo>
                    <a:pt x="56085" y="54647"/>
                    <a:pt x="54647" y="57524"/>
                    <a:pt x="53209" y="60400"/>
                  </a:cubicBezTo>
                  <a:cubicBezTo>
                    <a:pt x="51771" y="63276"/>
                    <a:pt x="48895" y="64714"/>
                    <a:pt x="46019" y="66152"/>
                  </a:cubicBezTo>
                  <a:cubicBezTo>
                    <a:pt x="43143" y="67590"/>
                    <a:pt x="40266" y="67590"/>
                    <a:pt x="35952" y="67590"/>
                  </a:cubicBezTo>
                  <a:cubicBezTo>
                    <a:pt x="33076" y="67590"/>
                    <a:pt x="28762" y="67590"/>
                    <a:pt x="25886" y="66152"/>
                  </a:cubicBezTo>
                  <a:cubicBezTo>
                    <a:pt x="23009" y="64714"/>
                    <a:pt x="20133" y="63276"/>
                    <a:pt x="18695" y="60400"/>
                  </a:cubicBezTo>
                  <a:cubicBezTo>
                    <a:pt x="17257" y="57524"/>
                    <a:pt x="15819" y="54647"/>
                    <a:pt x="14381" y="51771"/>
                  </a:cubicBezTo>
                  <a:cubicBezTo>
                    <a:pt x="12943" y="48895"/>
                    <a:pt x="12943" y="44581"/>
                    <a:pt x="12943" y="40266"/>
                  </a:cubicBezTo>
                  <a:cubicBezTo>
                    <a:pt x="12943" y="35952"/>
                    <a:pt x="12943" y="31638"/>
                    <a:pt x="14381" y="28762"/>
                  </a:cubicBezTo>
                  <a:cubicBezTo>
                    <a:pt x="15819" y="25886"/>
                    <a:pt x="17257" y="23009"/>
                    <a:pt x="18695" y="20133"/>
                  </a:cubicBezTo>
                  <a:cubicBezTo>
                    <a:pt x="20133" y="17257"/>
                    <a:pt x="23009" y="15819"/>
                    <a:pt x="25886" y="14381"/>
                  </a:cubicBezTo>
                  <a:cubicBezTo>
                    <a:pt x="28762" y="12943"/>
                    <a:pt x="31638" y="12943"/>
                    <a:pt x="35952" y="12943"/>
                  </a:cubicBezTo>
                  <a:cubicBezTo>
                    <a:pt x="38828" y="12943"/>
                    <a:pt x="43143" y="12943"/>
                    <a:pt x="46019" y="14381"/>
                  </a:cubicBezTo>
                  <a:cubicBezTo>
                    <a:pt x="48895" y="15819"/>
                    <a:pt x="51771" y="17257"/>
                    <a:pt x="53209" y="20133"/>
                  </a:cubicBezTo>
                  <a:cubicBezTo>
                    <a:pt x="54647" y="23009"/>
                    <a:pt x="56085" y="25886"/>
                    <a:pt x="57524" y="28762"/>
                  </a:cubicBezTo>
                  <a:cubicBezTo>
                    <a:pt x="58962" y="31638"/>
                    <a:pt x="58962" y="35952"/>
                    <a:pt x="58962" y="40266"/>
                  </a:cubicBezTo>
                  <a:cubicBezTo>
                    <a:pt x="58962" y="44581"/>
                    <a:pt x="58962" y="47457"/>
                    <a:pt x="57524" y="51771"/>
                  </a:cubicBezTo>
                  <a:close/>
                </a:path>
              </a:pathLst>
            </a:custGeom>
            <a:solidFill>
              <a:srgbClr val="000000"/>
            </a:solidFill>
            <a:ln w="14288" cap="flat">
              <a:noFill/>
              <a:prstDash val="solid"/>
              <a:miter/>
            </a:ln>
          </p:spPr>
          <p:txBody>
            <a:bodyPr rtlCol="0" anchor="ctr"/>
            <a:lstStyle/>
            <a:p>
              <a:endParaRPr lang="de-DE"/>
            </a:p>
          </p:txBody>
        </p:sp>
        <p:sp>
          <p:nvSpPr>
            <p:cNvPr id="5231" name="Freeform: Shape 5230">
              <a:extLst>
                <a:ext uri="{FF2B5EF4-FFF2-40B4-BE49-F238E27FC236}">
                  <a16:creationId xmlns:a16="http://schemas.microsoft.com/office/drawing/2014/main" id="{53C7BA91-1D94-4F5D-A5FC-3E251C41ABD4}"/>
                </a:ext>
              </a:extLst>
            </p:cNvPr>
            <p:cNvSpPr/>
            <p:nvPr/>
          </p:nvSpPr>
          <p:spPr>
            <a:xfrm>
              <a:off x="6100314" y="3472143"/>
              <a:ext cx="43143" cy="71904"/>
            </a:xfrm>
            <a:custGeom>
              <a:avLst/>
              <a:gdLst>
                <a:gd name="connsiteX0" fmla="*/ 48895 w 43142"/>
                <a:gd name="connsiteY0" fmla="*/ 41705 h 71904"/>
                <a:gd name="connsiteX1" fmla="*/ 41705 w 43142"/>
                <a:gd name="connsiteY1" fmla="*/ 37390 h 71904"/>
                <a:gd name="connsiteX2" fmla="*/ 31638 w 43142"/>
                <a:gd name="connsiteY2" fmla="*/ 33076 h 71904"/>
                <a:gd name="connsiteX3" fmla="*/ 25886 w 43142"/>
                <a:gd name="connsiteY3" fmla="*/ 30200 h 71904"/>
                <a:gd name="connsiteX4" fmla="*/ 21571 w 43142"/>
                <a:gd name="connsiteY4" fmla="*/ 28762 h 71904"/>
                <a:gd name="connsiteX5" fmla="*/ 18695 w 43142"/>
                <a:gd name="connsiteY5" fmla="*/ 25886 h 71904"/>
                <a:gd name="connsiteX6" fmla="*/ 17257 w 43142"/>
                <a:gd name="connsiteY6" fmla="*/ 21571 h 71904"/>
                <a:gd name="connsiteX7" fmla="*/ 20133 w 43142"/>
                <a:gd name="connsiteY7" fmla="*/ 14381 h 71904"/>
                <a:gd name="connsiteX8" fmla="*/ 28762 w 43142"/>
                <a:gd name="connsiteY8" fmla="*/ 11505 h 71904"/>
                <a:gd name="connsiteX9" fmla="*/ 37390 w 43142"/>
                <a:gd name="connsiteY9" fmla="*/ 12943 h 71904"/>
                <a:gd name="connsiteX10" fmla="*/ 46019 w 43142"/>
                <a:gd name="connsiteY10" fmla="*/ 15819 h 71904"/>
                <a:gd name="connsiteX11" fmla="*/ 50333 w 43142"/>
                <a:gd name="connsiteY11" fmla="*/ 4314 h 71904"/>
                <a:gd name="connsiteX12" fmla="*/ 41705 w 43142"/>
                <a:gd name="connsiteY12" fmla="*/ 1438 h 71904"/>
                <a:gd name="connsiteX13" fmla="*/ 30200 w 43142"/>
                <a:gd name="connsiteY13" fmla="*/ 0 h 71904"/>
                <a:gd name="connsiteX14" fmla="*/ 10067 w 43142"/>
                <a:gd name="connsiteY14" fmla="*/ 5752 h 71904"/>
                <a:gd name="connsiteX15" fmla="*/ 2876 w 43142"/>
                <a:gd name="connsiteY15" fmla="*/ 21571 h 71904"/>
                <a:gd name="connsiteX16" fmla="*/ 4314 w 43142"/>
                <a:gd name="connsiteY16" fmla="*/ 30200 h 71904"/>
                <a:gd name="connsiteX17" fmla="*/ 8629 w 43142"/>
                <a:gd name="connsiteY17" fmla="*/ 35952 h 71904"/>
                <a:gd name="connsiteX18" fmla="*/ 15819 w 43142"/>
                <a:gd name="connsiteY18" fmla="*/ 40266 h 71904"/>
                <a:gd name="connsiteX19" fmla="*/ 23009 w 43142"/>
                <a:gd name="connsiteY19" fmla="*/ 43143 h 71904"/>
                <a:gd name="connsiteX20" fmla="*/ 30200 w 43142"/>
                <a:gd name="connsiteY20" fmla="*/ 46019 h 71904"/>
                <a:gd name="connsiteX21" fmla="*/ 35952 w 43142"/>
                <a:gd name="connsiteY21" fmla="*/ 48895 h 71904"/>
                <a:gd name="connsiteX22" fmla="*/ 38828 w 43142"/>
                <a:gd name="connsiteY22" fmla="*/ 53209 h 71904"/>
                <a:gd name="connsiteX23" fmla="*/ 40266 w 43142"/>
                <a:gd name="connsiteY23" fmla="*/ 57524 h 71904"/>
                <a:gd name="connsiteX24" fmla="*/ 37390 w 43142"/>
                <a:gd name="connsiteY24" fmla="*/ 64714 h 71904"/>
                <a:gd name="connsiteX25" fmla="*/ 25886 w 43142"/>
                <a:gd name="connsiteY25" fmla="*/ 67590 h 71904"/>
                <a:gd name="connsiteX26" fmla="*/ 12943 w 43142"/>
                <a:gd name="connsiteY26" fmla="*/ 66152 h 71904"/>
                <a:gd name="connsiteX27" fmla="*/ 4314 w 43142"/>
                <a:gd name="connsiteY27" fmla="*/ 63276 h 71904"/>
                <a:gd name="connsiteX28" fmla="*/ 0 w 43142"/>
                <a:gd name="connsiteY28" fmla="*/ 74781 h 71904"/>
                <a:gd name="connsiteX29" fmla="*/ 2876 w 43142"/>
                <a:gd name="connsiteY29" fmla="*/ 76219 h 71904"/>
                <a:gd name="connsiteX30" fmla="*/ 8629 w 43142"/>
                <a:gd name="connsiteY30" fmla="*/ 77657 h 71904"/>
                <a:gd name="connsiteX31" fmla="*/ 15819 w 43142"/>
                <a:gd name="connsiteY31" fmla="*/ 79095 h 71904"/>
                <a:gd name="connsiteX32" fmla="*/ 24448 w 43142"/>
                <a:gd name="connsiteY32" fmla="*/ 79095 h 71904"/>
                <a:gd name="connsiteX33" fmla="*/ 46019 w 43142"/>
                <a:gd name="connsiteY33" fmla="*/ 73343 h 71904"/>
                <a:gd name="connsiteX34" fmla="*/ 53209 w 43142"/>
                <a:gd name="connsiteY34" fmla="*/ 57524 h 71904"/>
                <a:gd name="connsiteX35" fmla="*/ 51771 w 43142"/>
                <a:gd name="connsiteY35" fmla="*/ 48895 h 71904"/>
                <a:gd name="connsiteX36" fmla="*/ 48895 w 43142"/>
                <a:gd name="connsiteY36" fmla="*/ 41705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142" h="71904">
                  <a:moveTo>
                    <a:pt x="48895" y="41705"/>
                  </a:moveTo>
                  <a:cubicBezTo>
                    <a:pt x="47457" y="40266"/>
                    <a:pt x="44581" y="38828"/>
                    <a:pt x="41705" y="37390"/>
                  </a:cubicBezTo>
                  <a:cubicBezTo>
                    <a:pt x="38828" y="35952"/>
                    <a:pt x="35952" y="34514"/>
                    <a:pt x="31638" y="33076"/>
                  </a:cubicBezTo>
                  <a:cubicBezTo>
                    <a:pt x="30200" y="31638"/>
                    <a:pt x="27324" y="31638"/>
                    <a:pt x="25886" y="30200"/>
                  </a:cubicBezTo>
                  <a:cubicBezTo>
                    <a:pt x="24448" y="28762"/>
                    <a:pt x="23009" y="28762"/>
                    <a:pt x="21571" y="28762"/>
                  </a:cubicBezTo>
                  <a:cubicBezTo>
                    <a:pt x="20133" y="28762"/>
                    <a:pt x="18695" y="27324"/>
                    <a:pt x="18695" y="25886"/>
                  </a:cubicBezTo>
                  <a:cubicBezTo>
                    <a:pt x="18695" y="24448"/>
                    <a:pt x="17257" y="23009"/>
                    <a:pt x="17257" y="21571"/>
                  </a:cubicBezTo>
                  <a:cubicBezTo>
                    <a:pt x="17257" y="18695"/>
                    <a:pt x="18695" y="17257"/>
                    <a:pt x="20133" y="14381"/>
                  </a:cubicBezTo>
                  <a:cubicBezTo>
                    <a:pt x="21571" y="12943"/>
                    <a:pt x="25886" y="11505"/>
                    <a:pt x="28762" y="11505"/>
                  </a:cubicBezTo>
                  <a:cubicBezTo>
                    <a:pt x="31638" y="11505"/>
                    <a:pt x="34514" y="11505"/>
                    <a:pt x="37390" y="12943"/>
                  </a:cubicBezTo>
                  <a:cubicBezTo>
                    <a:pt x="40266" y="14381"/>
                    <a:pt x="43143" y="14381"/>
                    <a:pt x="46019" y="15819"/>
                  </a:cubicBezTo>
                  <a:lnTo>
                    <a:pt x="50333" y="4314"/>
                  </a:lnTo>
                  <a:cubicBezTo>
                    <a:pt x="48895" y="2876"/>
                    <a:pt x="44581" y="1438"/>
                    <a:pt x="41705" y="1438"/>
                  </a:cubicBezTo>
                  <a:cubicBezTo>
                    <a:pt x="38828" y="0"/>
                    <a:pt x="34514" y="0"/>
                    <a:pt x="30200" y="0"/>
                  </a:cubicBezTo>
                  <a:cubicBezTo>
                    <a:pt x="21571" y="0"/>
                    <a:pt x="15819" y="1438"/>
                    <a:pt x="10067" y="5752"/>
                  </a:cubicBezTo>
                  <a:cubicBezTo>
                    <a:pt x="5752" y="10067"/>
                    <a:pt x="2876" y="15819"/>
                    <a:pt x="2876" y="21571"/>
                  </a:cubicBezTo>
                  <a:cubicBezTo>
                    <a:pt x="2876" y="24448"/>
                    <a:pt x="2876" y="27324"/>
                    <a:pt x="4314" y="30200"/>
                  </a:cubicBezTo>
                  <a:cubicBezTo>
                    <a:pt x="5752" y="33076"/>
                    <a:pt x="7190" y="34514"/>
                    <a:pt x="8629" y="35952"/>
                  </a:cubicBezTo>
                  <a:cubicBezTo>
                    <a:pt x="10067" y="37390"/>
                    <a:pt x="12943" y="38828"/>
                    <a:pt x="15819" y="40266"/>
                  </a:cubicBezTo>
                  <a:cubicBezTo>
                    <a:pt x="18695" y="41705"/>
                    <a:pt x="21571" y="43143"/>
                    <a:pt x="23009" y="43143"/>
                  </a:cubicBezTo>
                  <a:cubicBezTo>
                    <a:pt x="25886" y="44581"/>
                    <a:pt x="27324" y="44581"/>
                    <a:pt x="30200" y="46019"/>
                  </a:cubicBezTo>
                  <a:cubicBezTo>
                    <a:pt x="31638" y="47457"/>
                    <a:pt x="34514" y="47457"/>
                    <a:pt x="35952" y="48895"/>
                  </a:cubicBezTo>
                  <a:cubicBezTo>
                    <a:pt x="37390" y="50333"/>
                    <a:pt x="38828" y="51771"/>
                    <a:pt x="38828" y="53209"/>
                  </a:cubicBezTo>
                  <a:cubicBezTo>
                    <a:pt x="40266" y="54647"/>
                    <a:pt x="40266" y="56085"/>
                    <a:pt x="40266" y="57524"/>
                  </a:cubicBezTo>
                  <a:cubicBezTo>
                    <a:pt x="40266" y="60400"/>
                    <a:pt x="38828" y="63276"/>
                    <a:pt x="37390" y="64714"/>
                  </a:cubicBezTo>
                  <a:cubicBezTo>
                    <a:pt x="34514" y="66152"/>
                    <a:pt x="31638" y="67590"/>
                    <a:pt x="25886" y="67590"/>
                  </a:cubicBezTo>
                  <a:cubicBezTo>
                    <a:pt x="21571" y="67590"/>
                    <a:pt x="17257" y="67590"/>
                    <a:pt x="12943" y="66152"/>
                  </a:cubicBezTo>
                  <a:cubicBezTo>
                    <a:pt x="8629" y="64714"/>
                    <a:pt x="7190" y="63276"/>
                    <a:pt x="4314" y="63276"/>
                  </a:cubicBezTo>
                  <a:lnTo>
                    <a:pt x="0" y="74781"/>
                  </a:lnTo>
                  <a:cubicBezTo>
                    <a:pt x="1438" y="74781"/>
                    <a:pt x="1438" y="76219"/>
                    <a:pt x="2876" y="76219"/>
                  </a:cubicBezTo>
                  <a:cubicBezTo>
                    <a:pt x="4314" y="76219"/>
                    <a:pt x="5752" y="77657"/>
                    <a:pt x="8629" y="77657"/>
                  </a:cubicBezTo>
                  <a:cubicBezTo>
                    <a:pt x="10067" y="77657"/>
                    <a:pt x="12943" y="79095"/>
                    <a:pt x="15819" y="79095"/>
                  </a:cubicBezTo>
                  <a:cubicBezTo>
                    <a:pt x="18695" y="79095"/>
                    <a:pt x="21571" y="79095"/>
                    <a:pt x="24448" y="79095"/>
                  </a:cubicBezTo>
                  <a:cubicBezTo>
                    <a:pt x="34514" y="79095"/>
                    <a:pt x="41705" y="77657"/>
                    <a:pt x="46019" y="73343"/>
                  </a:cubicBezTo>
                  <a:cubicBezTo>
                    <a:pt x="50333" y="69028"/>
                    <a:pt x="53209" y="64714"/>
                    <a:pt x="53209" y="57524"/>
                  </a:cubicBezTo>
                  <a:cubicBezTo>
                    <a:pt x="53209" y="53209"/>
                    <a:pt x="53209" y="50333"/>
                    <a:pt x="51771" y="48895"/>
                  </a:cubicBezTo>
                  <a:cubicBezTo>
                    <a:pt x="50333" y="47457"/>
                    <a:pt x="51771" y="44581"/>
                    <a:pt x="48895" y="41705"/>
                  </a:cubicBezTo>
                  <a:close/>
                </a:path>
              </a:pathLst>
            </a:custGeom>
            <a:solidFill>
              <a:srgbClr val="000000"/>
            </a:solidFill>
            <a:ln w="14288" cap="flat">
              <a:noFill/>
              <a:prstDash val="solid"/>
              <a:miter/>
            </a:ln>
          </p:spPr>
          <p:txBody>
            <a:bodyPr rtlCol="0" anchor="ctr"/>
            <a:lstStyle/>
            <a:p>
              <a:endParaRPr lang="de-DE"/>
            </a:p>
          </p:txBody>
        </p:sp>
        <p:sp>
          <p:nvSpPr>
            <p:cNvPr id="5232" name="Freeform: Shape 5231">
              <a:extLst>
                <a:ext uri="{FF2B5EF4-FFF2-40B4-BE49-F238E27FC236}">
                  <a16:creationId xmlns:a16="http://schemas.microsoft.com/office/drawing/2014/main" id="{80BA6EDE-4B0F-4517-83C4-5DECE6C623D6}"/>
                </a:ext>
              </a:extLst>
            </p:cNvPr>
            <p:cNvSpPr/>
            <p:nvPr/>
          </p:nvSpPr>
          <p:spPr>
            <a:xfrm>
              <a:off x="6167904" y="3473581"/>
              <a:ext cx="43143" cy="71904"/>
            </a:xfrm>
            <a:custGeom>
              <a:avLst/>
              <a:gdLst>
                <a:gd name="connsiteX0" fmla="*/ 14381 w 43142"/>
                <a:gd name="connsiteY0" fmla="*/ 43143 h 71904"/>
                <a:gd name="connsiteX1" fmla="*/ 46019 w 43142"/>
                <a:gd name="connsiteY1" fmla="*/ 43143 h 71904"/>
                <a:gd name="connsiteX2" fmla="*/ 46019 w 43142"/>
                <a:gd name="connsiteY2" fmla="*/ 31638 h 71904"/>
                <a:gd name="connsiteX3" fmla="*/ 14381 w 43142"/>
                <a:gd name="connsiteY3" fmla="*/ 31638 h 71904"/>
                <a:gd name="connsiteX4" fmla="*/ 14381 w 43142"/>
                <a:gd name="connsiteY4" fmla="*/ 11505 h 71904"/>
                <a:gd name="connsiteX5" fmla="*/ 48895 w 43142"/>
                <a:gd name="connsiteY5" fmla="*/ 11505 h 71904"/>
                <a:gd name="connsiteX6" fmla="*/ 48895 w 43142"/>
                <a:gd name="connsiteY6" fmla="*/ 0 h 71904"/>
                <a:gd name="connsiteX7" fmla="*/ 0 w 43142"/>
                <a:gd name="connsiteY7" fmla="*/ 0 h 71904"/>
                <a:gd name="connsiteX8" fmla="*/ 0 w 43142"/>
                <a:gd name="connsiteY8" fmla="*/ 76219 h 71904"/>
                <a:gd name="connsiteX9" fmla="*/ 51771 w 43142"/>
                <a:gd name="connsiteY9" fmla="*/ 76219 h 71904"/>
                <a:gd name="connsiteX10" fmla="*/ 51771 w 43142"/>
                <a:gd name="connsiteY10" fmla="*/ 64714 h 71904"/>
                <a:gd name="connsiteX11" fmla="*/ 14381 w 43142"/>
                <a:gd name="connsiteY11" fmla="*/ 64714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142" h="71904">
                  <a:moveTo>
                    <a:pt x="14381" y="43143"/>
                  </a:moveTo>
                  <a:lnTo>
                    <a:pt x="46019" y="43143"/>
                  </a:lnTo>
                  <a:lnTo>
                    <a:pt x="46019" y="31638"/>
                  </a:lnTo>
                  <a:lnTo>
                    <a:pt x="14381" y="31638"/>
                  </a:lnTo>
                  <a:lnTo>
                    <a:pt x="14381" y="11505"/>
                  </a:lnTo>
                  <a:lnTo>
                    <a:pt x="48895" y="11505"/>
                  </a:lnTo>
                  <a:lnTo>
                    <a:pt x="48895" y="0"/>
                  </a:lnTo>
                  <a:lnTo>
                    <a:pt x="0" y="0"/>
                  </a:lnTo>
                  <a:lnTo>
                    <a:pt x="0" y="76219"/>
                  </a:lnTo>
                  <a:lnTo>
                    <a:pt x="51771" y="76219"/>
                  </a:lnTo>
                  <a:lnTo>
                    <a:pt x="51771" y="64714"/>
                  </a:lnTo>
                  <a:lnTo>
                    <a:pt x="14381" y="64714"/>
                  </a:lnTo>
                  <a:close/>
                </a:path>
              </a:pathLst>
            </a:custGeom>
            <a:solidFill>
              <a:srgbClr val="000000"/>
            </a:solidFill>
            <a:ln w="14288" cap="flat">
              <a:noFill/>
              <a:prstDash val="solid"/>
              <a:miter/>
            </a:ln>
          </p:spPr>
          <p:txBody>
            <a:bodyPr rtlCol="0" anchor="ctr"/>
            <a:lstStyle/>
            <a:p>
              <a:endParaRPr lang="de-DE"/>
            </a:p>
          </p:txBody>
        </p:sp>
        <p:sp>
          <p:nvSpPr>
            <p:cNvPr id="5233" name="Freeform: Shape 5232">
              <a:extLst>
                <a:ext uri="{FF2B5EF4-FFF2-40B4-BE49-F238E27FC236}">
                  <a16:creationId xmlns:a16="http://schemas.microsoft.com/office/drawing/2014/main" id="{42602480-2015-4203-8468-ED2B75073216}"/>
                </a:ext>
              </a:extLst>
            </p:cNvPr>
            <p:cNvSpPr/>
            <p:nvPr/>
          </p:nvSpPr>
          <p:spPr>
            <a:xfrm>
              <a:off x="6232618" y="3472143"/>
              <a:ext cx="57524" cy="71904"/>
            </a:xfrm>
            <a:custGeom>
              <a:avLst/>
              <a:gdLst>
                <a:gd name="connsiteX0" fmla="*/ 53209 w 57523"/>
                <a:gd name="connsiteY0" fmla="*/ 10067 h 71904"/>
                <a:gd name="connsiteX1" fmla="*/ 38828 w 57523"/>
                <a:gd name="connsiteY1" fmla="*/ 2876 h 71904"/>
                <a:gd name="connsiteX2" fmla="*/ 21571 w 57523"/>
                <a:gd name="connsiteY2" fmla="*/ 0 h 71904"/>
                <a:gd name="connsiteX3" fmla="*/ 11505 w 57523"/>
                <a:gd name="connsiteY3" fmla="*/ 0 h 71904"/>
                <a:gd name="connsiteX4" fmla="*/ 0 w 57523"/>
                <a:gd name="connsiteY4" fmla="*/ 1438 h 71904"/>
                <a:gd name="connsiteX5" fmla="*/ 0 w 57523"/>
                <a:gd name="connsiteY5" fmla="*/ 76219 h 71904"/>
                <a:gd name="connsiteX6" fmla="*/ 11505 w 57523"/>
                <a:gd name="connsiteY6" fmla="*/ 77657 h 71904"/>
                <a:gd name="connsiteX7" fmla="*/ 21571 w 57523"/>
                <a:gd name="connsiteY7" fmla="*/ 77657 h 71904"/>
                <a:gd name="connsiteX8" fmla="*/ 38828 w 57523"/>
                <a:gd name="connsiteY8" fmla="*/ 74781 h 71904"/>
                <a:gd name="connsiteX9" fmla="*/ 53209 w 57523"/>
                <a:gd name="connsiteY9" fmla="*/ 67590 h 71904"/>
                <a:gd name="connsiteX10" fmla="*/ 61838 w 57523"/>
                <a:gd name="connsiteY10" fmla="*/ 54647 h 71904"/>
                <a:gd name="connsiteX11" fmla="*/ 64714 w 57523"/>
                <a:gd name="connsiteY11" fmla="*/ 37390 h 71904"/>
                <a:gd name="connsiteX12" fmla="*/ 61838 w 57523"/>
                <a:gd name="connsiteY12" fmla="*/ 20133 h 71904"/>
                <a:gd name="connsiteX13" fmla="*/ 53209 w 57523"/>
                <a:gd name="connsiteY13" fmla="*/ 10067 h 71904"/>
                <a:gd name="connsiteX14" fmla="*/ 44581 w 57523"/>
                <a:gd name="connsiteY14" fmla="*/ 60400 h 71904"/>
                <a:gd name="connsiteX15" fmla="*/ 23009 w 57523"/>
                <a:gd name="connsiteY15" fmla="*/ 67590 h 71904"/>
                <a:gd name="connsiteX16" fmla="*/ 17257 w 57523"/>
                <a:gd name="connsiteY16" fmla="*/ 67590 h 71904"/>
                <a:gd name="connsiteX17" fmla="*/ 14381 w 57523"/>
                <a:gd name="connsiteY17" fmla="*/ 67590 h 71904"/>
                <a:gd name="connsiteX18" fmla="*/ 14381 w 57523"/>
                <a:gd name="connsiteY18" fmla="*/ 14381 h 71904"/>
                <a:gd name="connsiteX19" fmla="*/ 23009 w 57523"/>
                <a:gd name="connsiteY19" fmla="*/ 14381 h 71904"/>
                <a:gd name="connsiteX20" fmla="*/ 44581 w 57523"/>
                <a:gd name="connsiteY20" fmla="*/ 21571 h 71904"/>
                <a:gd name="connsiteX21" fmla="*/ 51771 w 57523"/>
                <a:gd name="connsiteY21" fmla="*/ 41705 h 71904"/>
                <a:gd name="connsiteX22" fmla="*/ 44581 w 57523"/>
                <a:gd name="connsiteY22" fmla="*/ 60400 h 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523" h="71904">
                  <a:moveTo>
                    <a:pt x="53209" y="10067"/>
                  </a:moveTo>
                  <a:cubicBezTo>
                    <a:pt x="48895" y="7190"/>
                    <a:pt x="44581" y="4314"/>
                    <a:pt x="38828" y="2876"/>
                  </a:cubicBezTo>
                  <a:cubicBezTo>
                    <a:pt x="33076" y="1438"/>
                    <a:pt x="27324" y="0"/>
                    <a:pt x="21571" y="0"/>
                  </a:cubicBezTo>
                  <a:cubicBezTo>
                    <a:pt x="18695" y="0"/>
                    <a:pt x="14381" y="0"/>
                    <a:pt x="11505" y="0"/>
                  </a:cubicBezTo>
                  <a:cubicBezTo>
                    <a:pt x="7190" y="0"/>
                    <a:pt x="4314" y="1438"/>
                    <a:pt x="0" y="1438"/>
                  </a:cubicBezTo>
                  <a:lnTo>
                    <a:pt x="0" y="76219"/>
                  </a:lnTo>
                  <a:cubicBezTo>
                    <a:pt x="2876" y="77657"/>
                    <a:pt x="7190" y="77657"/>
                    <a:pt x="11505" y="77657"/>
                  </a:cubicBezTo>
                  <a:cubicBezTo>
                    <a:pt x="15819" y="77657"/>
                    <a:pt x="18695" y="77657"/>
                    <a:pt x="21571" y="77657"/>
                  </a:cubicBezTo>
                  <a:cubicBezTo>
                    <a:pt x="28762" y="77657"/>
                    <a:pt x="34514" y="76219"/>
                    <a:pt x="38828" y="74781"/>
                  </a:cubicBezTo>
                  <a:cubicBezTo>
                    <a:pt x="44581" y="73343"/>
                    <a:pt x="48895" y="70466"/>
                    <a:pt x="53209" y="67590"/>
                  </a:cubicBezTo>
                  <a:cubicBezTo>
                    <a:pt x="57524" y="64714"/>
                    <a:pt x="60400" y="60400"/>
                    <a:pt x="61838" y="54647"/>
                  </a:cubicBezTo>
                  <a:cubicBezTo>
                    <a:pt x="63276" y="50333"/>
                    <a:pt x="64714" y="44581"/>
                    <a:pt x="64714" y="37390"/>
                  </a:cubicBezTo>
                  <a:cubicBezTo>
                    <a:pt x="64714" y="30200"/>
                    <a:pt x="63276" y="24448"/>
                    <a:pt x="61838" y="20133"/>
                  </a:cubicBezTo>
                  <a:cubicBezTo>
                    <a:pt x="60400" y="17257"/>
                    <a:pt x="57524" y="12943"/>
                    <a:pt x="53209" y="10067"/>
                  </a:cubicBezTo>
                  <a:close/>
                  <a:moveTo>
                    <a:pt x="44581" y="60400"/>
                  </a:moveTo>
                  <a:cubicBezTo>
                    <a:pt x="40266" y="64714"/>
                    <a:pt x="33076" y="67590"/>
                    <a:pt x="23009" y="67590"/>
                  </a:cubicBezTo>
                  <a:cubicBezTo>
                    <a:pt x="20133" y="67590"/>
                    <a:pt x="18695" y="67590"/>
                    <a:pt x="17257" y="67590"/>
                  </a:cubicBezTo>
                  <a:cubicBezTo>
                    <a:pt x="15819" y="67590"/>
                    <a:pt x="14381" y="67590"/>
                    <a:pt x="14381" y="67590"/>
                  </a:cubicBezTo>
                  <a:lnTo>
                    <a:pt x="14381" y="14381"/>
                  </a:lnTo>
                  <a:cubicBezTo>
                    <a:pt x="15819" y="14381"/>
                    <a:pt x="18695" y="14381"/>
                    <a:pt x="23009" y="14381"/>
                  </a:cubicBezTo>
                  <a:cubicBezTo>
                    <a:pt x="33076" y="14381"/>
                    <a:pt x="38828" y="17257"/>
                    <a:pt x="44581" y="21571"/>
                  </a:cubicBezTo>
                  <a:cubicBezTo>
                    <a:pt x="50333" y="25886"/>
                    <a:pt x="51771" y="33076"/>
                    <a:pt x="51771" y="41705"/>
                  </a:cubicBezTo>
                  <a:cubicBezTo>
                    <a:pt x="50333" y="48895"/>
                    <a:pt x="48895" y="54647"/>
                    <a:pt x="44581" y="60400"/>
                  </a:cubicBezTo>
                  <a:close/>
                </a:path>
              </a:pathLst>
            </a:custGeom>
            <a:solidFill>
              <a:srgbClr val="000000"/>
            </a:solidFill>
            <a:ln w="14288" cap="flat">
              <a:noFill/>
              <a:prstDash val="solid"/>
              <a:miter/>
            </a:ln>
          </p:spPr>
          <p:txBody>
            <a:bodyPr rtlCol="0" anchor="ctr"/>
            <a:lstStyle/>
            <a:p>
              <a:endParaRPr lang="de-DE"/>
            </a:p>
          </p:txBody>
        </p:sp>
      </p:grpSp>
      <p:grpSp>
        <p:nvGrpSpPr>
          <p:cNvPr id="5234" name="Graphic 3">
            <a:extLst>
              <a:ext uri="{FF2B5EF4-FFF2-40B4-BE49-F238E27FC236}">
                <a16:creationId xmlns:a16="http://schemas.microsoft.com/office/drawing/2014/main" id="{349E2A37-CAF6-4BD8-A528-9348B3C6BEE7}"/>
              </a:ext>
              <a:ext uri="{C183D7F6-B498-43B3-948B-1728B52AA6E4}">
                <adec:decorative xmlns:adec="http://schemas.microsoft.com/office/drawing/2017/decorative" val="1"/>
              </a:ext>
            </a:extLst>
          </p:cNvPr>
          <p:cNvGrpSpPr>
            <a:grpSpLocks noChangeAspect="1"/>
          </p:cNvGrpSpPr>
          <p:nvPr/>
        </p:nvGrpSpPr>
        <p:grpSpPr>
          <a:xfrm>
            <a:off x="5150384" y="3809674"/>
            <a:ext cx="126061" cy="130128"/>
            <a:chOff x="5865316" y="3190875"/>
            <a:chExt cx="461368" cy="476250"/>
          </a:xfrm>
          <a:solidFill>
            <a:srgbClr val="101010"/>
          </a:solidFill>
        </p:grpSpPr>
        <p:sp>
          <p:nvSpPr>
            <p:cNvPr id="5235" name="Freeform: Shape 5234">
              <a:extLst>
                <a:ext uri="{FF2B5EF4-FFF2-40B4-BE49-F238E27FC236}">
                  <a16:creationId xmlns:a16="http://schemas.microsoft.com/office/drawing/2014/main" id="{0E9BD342-53DB-40E7-9671-D9C0EE1A8499}"/>
                </a:ext>
              </a:extLst>
            </p:cNvPr>
            <p:cNvSpPr/>
            <p:nvPr/>
          </p:nvSpPr>
          <p:spPr>
            <a:xfrm>
              <a:off x="5865316" y="3190875"/>
              <a:ext cx="461368" cy="476250"/>
            </a:xfrm>
            <a:custGeom>
              <a:avLst/>
              <a:gdLst>
                <a:gd name="connsiteX0" fmla="*/ 459880 w 461368"/>
                <a:gd name="connsiteY0" fmla="*/ 139898 h 476250"/>
                <a:gd name="connsiteX1" fmla="*/ 459880 w 461368"/>
                <a:gd name="connsiteY1" fmla="*/ 139898 h 476250"/>
                <a:gd name="connsiteX2" fmla="*/ 456903 w 461368"/>
                <a:gd name="connsiteY2" fmla="*/ 136922 h 476250"/>
                <a:gd name="connsiteX3" fmla="*/ 456903 w 461368"/>
                <a:gd name="connsiteY3" fmla="*/ 136922 h 476250"/>
                <a:gd name="connsiteX4" fmla="*/ 400348 w 461368"/>
                <a:gd name="connsiteY4" fmla="*/ 110133 h 476250"/>
                <a:gd name="connsiteX5" fmla="*/ 400348 w 461368"/>
                <a:gd name="connsiteY5" fmla="*/ 92273 h 476250"/>
                <a:gd name="connsiteX6" fmla="*/ 400348 w 461368"/>
                <a:gd name="connsiteY6" fmla="*/ 92273 h 476250"/>
                <a:gd name="connsiteX7" fmla="*/ 349747 w 461368"/>
                <a:gd name="connsiteY7" fmla="*/ 59531 h 476250"/>
                <a:gd name="connsiteX8" fmla="*/ 312540 w 461368"/>
                <a:gd name="connsiteY8" fmla="*/ 69949 h 476250"/>
                <a:gd name="connsiteX9" fmla="*/ 282774 w 461368"/>
                <a:gd name="connsiteY9" fmla="*/ 56555 h 476250"/>
                <a:gd name="connsiteX10" fmla="*/ 282774 w 461368"/>
                <a:gd name="connsiteY10" fmla="*/ 32742 h 476250"/>
                <a:gd name="connsiteX11" fmla="*/ 282774 w 461368"/>
                <a:gd name="connsiteY11" fmla="*/ 32742 h 476250"/>
                <a:gd name="connsiteX12" fmla="*/ 233661 w 461368"/>
                <a:gd name="connsiteY12" fmla="*/ 0 h 476250"/>
                <a:gd name="connsiteX13" fmla="*/ 184547 w 461368"/>
                <a:gd name="connsiteY13" fmla="*/ 32742 h 476250"/>
                <a:gd name="connsiteX14" fmla="*/ 184547 w 461368"/>
                <a:gd name="connsiteY14" fmla="*/ 32742 h 476250"/>
                <a:gd name="connsiteX15" fmla="*/ 184547 w 461368"/>
                <a:gd name="connsiteY15" fmla="*/ 32742 h 476250"/>
                <a:gd name="connsiteX16" fmla="*/ 184547 w 461368"/>
                <a:gd name="connsiteY16" fmla="*/ 53578 h 476250"/>
                <a:gd name="connsiteX17" fmla="*/ 147340 w 461368"/>
                <a:gd name="connsiteY17" fmla="*/ 69949 h 476250"/>
                <a:gd name="connsiteX18" fmla="*/ 117574 w 461368"/>
                <a:gd name="connsiteY18" fmla="*/ 62508 h 476250"/>
                <a:gd name="connsiteX19" fmla="*/ 68461 w 461368"/>
                <a:gd name="connsiteY19" fmla="*/ 95250 h 476250"/>
                <a:gd name="connsiteX20" fmla="*/ 68461 w 461368"/>
                <a:gd name="connsiteY20" fmla="*/ 95250 h 476250"/>
                <a:gd name="connsiteX21" fmla="*/ 68461 w 461368"/>
                <a:gd name="connsiteY21" fmla="*/ 95250 h 476250"/>
                <a:gd name="connsiteX22" fmla="*/ 68461 w 461368"/>
                <a:gd name="connsiteY22" fmla="*/ 105668 h 476250"/>
                <a:gd name="connsiteX23" fmla="*/ 5953 w 461368"/>
                <a:gd name="connsiteY23" fmla="*/ 135434 h 476250"/>
                <a:gd name="connsiteX24" fmla="*/ 5953 w 461368"/>
                <a:gd name="connsiteY24" fmla="*/ 135434 h 476250"/>
                <a:gd name="connsiteX25" fmla="*/ 2977 w 461368"/>
                <a:gd name="connsiteY25" fmla="*/ 136922 h 476250"/>
                <a:gd name="connsiteX26" fmla="*/ 2977 w 461368"/>
                <a:gd name="connsiteY26" fmla="*/ 138410 h 476250"/>
                <a:gd name="connsiteX27" fmla="*/ 0 w 461368"/>
                <a:gd name="connsiteY27" fmla="*/ 144363 h 476250"/>
                <a:gd name="connsiteX28" fmla="*/ 0 w 461368"/>
                <a:gd name="connsiteY28" fmla="*/ 378023 h 476250"/>
                <a:gd name="connsiteX29" fmla="*/ 0 w 461368"/>
                <a:gd name="connsiteY29" fmla="*/ 379512 h 476250"/>
                <a:gd name="connsiteX30" fmla="*/ 0 w 461368"/>
                <a:gd name="connsiteY30" fmla="*/ 381000 h 476250"/>
                <a:gd name="connsiteX31" fmla="*/ 1488 w 461368"/>
                <a:gd name="connsiteY31" fmla="*/ 382488 h 476250"/>
                <a:gd name="connsiteX32" fmla="*/ 2977 w 461368"/>
                <a:gd name="connsiteY32" fmla="*/ 383977 h 476250"/>
                <a:gd name="connsiteX33" fmla="*/ 4465 w 461368"/>
                <a:gd name="connsiteY33" fmla="*/ 385465 h 476250"/>
                <a:gd name="connsiteX34" fmla="*/ 5953 w 461368"/>
                <a:gd name="connsiteY34" fmla="*/ 385465 h 476250"/>
                <a:gd name="connsiteX35" fmla="*/ 5953 w 461368"/>
                <a:gd name="connsiteY35" fmla="*/ 385465 h 476250"/>
                <a:gd name="connsiteX36" fmla="*/ 5953 w 461368"/>
                <a:gd name="connsiteY36" fmla="*/ 385465 h 476250"/>
                <a:gd name="connsiteX37" fmla="*/ 229196 w 461368"/>
                <a:gd name="connsiteY37" fmla="*/ 483691 h 476250"/>
                <a:gd name="connsiteX38" fmla="*/ 232172 w 461368"/>
                <a:gd name="connsiteY38" fmla="*/ 483691 h 476250"/>
                <a:gd name="connsiteX39" fmla="*/ 235149 w 461368"/>
                <a:gd name="connsiteY39" fmla="*/ 483691 h 476250"/>
                <a:gd name="connsiteX40" fmla="*/ 458391 w 461368"/>
                <a:gd name="connsiteY40" fmla="*/ 385465 h 476250"/>
                <a:gd name="connsiteX41" fmla="*/ 458391 w 461368"/>
                <a:gd name="connsiteY41" fmla="*/ 385465 h 476250"/>
                <a:gd name="connsiteX42" fmla="*/ 458391 w 461368"/>
                <a:gd name="connsiteY42" fmla="*/ 385465 h 476250"/>
                <a:gd name="connsiteX43" fmla="*/ 459880 w 461368"/>
                <a:gd name="connsiteY43" fmla="*/ 385465 h 476250"/>
                <a:gd name="connsiteX44" fmla="*/ 461368 w 461368"/>
                <a:gd name="connsiteY44" fmla="*/ 383977 h 476250"/>
                <a:gd name="connsiteX45" fmla="*/ 462856 w 461368"/>
                <a:gd name="connsiteY45" fmla="*/ 382488 h 476250"/>
                <a:gd name="connsiteX46" fmla="*/ 464345 w 461368"/>
                <a:gd name="connsiteY46" fmla="*/ 381000 h 476250"/>
                <a:gd name="connsiteX47" fmla="*/ 464345 w 461368"/>
                <a:gd name="connsiteY47" fmla="*/ 379512 h 476250"/>
                <a:gd name="connsiteX48" fmla="*/ 464345 w 461368"/>
                <a:gd name="connsiteY48" fmla="*/ 378023 h 476250"/>
                <a:gd name="connsiteX49" fmla="*/ 464345 w 461368"/>
                <a:gd name="connsiteY49" fmla="*/ 144363 h 476250"/>
                <a:gd name="connsiteX50" fmla="*/ 459880 w 461368"/>
                <a:gd name="connsiteY50" fmla="*/ 139898 h 476250"/>
                <a:gd name="connsiteX51" fmla="*/ 14883 w 461368"/>
                <a:gd name="connsiteY51" fmla="*/ 154781 h 476250"/>
                <a:gd name="connsiteX52" fmla="*/ 223243 w 461368"/>
                <a:gd name="connsiteY52" fmla="*/ 244078 h 476250"/>
                <a:gd name="connsiteX53" fmla="*/ 223243 w 461368"/>
                <a:gd name="connsiteY53" fmla="*/ 464344 h 476250"/>
                <a:gd name="connsiteX54" fmla="*/ 14883 w 461368"/>
                <a:gd name="connsiteY54" fmla="*/ 372070 h 476250"/>
                <a:gd name="connsiteX55" fmla="*/ 14883 w 461368"/>
                <a:gd name="connsiteY55" fmla="*/ 154781 h 476250"/>
                <a:gd name="connsiteX56" fmla="*/ 238125 w 461368"/>
                <a:gd name="connsiteY56" fmla="*/ 244078 h 476250"/>
                <a:gd name="connsiteX57" fmla="*/ 446485 w 461368"/>
                <a:gd name="connsiteY57" fmla="*/ 154781 h 476250"/>
                <a:gd name="connsiteX58" fmla="*/ 446485 w 461368"/>
                <a:gd name="connsiteY58" fmla="*/ 372070 h 476250"/>
                <a:gd name="connsiteX59" fmla="*/ 238125 w 461368"/>
                <a:gd name="connsiteY59" fmla="*/ 464344 h 476250"/>
                <a:gd name="connsiteX60" fmla="*/ 238125 w 461368"/>
                <a:gd name="connsiteY60" fmla="*/ 244078 h 476250"/>
                <a:gd name="connsiteX61" fmla="*/ 385466 w 461368"/>
                <a:gd name="connsiteY61" fmla="*/ 125016 h 476250"/>
                <a:gd name="connsiteX62" fmla="*/ 351235 w 461368"/>
                <a:gd name="connsiteY62" fmla="*/ 142875 h 476250"/>
                <a:gd name="connsiteX63" fmla="*/ 315516 w 461368"/>
                <a:gd name="connsiteY63" fmla="*/ 125016 h 476250"/>
                <a:gd name="connsiteX64" fmla="*/ 315516 w 461368"/>
                <a:gd name="connsiteY64" fmla="*/ 117574 h 476250"/>
                <a:gd name="connsiteX65" fmla="*/ 349747 w 461368"/>
                <a:gd name="connsiteY65" fmla="*/ 126504 h 476250"/>
                <a:gd name="connsiteX66" fmla="*/ 383977 w 461368"/>
                <a:gd name="connsiteY66" fmla="*/ 117574 h 476250"/>
                <a:gd name="connsiteX67" fmla="*/ 385466 w 461368"/>
                <a:gd name="connsiteY67" fmla="*/ 125016 h 476250"/>
                <a:gd name="connsiteX68" fmla="*/ 385466 w 461368"/>
                <a:gd name="connsiteY68" fmla="*/ 92273 h 476250"/>
                <a:gd name="connsiteX69" fmla="*/ 351235 w 461368"/>
                <a:gd name="connsiteY69" fmla="*/ 110133 h 476250"/>
                <a:gd name="connsiteX70" fmla="*/ 317004 w 461368"/>
                <a:gd name="connsiteY70" fmla="*/ 92273 h 476250"/>
                <a:gd name="connsiteX71" fmla="*/ 317004 w 461368"/>
                <a:gd name="connsiteY71" fmla="*/ 92273 h 476250"/>
                <a:gd name="connsiteX72" fmla="*/ 351235 w 461368"/>
                <a:gd name="connsiteY72" fmla="*/ 74414 h 476250"/>
                <a:gd name="connsiteX73" fmla="*/ 385466 w 461368"/>
                <a:gd name="connsiteY73" fmla="*/ 92273 h 476250"/>
                <a:gd name="connsiteX74" fmla="*/ 267891 w 461368"/>
                <a:gd name="connsiteY74" fmla="*/ 65484 h 476250"/>
                <a:gd name="connsiteX75" fmla="*/ 233661 w 461368"/>
                <a:gd name="connsiteY75" fmla="*/ 83344 h 476250"/>
                <a:gd name="connsiteX76" fmla="*/ 199430 w 461368"/>
                <a:gd name="connsiteY76" fmla="*/ 65484 h 476250"/>
                <a:gd name="connsiteX77" fmla="*/ 199430 w 461368"/>
                <a:gd name="connsiteY77" fmla="*/ 58043 h 476250"/>
                <a:gd name="connsiteX78" fmla="*/ 233661 w 461368"/>
                <a:gd name="connsiteY78" fmla="*/ 66973 h 476250"/>
                <a:gd name="connsiteX79" fmla="*/ 267891 w 461368"/>
                <a:gd name="connsiteY79" fmla="*/ 58043 h 476250"/>
                <a:gd name="connsiteX80" fmla="*/ 267891 w 461368"/>
                <a:gd name="connsiteY80" fmla="*/ 62508 h 476250"/>
                <a:gd name="connsiteX81" fmla="*/ 267891 w 461368"/>
                <a:gd name="connsiteY81" fmla="*/ 62508 h 476250"/>
                <a:gd name="connsiteX82" fmla="*/ 267891 w 461368"/>
                <a:gd name="connsiteY82" fmla="*/ 65484 h 476250"/>
                <a:gd name="connsiteX83" fmla="*/ 233661 w 461368"/>
                <a:gd name="connsiteY83" fmla="*/ 14883 h 476250"/>
                <a:gd name="connsiteX84" fmla="*/ 267891 w 461368"/>
                <a:gd name="connsiteY84" fmla="*/ 32742 h 476250"/>
                <a:gd name="connsiteX85" fmla="*/ 233661 w 461368"/>
                <a:gd name="connsiteY85" fmla="*/ 50602 h 476250"/>
                <a:gd name="connsiteX86" fmla="*/ 199430 w 461368"/>
                <a:gd name="connsiteY86" fmla="*/ 32742 h 476250"/>
                <a:gd name="connsiteX87" fmla="*/ 199430 w 461368"/>
                <a:gd name="connsiteY87" fmla="*/ 32742 h 476250"/>
                <a:gd name="connsiteX88" fmla="*/ 233661 w 461368"/>
                <a:gd name="connsiteY88" fmla="*/ 14883 h 476250"/>
                <a:gd name="connsiteX89" fmla="*/ 151805 w 461368"/>
                <a:gd name="connsiteY89" fmla="*/ 127992 h 476250"/>
                <a:gd name="connsiteX90" fmla="*/ 117574 w 461368"/>
                <a:gd name="connsiteY90" fmla="*/ 145852 h 476250"/>
                <a:gd name="connsiteX91" fmla="*/ 81856 w 461368"/>
                <a:gd name="connsiteY91" fmla="*/ 127992 h 476250"/>
                <a:gd name="connsiteX92" fmla="*/ 81856 w 461368"/>
                <a:gd name="connsiteY92" fmla="*/ 120551 h 476250"/>
                <a:gd name="connsiteX93" fmla="*/ 116086 w 461368"/>
                <a:gd name="connsiteY93" fmla="*/ 129480 h 476250"/>
                <a:gd name="connsiteX94" fmla="*/ 150317 w 461368"/>
                <a:gd name="connsiteY94" fmla="*/ 120551 h 476250"/>
                <a:gd name="connsiteX95" fmla="*/ 151805 w 461368"/>
                <a:gd name="connsiteY95" fmla="*/ 127992 h 476250"/>
                <a:gd name="connsiteX96" fmla="*/ 117574 w 461368"/>
                <a:gd name="connsiteY96" fmla="*/ 78879 h 476250"/>
                <a:gd name="connsiteX97" fmla="*/ 151805 w 461368"/>
                <a:gd name="connsiteY97" fmla="*/ 96738 h 476250"/>
                <a:gd name="connsiteX98" fmla="*/ 117574 w 461368"/>
                <a:gd name="connsiteY98" fmla="*/ 114598 h 476250"/>
                <a:gd name="connsiteX99" fmla="*/ 81856 w 461368"/>
                <a:gd name="connsiteY99" fmla="*/ 96738 h 476250"/>
                <a:gd name="connsiteX100" fmla="*/ 81856 w 461368"/>
                <a:gd name="connsiteY100" fmla="*/ 96738 h 476250"/>
                <a:gd name="connsiteX101" fmla="*/ 117574 w 461368"/>
                <a:gd name="connsiteY101" fmla="*/ 78879 h 476250"/>
                <a:gd name="connsiteX102" fmla="*/ 66973 w 461368"/>
                <a:gd name="connsiteY102" fmla="*/ 123527 h 476250"/>
                <a:gd name="connsiteX103" fmla="*/ 66973 w 461368"/>
                <a:gd name="connsiteY103" fmla="*/ 127992 h 476250"/>
                <a:gd name="connsiteX104" fmla="*/ 116086 w 461368"/>
                <a:gd name="connsiteY104" fmla="*/ 160734 h 476250"/>
                <a:gd name="connsiteX105" fmla="*/ 165200 w 461368"/>
                <a:gd name="connsiteY105" fmla="*/ 127992 h 476250"/>
                <a:gd name="connsiteX106" fmla="*/ 165200 w 461368"/>
                <a:gd name="connsiteY106" fmla="*/ 96738 h 476250"/>
                <a:gd name="connsiteX107" fmla="*/ 165200 w 461368"/>
                <a:gd name="connsiteY107" fmla="*/ 96738 h 476250"/>
                <a:gd name="connsiteX108" fmla="*/ 159246 w 461368"/>
                <a:gd name="connsiteY108" fmla="*/ 80367 h 476250"/>
                <a:gd name="connsiteX109" fmla="*/ 183059 w 461368"/>
                <a:gd name="connsiteY109" fmla="*/ 69949 h 476250"/>
                <a:gd name="connsiteX110" fmla="*/ 232172 w 461368"/>
                <a:gd name="connsiteY110" fmla="*/ 98227 h 476250"/>
                <a:gd name="connsiteX111" fmla="*/ 281286 w 461368"/>
                <a:gd name="connsiteY111" fmla="*/ 72926 h 476250"/>
                <a:gd name="connsiteX112" fmla="*/ 302122 w 461368"/>
                <a:gd name="connsiteY112" fmla="*/ 83344 h 476250"/>
                <a:gd name="connsiteX113" fmla="*/ 299145 w 461368"/>
                <a:gd name="connsiteY113" fmla="*/ 93762 h 476250"/>
                <a:gd name="connsiteX114" fmla="*/ 299145 w 461368"/>
                <a:gd name="connsiteY114" fmla="*/ 93762 h 476250"/>
                <a:gd name="connsiteX115" fmla="*/ 299145 w 461368"/>
                <a:gd name="connsiteY115" fmla="*/ 93762 h 476250"/>
                <a:gd name="connsiteX116" fmla="*/ 299145 w 461368"/>
                <a:gd name="connsiteY116" fmla="*/ 125016 h 476250"/>
                <a:gd name="connsiteX117" fmla="*/ 348258 w 461368"/>
                <a:gd name="connsiteY117" fmla="*/ 157758 h 476250"/>
                <a:gd name="connsiteX118" fmla="*/ 397372 w 461368"/>
                <a:gd name="connsiteY118" fmla="*/ 126504 h 476250"/>
                <a:gd name="connsiteX119" fmla="*/ 433091 w 461368"/>
                <a:gd name="connsiteY119" fmla="*/ 142875 h 476250"/>
                <a:gd name="connsiteX120" fmla="*/ 227707 w 461368"/>
                <a:gd name="connsiteY120" fmla="*/ 230684 h 476250"/>
                <a:gd name="connsiteX121" fmla="*/ 25301 w 461368"/>
                <a:gd name="connsiteY121" fmla="*/ 142875 h 476250"/>
                <a:gd name="connsiteX122" fmla="*/ 66973 w 461368"/>
                <a:gd name="connsiteY122" fmla="*/ 123527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61368" h="476250">
                  <a:moveTo>
                    <a:pt x="459880" y="139898"/>
                  </a:moveTo>
                  <a:cubicBezTo>
                    <a:pt x="459880" y="139898"/>
                    <a:pt x="459880" y="139898"/>
                    <a:pt x="459880" y="139898"/>
                  </a:cubicBezTo>
                  <a:cubicBezTo>
                    <a:pt x="458391" y="138410"/>
                    <a:pt x="458391" y="136922"/>
                    <a:pt x="456903" y="136922"/>
                  </a:cubicBezTo>
                  <a:cubicBezTo>
                    <a:pt x="456903" y="136922"/>
                    <a:pt x="456903" y="136922"/>
                    <a:pt x="456903" y="136922"/>
                  </a:cubicBezTo>
                  <a:lnTo>
                    <a:pt x="400348" y="110133"/>
                  </a:lnTo>
                  <a:lnTo>
                    <a:pt x="400348" y="92273"/>
                  </a:lnTo>
                  <a:cubicBezTo>
                    <a:pt x="400348" y="92273"/>
                    <a:pt x="400348" y="92273"/>
                    <a:pt x="400348" y="92273"/>
                  </a:cubicBezTo>
                  <a:cubicBezTo>
                    <a:pt x="400348" y="74414"/>
                    <a:pt x="378024" y="59531"/>
                    <a:pt x="349747" y="59531"/>
                  </a:cubicBezTo>
                  <a:cubicBezTo>
                    <a:pt x="334864" y="59531"/>
                    <a:pt x="321469" y="63996"/>
                    <a:pt x="312540" y="69949"/>
                  </a:cubicBezTo>
                  <a:lnTo>
                    <a:pt x="282774" y="56555"/>
                  </a:lnTo>
                  <a:lnTo>
                    <a:pt x="282774" y="32742"/>
                  </a:lnTo>
                  <a:cubicBezTo>
                    <a:pt x="282774" y="32742"/>
                    <a:pt x="282774" y="32742"/>
                    <a:pt x="282774" y="32742"/>
                  </a:cubicBezTo>
                  <a:cubicBezTo>
                    <a:pt x="282774" y="14883"/>
                    <a:pt x="261938" y="0"/>
                    <a:pt x="233661" y="0"/>
                  </a:cubicBezTo>
                  <a:cubicBezTo>
                    <a:pt x="205383" y="0"/>
                    <a:pt x="184547" y="14883"/>
                    <a:pt x="184547" y="32742"/>
                  </a:cubicBezTo>
                  <a:cubicBezTo>
                    <a:pt x="184547" y="32742"/>
                    <a:pt x="184547" y="32742"/>
                    <a:pt x="184547" y="32742"/>
                  </a:cubicBezTo>
                  <a:lnTo>
                    <a:pt x="184547" y="32742"/>
                  </a:lnTo>
                  <a:lnTo>
                    <a:pt x="184547" y="53578"/>
                  </a:lnTo>
                  <a:lnTo>
                    <a:pt x="147340" y="69949"/>
                  </a:lnTo>
                  <a:cubicBezTo>
                    <a:pt x="138410" y="65484"/>
                    <a:pt x="127992" y="62508"/>
                    <a:pt x="117574" y="62508"/>
                  </a:cubicBezTo>
                  <a:cubicBezTo>
                    <a:pt x="89297" y="62508"/>
                    <a:pt x="68461" y="77391"/>
                    <a:pt x="68461" y="95250"/>
                  </a:cubicBezTo>
                  <a:lnTo>
                    <a:pt x="68461" y="95250"/>
                  </a:lnTo>
                  <a:lnTo>
                    <a:pt x="68461" y="95250"/>
                  </a:lnTo>
                  <a:lnTo>
                    <a:pt x="68461" y="105668"/>
                  </a:lnTo>
                  <a:lnTo>
                    <a:pt x="5953" y="135434"/>
                  </a:lnTo>
                  <a:cubicBezTo>
                    <a:pt x="5953" y="135434"/>
                    <a:pt x="5953" y="135434"/>
                    <a:pt x="5953" y="135434"/>
                  </a:cubicBezTo>
                  <a:cubicBezTo>
                    <a:pt x="4465" y="135434"/>
                    <a:pt x="4465" y="136922"/>
                    <a:pt x="2977" y="136922"/>
                  </a:cubicBezTo>
                  <a:cubicBezTo>
                    <a:pt x="2977" y="136922"/>
                    <a:pt x="2977" y="136922"/>
                    <a:pt x="2977" y="138410"/>
                  </a:cubicBezTo>
                  <a:cubicBezTo>
                    <a:pt x="0" y="141387"/>
                    <a:pt x="0" y="142875"/>
                    <a:pt x="0" y="144363"/>
                  </a:cubicBezTo>
                  <a:lnTo>
                    <a:pt x="0" y="378023"/>
                  </a:lnTo>
                  <a:cubicBezTo>
                    <a:pt x="0" y="378023"/>
                    <a:pt x="0" y="378023"/>
                    <a:pt x="0" y="379512"/>
                  </a:cubicBezTo>
                  <a:cubicBezTo>
                    <a:pt x="0" y="379512"/>
                    <a:pt x="0" y="381000"/>
                    <a:pt x="0" y="381000"/>
                  </a:cubicBezTo>
                  <a:cubicBezTo>
                    <a:pt x="0" y="381000"/>
                    <a:pt x="0" y="382488"/>
                    <a:pt x="1488" y="382488"/>
                  </a:cubicBezTo>
                  <a:cubicBezTo>
                    <a:pt x="1488" y="382488"/>
                    <a:pt x="1488" y="383977"/>
                    <a:pt x="2977" y="383977"/>
                  </a:cubicBezTo>
                  <a:cubicBezTo>
                    <a:pt x="2977" y="383977"/>
                    <a:pt x="4465" y="385465"/>
                    <a:pt x="4465" y="385465"/>
                  </a:cubicBezTo>
                  <a:cubicBezTo>
                    <a:pt x="4465" y="385465"/>
                    <a:pt x="4465" y="385465"/>
                    <a:pt x="5953" y="385465"/>
                  </a:cubicBezTo>
                  <a:lnTo>
                    <a:pt x="5953" y="385465"/>
                  </a:lnTo>
                  <a:cubicBezTo>
                    <a:pt x="5953" y="385465"/>
                    <a:pt x="5953" y="385465"/>
                    <a:pt x="5953" y="385465"/>
                  </a:cubicBezTo>
                  <a:lnTo>
                    <a:pt x="229196" y="483691"/>
                  </a:lnTo>
                  <a:cubicBezTo>
                    <a:pt x="230684" y="483691"/>
                    <a:pt x="230684" y="483691"/>
                    <a:pt x="232172" y="483691"/>
                  </a:cubicBezTo>
                  <a:cubicBezTo>
                    <a:pt x="233661" y="483691"/>
                    <a:pt x="233661" y="483691"/>
                    <a:pt x="235149" y="483691"/>
                  </a:cubicBezTo>
                  <a:lnTo>
                    <a:pt x="458391" y="385465"/>
                  </a:lnTo>
                  <a:cubicBezTo>
                    <a:pt x="458391" y="385465"/>
                    <a:pt x="458391" y="385465"/>
                    <a:pt x="458391" y="385465"/>
                  </a:cubicBezTo>
                  <a:lnTo>
                    <a:pt x="458391" y="385465"/>
                  </a:lnTo>
                  <a:cubicBezTo>
                    <a:pt x="458391" y="385465"/>
                    <a:pt x="458391" y="385465"/>
                    <a:pt x="459880" y="385465"/>
                  </a:cubicBezTo>
                  <a:cubicBezTo>
                    <a:pt x="459880" y="385465"/>
                    <a:pt x="461368" y="385465"/>
                    <a:pt x="461368" y="383977"/>
                  </a:cubicBezTo>
                  <a:cubicBezTo>
                    <a:pt x="461368" y="383977"/>
                    <a:pt x="461368" y="382488"/>
                    <a:pt x="462856" y="382488"/>
                  </a:cubicBezTo>
                  <a:cubicBezTo>
                    <a:pt x="462856" y="382488"/>
                    <a:pt x="462856" y="381000"/>
                    <a:pt x="464345" y="381000"/>
                  </a:cubicBezTo>
                  <a:cubicBezTo>
                    <a:pt x="464345" y="381000"/>
                    <a:pt x="464345" y="379512"/>
                    <a:pt x="464345" y="379512"/>
                  </a:cubicBezTo>
                  <a:cubicBezTo>
                    <a:pt x="464345" y="379512"/>
                    <a:pt x="464345" y="379512"/>
                    <a:pt x="464345" y="378023"/>
                  </a:cubicBezTo>
                  <a:lnTo>
                    <a:pt x="464345" y="144363"/>
                  </a:lnTo>
                  <a:cubicBezTo>
                    <a:pt x="461368" y="142875"/>
                    <a:pt x="461368" y="141387"/>
                    <a:pt x="459880" y="139898"/>
                  </a:cubicBezTo>
                  <a:close/>
                  <a:moveTo>
                    <a:pt x="14883" y="154781"/>
                  </a:moveTo>
                  <a:lnTo>
                    <a:pt x="223243" y="244078"/>
                  </a:lnTo>
                  <a:lnTo>
                    <a:pt x="223243" y="464344"/>
                  </a:lnTo>
                  <a:lnTo>
                    <a:pt x="14883" y="372070"/>
                  </a:lnTo>
                  <a:lnTo>
                    <a:pt x="14883" y="154781"/>
                  </a:lnTo>
                  <a:close/>
                  <a:moveTo>
                    <a:pt x="238125" y="244078"/>
                  </a:moveTo>
                  <a:lnTo>
                    <a:pt x="446485" y="154781"/>
                  </a:lnTo>
                  <a:lnTo>
                    <a:pt x="446485" y="372070"/>
                  </a:lnTo>
                  <a:lnTo>
                    <a:pt x="238125" y="464344"/>
                  </a:lnTo>
                  <a:lnTo>
                    <a:pt x="238125" y="244078"/>
                  </a:lnTo>
                  <a:close/>
                  <a:moveTo>
                    <a:pt x="385466" y="125016"/>
                  </a:moveTo>
                  <a:cubicBezTo>
                    <a:pt x="385466" y="133945"/>
                    <a:pt x="370583" y="142875"/>
                    <a:pt x="351235" y="142875"/>
                  </a:cubicBezTo>
                  <a:cubicBezTo>
                    <a:pt x="331887" y="142875"/>
                    <a:pt x="315516" y="133945"/>
                    <a:pt x="315516" y="125016"/>
                  </a:cubicBezTo>
                  <a:lnTo>
                    <a:pt x="315516" y="117574"/>
                  </a:lnTo>
                  <a:cubicBezTo>
                    <a:pt x="324446" y="123527"/>
                    <a:pt x="336352" y="126504"/>
                    <a:pt x="349747" y="126504"/>
                  </a:cubicBezTo>
                  <a:cubicBezTo>
                    <a:pt x="363141" y="126504"/>
                    <a:pt x="375048" y="123527"/>
                    <a:pt x="383977" y="117574"/>
                  </a:cubicBezTo>
                  <a:lnTo>
                    <a:pt x="385466" y="125016"/>
                  </a:lnTo>
                  <a:close/>
                  <a:moveTo>
                    <a:pt x="385466" y="92273"/>
                  </a:moveTo>
                  <a:cubicBezTo>
                    <a:pt x="385466" y="101203"/>
                    <a:pt x="370583" y="110133"/>
                    <a:pt x="351235" y="110133"/>
                  </a:cubicBezTo>
                  <a:cubicBezTo>
                    <a:pt x="331887" y="110133"/>
                    <a:pt x="317004" y="101203"/>
                    <a:pt x="317004" y="92273"/>
                  </a:cubicBezTo>
                  <a:lnTo>
                    <a:pt x="317004" y="92273"/>
                  </a:lnTo>
                  <a:cubicBezTo>
                    <a:pt x="317004" y="83344"/>
                    <a:pt x="331887" y="74414"/>
                    <a:pt x="351235" y="74414"/>
                  </a:cubicBezTo>
                  <a:cubicBezTo>
                    <a:pt x="370583" y="74414"/>
                    <a:pt x="385466" y="84832"/>
                    <a:pt x="385466" y="92273"/>
                  </a:cubicBezTo>
                  <a:close/>
                  <a:moveTo>
                    <a:pt x="267891" y="65484"/>
                  </a:moveTo>
                  <a:cubicBezTo>
                    <a:pt x="267891" y="74414"/>
                    <a:pt x="253008" y="83344"/>
                    <a:pt x="233661" y="83344"/>
                  </a:cubicBezTo>
                  <a:cubicBezTo>
                    <a:pt x="214313" y="83344"/>
                    <a:pt x="199430" y="74414"/>
                    <a:pt x="199430" y="65484"/>
                  </a:cubicBezTo>
                  <a:lnTo>
                    <a:pt x="199430" y="58043"/>
                  </a:lnTo>
                  <a:cubicBezTo>
                    <a:pt x="208360" y="63996"/>
                    <a:pt x="220266" y="66973"/>
                    <a:pt x="233661" y="66973"/>
                  </a:cubicBezTo>
                  <a:cubicBezTo>
                    <a:pt x="247055" y="66973"/>
                    <a:pt x="258961" y="63996"/>
                    <a:pt x="267891" y="58043"/>
                  </a:cubicBezTo>
                  <a:lnTo>
                    <a:pt x="267891" y="62508"/>
                  </a:lnTo>
                  <a:cubicBezTo>
                    <a:pt x="267891" y="62508"/>
                    <a:pt x="267891" y="62508"/>
                    <a:pt x="267891" y="62508"/>
                  </a:cubicBezTo>
                  <a:lnTo>
                    <a:pt x="267891" y="65484"/>
                  </a:lnTo>
                  <a:close/>
                  <a:moveTo>
                    <a:pt x="233661" y="14883"/>
                  </a:moveTo>
                  <a:cubicBezTo>
                    <a:pt x="254497" y="14883"/>
                    <a:pt x="267891" y="23813"/>
                    <a:pt x="267891" y="32742"/>
                  </a:cubicBezTo>
                  <a:cubicBezTo>
                    <a:pt x="267891" y="41672"/>
                    <a:pt x="253008" y="50602"/>
                    <a:pt x="233661" y="50602"/>
                  </a:cubicBezTo>
                  <a:cubicBezTo>
                    <a:pt x="214313" y="50602"/>
                    <a:pt x="199430" y="41672"/>
                    <a:pt x="199430" y="32742"/>
                  </a:cubicBezTo>
                  <a:lnTo>
                    <a:pt x="199430" y="32742"/>
                  </a:lnTo>
                  <a:cubicBezTo>
                    <a:pt x="197942" y="23813"/>
                    <a:pt x="212825" y="14883"/>
                    <a:pt x="233661" y="14883"/>
                  </a:cubicBezTo>
                  <a:close/>
                  <a:moveTo>
                    <a:pt x="151805" y="127992"/>
                  </a:moveTo>
                  <a:cubicBezTo>
                    <a:pt x="151805" y="136922"/>
                    <a:pt x="136922" y="145852"/>
                    <a:pt x="117574" y="145852"/>
                  </a:cubicBezTo>
                  <a:cubicBezTo>
                    <a:pt x="98227" y="145852"/>
                    <a:pt x="81856" y="136922"/>
                    <a:pt x="81856" y="127992"/>
                  </a:cubicBezTo>
                  <a:lnTo>
                    <a:pt x="81856" y="120551"/>
                  </a:lnTo>
                  <a:cubicBezTo>
                    <a:pt x="90785" y="126504"/>
                    <a:pt x="102692" y="129480"/>
                    <a:pt x="116086" y="129480"/>
                  </a:cubicBezTo>
                  <a:cubicBezTo>
                    <a:pt x="129481" y="129480"/>
                    <a:pt x="141387" y="126504"/>
                    <a:pt x="150317" y="120551"/>
                  </a:cubicBezTo>
                  <a:lnTo>
                    <a:pt x="151805" y="127992"/>
                  </a:lnTo>
                  <a:close/>
                  <a:moveTo>
                    <a:pt x="117574" y="78879"/>
                  </a:moveTo>
                  <a:cubicBezTo>
                    <a:pt x="138410" y="78879"/>
                    <a:pt x="151805" y="87809"/>
                    <a:pt x="151805" y="96738"/>
                  </a:cubicBezTo>
                  <a:cubicBezTo>
                    <a:pt x="151805" y="105668"/>
                    <a:pt x="136922" y="114598"/>
                    <a:pt x="117574" y="114598"/>
                  </a:cubicBezTo>
                  <a:cubicBezTo>
                    <a:pt x="98227" y="114598"/>
                    <a:pt x="81856" y="105668"/>
                    <a:pt x="81856" y="96738"/>
                  </a:cubicBezTo>
                  <a:lnTo>
                    <a:pt x="81856" y="96738"/>
                  </a:lnTo>
                  <a:cubicBezTo>
                    <a:pt x="81856" y="87809"/>
                    <a:pt x="96738" y="78879"/>
                    <a:pt x="117574" y="78879"/>
                  </a:cubicBezTo>
                  <a:close/>
                  <a:moveTo>
                    <a:pt x="66973" y="123527"/>
                  </a:moveTo>
                  <a:lnTo>
                    <a:pt x="66973" y="127992"/>
                  </a:lnTo>
                  <a:cubicBezTo>
                    <a:pt x="66973" y="145852"/>
                    <a:pt x="89297" y="160734"/>
                    <a:pt x="116086" y="160734"/>
                  </a:cubicBezTo>
                  <a:cubicBezTo>
                    <a:pt x="144364" y="160734"/>
                    <a:pt x="165200" y="145852"/>
                    <a:pt x="165200" y="127992"/>
                  </a:cubicBezTo>
                  <a:lnTo>
                    <a:pt x="165200" y="96738"/>
                  </a:lnTo>
                  <a:cubicBezTo>
                    <a:pt x="165200" y="96738"/>
                    <a:pt x="165200" y="96738"/>
                    <a:pt x="165200" y="96738"/>
                  </a:cubicBezTo>
                  <a:cubicBezTo>
                    <a:pt x="165200" y="90785"/>
                    <a:pt x="162223" y="84832"/>
                    <a:pt x="159246" y="80367"/>
                  </a:cubicBezTo>
                  <a:lnTo>
                    <a:pt x="183059" y="69949"/>
                  </a:lnTo>
                  <a:cubicBezTo>
                    <a:pt x="186035" y="86320"/>
                    <a:pt x="206871" y="98227"/>
                    <a:pt x="232172" y="98227"/>
                  </a:cubicBezTo>
                  <a:cubicBezTo>
                    <a:pt x="255985" y="98227"/>
                    <a:pt x="275333" y="87809"/>
                    <a:pt x="281286" y="72926"/>
                  </a:cubicBezTo>
                  <a:lnTo>
                    <a:pt x="302122" y="83344"/>
                  </a:lnTo>
                  <a:cubicBezTo>
                    <a:pt x="300633" y="86320"/>
                    <a:pt x="299145" y="90785"/>
                    <a:pt x="299145" y="93762"/>
                  </a:cubicBezTo>
                  <a:lnTo>
                    <a:pt x="299145" y="93762"/>
                  </a:lnTo>
                  <a:lnTo>
                    <a:pt x="299145" y="93762"/>
                  </a:lnTo>
                  <a:lnTo>
                    <a:pt x="299145" y="125016"/>
                  </a:lnTo>
                  <a:cubicBezTo>
                    <a:pt x="299145" y="142875"/>
                    <a:pt x="321469" y="157758"/>
                    <a:pt x="348258" y="157758"/>
                  </a:cubicBezTo>
                  <a:cubicBezTo>
                    <a:pt x="375048" y="157758"/>
                    <a:pt x="395884" y="144363"/>
                    <a:pt x="397372" y="126504"/>
                  </a:cubicBezTo>
                  <a:lnTo>
                    <a:pt x="433091" y="142875"/>
                  </a:lnTo>
                  <a:lnTo>
                    <a:pt x="227707" y="230684"/>
                  </a:lnTo>
                  <a:lnTo>
                    <a:pt x="25301" y="142875"/>
                  </a:lnTo>
                  <a:lnTo>
                    <a:pt x="66973" y="123527"/>
                  </a:lnTo>
                  <a:close/>
                </a:path>
              </a:pathLst>
            </a:custGeom>
            <a:solidFill>
              <a:srgbClr val="101010"/>
            </a:solidFill>
            <a:ln w="14748" cap="flat">
              <a:noFill/>
              <a:prstDash val="solid"/>
              <a:miter/>
            </a:ln>
          </p:spPr>
          <p:txBody>
            <a:bodyPr rtlCol="0" anchor="ctr"/>
            <a:lstStyle/>
            <a:p>
              <a:endParaRPr lang="de-DE"/>
            </a:p>
          </p:txBody>
        </p:sp>
        <p:sp>
          <p:nvSpPr>
            <p:cNvPr id="5236" name="Freeform: Shape 5235">
              <a:extLst>
                <a:ext uri="{FF2B5EF4-FFF2-40B4-BE49-F238E27FC236}">
                  <a16:creationId xmlns:a16="http://schemas.microsoft.com/office/drawing/2014/main" id="{4517E652-0EEF-4EE1-BD0E-320691E678D8}"/>
                </a:ext>
              </a:extLst>
            </p:cNvPr>
            <p:cNvSpPr/>
            <p:nvPr/>
          </p:nvSpPr>
          <p:spPr>
            <a:xfrm>
              <a:off x="6048375" y="3303984"/>
              <a:ext cx="89297" cy="89297"/>
            </a:xfrm>
            <a:custGeom>
              <a:avLst/>
              <a:gdLst>
                <a:gd name="connsiteX0" fmla="*/ 98227 w 89297"/>
                <a:gd name="connsiteY0" fmla="*/ 63996 h 89296"/>
                <a:gd name="connsiteX1" fmla="*/ 98227 w 89297"/>
                <a:gd name="connsiteY1" fmla="*/ 32742 h 89296"/>
                <a:gd name="connsiteX2" fmla="*/ 98227 w 89297"/>
                <a:gd name="connsiteY2" fmla="*/ 32742 h 89296"/>
                <a:gd name="connsiteX3" fmla="*/ 49113 w 89297"/>
                <a:gd name="connsiteY3" fmla="*/ 0 h 89296"/>
                <a:gd name="connsiteX4" fmla="*/ 0 w 89297"/>
                <a:gd name="connsiteY4" fmla="*/ 32742 h 89296"/>
                <a:gd name="connsiteX5" fmla="*/ 0 w 89297"/>
                <a:gd name="connsiteY5" fmla="*/ 32742 h 89296"/>
                <a:gd name="connsiteX6" fmla="*/ 0 w 89297"/>
                <a:gd name="connsiteY6" fmla="*/ 32742 h 89296"/>
                <a:gd name="connsiteX7" fmla="*/ 0 w 89297"/>
                <a:gd name="connsiteY7" fmla="*/ 63996 h 89296"/>
                <a:gd name="connsiteX8" fmla="*/ 49113 w 89297"/>
                <a:gd name="connsiteY8" fmla="*/ 96738 h 89296"/>
                <a:gd name="connsiteX9" fmla="*/ 98227 w 89297"/>
                <a:gd name="connsiteY9" fmla="*/ 63996 h 89296"/>
                <a:gd name="connsiteX10" fmla="*/ 47625 w 89297"/>
                <a:gd name="connsiteY10" fmla="*/ 13395 h 89296"/>
                <a:gd name="connsiteX11" fmla="*/ 81856 w 89297"/>
                <a:gd name="connsiteY11" fmla="*/ 31254 h 89296"/>
                <a:gd name="connsiteX12" fmla="*/ 47625 w 89297"/>
                <a:gd name="connsiteY12" fmla="*/ 49113 h 89296"/>
                <a:gd name="connsiteX13" fmla="*/ 13395 w 89297"/>
                <a:gd name="connsiteY13" fmla="*/ 31254 h 89296"/>
                <a:gd name="connsiteX14" fmla="*/ 13395 w 89297"/>
                <a:gd name="connsiteY14" fmla="*/ 31254 h 89296"/>
                <a:gd name="connsiteX15" fmla="*/ 47625 w 89297"/>
                <a:gd name="connsiteY15" fmla="*/ 13395 h 89296"/>
                <a:gd name="connsiteX16" fmla="*/ 13395 w 89297"/>
                <a:gd name="connsiteY16" fmla="*/ 63996 h 89296"/>
                <a:gd name="connsiteX17" fmla="*/ 13395 w 89297"/>
                <a:gd name="connsiteY17" fmla="*/ 56555 h 89296"/>
                <a:gd name="connsiteX18" fmla="*/ 47625 w 89297"/>
                <a:gd name="connsiteY18" fmla="*/ 65484 h 89296"/>
                <a:gd name="connsiteX19" fmla="*/ 81856 w 89297"/>
                <a:gd name="connsiteY19" fmla="*/ 56555 h 89296"/>
                <a:gd name="connsiteX20" fmla="*/ 81856 w 89297"/>
                <a:gd name="connsiteY20" fmla="*/ 63996 h 89296"/>
                <a:gd name="connsiteX21" fmla="*/ 47625 w 89297"/>
                <a:gd name="connsiteY21" fmla="*/ 81855 h 89296"/>
                <a:gd name="connsiteX22" fmla="*/ 13395 w 89297"/>
                <a:gd name="connsiteY22" fmla="*/ 63996 h 8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297" h="89296">
                  <a:moveTo>
                    <a:pt x="98227" y="63996"/>
                  </a:moveTo>
                  <a:lnTo>
                    <a:pt x="98227" y="32742"/>
                  </a:lnTo>
                  <a:cubicBezTo>
                    <a:pt x="98227" y="32742"/>
                    <a:pt x="98227" y="32742"/>
                    <a:pt x="98227" y="32742"/>
                  </a:cubicBezTo>
                  <a:cubicBezTo>
                    <a:pt x="98227" y="14883"/>
                    <a:pt x="75902" y="0"/>
                    <a:pt x="49113" y="0"/>
                  </a:cubicBezTo>
                  <a:cubicBezTo>
                    <a:pt x="20836" y="0"/>
                    <a:pt x="0" y="14883"/>
                    <a:pt x="0" y="32742"/>
                  </a:cubicBezTo>
                  <a:cubicBezTo>
                    <a:pt x="0" y="32742"/>
                    <a:pt x="0" y="32742"/>
                    <a:pt x="0" y="32742"/>
                  </a:cubicBezTo>
                  <a:lnTo>
                    <a:pt x="0" y="32742"/>
                  </a:lnTo>
                  <a:lnTo>
                    <a:pt x="0" y="63996"/>
                  </a:lnTo>
                  <a:cubicBezTo>
                    <a:pt x="0" y="81855"/>
                    <a:pt x="22324" y="96738"/>
                    <a:pt x="49113" y="96738"/>
                  </a:cubicBezTo>
                  <a:cubicBezTo>
                    <a:pt x="75902" y="96738"/>
                    <a:pt x="98227" y="81855"/>
                    <a:pt x="98227" y="63996"/>
                  </a:cubicBezTo>
                  <a:close/>
                  <a:moveTo>
                    <a:pt x="47625" y="13395"/>
                  </a:moveTo>
                  <a:cubicBezTo>
                    <a:pt x="68461" y="13395"/>
                    <a:pt x="81856" y="22324"/>
                    <a:pt x="81856" y="31254"/>
                  </a:cubicBezTo>
                  <a:cubicBezTo>
                    <a:pt x="81856" y="40184"/>
                    <a:pt x="66973" y="49113"/>
                    <a:pt x="47625" y="49113"/>
                  </a:cubicBezTo>
                  <a:cubicBezTo>
                    <a:pt x="28277" y="49113"/>
                    <a:pt x="13395" y="40184"/>
                    <a:pt x="13395" y="31254"/>
                  </a:cubicBezTo>
                  <a:lnTo>
                    <a:pt x="13395" y="31254"/>
                  </a:lnTo>
                  <a:cubicBezTo>
                    <a:pt x="13395" y="22324"/>
                    <a:pt x="26789" y="13395"/>
                    <a:pt x="47625" y="13395"/>
                  </a:cubicBezTo>
                  <a:close/>
                  <a:moveTo>
                    <a:pt x="13395" y="63996"/>
                  </a:moveTo>
                  <a:lnTo>
                    <a:pt x="13395" y="56555"/>
                  </a:lnTo>
                  <a:cubicBezTo>
                    <a:pt x="22324" y="62508"/>
                    <a:pt x="34231" y="65484"/>
                    <a:pt x="47625" y="65484"/>
                  </a:cubicBezTo>
                  <a:cubicBezTo>
                    <a:pt x="61020" y="65484"/>
                    <a:pt x="72926" y="62508"/>
                    <a:pt x="81856" y="56555"/>
                  </a:cubicBezTo>
                  <a:lnTo>
                    <a:pt x="81856" y="63996"/>
                  </a:lnTo>
                  <a:cubicBezTo>
                    <a:pt x="81856" y="72926"/>
                    <a:pt x="66973" y="81855"/>
                    <a:pt x="47625" y="81855"/>
                  </a:cubicBezTo>
                  <a:cubicBezTo>
                    <a:pt x="28277" y="81855"/>
                    <a:pt x="13395" y="71437"/>
                    <a:pt x="13395" y="63996"/>
                  </a:cubicBezTo>
                  <a:close/>
                </a:path>
              </a:pathLst>
            </a:custGeom>
            <a:solidFill>
              <a:srgbClr val="101010"/>
            </a:solidFill>
            <a:ln w="14748" cap="flat">
              <a:noFill/>
              <a:prstDash val="solid"/>
              <a:miter/>
            </a:ln>
          </p:spPr>
          <p:txBody>
            <a:bodyPr rtlCol="0" anchor="ctr"/>
            <a:lstStyle/>
            <a:p>
              <a:endParaRPr lang="de-DE"/>
            </a:p>
          </p:txBody>
        </p:sp>
      </p:grpSp>
      <p:sp>
        <p:nvSpPr>
          <p:cNvPr id="5237" name="Graphic 3">
            <a:extLst>
              <a:ext uri="{FF2B5EF4-FFF2-40B4-BE49-F238E27FC236}">
                <a16:creationId xmlns:a16="http://schemas.microsoft.com/office/drawing/2014/main" id="{1A270547-3378-4A08-AD88-C3C916E0528B}"/>
              </a:ext>
              <a:ext uri="{C183D7F6-B498-43B3-948B-1728B52AA6E4}">
                <adec:decorative xmlns:adec="http://schemas.microsoft.com/office/drawing/2017/decorative" val="1"/>
              </a:ext>
            </a:extLst>
          </p:cNvPr>
          <p:cNvSpPr>
            <a:spLocks noChangeAspect="1"/>
          </p:cNvSpPr>
          <p:nvPr/>
        </p:nvSpPr>
        <p:spPr>
          <a:xfrm>
            <a:off x="5433050" y="3814863"/>
            <a:ext cx="118364" cy="119751"/>
          </a:xfrm>
          <a:custGeom>
            <a:avLst/>
            <a:gdLst>
              <a:gd name="connsiteX0" fmla="*/ 441537 w 444500"/>
              <a:gd name="connsiteY0" fmla="*/ 349673 h 444500"/>
              <a:gd name="connsiteX1" fmla="*/ 397087 w 444500"/>
              <a:gd name="connsiteY1" fmla="*/ 308187 h 444500"/>
              <a:gd name="connsiteX2" fmla="*/ 327448 w 444500"/>
              <a:gd name="connsiteY2" fmla="*/ 284480 h 444500"/>
              <a:gd name="connsiteX3" fmla="*/ 343747 w 444500"/>
              <a:gd name="connsiteY3" fmla="*/ 223732 h 444500"/>
              <a:gd name="connsiteX4" fmla="*/ 225213 w 444500"/>
              <a:gd name="connsiteY4" fmla="*/ 105198 h 444500"/>
              <a:gd name="connsiteX5" fmla="*/ 165947 w 444500"/>
              <a:gd name="connsiteY5" fmla="*/ 121497 h 444500"/>
              <a:gd name="connsiteX6" fmla="*/ 168910 w 444500"/>
              <a:gd name="connsiteY6" fmla="*/ 102235 h 444500"/>
              <a:gd name="connsiteX7" fmla="*/ 148167 w 444500"/>
              <a:gd name="connsiteY7" fmla="*/ 54822 h 444500"/>
              <a:gd name="connsiteX8" fmla="*/ 108162 w 444500"/>
              <a:gd name="connsiteY8" fmla="*/ 5927 h 444500"/>
              <a:gd name="connsiteX9" fmla="*/ 97790 w 444500"/>
              <a:gd name="connsiteY9" fmla="*/ 0 h 444500"/>
              <a:gd name="connsiteX10" fmla="*/ 87418 w 444500"/>
              <a:gd name="connsiteY10" fmla="*/ 4445 h 444500"/>
              <a:gd name="connsiteX11" fmla="*/ 4445 w 444500"/>
              <a:gd name="connsiteY11" fmla="*/ 90382 h 444500"/>
              <a:gd name="connsiteX12" fmla="*/ 0 w 444500"/>
              <a:gd name="connsiteY12" fmla="*/ 100753 h 444500"/>
              <a:gd name="connsiteX13" fmla="*/ 5927 w 444500"/>
              <a:gd name="connsiteY13" fmla="*/ 111125 h 444500"/>
              <a:gd name="connsiteX14" fmla="*/ 54822 w 444500"/>
              <a:gd name="connsiteY14" fmla="*/ 148167 h 444500"/>
              <a:gd name="connsiteX15" fmla="*/ 103717 w 444500"/>
              <a:gd name="connsiteY15" fmla="*/ 168910 h 444500"/>
              <a:gd name="connsiteX16" fmla="*/ 103717 w 444500"/>
              <a:gd name="connsiteY16" fmla="*/ 168910 h 444500"/>
              <a:gd name="connsiteX17" fmla="*/ 121497 w 444500"/>
              <a:gd name="connsiteY17" fmla="*/ 165947 h 444500"/>
              <a:gd name="connsiteX18" fmla="*/ 106680 w 444500"/>
              <a:gd name="connsiteY18" fmla="*/ 222250 h 444500"/>
              <a:gd name="connsiteX19" fmla="*/ 117052 w 444500"/>
              <a:gd name="connsiteY19" fmla="*/ 271145 h 444500"/>
              <a:gd name="connsiteX20" fmla="*/ 117052 w 444500"/>
              <a:gd name="connsiteY20" fmla="*/ 272627 h 444500"/>
              <a:gd name="connsiteX21" fmla="*/ 223732 w 444500"/>
              <a:gd name="connsiteY21" fmla="*/ 340783 h 444500"/>
              <a:gd name="connsiteX22" fmla="*/ 277072 w 444500"/>
              <a:gd name="connsiteY22" fmla="*/ 327448 h 444500"/>
              <a:gd name="connsiteX23" fmla="*/ 274108 w 444500"/>
              <a:gd name="connsiteY23" fmla="*/ 340783 h 444500"/>
              <a:gd name="connsiteX24" fmla="*/ 290407 w 444500"/>
              <a:gd name="connsiteY24" fmla="*/ 391160 h 444500"/>
              <a:gd name="connsiteX25" fmla="*/ 324485 w 444500"/>
              <a:gd name="connsiteY25" fmla="*/ 443018 h 444500"/>
              <a:gd name="connsiteX26" fmla="*/ 334857 w 444500"/>
              <a:gd name="connsiteY26" fmla="*/ 448945 h 444500"/>
              <a:gd name="connsiteX27" fmla="*/ 336338 w 444500"/>
              <a:gd name="connsiteY27" fmla="*/ 448945 h 444500"/>
              <a:gd name="connsiteX28" fmla="*/ 345228 w 444500"/>
              <a:gd name="connsiteY28" fmla="*/ 445982 h 444500"/>
              <a:gd name="connsiteX29" fmla="*/ 437092 w 444500"/>
              <a:gd name="connsiteY29" fmla="*/ 370417 h 444500"/>
              <a:gd name="connsiteX30" fmla="*/ 443018 w 444500"/>
              <a:gd name="connsiteY30" fmla="*/ 360045 h 444500"/>
              <a:gd name="connsiteX31" fmla="*/ 441537 w 444500"/>
              <a:gd name="connsiteY31" fmla="*/ 349673 h 444500"/>
              <a:gd name="connsiteX32" fmla="*/ 133350 w 444500"/>
              <a:gd name="connsiteY32" fmla="*/ 268182 h 444500"/>
              <a:gd name="connsiteX33" fmla="*/ 180763 w 444500"/>
              <a:gd name="connsiteY33" fmla="*/ 211878 h 444500"/>
              <a:gd name="connsiteX34" fmla="*/ 272627 w 444500"/>
              <a:gd name="connsiteY34" fmla="*/ 195580 h 444500"/>
              <a:gd name="connsiteX35" fmla="*/ 277072 w 444500"/>
              <a:gd name="connsiteY35" fmla="*/ 195580 h 444500"/>
              <a:gd name="connsiteX36" fmla="*/ 323003 w 444500"/>
              <a:gd name="connsiteY36" fmla="*/ 188172 h 444500"/>
              <a:gd name="connsiteX37" fmla="*/ 325967 w 444500"/>
              <a:gd name="connsiteY37" fmla="*/ 201507 h 444500"/>
              <a:gd name="connsiteX38" fmla="*/ 288925 w 444500"/>
              <a:gd name="connsiteY38" fmla="*/ 207433 h 444500"/>
              <a:gd name="connsiteX39" fmla="*/ 282998 w 444500"/>
              <a:gd name="connsiteY39" fmla="*/ 207433 h 444500"/>
              <a:gd name="connsiteX40" fmla="*/ 185208 w 444500"/>
              <a:gd name="connsiteY40" fmla="*/ 225213 h 444500"/>
              <a:gd name="connsiteX41" fmla="*/ 137795 w 444500"/>
              <a:gd name="connsiteY41" fmla="*/ 280035 h 444500"/>
              <a:gd name="connsiteX42" fmla="*/ 133350 w 444500"/>
              <a:gd name="connsiteY42" fmla="*/ 268182 h 444500"/>
              <a:gd name="connsiteX43" fmla="*/ 318558 w 444500"/>
              <a:gd name="connsiteY43" fmla="*/ 176318 h 444500"/>
              <a:gd name="connsiteX44" fmla="*/ 278553 w 444500"/>
              <a:gd name="connsiteY44" fmla="*/ 182245 h 444500"/>
              <a:gd name="connsiteX45" fmla="*/ 274108 w 444500"/>
              <a:gd name="connsiteY45" fmla="*/ 182245 h 444500"/>
              <a:gd name="connsiteX46" fmla="*/ 174837 w 444500"/>
              <a:gd name="connsiteY46" fmla="*/ 200025 h 444500"/>
              <a:gd name="connsiteX47" fmla="*/ 127423 w 444500"/>
              <a:gd name="connsiteY47" fmla="*/ 248920 h 444500"/>
              <a:gd name="connsiteX48" fmla="*/ 124460 w 444500"/>
              <a:gd name="connsiteY48" fmla="*/ 223732 h 444500"/>
              <a:gd name="connsiteX49" fmla="*/ 228177 w 444500"/>
              <a:gd name="connsiteY49" fmla="*/ 120015 h 444500"/>
              <a:gd name="connsiteX50" fmla="*/ 318558 w 444500"/>
              <a:gd name="connsiteY50" fmla="*/ 176318 h 444500"/>
              <a:gd name="connsiteX51" fmla="*/ 103717 w 444500"/>
              <a:gd name="connsiteY51" fmla="*/ 154093 h 444500"/>
              <a:gd name="connsiteX52" fmla="*/ 63712 w 444500"/>
              <a:gd name="connsiteY52" fmla="*/ 137795 h 444500"/>
              <a:gd name="connsiteX53" fmla="*/ 14817 w 444500"/>
              <a:gd name="connsiteY53" fmla="*/ 100753 h 444500"/>
              <a:gd name="connsiteX54" fmla="*/ 97790 w 444500"/>
              <a:gd name="connsiteY54" fmla="*/ 14817 h 444500"/>
              <a:gd name="connsiteX55" fmla="*/ 137795 w 444500"/>
              <a:gd name="connsiteY55" fmla="*/ 62230 h 444500"/>
              <a:gd name="connsiteX56" fmla="*/ 155575 w 444500"/>
              <a:gd name="connsiteY56" fmla="*/ 100753 h 444500"/>
              <a:gd name="connsiteX57" fmla="*/ 148167 w 444500"/>
              <a:gd name="connsiteY57" fmla="*/ 128905 h 444500"/>
              <a:gd name="connsiteX58" fmla="*/ 121497 w 444500"/>
              <a:gd name="connsiteY58" fmla="*/ 62230 h 444500"/>
              <a:gd name="connsiteX59" fmla="*/ 111125 w 444500"/>
              <a:gd name="connsiteY59" fmla="*/ 59267 h 444500"/>
              <a:gd name="connsiteX60" fmla="*/ 106680 w 444500"/>
              <a:gd name="connsiteY60" fmla="*/ 68157 h 444500"/>
              <a:gd name="connsiteX61" fmla="*/ 133350 w 444500"/>
              <a:gd name="connsiteY61" fmla="*/ 130387 h 444500"/>
              <a:gd name="connsiteX62" fmla="*/ 75565 w 444500"/>
              <a:gd name="connsiteY62" fmla="*/ 105198 h 444500"/>
              <a:gd name="connsiteX63" fmla="*/ 65193 w 444500"/>
              <a:gd name="connsiteY63" fmla="*/ 109643 h 444500"/>
              <a:gd name="connsiteX64" fmla="*/ 69638 w 444500"/>
              <a:gd name="connsiteY64" fmla="*/ 120015 h 444500"/>
              <a:gd name="connsiteX65" fmla="*/ 131868 w 444500"/>
              <a:gd name="connsiteY65" fmla="*/ 146685 h 444500"/>
              <a:gd name="connsiteX66" fmla="*/ 103717 w 444500"/>
              <a:gd name="connsiteY66" fmla="*/ 154093 h 444500"/>
              <a:gd name="connsiteX67" fmla="*/ 151130 w 444500"/>
              <a:gd name="connsiteY67" fmla="*/ 294852 h 444500"/>
              <a:gd name="connsiteX68" fmla="*/ 195580 w 444500"/>
              <a:gd name="connsiteY68" fmla="*/ 238548 h 444500"/>
              <a:gd name="connsiteX69" fmla="*/ 285962 w 444500"/>
              <a:gd name="connsiteY69" fmla="*/ 223732 h 444500"/>
              <a:gd name="connsiteX70" fmla="*/ 291888 w 444500"/>
              <a:gd name="connsiteY70" fmla="*/ 223732 h 444500"/>
              <a:gd name="connsiteX71" fmla="*/ 330412 w 444500"/>
              <a:gd name="connsiteY71" fmla="*/ 219287 h 444500"/>
              <a:gd name="connsiteX72" fmla="*/ 330412 w 444500"/>
              <a:gd name="connsiteY72" fmla="*/ 222250 h 444500"/>
              <a:gd name="connsiteX73" fmla="*/ 226695 w 444500"/>
              <a:gd name="connsiteY73" fmla="*/ 325967 h 444500"/>
              <a:gd name="connsiteX74" fmla="*/ 151130 w 444500"/>
              <a:gd name="connsiteY74" fmla="*/ 294852 h 444500"/>
              <a:gd name="connsiteX75" fmla="*/ 340783 w 444500"/>
              <a:gd name="connsiteY75" fmla="*/ 435610 h 444500"/>
              <a:gd name="connsiteX76" fmla="*/ 340783 w 444500"/>
              <a:gd name="connsiteY76" fmla="*/ 435610 h 444500"/>
              <a:gd name="connsiteX77" fmla="*/ 305223 w 444500"/>
              <a:gd name="connsiteY77" fmla="*/ 383752 h 444500"/>
              <a:gd name="connsiteX78" fmla="*/ 291888 w 444500"/>
              <a:gd name="connsiteY78" fmla="*/ 343747 h 444500"/>
              <a:gd name="connsiteX79" fmla="*/ 302260 w 444500"/>
              <a:gd name="connsiteY79" fmla="*/ 317077 h 444500"/>
              <a:gd name="connsiteX80" fmla="*/ 323003 w 444500"/>
              <a:gd name="connsiteY80" fmla="*/ 385233 h 444500"/>
              <a:gd name="connsiteX81" fmla="*/ 330412 w 444500"/>
              <a:gd name="connsiteY81" fmla="*/ 391160 h 444500"/>
              <a:gd name="connsiteX82" fmla="*/ 331893 w 444500"/>
              <a:gd name="connsiteY82" fmla="*/ 391160 h 444500"/>
              <a:gd name="connsiteX83" fmla="*/ 336338 w 444500"/>
              <a:gd name="connsiteY83" fmla="*/ 382270 h 444500"/>
              <a:gd name="connsiteX84" fmla="*/ 317077 w 444500"/>
              <a:gd name="connsiteY84" fmla="*/ 318558 h 444500"/>
              <a:gd name="connsiteX85" fmla="*/ 371898 w 444500"/>
              <a:gd name="connsiteY85" fmla="*/ 349673 h 444500"/>
              <a:gd name="connsiteX86" fmla="*/ 382270 w 444500"/>
              <a:gd name="connsiteY86" fmla="*/ 346710 h 444500"/>
              <a:gd name="connsiteX87" fmla="*/ 379307 w 444500"/>
              <a:gd name="connsiteY87" fmla="*/ 336338 h 444500"/>
              <a:gd name="connsiteX88" fmla="*/ 320040 w 444500"/>
              <a:gd name="connsiteY88" fmla="*/ 303742 h 444500"/>
              <a:gd name="connsiteX89" fmla="*/ 386715 w 444500"/>
              <a:gd name="connsiteY89" fmla="*/ 320040 h 444500"/>
              <a:gd name="connsiteX90" fmla="*/ 432647 w 444500"/>
              <a:gd name="connsiteY90" fmla="*/ 363008 h 444500"/>
              <a:gd name="connsiteX91" fmla="*/ 340783 w 444500"/>
              <a:gd name="connsiteY91" fmla="*/ 435610 h 444500"/>
              <a:gd name="connsiteX0" fmla="*/ 441537 w 444633"/>
              <a:gd name="connsiteY0" fmla="*/ 349673 h 448945"/>
              <a:gd name="connsiteX1" fmla="*/ 397087 w 444633"/>
              <a:gd name="connsiteY1" fmla="*/ 308187 h 448945"/>
              <a:gd name="connsiteX2" fmla="*/ 327448 w 444633"/>
              <a:gd name="connsiteY2" fmla="*/ 284480 h 448945"/>
              <a:gd name="connsiteX3" fmla="*/ 343747 w 444633"/>
              <a:gd name="connsiteY3" fmla="*/ 223732 h 448945"/>
              <a:gd name="connsiteX4" fmla="*/ 225213 w 444633"/>
              <a:gd name="connsiteY4" fmla="*/ 105198 h 448945"/>
              <a:gd name="connsiteX5" fmla="*/ 165947 w 444633"/>
              <a:gd name="connsiteY5" fmla="*/ 121497 h 448945"/>
              <a:gd name="connsiteX6" fmla="*/ 168910 w 444633"/>
              <a:gd name="connsiteY6" fmla="*/ 102235 h 448945"/>
              <a:gd name="connsiteX7" fmla="*/ 148167 w 444633"/>
              <a:gd name="connsiteY7" fmla="*/ 54822 h 448945"/>
              <a:gd name="connsiteX8" fmla="*/ 108162 w 444633"/>
              <a:gd name="connsiteY8" fmla="*/ 5927 h 448945"/>
              <a:gd name="connsiteX9" fmla="*/ 97790 w 444633"/>
              <a:gd name="connsiteY9" fmla="*/ 0 h 448945"/>
              <a:gd name="connsiteX10" fmla="*/ 87418 w 444633"/>
              <a:gd name="connsiteY10" fmla="*/ 4445 h 448945"/>
              <a:gd name="connsiteX11" fmla="*/ 4445 w 444633"/>
              <a:gd name="connsiteY11" fmla="*/ 90382 h 448945"/>
              <a:gd name="connsiteX12" fmla="*/ 0 w 444633"/>
              <a:gd name="connsiteY12" fmla="*/ 100753 h 448945"/>
              <a:gd name="connsiteX13" fmla="*/ 5927 w 444633"/>
              <a:gd name="connsiteY13" fmla="*/ 111125 h 448945"/>
              <a:gd name="connsiteX14" fmla="*/ 54822 w 444633"/>
              <a:gd name="connsiteY14" fmla="*/ 148167 h 448945"/>
              <a:gd name="connsiteX15" fmla="*/ 103717 w 444633"/>
              <a:gd name="connsiteY15" fmla="*/ 168910 h 448945"/>
              <a:gd name="connsiteX16" fmla="*/ 103717 w 444633"/>
              <a:gd name="connsiteY16" fmla="*/ 168910 h 448945"/>
              <a:gd name="connsiteX17" fmla="*/ 121497 w 444633"/>
              <a:gd name="connsiteY17" fmla="*/ 165947 h 448945"/>
              <a:gd name="connsiteX18" fmla="*/ 106680 w 444633"/>
              <a:gd name="connsiteY18" fmla="*/ 222250 h 448945"/>
              <a:gd name="connsiteX19" fmla="*/ 117052 w 444633"/>
              <a:gd name="connsiteY19" fmla="*/ 271145 h 448945"/>
              <a:gd name="connsiteX20" fmla="*/ 117052 w 444633"/>
              <a:gd name="connsiteY20" fmla="*/ 272627 h 448945"/>
              <a:gd name="connsiteX21" fmla="*/ 223732 w 444633"/>
              <a:gd name="connsiteY21" fmla="*/ 340783 h 448945"/>
              <a:gd name="connsiteX22" fmla="*/ 277072 w 444633"/>
              <a:gd name="connsiteY22" fmla="*/ 327448 h 448945"/>
              <a:gd name="connsiteX23" fmla="*/ 274108 w 444633"/>
              <a:gd name="connsiteY23" fmla="*/ 340783 h 448945"/>
              <a:gd name="connsiteX24" fmla="*/ 290407 w 444633"/>
              <a:gd name="connsiteY24" fmla="*/ 391160 h 448945"/>
              <a:gd name="connsiteX25" fmla="*/ 324485 w 444633"/>
              <a:gd name="connsiteY25" fmla="*/ 443018 h 448945"/>
              <a:gd name="connsiteX26" fmla="*/ 334857 w 444633"/>
              <a:gd name="connsiteY26" fmla="*/ 448945 h 448945"/>
              <a:gd name="connsiteX27" fmla="*/ 336338 w 444633"/>
              <a:gd name="connsiteY27" fmla="*/ 448945 h 448945"/>
              <a:gd name="connsiteX28" fmla="*/ 345228 w 444633"/>
              <a:gd name="connsiteY28" fmla="*/ 445982 h 448945"/>
              <a:gd name="connsiteX29" fmla="*/ 437092 w 444633"/>
              <a:gd name="connsiteY29" fmla="*/ 370417 h 448945"/>
              <a:gd name="connsiteX30" fmla="*/ 443018 w 444633"/>
              <a:gd name="connsiteY30" fmla="*/ 360045 h 448945"/>
              <a:gd name="connsiteX31" fmla="*/ 441537 w 444633"/>
              <a:gd name="connsiteY31" fmla="*/ 349673 h 448945"/>
              <a:gd name="connsiteX32" fmla="*/ 133350 w 444633"/>
              <a:gd name="connsiteY32" fmla="*/ 268182 h 448945"/>
              <a:gd name="connsiteX33" fmla="*/ 180763 w 444633"/>
              <a:gd name="connsiteY33" fmla="*/ 211878 h 448945"/>
              <a:gd name="connsiteX34" fmla="*/ 272627 w 444633"/>
              <a:gd name="connsiteY34" fmla="*/ 195580 h 448945"/>
              <a:gd name="connsiteX35" fmla="*/ 277072 w 444633"/>
              <a:gd name="connsiteY35" fmla="*/ 195580 h 448945"/>
              <a:gd name="connsiteX36" fmla="*/ 323003 w 444633"/>
              <a:gd name="connsiteY36" fmla="*/ 188172 h 448945"/>
              <a:gd name="connsiteX37" fmla="*/ 325967 w 444633"/>
              <a:gd name="connsiteY37" fmla="*/ 201507 h 448945"/>
              <a:gd name="connsiteX38" fmla="*/ 288925 w 444633"/>
              <a:gd name="connsiteY38" fmla="*/ 207433 h 448945"/>
              <a:gd name="connsiteX39" fmla="*/ 282998 w 444633"/>
              <a:gd name="connsiteY39" fmla="*/ 207433 h 448945"/>
              <a:gd name="connsiteX40" fmla="*/ 185208 w 444633"/>
              <a:gd name="connsiteY40" fmla="*/ 225213 h 448945"/>
              <a:gd name="connsiteX41" fmla="*/ 137795 w 444633"/>
              <a:gd name="connsiteY41" fmla="*/ 280035 h 448945"/>
              <a:gd name="connsiteX42" fmla="*/ 133350 w 444633"/>
              <a:gd name="connsiteY42" fmla="*/ 268182 h 448945"/>
              <a:gd name="connsiteX43" fmla="*/ 318558 w 444633"/>
              <a:gd name="connsiteY43" fmla="*/ 176318 h 448945"/>
              <a:gd name="connsiteX44" fmla="*/ 278553 w 444633"/>
              <a:gd name="connsiteY44" fmla="*/ 182245 h 448945"/>
              <a:gd name="connsiteX45" fmla="*/ 274108 w 444633"/>
              <a:gd name="connsiteY45" fmla="*/ 182245 h 448945"/>
              <a:gd name="connsiteX46" fmla="*/ 174837 w 444633"/>
              <a:gd name="connsiteY46" fmla="*/ 200025 h 448945"/>
              <a:gd name="connsiteX47" fmla="*/ 127423 w 444633"/>
              <a:gd name="connsiteY47" fmla="*/ 248920 h 448945"/>
              <a:gd name="connsiteX48" fmla="*/ 124460 w 444633"/>
              <a:gd name="connsiteY48" fmla="*/ 223732 h 448945"/>
              <a:gd name="connsiteX49" fmla="*/ 228177 w 444633"/>
              <a:gd name="connsiteY49" fmla="*/ 120015 h 448945"/>
              <a:gd name="connsiteX50" fmla="*/ 318558 w 444633"/>
              <a:gd name="connsiteY50" fmla="*/ 176318 h 448945"/>
              <a:gd name="connsiteX51" fmla="*/ 103717 w 444633"/>
              <a:gd name="connsiteY51" fmla="*/ 154093 h 448945"/>
              <a:gd name="connsiteX52" fmla="*/ 63712 w 444633"/>
              <a:gd name="connsiteY52" fmla="*/ 137795 h 448945"/>
              <a:gd name="connsiteX53" fmla="*/ 14817 w 444633"/>
              <a:gd name="connsiteY53" fmla="*/ 100753 h 448945"/>
              <a:gd name="connsiteX54" fmla="*/ 97790 w 444633"/>
              <a:gd name="connsiteY54" fmla="*/ 14817 h 448945"/>
              <a:gd name="connsiteX55" fmla="*/ 137795 w 444633"/>
              <a:gd name="connsiteY55" fmla="*/ 62230 h 448945"/>
              <a:gd name="connsiteX56" fmla="*/ 155575 w 444633"/>
              <a:gd name="connsiteY56" fmla="*/ 100753 h 448945"/>
              <a:gd name="connsiteX57" fmla="*/ 148167 w 444633"/>
              <a:gd name="connsiteY57" fmla="*/ 128905 h 448945"/>
              <a:gd name="connsiteX58" fmla="*/ 121497 w 444633"/>
              <a:gd name="connsiteY58" fmla="*/ 62230 h 448945"/>
              <a:gd name="connsiteX59" fmla="*/ 111125 w 444633"/>
              <a:gd name="connsiteY59" fmla="*/ 59267 h 448945"/>
              <a:gd name="connsiteX60" fmla="*/ 106680 w 444633"/>
              <a:gd name="connsiteY60" fmla="*/ 68157 h 448945"/>
              <a:gd name="connsiteX61" fmla="*/ 133350 w 444633"/>
              <a:gd name="connsiteY61" fmla="*/ 130387 h 448945"/>
              <a:gd name="connsiteX62" fmla="*/ 75565 w 444633"/>
              <a:gd name="connsiteY62" fmla="*/ 105198 h 448945"/>
              <a:gd name="connsiteX63" fmla="*/ 65193 w 444633"/>
              <a:gd name="connsiteY63" fmla="*/ 109643 h 448945"/>
              <a:gd name="connsiteX64" fmla="*/ 69638 w 444633"/>
              <a:gd name="connsiteY64" fmla="*/ 120015 h 448945"/>
              <a:gd name="connsiteX65" fmla="*/ 131868 w 444633"/>
              <a:gd name="connsiteY65" fmla="*/ 146685 h 448945"/>
              <a:gd name="connsiteX66" fmla="*/ 103717 w 444633"/>
              <a:gd name="connsiteY66" fmla="*/ 154093 h 448945"/>
              <a:gd name="connsiteX67" fmla="*/ 151130 w 444633"/>
              <a:gd name="connsiteY67" fmla="*/ 294852 h 448945"/>
              <a:gd name="connsiteX68" fmla="*/ 195580 w 444633"/>
              <a:gd name="connsiteY68" fmla="*/ 238548 h 448945"/>
              <a:gd name="connsiteX69" fmla="*/ 285962 w 444633"/>
              <a:gd name="connsiteY69" fmla="*/ 223732 h 448945"/>
              <a:gd name="connsiteX70" fmla="*/ 291888 w 444633"/>
              <a:gd name="connsiteY70" fmla="*/ 223732 h 448945"/>
              <a:gd name="connsiteX71" fmla="*/ 330412 w 444633"/>
              <a:gd name="connsiteY71" fmla="*/ 219287 h 448945"/>
              <a:gd name="connsiteX72" fmla="*/ 330412 w 444633"/>
              <a:gd name="connsiteY72" fmla="*/ 222250 h 448945"/>
              <a:gd name="connsiteX73" fmla="*/ 226695 w 444633"/>
              <a:gd name="connsiteY73" fmla="*/ 325967 h 448945"/>
              <a:gd name="connsiteX74" fmla="*/ 151130 w 444633"/>
              <a:gd name="connsiteY74" fmla="*/ 294852 h 448945"/>
              <a:gd name="connsiteX75" fmla="*/ 338616 w 444633"/>
              <a:gd name="connsiteY75" fmla="*/ 435610 h 448945"/>
              <a:gd name="connsiteX76" fmla="*/ 340783 w 444633"/>
              <a:gd name="connsiteY76" fmla="*/ 435610 h 448945"/>
              <a:gd name="connsiteX77" fmla="*/ 305223 w 444633"/>
              <a:gd name="connsiteY77" fmla="*/ 383752 h 448945"/>
              <a:gd name="connsiteX78" fmla="*/ 291888 w 444633"/>
              <a:gd name="connsiteY78" fmla="*/ 343747 h 448945"/>
              <a:gd name="connsiteX79" fmla="*/ 302260 w 444633"/>
              <a:gd name="connsiteY79" fmla="*/ 317077 h 448945"/>
              <a:gd name="connsiteX80" fmla="*/ 323003 w 444633"/>
              <a:gd name="connsiteY80" fmla="*/ 385233 h 448945"/>
              <a:gd name="connsiteX81" fmla="*/ 330412 w 444633"/>
              <a:gd name="connsiteY81" fmla="*/ 391160 h 448945"/>
              <a:gd name="connsiteX82" fmla="*/ 331893 w 444633"/>
              <a:gd name="connsiteY82" fmla="*/ 391160 h 448945"/>
              <a:gd name="connsiteX83" fmla="*/ 336338 w 444633"/>
              <a:gd name="connsiteY83" fmla="*/ 382270 h 448945"/>
              <a:gd name="connsiteX84" fmla="*/ 317077 w 444633"/>
              <a:gd name="connsiteY84" fmla="*/ 318558 h 448945"/>
              <a:gd name="connsiteX85" fmla="*/ 371898 w 444633"/>
              <a:gd name="connsiteY85" fmla="*/ 349673 h 448945"/>
              <a:gd name="connsiteX86" fmla="*/ 382270 w 444633"/>
              <a:gd name="connsiteY86" fmla="*/ 346710 h 448945"/>
              <a:gd name="connsiteX87" fmla="*/ 379307 w 444633"/>
              <a:gd name="connsiteY87" fmla="*/ 336338 h 448945"/>
              <a:gd name="connsiteX88" fmla="*/ 320040 w 444633"/>
              <a:gd name="connsiteY88" fmla="*/ 303742 h 448945"/>
              <a:gd name="connsiteX89" fmla="*/ 386715 w 444633"/>
              <a:gd name="connsiteY89" fmla="*/ 320040 h 448945"/>
              <a:gd name="connsiteX90" fmla="*/ 432647 w 444633"/>
              <a:gd name="connsiteY90" fmla="*/ 363008 h 448945"/>
              <a:gd name="connsiteX91" fmla="*/ 338616 w 444633"/>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32647 w 443742"/>
              <a:gd name="connsiteY90" fmla="*/ 363008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30480 w 443742"/>
              <a:gd name="connsiteY90" fmla="*/ 360841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26417 w 443742"/>
              <a:gd name="connsiteY90" fmla="*/ 356777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8616 w 443742"/>
              <a:gd name="connsiteY75" fmla="*/ 435610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28855 w 443742"/>
              <a:gd name="connsiteY90" fmla="*/ 358402 h 448945"/>
              <a:gd name="connsiteX91" fmla="*/ 338616 w 443742"/>
              <a:gd name="connsiteY91" fmla="*/ 435610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6178 w 443742"/>
              <a:gd name="connsiteY75" fmla="*/ 433172 h 448945"/>
              <a:gd name="connsiteX76" fmla="*/ 340783 w 443742"/>
              <a:gd name="connsiteY76" fmla="*/ 435610 h 448945"/>
              <a:gd name="connsiteX77" fmla="*/ 305223 w 443742"/>
              <a:gd name="connsiteY77" fmla="*/ 383752 h 448945"/>
              <a:gd name="connsiteX78" fmla="*/ 291888 w 443742"/>
              <a:gd name="connsiteY78" fmla="*/ 343747 h 448945"/>
              <a:gd name="connsiteX79" fmla="*/ 302260 w 443742"/>
              <a:gd name="connsiteY79" fmla="*/ 317077 h 448945"/>
              <a:gd name="connsiteX80" fmla="*/ 323003 w 443742"/>
              <a:gd name="connsiteY80" fmla="*/ 385233 h 448945"/>
              <a:gd name="connsiteX81" fmla="*/ 330412 w 443742"/>
              <a:gd name="connsiteY81" fmla="*/ 391160 h 448945"/>
              <a:gd name="connsiteX82" fmla="*/ 331893 w 443742"/>
              <a:gd name="connsiteY82" fmla="*/ 391160 h 448945"/>
              <a:gd name="connsiteX83" fmla="*/ 336338 w 443742"/>
              <a:gd name="connsiteY83" fmla="*/ 382270 h 448945"/>
              <a:gd name="connsiteX84" fmla="*/ 317077 w 443742"/>
              <a:gd name="connsiteY84" fmla="*/ 318558 h 448945"/>
              <a:gd name="connsiteX85" fmla="*/ 371898 w 443742"/>
              <a:gd name="connsiteY85" fmla="*/ 349673 h 448945"/>
              <a:gd name="connsiteX86" fmla="*/ 382270 w 443742"/>
              <a:gd name="connsiteY86" fmla="*/ 346710 h 448945"/>
              <a:gd name="connsiteX87" fmla="*/ 379307 w 443742"/>
              <a:gd name="connsiteY87" fmla="*/ 336338 h 448945"/>
              <a:gd name="connsiteX88" fmla="*/ 320040 w 443742"/>
              <a:gd name="connsiteY88" fmla="*/ 303742 h 448945"/>
              <a:gd name="connsiteX89" fmla="*/ 386715 w 443742"/>
              <a:gd name="connsiteY89" fmla="*/ 320040 h 448945"/>
              <a:gd name="connsiteX90" fmla="*/ 428855 w 443742"/>
              <a:gd name="connsiteY90" fmla="*/ 358402 h 448945"/>
              <a:gd name="connsiteX91" fmla="*/ 336178 w 443742"/>
              <a:gd name="connsiteY91" fmla="*/ 433172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6178 w 443742"/>
              <a:gd name="connsiteY75" fmla="*/ 433172 h 448945"/>
              <a:gd name="connsiteX76" fmla="*/ 305223 w 443742"/>
              <a:gd name="connsiteY76" fmla="*/ 383752 h 448945"/>
              <a:gd name="connsiteX77" fmla="*/ 291888 w 443742"/>
              <a:gd name="connsiteY77" fmla="*/ 343747 h 448945"/>
              <a:gd name="connsiteX78" fmla="*/ 302260 w 443742"/>
              <a:gd name="connsiteY78" fmla="*/ 317077 h 448945"/>
              <a:gd name="connsiteX79" fmla="*/ 323003 w 443742"/>
              <a:gd name="connsiteY79" fmla="*/ 385233 h 448945"/>
              <a:gd name="connsiteX80" fmla="*/ 330412 w 443742"/>
              <a:gd name="connsiteY80" fmla="*/ 391160 h 448945"/>
              <a:gd name="connsiteX81" fmla="*/ 331893 w 443742"/>
              <a:gd name="connsiteY81" fmla="*/ 391160 h 448945"/>
              <a:gd name="connsiteX82" fmla="*/ 336338 w 443742"/>
              <a:gd name="connsiteY82" fmla="*/ 382270 h 448945"/>
              <a:gd name="connsiteX83" fmla="*/ 317077 w 443742"/>
              <a:gd name="connsiteY83" fmla="*/ 318558 h 448945"/>
              <a:gd name="connsiteX84" fmla="*/ 371898 w 443742"/>
              <a:gd name="connsiteY84" fmla="*/ 349673 h 448945"/>
              <a:gd name="connsiteX85" fmla="*/ 382270 w 443742"/>
              <a:gd name="connsiteY85" fmla="*/ 346710 h 448945"/>
              <a:gd name="connsiteX86" fmla="*/ 379307 w 443742"/>
              <a:gd name="connsiteY86" fmla="*/ 336338 h 448945"/>
              <a:gd name="connsiteX87" fmla="*/ 320040 w 443742"/>
              <a:gd name="connsiteY87" fmla="*/ 303742 h 448945"/>
              <a:gd name="connsiteX88" fmla="*/ 386715 w 443742"/>
              <a:gd name="connsiteY88" fmla="*/ 320040 h 448945"/>
              <a:gd name="connsiteX89" fmla="*/ 428855 w 443742"/>
              <a:gd name="connsiteY89" fmla="*/ 358402 h 448945"/>
              <a:gd name="connsiteX90" fmla="*/ 336178 w 443742"/>
              <a:gd name="connsiteY90" fmla="*/ 433172 h 448945"/>
              <a:gd name="connsiteX0" fmla="*/ 436119 w 443742"/>
              <a:gd name="connsiteY0" fmla="*/ 346422 h 448945"/>
              <a:gd name="connsiteX1" fmla="*/ 397087 w 443742"/>
              <a:gd name="connsiteY1" fmla="*/ 308187 h 448945"/>
              <a:gd name="connsiteX2" fmla="*/ 327448 w 443742"/>
              <a:gd name="connsiteY2" fmla="*/ 284480 h 448945"/>
              <a:gd name="connsiteX3" fmla="*/ 343747 w 443742"/>
              <a:gd name="connsiteY3" fmla="*/ 223732 h 448945"/>
              <a:gd name="connsiteX4" fmla="*/ 225213 w 443742"/>
              <a:gd name="connsiteY4" fmla="*/ 105198 h 448945"/>
              <a:gd name="connsiteX5" fmla="*/ 165947 w 443742"/>
              <a:gd name="connsiteY5" fmla="*/ 121497 h 448945"/>
              <a:gd name="connsiteX6" fmla="*/ 168910 w 443742"/>
              <a:gd name="connsiteY6" fmla="*/ 102235 h 448945"/>
              <a:gd name="connsiteX7" fmla="*/ 148167 w 443742"/>
              <a:gd name="connsiteY7" fmla="*/ 54822 h 448945"/>
              <a:gd name="connsiteX8" fmla="*/ 108162 w 443742"/>
              <a:gd name="connsiteY8" fmla="*/ 5927 h 448945"/>
              <a:gd name="connsiteX9" fmla="*/ 97790 w 443742"/>
              <a:gd name="connsiteY9" fmla="*/ 0 h 448945"/>
              <a:gd name="connsiteX10" fmla="*/ 87418 w 443742"/>
              <a:gd name="connsiteY10" fmla="*/ 4445 h 448945"/>
              <a:gd name="connsiteX11" fmla="*/ 4445 w 443742"/>
              <a:gd name="connsiteY11" fmla="*/ 90382 h 448945"/>
              <a:gd name="connsiteX12" fmla="*/ 0 w 443742"/>
              <a:gd name="connsiteY12" fmla="*/ 100753 h 448945"/>
              <a:gd name="connsiteX13" fmla="*/ 5927 w 443742"/>
              <a:gd name="connsiteY13" fmla="*/ 111125 h 448945"/>
              <a:gd name="connsiteX14" fmla="*/ 54822 w 443742"/>
              <a:gd name="connsiteY14" fmla="*/ 148167 h 448945"/>
              <a:gd name="connsiteX15" fmla="*/ 103717 w 443742"/>
              <a:gd name="connsiteY15" fmla="*/ 168910 h 448945"/>
              <a:gd name="connsiteX16" fmla="*/ 103717 w 443742"/>
              <a:gd name="connsiteY16" fmla="*/ 168910 h 448945"/>
              <a:gd name="connsiteX17" fmla="*/ 121497 w 443742"/>
              <a:gd name="connsiteY17" fmla="*/ 165947 h 448945"/>
              <a:gd name="connsiteX18" fmla="*/ 106680 w 443742"/>
              <a:gd name="connsiteY18" fmla="*/ 222250 h 448945"/>
              <a:gd name="connsiteX19" fmla="*/ 117052 w 443742"/>
              <a:gd name="connsiteY19" fmla="*/ 271145 h 448945"/>
              <a:gd name="connsiteX20" fmla="*/ 117052 w 443742"/>
              <a:gd name="connsiteY20" fmla="*/ 272627 h 448945"/>
              <a:gd name="connsiteX21" fmla="*/ 223732 w 443742"/>
              <a:gd name="connsiteY21" fmla="*/ 340783 h 448945"/>
              <a:gd name="connsiteX22" fmla="*/ 277072 w 443742"/>
              <a:gd name="connsiteY22" fmla="*/ 327448 h 448945"/>
              <a:gd name="connsiteX23" fmla="*/ 274108 w 443742"/>
              <a:gd name="connsiteY23" fmla="*/ 340783 h 448945"/>
              <a:gd name="connsiteX24" fmla="*/ 290407 w 443742"/>
              <a:gd name="connsiteY24" fmla="*/ 391160 h 448945"/>
              <a:gd name="connsiteX25" fmla="*/ 324485 w 443742"/>
              <a:gd name="connsiteY25" fmla="*/ 443018 h 448945"/>
              <a:gd name="connsiteX26" fmla="*/ 334857 w 443742"/>
              <a:gd name="connsiteY26" fmla="*/ 448945 h 448945"/>
              <a:gd name="connsiteX27" fmla="*/ 336338 w 443742"/>
              <a:gd name="connsiteY27" fmla="*/ 448945 h 448945"/>
              <a:gd name="connsiteX28" fmla="*/ 345228 w 443742"/>
              <a:gd name="connsiteY28" fmla="*/ 445982 h 448945"/>
              <a:gd name="connsiteX29" fmla="*/ 437092 w 443742"/>
              <a:gd name="connsiteY29" fmla="*/ 370417 h 448945"/>
              <a:gd name="connsiteX30" fmla="*/ 443018 w 443742"/>
              <a:gd name="connsiteY30" fmla="*/ 360045 h 448945"/>
              <a:gd name="connsiteX31" fmla="*/ 436119 w 443742"/>
              <a:gd name="connsiteY31" fmla="*/ 346422 h 448945"/>
              <a:gd name="connsiteX32" fmla="*/ 133350 w 443742"/>
              <a:gd name="connsiteY32" fmla="*/ 268182 h 448945"/>
              <a:gd name="connsiteX33" fmla="*/ 180763 w 443742"/>
              <a:gd name="connsiteY33" fmla="*/ 211878 h 448945"/>
              <a:gd name="connsiteX34" fmla="*/ 272627 w 443742"/>
              <a:gd name="connsiteY34" fmla="*/ 195580 h 448945"/>
              <a:gd name="connsiteX35" fmla="*/ 277072 w 443742"/>
              <a:gd name="connsiteY35" fmla="*/ 195580 h 448945"/>
              <a:gd name="connsiteX36" fmla="*/ 323003 w 443742"/>
              <a:gd name="connsiteY36" fmla="*/ 188172 h 448945"/>
              <a:gd name="connsiteX37" fmla="*/ 325967 w 443742"/>
              <a:gd name="connsiteY37" fmla="*/ 201507 h 448945"/>
              <a:gd name="connsiteX38" fmla="*/ 288925 w 443742"/>
              <a:gd name="connsiteY38" fmla="*/ 207433 h 448945"/>
              <a:gd name="connsiteX39" fmla="*/ 282998 w 443742"/>
              <a:gd name="connsiteY39" fmla="*/ 207433 h 448945"/>
              <a:gd name="connsiteX40" fmla="*/ 185208 w 443742"/>
              <a:gd name="connsiteY40" fmla="*/ 225213 h 448945"/>
              <a:gd name="connsiteX41" fmla="*/ 137795 w 443742"/>
              <a:gd name="connsiteY41" fmla="*/ 280035 h 448945"/>
              <a:gd name="connsiteX42" fmla="*/ 133350 w 443742"/>
              <a:gd name="connsiteY42" fmla="*/ 268182 h 448945"/>
              <a:gd name="connsiteX43" fmla="*/ 318558 w 443742"/>
              <a:gd name="connsiteY43" fmla="*/ 176318 h 448945"/>
              <a:gd name="connsiteX44" fmla="*/ 278553 w 443742"/>
              <a:gd name="connsiteY44" fmla="*/ 182245 h 448945"/>
              <a:gd name="connsiteX45" fmla="*/ 274108 w 443742"/>
              <a:gd name="connsiteY45" fmla="*/ 182245 h 448945"/>
              <a:gd name="connsiteX46" fmla="*/ 174837 w 443742"/>
              <a:gd name="connsiteY46" fmla="*/ 200025 h 448945"/>
              <a:gd name="connsiteX47" fmla="*/ 127423 w 443742"/>
              <a:gd name="connsiteY47" fmla="*/ 248920 h 448945"/>
              <a:gd name="connsiteX48" fmla="*/ 124460 w 443742"/>
              <a:gd name="connsiteY48" fmla="*/ 223732 h 448945"/>
              <a:gd name="connsiteX49" fmla="*/ 228177 w 443742"/>
              <a:gd name="connsiteY49" fmla="*/ 120015 h 448945"/>
              <a:gd name="connsiteX50" fmla="*/ 318558 w 443742"/>
              <a:gd name="connsiteY50" fmla="*/ 176318 h 448945"/>
              <a:gd name="connsiteX51" fmla="*/ 103717 w 443742"/>
              <a:gd name="connsiteY51" fmla="*/ 154093 h 448945"/>
              <a:gd name="connsiteX52" fmla="*/ 63712 w 443742"/>
              <a:gd name="connsiteY52" fmla="*/ 137795 h 448945"/>
              <a:gd name="connsiteX53" fmla="*/ 14817 w 443742"/>
              <a:gd name="connsiteY53" fmla="*/ 100753 h 448945"/>
              <a:gd name="connsiteX54" fmla="*/ 97790 w 443742"/>
              <a:gd name="connsiteY54" fmla="*/ 14817 h 448945"/>
              <a:gd name="connsiteX55" fmla="*/ 137795 w 443742"/>
              <a:gd name="connsiteY55" fmla="*/ 62230 h 448945"/>
              <a:gd name="connsiteX56" fmla="*/ 155575 w 443742"/>
              <a:gd name="connsiteY56" fmla="*/ 100753 h 448945"/>
              <a:gd name="connsiteX57" fmla="*/ 148167 w 443742"/>
              <a:gd name="connsiteY57" fmla="*/ 128905 h 448945"/>
              <a:gd name="connsiteX58" fmla="*/ 121497 w 443742"/>
              <a:gd name="connsiteY58" fmla="*/ 62230 h 448945"/>
              <a:gd name="connsiteX59" fmla="*/ 111125 w 443742"/>
              <a:gd name="connsiteY59" fmla="*/ 59267 h 448945"/>
              <a:gd name="connsiteX60" fmla="*/ 106680 w 443742"/>
              <a:gd name="connsiteY60" fmla="*/ 68157 h 448945"/>
              <a:gd name="connsiteX61" fmla="*/ 133350 w 443742"/>
              <a:gd name="connsiteY61" fmla="*/ 130387 h 448945"/>
              <a:gd name="connsiteX62" fmla="*/ 75565 w 443742"/>
              <a:gd name="connsiteY62" fmla="*/ 105198 h 448945"/>
              <a:gd name="connsiteX63" fmla="*/ 65193 w 443742"/>
              <a:gd name="connsiteY63" fmla="*/ 109643 h 448945"/>
              <a:gd name="connsiteX64" fmla="*/ 69638 w 443742"/>
              <a:gd name="connsiteY64" fmla="*/ 120015 h 448945"/>
              <a:gd name="connsiteX65" fmla="*/ 131868 w 443742"/>
              <a:gd name="connsiteY65" fmla="*/ 146685 h 448945"/>
              <a:gd name="connsiteX66" fmla="*/ 103717 w 443742"/>
              <a:gd name="connsiteY66" fmla="*/ 154093 h 448945"/>
              <a:gd name="connsiteX67" fmla="*/ 151130 w 443742"/>
              <a:gd name="connsiteY67" fmla="*/ 294852 h 448945"/>
              <a:gd name="connsiteX68" fmla="*/ 195580 w 443742"/>
              <a:gd name="connsiteY68" fmla="*/ 238548 h 448945"/>
              <a:gd name="connsiteX69" fmla="*/ 285962 w 443742"/>
              <a:gd name="connsiteY69" fmla="*/ 223732 h 448945"/>
              <a:gd name="connsiteX70" fmla="*/ 291888 w 443742"/>
              <a:gd name="connsiteY70" fmla="*/ 223732 h 448945"/>
              <a:gd name="connsiteX71" fmla="*/ 330412 w 443742"/>
              <a:gd name="connsiteY71" fmla="*/ 219287 h 448945"/>
              <a:gd name="connsiteX72" fmla="*/ 330412 w 443742"/>
              <a:gd name="connsiteY72" fmla="*/ 222250 h 448945"/>
              <a:gd name="connsiteX73" fmla="*/ 226695 w 443742"/>
              <a:gd name="connsiteY73" fmla="*/ 325967 h 448945"/>
              <a:gd name="connsiteX74" fmla="*/ 151130 w 443742"/>
              <a:gd name="connsiteY74" fmla="*/ 294852 h 448945"/>
              <a:gd name="connsiteX75" fmla="*/ 336991 w 443742"/>
              <a:gd name="connsiteY75" fmla="*/ 434798 h 448945"/>
              <a:gd name="connsiteX76" fmla="*/ 305223 w 443742"/>
              <a:gd name="connsiteY76" fmla="*/ 383752 h 448945"/>
              <a:gd name="connsiteX77" fmla="*/ 291888 w 443742"/>
              <a:gd name="connsiteY77" fmla="*/ 343747 h 448945"/>
              <a:gd name="connsiteX78" fmla="*/ 302260 w 443742"/>
              <a:gd name="connsiteY78" fmla="*/ 317077 h 448945"/>
              <a:gd name="connsiteX79" fmla="*/ 323003 w 443742"/>
              <a:gd name="connsiteY79" fmla="*/ 385233 h 448945"/>
              <a:gd name="connsiteX80" fmla="*/ 330412 w 443742"/>
              <a:gd name="connsiteY80" fmla="*/ 391160 h 448945"/>
              <a:gd name="connsiteX81" fmla="*/ 331893 w 443742"/>
              <a:gd name="connsiteY81" fmla="*/ 391160 h 448945"/>
              <a:gd name="connsiteX82" fmla="*/ 336338 w 443742"/>
              <a:gd name="connsiteY82" fmla="*/ 382270 h 448945"/>
              <a:gd name="connsiteX83" fmla="*/ 317077 w 443742"/>
              <a:gd name="connsiteY83" fmla="*/ 318558 h 448945"/>
              <a:gd name="connsiteX84" fmla="*/ 371898 w 443742"/>
              <a:gd name="connsiteY84" fmla="*/ 349673 h 448945"/>
              <a:gd name="connsiteX85" fmla="*/ 382270 w 443742"/>
              <a:gd name="connsiteY85" fmla="*/ 346710 h 448945"/>
              <a:gd name="connsiteX86" fmla="*/ 379307 w 443742"/>
              <a:gd name="connsiteY86" fmla="*/ 336338 h 448945"/>
              <a:gd name="connsiteX87" fmla="*/ 320040 w 443742"/>
              <a:gd name="connsiteY87" fmla="*/ 303742 h 448945"/>
              <a:gd name="connsiteX88" fmla="*/ 386715 w 443742"/>
              <a:gd name="connsiteY88" fmla="*/ 320040 h 448945"/>
              <a:gd name="connsiteX89" fmla="*/ 428855 w 443742"/>
              <a:gd name="connsiteY89" fmla="*/ 358402 h 448945"/>
              <a:gd name="connsiteX90" fmla="*/ 336991 w 443742"/>
              <a:gd name="connsiteY90" fmla="*/ 434798 h 4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43742" h="448945">
                <a:moveTo>
                  <a:pt x="436119" y="346422"/>
                </a:moveTo>
                <a:lnTo>
                  <a:pt x="397087" y="308187"/>
                </a:lnTo>
                <a:cubicBezTo>
                  <a:pt x="379307" y="287443"/>
                  <a:pt x="352637" y="278553"/>
                  <a:pt x="327448" y="284480"/>
                </a:cubicBezTo>
                <a:cubicBezTo>
                  <a:pt x="337820" y="266700"/>
                  <a:pt x="343747" y="245957"/>
                  <a:pt x="343747" y="223732"/>
                </a:cubicBezTo>
                <a:cubicBezTo>
                  <a:pt x="343747" y="158538"/>
                  <a:pt x="290407" y="105198"/>
                  <a:pt x="225213" y="105198"/>
                </a:cubicBezTo>
                <a:cubicBezTo>
                  <a:pt x="204470" y="105198"/>
                  <a:pt x="183727" y="111125"/>
                  <a:pt x="165947" y="121497"/>
                </a:cubicBezTo>
                <a:cubicBezTo>
                  <a:pt x="167428" y="115570"/>
                  <a:pt x="168910" y="108162"/>
                  <a:pt x="168910" y="102235"/>
                </a:cubicBezTo>
                <a:cubicBezTo>
                  <a:pt x="168910" y="84455"/>
                  <a:pt x="160020" y="66675"/>
                  <a:pt x="148167" y="54822"/>
                </a:cubicBezTo>
                <a:lnTo>
                  <a:pt x="108162" y="5927"/>
                </a:lnTo>
                <a:cubicBezTo>
                  <a:pt x="106680" y="1482"/>
                  <a:pt x="102235" y="0"/>
                  <a:pt x="97790" y="0"/>
                </a:cubicBezTo>
                <a:cubicBezTo>
                  <a:pt x="93345" y="0"/>
                  <a:pt x="90382" y="1482"/>
                  <a:pt x="87418" y="4445"/>
                </a:cubicBezTo>
                <a:lnTo>
                  <a:pt x="4445" y="90382"/>
                </a:lnTo>
                <a:cubicBezTo>
                  <a:pt x="1482" y="93345"/>
                  <a:pt x="0" y="97790"/>
                  <a:pt x="0" y="100753"/>
                </a:cubicBezTo>
                <a:cubicBezTo>
                  <a:pt x="0" y="103717"/>
                  <a:pt x="2963" y="108162"/>
                  <a:pt x="5927" y="111125"/>
                </a:cubicBezTo>
                <a:lnTo>
                  <a:pt x="54822" y="148167"/>
                </a:lnTo>
                <a:cubicBezTo>
                  <a:pt x="68157" y="161502"/>
                  <a:pt x="85937" y="168910"/>
                  <a:pt x="103717" y="168910"/>
                </a:cubicBezTo>
                <a:lnTo>
                  <a:pt x="103717" y="168910"/>
                </a:lnTo>
                <a:cubicBezTo>
                  <a:pt x="109643" y="168910"/>
                  <a:pt x="115570" y="167428"/>
                  <a:pt x="121497" y="165947"/>
                </a:cubicBezTo>
                <a:cubicBezTo>
                  <a:pt x="112607" y="182245"/>
                  <a:pt x="106680" y="201507"/>
                  <a:pt x="106680" y="222250"/>
                </a:cubicBezTo>
                <a:cubicBezTo>
                  <a:pt x="106680" y="240030"/>
                  <a:pt x="111125" y="256328"/>
                  <a:pt x="117052" y="271145"/>
                </a:cubicBezTo>
                <a:lnTo>
                  <a:pt x="117052" y="272627"/>
                </a:lnTo>
                <a:cubicBezTo>
                  <a:pt x="136313" y="312632"/>
                  <a:pt x="176318" y="340783"/>
                  <a:pt x="223732" y="340783"/>
                </a:cubicBezTo>
                <a:cubicBezTo>
                  <a:pt x="242993" y="340783"/>
                  <a:pt x="260773" y="336338"/>
                  <a:pt x="277072" y="327448"/>
                </a:cubicBezTo>
                <a:cubicBezTo>
                  <a:pt x="275590" y="331893"/>
                  <a:pt x="275590" y="336338"/>
                  <a:pt x="274108" y="340783"/>
                </a:cubicBezTo>
                <a:cubicBezTo>
                  <a:pt x="272627" y="358563"/>
                  <a:pt x="278553" y="376343"/>
                  <a:pt x="290407" y="391160"/>
                </a:cubicBezTo>
                <a:lnTo>
                  <a:pt x="324485" y="443018"/>
                </a:lnTo>
                <a:cubicBezTo>
                  <a:pt x="327448" y="445982"/>
                  <a:pt x="330412" y="448945"/>
                  <a:pt x="334857" y="448945"/>
                </a:cubicBezTo>
                <a:lnTo>
                  <a:pt x="336338" y="448945"/>
                </a:lnTo>
                <a:cubicBezTo>
                  <a:pt x="339302" y="448945"/>
                  <a:pt x="343747" y="447463"/>
                  <a:pt x="345228" y="445982"/>
                </a:cubicBezTo>
                <a:lnTo>
                  <a:pt x="437092" y="370417"/>
                </a:lnTo>
                <a:cubicBezTo>
                  <a:pt x="440055" y="367453"/>
                  <a:pt x="443018" y="363008"/>
                  <a:pt x="443018" y="360045"/>
                </a:cubicBezTo>
                <a:cubicBezTo>
                  <a:pt x="445982" y="355600"/>
                  <a:pt x="439082" y="349386"/>
                  <a:pt x="436119" y="346422"/>
                </a:cubicBezTo>
                <a:close/>
                <a:moveTo>
                  <a:pt x="133350" y="268182"/>
                </a:moveTo>
                <a:cubicBezTo>
                  <a:pt x="140758" y="245957"/>
                  <a:pt x="157057" y="226695"/>
                  <a:pt x="180763" y="211878"/>
                </a:cubicBezTo>
                <a:cubicBezTo>
                  <a:pt x="208915" y="194098"/>
                  <a:pt x="240030" y="195580"/>
                  <a:pt x="272627" y="195580"/>
                </a:cubicBezTo>
                <a:lnTo>
                  <a:pt x="277072" y="195580"/>
                </a:lnTo>
                <a:cubicBezTo>
                  <a:pt x="291888" y="195580"/>
                  <a:pt x="308187" y="197062"/>
                  <a:pt x="323003" y="188172"/>
                </a:cubicBezTo>
                <a:cubicBezTo>
                  <a:pt x="324485" y="192617"/>
                  <a:pt x="325967" y="197062"/>
                  <a:pt x="325967" y="201507"/>
                </a:cubicBezTo>
                <a:cubicBezTo>
                  <a:pt x="314113" y="207433"/>
                  <a:pt x="303742" y="207433"/>
                  <a:pt x="288925" y="207433"/>
                </a:cubicBezTo>
                <a:lnTo>
                  <a:pt x="282998" y="207433"/>
                </a:lnTo>
                <a:cubicBezTo>
                  <a:pt x="250402" y="205952"/>
                  <a:pt x="216323" y="205952"/>
                  <a:pt x="185208" y="225213"/>
                </a:cubicBezTo>
                <a:cubicBezTo>
                  <a:pt x="162983" y="238548"/>
                  <a:pt x="146685" y="257810"/>
                  <a:pt x="137795" y="280035"/>
                </a:cubicBezTo>
                <a:cubicBezTo>
                  <a:pt x="137795" y="277072"/>
                  <a:pt x="134832" y="272627"/>
                  <a:pt x="133350" y="268182"/>
                </a:cubicBezTo>
                <a:close/>
                <a:moveTo>
                  <a:pt x="318558" y="176318"/>
                </a:moveTo>
                <a:cubicBezTo>
                  <a:pt x="306705" y="182245"/>
                  <a:pt x="293370" y="182245"/>
                  <a:pt x="278553" y="182245"/>
                </a:cubicBezTo>
                <a:lnTo>
                  <a:pt x="274108" y="182245"/>
                </a:lnTo>
                <a:cubicBezTo>
                  <a:pt x="241512" y="180763"/>
                  <a:pt x="205952" y="180763"/>
                  <a:pt x="174837" y="200025"/>
                </a:cubicBezTo>
                <a:cubicBezTo>
                  <a:pt x="152612" y="213360"/>
                  <a:pt x="136313" y="229658"/>
                  <a:pt x="127423" y="248920"/>
                </a:cubicBezTo>
                <a:cubicBezTo>
                  <a:pt x="125942" y="241512"/>
                  <a:pt x="124460" y="232622"/>
                  <a:pt x="124460" y="223732"/>
                </a:cubicBezTo>
                <a:cubicBezTo>
                  <a:pt x="124460" y="165947"/>
                  <a:pt x="170392" y="120015"/>
                  <a:pt x="228177" y="120015"/>
                </a:cubicBezTo>
                <a:cubicBezTo>
                  <a:pt x="266700" y="120015"/>
                  <a:pt x="302260" y="142240"/>
                  <a:pt x="318558" y="176318"/>
                </a:cubicBezTo>
                <a:close/>
                <a:moveTo>
                  <a:pt x="103717" y="154093"/>
                </a:moveTo>
                <a:cubicBezTo>
                  <a:pt x="88900" y="154093"/>
                  <a:pt x="75565" y="148167"/>
                  <a:pt x="63712" y="137795"/>
                </a:cubicBezTo>
                <a:lnTo>
                  <a:pt x="14817" y="100753"/>
                </a:lnTo>
                <a:lnTo>
                  <a:pt x="97790" y="14817"/>
                </a:lnTo>
                <a:lnTo>
                  <a:pt x="137795" y="62230"/>
                </a:lnTo>
                <a:cubicBezTo>
                  <a:pt x="148167" y="72602"/>
                  <a:pt x="154093" y="85937"/>
                  <a:pt x="155575" y="100753"/>
                </a:cubicBezTo>
                <a:cubicBezTo>
                  <a:pt x="155575" y="111125"/>
                  <a:pt x="154093" y="120015"/>
                  <a:pt x="148167" y="128905"/>
                </a:cubicBezTo>
                <a:lnTo>
                  <a:pt x="121497" y="62230"/>
                </a:lnTo>
                <a:cubicBezTo>
                  <a:pt x="120015" y="59267"/>
                  <a:pt x="115570" y="57785"/>
                  <a:pt x="111125" y="59267"/>
                </a:cubicBezTo>
                <a:cubicBezTo>
                  <a:pt x="108162" y="60748"/>
                  <a:pt x="105198" y="65193"/>
                  <a:pt x="106680" y="68157"/>
                </a:cubicBezTo>
                <a:lnTo>
                  <a:pt x="133350" y="130387"/>
                </a:lnTo>
                <a:lnTo>
                  <a:pt x="75565" y="105198"/>
                </a:lnTo>
                <a:cubicBezTo>
                  <a:pt x="71120" y="103717"/>
                  <a:pt x="66675" y="106680"/>
                  <a:pt x="65193" y="109643"/>
                </a:cubicBezTo>
                <a:cubicBezTo>
                  <a:pt x="63712" y="112607"/>
                  <a:pt x="65193" y="117052"/>
                  <a:pt x="69638" y="120015"/>
                </a:cubicBezTo>
                <a:lnTo>
                  <a:pt x="131868" y="146685"/>
                </a:lnTo>
                <a:cubicBezTo>
                  <a:pt x="124460" y="151130"/>
                  <a:pt x="114088" y="154093"/>
                  <a:pt x="103717" y="154093"/>
                </a:cubicBezTo>
                <a:close/>
                <a:moveTo>
                  <a:pt x="151130" y="294852"/>
                </a:moveTo>
                <a:cubicBezTo>
                  <a:pt x="158538" y="271145"/>
                  <a:pt x="173355" y="251883"/>
                  <a:pt x="195580" y="238548"/>
                </a:cubicBezTo>
                <a:cubicBezTo>
                  <a:pt x="223732" y="222250"/>
                  <a:pt x="253365" y="222250"/>
                  <a:pt x="285962" y="223732"/>
                </a:cubicBezTo>
                <a:lnTo>
                  <a:pt x="291888" y="223732"/>
                </a:lnTo>
                <a:cubicBezTo>
                  <a:pt x="305223" y="223732"/>
                  <a:pt x="318558" y="223732"/>
                  <a:pt x="330412" y="219287"/>
                </a:cubicBezTo>
                <a:lnTo>
                  <a:pt x="330412" y="222250"/>
                </a:lnTo>
                <a:cubicBezTo>
                  <a:pt x="330412" y="280035"/>
                  <a:pt x="284480" y="325967"/>
                  <a:pt x="226695" y="325967"/>
                </a:cubicBezTo>
                <a:cubicBezTo>
                  <a:pt x="197062" y="327448"/>
                  <a:pt x="170392" y="314113"/>
                  <a:pt x="151130" y="294852"/>
                </a:cubicBezTo>
                <a:close/>
                <a:moveTo>
                  <a:pt x="336991" y="434798"/>
                </a:moveTo>
                <a:lnTo>
                  <a:pt x="305223" y="383752"/>
                </a:lnTo>
                <a:cubicBezTo>
                  <a:pt x="296333" y="371898"/>
                  <a:pt x="290407" y="358563"/>
                  <a:pt x="291888" y="343747"/>
                </a:cubicBezTo>
                <a:cubicBezTo>
                  <a:pt x="291888" y="333375"/>
                  <a:pt x="296333" y="324485"/>
                  <a:pt x="302260" y="317077"/>
                </a:cubicBezTo>
                <a:lnTo>
                  <a:pt x="323003" y="385233"/>
                </a:lnTo>
                <a:cubicBezTo>
                  <a:pt x="324485" y="388197"/>
                  <a:pt x="327448" y="391160"/>
                  <a:pt x="330412" y="391160"/>
                </a:cubicBezTo>
                <a:lnTo>
                  <a:pt x="331893" y="391160"/>
                </a:lnTo>
                <a:cubicBezTo>
                  <a:pt x="336338" y="389678"/>
                  <a:pt x="337820" y="385233"/>
                  <a:pt x="336338" y="382270"/>
                </a:cubicBezTo>
                <a:lnTo>
                  <a:pt x="317077" y="318558"/>
                </a:lnTo>
                <a:lnTo>
                  <a:pt x="371898" y="349673"/>
                </a:lnTo>
                <a:cubicBezTo>
                  <a:pt x="374862" y="351155"/>
                  <a:pt x="379307" y="349673"/>
                  <a:pt x="382270" y="346710"/>
                </a:cubicBezTo>
                <a:cubicBezTo>
                  <a:pt x="383752" y="343747"/>
                  <a:pt x="382270" y="339302"/>
                  <a:pt x="379307" y="336338"/>
                </a:cubicBezTo>
                <a:lnTo>
                  <a:pt x="320040" y="303742"/>
                </a:lnTo>
                <a:cubicBezTo>
                  <a:pt x="342265" y="293370"/>
                  <a:pt x="368935" y="299297"/>
                  <a:pt x="386715" y="320040"/>
                </a:cubicBezTo>
                <a:lnTo>
                  <a:pt x="428855" y="358402"/>
                </a:lnTo>
                <a:lnTo>
                  <a:pt x="336991" y="434798"/>
                </a:lnTo>
                <a:close/>
              </a:path>
            </a:pathLst>
          </a:custGeom>
          <a:solidFill>
            <a:srgbClr val="101010"/>
          </a:solidFill>
          <a:ln w="14605" cap="flat">
            <a:noFill/>
            <a:prstDash val="solid"/>
            <a:miter/>
          </a:ln>
        </p:spPr>
        <p:txBody>
          <a:bodyPr rtlCol="0" anchor="ctr"/>
          <a:lstStyle/>
          <a:p>
            <a:endParaRPr lang="de-DE"/>
          </a:p>
        </p:txBody>
      </p:sp>
      <p:grpSp>
        <p:nvGrpSpPr>
          <p:cNvPr id="5238" name="Graphic 3">
            <a:extLst>
              <a:ext uri="{FF2B5EF4-FFF2-40B4-BE49-F238E27FC236}">
                <a16:creationId xmlns:a16="http://schemas.microsoft.com/office/drawing/2014/main" id="{84469D01-9E6D-47EB-9C14-4DBCDBA3851C}"/>
              </a:ext>
              <a:ext uri="{C183D7F6-B498-43B3-948B-1728B52AA6E4}">
                <adec:decorative xmlns:adec="http://schemas.microsoft.com/office/drawing/2017/decorative" val="1"/>
              </a:ext>
            </a:extLst>
          </p:cNvPr>
          <p:cNvGrpSpPr>
            <a:grpSpLocks noChangeAspect="1"/>
          </p:cNvGrpSpPr>
          <p:nvPr/>
        </p:nvGrpSpPr>
        <p:grpSpPr>
          <a:xfrm>
            <a:off x="5708025" y="3861075"/>
            <a:ext cx="79285" cy="27327"/>
            <a:chOff x="5988367" y="3368992"/>
            <a:chExt cx="196215" cy="67628"/>
          </a:xfrm>
        </p:grpSpPr>
        <p:sp>
          <p:nvSpPr>
            <p:cNvPr id="5239" name="Freeform: Shape 5238">
              <a:extLst>
                <a:ext uri="{FF2B5EF4-FFF2-40B4-BE49-F238E27FC236}">
                  <a16:creationId xmlns:a16="http://schemas.microsoft.com/office/drawing/2014/main" id="{4104D6D7-A03B-4EA9-92DE-6062DBE9F5EE}"/>
                </a:ext>
              </a:extLst>
            </p:cNvPr>
            <p:cNvSpPr/>
            <p:nvPr/>
          </p:nvSpPr>
          <p:spPr>
            <a:xfrm>
              <a:off x="5988367" y="3368992"/>
              <a:ext cx="66675" cy="66675"/>
            </a:xfrm>
            <a:custGeom>
              <a:avLst/>
              <a:gdLst>
                <a:gd name="connsiteX0" fmla="*/ 67628 w 66675"/>
                <a:gd name="connsiteY0" fmla="*/ 22860 h 66675"/>
                <a:gd name="connsiteX1" fmla="*/ 49530 w 66675"/>
                <a:gd name="connsiteY1" fmla="*/ 22860 h 66675"/>
                <a:gd name="connsiteX2" fmla="*/ 49530 w 66675"/>
                <a:gd name="connsiteY2" fmla="*/ 4763 h 66675"/>
                <a:gd name="connsiteX3" fmla="*/ 44768 w 66675"/>
                <a:gd name="connsiteY3" fmla="*/ 0 h 66675"/>
                <a:gd name="connsiteX4" fmla="*/ 27623 w 66675"/>
                <a:gd name="connsiteY4" fmla="*/ 0 h 66675"/>
                <a:gd name="connsiteX5" fmla="*/ 22860 w 66675"/>
                <a:gd name="connsiteY5" fmla="*/ 4763 h 66675"/>
                <a:gd name="connsiteX6" fmla="*/ 22860 w 66675"/>
                <a:gd name="connsiteY6" fmla="*/ 22860 h 66675"/>
                <a:gd name="connsiteX7" fmla="*/ 4763 w 66675"/>
                <a:gd name="connsiteY7" fmla="*/ 22860 h 66675"/>
                <a:gd name="connsiteX8" fmla="*/ 0 w 66675"/>
                <a:gd name="connsiteY8" fmla="*/ 27623 h 66675"/>
                <a:gd name="connsiteX9" fmla="*/ 0 w 66675"/>
                <a:gd name="connsiteY9" fmla="*/ 44768 h 66675"/>
                <a:gd name="connsiteX10" fmla="*/ 4763 w 66675"/>
                <a:gd name="connsiteY10" fmla="*/ 49530 h 66675"/>
                <a:gd name="connsiteX11" fmla="*/ 22860 w 66675"/>
                <a:gd name="connsiteY11" fmla="*/ 49530 h 66675"/>
                <a:gd name="connsiteX12" fmla="*/ 22860 w 66675"/>
                <a:gd name="connsiteY12" fmla="*/ 67628 h 66675"/>
                <a:gd name="connsiteX13" fmla="*/ 27623 w 66675"/>
                <a:gd name="connsiteY13" fmla="*/ 72390 h 66675"/>
                <a:gd name="connsiteX14" fmla="*/ 44768 w 66675"/>
                <a:gd name="connsiteY14" fmla="*/ 72390 h 66675"/>
                <a:gd name="connsiteX15" fmla="*/ 49530 w 66675"/>
                <a:gd name="connsiteY15" fmla="*/ 67628 h 66675"/>
                <a:gd name="connsiteX16" fmla="*/ 49530 w 66675"/>
                <a:gd name="connsiteY16" fmla="*/ 49530 h 66675"/>
                <a:gd name="connsiteX17" fmla="*/ 67628 w 66675"/>
                <a:gd name="connsiteY17" fmla="*/ 49530 h 66675"/>
                <a:gd name="connsiteX18" fmla="*/ 72390 w 66675"/>
                <a:gd name="connsiteY18" fmla="*/ 44768 h 66675"/>
                <a:gd name="connsiteX19" fmla="*/ 72390 w 66675"/>
                <a:gd name="connsiteY19" fmla="*/ 27623 h 66675"/>
                <a:gd name="connsiteX20" fmla="*/ 67628 w 66675"/>
                <a:gd name="connsiteY20" fmla="*/ 22860 h 66675"/>
                <a:gd name="connsiteX21" fmla="*/ 62865 w 66675"/>
                <a:gd name="connsiteY21" fmla="*/ 39053 h 66675"/>
                <a:gd name="connsiteX22" fmla="*/ 44768 w 66675"/>
                <a:gd name="connsiteY22" fmla="*/ 39053 h 66675"/>
                <a:gd name="connsiteX23" fmla="*/ 40005 w 66675"/>
                <a:gd name="connsiteY23" fmla="*/ 43815 h 66675"/>
                <a:gd name="connsiteX24" fmla="*/ 40005 w 66675"/>
                <a:gd name="connsiteY24" fmla="*/ 61913 h 66675"/>
                <a:gd name="connsiteX25" fmla="*/ 32385 w 66675"/>
                <a:gd name="connsiteY25" fmla="*/ 61913 h 66675"/>
                <a:gd name="connsiteX26" fmla="*/ 32385 w 66675"/>
                <a:gd name="connsiteY26" fmla="*/ 43815 h 66675"/>
                <a:gd name="connsiteX27" fmla="*/ 27623 w 66675"/>
                <a:gd name="connsiteY27" fmla="*/ 39053 h 66675"/>
                <a:gd name="connsiteX28" fmla="*/ 9525 w 66675"/>
                <a:gd name="connsiteY28" fmla="*/ 39053 h 66675"/>
                <a:gd name="connsiteX29" fmla="*/ 9525 w 66675"/>
                <a:gd name="connsiteY29" fmla="*/ 32385 h 66675"/>
                <a:gd name="connsiteX30" fmla="*/ 25717 w 66675"/>
                <a:gd name="connsiteY30" fmla="*/ 32385 h 66675"/>
                <a:gd name="connsiteX31" fmla="*/ 27623 w 66675"/>
                <a:gd name="connsiteY31" fmla="*/ 32385 h 66675"/>
                <a:gd name="connsiteX32" fmla="*/ 32385 w 66675"/>
                <a:gd name="connsiteY32" fmla="*/ 27623 h 66675"/>
                <a:gd name="connsiteX33" fmla="*/ 32385 w 66675"/>
                <a:gd name="connsiteY33" fmla="*/ 9525 h 66675"/>
                <a:gd name="connsiteX34" fmla="*/ 40005 w 66675"/>
                <a:gd name="connsiteY34" fmla="*/ 9525 h 66675"/>
                <a:gd name="connsiteX35" fmla="*/ 40005 w 66675"/>
                <a:gd name="connsiteY35" fmla="*/ 27623 h 66675"/>
                <a:gd name="connsiteX36" fmla="*/ 44768 w 66675"/>
                <a:gd name="connsiteY36" fmla="*/ 32385 h 66675"/>
                <a:gd name="connsiteX37" fmla="*/ 62865 w 66675"/>
                <a:gd name="connsiteY37" fmla="*/ 32385 h 66675"/>
                <a:gd name="connsiteX38" fmla="*/ 62865 w 66675"/>
                <a:gd name="connsiteY38" fmla="*/ 3905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675" h="66675">
                  <a:moveTo>
                    <a:pt x="67628" y="22860"/>
                  </a:moveTo>
                  <a:lnTo>
                    <a:pt x="49530" y="22860"/>
                  </a:lnTo>
                  <a:lnTo>
                    <a:pt x="49530" y="4763"/>
                  </a:lnTo>
                  <a:cubicBezTo>
                    <a:pt x="49530" y="1905"/>
                    <a:pt x="47625" y="0"/>
                    <a:pt x="44768" y="0"/>
                  </a:cubicBezTo>
                  <a:lnTo>
                    <a:pt x="27623" y="0"/>
                  </a:lnTo>
                  <a:cubicBezTo>
                    <a:pt x="24765" y="0"/>
                    <a:pt x="22860" y="1905"/>
                    <a:pt x="22860" y="4763"/>
                  </a:cubicBezTo>
                  <a:lnTo>
                    <a:pt x="22860" y="22860"/>
                  </a:lnTo>
                  <a:lnTo>
                    <a:pt x="4763" y="22860"/>
                  </a:lnTo>
                  <a:cubicBezTo>
                    <a:pt x="2858" y="22860"/>
                    <a:pt x="0" y="24765"/>
                    <a:pt x="0" y="27623"/>
                  </a:cubicBezTo>
                  <a:lnTo>
                    <a:pt x="0" y="44768"/>
                  </a:lnTo>
                  <a:cubicBezTo>
                    <a:pt x="0" y="47625"/>
                    <a:pt x="1905" y="49530"/>
                    <a:pt x="4763" y="49530"/>
                  </a:cubicBezTo>
                  <a:lnTo>
                    <a:pt x="22860" y="49530"/>
                  </a:lnTo>
                  <a:lnTo>
                    <a:pt x="22860" y="67628"/>
                  </a:lnTo>
                  <a:cubicBezTo>
                    <a:pt x="22860" y="70485"/>
                    <a:pt x="24765" y="72390"/>
                    <a:pt x="27623" y="72390"/>
                  </a:cubicBezTo>
                  <a:lnTo>
                    <a:pt x="44768" y="72390"/>
                  </a:lnTo>
                  <a:cubicBezTo>
                    <a:pt x="47625" y="72390"/>
                    <a:pt x="49530" y="70485"/>
                    <a:pt x="49530" y="67628"/>
                  </a:cubicBezTo>
                  <a:lnTo>
                    <a:pt x="49530" y="49530"/>
                  </a:lnTo>
                  <a:lnTo>
                    <a:pt x="67628" y="49530"/>
                  </a:lnTo>
                  <a:cubicBezTo>
                    <a:pt x="70485" y="49530"/>
                    <a:pt x="72390" y="47625"/>
                    <a:pt x="72390" y="44768"/>
                  </a:cubicBezTo>
                  <a:lnTo>
                    <a:pt x="72390" y="27623"/>
                  </a:lnTo>
                  <a:cubicBezTo>
                    <a:pt x="72390" y="24765"/>
                    <a:pt x="69533" y="22860"/>
                    <a:pt x="67628" y="22860"/>
                  </a:cubicBezTo>
                  <a:close/>
                  <a:moveTo>
                    <a:pt x="62865" y="39053"/>
                  </a:moveTo>
                  <a:lnTo>
                    <a:pt x="44768" y="39053"/>
                  </a:lnTo>
                  <a:cubicBezTo>
                    <a:pt x="41910" y="39053"/>
                    <a:pt x="40005" y="40958"/>
                    <a:pt x="40005" y="43815"/>
                  </a:cubicBezTo>
                  <a:lnTo>
                    <a:pt x="40005" y="61913"/>
                  </a:lnTo>
                  <a:lnTo>
                    <a:pt x="32385" y="61913"/>
                  </a:lnTo>
                  <a:lnTo>
                    <a:pt x="32385" y="43815"/>
                  </a:lnTo>
                  <a:cubicBezTo>
                    <a:pt x="32385" y="40958"/>
                    <a:pt x="30480" y="39053"/>
                    <a:pt x="27623" y="39053"/>
                  </a:cubicBezTo>
                  <a:lnTo>
                    <a:pt x="9525" y="39053"/>
                  </a:lnTo>
                  <a:lnTo>
                    <a:pt x="9525" y="32385"/>
                  </a:lnTo>
                  <a:lnTo>
                    <a:pt x="25717" y="32385"/>
                  </a:lnTo>
                  <a:cubicBezTo>
                    <a:pt x="26670" y="32385"/>
                    <a:pt x="26670" y="32385"/>
                    <a:pt x="27623" y="32385"/>
                  </a:cubicBezTo>
                  <a:cubicBezTo>
                    <a:pt x="30480" y="32385"/>
                    <a:pt x="32385" y="30480"/>
                    <a:pt x="32385" y="27623"/>
                  </a:cubicBezTo>
                  <a:lnTo>
                    <a:pt x="32385" y="9525"/>
                  </a:lnTo>
                  <a:lnTo>
                    <a:pt x="40005" y="9525"/>
                  </a:lnTo>
                  <a:lnTo>
                    <a:pt x="40005" y="27623"/>
                  </a:lnTo>
                  <a:cubicBezTo>
                    <a:pt x="40005" y="30480"/>
                    <a:pt x="41910" y="32385"/>
                    <a:pt x="44768" y="32385"/>
                  </a:cubicBezTo>
                  <a:lnTo>
                    <a:pt x="62865" y="32385"/>
                  </a:lnTo>
                  <a:lnTo>
                    <a:pt x="62865" y="39053"/>
                  </a:lnTo>
                  <a:close/>
                </a:path>
              </a:pathLst>
            </a:custGeom>
            <a:solidFill>
              <a:srgbClr val="101010"/>
            </a:solidFill>
            <a:ln w="9525" cap="flat">
              <a:noFill/>
              <a:prstDash val="solid"/>
              <a:miter/>
            </a:ln>
          </p:spPr>
          <p:txBody>
            <a:bodyPr rtlCol="0" anchor="ctr"/>
            <a:lstStyle/>
            <a:p>
              <a:endParaRPr lang="de-DE"/>
            </a:p>
          </p:txBody>
        </p:sp>
        <p:grpSp>
          <p:nvGrpSpPr>
            <p:cNvPr id="5240" name="Graphic 3">
              <a:extLst>
                <a:ext uri="{FF2B5EF4-FFF2-40B4-BE49-F238E27FC236}">
                  <a16:creationId xmlns:a16="http://schemas.microsoft.com/office/drawing/2014/main" id="{A7DB6055-0DEF-49B6-B58F-4BDACE8ECF31}"/>
                </a:ext>
              </a:extLst>
            </p:cNvPr>
            <p:cNvGrpSpPr/>
            <p:nvPr/>
          </p:nvGrpSpPr>
          <p:grpSpPr>
            <a:xfrm>
              <a:off x="6117907" y="3369945"/>
              <a:ext cx="66675" cy="66675"/>
              <a:chOff x="6117907" y="3369945"/>
              <a:chExt cx="66675" cy="66675"/>
            </a:xfrm>
            <a:solidFill>
              <a:srgbClr val="101010"/>
            </a:solidFill>
          </p:grpSpPr>
          <p:sp>
            <p:nvSpPr>
              <p:cNvPr id="5242" name="Freeform: Shape 5241">
                <a:extLst>
                  <a:ext uri="{FF2B5EF4-FFF2-40B4-BE49-F238E27FC236}">
                    <a16:creationId xmlns:a16="http://schemas.microsoft.com/office/drawing/2014/main" id="{289BD9C0-E757-4CAE-AAB3-6AEB77B9B319}"/>
                  </a:ext>
                </a:extLst>
              </p:cNvPr>
              <p:cNvSpPr/>
              <p:nvPr/>
            </p:nvSpPr>
            <p:spPr>
              <a:xfrm>
                <a:off x="6117907" y="3369945"/>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8" y="0"/>
                      <a:pt x="14288" y="0"/>
                    </a:cubicBezTo>
                    <a:lnTo>
                      <a:pt x="14288" y="0"/>
                    </a:lnTo>
                    <a:cubicBezTo>
                      <a:pt x="22860" y="0"/>
                      <a:pt x="28575" y="6667"/>
                      <a:pt x="28575" y="14288"/>
                    </a:cubicBezTo>
                    <a:lnTo>
                      <a:pt x="28575" y="14288"/>
                    </a:lnTo>
                    <a:cubicBezTo>
                      <a:pt x="28575" y="22860"/>
                      <a:pt x="21908" y="28575"/>
                      <a:pt x="14288" y="28575"/>
                    </a:cubicBezTo>
                    <a:lnTo>
                      <a:pt x="14288" y="28575"/>
                    </a:lnTo>
                    <a:cubicBezTo>
                      <a:pt x="6668" y="28575"/>
                      <a:pt x="0" y="22860"/>
                      <a:pt x="0" y="14288"/>
                    </a:cubicBezTo>
                    <a:close/>
                  </a:path>
                </a:pathLst>
              </a:custGeom>
              <a:solidFill>
                <a:srgbClr val="101010"/>
              </a:solidFill>
              <a:ln w="9525" cap="flat">
                <a:noFill/>
                <a:prstDash val="solid"/>
                <a:miter/>
              </a:ln>
            </p:spPr>
            <p:txBody>
              <a:bodyPr rtlCol="0" anchor="ctr"/>
              <a:lstStyle/>
              <a:p>
                <a:endParaRPr lang="de-DE"/>
              </a:p>
            </p:txBody>
          </p:sp>
          <p:sp>
            <p:nvSpPr>
              <p:cNvPr id="5243" name="Freeform: Shape 5242">
                <a:extLst>
                  <a:ext uri="{FF2B5EF4-FFF2-40B4-BE49-F238E27FC236}">
                    <a16:creationId xmlns:a16="http://schemas.microsoft.com/office/drawing/2014/main" id="{63EFAFF2-74E3-4375-90BC-2BA2118CD05D}"/>
                  </a:ext>
                </a:extLst>
              </p:cNvPr>
              <p:cNvSpPr/>
              <p:nvPr/>
            </p:nvSpPr>
            <p:spPr>
              <a:xfrm>
                <a:off x="6158865" y="3410902"/>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7" y="0"/>
                      <a:pt x="14288" y="0"/>
                    </a:cubicBezTo>
                    <a:lnTo>
                      <a:pt x="14288" y="0"/>
                    </a:lnTo>
                    <a:cubicBezTo>
                      <a:pt x="22860" y="0"/>
                      <a:pt x="28575" y="6667"/>
                      <a:pt x="28575" y="14288"/>
                    </a:cubicBezTo>
                    <a:lnTo>
                      <a:pt x="28575" y="14288"/>
                    </a:lnTo>
                    <a:cubicBezTo>
                      <a:pt x="28575" y="22860"/>
                      <a:pt x="21907" y="28575"/>
                      <a:pt x="14288" y="28575"/>
                    </a:cubicBezTo>
                    <a:lnTo>
                      <a:pt x="14288" y="28575"/>
                    </a:lnTo>
                    <a:cubicBezTo>
                      <a:pt x="6667" y="28575"/>
                      <a:pt x="0" y="21907"/>
                      <a:pt x="0" y="14288"/>
                    </a:cubicBezTo>
                    <a:close/>
                  </a:path>
                </a:pathLst>
              </a:custGeom>
              <a:solidFill>
                <a:srgbClr val="101010"/>
              </a:solidFill>
              <a:ln w="9525" cap="flat">
                <a:noFill/>
                <a:prstDash val="solid"/>
                <a:miter/>
              </a:ln>
            </p:spPr>
            <p:txBody>
              <a:bodyPr rtlCol="0" anchor="ctr"/>
              <a:lstStyle/>
              <a:p>
                <a:endParaRPr lang="de-DE"/>
              </a:p>
            </p:txBody>
          </p:sp>
          <p:sp>
            <p:nvSpPr>
              <p:cNvPr id="5244" name="Freeform: Shape 5243">
                <a:extLst>
                  <a:ext uri="{FF2B5EF4-FFF2-40B4-BE49-F238E27FC236}">
                    <a16:creationId xmlns:a16="http://schemas.microsoft.com/office/drawing/2014/main" id="{8750AA03-8573-4FE7-A777-DC47126BBF6F}"/>
                  </a:ext>
                </a:extLst>
              </p:cNvPr>
              <p:cNvSpPr/>
              <p:nvPr/>
            </p:nvSpPr>
            <p:spPr>
              <a:xfrm>
                <a:off x="6119813" y="3411854"/>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8" y="0"/>
                      <a:pt x="14288" y="0"/>
                    </a:cubicBezTo>
                    <a:lnTo>
                      <a:pt x="14288" y="0"/>
                    </a:lnTo>
                    <a:cubicBezTo>
                      <a:pt x="22860" y="0"/>
                      <a:pt x="28575" y="6667"/>
                      <a:pt x="28575" y="14288"/>
                    </a:cubicBezTo>
                    <a:lnTo>
                      <a:pt x="28575" y="14288"/>
                    </a:lnTo>
                    <a:cubicBezTo>
                      <a:pt x="28575" y="22860"/>
                      <a:pt x="21907" y="28575"/>
                      <a:pt x="14288" y="28575"/>
                    </a:cubicBezTo>
                    <a:lnTo>
                      <a:pt x="14288" y="28575"/>
                    </a:lnTo>
                    <a:cubicBezTo>
                      <a:pt x="5715" y="28575"/>
                      <a:pt x="0" y="22860"/>
                      <a:pt x="0" y="14288"/>
                    </a:cubicBezTo>
                    <a:close/>
                  </a:path>
                </a:pathLst>
              </a:custGeom>
              <a:solidFill>
                <a:srgbClr val="101010"/>
              </a:solidFill>
              <a:ln w="9525" cap="flat">
                <a:noFill/>
                <a:prstDash val="solid"/>
                <a:miter/>
              </a:ln>
            </p:spPr>
            <p:txBody>
              <a:bodyPr rtlCol="0" anchor="ctr"/>
              <a:lstStyle/>
              <a:p>
                <a:endParaRPr lang="de-DE"/>
              </a:p>
            </p:txBody>
          </p:sp>
          <p:sp>
            <p:nvSpPr>
              <p:cNvPr id="5245" name="Freeform: Shape 5244">
                <a:extLst>
                  <a:ext uri="{FF2B5EF4-FFF2-40B4-BE49-F238E27FC236}">
                    <a16:creationId xmlns:a16="http://schemas.microsoft.com/office/drawing/2014/main" id="{9512F70E-89CC-41A3-9E2B-DDE6AF38CC81}"/>
                  </a:ext>
                </a:extLst>
              </p:cNvPr>
              <p:cNvSpPr/>
              <p:nvPr/>
            </p:nvSpPr>
            <p:spPr>
              <a:xfrm>
                <a:off x="6158865" y="3369945"/>
                <a:ext cx="28575" cy="28575"/>
              </a:xfrm>
              <a:custGeom>
                <a:avLst/>
                <a:gdLst>
                  <a:gd name="connsiteX0" fmla="*/ 0 w 28575"/>
                  <a:gd name="connsiteY0" fmla="*/ 14288 h 28575"/>
                  <a:gd name="connsiteX1" fmla="*/ 14288 w 28575"/>
                  <a:gd name="connsiteY1" fmla="*/ 0 h 28575"/>
                  <a:gd name="connsiteX2" fmla="*/ 14288 w 28575"/>
                  <a:gd name="connsiteY2" fmla="*/ 0 h 28575"/>
                  <a:gd name="connsiteX3" fmla="*/ 28575 w 28575"/>
                  <a:gd name="connsiteY3" fmla="*/ 14288 h 28575"/>
                  <a:gd name="connsiteX4" fmla="*/ 28575 w 28575"/>
                  <a:gd name="connsiteY4" fmla="*/ 14288 h 28575"/>
                  <a:gd name="connsiteX5" fmla="*/ 14288 w 28575"/>
                  <a:gd name="connsiteY5" fmla="*/ 28575 h 28575"/>
                  <a:gd name="connsiteX6" fmla="*/ 14288 w 28575"/>
                  <a:gd name="connsiteY6" fmla="*/ 28575 h 28575"/>
                  <a:gd name="connsiteX7" fmla="*/ 0 w 28575"/>
                  <a:gd name="connsiteY7" fmla="*/ 1428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0" y="14288"/>
                    </a:moveTo>
                    <a:cubicBezTo>
                      <a:pt x="0" y="6667"/>
                      <a:pt x="6667" y="0"/>
                      <a:pt x="14288" y="0"/>
                    </a:cubicBezTo>
                    <a:lnTo>
                      <a:pt x="14288" y="0"/>
                    </a:lnTo>
                    <a:cubicBezTo>
                      <a:pt x="22860" y="0"/>
                      <a:pt x="28575" y="6667"/>
                      <a:pt x="28575" y="14288"/>
                    </a:cubicBezTo>
                    <a:lnTo>
                      <a:pt x="28575" y="14288"/>
                    </a:lnTo>
                    <a:cubicBezTo>
                      <a:pt x="28575" y="22860"/>
                      <a:pt x="21907" y="28575"/>
                      <a:pt x="14288" y="28575"/>
                    </a:cubicBezTo>
                    <a:lnTo>
                      <a:pt x="14288" y="28575"/>
                    </a:lnTo>
                    <a:cubicBezTo>
                      <a:pt x="6667" y="28575"/>
                      <a:pt x="0" y="22860"/>
                      <a:pt x="0" y="14288"/>
                    </a:cubicBezTo>
                    <a:close/>
                  </a:path>
                </a:pathLst>
              </a:custGeom>
              <a:solidFill>
                <a:srgbClr val="101010"/>
              </a:solidFill>
              <a:ln w="9525" cap="flat">
                <a:noFill/>
                <a:prstDash val="solid"/>
                <a:miter/>
              </a:ln>
            </p:spPr>
            <p:txBody>
              <a:bodyPr rtlCol="0" anchor="ctr"/>
              <a:lstStyle/>
              <a:p>
                <a:endParaRPr lang="de-DE"/>
              </a:p>
            </p:txBody>
          </p:sp>
        </p:grpSp>
        <p:sp>
          <p:nvSpPr>
            <p:cNvPr id="5241" name="Freeform: Shape 5240">
              <a:extLst>
                <a:ext uri="{FF2B5EF4-FFF2-40B4-BE49-F238E27FC236}">
                  <a16:creationId xmlns:a16="http://schemas.microsoft.com/office/drawing/2014/main" id="{843C5F09-A2C4-4C5B-9C1B-1DD805A924D1}"/>
                </a:ext>
              </a:extLst>
            </p:cNvPr>
            <p:cNvSpPr/>
            <p:nvPr/>
          </p:nvSpPr>
          <p:spPr>
            <a:xfrm>
              <a:off x="5934297" y="3319048"/>
              <a:ext cx="323850" cy="219075"/>
            </a:xfrm>
            <a:custGeom>
              <a:avLst/>
              <a:gdLst>
                <a:gd name="connsiteX0" fmla="*/ 290291 w 323850"/>
                <a:gd name="connsiteY0" fmla="*/ 38514 h 219075"/>
                <a:gd name="connsiteX1" fmla="*/ 237903 w 323850"/>
                <a:gd name="connsiteY1" fmla="*/ 414 h 219075"/>
                <a:gd name="connsiteX2" fmla="*/ 198851 w 323850"/>
                <a:gd name="connsiteY2" fmla="*/ 12796 h 219075"/>
                <a:gd name="connsiteX3" fmla="*/ 183611 w 323850"/>
                <a:gd name="connsiteY3" fmla="*/ 20416 h 219075"/>
                <a:gd name="connsiteX4" fmla="*/ 138843 w 323850"/>
                <a:gd name="connsiteY4" fmla="*/ 20416 h 219075"/>
                <a:gd name="connsiteX5" fmla="*/ 123603 w 323850"/>
                <a:gd name="connsiteY5" fmla="*/ 12796 h 219075"/>
                <a:gd name="connsiteX6" fmla="*/ 85503 w 323850"/>
                <a:gd name="connsiteY6" fmla="*/ 414 h 219075"/>
                <a:gd name="connsiteX7" fmla="*/ 33116 w 323850"/>
                <a:gd name="connsiteY7" fmla="*/ 38514 h 219075"/>
                <a:gd name="connsiteX8" fmla="*/ 3588 w 323850"/>
                <a:gd name="connsiteY8" fmla="*/ 195676 h 219075"/>
                <a:gd name="connsiteX9" fmla="*/ 21686 w 323850"/>
                <a:gd name="connsiteY9" fmla="*/ 218536 h 219075"/>
                <a:gd name="connsiteX10" fmla="*/ 31211 w 323850"/>
                <a:gd name="connsiteY10" fmla="*/ 219489 h 219075"/>
                <a:gd name="connsiteX11" fmla="*/ 55976 w 323850"/>
                <a:gd name="connsiteY11" fmla="*/ 212821 h 219075"/>
                <a:gd name="connsiteX12" fmla="*/ 85503 w 323850"/>
                <a:gd name="connsiteY12" fmla="*/ 188056 h 219075"/>
                <a:gd name="connsiteX13" fmla="*/ 95028 w 323850"/>
                <a:gd name="connsiteY13" fmla="*/ 178531 h 219075"/>
                <a:gd name="connsiteX14" fmla="*/ 118841 w 323850"/>
                <a:gd name="connsiteY14" fmla="*/ 190914 h 219075"/>
                <a:gd name="connsiteX15" fmla="*/ 147416 w 323850"/>
                <a:gd name="connsiteY15" fmla="*/ 167101 h 219075"/>
                <a:gd name="connsiteX16" fmla="*/ 176943 w 323850"/>
                <a:gd name="connsiteY16" fmla="*/ 167101 h 219075"/>
                <a:gd name="connsiteX17" fmla="*/ 205518 w 323850"/>
                <a:gd name="connsiteY17" fmla="*/ 190914 h 219075"/>
                <a:gd name="connsiteX18" fmla="*/ 229331 w 323850"/>
                <a:gd name="connsiteY18" fmla="*/ 178531 h 219075"/>
                <a:gd name="connsiteX19" fmla="*/ 238856 w 323850"/>
                <a:gd name="connsiteY19" fmla="*/ 188056 h 219075"/>
                <a:gd name="connsiteX20" fmla="*/ 268383 w 323850"/>
                <a:gd name="connsiteY20" fmla="*/ 212821 h 219075"/>
                <a:gd name="connsiteX21" fmla="*/ 303626 w 323850"/>
                <a:gd name="connsiteY21" fmla="*/ 218536 h 219075"/>
                <a:gd name="connsiteX22" fmla="*/ 321723 w 323850"/>
                <a:gd name="connsiteY22" fmla="*/ 195676 h 219075"/>
                <a:gd name="connsiteX23" fmla="*/ 290291 w 323850"/>
                <a:gd name="connsiteY23" fmla="*/ 38514 h 219075"/>
                <a:gd name="connsiteX24" fmla="*/ 118841 w 323850"/>
                <a:gd name="connsiteY24" fmla="*/ 180436 h 219075"/>
                <a:gd name="connsiteX25" fmla="*/ 99791 w 323850"/>
                <a:gd name="connsiteY25" fmla="*/ 161386 h 219075"/>
                <a:gd name="connsiteX26" fmla="*/ 118841 w 323850"/>
                <a:gd name="connsiteY26" fmla="*/ 142336 h 219075"/>
                <a:gd name="connsiteX27" fmla="*/ 137891 w 323850"/>
                <a:gd name="connsiteY27" fmla="*/ 161386 h 219075"/>
                <a:gd name="connsiteX28" fmla="*/ 118841 w 323850"/>
                <a:gd name="connsiteY28" fmla="*/ 180436 h 219075"/>
                <a:gd name="connsiteX29" fmla="*/ 204566 w 323850"/>
                <a:gd name="connsiteY29" fmla="*/ 180436 h 219075"/>
                <a:gd name="connsiteX30" fmla="*/ 185516 w 323850"/>
                <a:gd name="connsiteY30" fmla="*/ 161386 h 219075"/>
                <a:gd name="connsiteX31" fmla="*/ 204566 w 323850"/>
                <a:gd name="connsiteY31" fmla="*/ 142336 h 219075"/>
                <a:gd name="connsiteX32" fmla="*/ 223616 w 323850"/>
                <a:gd name="connsiteY32" fmla="*/ 161386 h 219075"/>
                <a:gd name="connsiteX33" fmla="*/ 204566 w 323850"/>
                <a:gd name="connsiteY33" fmla="*/ 180436 h 219075"/>
                <a:gd name="connsiteX34" fmla="*/ 311246 w 323850"/>
                <a:gd name="connsiteY34" fmla="*/ 192819 h 219075"/>
                <a:gd name="connsiteX35" fmla="*/ 299816 w 323850"/>
                <a:gd name="connsiteY35" fmla="*/ 209011 h 219075"/>
                <a:gd name="connsiteX36" fmla="*/ 271241 w 323850"/>
                <a:gd name="connsiteY36" fmla="*/ 204249 h 219075"/>
                <a:gd name="connsiteX37" fmla="*/ 244571 w 323850"/>
                <a:gd name="connsiteY37" fmla="*/ 181389 h 219075"/>
                <a:gd name="connsiteX38" fmla="*/ 232188 w 323850"/>
                <a:gd name="connsiteY38" fmla="*/ 169006 h 219075"/>
                <a:gd name="connsiteX39" fmla="*/ 233141 w 323850"/>
                <a:gd name="connsiteY39" fmla="*/ 161386 h 219075"/>
                <a:gd name="connsiteX40" fmla="*/ 204566 w 323850"/>
                <a:gd name="connsiteY40" fmla="*/ 132811 h 219075"/>
                <a:gd name="connsiteX41" fmla="*/ 175991 w 323850"/>
                <a:gd name="connsiteY41" fmla="*/ 156624 h 219075"/>
                <a:gd name="connsiteX42" fmla="*/ 146463 w 323850"/>
                <a:gd name="connsiteY42" fmla="*/ 156624 h 219075"/>
                <a:gd name="connsiteX43" fmla="*/ 117888 w 323850"/>
                <a:gd name="connsiteY43" fmla="*/ 132811 h 219075"/>
                <a:gd name="connsiteX44" fmla="*/ 89313 w 323850"/>
                <a:gd name="connsiteY44" fmla="*/ 161386 h 219075"/>
                <a:gd name="connsiteX45" fmla="*/ 90266 w 323850"/>
                <a:gd name="connsiteY45" fmla="*/ 169006 h 219075"/>
                <a:gd name="connsiteX46" fmla="*/ 77883 w 323850"/>
                <a:gd name="connsiteY46" fmla="*/ 181389 h 219075"/>
                <a:gd name="connsiteX47" fmla="*/ 51213 w 323850"/>
                <a:gd name="connsiteY47" fmla="*/ 204249 h 219075"/>
                <a:gd name="connsiteX48" fmla="*/ 22638 w 323850"/>
                <a:gd name="connsiteY48" fmla="*/ 209011 h 219075"/>
                <a:gd name="connsiteX49" fmla="*/ 11208 w 323850"/>
                <a:gd name="connsiteY49" fmla="*/ 192819 h 219075"/>
                <a:gd name="connsiteX50" fmla="*/ 39783 w 323850"/>
                <a:gd name="connsiteY50" fmla="*/ 44229 h 219075"/>
                <a:gd name="connsiteX51" fmla="*/ 86456 w 323850"/>
                <a:gd name="connsiteY51" fmla="*/ 9939 h 219075"/>
                <a:gd name="connsiteX52" fmla="*/ 117888 w 323850"/>
                <a:gd name="connsiteY52" fmla="*/ 20416 h 219075"/>
                <a:gd name="connsiteX53" fmla="*/ 135986 w 323850"/>
                <a:gd name="connsiteY53" fmla="*/ 28989 h 219075"/>
                <a:gd name="connsiteX54" fmla="*/ 186468 w 323850"/>
                <a:gd name="connsiteY54" fmla="*/ 28989 h 219075"/>
                <a:gd name="connsiteX55" fmla="*/ 204566 w 323850"/>
                <a:gd name="connsiteY55" fmla="*/ 20416 h 219075"/>
                <a:gd name="connsiteX56" fmla="*/ 235998 w 323850"/>
                <a:gd name="connsiteY56" fmla="*/ 9939 h 219075"/>
                <a:gd name="connsiteX57" fmla="*/ 282671 w 323850"/>
                <a:gd name="connsiteY57" fmla="*/ 43276 h 219075"/>
                <a:gd name="connsiteX58" fmla="*/ 311246 w 323850"/>
                <a:gd name="connsiteY58" fmla="*/ 192819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23850" h="219075">
                  <a:moveTo>
                    <a:pt x="290291" y="38514"/>
                  </a:moveTo>
                  <a:cubicBezTo>
                    <a:pt x="273146" y="15654"/>
                    <a:pt x="256001" y="3271"/>
                    <a:pt x="237903" y="414"/>
                  </a:cubicBezTo>
                  <a:cubicBezTo>
                    <a:pt x="224568" y="-1491"/>
                    <a:pt x="211233" y="3271"/>
                    <a:pt x="198851" y="12796"/>
                  </a:cubicBezTo>
                  <a:cubicBezTo>
                    <a:pt x="195041" y="15654"/>
                    <a:pt x="190278" y="18511"/>
                    <a:pt x="183611" y="20416"/>
                  </a:cubicBezTo>
                  <a:cubicBezTo>
                    <a:pt x="169323" y="25179"/>
                    <a:pt x="153131" y="25179"/>
                    <a:pt x="138843" y="20416"/>
                  </a:cubicBezTo>
                  <a:cubicBezTo>
                    <a:pt x="132176" y="18511"/>
                    <a:pt x="127413" y="15654"/>
                    <a:pt x="123603" y="12796"/>
                  </a:cubicBezTo>
                  <a:cubicBezTo>
                    <a:pt x="112173" y="3271"/>
                    <a:pt x="98838" y="-539"/>
                    <a:pt x="85503" y="414"/>
                  </a:cubicBezTo>
                  <a:cubicBezTo>
                    <a:pt x="68358" y="3271"/>
                    <a:pt x="50261" y="15654"/>
                    <a:pt x="33116" y="38514"/>
                  </a:cubicBezTo>
                  <a:cubicBezTo>
                    <a:pt x="-4032" y="87091"/>
                    <a:pt x="-3079" y="169959"/>
                    <a:pt x="3588" y="195676"/>
                  </a:cubicBezTo>
                  <a:cubicBezTo>
                    <a:pt x="7398" y="208059"/>
                    <a:pt x="13113" y="216631"/>
                    <a:pt x="21686" y="218536"/>
                  </a:cubicBezTo>
                  <a:cubicBezTo>
                    <a:pt x="24543" y="219489"/>
                    <a:pt x="28353" y="219489"/>
                    <a:pt x="31211" y="219489"/>
                  </a:cubicBezTo>
                  <a:cubicBezTo>
                    <a:pt x="39783" y="219489"/>
                    <a:pt x="48356" y="217584"/>
                    <a:pt x="55976" y="212821"/>
                  </a:cubicBezTo>
                  <a:cubicBezTo>
                    <a:pt x="68358" y="206154"/>
                    <a:pt x="76931" y="197581"/>
                    <a:pt x="85503" y="188056"/>
                  </a:cubicBezTo>
                  <a:cubicBezTo>
                    <a:pt x="88361" y="185199"/>
                    <a:pt x="92171" y="181389"/>
                    <a:pt x="95028" y="178531"/>
                  </a:cubicBezTo>
                  <a:cubicBezTo>
                    <a:pt x="99791" y="186151"/>
                    <a:pt x="108363" y="190914"/>
                    <a:pt x="118841" y="190914"/>
                  </a:cubicBezTo>
                  <a:cubicBezTo>
                    <a:pt x="133128" y="190914"/>
                    <a:pt x="144558" y="180436"/>
                    <a:pt x="147416" y="167101"/>
                  </a:cubicBezTo>
                  <a:lnTo>
                    <a:pt x="176943" y="167101"/>
                  </a:lnTo>
                  <a:cubicBezTo>
                    <a:pt x="178848" y="180436"/>
                    <a:pt x="191231" y="190914"/>
                    <a:pt x="205518" y="190914"/>
                  </a:cubicBezTo>
                  <a:cubicBezTo>
                    <a:pt x="215043" y="190914"/>
                    <a:pt x="223616" y="186151"/>
                    <a:pt x="229331" y="178531"/>
                  </a:cubicBezTo>
                  <a:cubicBezTo>
                    <a:pt x="232188" y="181389"/>
                    <a:pt x="235998" y="185199"/>
                    <a:pt x="238856" y="188056"/>
                  </a:cubicBezTo>
                  <a:cubicBezTo>
                    <a:pt x="247428" y="196629"/>
                    <a:pt x="256001" y="206154"/>
                    <a:pt x="268383" y="212821"/>
                  </a:cubicBezTo>
                  <a:cubicBezTo>
                    <a:pt x="279813" y="218536"/>
                    <a:pt x="293148" y="220441"/>
                    <a:pt x="303626" y="218536"/>
                  </a:cubicBezTo>
                  <a:cubicBezTo>
                    <a:pt x="312198" y="216631"/>
                    <a:pt x="318866" y="208059"/>
                    <a:pt x="321723" y="195676"/>
                  </a:cubicBezTo>
                  <a:cubicBezTo>
                    <a:pt x="326486" y="169959"/>
                    <a:pt x="327438" y="87091"/>
                    <a:pt x="290291" y="38514"/>
                  </a:cubicBezTo>
                  <a:close/>
                  <a:moveTo>
                    <a:pt x="118841" y="180436"/>
                  </a:moveTo>
                  <a:cubicBezTo>
                    <a:pt x="108363" y="180436"/>
                    <a:pt x="99791" y="171864"/>
                    <a:pt x="99791" y="161386"/>
                  </a:cubicBezTo>
                  <a:cubicBezTo>
                    <a:pt x="99791" y="150909"/>
                    <a:pt x="108363" y="142336"/>
                    <a:pt x="118841" y="142336"/>
                  </a:cubicBezTo>
                  <a:cubicBezTo>
                    <a:pt x="129318" y="142336"/>
                    <a:pt x="137891" y="150909"/>
                    <a:pt x="137891" y="161386"/>
                  </a:cubicBezTo>
                  <a:cubicBezTo>
                    <a:pt x="137891" y="171864"/>
                    <a:pt x="129318" y="180436"/>
                    <a:pt x="118841" y="180436"/>
                  </a:cubicBezTo>
                  <a:close/>
                  <a:moveTo>
                    <a:pt x="204566" y="180436"/>
                  </a:moveTo>
                  <a:cubicBezTo>
                    <a:pt x="194088" y="180436"/>
                    <a:pt x="185516" y="171864"/>
                    <a:pt x="185516" y="161386"/>
                  </a:cubicBezTo>
                  <a:cubicBezTo>
                    <a:pt x="185516" y="150909"/>
                    <a:pt x="194088" y="142336"/>
                    <a:pt x="204566" y="142336"/>
                  </a:cubicBezTo>
                  <a:cubicBezTo>
                    <a:pt x="215043" y="142336"/>
                    <a:pt x="223616" y="150909"/>
                    <a:pt x="223616" y="161386"/>
                  </a:cubicBezTo>
                  <a:cubicBezTo>
                    <a:pt x="223616" y="171864"/>
                    <a:pt x="215043" y="180436"/>
                    <a:pt x="204566" y="180436"/>
                  </a:cubicBezTo>
                  <a:close/>
                  <a:moveTo>
                    <a:pt x="311246" y="192819"/>
                  </a:moveTo>
                  <a:cubicBezTo>
                    <a:pt x="310293" y="198534"/>
                    <a:pt x="306483" y="207106"/>
                    <a:pt x="299816" y="209011"/>
                  </a:cubicBezTo>
                  <a:cubicBezTo>
                    <a:pt x="291243" y="210916"/>
                    <a:pt x="281718" y="209011"/>
                    <a:pt x="271241" y="204249"/>
                  </a:cubicBezTo>
                  <a:cubicBezTo>
                    <a:pt x="260763" y="198534"/>
                    <a:pt x="252191" y="189961"/>
                    <a:pt x="244571" y="181389"/>
                  </a:cubicBezTo>
                  <a:cubicBezTo>
                    <a:pt x="240761" y="177579"/>
                    <a:pt x="236951" y="172816"/>
                    <a:pt x="232188" y="169006"/>
                  </a:cubicBezTo>
                  <a:cubicBezTo>
                    <a:pt x="233141" y="167101"/>
                    <a:pt x="233141" y="164244"/>
                    <a:pt x="233141" y="161386"/>
                  </a:cubicBezTo>
                  <a:cubicBezTo>
                    <a:pt x="233141" y="145194"/>
                    <a:pt x="219806" y="132811"/>
                    <a:pt x="204566" y="132811"/>
                  </a:cubicBezTo>
                  <a:cubicBezTo>
                    <a:pt x="190278" y="132811"/>
                    <a:pt x="178848" y="143289"/>
                    <a:pt x="175991" y="156624"/>
                  </a:cubicBezTo>
                  <a:lnTo>
                    <a:pt x="146463" y="156624"/>
                  </a:lnTo>
                  <a:cubicBezTo>
                    <a:pt x="144558" y="143289"/>
                    <a:pt x="132176" y="132811"/>
                    <a:pt x="117888" y="132811"/>
                  </a:cubicBezTo>
                  <a:cubicBezTo>
                    <a:pt x="101696" y="132811"/>
                    <a:pt x="89313" y="146146"/>
                    <a:pt x="89313" y="161386"/>
                  </a:cubicBezTo>
                  <a:cubicBezTo>
                    <a:pt x="89313" y="164244"/>
                    <a:pt x="89313" y="166149"/>
                    <a:pt x="90266" y="169006"/>
                  </a:cubicBezTo>
                  <a:cubicBezTo>
                    <a:pt x="86456" y="172816"/>
                    <a:pt x="81693" y="176626"/>
                    <a:pt x="77883" y="181389"/>
                  </a:cubicBezTo>
                  <a:cubicBezTo>
                    <a:pt x="69311" y="189961"/>
                    <a:pt x="61691" y="198534"/>
                    <a:pt x="51213" y="204249"/>
                  </a:cubicBezTo>
                  <a:cubicBezTo>
                    <a:pt x="41688" y="209011"/>
                    <a:pt x="31211" y="210916"/>
                    <a:pt x="22638" y="209011"/>
                  </a:cubicBezTo>
                  <a:cubicBezTo>
                    <a:pt x="15971" y="207106"/>
                    <a:pt x="12161" y="198534"/>
                    <a:pt x="11208" y="192819"/>
                  </a:cubicBezTo>
                  <a:cubicBezTo>
                    <a:pt x="4541" y="169006"/>
                    <a:pt x="4541" y="89949"/>
                    <a:pt x="39783" y="44229"/>
                  </a:cubicBezTo>
                  <a:cubicBezTo>
                    <a:pt x="55976" y="23274"/>
                    <a:pt x="72168" y="11844"/>
                    <a:pt x="86456" y="9939"/>
                  </a:cubicBezTo>
                  <a:cubicBezTo>
                    <a:pt x="96933" y="8986"/>
                    <a:pt x="107411" y="11844"/>
                    <a:pt x="117888" y="20416"/>
                  </a:cubicBezTo>
                  <a:cubicBezTo>
                    <a:pt x="122651" y="24226"/>
                    <a:pt x="128366" y="27084"/>
                    <a:pt x="135986" y="28989"/>
                  </a:cubicBezTo>
                  <a:cubicBezTo>
                    <a:pt x="152178" y="33751"/>
                    <a:pt x="170276" y="33751"/>
                    <a:pt x="186468" y="28989"/>
                  </a:cubicBezTo>
                  <a:cubicBezTo>
                    <a:pt x="194088" y="27084"/>
                    <a:pt x="199803" y="23274"/>
                    <a:pt x="204566" y="20416"/>
                  </a:cubicBezTo>
                  <a:cubicBezTo>
                    <a:pt x="215043" y="11844"/>
                    <a:pt x="225521" y="8986"/>
                    <a:pt x="235998" y="9939"/>
                  </a:cubicBezTo>
                  <a:cubicBezTo>
                    <a:pt x="251238" y="11844"/>
                    <a:pt x="266478" y="23274"/>
                    <a:pt x="282671" y="43276"/>
                  </a:cubicBezTo>
                  <a:cubicBezTo>
                    <a:pt x="317913" y="89949"/>
                    <a:pt x="316961" y="169006"/>
                    <a:pt x="311246" y="192819"/>
                  </a:cubicBezTo>
                  <a:close/>
                </a:path>
              </a:pathLst>
            </a:custGeom>
            <a:solidFill>
              <a:srgbClr val="101010"/>
            </a:solidFill>
            <a:ln w="9525" cap="flat">
              <a:noFill/>
              <a:prstDash val="solid"/>
              <a:miter/>
            </a:ln>
          </p:spPr>
          <p:txBody>
            <a:bodyPr rtlCol="0" anchor="ctr"/>
            <a:lstStyle/>
            <a:p>
              <a:endParaRPr lang="de-DE"/>
            </a:p>
          </p:txBody>
        </p:sp>
      </p:grpSp>
      <p:grpSp>
        <p:nvGrpSpPr>
          <p:cNvPr id="5246" name="Graphic 3">
            <a:extLst>
              <a:ext uri="{FF2B5EF4-FFF2-40B4-BE49-F238E27FC236}">
                <a16:creationId xmlns:a16="http://schemas.microsoft.com/office/drawing/2014/main" id="{36D4338C-3970-4541-BCD1-4357887D56F9}"/>
              </a:ext>
              <a:ext uri="{C183D7F6-B498-43B3-948B-1728B52AA6E4}">
                <adec:decorative xmlns:adec="http://schemas.microsoft.com/office/drawing/2017/decorative" val="1"/>
              </a:ext>
            </a:extLst>
          </p:cNvPr>
          <p:cNvGrpSpPr>
            <a:grpSpLocks noChangeAspect="1"/>
          </p:cNvGrpSpPr>
          <p:nvPr/>
        </p:nvGrpSpPr>
        <p:grpSpPr>
          <a:xfrm>
            <a:off x="627786" y="4181122"/>
            <a:ext cx="134308" cy="110606"/>
            <a:chOff x="5858896" y="3233738"/>
            <a:chExt cx="474208" cy="390524"/>
          </a:xfrm>
          <a:solidFill>
            <a:srgbClr val="000000"/>
          </a:solidFill>
        </p:grpSpPr>
        <p:sp>
          <p:nvSpPr>
            <p:cNvPr id="5247" name="Freeform: Shape 5246">
              <a:extLst>
                <a:ext uri="{FF2B5EF4-FFF2-40B4-BE49-F238E27FC236}">
                  <a16:creationId xmlns:a16="http://schemas.microsoft.com/office/drawing/2014/main" id="{DB7CC943-00A2-4678-8DB5-AA155B36521D}"/>
                </a:ext>
              </a:extLst>
            </p:cNvPr>
            <p:cNvSpPr/>
            <p:nvPr/>
          </p:nvSpPr>
          <p:spPr>
            <a:xfrm>
              <a:off x="5858896" y="3233738"/>
              <a:ext cx="474208" cy="390524"/>
            </a:xfrm>
            <a:custGeom>
              <a:avLst/>
              <a:gdLst>
                <a:gd name="connsiteX0" fmla="*/ 435156 w 474208"/>
                <a:gd name="connsiteY0" fmla="*/ 26500 h 390524"/>
                <a:gd name="connsiteX1" fmla="*/ 404472 w 474208"/>
                <a:gd name="connsiteY1" fmla="*/ 0 h 390524"/>
                <a:gd name="connsiteX2" fmla="*/ 375182 w 474208"/>
                <a:gd name="connsiteY2" fmla="*/ 22316 h 390524"/>
                <a:gd name="connsiteX3" fmla="*/ 263604 w 474208"/>
                <a:gd name="connsiteY3" fmla="*/ 121341 h 390524"/>
                <a:gd name="connsiteX4" fmla="*/ 256630 w 474208"/>
                <a:gd name="connsiteY4" fmla="*/ 136683 h 390524"/>
                <a:gd name="connsiteX5" fmla="*/ 256630 w 474208"/>
                <a:gd name="connsiteY5" fmla="*/ 165973 h 390524"/>
                <a:gd name="connsiteX6" fmla="*/ 248262 w 474208"/>
                <a:gd name="connsiteY6" fmla="*/ 165973 h 390524"/>
                <a:gd name="connsiteX7" fmla="*/ 241288 w 474208"/>
                <a:gd name="connsiteY7" fmla="*/ 172946 h 390524"/>
                <a:gd name="connsiteX8" fmla="*/ 248262 w 474208"/>
                <a:gd name="connsiteY8" fmla="*/ 179920 h 390524"/>
                <a:gd name="connsiteX9" fmla="*/ 256630 w 474208"/>
                <a:gd name="connsiteY9" fmla="*/ 179920 h 390524"/>
                <a:gd name="connsiteX10" fmla="*/ 256630 w 474208"/>
                <a:gd name="connsiteY10" fmla="*/ 184104 h 390524"/>
                <a:gd name="connsiteX11" fmla="*/ 248262 w 474208"/>
                <a:gd name="connsiteY11" fmla="*/ 184104 h 390524"/>
                <a:gd name="connsiteX12" fmla="*/ 241288 w 474208"/>
                <a:gd name="connsiteY12" fmla="*/ 191078 h 390524"/>
                <a:gd name="connsiteX13" fmla="*/ 248262 w 474208"/>
                <a:gd name="connsiteY13" fmla="*/ 198051 h 390524"/>
                <a:gd name="connsiteX14" fmla="*/ 256630 w 474208"/>
                <a:gd name="connsiteY14" fmla="*/ 198051 h 390524"/>
                <a:gd name="connsiteX15" fmla="*/ 256630 w 474208"/>
                <a:gd name="connsiteY15" fmla="*/ 207815 h 390524"/>
                <a:gd name="connsiteX16" fmla="*/ 217578 w 474208"/>
                <a:gd name="connsiteY16" fmla="*/ 207815 h 390524"/>
                <a:gd name="connsiteX17" fmla="*/ 217578 w 474208"/>
                <a:gd name="connsiteY17" fmla="*/ 198051 h 390524"/>
                <a:gd name="connsiteX18" fmla="*/ 225946 w 474208"/>
                <a:gd name="connsiteY18" fmla="*/ 198051 h 390524"/>
                <a:gd name="connsiteX19" fmla="*/ 232920 w 474208"/>
                <a:gd name="connsiteY19" fmla="*/ 191078 h 390524"/>
                <a:gd name="connsiteX20" fmla="*/ 225946 w 474208"/>
                <a:gd name="connsiteY20" fmla="*/ 184104 h 390524"/>
                <a:gd name="connsiteX21" fmla="*/ 217578 w 474208"/>
                <a:gd name="connsiteY21" fmla="*/ 184104 h 390524"/>
                <a:gd name="connsiteX22" fmla="*/ 217578 w 474208"/>
                <a:gd name="connsiteY22" fmla="*/ 181315 h 390524"/>
                <a:gd name="connsiteX23" fmla="*/ 225946 w 474208"/>
                <a:gd name="connsiteY23" fmla="*/ 181315 h 390524"/>
                <a:gd name="connsiteX24" fmla="*/ 232920 w 474208"/>
                <a:gd name="connsiteY24" fmla="*/ 174341 h 390524"/>
                <a:gd name="connsiteX25" fmla="*/ 225946 w 474208"/>
                <a:gd name="connsiteY25" fmla="*/ 167367 h 390524"/>
                <a:gd name="connsiteX26" fmla="*/ 217578 w 474208"/>
                <a:gd name="connsiteY26" fmla="*/ 167367 h 390524"/>
                <a:gd name="connsiteX27" fmla="*/ 217578 w 474208"/>
                <a:gd name="connsiteY27" fmla="*/ 136683 h 390524"/>
                <a:gd name="connsiteX28" fmla="*/ 210604 w 474208"/>
                <a:gd name="connsiteY28" fmla="*/ 121341 h 390524"/>
                <a:gd name="connsiteX29" fmla="*/ 99026 w 474208"/>
                <a:gd name="connsiteY29" fmla="*/ 23710 h 390524"/>
                <a:gd name="connsiteX30" fmla="*/ 69736 w 474208"/>
                <a:gd name="connsiteY30" fmla="*/ 0 h 390524"/>
                <a:gd name="connsiteX31" fmla="*/ 39052 w 474208"/>
                <a:gd name="connsiteY31" fmla="*/ 26500 h 390524"/>
                <a:gd name="connsiteX32" fmla="*/ 0 w 474208"/>
                <a:gd name="connsiteY32" fmla="*/ 380761 h 390524"/>
                <a:gd name="connsiteX33" fmla="*/ 5579 w 474208"/>
                <a:gd name="connsiteY33" fmla="*/ 389129 h 390524"/>
                <a:gd name="connsiteX34" fmla="*/ 9763 w 474208"/>
                <a:gd name="connsiteY34" fmla="*/ 387735 h 390524"/>
                <a:gd name="connsiteX35" fmla="*/ 12553 w 474208"/>
                <a:gd name="connsiteY35" fmla="*/ 386340 h 390524"/>
                <a:gd name="connsiteX36" fmla="*/ 69736 w 474208"/>
                <a:gd name="connsiteY36" fmla="*/ 323577 h 390524"/>
                <a:gd name="connsiteX37" fmla="*/ 126920 w 474208"/>
                <a:gd name="connsiteY37" fmla="*/ 386340 h 390524"/>
                <a:gd name="connsiteX38" fmla="*/ 128315 w 474208"/>
                <a:gd name="connsiteY38" fmla="*/ 387735 h 390524"/>
                <a:gd name="connsiteX39" fmla="*/ 132499 w 474208"/>
                <a:gd name="connsiteY39" fmla="*/ 389129 h 390524"/>
                <a:gd name="connsiteX40" fmla="*/ 133894 w 474208"/>
                <a:gd name="connsiteY40" fmla="*/ 389129 h 390524"/>
                <a:gd name="connsiteX41" fmla="*/ 139473 w 474208"/>
                <a:gd name="connsiteY41" fmla="*/ 380761 h 390524"/>
                <a:gd name="connsiteX42" fmla="*/ 101815 w 474208"/>
                <a:gd name="connsiteY42" fmla="*/ 43237 h 390524"/>
                <a:gd name="connsiteX43" fmla="*/ 202236 w 474208"/>
                <a:gd name="connsiteY43" fmla="*/ 131104 h 390524"/>
                <a:gd name="connsiteX44" fmla="*/ 205025 w 474208"/>
                <a:gd name="connsiteY44" fmla="*/ 136683 h 390524"/>
                <a:gd name="connsiteX45" fmla="*/ 205025 w 474208"/>
                <a:gd name="connsiteY45" fmla="*/ 167367 h 390524"/>
                <a:gd name="connsiteX46" fmla="*/ 195262 w 474208"/>
                <a:gd name="connsiteY46" fmla="*/ 167367 h 390524"/>
                <a:gd name="connsiteX47" fmla="*/ 188288 w 474208"/>
                <a:gd name="connsiteY47" fmla="*/ 174341 h 390524"/>
                <a:gd name="connsiteX48" fmla="*/ 195262 w 474208"/>
                <a:gd name="connsiteY48" fmla="*/ 181315 h 390524"/>
                <a:gd name="connsiteX49" fmla="*/ 203631 w 474208"/>
                <a:gd name="connsiteY49" fmla="*/ 181315 h 390524"/>
                <a:gd name="connsiteX50" fmla="*/ 203631 w 474208"/>
                <a:gd name="connsiteY50" fmla="*/ 184104 h 390524"/>
                <a:gd name="connsiteX51" fmla="*/ 195262 w 474208"/>
                <a:gd name="connsiteY51" fmla="*/ 184104 h 390524"/>
                <a:gd name="connsiteX52" fmla="*/ 188288 w 474208"/>
                <a:gd name="connsiteY52" fmla="*/ 191078 h 390524"/>
                <a:gd name="connsiteX53" fmla="*/ 195262 w 474208"/>
                <a:gd name="connsiteY53" fmla="*/ 198051 h 390524"/>
                <a:gd name="connsiteX54" fmla="*/ 203631 w 474208"/>
                <a:gd name="connsiteY54" fmla="*/ 198051 h 390524"/>
                <a:gd name="connsiteX55" fmla="*/ 203631 w 474208"/>
                <a:gd name="connsiteY55" fmla="*/ 207815 h 390524"/>
                <a:gd name="connsiteX56" fmla="*/ 181315 w 474208"/>
                <a:gd name="connsiteY56" fmla="*/ 207815 h 390524"/>
                <a:gd name="connsiteX57" fmla="*/ 167368 w 474208"/>
                <a:gd name="connsiteY57" fmla="*/ 221762 h 390524"/>
                <a:gd name="connsiteX58" fmla="*/ 167368 w 474208"/>
                <a:gd name="connsiteY58" fmla="*/ 375182 h 390524"/>
                <a:gd name="connsiteX59" fmla="*/ 181315 w 474208"/>
                <a:gd name="connsiteY59" fmla="*/ 389129 h 390524"/>
                <a:gd name="connsiteX60" fmla="*/ 292893 w 474208"/>
                <a:gd name="connsiteY60" fmla="*/ 389129 h 390524"/>
                <a:gd name="connsiteX61" fmla="*/ 306840 w 474208"/>
                <a:gd name="connsiteY61" fmla="*/ 375182 h 390524"/>
                <a:gd name="connsiteX62" fmla="*/ 306840 w 474208"/>
                <a:gd name="connsiteY62" fmla="*/ 221762 h 390524"/>
                <a:gd name="connsiteX63" fmla="*/ 292893 w 474208"/>
                <a:gd name="connsiteY63" fmla="*/ 207815 h 390524"/>
                <a:gd name="connsiteX64" fmla="*/ 270578 w 474208"/>
                <a:gd name="connsiteY64" fmla="*/ 207815 h 390524"/>
                <a:gd name="connsiteX65" fmla="*/ 270578 w 474208"/>
                <a:gd name="connsiteY65" fmla="*/ 198051 h 390524"/>
                <a:gd name="connsiteX66" fmla="*/ 278946 w 474208"/>
                <a:gd name="connsiteY66" fmla="*/ 198051 h 390524"/>
                <a:gd name="connsiteX67" fmla="*/ 285920 w 474208"/>
                <a:gd name="connsiteY67" fmla="*/ 191078 h 390524"/>
                <a:gd name="connsiteX68" fmla="*/ 278946 w 474208"/>
                <a:gd name="connsiteY68" fmla="*/ 184104 h 390524"/>
                <a:gd name="connsiteX69" fmla="*/ 270578 w 474208"/>
                <a:gd name="connsiteY69" fmla="*/ 184104 h 390524"/>
                <a:gd name="connsiteX70" fmla="*/ 270578 w 474208"/>
                <a:gd name="connsiteY70" fmla="*/ 179920 h 390524"/>
                <a:gd name="connsiteX71" fmla="*/ 278946 w 474208"/>
                <a:gd name="connsiteY71" fmla="*/ 179920 h 390524"/>
                <a:gd name="connsiteX72" fmla="*/ 285920 w 474208"/>
                <a:gd name="connsiteY72" fmla="*/ 172946 h 390524"/>
                <a:gd name="connsiteX73" fmla="*/ 278946 w 474208"/>
                <a:gd name="connsiteY73" fmla="*/ 165973 h 390524"/>
                <a:gd name="connsiteX74" fmla="*/ 270578 w 474208"/>
                <a:gd name="connsiteY74" fmla="*/ 165973 h 390524"/>
                <a:gd name="connsiteX75" fmla="*/ 270578 w 474208"/>
                <a:gd name="connsiteY75" fmla="*/ 136683 h 390524"/>
                <a:gd name="connsiteX76" fmla="*/ 273367 w 474208"/>
                <a:gd name="connsiteY76" fmla="*/ 131104 h 390524"/>
                <a:gd name="connsiteX77" fmla="*/ 373787 w 474208"/>
                <a:gd name="connsiteY77" fmla="*/ 43237 h 390524"/>
                <a:gd name="connsiteX78" fmla="*/ 334735 w 474208"/>
                <a:gd name="connsiteY78" fmla="*/ 380761 h 390524"/>
                <a:gd name="connsiteX79" fmla="*/ 340314 w 474208"/>
                <a:gd name="connsiteY79" fmla="*/ 389129 h 390524"/>
                <a:gd name="connsiteX80" fmla="*/ 344498 w 474208"/>
                <a:gd name="connsiteY80" fmla="*/ 387735 h 390524"/>
                <a:gd name="connsiteX81" fmla="*/ 344498 w 474208"/>
                <a:gd name="connsiteY81" fmla="*/ 387735 h 390524"/>
                <a:gd name="connsiteX82" fmla="*/ 344498 w 474208"/>
                <a:gd name="connsiteY82" fmla="*/ 387735 h 390524"/>
                <a:gd name="connsiteX83" fmla="*/ 345893 w 474208"/>
                <a:gd name="connsiteY83" fmla="*/ 386340 h 390524"/>
                <a:gd name="connsiteX84" fmla="*/ 403077 w 474208"/>
                <a:gd name="connsiteY84" fmla="*/ 323577 h 390524"/>
                <a:gd name="connsiteX85" fmla="*/ 460261 w 474208"/>
                <a:gd name="connsiteY85" fmla="*/ 386340 h 390524"/>
                <a:gd name="connsiteX86" fmla="*/ 461655 w 474208"/>
                <a:gd name="connsiteY86" fmla="*/ 387735 h 390524"/>
                <a:gd name="connsiteX87" fmla="*/ 467234 w 474208"/>
                <a:gd name="connsiteY87" fmla="*/ 390524 h 390524"/>
                <a:gd name="connsiteX88" fmla="*/ 468629 w 474208"/>
                <a:gd name="connsiteY88" fmla="*/ 390524 h 390524"/>
                <a:gd name="connsiteX89" fmla="*/ 474208 w 474208"/>
                <a:gd name="connsiteY89" fmla="*/ 382156 h 390524"/>
                <a:gd name="connsiteX90" fmla="*/ 435156 w 474208"/>
                <a:gd name="connsiteY90" fmla="*/ 26500 h 390524"/>
                <a:gd name="connsiteX91" fmla="*/ 83684 w 474208"/>
                <a:gd name="connsiteY91" fmla="*/ 29289 h 390524"/>
                <a:gd name="connsiteX92" fmla="*/ 69736 w 474208"/>
                <a:gd name="connsiteY92" fmla="*/ 43237 h 390524"/>
                <a:gd name="connsiteX93" fmla="*/ 55789 w 474208"/>
                <a:gd name="connsiteY93" fmla="*/ 29289 h 390524"/>
                <a:gd name="connsiteX94" fmla="*/ 69736 w 474208"/>
                <a:gd name="connsiteY94" fmla="*/ 15342 h 390524"/>
                <a:gd name="connsiteX95" fmla="*/ 83684 w 474208"/>
                <a:gd name="connsiteY95" fmla="*/ 29289 h 390524"/>
                <a:gd name="connsiteX96" fmla="*/ 69736 w 474208"/>
                <a:gd name="connsiteY96" fmla="*/ 57184 h 390524"/>
                <a:gd name="connsiteX97" fmla="*/ 89263 w 474208"/>
                <a:gd name="connsiteY97" fmla="*/ 48816 h 390524"/>
                <a:gd name="connsiteX98" fmla="*/ 93447 w 474208"/>
                <a:gd name="connsiteY98" fmla="*/ 87868 h 390524"/>
                <a:gd name="connsiteX99" fmla="*/ 69736 w 474208"/>
                <a:gd name="connsiteY99" fmla="*/ 117157 h 390524"/>
                <a:gd name="connsiteX100" fmla="*/ 47421 w 474208"/>
                <a:gd name="connsiteY100" fmla="*/ 87868 h 390524"/>
                <a:gd name="connsiteX101" fmla="*/ 51605 w 474208"/>
                <a:gd name="connsiteY101" fmla="*/ 50210 h 390524"/>
                <a:gd name="connsiteX102" fmla="*/ 69736 w 474208"/>
                <a:gd name="connsiteY102" fmla="*/ 57184 h 390524"/>
                <a:gd name="connsiteX103" fmla="*/ 44631 w 474208"/>
                <a:gd name="connsiteY103" fmla="*/ 107394 h 390524"/>
                <a:gd name="connsiteX104" fmla="*/ 61368 w 474208"/>
                <a:gd name="connsiteY104" fmla="*/ 128315 h 390524"/>
                <a:gd name="connsiteX105" fmla="*/ 39052 w 474208"/>
                <a:gd name="connsiteY105" fmla="*/ 156210 h 390524"/>
                <a:gd name="connsiteX106" fmla="*/ 44631 w 474208"/>
                <a:gd name="connsiteY106" fmla="*/ 107394 h 390524"/>
                <a:gd name="connsiteX107" fmla="*/ 69736 w 474208"/>
                <a:gd name="connsiteY107" fmla="*/ 139473 h 390524"/>
                <a:gd name="connsiteX108" fmla="*/ 99026 w 474208"/>
                <a:gd name="connsiteY108" fmla="*/ 175736 h 390524"/>
                <a:gd name="connsiteX109" fmla="*/ 69736 w 474208"/>
                <a:gd name="connsiteY109" fmla="*/ 205025 h 390524"/>
                <a:gd name="connsiteX110" fmla="*/ 40447 w 474208"/>
                <a:gd name="connsiteY110" fmla="*/ 175736 h 390524"/>
                <a:gd name="connsiteX111" fmla="*/ 69736 w 474208"/>
                <a:gd name="connsiteY111" fmla="*/ 139473 h 390524"/>
                <a:gd name="connsiteX112" fmla="*/ 34868 w 474208"/>
                <a:gd name="connsiteY112" fmla="*/ 189683 h 390524"/>
                <a:gd name="connsiteX113" fmla="*/ 59973 w 474208"/>
                <a:gd name="connsiteY113" fmla="*/ 214788 h 390524"/>
                <a:gd name="connsiteX114" fmla="*/ 29289 w 474208"/>
                <a:gd name="connsiteY114" fmla="*/ 245472 h 390524"/>
                <a:gd name="connsiteX115" fmla="*/ 34868 w 474208"/>
                <a:gd name="connsiteY115" fmla="*/ 189683 h 390524"/>
                <a:gd name="connsiteX116" fmla="*/ 69736 w 474208"/>
                <a:gd name="connsiteY116" fmla="*/ 224551 h 390524"/>
                <a:gd name="connsiteX117" fmla="*/ 107394 w 474208"/>
                <a:gd name="connsiteY117" fmla="*/ 262209 h 390524"/>
                <a:gd name="connsiteX118" fmla="*/ 69736 w 474208"/>
                <a:gd name="connsiteY118" fmla="*/ 302656 h 390524"/>
                <a:gd name="connsiteX119" fmla="*/ 32079 w 474208"/>
                <a:gd name="connsiteY119" fmla="*/ 262209 h 390524"/>
                <a:gd name="connsiteX120" fmla="*/ 69736 w 474208"/>
                <a:gd name="connsiteY120" fmla="*/ 224551 h 390524"/>
                <a:gd name="connsiteX121" fmla="*/ 79500 w 474208"/>
                <a:gd name="connsiteY121" fmla="*/ 214788 h 390524"/>
                <a:gd name="connsiteX122" fmla="*/ 103210 w 474208"/>
                <a:gd name="connsiteY122" fmla="*/ 191078 h 390524"/>
                <a:gd name="connsiteX123" fmla="*/ 108789 w 474208"/>
                <a:gd name="connsiteY123" fmla="*/ 245472 h 390524"/>
                <a:gd name="connsiteX124" fmla="*/ 79500 w 474208"/>
                <a:gd name="connsiteY124" fmla="*/ 214788 h 390524"/>
                <a:gd name="connsiteX125" fmla="*/ 100421 w 474208"/>
                <a:gd name="connsiteY125" fmla="*/ 154815 h 390524"/>
                <a:gd name="connsiteX126" fmla="*/ 79500 w 474208"/>
                <a:gd name="connsiteY126" fmla="*/ 128315 h 390524"/>
                <a:gd name="connsiteX127" fmla="*/ 94842 w 474208"/>
                <a:gd name="connsiteY127" fmla="*/ 108789 h 390524"/>
                <a:gd name="connsiteX128" fmla="*/ 100421 w 474208"/>
                <a:gd name="connsiteY128" fmla="*/ 154815 h 390524"/>
                <a:gd name="connsiteX129" fmla="*/ 16737 w 474208"/>
                <a:gd name="connsiteY129" fmla="*/ 362629 h 390524"/>
                <a:gd name="connsiteX130" fmla="*/ 26500 w 474208"/>
                <a:gd name="connsiteY130" fmla="*/ 276156 h 390524"/>
                <a:gd name="connsiteX131" fmla="*/ 61368 w 474208"/>
                <a:gd name="connsiteY131" fmla="*/ 313814 h 390524"/>
                <a:gd name="connsiteX132" fmla="*/ 16737 w 474208"/>
                <a:gd name="connsiteY132" fmla="*/ 362629 h 390524"/>
                <a:gd name="connsiteX133" fmla="*/ 112973 w 474208"/>
                <a:gd name="connsiteY133" fmla="*/ 276156 h 390524"/>
                <a:gd name="connsiteX134" fmla="*/ 122736 w 474208"/>
                <a:gd name="connsiteY134" fmla="*/ 362629 h 390524"/>
                <a:gd name="connsiteX135" fmla="*/ 79500 w 474208"/>
                <a:gd name="connsiteY135" fmla="*/ 313814 h 390524"/>
                <a:gd name="connsiteX136" fmla="*/ 112973 w 474208"/>
                <a:gd name="connsiteY136" fmla="*/ 276156 h 390524"/>
                <a:gd name="connsiteX137" fmla="*/ 292893 w 474208"/>
                <a:gd name="connsiteY137" fmla="*/ 375182 h 390524"/>
                <a:gd name="connsiteX138" fmla="*/ 292893 w 474208"/>
                <a:gd name="connsiteY138" fmla="*/ 382156 h 390524"/>
                <a:gd name="connsiteX139" fmla="*/ 292893 w 474208"/>
                <a:gd name="connsiteY139" fmla="*/ 375182 h 390524"/>
                <a:gd name="connsiteX140" fmla="*/ 292893 w 474208"/>
                <a:gd name="connsiteY140" fmla="*/ 375182 h 390524"/>
                <a:gd name="connsiteX141" fmla="*/ 292893 w 474208"/>
                <a:gd name="connsiteY141" fmla="*/ 375182 h 390524"/>
                <a:gd name="connsiteX142" fmla="*/ 181315 w 474208"/>
                <a:gd name="connsiteY142" fmla="*/ 375182 h 390524"/>
                <a:gd name="connsiteX143" fmla="*/ 181315 w 474208"/>
                <a:gd name="connsiteY143" fmla="*/ 221762 h 390524"/>
                <a:gd name="connsiteX144" fmla="*/ 292893 w 474208"/>
                <a:gd name="connsiteY144" fmla="*/ 221762 h 390524"/>
                <a:gd name="connsiteX145" fmla="*/ 292893 w 474208"/>
                <a:gd name="connsiteY145" fmla="*/ 375182 h 390524"/>
                <a:gd name="connsiteX146" fmla="*/ 435156 w 474208"/>
                <a:gd name="connsiteY146" fmla="*/ 154815 h 390524"/>
                <a:gd name="connsiteX147" fmla="*/ 414235 w 474208"/>
                <a:gd name="connsiteY147" fmla="*/ 128315 h 390524"/>
                <a:gd name="connsiteX148" fmla="*/ 429577 w 474208"/>
                <a:gd name="connsiteY148" fmla="*/ 108789 h 390524"/>
                <a:gd name="connsiteX149" fmla="*/ 435156 w 474208"/>
                <a:gd name="connsiteY149" fmla="*/ 154815 h 390524"/>
                <a:gd name="connsiteX150" fmla="*/ 433761 w 474208"/>
                <a:gd name="connsiteY150" fmla="*/ 175736 h 390524"/>
                <a:gd name="connsiteX151" fmla="*/ 404472 w 474208"/>
                <a:gd name="connsiteY151" fmla="*/ 205025 h 390524"/>
                <a:gd name="connsiteX152" fmla="*/ 375182 w 474208"/>
                <a:gd name="connsiteY152" fmla="*/ 175736 h 390524"/>
                <a:gd name="connsiteX153" fmla="*/ 404472 w 474208"/>
                <a:gd name="connsiteY153" fmla="*/ 139473 h 390524"/>
                <a:gd name="connsiteX154" fmla="*/ 433761 w 474208"/>
                <a:gd name="connsiteY154" fmla="*/ 175736 h 390524"/>
                <a:gd name="connsiteX155" fmla="*/ 404472 w 474208"/>
                <a:gd name="connsiteY155" fmla="*/ 117157 h 390524"/>
                <a:gd name="connsiteX156" fmla="*/ 380761 w 474208"/>
                <a:gd name="connsiteY156" fmla="*/ 87868 h 390524"/>
                <a:gd name="connsiteX157" fmla="*/ 384945 w 474208"/>
                <a:gd name="connsiteY157" fmla="*/ 50210 h 390524"/>
                <a:gd name="connsiteX158" fmla="*/ 404472 w 474208"/>
                <a:gd name="connsiteY158" fmla="*/ 57184 h 390524"/>
                <a:gd name="connsiteX159" fmla="*/ 423998 w 474208"/>
                <a:gd name="connsiteY159" fmla="*/ 48816 h 390524"/>
                <a:gd name="connsiteX160" fmla="*/ 428182 w 474208"/>
                <a:gd name="connsiteY160" fmla="*/ 87868 h 390524"/>
                <a:gd name="connsiteX161" fmla="*/ 404472 w 474208"/>
                <a:gd name="connsiteY161" fmla="*/ 117157 h 390524"/>
                <a:gd name="connsiteX162" fmla="*/ 418419 w 474208"/>
                <a:gd name="connsiteY162" fmla="*/ 29289 h 390524"/>
                <a:gd name="connsiteX163" fmla="*/ 404472 w 474208"/>
                <a:gd name="connsiteY163" fmla="*/ 43237 h 390524"/>
                <a:gd name="connsiteX164" fmla="*/ 390524 w 474208"/>
                <a:gd name="connsiteY164" fmla="*/ 29289 h 390524"/>
                <a:gd name="connsiteX165" fmla="*/ 404472 w 474208"/>
                <a:gd name="connsiteY165" fmla="*/ 15342 h 390524"/>
                <a:gd name="connsiteX166" fmla="*/ 418419 w 474208"/>
                <a:gd name="connsiteY166" fmla="*/ 29289 h 390524"/>
                <a:gd name="connsiteX167" fmla="*/ 379366 w 474208"/>
                <a:gd name="connsiteY167" fmla="*/ 107394 h 390524"/>
                <a:gd name="connsiteX168" fmla="*/ 396103 w 474208"/>
                <a:gd name="connsiteY168" fmla="*/ 128315 h 390524"/>
                <a:gd name="connsiteX169" fmla="*/ 373787 w 474208"/>
                <a:gd name="connsiteY169" fmla="*/ 156210 h 390524"/>
                <a:gd name="connsiteX170" fmla="*/ 379366 w 474208"/>
                <a:gd name="connsiteY170" fmla="*/ 107394 h 390524"/>
                <a:gd name="connsiteX171" fmla="*/ 369603 w 474208"/>
                <a:gd name="connsiteY171" fmla="*/ 189683 h 390524"/>
                <a:gd name="connsiteX172" fmla="*/ 394708 w 474208"/>
                <a:gd name="connsiteY172" fmla="*/ 214788 h 390524"/>
                <a:gd name="connsiteX173" fmla="*/ 364024 w 474208"/>
                <a:gd name="connsiteY173" fmla="*/ 245472 h 390524"/>
                <a:gd name="connsiteX174" fmla="*/ 369603 w 474208"/>
                <a:gd name="connsiteY174" fmla="*/ 189683 h 390524"/>
                <a:gd name="connsiteX175" fmla="*/ 404472 w 474208"/>
                <a:gd name="connsiteY175" fmla="*/ 224551 h 390524"/>
                <a:gd name="connsiteX176" fmla="*/ 442129 w 474208"/>
                <a:gd name="connsiteY176" fmla="*/ 262209 h 390524"/>
                <a:gd name="connsiteX177" fmla="*/ 404472 w 474208"/>
                <a:gd name="connsiteY177" fmla="*/ 302656 h 390524"/>
                <a:gd name="connsiteX178" fmla="*/ 366814 w 474208"/>
                <a:gd name="connsiteY178" fmla="*/ 262209 h 390524"/>
                <a:gd name="connsiteX179" fmla="*/ 404472 w 474208"/>
                <a:gd name="connsiteY179" fmla="*/ 224551 h 390524"/>
                <a:gd name="connsiteX180" fmla="*/ 414235 w 474208"/>
                <a:gd name="connsiteY180" fmla="*/ 214788 h 390524"/>
                <a:gd name="connsiteX181" fmla="*/ 437945 w 474208"/>
                <a:gd name="connsiteY181" fmla="*/ 191078 h 390524"/>
                <a:gd name="connsiteX182" fmla="*/ 443524 w 474208"/>
                <a:gd name="connsiteY182" fmla="*/ 245472 h 390524"/>
                <a:gd name="connsiteX183" fmla="*/ 414235 w 474208"/>
                <a:gd name="connsiteY183" fmla="*/ 214788 h 390524"/>
                <a:gd name="connsiteX184" fmla="*/ 351472 w 474208"/>
                <a:gd name="connsiteY184" fmla="*/ 362629 h 390524"/>
                <a:gd name="connsiteX185" fmla="*/ 361235 w 474208"/>
                <a:gd name="connsiteY185" fmla="*/ 276156 h 390524"/>
                <a:gd name="connsiteX186" fmla="*/ 396103 w 474208"/>
                <a:gd name="connsiteY186" fmla="*/ 313814 h 390524"/>
                <a:gd name="connsiteX187" fmla="*/ 351472 w 474208"/>
                <a:gd name="connsiteY187" fmla="*/ 362629 h 390524"/>
                <a:gd name="connsiteX188" fmla="*/ 447708 w 474208"/>
                <a:gd name="connsiteY188" fmla="*/ 276156 h 390524"/>
                <a:gd name="connsiteX189" fmla="*/ 457471 w 474208"/>
                <a:gd name="connsiteY189" fmla="*/ 362629 h 390524"/>
                <a:gd name="connsiteX190" fmla="*/ 414235 w 474208"/>
                <a:gd name="connsiteY190" fmla="*/ 313814 h 390524"/>
                <a:gd name="connsiteX191" fmla="*/ 447708 w 474208"/>
                <a:gd name="connsiteY191" fmla="*/ 276156 h 390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474208" h="390524">
                  <a:moveTo>
                    <a:pt x="435156" y="26500"/>
                  </a:moveTo>
                  <a:cubicBezTo>
                    <a:pt x="432366" y="11158"/>
                    <a:pt x="419814" y="0"/>
                    <a:pt x="404472" y="0"/>
                  </a:cubicBezTo>
                  <a:cubicBezTo>
                    <a:pt x="390524" y="0"/>
                    <a:pt x="379366" y="9763"/>
                    <a:pt x="375182" y="22316"/>
                  </a:cubicBezTo>
                  <a:lnTo>
                    <a:pt x="263604" y="121341"/>
                  </a:lnTo>
                  <a:cubicBezTo>
                    <a:pt x="259420" y="125526"/>
                    <a:pt x="256630" y="131104"/>
                    <a:pt x="256630" y="136683"/>
                  </a:cubicBezTo>
                  <a:lnTo>
                    <a:pt x="256630" y="165973"/>
                  </a:lnTo>
                  <a:lnTo>
                    <a:pt x="248262" y="165973"/>
                  </a:lnTo>
                  <a:cubicBezTo>
                    <a:pt x="244078" y="165973"/>
                    <a:pt x="241288" y="168762"/>
                    <a:pt x="241288" y="172946"/>
                  </a:cubicBezTo>
                  <a:cubicBezTo>
                    <a:pt x="241288" y="177131"/>
                    <a:pt x="244078" y="179920"/>
                    <a:pt x="248262" y="179920"/>
                  </a:cubicBezTo>
                  <a:lnTo>
                    <a:pt x="256630" y="179920"/>
                  </a:lnTo>
                  <a:lnTo>
                    <a:pt x="256630" y="184104"/>
                  </a:lnTo>
                  <a:lnTo>
                    <a:pt x="248262" y="184104"/>
                  </a:lnTo>
                  <a:cubicBezTo>
                    <a:pt x="244078" y="184104"/>
                    <a:pt x="241288" y="186894"/>
                    <a:pt x="241288" y="191078"/>
                  </a:cubicBezTo>
                  <a:cubicBezTo>
                    <a:pt x="241288" y="195262"/>
                    <a:pt x="244078" y="198051"/>
                    <a:pt x="248262" y="198051"/>
                  </a:cubicBezTo>
                  <a:lnTo>
                    <a:pt x="256630" y="198051"/>
                  </a:lnTo>
                  <a:lnTo>
                    <a:pt x="256630" y="207815"/>
                  </a:lnTo>
                  <a:lnTo>
                    <a:pt x="217578" y="207815"/>
                  </a:lnTo>
                  <a:lnTo>
                    <a:pt x="217578" y="198051"/>
                  </a:lnTo>
                  <a:lnTo>
                    <a:pt x="225946" y="198051"/>
                  </a:lnTo>
                  <a:cubicBezTo>
                    <a:pt x="230130" y="198051"/>
                    <a:pt x="232920" y="195262"/>
                    <a:pt x="232920" y="191078"/>
                  </a:cubicBezTo>
                  <a:cubicBezTo>
                    <a:pt x="232920" y="186894"/>
                    <a:pt x="230130" y="184104"/>
                    <a:pt x="225946" y="184104"/>
                  </a:cubicBezTo>
                  <a:lnTo>
                    <a:pt x="217578" y="184104"/>
                  </a:lnTo>
                  <a:lnTo>
                    <a:pt x="217578" y="181315"/>
                  </a:lnTo>
                  <a:lnTo>
                    <a:pt x="225946" y="181315"/>
                  </a:lnTo>
                  <a:cubicBezTo>
                    <a:pt x="230130" y="181315"/>
                    <a:pt x="232920" y="178525"/>
                    <a:pt x="232920" y="174341"/>
                  </a:cubicBezTo>
                  <a:cubicBezTo>
                    <a:pt x="232920" y="170157"/>
                    <a:pt x="230130" y="167367"/>
                    <a:pt x="225946" y="167367"/>
                  </a:cubicBezTo>
                  <a:lnTo>
                    <a:pt x="217578" y="167367"/>
                  </a:lnTo>
                  <a:lnTo>
                    <a:pt x="217578" y="136683"/>
                  </a:lnTo>
                  <a:cubicBezTo>
                    <a:pt x="217578" y="131104"/>
                    <a:pt x="214788" y="125526"/>
                    <a:pt x="210604" y="121341"/>
                  </a:cubicBezTo>
                  <a:lnTo>
                    <a:pt x="99026" y="23710"/>
                  </a:lnTo>
                  <a:cubicBezTo>
                    <a:pt x="96236" y="9763"/>
                    <a:pt x="83684" y="0"/>
                    <a:pt x="69736" y="0"/>
                  </a:cubicBezTo>
                  <a:cubicBezTo>
                    <a:pt x="54394" y="0"/>
                    <a:pt x="41842" y="11158"/>
                    <a:pt x="39052" y="26500"/>
                  </a:cubicBezTo>
                  <a:lnTo>
                    <a:pt x="0" y="380761"/>
                  </a:lnTo>
                  <a:cubicBezTo>
                    <a:pt x="0" y="384945"/>
                    <a:pt x="2789" y="387735"/>
                    <a:pt x="5579" y="389129"/>
                  </a:cubicBezTo>
                  <a:cubicBezTo>
                    <a:pt x="6974" y="389129"/>
                    <a:pt x="8368" y="389129"/>
                    <a:pt x="9763" y="387735"/>
                  </a:cubicBezTo>
                  <a:cubicBezTo>
                    <a:pt x="11158" y="387735"/>
                    <a:pt x="12553" y="386340"/>
                    <a:pt x="12553" y="386340"/>
                  </a:cubicBezTo>
                  <a:lnTo>
                    <a:pt x="69736" y="323577"/>
                  </a:lnTo>
                  <a:lnTo>
                    <a:pt x="126920" y="386340"/>
                  </a:lnTo>
                  <a:cubicBezTo>
                    <a:pt x="126920" y="386340"/>
                    <a:pt x="128315" y="386340"/>
                    <a:pt x="128315" y="387735"/>
                  </a:cubicBezTo>
                  <a:cubicBezTo>
                    <a:pt x="129710" y="389129"/>
                    <a:pt x="131105" y="389129"/>
                    <a:pt x="132499" y="389129"/>
                  </a:cubicBezTo>
                  <a:cubicBezTo>
                    <a:pt x="132499" y="389129"/>
                    <a:pt x="132499" y="389129"/>
                    <a:pt x="133894" y="389129"/>
                  </a:cubicBezTo>
                  <a:cubicBezTo>
                    <a:pt x="138078" y="389129"/>
                    <a:pt x="140868" y="384945"/>
                    <a:pt x="139473" y="380761"/>
                  </a:cubicBezTo>
                  <a:lnTo>
                    <a:pt x="101815" y="43237"/>
                  </a:lnTo>
                  <a:lnTo>
                    <a:pt x="202236" y="131104"/>
                  </a:lnTo>
                  <a:cubicBezTo>
                    <a:pt x="203631" y="132499"/>
                    <a:pt x="205025" y="133894"/>
                    <a:pt x="205025" y="136683"/>
                  </a:cubicBezTo>
                  <a:lnTo>
                    <a:pt x="205025" y="167367"/>
                  </a:lnTo>
                  <a:lnTo>
                    <a:pt x="195262" y="167367"/>
                  </a:lnTo>
                  <a:cubicBezTo>
                    <a:pt x="191078" y="167367"/>
                    <a:pt x="188288" y="170157"/>
                    <a:pt x="188288" y="174341"/>
                  </a:cubicBezTo>
                  <a:cubicBezTo>
                    <a:pt x="188288" y="178525"/>
                    <a:pt x="191078" y="181315"/>
                    <a:pt x="195262" y="181315"/>
                  </a:cubicBezTo>
                  <a:lnTo>
                    <a:pt x="203631" y="181315"/>
                  </a:lnTo>
                  <a:lnTo>
                    <a:pt x="203631" y="184104"/>
                  </a:lnTo>
                  <a:lnTo>
                    <a:pt x="195262" y="184104"/>
                  </a:lnTo>
                  <a:cubicBezTo>
                    <a:pt x="191078" y="184104"/>
                    <a:pt x="188288" y="186894"/>
                    <a:pt x="188288" y="191078"/>
                  </a:cubicBezTo>
                  <a:cubicBezTo>
                    <a:pt x="188288" y="195262"/>
                    <a:pt x="191078" y="198051"/>
                    <a:pt x="195262" y="198051"/>
                  </a:cubicBezTo>
                  <a:lnTo>
                    <a:pt x="203631" y="198051"/>
                  </a:lnTo>
                  <a:lnTo>
                    <a:pt x="203631" y="207815"/>
                  </a:lnTo>
                  <a:lnTo>
                    <a:pt x="181315" y="207815"/>
                  </a:lnTo>
                  <a:cubicBezTo>
                    <a:pt x="172946" y="207815"/>
                    <a:pt x="167368" y="213393"/>
                    <a:pt x="167368" y="221762"/>
                  </a:cubicBezTo>
                  <a:lnTo>
                    <a:pt x="167368" y="375182"/>
                  </a:lnTo>
                  <a:cubicBezTo>
                    <a:pt x="167368" y="383550"/>
                    <a:pt x="172946" y="389129"/>
                    <a:pt x="181315" y="389129"/>
                  </a:cubicBezTo>
                  <a:lnTo>
                    <a:pt x="292893" y="389129"/>
                  </a:lnTo>
                  <a:cubicBezTo>
                    <a:pt x="301262" y="389129"/>
                    <a:pt x="306840" y="383550"/>
                    <a:pt x="306840" y="375182"/>
                  </a:cubicBezTo>
                  <a:lnTo>
                    <a:pt x="306840" y="221762"/>
                  </a:lnTo>
                  <a:cubicBezTo>
                    <a:pt x="306840" y="213393"/>
                    <a:pt x="301262" y="207815"/>
                    <a:pt x="292893" y="207815"/>
                  </a:cubicBezTo>
                  <a:lnTo>
                    <a:pt x="270578" y="207815"/>
                  </a:lnTo>
                  <a:lnTo>
                    <a:pt x="270578" y="198051"/>
                  </a:lnTo>
                  <a:lnTo>
                    <a:pt x="278946" y="198051"/>
                  </a:lnTo>
                  <a:cubicBezTo>
                    <a:pt x="283130" y="198051"/>
                    <a:pt x="285920" y="195262"/>
                    <a:pt x="285920" y="191078"/>
                  </a:cubicBezTo>
                  <a:cubicBezTo>
                    <a:pt x="285920" y="186894"/>
                    <a:pt x="283130" y="184104"/>
                    <a:pt x="278946" y="184104"/>
                  </a:cubicBezTo>
                  <a:lnTo>
                    <a:pt x="270578" y="184104"/>
                  </a:lnTo>
                  <a:lnTo>
                    <a:pt x="270578" y="179920"/>
                  </a:lnTo>
                  <a:lnTo>
                    <a:pt x="278946" y="179920"/>
                  </a:lnTo>
                  <a:cubicBezTo>
                    <a:pt x="283130" y="179920"/>
                    <a:pt x="285920" y="177131"/>
                    <a:pt x="285920" y="172946"/>
                  </a:cubicBezTo>
                  <a:cubicBezTo>
                    <a:pt x="285920" y="168762"/>
                    <a:pt x="283130" y="165973"/>
                    <a:pt x="278946" y="165973"/>
                  </a:cubicBezTo>
                  <a:lnTo>
                    <a:pt x="270578" y="165973"/>
                  </a:lnTo>
                  <a:lnTo>
                    <a:pt x="270578" y="136683"/>
                  </a:lnTo>
                  <a:cubicBezTo>
                    <a:pt x="270578" y="135289"/>
                    <a:pt x="271972" y="132499"/>
                    <a:pt x="273367" y="131104"/>
                  </a:cubicBezTo>
                  <a:lnTo>
                    <a:pt x="373787" y="43237"/>
                  </a:lnTo>
                  <a:lnTo>
                    <a:pt x="334735" y="380761"/>
                  </a:lnTo>
                  <a:cubicBezTo>
                    <a:pt x="334735" y="384945"/>
                    <a:pt x="337525" y="387735"/>
                    <a:pt x="340314" y="389129"/>
                  </a:cubicBezTo>
                  <a:cubicBezTo>
                    <a:pt x="341709" y="389129"/>
                    <a:pt x="343103" y="389129"/>
                    <a:pt x="344498" y="387735"/>
                  </a:cubicBezTo>
                  <a:cubicBezTo>
                    <a:pt x="344498" y="387735"/>
                    <a:pt x="344498" y="387735"/>
                    <a:pt x="344498" y="387735"/>
                  </a:cubicBezTo>
                  <a:cubicBezTo>
                    <a:pt x="344498" y="387735"/>
                    <a:pt x="344498" y="387735"/>
                    <a:pt x="344498" y="387735"/>
                  </a:cubicBezTo>
                  <a:cubicBezTo>
                    <a:pt x="345893" y="387735"/>
                    <a:pt x="345893" y="386340"/>
                    <a:pt x="345893" y="386340"/>
                  </a:cubicBezTo>
                  <a:lnTo>
                    <a:pt x="403077" y="323577"/>
                  </a:lnTo>
                  <a:lnTo>
                    <a:pt x="460261" y="386340"/>
                  </a:lnTo>
                  <a:cubicBezTo>
                    <a:pt x="460261" y="386340"/>
                    <a:pt x="461655" y="386340"/>
                    <a:pt x="461655" y="387735"/>
                  </a:cubicBezTo>
                  <a:cubicBezTo>
                    <a:pt x="463050" y="389129"/>
                    <a:pt x="464445" y="390524"/>
                    <a:pt x="467234" y="390524"/>
                  </a:cubicBezTo>
                  <a:cubicBezTo>
                    <a:pt x="467234" y="390524"/>
                    <a:pt x="467234" y="390524"/>
                    <a:pt x="468629" y="390524"/>
                  </a:cubicBezTo>
                  <a:cubicBezTo>
                    <a:pt x="472813" y="390524"/>
                    <a:pt x="475603" y="386340"/>
                    <a:pt x="474208" y="382156"/>
                  </a:cubicBezTo>
                  <a:lnTo>
                    <a:pt x="435156" y="26500"/>
                  </a:lnTo>
                  <a:close/>
                  <a:moveTo>
                    <a:pt x="83684" y="29289"/>
                  </a:moveTo>
                  <a:cubicBezTo>
                    <a:pt x="83684" y="37658"/>
                    <a:pt x="78105" y="43237"/>
                    <a:pt x="69736" y="43237"/>
                  </a:cubicBezTo>
                  <a:cubicBezTo>
                    <a:pt x="61368" y="43237"/>
                    <a:pt x="55789" y="37658"/>
                    <a:pt x="55789" y="29289"/>
                  </a:cubicBezTo>
                  <a:cubicBezTo>
                    <a:pt x="55789" y="20921"/>
                    <a:pt x="61368" y="15342"/>
                    <a:pt x="69736" y="15342"/>
                  </a:cubicBezTo>
                  <a:cubicBezTo>
                    <a:pt x="76710" y="15342"/>
                    <a:pt x="83684" y="22316"/>
                    <a:pt x="83684" y="29289"/>
                  </a:cubicBezTo>
                  <a:close/>
                  <a:moveTo>
                    <a:pt x="69736" y="57184"/>
                  </a:moveTo>
                  <a:cubicBezTo>
                    <a:pt x="76710" y="57184"/>
                    <a:pt x="83684" y="54394"/>
                    <a:pt x="89263" y="48816"/>
                  </a:cubicBezTo>
                  <a:lnTo>
                    <a:pt x="93447" y="87868"/>
                  </a:lnTo>
                  <a:lnTo>
                    <a:pt x="69736" y="117157"/>
                  </a:lnTo>
                  <a:lnTo>
                    <a:pt x="47421" y="87868"/>
                  </a:lnTo>
                  <a:lnTo>
                    <a:pt x="51605" y="50210"/>
                  </a:lnTo>
                  <a:cubicBezTo>
                    <a:pt x="55789" y="54394"/>
                    <a:pt x="62763" y="57184"/>
                    <a:pt x="69736" y="57184"/>
                  </a:cubicBezTo>
                  <a:close/>
                  <a:moveTo>
                    <a:pt x="44631" y="107394"/>
                  </a:moveTo>
                  <a:lnTo>
                    <a:pt x="61368" y="128315"/>
                  </a:lnTo>
                  <a:lnTo>
                    <a:pt x="39052" y="156210"/>
                  </a:lnTo>
                  <a:lnTo>
                    <a:pt x="44631" y="107394"/>
                  </a:lnTo>
                  <a:close/>
                  <a:moveTo>
                    <a:pt x="69736" y="139473"/>
                  </a:moveTo>
                  <a:lnTo>
                    <a:pt x="99026" y="175736"/>
                  </a:lnTo>
                  <a:lnTo>
                    <a:pt x="69736" y="205025"/>
                  </a:lnTo>
                  <a:lnTo>
                    <a:pt x="40447" y="175736"/>
                  </a:lnTo>
                  <a:lnTo>
                    <a:pt x="69736" y="139473"/>
                  </a:lnTo>
                  <a:close/>
                  <a:moveTo>
                    <a:pt x="34868" y="189683"/>
                  </a:moveTo>
                  <a:lnTo>
                    <a:pt x="59973" y="214788"/>
                  </a:lnTo>
                  <a:lnTo>
                    <a:pt x="29289" y="245472"/>
                  </a:lnTo>
                  <a:lnTo>
                    <a:pt x="34868" y="189683"/>
                  </a:lnTo>
                  <a:close/>
                  <a:moveTo>
                    <a:pt x="69736" y="224551"/>
                  </a:moveTo>
                  <a:lnTo>
                    <a:pt x="107394" y="262209"/>
                  </a:lnTo>
                  <a:lnTo>
                    <a:pt x="69736" y="302656"/>
                  </a:lnTo>
                  <a:lnTo>
                    <a:pt x="32079" y="262209"/>
                  </a:lnTo>
                  <a:lnTo>
                    <a:pt x="69736" y="224551"/>
                  </a:lnTo>
                  <a:close/>
                  <a:moveTo>
                    <a:pt x="79500" y="214788"/>
                  </a:moveTo>
                  <a:lnTo>
                    <a:pt x="103210" y="191078"/>
                  </a:lnTo>
                  <a:lnTo>
                    <a:pt x="108789" y="245472"/>
                  </a:lnTo>
                  <a:lnTo>
                    <a:pt x="79500" y="214788"/>
                  </a:lnTo>
                  <a:close/>
                  <a:moveTo>
                    <a:pt x="100421" y="154815"/>
                  </a:moveTo>
                  <a:lnTo>
                    <a:pt x="79500" y="128315"/>
                  </a:lnTo>
                  <a:lnTo>
                    <a:pt x="94842" y="108789"/>
                  </a:lnTo>
                  <a:lnTo>
                    <a:pt x="100421" y="154815"/>
                  </a:lnTo>
                  <a:close/>
                  <a:moveTo>
                    <a:pt x="16737" y="362629"/>
                  </a:moveTo>
                  <a:lnTo>
                    <a:pt x="26500" y="276156"/>
                  </a:lnTo>
                  <a:lnTo>
                    <a:pt x="61368" y="313814"/>
                  </a:lnTo>
                  <a:lnTo>
                    <a:pt x="16737" y="362629"/>
                  </a:lnTo>
                  <a:close/>
                  <a:moveTo>
                    <a:pt x="112973" y="276156"/>
                  </a:moveTo>
                  <a:lnTo>
                    <a:pt x="122736" y="362629"/>
                  </a:lnTo>
                  <a:lnTo>
                    <a:pt x="79500" y="313814"/>
                  </a:lnTo>
                  <a:lnTo>
                    <a:pt x="112973" y="276156"/>
                  </a:lnTo>
                  <a:close/>
                  <a:moveTo>
                    <a:pt x="292893" y="375182"/>
                  </a:moveTo>
                  <a:lnTo>
                    <a:pt x="292893" y="382156"/>
                  </a:lnTo>
                  <a:lnTo>
                    <a:pt x="292893" y="375182"/>
                  </a:lnTo>
                  <a:cubicBezTo>
                    <a:pt x="292893" y="375182"/>
                    <a:pt x="292893" y="375182"/>
                    <a:pt x="292893" y="375182"/>
                  </a:cubicBezTo>
                  <a:close/>
                  <a:moveTo>
                    <a:pt x="292893" y="375182"/>
                  </a:moveTo>
                  <a:lnTo>
                    <a:pt x="181315" y="375182"/>
                  </a:lnTo>
                  <a:lnTo>
                    <a:pt x="181315" y="221762"/>
                  </a:lnTo>
                  <a:lnTo>
                    <a:pt x="292893" y="221762"/>
                  </a:lnTo>
                  <a:lnTo>
                    <a:pt x="292893" y="375182"/>
                  </a:lnTo>
                  <a:close/>
                  <a:moveTo>
                    <a:pt x="435156" y="154815"/>
                  </a:moveTo>
                  <a:lnTo>
                    <a:pt x="414235" y="128315"/>
                  </a:lnTo>
                  <a:lnTo>
                    <a:pt x="429577" y="108789"/>
                  </a:lnTo>
                  <a:lnTo>
                    <a:pt x="435156" y="154815"/>
                  </a:lnTo>
                  <a:close/>
                  <a:moveTo>
                    <a:pt x="433761" y="175736"/>
                  </a:moveTo>
                  <a:lnTo>
                    <a:pt x="404472" y="205025"/>
                  </a:lnTo>
                  <a:lnTo>
                    <a:pt x="375182" y="175736"/>
                  </a:lnTo>
                  <a:lnTo>
                    <a:pt x="404472" y="139473"/>
                  </a:lnTo>
                  <a:lnTo>
                    <a:pt x="433761" y="175736"/>
                  </a:lnTo>
                  <a:close/>
                  <a:moveTo>
                    <a:pt x="404472" y="117157"/>
                  </a:moveTo>
                  <a:lnTo>
                    <a:pt x="380761" y="87868"/>
                  </a:lnTo>
                  <a:lnTo>
                    <a:pt x="384945" y="50210"/>
                  </a:lnTo>
                  <a:cubicBezTo>
                    <a:pt x="390524" y="54394"/>
                    <a:pt x="397498" y="57184"/>
                    <a:pt x="404472" y="57184"/>
                  </a:cubicBezTo>
                  <a:cubicBezTo>
                    <a:pt x="411445" y="57184"/>
                    <a:pt x="418419" y="54394"/>
                    <a:pt x="423998" y="48816"/>
                  </a:cubicBezTo>
                  <a:lnTo>
                    <a:pt x="428182" y="87868"/>
                  </a:lnTo>
                  <a:lnTo>
                    <a:pt x="404472" y="117157"/>
                  </a:lnTo>
                  <a:close/>
                  <a:moveTo>
                    <a:pt x="418419" y="29289"/>
                  </a:moveTo>
                  <a:cubicBezTo>
                    <a:pt x="418419" y="37658"/>
                    <a:pt x="412840" y="43237"/>
                    <a:pt x="404472" y="43237"/>
                  </a:cubicBezTo>
                  <a:cubicBezTo>
                    <a:pt x="396103" y="43237"/>
                    <a:pt x="390524" y="37658"/>
                    <a:pt x="390524" y="29289"/>
                  </a:cubicBezTo>
                  <a:cubicBezTo>
                    <a:pt x="390524" y="20921"/>
                    <a:pt x="396103" y="15342"/>
                    <a:pt x="404472" y="15342"/>
                  </a:cubicBezTo>
                  <a:cubicBezTo>
                    <a:pt x="411445" y="15342"/>
                    <a:pt x="418419" y="22316"/>
                    <a:pt x="418419" y="29289"/>
                  </a:cubicBezTo>
                  <a:close/>
                  <a:moveTo>
                    <a:pt x="379366" y="107394"/>
                  </a:moveTo>
                  <a:lnTo>
                    <a:pt x="396103" y="128315"/>
                  </a:lnTo>
                  <a:lnTo>
                    <a:pt x="373787" y="156210"/>
                  </a:lnTo>
                  <a:lnTo>
                    <a:pt x="379366" y="107394"/>
                  </a:lnTo>
                  <a:close/>
                  <a:moveTo>
                    <a:pt x="369603" y="189683"/>
                  </a:moveTo>
                  <a:lnTo>
                    <a:pt x="394708" y="214788"/>
                  </a:lnTo>
                  <a:lnTo>
                    <a:pt x="364024" y="245472"/>
                  </a:lnTo>
                  <a:lnTo>
                    <a:pt x="369603" y="189683"/>
                  </a:lnTo>
                  <a:close/>
                  <a:moveTo>
                    <a:pt x="404472" y="224551"/>
                  </a:moveTo>
                  <a:lnTo>
                    <a:pt x="442129" y="262209"/>
                  </a:lnTo>
                  <a:lnTo>
                    <a:pt x="404472" y="302656"/>
                  </a:lnTo>
                  <a:lnTo>
                    <a:pt x="366814" y="262209"/>
                  </a:lnTo>
                  <a:lnTo>
                    <a:pt x="404472" y="224551"/>
                  </a:lnTo>
                  <a:close/>
                  <a:moveTo>
                    <a:pt x="414235" y="214788"/>
                  </a:moveTo>
                  <a:lnTo>
                    <a:pt x="437945" y="191078"/>
                  </a:lnTo>
                  <a:lnTo>
                    <a:pt x="443524" y="245472"/>
                  </a:lnTo>
                  <a:lnTo>
                    <a:pt x="414235" y="214788"/>
                  </a:lnTo>
                  <a:close/>
                  <a:moveTo>
                    <a:pt x="351472" y="362629"/>
                  </a:moveTo>
                  <a:lnTo>
                    <a:pt x="361235" y="276156"/>
                  </a:lnTo>
                  <a:lnTo>
                    <a:pt x="396103" y="313814"/>
                  </a:lnTo>
                  <a:lnTo>
                    <a:pt x="351472" y="362629"/>
                  </a:lnTo>
                  <a:close/>
                  <a:moveTo>
                    <a:pt x="447708" y="276156"/>
                  </a:moveTo>
                  <a:lnTo>
                    <a:pt x="457471" y="362629"/>
                  </a:lnTo>
                  <a:lnTo>
                    <a:pt x="414235" y="313814"/>
                  </a:lnTo>
                  <a:lnTo>
                    <a:pt x="447708" y="276156"/>
                  </a:lnTo>
                  <a:close/>
                </a:path>
              </a:pathLst>
            </a:custGeom>
            <a:solidFill>
              <a:srgbClr val="000000"/>
            </a:solidFill>
            <a:ln w="13727" cap="flat">
              <a:noFill/>
              <a:prstDash val="solid"/>
              <a:miter/>
            </a:ln>
          </p:spPr>
          <p:txBody>
            <a:bodyPr rtlCol="0" anchor="ctr"/>
            <a:lstStyle/>
            <a:p>
              <a:endParaRPr lang="de-DE"/>
            </a:p>
          </p:txBody>
        </p:sp>
        <p:sp>
          <p:nvSpPr>
            <p:cNvPr id="5248" name="Freeform: Shape 5247">
              <a:extLst>
                <a:ext uri="{FF2B5EF4-FFF2-40B4-BE49-F238E27FC236}">
                  <a16:creationId xmlns:a16="http://schemas.microsoft.com/office/drawing/2014/main" id="{8E60C048-FB48-4DF2-823D-30D0B8DDAC3B}"/>
                </a:ext>
              </a:extLst>
            </p:cNvPr>
            <p:cNvSpPr/>
            <p:nvPr/>
          </p:nvSpPr>
          <p:spPr>
            <a:xfrm>
              <a:off x="6059737" y="3494552"/>
              <a:ext cx="69736" cy="83684"/>
            </a:xfrm>
            <a:custGeom>
              <a:avLst/>
              <a:gdLst>
                <a:gd name="connsiteX0" fmla="*/ 11158 w 69736"/>
                <a:gd name="connsiteY0" fmla="*/ 92052 h 83683"/>
                <a:gd name="connsiteX1" fmla="*/ 72526 w 69736"/>
                <a:gd name="connsiteY1" fmla="*/ 30684 h 83683"/>
                <a:gd name="connsiteX2" fmla="*/ 39052 w 69736"/>
                <a:gd name="connsiteY2" fmla="*/ 30684 h 83683"/>
                <a:gd name="connsiteX3" fmla="*/ 51605 w 69736"/>
                <a:gd name="connsiteY3" fmla="*/ 0 h 83683"/>
                <a:gd name="connsiteX4" fmla="*/ 20921 w 69736"/>
                <a:gd name="connsiteY4" fmla="*/ 0 h 83683"/>
                <a:gd name="connsiteX5" fmla="*/ 0 w 69736"/>
                <a:gd name="connsiteY5" fmla="*/ 51605 h 83683"/>
                <a:gd name="connsiteX6" fmla="*/ 30684 w 69736"/>
                <a:gd name="connsiteY6" fmla="*/ 51605 h 8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36" h="83683">
                  <a:moveTo>
                    <a:pt x="11158" y="92052"/>
                  </a:moveTo>
                  <a:lnTo>
                    <a:pt x="72526" y="30684"/>
                  </a:lnTo>
                  <a:lnTo>
                    <a:pt x="39052" y="30684"/>
                  </a:lnTo>
                  <a:lnTo>
                    <a:pt x="51605" y="0"/>
                  </a:lnTo>
                  <a:lnTo>
                    <a:pt x="20921" y="0"/>
                  </a:lnTo>
                  <a:lnTo>
                    <a:pt x="0" y="51605"/>
                  </a:lnTo>
                  <a:lnTo>
                    <a:pt x="30684" y="51605"/>
                  </a:lnTo>
                  <a:close/>
                </a:path>
              </a:pathLst>
            </a:custGeom>
            <a:solidFill>
              <a:srgbClr val="000000"/>
            </a:solidFill>
            <a:ln w="13727" cap="flat">
              <a:noFill/>
              <a:prstDash val="solid"/>
              <a:miter/>
            </a:ln>
          </p:spPr>
          <p:txBody>
            <a:bodyPr rtlCol="0" anchor="ctr"/>
            <a:lstStyle/>
            <a:p>
              <a:endParaRPr lang="de-DE"/>
            </a:p>
          </p:txBody>
        </p:sp>
      </p:grpSp>
      <p:sp>
        <p:nvSpPr>
          <p:cNvPr id="5249" name="Graphic 3">
            <a:extLst>
              <a:ext uri="{FF2B5EF4-FFF2-40B4-BE49-F238E27FC236}">
                <a16:creationId xmlns:a16="http://schemas.microsoft.com/office/drawing/2014/main" id="{5F91DEB5-2428-45E4-858E-40FB4B034079}"/>
              </a:ext>
              <a:ext uri="{C183D7F6-B498-43B3-948B-1728B52AA6E4}">
                <adec:decorative xmlns:adec="http://schemas.microsoft.com/office/drawing/2017/decorative" val="1"/>
              </a:ext>
            </a:extLst>
          </p:cNvPr>
          <p:cNvSpPr>
            <a:spLocks noChangeAspect="1"/>
          </p:cNvSpPr>
          <p:nvPr/>
        </p:nvSpPr>
        <p:spPr>
          <a:xfrm>
            <a:off x="4275848" y="3818784"/>
            <a:ext cx="135890" cy="111909"/>
          </a:xfrm>
          <a:custGeom>
            <a:avLst/>
            <a:gdLst>
              <a:gd name="connsiteX0" fmla="*/ 490026 w 497340"/>
              <a:gd name="connsiteY0" fmla="*/ 283776 h 409574"/>
              <a:gd name="connsiteX1" fmla="*/ 453457 w 497340"/>
              <a:gd name="connsiteY1" fmla="*/ 301329 h 409574"/>
              <a:gd name="connsiteX2" fmla="*/ 453457 w 497340"/>
              <a:gd name="connsiteY2" fmla="*/ 51197 h 409574"/>
              <a:gd name="connsiteX3" fmla="*/ 446143 w 497340"/>
              <a:gd name="connsiteY3" fmla="*/ 43883 h 409574"/>
              <a:gd name="connsiteX4" fmla="*/ 419813 w 497340"/>
              <a:gd name="connsiteY4" fmla="*/ 43883 h 409574"/>
              <a:gd name="connsiteX5" fmla="*/ 419813 w 497340"/>
              <a:gd name="connsiteY5" fmla="*/ 7314 h 409574"/>
              <a:gd name="connsiteX6" fmla="*/ 412500 w 497340"/>
              <a:gd name="connsiteY6" fmla="*/ 0 h 409574"/>
              <a:gd name="connsiteX7" fmla="*/ 84840 w 497340"/>
              <a:gd name="connsiteY7" fmla="*/ 0 h 409574"/>
              <a:gd name="connsiteX8" fmla="*/ 77527 w 497340"/>
              <a:gd name="connsiteY8" fmla="*/ 7314 h 409574"/>
              <a:gd name="connsiteX9" fmla="*/ 77527 w 497340"/>
              <a:gd name="connsiteY9" fmla="*/ 43883 h 409574"/>
              <a:gd name="connsiteX10" fmla="*/ 51197 w 497340"/>
              <a:gd name="connsiteY10" fmla="*/ 43883 h 409574"/>
              <a:gd name="connsiteX11" fmla="*/ 43883 w 497340"/>
              <a:gd name="connsiteY11" fmla="*/ 51197 h 409574"/>
              <a:gd name="connsiteX12" fmla="*/ 43883 w 497340"/>
              <a:gd name="connsiteY12" fmla="*/ 299867 h 409574"/>
              <a:gd name="connsiteX13" fmla="*/ 7314 w 497340"/>
              <a:gd name="connsiteY13" fmla="*/ 285239 h 409574"/>
              <a:gd name="connsiteX14" fmla="*/ 0 w 497340"/>
              <a:gd name="connsiteY14" fmla="*/ 292553 h 409574"/>
              <a:gd name="connsiteX15" fmla="*/ 0 w 497340"/>
              <a:gd name="connsiteY15" fmla="*/ 402260 h 409574"/>
              <a:gd name="connsiteX16" fmla="*/ 7314 w 497340"/>
              <a:gd name="connsiteY16" fmla="*/ 409574 h 409574"/>
              <a:gd name="connsiteX17" fmla="*/ 490026 w 497340"/>
              <a:gd name="connsiteY17" fmla="*/ 409574 h 409574"/>
              <a:gd name="connsiteX18" fmla="*/ 497340 w 497340"/>
              <a:gd name="connsiteY18" fmla="*/ 402260 h 409574"/>
              <a:gd name="connsiteX19" fmla="*/ 497340 w 497340"/>
              <a:gd name="connsiteY19" fmla="*/ 292553 h 409574"/>
              <a:gd name="connsiteX20" fmla="*/ 490026 w 497340"/>
              <a:gd name="connsiteY20" fmla="*/ 283776 h 409574"/>
              <a:gd name="connsiteX21" fmla="*/ 92154 w 497340"/>
              <a:gd name="connsiteY21" fmla="*/ 14628 h 409574"/>
              <a:gd name="connsiteX22" fmla="*/ 405186 w 497340"/>
              <a:gd name="connsiteY22" fmla="*/ 14628 h 409574"/>
              <a:gd name="connsiteX23" fmla="*/ 405186 w 497340"/>
              <a:gd name="connsiteY23" fmla="*/ 43883 h 409574"/>
              <a:gd name="connsiteX24" fmla="*/ 92154 w 497340"/>
              <a:gd name="connsiteY24" fmla="*/ 43883 h 409574"/>
              <a:gd name="connsiteX25" fmla="*/ 92154 w 497340"/>
              <a:gd name="connsiteY25" fmla="*/ 14628 h 409574"/>
              <a:gd name="connsiteX26" fmla="*/ 84840 w 497340"/>
              <a:gd name="connsiteY26" fmla="*/ 58511 h 409574"/>
              <a:gd name="connsiteX27" fmla="*/ 412500 w 497340"/>
              <a:gd name="connsiteY27" fmla="*/ 58511 h 409574"/>
              <a:gd name="connsiteX28" fmla="*/ 438829 w 497340"/>
              <a:gd name="connsiteY28" fmla="*/ 58511 h 409574"/>
              <a:gd name="connsiteX29" fmla="*/ 438829 w 497340"/>
              <a:gd name="connsiteY29" fmla="*/ 320345 h 409574"/>
              <a:gd name="connsiteX30" fmla="*/ 438829 w 497340"/>
              <a:gd name="connsiteY30" fmla="*/ 320345 h 409574"/>
              <a:gd name="connsiteX31" fmla="*/ 416888 w 497340"/>
              <a:gd name="connsiteY31" fmla="*/ 327659 h 409574"/>
              <a:gd name="connsiteX32" fmla="*/ 409574 w 497340"/>
              <a:gd name="connsiteY32" fmla="*/ 327659 h 409574"/>
              <a:gd name="connsiteX33" fmla="*/ 409574 w 497340"/>
              <a:gd name="connsiteY33" fmla="*/ 117021 h 409574"/>
              <a:gd name="connsiteX34" fmla="*/ 402260 w 497340"/>
              <a:gd name="connsiteY34" fmla="*/ 109707 h 409574"/>
              <a:gd name="connsiteX35" fmla="*/ 336436 w 497340"/>
              <a:gd name="connsiteY35" fmla="*/ 109707 h 409574"/>
              <a:gd name="connsiteX36" fmla="*/ 329122 w 497340"/>
              <a:gd name="connsiteY36" fmla="*/ 117021 h 409574"/>
              <a:gd name="connsiteX37" fmla="*/ 329122 w 497340"/>
              <a:gd name="connsiteY37" fmla="*/ 285239 h 409574"/>
              <a:gd name="connsiteX38" fmla="*/ 289627 w 497340"/>
              <a:gd name="connsiteY38" fmla="*/ 308643 h 409574"/>
              <a:gd name="connsiteX39" fmla="*/ 289627 w 497340"/>
              <a:gd name="connsiteY39" fmla="*/ 308643 h 409574"/>
              <a:gd name="connsiteX40" fmla="*/ 289627 w 497340"/>
              <a:gd name="connsiteY40" fmla="*/ 117021 h 409574"/>
              <a:gd name="connsiteX41" fmla="*/ 282314 w 497340"/>
              <a:gd name="connsiteY41" fmla="*/ 109707 h 409574"/>
              <a:gd name="connsiteX42" fmla="*/ 216489 w 497340"/>
              <a:gd name="connsiteY42" fmla="*/ 109707 h 409574"/>
              <a:gd name="connsiteX43" fmla="*/ 209175 w 497340"/>
              <a:gd name="connsiteY43" fmla="*/ 117021 h 409574"/>
              <a:gd name="connsiteX44" fmla="*/ 209175 w 497340"/>
              <a:gd name="connsiteY44" fmla="*/ 308643 h 409574"/>
              <a:gd name="connsiteX45" fmla="*/ 206250 w 497340"/>
              <a:gd name="connsiteY45" fmla="*/ 305718 h 409574"/>
              <a:gd name="connsiteX46" fmla="*/ 168218 w 497340"/>
              <a:gd name="connsiteY46" fmla="*/ 283776 h 409574"/>
              <a:gd name="connsiteX47" fmla="*/ 168218 w 497340"/>
              <a:gd name="connsiteY47" fmla="*/ 117021 h 409574"/>
              <a:gd name="connsiteX48" fmla="*/ 160904 w 497340"/>
              <a:gd name="connsiteY48" fmla="*/ 109707 h 409574"/>
              <a:gd name="connsiteX49" fmla="*/ 95080 w 497340"/>
              <a:gd name="connsiteY49" fmla="*/ 109707 h 409574"/>
              <a:gd name="connsiteX50" fmla="*/ 87766 w 497340"/>
              <a:gd name="connsiteY50" fmla="*/ 117021 h 409574"/>
              <a:gd name="connsiteX51" fmla="*/ 87766 w 497340"/>
              <a:gd name="connsiteY51" fmla="*/ 327659 h 409574"/>
              <a:gd name="connsiteX52" fmla="*/ 80452 w 497340"/>
              <a:gd name="connsiteY52" fmla="*/ 329122 h 409574"/>
              <a:gd name="connsiteX53" fmla="*/ 58511 w 497340"/>
              <a:gd name="connsiteY53" fmla="*/ 318883 h 409574"/>
              <a:gd name="connsiteX54" fmla="*/ 58511 w 497340"/>
              <a:gd name="connsiteY54" fmla="*/ 58511 h 409574"/>
              <a:gd name="connsiteX55" fmla="*/ 84840 w 497340"/>
              <a:gd name="connsiteY55" fmla="*/ 58511 h 409574"/>
              <a:gd name="connsiteX56" fmla="*/ 394946 w 497340"/>
              <a:gd name="connsiteY56" fmla="*/ 321808 h 409574"/>
              <a:gd name="connsiteX57" fmla="*/ 381782 w 497340"/>
              <a:gd name="connsiteY57" fmla="*/ 308643 h 409574"/>
              <a:gd name="connsiteX58" fmla="*/ 343750 w 497340"/>
              <a:gd name="connsiteY58" fmla="*/ 285239 h 409574"/>
              <a:gd name="connsiteX59" fmla="*/ 343750 w 497340"/>
              <a:gd name="connsiteY59" fmla="*/ 124335 h 409574"/>
              <a:gd name="connsiteX60" fmla="*/ 394946 w 497340"/>
              <a:gd name="connsiteY60" fmla="*/ 124335 h 409574"/>
              <a:gd name="connsiteX61" fmla="*/ 394946 w 497340"/>
              <a:gd name="connsiteY61" fmla="*/ 321808 h 409574"/>
              <a:gd name="connsiteX62" fmla="*/ 275000 w 497340"/>
              <a:gd name="connsiteY62" fmla="*/ 320345 h 409574"/>
              <a:gd name="connsiteX63" fmla="*/ 248670 w 497340"/>
              <a:gd name="connsiteY63" fmla="*/ 327659 h 409574"/>
              <a:gd name="connsiteX64" fmla="*/ 222340 w 497340"/>
              <a:gd name="connsiteY64" fmla="*/ 320345 h 409574"/>
              <a:gd name="connsiteX65" fmla="*/ 222340 w 497340"/>
              <a:gd name="connsiteY65" fmla="*/ 318883 h 409574"/>
              <a:gd name="connsiteX66" fmla="*/ 222340 w 497340"/>
              <a:gd name="connsiteY66" fmla="*/ 124335 h 409574"/>
              <a:gd name="connsiteX67" fmla="*/ 273537 w 497340"/>
              <a:gd name="connsiteY67" fmla="*/ 124335 h 409574"/>
              <a:gd name="connsiteX68" fmla="*/ 273537 w 497340"/>
              <a:gd name="connsiteY68" fmla="*/ 320345 h 409574"/>
              <a:gd name="connsiteX69" fmla="*/ 114096 w 497340"/>
              <a:gd name="connsiteY69" fmla="*/ 308643 h 409574"/>
              <a:gd name="connsiteX70" fmla="*/ 102394 w 497340"/>
              <a:gd name="connsiteY70" fmla="*/ 318883 h 409574"/>
              <a:gd name="connsiteX71" fmla="*/ 102394 w 497340"/>
              <a:gd name="connsiteY71" fmla="*/ 124335 h 409574"/>
              <a:gd name="connsiteX72" fmla="*/ 153590 w 497340"/>
              <a:gd name="connsiteY72" fmla="*/ 124335 h 409574"/>
              <a:gd name="connsiteX73" fmla="*/ 153590 w 497340"/>
              <a:gd name="connsiteY73" fmla="*/ 285239 h 409574"/>
              <a:gd name="connsiteX74" fmla="*/ 114096 w 497340"/>
              <a:gd name="connsiteY74" fmla="*/ 308643 h 409574"/>
              <a:gd name="connsiteX75" fmla="*/ 482712 w 497340"/>
              <a:gd name="connsiteY75" fmla="*/ 393484 h 409574"/>
              <a:gd name="connsiteX76" fmla="*/ 14628 w 497340"/>
              <a:gd name="connsiteY76" fmla="*/ 393484 h 409574"/>
              <a:gd name="connsiteX77" fmla="*/ 14628 w 497340"/>
              <a:gd name="connsiteY77" fmla="*/ 298404 h 409574"/>
              <a:gd name="connsiteX78" fmla="*/ 40957 w 497340"/>
              <a:gd name="connsiteY78" fmla="*/ 317420 h 409574"/>
              <a:gd name="connsiteX79" fmla="*/ 80452 w 497340"/>
              <a:gd name="connsiteY79" fmla="*/ 340824 h 409574"/>
              <a:gd name="connsiteX80" fmla="*/ 124335 w 497340"/>
              <a:gd name="connsiteY80" fmla="*/ 317420 h 409574"/>
              <a:gd name="connsiteX81" fmla="*/ 160904 w 497340"/>
              <a:gd name="connsiteY81" fmla="*/ 296941 h 409574"/>
              <a:gd name="connsiteX82" fmla="*/ 196010 w 497340"/>
              <a:gd name="connsiteY82" fmla="*/ 315957 h 409574"/>
              <a:gd name="connsiteX83" fmla="*/ 248670 w 497340"/>
              <a:gd name="connsiteY83" fmla="*/ 340824 h 409574"/>
              <a:gd name="connsiteX84" fmla="*/ 299867 w 497340"/>
              <a:gd name="connsiteY84" fmla="*/ 315957 h 409574"/>
              <a:gd name="connsiteX85" fmla="*/ 336436 w 497340"/>
              <a:gd name="connsiteY85" fmla="*/ 296941 h 409574"/>
              <a:gd name="connsiteX86" fmla="*/ 371542 w 497340"/>
              <a:gd name="connsiteY86" fmla="*/ 315957 h 409574"/>
              <a:gd name="connsiteX87" fmla="*/ 416888 w 497340"/>
              <a:gd name="connsiteY87" fmla="*/ 340824 h 409574"/>
              <a:gd name="connsiteX88" fmla="*/ 459308 w 497340"/>
              <a:gd name="connsiteY88" fmla="*/ 315957 h 409574"/>
              <a:gd name="connsiteX89" fmla="*/ 482712 w 497340"/>
              <a:gd name="connsiteY89" fmla="*/ 298404 h 409574"/>
              <a:gd name="connsiteX90" fmla="*/ 482712 w 497340"/>
              <a:gd name="connsiteY90" fmla="*/ 393484 h 40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97340" h="409574">
                <a:moveTo>
                  <a:pt x="490026" y="283776"/>
                </a:moveTo>
                <a:cubicBezTo>
                  <a:pt x="471010" y="283776"/>
                  <a:pt x="460771" y="292553"/>
                  <a:pt x="453457" y="301329"/>
                </a:cubicBezTo>
                <a:lnTo>
                  <a:pt x="453457" y="51197"/>
                </a:lnTo>
                <a:cubicBezTo>
                  <a:pt x="453457" y="46808"/>
                  <a:pt x="450532" y="43883"/>
                  <a:pt x="446143" y="43883"/>
                </a:cubicBezTo>
                <a:lnTo>
                  <a:pt x="419813" y="43883"/>
                </a:lnTo>
                <a:lnTo>
                  <a:pt x="419813" y="7314"/>
                </a:lnTo>
                <a:cubicBezTo>
                  <a:pt x="419813" y="2926"/>
                  <a:pt x="416888" y="0"/>
                  <a:pt x="412500" y="0"/>
                </a:cubicBezTo>
                <a:lnTo>
                  <a:pt x="84840" y="0"/>
                </a:lnTo>
                <a:cubicBezTo>
                  <a:pt x="80452" y="0"/>
                  <a:pt x="77527" y="2926"/>
                  <a:pt x="77527" y="7314"/>
                </a:cubicBezTo>
                <a:lnTo>
                  <a:pt x="77527" y="43883"/>
                </a:lnTo>
                <a:lnTo>
                  <a:pt x="51197" y="43883"/>
                </a:lnTo>
                <a:cubicBezTo>
                  <a:pt x="46808" y="43883"/>
                  <a:pt x="43883" y="46808"/>
                  <a:pt x="43883" y="51197"/>
                </a:cubicBezTo>
                <a:lnTo>
                  <a:pt x="43883" y="299867"/>
                </a:lnTo>
                <a:cubicBezTo>
                  <a:pt x="36569" y="292553"/>
                  <a:pt x="24867" y="285239"/>
                  <a:pt x="7314" y="285239"/>
                </a:cubicBezTo>
                <a:cubicBezTo>
                  <a:pt x="2926" y="285239"/>
                  <a:pt x="0" y="288165"/>
                  <a:pt x="0" y="292553"/>
                </a:cubicBezTo>
                <a:lnTo>
                  <a:pt x="0" y="402260"/>
                </a:lnTo>
                <a:cubicBezTo>
                  <a:pt x="0" y="406648"/>
                  <a:pt x="2926" y="409574"/>
                  <a:pt x="7314" y="409574"/>
                </a:cubicBezTo>
                <a:lnTo>
                  <a:pt x="490026" y="409574"/>
                </a:lnTo>
                <a:cubicBezTo>
                  <a:pt x="494414" y="409574"/>
                  <a:pt x="497340" y="406648"/>
                  <a:pt x="497340" y="402260"/>
                </a:cubicBezTo>
                <a:lnTo>
                  <a:pt x="497340" y="292553"/>
                </a:lnTo>
                <a:cubicBezTo>
                  <a:pt x="497340" y="288165"/>
                  <a:pt x="494414" y="283776"/>
                  <a:pt x="490026" y="283776"/>
                </a:cubicBezTo>
                <a:close/>
                <a:moveTo>
                  <a:pt x="92154" y="14628"/>
                </a:moveTo>
                <a:lnTo>
                  <a:pt x="405186" y="14628"/>
                </a:lnTo>
                <a:lnTo>
                  <a:pt x="405186" y="43883"/>
                </a:lnTo>
                <a:lnTo>
                  <a:pt x="92154" y="43883"/>
                </a:lnTo>
                <a:lnTo>
                  <a:pt x="92154" y="14628"/>
                </a:lnTo>
                <a:close/>
                <a:moveTo>
                  <a:pt x="84840" y="58511"/>
                </a:moveTo>
                <a:lnTo>
                  <a:pt x="412500" y="58511"/>
                </a:lnTo>
                <a:lnTo>
                  <a:pt x="438829" y="58511"/>
                </a:lnTo>
                <a:lnTo>
                  <a:pt x="438829" y="320345"/>
                </a:lnTo>
                <a:cubicBezTo>
                  <a:pt x="438829" y="320345"/>
                  <a:pt x="438829" y="320345"/>
                  <a:pt x="438829" y="320345"/>
                </a:cubicBezTo>
                <a:cubicBezTo>
                  <a:pt x="434441" y="324734"/>
                  <a:pt x="428590" y="327659"/>
                  <a:pt x="416888" y="327659"/>
                </a:cubicBezTo>
                <a:cubicBezTo>
                  <a:pt x="413962" y="327659"/>
                  <a:pt x="411037" y="327659"/>
                  <a:pt x="409574" y="327659"/>
                </a:cubicBezTo>
                <a:lnTo>
                  <a:pt x="409574" y="117021"/>
                </a:lnTo>
                <a:cubicBezTo>
                  <a:pt x="409574" y="112633"/>
                  <a:pt x="406649" y="109707"/>
                  <a:pt x="402260" y="109707"/>
                </a:cubicBezTo>
                <a:lnTo>
                  <a:pt x="336436" y="109707"/>
                </a:lnTo>
                <a:cubicBezTo>
                  <a:pt x="332048" y="109707"/>
                  <a:pt x="329122" y="112633"/>
                  <a:pt x="329122" y="117021"/>
                </a:cubicBezTo>
                <a:lnTo>
                  <a:pt x="329122" y="285239"/>
                </a:lnTo>
                <a:cubicBezTo>
                  <a:pt x="308643" y="288165"/>
                  <a:pt x="298404" y="298404"/>
                  <a:pt x="289627" y="308643"/>
                </a:cubicBezTo>
                <a:cubicBezTo>
                  <a:pt x="289627" y="308643"/>
                  <a:pt x="289627" y="308643"/>
                  <a:pt x="289627" y="308643"/>
                </a:cubicBezTo>
                <a:lnTo>
                  <a:pt x="289627" y="117021"/>
                </a:lnTo>
                <a:cubicBezTo>
                  <a:pt x="289627" y="112633"/>
                  <a:pt x="286702" y="109707"/>
                  <a:pt x="282314" y="109707"/>
                </a:cubicBezTo>
                <a:lnTo>
                  <a:pt x="216489" y="109707"/>
                </a:lnTo>
                <a:cubicBezTo>
                  <a:pt x="212101" y="109707"/>
                  <a:pt x="209175" y="112633"/>
                  <a:pt x="209175" y="117021"/>
                </a:cubicBezTo>
                <a:lnTo>
                  <a:pt x="209175" y="308643"/>
                </a:lnTo>
                <a:cubicBezTo>
                  <a:pt x="207713" y="307181"/>
                  <a:pt x="207713" y="307181"/>
                  <a:pt x="206250" y="305718"/>
                </a:cubicBezTo>
                <a:cubicBezTo>
                  <a:pt x="197473" y="296941"/>
                  <a:pt x="185771" y="285239"/>
                  <a:pt x="168218" y="283776"/>
                </a:cubicBezTo>
                <a:lnTo>
                  <a:pt x="168218" y="117021"/>
                </a:lnTo>
                <a:cubicBezTo>
                  <a:pt x="168218" y="112633"/>
                  <a:pt x="165292" y="109707"/>
                  <a:pt x="160904" y="109707"/>
                </a:cubicBezTo>
                <a:lnTo>
                  <a:pt x="95080" y="109707"/>
                </a:lnTo>
                <a:cubicBezTo>
                  <a:pt x="90691" y="109707"/>
                  <a:pt x="87766" y="112633"/>
                  <a:pt x="87766" y="117021"/>
                </a:cubicBezTo>
                <a:lnTo>
                  <a:pt x="87766" y="327659"/>
                </a:lnTo>
                <a:cubicBezTo>
                  <a:pt x="84840" y="327659"/>
                  <a:pt x="83378" y="329122"/>
                  <a:pt x="80452" y="329122"/>
                </a:cubicBezTo>
                <a:cubicBezTo>
                  <a:pt x="70213" y="329122"/>
                  <a:pt x="64362" y="324734"/>
                  <a:pt x="58511" y="318883"/>
                </a:cubicBezTo>
                <a:lnTo>
                  <a:pt x="58511" y="58511"/>
                </a:lnTo>
                <a:lnTo>
                  <a:pt x="84840" y="58511"/>
                </a:lnTo>
                <a:close/>
                <a:moveTo>
                  <a:pt x="394946" y="321808"/>
                </a:moveTo>
                <a:cubicBezTo>
                  <a:pt x="390558" y="318883"/>
                  <a:pt x="386170" y="314494"/>
                  <a:pt x="381782" y="308643"/>
                </a:cubicBezTo>
                <a:cubicBezTo>
                  <a:pt x="373005" y="298404"/>
                  <a:pt x="362766" y="286702"/>
                  <a:pt x="343750" y="285239"/>
                </a:cubicBezTo>
                <a:lnTo>
                  <a:pt x="343750" y="124335"/>
                </a:lnTo>
                <a:lnTo>
                  <a:pt x="394946" y="124335"/>
                </a:lnTo>
                <a:lnTo>
                  <a:pt x="394946" y="321808"/>
                </a:lnTo>
                <a:close/>
                <a:moveTo>
                  <a:pt x="275000" y="320345"/>
                </a:moveTo>
                <a:cubicBezTo>
                  <a:pt x="269149" y="324734"/>
                  <a:pt x="260372" y="327659"/>
                  <a:pt x="248670" y="327659"/>
                </a:cubicBezTo>
                <a:cubicBezTo>
                  <a:pt x="236968" y="327659"/>
                  <a:pt x="229654" y="324734"/>
                  <a:pt x="222340" y="320345"/>
                </a:cubicBezTo>
                <a:cubicBezTo>
                  <a:pt x="222340" y="320345"/>
                  <a:pt x="222340" y="318883"/>
                  <a:pt x="222340" y="318883"/>
                </a:cubicBezTo>
                <a:lnTo>
                  <a:pt x="222340" y="124335"/>
                </a:lnTo>
                <a:lnTo>
                  <a:pt x="273537" y="124335"/>
                </a:lnTo>
                <a:lnTo>
                  <a:pt x="273537" y="320345"/>
                </a:lnTo>
                <a:close/>
                <a:moveTo>
                  <a:pt x="114096" y="308643"/>
                </a:moveTo>
                <a:cubicBezTo>
                  <a:pt x="109707" y="313032"/>
                  <a:pt x="106782" y="315957"/>
                  <a:pt x="102394" y="318883"/>
                </a:cubicBezTo>
                <a:lnTo>
                  <a:pt x="102394" y="124335"/>
                </a:lnTo>
                <a:lnTo>
                  <a:pt x="153590" y="124335"/>
                </a:lnTo>
                <a:lnTo>
                  <a:pt x="153590" y="285239"/>
                </a:lnTo>
                <a:cubicBezTo>
                  <a:pt x="134574" y="286702"/>
                  <a:pt x="124335" y="298404"/>
                  <a:pt x="114096" y="308643"/>
                </a:cubicBezTo>
                <a:close/>
                <a:moveTo>
                  <a:pt x="482712" y="393484"/>
                </a:moveTo>
                <a:lnTo>
                  <a:pt x="14628" y="393484"/>
                </a:lnTo>
                <a:lnTo>
                  <a:pt x="14628" y="298404"/>
                </a:lnTo>
                <a:cubicBezTo>
                  <a:pt x="27793" y="299867"/>
                  <a:pt x="35106" y="308643"/>
                  <a:pt x="40957" y="317420"/>
                </a:cubicBezTo>
                <a:cubicBezTo>
                  <a:pt x="49734" y="329122"/>
                  <a:pt x="58511" y="340824"/>
                  <a:pt x="80452" y="340824"/>
                </a:cubicBezTo>
                <a:cubicBezTo>
                  <a:pt x="102394" y="340824"/>
                  <a:pt x="114096" y="327659"/>
                  <a:pt x="124335" y="317420"/>
                </a:cubicBezTo>
                <a:cubicBezTo>
                  <a:pt x="134574" y="307181"/>
                  <a:pt x="143351" y="296941"/>
                  <a:pt x="160904" y="296941"/>
                </a:cubicBezTo>
                <a:cubicBezTo>
                  <a:pt x="176995" y="296941"/>
                  <a:pt x="185771" y="305718"/>
                  <a:pt x="196010" y="315957"/>
                </a:cubicBezTo>
                <a:cubicBezTo>
                  <a:pt x="207713" y="327659"/>
                  <a:pt x="220877" y="340824"/>
                  <a:pt x="248670" y="340824"/>
                </a:cubicBezTo>
                <a:cubicBezTo>
                  <a:pt x="275000" y="340824"/>
                  <a:pt x="288165" y="327659"/>
                  <a:pt x="299867" y="315957"/>
                </a:cubicBezTo>
                <a:cubicBezTo>
                  <a:pt x="310106" y="305718"/>
                  <a:pt x="318883" y="296941"/>
                  <a:pt x="336436" y="296941"/>
                </a:cubicBezTo>
                <a:cubicBezTo>
                  <a:pt x="355452" y="296941"/>
                  <a:pt x="362766" y="305718"/>
                  <a:pt x="371542" y="315957"/>
                </a:cubicBezTo>
                <a:cubicBezTo>
                  <a:pt x="381782" y="327659"/>
                  <a:pt x="392021" y="340824"/>
                  <a:pt x="416888" y="340824"/>
                </a:cubicBezTo>
                <a:cubicBezTo>
                  <a:pt x="443218" y="340824"/>
                  <a:pt x="451994" y="326196"/>
                  <a:pt x="459308" y="315957"/>
                </a:cubicBezTo>
                <a:cubicBezTo>
                  <a:pt x="465159" y="307181"/>
                  <a:pt x="469547" y="299867"/>
                  <a:pt x="482712" y="298404"/>
                </a:cubicBezTo>
                <a:lnTo>
                  <a:pt x="482712" y="393484"/>
                </a:lnTo>
                <a:close/>
              </a:path>
            </a:pathLst>
          </a:custGeom>
          <a:solidFill>
            <a:srgbClr val="101010"/>
          </a:solidFill>
          <a:ln w="14568" cap="flat">
            <a:noFill/>
            <a:prstDash val="solid"/>
            <a:miter/>
          </a:ln>
        </p:spPr>
        <p:txBody>
          <a:bodyPr rtlCol="0" anchor="ctr"/>
          <a:lstStyle/>
          <a:p>
            <a:endParaRPr lang="de-DE"/>
          </a:p>
        </p:txBody>
      </p:sp>
      <p:sp>
        <p:nvSpPr>
          <p:cNvPr id="5250" name="Graphic 3">
            <a:extLst>
              <a:ext uri="{FF2B5EF4-FFF2-40B4-BE49-F238E27FC236}">
                <a16:creationId xmlns:a16="http://schemas.microsoft.com/office/drawing/2014/main" id="{F93B1756-2187-4952-B036-B321F7EE426D}"/>
              </a:ext>
              <a:ext uri="{C183D7F6-B498-43B3-948B-1728B52AA6E4}">
                <adec:decorative xmlns:adec="http://schemas.microsoft.com/office/drawing/2017/decorative" val="1"/>
              </a:ext>
            </a:extLst>
          </p:cNvPr>
          <p:cNvSpPr>
            <a:spLocks noChangeAspect="1"/>
          </p:cNvSpPr>
          <p:nvPr/>
        </p:nvSpPr>
        <p:spPr>
          <a:xfrm>
            <a:off x="919764" y="4170348"/>
            <a:ext cx="133727" cy="132154"/>
          </a:xfrm>
          <a:custGeom>
            <a:avLst/>
            <a:gdLst>
              <a:gd name="connsiteX0" fmla="*/ 478632 w 485776"/>
              <a:gd name="connsiteY0" fmla="*/ 362903 h 471488"/>
              <a:gd name="connsiteX1" fmla="*/ 437198 w 485776"/>
              <a:gd name="connsiteY1" fmla="*/ 387192 h 471488"/>
              <a:gd name="connsiteX2" fmla="*/ 407195 w 485776"/>
              <a:gd name="connsiteY2" fmla="*/ 405766 h 471488"/>
              <a:gd name="connsiteX3" fmla="*/ 372905 w 485776"/>
              <a:gd name="connsiteY3" fmla="*/ 387192 h 471488"/>
              <a:gd name="connsiteX4" fmla="*/ 328613 w 485776"/>
              <a:gd name="connsiteY4" fmla="*/ 362903 h 471488"/>
              <a:gd name="connsiteX5" fmla="*/ 282893 w 485776"/>
              <a:gd name="connsiteY5" fmla="*/ 385763 h 471488"/>
              <a:gd name="connsiteX6" fmla="*/ 250032 w 485776"/>
              <a:gd name="connsiteY6" fmla="*/ 405766 h 471488"/>
              <a:gd name="connsiteX7" fmla="*/ 250032 w 485776"/>
              <a:gd name="connsiteY7" fmla="*/ 225743 h 471488"/>
              <a:gd name="connsiteX8" fmla="*/ 270034 w 485776"/>
              <a:gd name="connsiteY8" fmla="*/ 215742 h 471488"/>
              <a:gd name="connsiteX9" fmla="*/ 412910 w 485776"/>
              <a:gd name="connsiteY9" fmla="*/ 297181 h 471488"/>
              <a:gd name="connsiteX10" fmla="*/ 414338 w 485776"/>
              <a:gd name="connsiteY10" fmla="*/ 297181 h 471488"/>
              <a:gd name="connsiteX11" fmla="*/ 418625 w 485776"/>
              <a:gd name="connsiteY11" fmla="*/ 295752 h 471488"/>
              <a:gd name="connsiteX12" fmla="*/ 418625 w 485776"/>
              <a:gd name="connsiteY12" fmla="*/ 295752 h 471488"/>
              <a:gd name="connsiteX13" fmla="*/ 418625 w 485776"/>
              <a:gd name="connsiteY13" fmla="*/ 295752 h 471488"/>
              <a:gd name="connsiteX14" fmla="*/ 420053 w 485776"/>
              <a:gd name="connsiteY14" fmla="*/ 294323 h 471488"/>
              <a:gd name="connsiteX15" fmla="*/ 420053 w 485776"/>
              <a:gd name="connsiteY15" fmla="*/ 294323 h 471488"/>
              <a:gd name="connsiteX16" fmla="*/ 421482 w 485776"/>
              <a:gd name="connsiteY16" fmla="*/ 292894 h 471488"/>
              <a:gd name="connsiteX17" fmla="*/ 421482 w 485776"/>
              <a:gd name="connsiteY17" fmla="*/ 292894 h 471488"/>
              <a:gd name="connsiteX18" fmla="*/ 421482 w 485776"/>
              <a:gd name="connsiteY18" fmla="*/ 292894 h 471488"/>
              <a:gd name="connsiteX19" fmla="*/ 421482 w 485776"/>
              <a:gd name="connsiteY19" fmla="*/ 291466 h 471488"/>
              <a:gd name="connsiteX20" fmla="*/ 421482 w 485776"/>
              <a:gd name="connsiteY20" fmla="*/ 290037 h 471488"/>
              <a:gd name="connsiteX21" fmla="*/ 420053 w 485776"/>
              <a:gd name="connsiteY21" fmla="*/ 288608 h 471488"/>
              <a:gd name="connsiteX22" fmla="*/ 420053 w 485776"/>
              <a:gd name="connsiteY22" fmla="*/ 288608 h 471488"/>
              <a:gd name="connsiteX23" fmla="*/ 420053 w 485776"/>
              <a:gd name="connsiteY23" fmla="*/ 288608 h 471488"/>
              <a:gd name="connsiteX24" fmla="*/ 420053 w 485776"/>
              <a:gd name="connsiteY24" fmla="*/ 288608 h 471488"/>
              <a:gd name="connsiteX25" fmla="*/ 280036 w 485776"/>
              <a:gd name="connsiteY25" fmla="*/ 200025 h 471488"/>
              <a:gd name="connsiteX26" fmla="*/ 281464 w 485776"/>
              <a:gd name="connsiteY26" fmla="*/ 190024 h 471488"/>
              <a:gd name="connsiteX27" fmla="*/ 254318 w 485776"/>
              <a:gd name="connsiteY27" fmla="*/ 152877 h 471488"/>
              <a:gd name="connsiteX28" fmla="*/ 248603 w 485776"/>
              <a:gd name="connsiteY28" fmla="*/ 4286 h 471488"/>
              <a:gd name="connsiteX29" fmla="*/ 248603 w 485776"/>
              <a:gd name="connsiteY29" fmla="*/ 4286 h 471488"/>
              <a:gd name="connsiteX30" fmla="*/ 247174 w 485776"/>
              <a:gd name="connsiteY30" fmla="*/ 2858 h 471488"/>
              <a:gd name="connsiteX31" fmla="*/ 245746 w 485776"/>
              <a:gd name="connsiteY31" fmla="*/ 1429 h 471488"/>
              <a:gd name="connsiteX32" fmla="*/ 245746 w 485776"/>
              <a:gd name="connsiteY32" fmla="*/ 1429 h 471488"/>
              <a:gd name="connsiteX33" fmla="*/ 245746 w 485776"/>
              <a:gd name="connsiteY33" fmla="*/ 1429 h 471488"/>
              <a:gd name="connsiteX34" fmla="*/ 244317 w 485776"/>
              <a:gd name="connsiteY34" fmla="*/ 1429 h 471488"/>
              <a:gd name="connsiteX35" fmla="*/ 242888 w 485776"/>
              <a:gd name="connsiteY35" fmla="*/ 0 h 471488"/>
              <a:gd name="connsiteX36" fmla="*/ 241459 w 485776"/>
              <a:gd name="connsiteY36" fmla="*/ 0 h 471488"/>
              <a:gd name="connsiteX37" fmla="*/ 240030 w 485776"/>
              <a:gd name="connsiteY37" fmla="*/ 0 h 471488"/>
              <a:gd name="connsiteX38" fmla="*/ 240030 w 485776"/>
              <a:gd name="connsiteY38" fmla="*/ 0 h 471488"/>
              <a:gd name="connsiteX39" fmla="*/ 240030 w 485776"/>
              <a:gd name="connsiteY39" fmla="*/ 0 h 471488"/>
              <a:gd name="connsiteX40" fmla="*/ 238602 w 485776"/>
              <a:gd name="connsiteY40" fmla="*/ 1429 h 471488"/>
              <a:gd name="connsiteX41" fmla="*/ 237173 w 485776"/>
              <a:gd name="connsiteY41" fmla="*/ 2858 h 471488"/>
              <a:gd name="connsiteX42" fmla="*/ 237173 w 485776"/>
              <a:gd name="connsiteY42" fmla="*/ 2858 h 471488"/>
              <a:gd name="connsiteX43" fmla="*/ 231458 w 485776"/>
              <a:gd name="connsiteY43" fmla="*/ 148590 h 471488"/>
              <a:gd name="connsiteX44" fmla="*/ 204312 w 485776"/>
              <a:gd name="connsiteY44" fmla="*/ 185738 h 471488"/>
              <a:gd name="connsiteX45" fmla="*/ 205740 w 485776"/>
              <a:gd name="connsiteY45" fmla="*/ 195739 h 471488"/>
              <a:gd name="connsiteX46" fmla="*/ 65723 w 485776"/>
              <a:gd name="connsiteY46" fmla="*/ 284322 h 471488"/>
              <a:gd name="connsiteX47" fmla="*/ 65723 w 485776"/>
              <a:gd name="connsiteY47" fmla="*/ 284322 h 471488"/>
              <a:gd name="connsiteX48" fmla="*/ 65723 w 485776"/>
              <a:gd name="connsiteY48" fmla="*/ 284322 h 471488"/>
              <a:gd name="connsiteX49" fmla="*/ 65723 w 485776"/>
              <a:gd name="connsiteY49" fmla="*/ 284322 h 471488"/>
              <a:gd name="connsiteX50" fmla="*/ 64294 w 485776"/>
              <a:gd name="connsiteY50" fmla="*/ 285751 h 471488"/>
              <a:gd name="connsiteX51" fmla="*/ 64294 w 485776"/>
              <a:gd name="connsiteY51" fmla="*/ 287179 h 471488"/>
              <a:gd name="connsiteX52" fmla="*/ 64294 w 485776"/>
              <a:gd name="connsiteY52" fmla="*/ 288608 h 471488"/>
              <a:gd name="connsiteX53" fmla="*/ 64294 w 485776"/>
              <a:gd name="connsiteY53" fmla="*/ 288608 h 471488"/>
              <a:gd name="connsiteX54" fmla="*/ 64294 w 485776"/>
              <a:gd name="connsiteY54" fmla="*/ 288608 h 471488"/>
              <a:gd name="connsiteX55" fmla="*/ 65723 w 485776"/>
              <a:gd name="connsiteY55" fmla="*/ 290037 h 471488"/>
              <a:gd name="connsiteX56" fmla="*/ 65723 w 485776"/>
              <a:gd name="connsiteY56" fmla="*/ 290037 h 471488"/>
              <a:gd name="connsiteX57" fmla="*/ 67151 w 485776"/>
              <a:gd name="connsiteY57" fmla="*/ 291466 h 471488"/>
              <a:gd name="connsiteX58" fmla="*/ 67151 w 485776"/>
              <a:gd name="connsiteY58" fmla="*/ 291466 h 471488"/>
              <a:gd name="connsiteX59" fmla="*/ 67151 w 485776"/>
              <a:gd name="connsiteY59" fmla="*/ 291466 h 471488"/>
              <a:gd name="connsiteX60" fmla="*/ 71438 w 485776"/>
              <a:gd name="connsiteY60" fmla="*/ 292894 h 471488"/>
              <a:gd name="connsiteX61" fmla="*/ 72866 w 485776"/>
              <a:gd name="connsiteY61" fmla="*/ 292894 h 471488"/>
              <a:gd name="connsiteX62" fmla="*/ 215742 w 485776"/>
              <a:gd name="connsiteY62" fmla="*/ 211455 h 471488"/>
              <a:gd name="connsiteX63" fmla="*/ 235744 w 485776"/>
              <a:gd name="connsiteY63" fmla="*/ 221457 h 471488"/>
              <a:gd name="connsiteX64" fmla="*/ 235744 w 485776"/>
              <a:gd name="connsiteY64" fmla="*/ 401480 h 471488"/>
              <a:gd name="connsiteX65" fmla="*/ 201454 w 485776"/>
              <a:gd name="connsiteY65" fmla="*/ 381477 h 471488"/>
              <a:gd name="connsiteX66" fmla="*/ 157163 w 485776"/>
              <a:gd name="connsiteY66" fmla="*/ 358617 h 471488"/>
              <a:gd name="connsiteX67" fmla="*/ 111443 w 485776"/>
              <a:gd name="connsiteY67" fmla="*/ 382906 h 471488"/>
              <a:gd name="connsiteX68" fmla="*/ 78581 w 485776"/>
              <a:gd name="connsiteY68" fmla="*/ 401480 h 471488"/>
              <a:gd name="connsiteX69" fmla="*/ 51435 w 485776"/>
              <a:gd name="connsiteY69" fmla="*/ 384335 h 471488"/>
              <a:gd name="connsiteX70" fmla="*/ 7144 w 485776"/>
              <a:gd name="connsiteY70" fmla="*/ 358617 h 471488"/>
              <a:gd name="connsiteX71" fmla="*/ 0 w 485776"/>
              <a:gd name="connsiteY71" fmla="*/ 365761 h 471488"/>
              <a:gd name="connsiteX72" fmla="*/ 0 w 485776"/>
              <a:gd name="connsiteY72" fmla="*/ 472917 h 471488"/>
              <a:gd name="connsiteX73" fmla="*/ 7144 w 485776"/>
              <a:gd name="connsiteY73" fmla="*/ 480061 h 471488"/>
              <a:gd name="connsiteX74" fmla="*/ 478632 w 485776"/>
              <a:gd name="connsiteY74" fmla="*/ 480061 h 471488"/>
              <a:gd name="connsiteX75" fmla="*/ 485776 w 485776"/>
              <a:gd name="connsiteY75" fmla="*/ 472917 h 471488"/>
              <a:gd name="connsiteX76" fmla="*/ 485776 w 485776"/>
              <a:gd name="connsiteY76" fmla="*/ 365761 h 471488"/>
              <a:gd name="connsiteX77" fmla="*/ 478632 w 485776"/>
              <a:gd name="connsiteY77" fmla="*/ 362903 h 471488"/>
              <a:gd name="connsiteX78" fmla="*/ 397193 w 485776"/>
              <a:gd name="connsiteY78" fmla="*/ 278607 h 471488"/>
              <a:gd name="connsiteX79" fmla="*/ 285751 w 485776"/>
              <a:gd name="connsiteY79" fmla="*/ 212884 h 471488"/>
              <a:gd name="connsiteX80" fmla="*/ 397193 w 485776"/>
              <a:gd name="connsiteY80" fmla="*/ 278607 h 471488"/>
              <a:gd name="connsiteX81" fmla="*/ 242888 w 485776"/>
              <a:gd name="connsiteY81" fmla="*/ 22860 h 471488"/>
              <a:gd name="connsiteX82" fmla="*/ 242888 w 485776"/>
              <a:gd name="connsiteY82" fmla="*/ 140018 h 471488"/>
              <a:gd name="connsiteX83" fmla="*/ 242888 w 485776"/>
              <a:gd name="connsiteY83" fmla="*/ 22860 h 471488"/>
              <a:gd name="connsiteX84" fmla="*/ 88583 w 485776"/>
              <a:gd name="connsiteY84" fmla="*/ 278607 h 471488"/>
              <a:gd name="connsiteX85" fmla="*/ 200025 w 485776"/>
              <a:gd name="connsiteY85" fmla="*/ 212884 h 471488"/>
              <a:gd name="connsiteX86" fmla="*/ 88583 w 485776"/>
              <a:gd name="connsiteY86" fmla="*/ 278607 h 471488"/>
              <a:gd name="connsiteX87" fmla="*/ 218599 w 485776"/>
              <a:gd name="connsiteY87" fmla="*/ 187167 h 471488"/>
              <a:gd name="connsiteX88" fmla="*/ 242888 w 485776"/>
              <a:gd name="connsiteY88" fmla="*/ 161449 h 471488"/>
              <a:gd name="connsiteX89" fmla="*/ 267177 w 485776"/>
              <a:gd name="connsiteY89" fmla="*/ 187167 h 471488"/>
              <a:gd name="connsiteX90" fmla="*/ 242888 w 485776"/>
              <a:gd name="connsiteY90" fmla="*/ 212884 h 471488"/>
              <a:gd name="connsiteX91" fmla="*/ 218599 w 485776"/>
              <a:gd name="connsiteY91" fmla="*/ 187167 h 471488"/>
              <a:gd name="connsiteX92" fmla="*/ 471488 w 485776"/>
              <a:gd name="connsiteY92" fmla="*/ 470060 h 471488"/>
              <a:gd name="connsiteX93" fmla="*/ 14288 w 485776"/>
              <a:gd name="connsiteY93" fmla="*/ 470060 h 471488"/>
              <a:gd name="connsiteX94" fmla="*/ 14288 w 485776"/>
              <a:gd name="connsiteY94" fmla="*/ 377191 h 471488"/>
              <a:gd name="connsiteX95" fmla="*/ 40005 w 485776"/>
              <a:gd name="connsiteY95" fmla="*/ 395765 h 471488"/>
              <a:gd name="connsiteX96" fmla="*/ 78581 w 485776"/>
              <a:gd name="connsiteY96" fmla="*/ 418625 h 471488"/>
              <a:gd name="connsiteX97" fmla="*/ 121444 w 485776"/>
              <a:gd name="connsiteY97" fmla="*/ 395765 h 471488"/>
              <a:gd name="connsiteX98" fmla="*/ 157163 w 485776"/>
              <a:gd name="connsiteY98" fmla="*/ 375762 h 471488"/>
              <a:gd name="connsiteX99" fmla="*/ 191453 w 485776"/>
              <a:gd name="connsiteY99" fmla="*/ 394336 h 471488"/>
              <a:gd name="connsiteX100" fmla="*/ 242888 w 485776"/>
              <a:gd name="connsiteY100" fmla="*/ 418625 h 471488"/>
              <a:gd name="connsiteX101" fmla="*/ 242888 w 485776"/>
              <a:gd name="connsiteY101" fmla="*/ 418625 h 471488"/>
              <a:gd name="connsiteX102" fmla="*/ 242888 w 485776"/>
              <a:gd name="connsiteY102" fmla="*/ 418625 h 471488"/>
              <a:gd name="connsiteX103" fmla="*/ 292894 w 485776"/>
              <a:gd name="connsiteY103" fmla="*/ 394336 h 471488"/>
              <a:gd name="connsiteX104" fmla="*/ 328613 w 485776"/>
              <a:gd name="connsiteY104" fmla="*/ 375762 h 471488"/>
              <a:gd name="connsiteX105" fmla="*/ 362903 w 485776"/>
              <a:gd name="connsiteY105" fmla="*/ 394336 h 471488"/>
              <a:gd name="connsiteX106" fmla="*/ 407195 w 485776"/>
              <a:gd name="connsiteY106" fmla="*/ 418625 h 471488"/>
              <a:gd name="connsiteX107" fmla="*/ 448628 w 485776"/>
              <a:gd name="connsiteY107" fmla="*/ 394336 h 471488"/>
              <a:gd name="connsiteX108" fmla="*/ 471488 w 485776"/>
              <a:gd name="connsiteY108" fmla="*/ 377191 h 471488"/>
              <a:gd name="connsiteX109" fmla="*/ 471488 w 485776"/>
              <a:gd name="connsiteY109" fmla="*/ 470060 h 471488"/>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1488 w 485776"/>
              <a:gd name="connsiteY92" fmla="*/ 470060 h 480061"/>
              <a:gd name="connsiteX93" fmla="*/ 13307 w 485776"/>
              <a:gd name="connsiteY93" fmla="*/ 466135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1488 w 485776"/>
              <a:gd name="connsiteY109" fmla="*/ 470060 h 480061"/>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0507 w 485776"/>
              <a:gd name="connsiteY92" fmla="*/ 465154 h 480061"/>
              <a:gd name="connsiteX93" fmla="*/ 13307 w 485776"/>
              <a:gd name="connsiteY93" fmla="*/ 466135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0507 w 485776"/>
              <a:gd name="connsiteY109" fmla="*/ 465154 h 480061"/>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0507 w 485776"/>
              <a:gd name="connsiteY92" fmla="*/ 465154 h 480061"/>
              <a:gd name="connsiteX93" fmla="*/ 13307 w 485776"/>
              <a:gd name="connsiteY93" fmla="*/ 466135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0507 w 485776"/>
              <a:gd name="connsiteY109" fmla="*/ 465154 h 480061"/>
              <a:gd name="connsiteX0" fmla="*/ 478632 w 485776"/>
              <a:gd name="connsiteY0" fmla="*/ 362903 h 480061"/>
              <a:gd name="connsiteX1" fmla="*/ 437198 w 485776"/>
              <a:gd name="connsiteY1" fmla="*/ 387192 h 480061"/>
              <a:gd name="connsiteX2" fmla="*/ 407195 w 485776"/>
              <a:gd name="connsiteY2" fmla="*/ 405766 h 480061"/>
              <a:gd name="connsiteX3" fmla="*/ 372905 w 485776"/>
              <a:gd name="connsiteY3" fmla="*/ 387192 h 480061"/>
              <a:gd name="connsiteX4" fmla="*/ 328613 w 485776"/>
              <a:gd name="connsiteY4" fmla="*/ 362903 h 480061"/>
              <a:gd name="connsiteX5" fmla="*/ 282893 w 485776"/>
              <a:gd name="connsiteY5" fmla="*/ 385763 h 480061"/>
              <a:gd name="connsiteX6" fmla="*/ 250032 w 485776"/>
              <a:gd name="connsiteY6" fmla="*/ 405766 h 480061"/>
              <a:gd name="connsiteX7" fmla="*/ 250032 w 485776"/>
              <a:gd name="connsiteY7" fmla="*/ 225743 h 480061"/>
              <a:gd name="connsiteX8" fmla="*/ 270034 w 485776"/>
              <a:gd name="connsiteY8" fmla="*/ 215742 h 480061"/>
              <a:gd name="connsiteX9" fmla="*/ 412910 w 485776"/>
              <a:gd name="connsiteY9" fmla="*/ 297181 h 480061"/>
              <a:gd name="connsiteX10" fmla="*/ 414338 w 485776"/>
              <a:gd name="connsiteY10" fmla="*/ 297181 h 480061"/>
              <a:gd name="connsiteX11" fmla="*/ 418625 w 485776"/>
              <a:gd name="connsiteY11" fmla="*/ 295752 h 480061"/>
              <a:gd name="connsiteX12" fmla="*/ 418625 w 485776"/>
              <a:gd name="connsiteY12" fmla="*/ 295752 h 480061"/>
              <a:gd name="connsiteX13" fmla="*/ 418625 w 485776"/>
              <a:gd name="connsiteY13" fmla="*/ 295752 h 480061"/>
              <a:gd name="connsiteX14" fmla="*/ 420053 w 485776"/>
              <a:gd name="connsiteY14" fmla="*/ 294323 h 480061"/>
              <a:gd name="connsiteX15" fmla="*/ 420053 w 485776"/>
              <a:gd name="connsiteY15" fmla="*/ 294323 h 480061"/>
              <a:gd name="connsiteX16" fmla="*/ 421482 w 485776"/>
              <a:gd name="connsiteY16" fmla="*/ 292894 h 480061"/>
              <a:gd name="connsiteX17" fmla="*/ 421482 w 485776"/>
              <a:gd name="connsiteY17" fmla="*/ 292894 h 480061"/>
              <a:gd name="connsiteX18" fmla="*/ 421482 w 485776"/>
              <a:gd name="connsiteY18" fmla="*/ 292894 h 480061"/>
              <a:gd name="connsiteX19" fmla="*/ 421482 w 485776"/>
              <a:gd name="connsiteY19" fmla="*/ 291466 h 480061"/>
              <a:gd name="connsiteX20" fmla="*/ 421482 w 485776"/>
              <a:gd name="connsiteY20" fmla="*/ 290037 h 480061"/>
              <a:gd name="connsiteX21" fmla="*/ 420053 w 485776"/>
              <a:gd name="connsiteY21" fmla="*/ 288608 h 480061"/>
              <a:gd name="connsiteX22" fmla="*/ 420053 w 485776"/>
              <a:gd name="connsiteY22" fmla="*/ 288608 h 480061"/>
              <a:gd name="connsiteX23" fmla="*/ 420053 w 485776"/>
              <a:gd name="connsiteY23" fmla="*/ 288608 h 480061"/>
              <a:gd name="connsiteX24" fmla="*/ 420053 w 485776"/>
              <a:gd name="connsiteY24" fmla="*/ 288608 h 480061"/>
              <a:gd name="connsiteX25" fmla="*/ 280036 w 485776"/>
              <a:gd name="connsiteY25" fmla="*/ 200025 h 480061"/>
              <a:gd name="connsiteX26" fmla="*/ 281464 w 485776"/>
              <a:gd name="connsiteY26" fmla="*/ 190024 h 480061"/>
              <a:gd name="connsiteX27" fmla="*/ 254318 w 485776"/>
              <a:gd name="connsiteY27" fmla="*/ 152877 h 480061"/>
              <a:gd name="connsiteX28" fmla="*/ 248603 w 485776"/>
              <a:gd name="connsiteY28" fmla="*/ 4286 h 480061"/>
              <a:gd name="connsiteX29" fmla="*/ 248603 w 485776"/>
              <a:gd name="connsiteY29" fmla="*/ 4286 h 480061"/>
              <a:gd name="connsiteX30" fmla="*/ 247174 w 485776"/>
              <a:gd name="connsiteY30" fmla="*/ 2858 h 480061"/>
              <a:gd name="connsiteX31" fmla="*/ 245746 w 485776"/>
              <a:gd name="connsiteY31" fmla="*/ 1429 h 480061"/>
              <a:gd name="connsiteX32" fmla="*/ 245746 w 485776"/>
              <a:gd name="connsiteY32" fmla="*/ 1429 h 480061"/>
              <a:gd name="connsiteX33" fmla="*/ 245746 w 485776"/>
              <a:gd name="connsiteY33" fmla="*/ 1429 h 480061"/>
              <a:gd name="connsiteX34" fmla="*/ 244317 w 485776"/>
              <a:gd name="connsiteY34" fmla="*/ 1429 h 480061"/>
              <a:gd name="connsiteX35" fmla="*/ 242888 w 485776"/>
              <a:gd name="connsiteY35" fmla="*/ 0 h 480061"/>
              <a:gd name="connsiteX36" fmla="*/ 241459 w 485776"/>
              <a:gd name="connsiteY36" fmla="*/ 0 h 480061"/>
              <a:gd name="connsiteX37" fmla="*/ 240030 w 485776"/>
              <a:gd name="connsiteY37" fmla="*/ 0 h 480061"/>
              <a:gd name="connsiteX38" fmla="*/ 240030 w 485776"/>
              <a:gd name="connsiteY38" fmla="*/ 0 h 480061"/>
              <a:gd name="connsiteX39" fmla="*/ 240030 w 485776"/>
              <a:gd name="connsiteY39" fmla="*/ 0 h 480061"/>
              <a:gd name="connsiteX40" fmla="*/ 238602 w 485776"/>
              <a:gd name="connsiteY40" fmla="*/ 1429 h 480061"/>
              <a:gd name="connsiteX41" fmla="*/ 237173 w 485776"/>
              <a:gd name="connsiteY41" fmla="*/ 2858 h 480061"/>
              <a:gd name="connsiteX42" fmla="*/ 237173 w 485776"/>
              <a:gd name="connsiteY42" fmla="*/ 2858 h 480061"/>
              <a:gd name="connsiteX43" fmla="*/ 231458 w 485776"/>
              <a:gd name="connsiteY43" fmla="*/ 148590 h 480061"/>
              <a:gd name="connsiteX44" fmla="*/ 204312 w 485776"/>
              <a:gd name="connsiteY44" fmla="*/ 185738 h 480061"/>
              <a:gd name="connsiteX45" fmla="*/ 205740 w 485776"/>
              <a:gd name="connsiteY45" fmla="*/ 195739 h 480061"/>
              <a:gd name="connsiteX46" fmla="*/ 65723 w 485776"/>
              <a:gd name="connsiteY46" fmla="*/ 284322 h 480061"/>
              <a:gd name="connsiteX47" fmla="*/ 65723 w 485776"/>
              <a:gd name="connsiteY47" fmla="*/ 284322 h 480061"/>
              <a:gd name="connsiteX48" fmla="*/ 65723 w 485776"/>
              <a:gd name="connsiteY48" fmla="*/ 284322 h 480061"/>
              <a:gd name="connsiteX49" fmla="*/ 65723 w 485776"/>
              <a:gd name="connsiteY49" fmla="*/ 284322 h 480061"/>
              <a:gd name="connsiteX50" fmla="*/ 64294 w 485776"/>
              <a:gd name="connsiteY50" fmla="*/ 285751 h 480061"/>
              <a:gd name="connsiteX51" fmla="*/ 64294 w 485776"/>
              <a:gd name="connsiteY51" fmla="*/ 287179 h 480061"/>
              <a:gd name="connsiteX52" fmla="*/ 64294 w 485776"/>
              <a:gd name="connsiteY52" fmla="*/ 288608 h 480061"/>
              <a:gd name="connsiteX53" fmla="*/ 64294 w 485776"/>
              <a:gd name="connsiteY53" fmla="*/ 288608 h 480061"/>
              <a:gd name="connsiteX54" fmla="*/ 64294 w 485776"/>
              <a:gd name="connsiteY54" fmla="*/ 288608 h 480061"/>
              <a:gd name="connsiteX55" fmla="*/ 65723 w 485776"/>
              <a:gd name="connsiteY55" fmla="*/ 290037 h 480061"/>
              <a:gd name="connsiteX56" fmla="*/ 65723 w 485776"/>
              <a:gd name="connsiteY56" fmla="*/ 290037 h 480061"/>
              <a:gd name="connsiteX57" fmla="*/ 67151 w 485776"/>
              <a:gd name="connsiteY57" fmla="*/ 291466 h 480061"/>
              <a:gd name="connsiteX58" fmla="*/ 67151 w 485776"/>
              <a:gd name="connsiteY58" fmla="*/ 291466 h 480061"/>
              <a:gd name="connsiteX59" fmla="*/ 67151 w 485776"/>
              <a:gd name="connsiteY59" fmla="*/ 291466 h 480061"/>
              <a:gd name="connsiteX60" fmla="*/ 71438 w 485776"/>
              <a:gd name="connsiteY60" fmla="*/ 292894 h 480061"/>
              <a:gd name="connsiteX61" fmla="*/ 72866 w 485776"/>
              <a:gd name="connsiteY61" fmla="*/ 292894 h 480061"/>
              <a:gd name="connsiteX62" fmla="*/ 215742 w 485776"/>
              <a:gd name="connsiteY62" fmla="*/ 211455 h 480061"/>
              <a:gd name="connsiteX63" fmla="*/ 235744 w 485776"/>
              <a:gd name="connsiteY63" fmla="*/ 221457 h 480061"/>
              <a:gd name="connsiteX64" fmla="*/ 235744 w 485776"/>
              <a:gd name="connsiteY64" fmla="*/ 401480 h 480061"/>
              <a:gd name="connsiteX65" fmla="*/ 201454 w 485776"/>
              <a:gd name="connsiteY65" fmla="*/ 381477 h 480061"/>
              <a:gd name="connsiteX66" fmla="*/ 157163 w 485776"/>
              <a:gd name="connsiteY66" fmla="*/ 358617 h 480061"/>
              <a:gd name="connsiteX67" fmla="*/ 111443 w 485776"/>
              <a:gd name="connsiteY67" fmla="*/ 382906 h 480061"/>
              <a:gd name="connsiteX68" fmla="*/ 78581 w 485776"/>
              <a:gd name="connsiteY68" fmla="*/ 401480 h 480061"/>
              <a:gd name="connsiteX69" fmla="*/ 51435 w 485776"/>
              <a:gd name="connsiteY69" fmla="*/ 384335 h 480061"/>
              <a:gd name="connsiteX70" fmla="*/ 7144 w 485776"/>
              <a:gd name="connsiteY70" fmla="*/ 358617 h 480061"/>
              <a:gd name="connsiteX71" fmla="*/ 0 w 485776"/>
              <a:gd name="connsiteY71" fmla="*/ 365761 h 480061"/>
              <a:gd name="connsiteX72" fmla="*/ 0 w 485776"/>
              <a:gd name="connsiteY72" fmla="*/ 472917 h 480061"/>
              <a:gd name="connsiteX73" fmla="*/ 7144 w 485776"/>
              <a:gd name="connsiteY73" fmla="*/ 480061 h 480061"/>
              <a:gd name="connsiteX74" fmla="*/ 478632 w 485776"/>
              <a:gd name="connsiteY74" fmla="*/ 480061 h 480061"/>
              <a:gd name="connsiteX75" fmla="*/ 485776 w 485776"/>
              <a:gd name="connsiteY75" fmla="*/ 472917 h 480061"/>
              <a:gd name="connsiteX76" fmla="*/ 485776 w 485776"/>
              <a:gd name="connsiteY76" fmla="*/ 365761 h 480061"/>
              <a:gd name="connsiteX77" fmla="*/ 478632 w 485776"/>
              <a:gd name="connsiteY77" fmla="*/ 362903 h 480061"/>
              <a:gd name="connsiteX78" fmla="*/ 397193 w 485776"/>
              <a:gd name="connsiteY78" fmla="*/ 278607 h 480061"/>
              <a:gd name="connsiteX79" fmla="*/ 285751 w 485776"/>
              <a:gd name="connsiteY79" fmla="*/ 212884 h 480061"/>
              <a:gd name="connsiteX80" fmla="*/ 397193 w 485776"/>
              <a:gd name="connsiteY80" fmla="*/ 278607 h 480061"/>
              <a:gd name="connsiteX81" fmla="*/ 242888 w 485776"/>
              <a:gd name="connsiteY81" fmla="*/ 22860 h 480061"/>
              <a:gd name="connsiteX82" fmla="*/ 242888 w 485776"/>
              <a:gd name="connsiteY82" fmla="*/ 140018 h 480061"/>
              <a:gd name="connsiteX83" fmla="*/ 242888 w 485776"/>
              <a:gd name="connsiteY83" fmla="*/ 22860 h 480061"/>
              <a:gd name="connsiteX84" fmla="*/ 88583 w 485776"/>
              <a:gd name="connsiteY84" fmla="*/ 278607 h 480061"/>
              <a:gd name="connsiteX85" fmla="*/ 200025 w 485776"/>
              <a:gd name="connsiteY85" fmla="*/ 212884 h 480061"/>
              <a:gd name="connsiteX86" fmla="*/ 88583 w 485776"/>
              <a:gd name="connsiteY86" fmla="*/ 278607 h 480061"/>
              <a:gd name="connsiteX87" fmla="*/ 218599 w 485776"/>
              <a:gd name="connsiteY87" fmla="*/ 187167 h 480061"/>
              <a:gd name="connsiteX88" fmla="*/ 242888 w 485776"/>
              <a:gd name="connsiteY88" fmla="*/ 161449 h 480061"/>
              <a:gd name="connsiteX89" fmla="*/ 267177 w 485776"/>
              <a:gd name="connsiteY89" fmla="*/ 187167 h 480061"/>
              <a:gd name="connsiteX90" fmla="*/ 242888 w 485776"/>
              <a:gd name="connsiteY90" fmla="*/ 212884 h 480061"/>
              <a:gd name="connsiteX91" fmla="*/ 218599 w 485776"/>
              <a:gd name="connsiteY91" fmla="*/ 187167 h 480061"/>
              <a:gd name="connsiteX92" fmla="*/ 470507 w 485776"/>
              <a:gd name="connsiteY92" fmla="*/ 465154 h 480061"/>
              <a:gd name="connsiteX93" fmla="*/ 14288 w 485776"/>
              <a:gd name="connsiteY93" fmla="*/ 464173 h 480061"/>
              <a:gd name="connsiteX94" fmla="*/ 14288 w 485776"/>
              <a:gd name="connsiteY94" fmla="*/ 377191 h 480061"/>
              <a:gd name="connsiteX95" fmla="*/ 40005 w 485776"/>
              <a:gd name="connsiteY95" fmla="*/ 395765 h 480061"/>
              <a:gd name="connsiteX96" fmla="*/ 78581 w 485776"/>
              <a:gd name="connsiteY96" fmla="*/ 418625 h 480061"/>
              <a:gd name="connsiteX97" fmla="*/ 121444 w 485776"/>
              <a:gd name="connsiteY97" fmla="*/ 395765 h 480061"/>
              <a:gd name="connsiteX98" fmla="*/ 157163 w 485776"/>
              <a:gd name="connsiteY98" fmla="*/ 375762 h 480061"/>
              <a:gd name="connsiteX99" fmla="*/ 191453 w 485776"/>
              <a:gd name="connsiteY99" fmla="*/ 394336 h 480061"/>
              <a:gd name="connsiteX100" fmla="*/ 242888 w 485776"/>
              <a:gd name="connsiteY100" fmla="*/ 418625 h 480061"/>
              <a:gd name="connsiteX101" fmla="*/ 242888 w 485776"/>
              <a:gd name="connsiteY101" fmla="*/ 418625 h 480061"/>
              <a:gd name="connsiteX102" fmla="*/ 242888 w 485776"/>
              <a:gd name="connsiteY102" fmla="*/ 418625 h 480061"/>
              <a:gd name="connsiteX103" fmla="*/ 292894 w 485776"/>
              <a:gd name="connsiteY103" fmla="*/ 394336 h 480061"/>
              <a:gd name="connsiteX104" fmla="*/ 328613 w 485776"/>
              <a:gd name="connsiteY104" fmla="*/ 375762 h 480061"/>
              <a:gd name="connsiteX105" fmla="*/ 362903 w 485776"/>
              <a:gd name="connsiteY105" fmla="*/ 394336 h 480061"/>
              <a:gd name="connsiteX106" fmla="*/ 407195 w 485776"/>
              <a:gd name="connsiteY106" fmla="*/ 418625 h 480061"/>
              <a:gd name="connsiteX107" fmla="*/ 448628 w 485776"/>
              <a:gd name="connsiteY107" fmla="*/ 394336 h 480061"/>
              <a:gd name="connsiteX108" fmla="*/ 471488 w 485776"/>
              <a:gd name="connsiteY108" fmla="*/ 377191 h 480061"/>
              <a:gd name="connsiteX109" fmla="*/ 470507 w 485776"/>
              <a:gd name="connsiteY109" fmla="*/ 465154 h 48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85776" h="480061">
                <a:moveTo>
                  <a:pt x="478632" y="362903"/>
                </a:moveTo>
                <a:cubicBezTo>
                  <a:pt x="452915" y="362903"/>
                  <a:pt x="444342" y="377191"/>
                  <a:pt x="437198" y="387192"/>
                </a:cubicBezTo>
                <a:cubicBezTo>
                  <a:pt x="430055" y="397193"/>
                  <a:pt x="425768" y="405766"/>
                  <a:pt x="407195" y="405766"/>
                </a:cubicBezTo>
                <a:cubicBezTo>
                  <a:pt x="388621" y="405766"/>
                  <a:pt x="381477" y="397193"/>
                  <a:pt x="372905" y="387192"/>
                </a:cubicBezTo>
                <a:cubicBezTo>
                  <a:pt x="362903" y="375762"/>
                  <a:pt x="352902" y="362903"/>
                  <a:pt x="328613" y="362903"/>
                </a:cubicBezTo>
                <a:cubicBezTo>
                  <a:pt x="304324" y="362903"/>
                  <a:pt x="292894" y="375762"/>
                  <a:pt x="282893" y="385763"/>
                </a:cubicBezTo>
                <a:cubicBezTo>
                  <a:pt x="274321" y="394336"/>
                  <a:pt x="265748" y="402908"/>
                  <a:pt x="250032" y="405766"/>
                </a:cubicBezTo>
                <a:lnTo>
                  <a:pt x="250032" y="225743"/>
                </a:lnTo>
                <a:cubicBezTo>
                  <a:pt x="257176" y="224314"/>
                  <a:pt x="264319" y="220028"/>
                  <a:pt x="270034" y="215742"/>
                </a:cubicBezTo>
                <a:cubicBezTo>
                  <a:pt x="282893" y="235744"/>
                  <a:pt x="324327" y="281464"/>
                  <a:pt x="412910" y="297181"/>
                </a:cubicBezTo>
                <a:lnTo>
                  <a:pt x="414338" y="297181"/>
                </a:lnTo>
                <a:cubicBezTo>
                  <a:pt x="415767" y="297181"/>
                  <a:pt x="417196" y="297181"/>
                  <a:pt x="418625" y="295752"/>
                </a:cubicBezTo>
                <a:lnTo>
                  <a:pt x="418625" y="295752"/>
                </a:lnTo>
                <a:lnTo>
                  <a:pt x="418625" y="295752"/>
                </a:lnTo>
                <a:lnTo>
                  <a:pt x="420053" y="294323"/>
                </a:lnTo>
                <a:lnTo>
                  <a:pt x="420053" y="294323"/>
                </a:lnTo>
                <a:lnTo>
                  <a:pt x="421482" y="292894"/>
                </a:lnTo>
                <a:lnTo>
                  <a:pt x="421482" y="292894"/>
                </a:lnTo>
                <a:lnTo>
                  <a:pt x="421482" y="292894"/>
                </a:lnTo>
                <a:lnTo>
                  <a:pt x="421482" y="291466"/>
                </a:lnTo>
                <a:lnTo>
                  <a:pt x="421482" y="290037"/>
                </a:lnTo>
                <a:lnTo>
                  <a:pt x="420053" y="288608"/>
                </a:lnTo>
                <a:lnTo>
                  <a:pt x="420053" y="288608"/>
                </a:lnTo>
                <a:lnTo>
                  <a:pt x="420053" y="288608"/>
                </a:lnTo>
                <a:lnTo>
                  <a:pt x="420053" y="288608"/>
                </a:lnTo>
                <a:cubicBezTo>
                  <a:pt x="372905" y="220028"/>
                  <a:pt x="304324" y="204312"/>
                  <a:pt x="280036" y="200025"/>
                </a:cubicBezTo>
                <a:cubicBezTo>
                  <a:pt x="281464" y="197168"/>
                  <a:pt x="281464" y="192882"/>
                  <a:pt x="281464" y="190024"/>
                </a:cubicBezTo>
                <a:cubicBezTo>
                  <a:pt x="281464" y="172879"/>
                  <a:pt x="270034" y="157163"/>
                  <a:pt x="254318" y="152877"/>
                </a:cubicBezTo>
                <a:cubicBezTo>
                  <a:pt x="265748" y="128588"/>
                  <a:pt x="285751" y="72866"/>
                  <a:pt x="248603" y="4286"/>
                </a:cubicBezTo>
                <a:lnTo>
                  <a:pt x="248603" y="4286"/>
                </a:lnTo>
                <a:lnTo>
                  <a:pt x="247174" y="2858"/>
                </a:lnTo>
                <a:lnTo>
                  <a:pt x="245746" y="1429"/>
                </a:lnTo>
                <a:lnTo>
                  <a:pt x="245746" y="1429"/>
                </a:lnTo>
                <a:lnTo>
                  <a:pt x="245746" y="1429"/>
                </a:lnTo>
                <a:lnTo>
                  <a:pt x="244317" y="1429"/>
                </a:lnTo>
                <a:lnTo>
                  <a:pt x="242888" y="0"/>
                </a:lnTo>
                <a:lnTo>
                  <a:pt x="241459" y="0"/>
                </a:lnTo>
                <a:lnTo>
                  <a:pt x="240030" y="0"/>
                </a:lnTo>
                <a:lnTo>
                  <a:pt x="240030" y="0"/>
                </a:lnTo>
                <a:lnTo>
                  <a:pt x="240030" y="0"/>
                </a:lnTo>
                <a:cubicBezTo>
                  <a:pt x="240030" y="0"/>
                  <a:pt x="238602" y="0"/>
                  <a:pt x="238602" y="1429"/>
                </a:cubicBezTo>
                <a:lnTo>
                  <a:pt x="237173" y="2858"/>
                </a:lnTo>
                <a:lnTo>
                  <a:pt x="237173" y="2858"/>
                </a:lnTo>
                <a:cubicBezTo>
                  <a:pt x="200025" y="72866"/>
                  <a:pt x="221457" y="128588"/>
                  <a:pt x="231458" y="148590"/>
                </a:cubicBezTo>
                <a:cubicBezTo>
                  <a:pt x="215742" y="154305"/>
                  <a:pt x="204312" y="168593"/>
                  <a:pt x="204312" y="185738"/>
                </a:cubicBezTo>
                <a:cubicBezTo>
                  <a:pt x="204312" y="188595"/>
                  <a:pt x="204312" y="192882"/>
                  <a:pt x="205740" y="195739"/>
                </a:cubicBezTo>
                <a:cubicBezTo>
                  <a:pt x="181452" y="200025"/>
                  <a:pt x="112871" y="215742"/>
                  <a:pt x="65723" y="284322"/>
                </a:cubicBezTo>
                <a:lnTo>
                  <a:pt x="65723" y="284322"/>
                </a:lnTo>
                <a:lnTo>
                  <a:pt x="65723" y="284322"/>
                </a:lnTo>
                <a:lnTo>
                  <a:pt x="65723" y="284322"/>
                </a:lnTo>
                <a:lnTo>
                  <a:pt x="64294" y="285751"/>
                </a:lnTo>
                <a:lnTo>
                  <a:pt x="64294" y="287179"/>
                </a:lnTo>
                <a:lnTo>
                  <a:pt x="64294" y="288608"/>
                </a:lnTo>
                <a:lnTo>
                  <a:pt x="64294" y="288608"/>
                </a:lnTo>
                <a:lnTo>
                  <a:pt x="64294" y="288608"/>
                </a:lnTo>
                <a:lnTo>
                  <a:pt x="65723" y="290037"/>
                </a:lnTo>
                <a:lnTo>
                  <a:pt x="65723" y="290037"/>
                </a:lnTo>
                <a:lnTo>
                  <a:pt x="67151" y="291466"/>
                </a:lnTo>
                <a:lnTo>
                  <a:pt x="67151" y="291466"/>
                </a:lnTo>
                <a:lnTo>
                  <a:pt x="67151" y="291466"/>
                </a:lnTo>
                <a:cubicBezTo>
                  <a:pt x="68580" y="291466"/>
                  <a:pt x="70009" y="292894"/>
                  <a:pt x="71438" y="292894"/>
                </a:cubicBezTo>
                <a:lnTo>
                  <a:pt x="72866" y="292894"/>
                </a:lnTo>
                <a:cubicBezTo>
                  <a:pt x="161449" y="278607"/>
                  <a:pt x="202883" y="231458"/>
                  <a:pt x="215742" y="211455"/>
                </a:cubicBezTo>
                <a:cubicBezTo>
                  <a:pt x="221457" y="217170"/>
                  <a:pt x="227172" y="220028"/>
                  <a:pt x="235744" y="221457"/>
                </a:cubicBezTo>
                <a:lnTo>
                  <a:pt x="235744" y="401480"/>
                </a:lnTo>
                <a:cubicBezTo>
                  <a:pt x="220028" y="400051"/>
                  <a:pt x="210027" y="390050"/>
                  <a:pt x="201454" y="381477"/>
                </a:cubicBezTo>
                <a:cubicBezTo>
                  <a:pt x="191453" y="371476"/>
                  <a:pt x="178594" y="358617"/>
                  <a:pt x="157163" y="358617"/>
                </a:cubicBezTo>
                <a:cubicBezTo>
                  <a:pt x="134303" y="358617"/>
                  <a:pt x="121444" y="371476"/>
                  <a:pt x="111443" y="382906"/>
                </a:cubicBezTo>
                <a:cubicBezTo>
                  <a:pt x="101441" y="392907"/>
                  <a:pt x="94298" y="401480"/>
                  <a:pt x="78581" y="401480"/>
                </a:cubicBezTo>
                <a:cubicBezTo>
                  <a:pt x="64294" y="401480"/>
                  <a:pt x="58579" y="394336"/>
                  <a:pt x="51435" y="384335"/>
                </a:cubicBezTo>
                <a:cubicBezTo>
                  <a:pt x="42863" y="372905"/>
                  <a:pt x="32861" y="358617"/>
                  <a:pt x="7144" y="358617"/>
                </a:cubicBezTo>
                <a:cubicBezTo>
                  <a:pt x="2858" y="358617"/>
                  <a:pt x="0" y="361474"/>
                  <a:pt x="0" y="365761"/>
                </a:cubicBezTo>
                <a:lnTo>
                  <a:pt x="0" y="472917"/>
                </a:lnTo>
                <a:cubicBezTo>
                  <a:pt x="0" y="477204"/>
                  <a:pt x="2858" y="480061"/>
                  <a:pt x="7144" y="480061"/>
                </a:cubicBezTo>
                <a:lnTo>
                  <a:pt x="478632" y="480061"/>
                </a:lnTo>
                <a:cubicBezTo>
                  <a:pt x="482918" y="480061"/>
                  <a:pt x="485776" y="477204"/>
                  <a:pt x="485776" y="472917"/>
                </a:cubicBezTo>
                <a:lnTo>
                  <a:pt x="485776" y="365761"/>
                </a:lnTo>
                <a:cubicBezTo>
                  <a:pt x="485776" y="367190"/>
                  <a:pt x="482918" y="362903"/>
                  <a:pt x="478632" y="362903"/>
                </a:cubicBezTo>
                <a:close/>
                <a:moveTo>
                  <a:pt x="397193" y="278607"/>
                </a:moveTo>
                <a:cubicBezTo>
                  <a:pt x="334328" y="262891"/>
                  <a:pt x="301467" y="231458"/>
                  <a:pt x="285751" y="212884"/>
                </a:cubicBezTo>
                <a:cubicBezTo>
                  <a:pt x="310039" y="218599"/>
                  <a:pt x="358617" y="234315"/>
                  <a:pt x="397193" y="278607"/>
                </a:cubicBezTo>
                <a:close/>
                <a:moveTo>
                  <a:pt x="242888" y="22860"/>
                </a:moveTo>
                <a:cubicBezTo>
                  <a:pt x="267177" y="78581"/>
                  <a:pt x="252889" y="121444"/>
                  <a:pt x="242888" y="140018"/>
                </a:cubicBezTo>
                <a:cubicBezTo>
                  <a:pt x="232887" y="121444"/>
                  <a:pt x="218599" y="78581"/>
                  <a:pt x="242888" y="22860"/>
                </a:cubicBezTo>
                <a:close/>
                <a:moveTo>
                  <a:pt x="88583" y="278607"/>
                </a:moveTo>
                <a:cubicBezTo>
                  <a:pt x="127159" y="234315"/>
                  <a:pt x="174308" y="218599"/>
                  <a:pt x="200025" y="212884"/>
                </a:cubicBezTo>
                <a:cubicBezTo>
                  <a:pt x="185738" y="231458"/>
                  <a:pt x="151448" y="264319"/>
                  <a:pt x="88583" y="278607"/>
                </a:cubicBezTo>
                <a:close/>
                <a:moveTo>
                  <a:pt x="218599" y="187167"/>
                </a:moveTo>
                <a:cubicBezTo>
                  <a:pt x="218599" y="172879"/>
                  <a:pt x="230029" y="161449"/>
                  <a:pt x="242888" y="161449"/>
                </a:cubicBezTo>
                <a:cubicBezTo>
                  <a:pt x="255747" y="161449"/>
                  <a:pt x="267177" y="172879"/>
                  <a:pt x="267177" y="187167"/>
                </a:cubicBezTo>
                <a:cubicBezTo>
                  <a:pt x="267177" y="201454"/>
                  <a:pt x="255747" y="212884"/>
                  <a:pt x="242888" y="212884"/>
                </a:cubicBezTo>
                <a:cubicBezTo>
                  <a:pt x="230029" y="212884"/>
                  <a:pt x="218599" y="201454"/>
                  <a:pt x="218599" y="187167"/>
                </a:cubicBezTo>
                <a:close/>
                <a:moveTo>
                  <a:pt x="470507" y="465154"/>
                </a:moveTo>
                <a:lnTo>
                  <a:pt x="14288" y="464173"/>
                </a:lnTo>
                <a:lnTo>
                  <a:pt x="14288" y="377191"/>
                </a:lnTo>
                <a:cubicBezTo>
                  <a:pt x="27146" y="378620"/>
                  <a:pt x="34290" y="387192"/>
                  <a:pt x="40005" y="395765"/>
                </a:cubicBezTo>
                <a:cubicBezTo>
                  <a:pt x="48578" y="407195"/>
                  <a:pt x="57150" y="418625"/>
                  <a:pt x="78581" y="418625"/>
                </a:cubicBezTo>
                <a:cubicBezTo>
                  <a:pt x="100013" y="418625"/>
                  <a:pt x="111443" y="405766"/>
                  <a:pt x="121444" y="395765"/>
                </a:cubicBezTo>
                <a:cubicBezTo>
                  <a:pt x="131445" y="385763"/>
                  <a:pt x="140018" y="375762"/>
                  <a:pt x="157163" y="375762"/>
                </a:cubicBezTo>
                <a:cubicBezTo>
                  <a:pt x="172879" y="375762"/>
                  <a:pt x="181452" y="384335"/>
                  <a:pt x="191453" y="394336"/>
                </a:cubicBezTo>
                <a:cubicBezTo>
                  <a:pt x="202883" y="405766"/>
                  <a:pt x="215742" y="418625"/>
                  <a:pt x="242888" y="418625"/>
                </a:cubicBezTo>
                <a:lnTo>
                  <a:pt x="242888" y="418625"/>
                </a:lnTo>
                <a:lnTo>
                  <a:pt x="242888" y="418625"/>
                </a:lnTo>
                <a:cubicBezTo>
                  <a:pt x="268606" y="418625"/>
                  <a:pt x="281464" y="405766"/>
                  <a:pt x="292894" y="394336"/>
                </a:cubicBezTo>
                <a:cubicBezTo>
                  <a:pt x="302896" y="384335"/>
                  <a:pt x="311468" y="375762"/>
                  <a:pt x="328613" y="375762"/>
                </a:cubicBezTo>
                <a:cubicBezTo>
                  <a:pt x="347187" y="375762"/>
                  <a:pt x="354331" y="384335"/>
                  <a:pt x="362903" y="394336"/>
                </a:cubicBezTo>
                <a:cubicBezTo>
                  <a:pt x="372905" y="405766"/>
                  <a:pt x="382906" y="418625"/>
                  <a:pt x="407195" y="418625"/>
                </a:cubicBezTo>
                <a:cubicBezTo>
                  <a:pt x="432912" y="418625"/>
                  <a:pt x="441485" y="404337"/>
                  <a:pt x="448628" y="394336"/>
                </a:cubicBezTo>
                <a:cubicBezTo>
                  <a:pt x="454343" y="385763"/>
                  <a:pt x="458630" y="378620"/>
                  <a:pt x="471488" y="377191"/>
                </a:cubicBezTo>
                <a:lnTo>
                  <a:pt x="470507" y="465154"/>
                </a:lnTo>
                <a:close/>
              </a:path>
            </a:pathLst>
          </a:custGeom>
          <a:solidFill>
            <a:srgbClr val="101010"/>
          </a:solidFill>
          <a:ln w="14288" cap="flat">
            <a:noFill/>
            <a:prstDash val="solid"/>
            <a:miter/>
          </a:ln>
        </p:spPr>
        <p:txBody>
          <a:bodyPr rtlCol="0" anchor="ctr"/>
          <a:lstStyle/>
          <a:p>
            <a:endParaRPr lang="de-DE"/>
          </a:p>
        </p:txBody>
      </p:sp>
      <p:grpSp>
        <p:nvGrpSpPr>
          <p:cNvPr id="5251" name="Graphic 3">
            <a:extLst>
              <a:ext uri="{FF2B5EF4-FFF2-40B4-BE49-F238E27FC236}">
                <a16:creationId xmlns:a16="http://schemas.microsoft.com/office/drawing/2014/main" id="{25D92903-4398-401B-B572-8290C535CAC5}"/>
              </a:ext>
              <a:ext uri="{C183D7F6-B498-43B3-948B-1728B52AA6E4}">
                <adec:decorative xmlns:adec="http://schemas.microsoft.com/office/drawing/2017/decorative" val="1"/>
              </a:ext>
            </a:extLst>
          </p:cNvPr>
          <p:cNvGrpSpPr>
            <a:grpSpLocks noChangeAspect="1"/>
          </p:cNvGrpSpPr>
          <p:nvPr/>
        </p:nvGrpSpPr>
        <p:grpSpPr>
          <a:xfrm>
            <a:off x="1211161" y="4188746"/>
            <a:ext cx="123170" cy="95358"/>
            <a:chOff x="5893781" y="3236912"/>
            <a:chExt cx="450787" cy="348996"/>
          </a:xfrm>
          <a:solidFill>
            <a:srgbClr val="231F20"/>
          </a:solidFill>
        </p:grpSpPr>
        <p:sp>
          <p:nvSpPr>
            <p:cNvPr id="5252" name="Freeform: Shape 5251">
              <a:extLst>
                <a:ext uri="{FF2B5EF4-FFF2-40B4-BE49-F238E27FC236}">
                  <a16:creationId xmlns:a16="http://schemas.microsoft.com/office/drawing/2014/main" id="{56FFFD1A-8DEB-431A-98A3-360008AD6C15}"/>
                </a:ext>
              </a:extLst>
            </p:cNvPr>
            <p:cNvSpPr/>
            <p:nvPr/>
          </p:nvSpPr>
          <p:spPr>
            <a:xfrm>
              <a:off x="5893781" y="3236912"/>
              <a:ext cx="450787" cy="348996"/>
            </a:xfrm>
            <a:custGeom>
              <a:avLst/>
              <a:gdLst>
                <a:gd name="connsiteX0" fmla="*/ 450002 w 450787"/>
                <a:gd name="connsiteY0" fmla="*/ 47987 h 348996"/>
                <a:gd name="connsiteX1" fmla="*/ 413648 w 450787"/>
                <a:gd name="connsiteY1" fmla="*/ 47987 h 348996"/>
                <a:gd name="connsiteX2" fmla="*/ 387474 w 450787"/>
                <a:gd name="connsiteY2" fmla="*/ 21812 h 348996"/>
                <a:gd name="connsiteX3" fmla="*/ 291500 w 450787"/>
                <a:gd name="connsiteY3" fmla="*/ 21812 h 348996"/>
                <a:gd name="connsiteX4" fmla="*/ 276958 w 450787"/>
                <a:gd name="connsiteY4" fmla="*/ 26175 h 348996"/>
                <a:gd name="connsiteX5" fmla="*/ 268233 w 450787"/>
                <a:gd name="connsiteY5" fmla="*/ 4362 h 348996"/>
                <a:gd name="connsiteX6" fmla="*/ 263871 w 450787"/>
                <a:gd name="connsiteY6" fmla="*/ 0 h 348996"/>
                <a:gd name="connsiteX7" fmla="*/ 259508 w 450787"/>
                <a:gd name="connsiteY7" fmla="*/ 0 h 348996"/>
                <a:gd name="connsiteX8" fmla="*/ 207159 w 450787"/>
                <a:gd name="connsiteY8" fmla="*/ 20358 h 348996"/>
                <a:gd name="connsiteX9" fmla="*/ 202796 w 450787"/>
                <a:gd name="connsiteY9" fmla="*/ 24721 h 348996"/>
                <a:gd name="connsiteX10" fmla="*/ 202796 w 450787"/>
                <a:gd name="connsiteY10" fmla="*/ 30537 h 348996"/>
                <a:gd name="connsiteX11" fmla="*/ 212975 w 450787"/>
                <a:gd name="connsiteY11" fmla="*/ 52349 h 348996"/>
                <a:gd name="connsiteX12" fmla="*/ 70469 w 450787"/>
                <a:gd name="connsiteY12" fmla="*/ 138144 h 348996"/>
                <a:gd name="connsiteX13" fmla="*/ 58835 w 450787"/>
                <a:gd name="connsiteY13" fmla="*/ 155594 h 348996"/>
                <a:gd name="connsiteX14" fmla="*/ 61744 w 450787"/>
                <a:gd name="connsiteY14" fmla="*/ 171590 h 348996"/>
                <a:gd name="connsiteX15" fmla="*/ 38477 w 450787"/>
                <a:gd name="connsiteY15" fmla="*/ 187586 h 348996"/>
                <a:gd name="connsiteX16" fmla="*/ 37023 w 450787"/>
                <a:gd name="connsiteY16" fmla="*/ 197765 h 348996"/>
                <a:gd name="connsiteX17" fmla="*/ 48656 w 450787"/>
                <a:gd name="connsiteY17" fmla="*/ 215215 h 348996"/>
                <a:gd name="connsiteX18" fmla="*/ 669 w 450787"/>
                <a:gd name="connsiteY18" fmla="*/ 287922 h 348996"/>
                <a:gd name="connsiteX19" fmla="*/ 48656 w 450787"/>
                <a:gd name="connsiteY19" fmla="*/ 325730 h 348996"/>
                <a:gd name="connsiteX20" fmla="*/ 111185 w 450787"/>
                <a:gd name="connsiteY20" fmla="*/ 314097 h 348996"/>
                <a:gd name="connsiteX21" fmla="*/ 208613 w 450787"/>
                <a:gd name="connsiteY21" fmla="*/ 260293 h 348996"/>
                <a:gd name="connsiteX22" fmla="*/ 367116 w 450787"/>
                <a:gd name="connsiteY22" fmla="*/ 242843 h 348996"/>
                <a:gd name="connsiteX23" fmla="*/ 399107 w 450787"/>
                <a:gd name="connsiteY23" fmla="*/ 286468 h 348996"/>
                <a:gd name="connsiteX24" fmla="*/ 339487 w 450787"/>
                <a:gd name="connsiteY24" fmla="*/ 344634 h 348996"/>
                <a:gd name="connsiteX25" fmla="*/ 333670 w 450787"/>
                <a:gd name="connsiteY25" fmla="*/ 353359 h 348996"/>
                <a:gd name="connsiteX26" fmla="*/ 340941 w 450787"/>
                <a:gd name="connsiteY26" fmla="*/ 359176 h 348996"/>
                <a:gd name="connsiteX27" fmla="*/ 342395 w 450787"/>
                <a:gd name="connsiteY27" fmla="*/ 359176 h 348996"/>
                <a:gd name="connsiteX28" fmla="*/ 415103 w 450787"/>
                <a:gd name="connsiteY28" fmla="*/ 285014 h 348996"/>
                <a:gd name="connsiteX29" fmla="*/ 375840 w 450787"/>
                <a:gd name="connsiteY29" fmla="*/ 229756 h 348996"/>
                <a:gd name="connsiteX30" fmla="*/ 204251 w 450787"/>
                <a:gd name="connsiteY30" fmla="*/ 247206 h 348996"/>
                <a:gd name="connsiteX31" fmla="*/ 106822 w 450787"/>
                <a:gd name="connsiteY31" fmla="*/ 301009 h 348996"/>
                <a:gd name="connsiteX32" fmla="*/ 53019 w 450787"/>
                <a:gd name="connsiteY32" fmla="*/ 311189 h 348996"/>
                <a:gd name="connsiteX33" fmla="*/ 18119 w 450787"/>
                <a:gd name="connsiteY33" fmla="*/ 285014 h 348996"/>
                <a:gd name="connsiteX34" fmla="*/ 58835 w 450787"/>
                <a:gd name="connsiteY34" fmla="*/ 226848 h 348996"/>
                <a:gd name="connsiteX35" fmla="*/ 58835 w 450787"/>
                <a:gd name="connsiteY35" fmla="*/ 226848 h 348996"/>
                <a:gd name="connsiteX36" fmla="*/ 69014 w 450787"/>
                <a:gd name="connsiteY36" fmla="*/ 242843 h 348996"/>
                <a:gd name="connsiteX37" fmla="*/ 73377 w 450787"/>
                <a:gd name="connsiteY37" fmla="*/ 247206 h 348996"/>
                <a:gd name="connsiteX38" fmla="*/ 77739 w 450787"/>
                <a:gd name="connsiteY38" fmla="*/ 245752 h 348996"/>
                <a:gd name="connsiteX39" fmla="*/ 101006 w 450787"/>
                <a:gd name="connsiteY39" fmla="*/ 231210 h 348996"/>
                <a:gd name="connsiteX40" fmla="*/ 115547 w 450787"/>
                <a:gd name="connsiteY40" fmla="*/ 237027 h 348996"/>
                <a:gd name="connsiteX41" fmla="*/ 127181 w 450787"/>
                <a:gd name="connsiteY41" fmla="*/ 234118 h 348996"/>
                <a:gd name="connsiteX42" fmla="*/ 223155 w 450787"/>
                <a:gd name="connsiteY42" fmla="*/ 173044 h 348996"/>
                <a:gd name="connsiteX43" fmla="*/ 231879 w 450787"/>
                <a:gd name="connsiteY43" fmla="*/ 171590 h 348996"/>
                <a:gd name="connsiteX44" fmla="*/ 231879 w 450787"/>
                <a:gd name="connsiteY44" fmla="*/ 171590 h 348996"/>
                <a:gd name="connsiteX45" fmla="*/ 290046 w 450787"/>
                <a:gd name="connsiteY45" fmla="*/ 184677 h 348996"/>
                <a:gd name="connsiteX46" fmla="*/ 291500 w 450787"/>
                <a:gd name="connsiteY46" fmla="*/ 184677 h 348996"/>
                <a:gd name="connsiteX47" fmla="*/ 387474 w 450787"/>
                <a:gd name="connsiteY47" fmla="*/ 184677 h 348996"/>
                <a:gd name="connsiteX48" fmla="*/ 413648 w 450787"/>
                <a:gd name="connsiteY48" fmla="*/ 162865 h 348996"/>
                <a:gd name="connsiteX49" fmla="*/ 451456 w 450787"/>
                <a:gd name="connsiteY49" fmla="*/ 162865 h 348996"/>
                <a:gd name="connsiteX50" fmla="*/ 458727 w 450787"/>
                <a:gd name="connsiteY50" fmla="*/ 155594 h 348996"/>
                <a:gd name="connsiteX51" fmla="*/ 458727 w 450787"/>
                <a:gd name="connsiteY51" fmla="*/ 55258 h 348996"/>
                <a:gd name="connsiteX52" fmla="*/ 450002 w 450787"/>
                <a:gd name="connsiteY52" fmla="*/ 47987 h 348996"/>
                <a:gd name="connsiteX53" fmla="*/ 258054 w 450787"/>
                <a:gd name="connsiteY53" fmla="*/ 15996 h 348996"/>
                <a:gd name="connsiteX54" fmla="*/ 263871 w 450787"/>
                <a:gd name="connsiteY54" fmla="*/ 30537 h 348996"/>
                <a:gd name="connsiteX55" fmla="*/ 226063 w 450787"/>
                <a:gd name="connsiteY55" fmla="*/ 45079 h 348996"/>
                <a:gd name="connsiteX56" fmla="*/ 220246 w 450787"/>
                <a:gd name="connsiteY56" fmla="*/ 30537 h 348996"/>
                <a:gd name="connsiteX57" fmla="*/ 258054 w 450787"/>
                <a:gd name="connsiteY57" fmla="*/ 15996 h 348996"/>
                <a:gd name="connsiteX58" fmla="*/ 76285 w 450787"/>
                <a:gd name="connsiteY58" fmla="*/ 229756 h 348996"/>
                <a:gd name="connsiteX59" fmla="*/ 53019 w 450787"/>
                <a:gd name="connsiteY59" fmla="*/ 194856 h 348996"/>
                <a:gd name="connsiteX60" fmla="*/ 69014 w 450787"/>
                <a:gd name="connsiteY60" fmla="*/ 183223 h 348996"/>
                <a:gd name="connsiteX61" fmla="*/ 92281 w 450787"/>
                <a:gd name="connsiteY61" fmla="*/ 218123 h 348996"/>
                <a:gd name="connsiteX62" fmla="*/ 76285 w 450787"/>
                <a:gd name="connsiteY62" fmla="*/ 229756 h 348996"/>
                <a:gd name="connsiteX63" fmla="*/ 399107 w 450787"/>
                <a:gd name="connsiteY63" fmla="*/ 158503 h 348996"/>
                <a:gd name="connsiteX64" fmla="*/ 387474 w 450787"/>
                <a:gd name="connsiteY64" fmla="*/ 170136 h 348996"/>
                <a:gd name="connsiteX65" fmla="*/ 291500 w 450787"/>
                <a:gd name="connsiteY65" fmla="*/ 170136 h 348996"/>
                <a:gd name="connsiteX66" fmla="*/ 234788 w 450787"/>
                <a:gd name="connsiteY66" fmla="*/ 157048 h 348996"/>
                <a:gd name="connsiteX67" fmla="*/ 214430 w 450787"/>
                <a:gd name="connsiteY67" fmla="*/ 159957 h 348996"/>
                <a:gd name="connsiteX68" fmla="*/ 118456 w 450787"/>
                <a:gd name="connsiteY68" fmla="*/ 221031 h 348996"/>
                <a:gd name="connsiteX69" fmla="*/ 109731 w 450787"/>
                <a:gd name="connsiteY69" fmla="*/ 219577 h 348996"/>
                <a:gd name="connsiteX70" fmla="*/ 74831 w 450787"/>
                <a:gd name="connsiteY70" fmla="*/ 167227 h 348996"/>
                <a:gd name="connsiteX71" fmla="*/ 73377 w 450787"/>
                <a:gd name="connsiteY71" fmla="*/ 158503 h 348996"/>
                <a:gd name="connsiteX72" fmla="*/ 77739 w 450787"/>
                <a:gd name="connsiteY72" fmla="*/ 151232 h 348996"/>
                <a:gd name="connsiteX73" fmla="*/ 230425 w 450787"/>
                <a:gd name="connsiteY73" fmla="*/ 59620 h 348996"/>
                <a:gd name="connsiteX74" fmla="*/ 291500 w 450787"/>
                <a:gd name="connsiteY74" fmla="*/ 36354 h 348996"/>
                <a:gd name="connsiteX75" fmla="*/ 387474 w 450787"/>
                <a:gd name="connsiteY75" fmla="*/ 36354 h 348996"/>
                <a:gd name="connsiteX76" fmla="*/ 399107 w 450787"/>
                <a:gd name="connsiteY76" fmla="*/ 47987 h 348996"/>
                <a:gd name="connsiteX77" fmla="*/ 399107 w 450787"/>
                <a:gd name="connsiteY77" fmla="*/ 53804 h 348996"/>
                <a:gd name="connsiteX78" fmla="*/ 399107 w 450787"/>
                <a:gd name="connsiteY78" fmla="*/ 154140 h 348996"/>
                <a:gd name="connsiteX79" fmla="*/ 399107 w 450787"/>
                <a:gd name="connsiteY79" fmla="*/ 158503 h 348996"/>
                <a:gd name="connsiteX80" fmla="*/ 442731 w 450787"/>
                <a:gd name="connsiteY80" fmla="*/ 148324 h 348996"/>
                <a:gd name="connsiteX81" fmla="*/ 413648 w 450787"/>
                <a:gd name="connsiteY81" fmla="*/ 148324 h 348996"/>
                <a:gd name="connsiteX82" fmla="*/ 413648 w 450787"/>
                <a:gd name="connsiteY82" fmla="*/ 62529 h 348996"/>
                <a:gd name="connsiteX83" fmla="*/ 442731 w 450787"/>
                <a:gd name="connsiteY83" fmla="*/ 62529 h 348996"/>
                <a:gd name="connsiteX84" fmla="*/ 442731 w 450787"/>
                <a:gd name="connsiteY84" fmla="*/ 148324 h 34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50787" h="348996">
                  <a:moveTo>
                    <a:pt x="450002" y="47987"/>
                  </a:moveTo>
                  <a:lnTo>
                    <a:pt x="413648" y="47987"/>
                  </a:lnTo>
                  <a:cubicBezTo>
                    <a:pt x="413648" y="33445"/>
                    <a:pt x="402015" y="21812"/>
                    <a:pt x="387474" y="21812"/>
                  </a:cubicBezTo>
                  <a:lnTo>
                    <a:pt x="291500" y="21812"/>
                  </a:lnTo>
                  <a:cubicBezTo>
                    <a:pt x="290046" y="21812"/>
                    <a:pt x="290046" y="21812"/>
                    <a:pt x="276958" y="26175"/>
                  </a:cubicBezTo>
                  <a:lnTo>
                    <a:pt x="268233" y="4362"/>
                  </a:lnTo>
                  <a:cubicBezTo>
                    <a:pt x="268233" y="2908"/>
                    <a:pt x="266779" y="1454"/>
                    <a:pt x="263871" y="0"/>
                  </a:cubicBezTo>
                  <a:cubicBezTo>
                    <a:pt x="263871" y="0"/>
                    <a:pt x="260962" y="0"/>
                    <a:pt x="259508" y="0"/>
                  </a:cubicBezTo>
                  <a:lnTo>
                    <a:pt x="207159" y="20358"/>
                  </a:lnTo>
                  <a:cubicBezTo>
                    <a:pt x="205705" y="20358"/>
                    <a:pt x="204251" y="21812"/>
                    <a:pt x="202796" y="24721"/>
                  </a:cubicBezTo>
                  <a:cubicBezTo>
                    <a:pt x="201342" y="26175"/>
                    <a:pt x="201342" y="29083"/>
                    <a:pt x="202796" y="30537"/>
                  </a:cubicBezTo>
                  <a:lnTo>
                    <a:pt x="212975" y="52349"/>
                  </a:lnTo>
                  <a:lnTo>
                    <a:pt x="70469" y="138144"/>
                  </a:lnTo>
                  <a:cubicBezTo>
                    <a:pt x="64652" y="142507"/>
                    <a:pt x="60290" y="148324"/>
                    <a:pt x="58835" y="155594"/>
                  </a:cubicBezTo>
                  <a:cubicBezTo>
                    <a:pt x="57381" y="161411"/>
                    <a:pt x="58835" y="167227"/>
                    <a:pt x="61744" y="171590"/>
                  </a:cubicBezTo>
                  <a:lnTo>
                    <a:pt x="38477" y="187586"/>
                  </a:lnTo>
                  <a:cubicBezTo>
                    <a:pt x="35569" y="190494"/>
                    <a:pt x="34115" y="194856"/>
                    <a:pt x="37023" y="197765"/>
                  </a:cubicBezTo>
                  <a:lnTo>
                    <a:pt x="48656" y="215215"/>
                  </a:lnTo>
                  <a:cubicBezTo>
                    <a:pt x="28298" y="223939"/>
                    <a:pt x="-5147" y="250114"/>
                    <a:pt x="669" y="287922"/>
                  </a:cubicBezTo>
                  <a:cubicBezTo>
                    <a:pt x="3578" y="303918"/>
                    <a:pt x="13757" y="322822"/>
                    <a:pt x="48656" y="325730"/>
                  </a:cubicBezTo>
                  <a:cubicBezTo>
                    <a:pt x="69014" y="328638"/>
                    <a:pt x="90827" y="324276"/>
                    <a:pt x="111185" y="314097"/>
                  </a:cubicBezTo>
                  <a:cubicBezTo>
                    <a:pt x="127181" y="306826"/>
                    <a:pt x="157718" y="290830"/>
                    <a:pt x="208613" y="260293"/>
                  </a:cubicBezTo>
                  <a:cubicBezTo>
                    <a:pt x="275504" y="221031"/>
                    <a:pt x="335124" y="226848"/>
                    <a:pt x="367116" y="242843"/>
                  </a:cubicBezTo>
                  <a:cubicBezTo>
                    <a:pt x="386020" y="253022"/>
                    <a:pt x="397653" y="269018"/>
                    <a:pt x="399107" y="286468"/>
                  </a:cubicBezTo>
                  <a:cubicBezTo>
                    <a:pt x="402015" y="335909"/>
                    <a:pt x="340941" y="344634"/>
                    <a:pt x="339487" y="344634"/>
                  </a:cubicBezTo>
                  <a:cubicBezTo>
                    <a:pt x="335124" y="344634"/>
                    <a:pt x="332216" y="348996"/>
                    <a:pt x="333670" y="353359"/>
                  </a:cubicBezTo>
                  <a:cubicBezTo>
                    <a:pt x="333670" y="357721"/>
                    <a:pt x="336578" y="359176"/>
                    <a:pt x="340941" y="359176"/>
                  </a:cubicBezTo>
                  <a:cubicBezTo>
                    <a:pt x="340941" y="359176"/>
                    <a:pt x="340941" y="359176"/>
                    <a:pt x="342395" y="359176"/>
                  </a:cubicBezTo>
                  <a:cubicBezTo>
                    <a:pt x="368570" y="356267"/>
                    <a:pt x="418011" y="335909"/>
                    <a:pt x="415103" y="285014"/>
                  </a:cubicBezTo>
                  <a:cubicBezTo>
                    <a:pt x="413648" y="263202"/>
                    <a:pt x="399107" y="242843"/>
                    <a:pt x="375840" y="229756"/>
                  </a:cubicBezTo>
                  <a:cubicBezTo>
                    <a:pt x="339487" y="210852"/>
                    <a:pt x="275504" y="205035"/>
                    <a:pt x="204251" y="247206"/>
                  </a:cubicBezTo>
                  <a:cubicBezTo>
                    <a:pt x="153355" y="277743"/>
                    <a:pt x="122818" y="292285"/>
                    <a:pt x="106822" y="301009"/>
                  </a:cubicBezTo>
                  <a:cubicBezTo>
                    <a:pt x="89373" y="309734"/>
                    <a:pt x="70469" y="312643"/>
                    <a:pt x="53019" y="311189"/>
                  </a:cubicBezTo>
                  <a:cubicBezTo>
                    <a:pt x="21027" y="308280"/>
                    <a:pt x="18119" y="290830"/>
                    <a:pt x="18119" y="285014"/>
                  </a:cubicBezTo>
                  <a:cubicBezTo>
                    <a:pt x="12303" y="245752"/>
                    <a:pt x="57381" y="226848"/>
                    <a:pt x="58835" y="226848"/>
                  </a:cubicBezTo>
                  <a:cubicBezTo>
                    <a:pt x="58835" y="226848"/>
                    <a:pt x="58835" y="226848"/>
                    <a:pt x="58835" y="226848"/>
                  </a:cubicBezTo>
                  <a:lnTo>
                    <a:pt x="69014" y="242843"/>
                  </a:lnTo>
                  <a:cubicBezTo>
                    <a:pt x="69014" y="245752"/>
                    <a:pt x="71923" y="247206"/>
                    <a:pt x="73377" y="247206"/>
                  </a:cubicBezTo>
                  <a:cubicBezTo>
                    <a:pt x="74831" y="247206"/>
                    <a:pt x="76285" y="247206"/>
                    <a:pt x="77739" y="245752"/>
                  </a:cubicBezTo>
                  <a:lnTo>
                    <a:pt x="101006" y="231210"/>
                  </a:lnTo>
                  <a:cubicBezTo>
                    <a:pt x="105368" y="234118"/>
                    <a:pt x="109731" y="237027"/>
                    <a:pt x="115547" y="237027"/>
                  </a:cubicBezTo>
                  <a:cubicBezTo>
                    <a:pt x="119910" y="237027"/>
                    <a:pt x="122818" y="235573"/>
                    <a:pt x="127181" y="234118"/>
                  </a:cubicBezTo>
                  <a:lnTo>
                    <a:pt x="223155" y="173044"/>
                  </a:lnTo>
                  <a:cubicBezTo>
                    <a:pt x="226063" y="171590"/>
                    <a:pt x="228971" y="170136"/>
                    <a:pt x="231879" y="171590"/>
                  </a:cubicBezTo>
                  <a:cubicBezTo>
                    <a:pt x="231879" y="171590"/>
                    <a:pt x="231879" y="171590"/>
                    <a:pt x="231879" y="171590"/>
                  </a:cubicBezTo>
                  <a:lnTo>
                    <a:pt x="290046" y="184677"/>
                  </a:lnTo>
                  <a:cubicBezTo>
                    <a:pt x="290046" y="184677"/>
                    <a:pt x="291500" y="184677"/>
                    <a:pt x="291500" y="184677"/>
                  </a:cubicBezTo>
                  <a:lnTo>
                    <a:pt x="387474" y="184677"/>
                  </a:lnTo>
                  <a:cubicBezTo>
                    <a:pt x="400561" y="184677"/>
                    <a:pt x="412194" y="174498"/>
                    <a:pt x="413648" y="162865"/>
                  </a:cubicBezTo>
                  <a:lnTo>
                    <a:pt x="451456" y="162865"/>
                  </a:lnTo>
                  <a:cubicBezTo>
                    <a:pt x="455819" y="162865"/>
                    <a:pt x="458727" y="159957"/>
                    <a:pt x="458727" y="155594"/>
                  </a:cubicBezTo>
                  <a:lnTo>
                    <a:pt x="458727" y="55258"/>
                  </a:lnTo>
                  <a:cubicBezTo>
                    <a:pt x="457273" y="50895"/>
                    <a:pt x="454365" y="47987"/>
                    <a:pt x="450002" y="47987"/>
                  </a:cubicBezTo>
                  <a:close/>
                  <a:moveTo>
                    <a:pt x="258054" y="15996"/>
                  </a:moveTo>
                  <a:lnTo>
                    <a:pt x="263871" y="30537"/>
                  </a:lnTo>
                  <a:cubicBezTo>
                    <a:pt x="255146" y="33445"/>
                    <a:pt x="242059" y="39262"/>
                    <a:pt x="226063" y="45079"/>
                  </a:cubicBezTo>
                  <a:lnTo>
                    <a:pt x="220246" y="30537"/>
                  </a:lnTo>
                  <a:lnTo>
                    <a:pt x="258054" y="15996"/>
                  </a:lnTo>
                  <a:close/>
                  <a:moveTo>
                    <a:pt x="76285" y="229756"/>
                  </a:moveTo>
                  <a:lnTo>
                    <a:pt x="53019" y="194856"/>
                  </a:lnTo>
                  <a:lnTo>
                    <a:pt x="69014" y="183223"/>
                  </a:lnTo>
                  <a:lnTo>
                    <a:pt x="92281" y="218123"/>
                  </a:lnTo>
                  <a:lnTo>
                    <a:pt x="76285" y="229756"/>
                  </a:lnTo>
                  <a:close/>
                  <a:moveTo>
                    <a:pt x="399107" y="158503"/>
                  </a:moveTo>
                  <a:cubicBezTo>
                    <a:pt x="399107" y="165773"/>
                    <a:pt x="393290" y="170136"/>
                    <a:pt x="387474" y="170136"/>
                  </a:cubicBezTo>
                  <a:lnTo>
                    <a:pt x="291500" y="170136"/>
                  </a:lnTo>
                  <a:lnTo>
                    <a:pt x="234788" y="157048"/>
                  </a:lnTo>
                  <a:cubicBezTo>
                    <a:pt x="227517" y="155594"/>
                    <a:pt x="220246" y="157048"/>
                    <a:pt x="214430" y="159957"/>
                  </a:cubicBezTo>
                  <a:lnTo>
                    <a:pt x="118456" y="221031"/>
                  </a:lnTo>
                  <a:cubicBezTo>
                    <a:pt x="115547" y="222485"/>
                    <a:pt x="111185" y="222485"/>
                    <a:pt x="109731" y="219577"/>
                  </a:cubicBezTo>
                  <a:lnTo>
                    <a:pt x="74831" y="167227"/>
                  </a:lnTo>
                  <a:cubicBezTo>
                    <a:pt x="73377" y="164319"/>
                    <a:pt x="73377" y="161411"/>
                    <a:pt x="73377" y="158503"/>
                  </a:cubicBezTo>
                  <a:cubicBezTo>
                    <a:pt x="73377" y="155594"/>
                    <a:pt x="76285" y="152686"/>
                    <a:pt x="77739" y="151232"/>
                  </a:cubicBezTo>
                  <a:lnTo>
                    <a:pt x="230425" y="59620"/>
                  </a:lnTo>
                  <a:cubicBezTo>
                    <a:pt x="252238" y="50895"/>
                    <a:pt x="288591" y="37808"/>
                    <a:pt x="291500" y="36354"/>
                  </a:cubicBezTo>
                  <a:lnTo>
                    <a:pt x="387474" y="36354"/>
                  </a:lnTo>
                  <a:cubicBezTo>
                    <a:pt x="394744" y="36354"/>
                    <a:pt x="399107" y="42170"/>
                    <a:pt x="399107" y="47987"/>
                  </a:cubicBezTo>
                  <a:lnTo>
                    <a:pt x="399107" y="53804"/>
                  </a:lnTo>
                  <a:lnTo>
                    <a:pt x="399107" y="154140"/>
                  </a:lnTo>
                  <a:lnTo>
                    <a:pt x="399107" y="158503"/>
                  </a:lnTo>
                  <a:close/>
                  <a:moveTo>
                    <a:pt x="442731" y="148324"/>
                  </a:moveTo>
                  <a:lnTo>
                    <a:pt x="413648" y="148324"/>
                  </a:lnTo>
                  <a:lnTo>
                    <a:pt x="413648" y="62529"/>
                  </a:lnTo>
                  <a:lnTo>
                    <a:pt x="442731" y="62529"/>
                  </a:lnTo>
                  <a:lnTo>
                    <a:pt x="442731" y="148324"/>
                  </a:lnTo>
                  <a:close/>
                </a:path>
              </a:pathLst>
            </a:custGeom>
            <a:solidFill>
              <a:srgbClr val="231F20"/>
            </a:solidFill>
            <a:ln w="14441" cap="flat">
              <a:noFill/>
              <a:prstDash val="solid"/>
              <a:miter/>
            </a:ln>
          </p:spPr>
          <p:txBody>
            <a:bodyPr rtlCol="0" anchor="ctr"/>
            <a:lstStyle/>
            <a:p>
              <a:endParaRPr lang="de-DE"/>
            </a:p>
          </p:txBody>
        </p:sp>
        <p:sp>
          <p:nvSpPr>
            <p:cNvPr id="5253" name="Freeform: Shape 5252">
              <a:extLst>
                <a:ext uri="{FF2B5EF4-FFF2-40B4-BE49-F238E27FC236}">
                  <a16:creationId xmlns:a16="http://schemas.microsoft.com/office/drawing/2014/main" id="{EEC88F36-C48E-4152-81F6-BC6A9A88CBEF}"/>
                </a:ext>
              </a:extLst>
            </p:cNvPr>
            <p:cNvSpPr/>
            <p:nvPr/>
          </p:nvSpPr>
          <p:spPr>
            <a:xfrm>
              <a:off x="6040749" y="3362853"/>
              <a:ext cx="29083" cy="29083"/>
            </a:xfrm>
            <a:custGeom>
              <a:avLst/>
              <a:gdLst>
                <a:gd name="connsiteX0" fmla="*/ 13658 w 29083"/>
                <a:gd name="connsiteY0" fmla="*/ 3479 h 29083"/>
                <a:gd name="connsiteX1" fmla="*/ 3479 w 29083"/>
                <a:gd name="connsiteY1" fmla="*/ 570 h 29083"/>
                <a:gd name="connsiteX2" fmla="*/ 570 w 29083"/>
                <a:gd name="connsiteY2" fmla="*/ 10750 h 29083"/>
                <a:gd name="connsiteX3" fmla="*/ 18020 w 29083"/>
                <a:gd name="connsiteY3" fmla="*/ 38378 h 29083"/>
                <a:gd name="connsiteX4" fmla="*/ 23837 w 29083"/>
                <a:gd name="connsiteY4" fmla="*/ 41287 h 29083"/>
                <a:gd name="connsiteX5" fmla="*/ 28199 w 29083"/>
                <a:gd name="connsiteY5" fmla="*/ 39833 h 29083"/>
                <a:gd name="connsiteX6" fmla="*/ 31108 w 29083"/>
                <a:gd name="connsiteY6" fmla="*/ 29654 h 29083"/>
                <a:gd name="connsiteX7" fmla="*/ 13658 w 29083"/>
                <a:gd name="connsiteY7" fmla="*/ 3479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83" h="29083">
                  <a:moveTo>
                    <a:pt x="13658" y="3479"/>
                  </a:moveTo>
                  <a:cubicBezTo>
                    <a:pt x="12204" y="570"/>
                    <a:pt x="6387" y="-884"/>
                    <a:pt x="3479" y="570"/>
                  </a:cubicBezTo>
                  <a:cubicBezTo>
                    <a:pt x="570" y="2025"/>
                    <a:pt x="-884" y="7841"/>
                    <a:pt x="570" y="10750"/>
                  </a:cubicBezTo>
                  <a:lnTo>
                    <a:pt x="18020" y="38378"/>
                  </a:lnTo>
                  <a:cubicBezTo>
                    <a:pt x="19474" y="41287"/>
                    <a:pt x="22383" y="41287"/>
                    <a:pt x="23837" y="41287"/>
                  </a:cubicBezTo>
                  <a:cubicBezTo>
                    <a:pt x="25291" y="41287"/>
                    <a:pt x="26745" y="41287"/>
                    <a:pt x="28199" y="39833"/>
                  </a:cubicBezTo>
                  <a:cubicBezTo>
                    <a:pt x="31108" y="38378"/>
                    <a:pt x="32562" y="32562"/>
                    <a:pt x="31108" y="29654"/>
                  </a:cubicBezTo>
                  <a:lnTo>
                    <a:pt x="13658" y="3479"/>
                  </a:lnTo>
                  <a:close/>
                </a:path>
              </a:pathLst>
            </a:custGeom>
            <a:solidFill>
              <a:srgbClr val="231F20"/>
            </a:solidFill>
            <a:ln w="14441" cap="flat">
              <a:noFill/>
              <a:prstDash val="solid"/>
              <a:miter/>
            </a:ln>
          </p:spPr>
          <p:txBody>
            <a:bodyPr rtlCol="0" anchor="ctr"/>
            <a:lstStyle/>
            <a:p>
              <a:endParaRPr lang="de-DE"/>
            </a:p>
          </p:txBody>
        </p:sp>
        <p:sp>
          <p:nvSpPr>
            <p:cNvPr id="5254" name="Freeform: Shape 5253">
              <a:extLst>
                <a:ext uri="{FF2B5EF4-FFF2-40B4-BE49-F238E27FC236}">
                  <a16:creationId xmlns:a16="http://schemas.microsoft.com/office/drawing/2014/main" id="{AB410BC9-5DBB-4606-BD57-FF2FDDEC9B3B}"/>
                </a:ext>
              </a:extLst>
            </p:cNvPr>
            <p:cNvSpPr/>
            <p:nvPr/>
          </p:nvSpPr>
          <p:spPr>
            <a:xfrm>
              <a:off x="6007303" y="3387573"/>
              <a:ext cx="14542" cy="29083"/>
            </a:xfrm>
            <a:custGeom>
              <a:avLst/>
              <a:gdLst>
                <a:gd name="connsiteX0" fmla="*/ 13658 w 14541"/>
                <a:gd name="connsiteY0" fmla="*/ 3479 h 29083"/>
                <a:gd name="connsiteX1" fmla="*/ 3479 w 14541"/>
                <a:gd name="connsiteY1" fmla="*/ 570 h 29083"/>
                <a:gd name="connsiteX2" fmla="*/ 570 w 14541"/>
                <a:gd name="connsiteY2" fmla="*/ 10750 h 29083"/>
                <a:gd name="connsiteX3" fmla="*/ 12204 w 14541"/>
                <a:gd name="connsiteY3" fmla="*/ 29654 h 29083"/>
                <a:gd name="connsiteX4" fmla="*/ 18020 w 14541"/>
                <a:gd name="connsiteY4" fmla="*/ 32562 h 29083"/>
                <a:gd name="connsiteX5" fmla="*/ 22383 w 14541"/>
                <a:gd name="connsiteY5" fmla="*/ 31108 h 29083"/>
                <a:gd name="connsiteX6" fmla="*/ 25291 w 14541"/>
                <a:gd name="connsiteY6" fmla="*/ 20929 h 29083"/>
                <a:gd name="connsiteX7" fmla="*/ 13658 w 14541"/>
                <a:gd name="connsiteY7" fmla="*/ 3479 h 2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41" h="29083">
                  <a:moveTo>
                    <a:pt x="13658" y="3479"/>
                  </a:moveTo>
                  <a:cubicBezTo>
                    <a:pt x="12204" y="570"/>
                    <a:pt x="6387" y="-884"/>
                    <a:pt x="3479" y="570"/>
                  </a:cubicBezTo>
                  <a:cubicBezTo>
                    <a:pt x="570" y="2025"/>
                    <a:pt x="-884" y="7841"/>
                    <a:pt x="570" y="10750"/>
                  </a:cubicBezTo>
                  <a:lnTo>
                    <a:pt x="12204" y="29654"/>
                  </a:lnTo>
                  <a:cubicBezTo>
                    <a:pt x="13658" y="32562"/>
                    <a:pt x="16566" y="32562"/>
                    <a:pt x="18020" y="32562"/>
                  </a:cubicBezTo>
                  <a:cubicBezTo>
                    <a:pt x="19474" y="32562"/>
                    <a:pt x="20929" y="32562"/>
                    <a:pt x="22383" y="31108"/>
                  </a:cubicBezTo>
                  <a:cubicBezTo>
                    <a:pt x="25291" y="29654"/>
                    <a:pt x="26745" y="23837"/>
                    <a:pt x="25291" y="20929"/>
                  </a:cubicBezTo>
                  <a:lnTo>
                    <a:pt x="13658" y="3479"/>
                  </a:lnTo>
                  <a:close/>
                </a:path>
              </a:pathLst>
            </a:custGeom>
            <a:solidFill>
              <a:srgbClr val="231F20"/>
            </a:solidFill>
            <a:ln w="14441" cap="flat">
              <a:noFill/>
              <a:prstDash val="solid"/>
              <a:miter/>
            </a:ln>
          </p:spPr>
          <p:txBody>
            <a:bodyPr rtlCol="0" anchor="ctr"/>
            <a:lstStyle/>
            <a:p>
              <a:endParaRPr lang="de-DE"/>
            </a:p>
          </p:txBody>
        </p:sp>
      </p:grpSp>
      <p:grpSp>
        <p:nvGrpSpPr>
          <p:cNvPr id="5255" name="Graphic 3">
            <a:extLst>
              <a:ext uri="{FF2B5EF4-FFF2-40B4-BE49-F238E27FC236}">
                <a16:creationId xmlns:a16="http://schemas.microsoft.com/office/drawing/2014/main" id="{6E660A62-DB6E-44E0-9D04-71996137F12C}"/>
              </a:ext>
              <a:ext uri="{C183D7F6-B498-43B3-948B-1728B52AA6E4}">
                <adec:decorative xmlns:adec="http://schemas.microsoft.com/office/drawing/2017/decorative" val="1"/>
              </a:ext>
            </a:extLst>
          </p:cNvPr>
          <p:cNvGrpSpPr>
            <a:grpSpLocks noChangeAspect="1"/>
          </p:cNvGrpSpPr>
          <p:nvPr/>
        </p:nvGrpSpPr>
        <p:grpSpPr>
          <a:xfrm>
            <a:off x="1492001" y="4170494"/>
            <a:ext cx="131863" cy="131863"/>
            <a:chOff x="5854700" y="3187700"/>
            <a:chExt cx="482600" cy="482600"/>
          </a:xfrm>
          <a:solidFill>
            <a:srgbClr val="101010"/>
          </a:solidFill>
        </p:grpSpPr>
        <p:sp>
          <p:nvSpPr>
            <p:cNvPr id="5256" name="Freeform: Shape 5255">
              <a:extLst>
                <a:ext uri="{FF2B5EF4-FFF2-40B4-BE49-F238E27FC236}">
                  <a16:creationId xmlns:a16="http://schemas.microsoft.com/office/drawing/2014/main" id="{48C5ECFE-7541-4A72-AED5-11E6B1B514BF}"/>
                </a:ext>
              </a:extLst>
            </p:cNvPr>
            <p:cNvSpPr/>
            <p:nvPr/>
          </p:nvSpPr>
          <p:spPr>
            <a:xfrm>
              <a:off x="6054837" y="3384998"/>
              <a:ext cx="70971" cy="85165"/>
            </a:xfrm>
            <a:custGeom>
              <a:avLst/>
              <a:gdLst>
                <a:gd name="connsiteX0" fmla="*/ 44002 w 70970"/>
                <a:gd name="connsiteY0" fmla="*/ 14194 h 85164"/>
                <a:gd name="connsiteX1" fmla="*/ 65293 w 70970"/>
                <a:gd name="connsiteY1" fmla="*/ 22711 h 85164"/>
                <a:gd name="connsiteX2" fmla="*/ 75229 w 70970"/>
                <a:gd name="connsiteY2" fmla="*/ 22711 h 85164"/>
                <a:gd name="connsiteX3" fmla="*/ 75229 w 70970"/>
                <a:gd name="connsiteY3" fmla="*/ 12775 h 85164"/>
                <a:gd name="connsiteX4" fmla="*/ 44002 w 70970"/>
                <a:gd name="connsiteY4" fmla="*/ 0 h 85164"/>
                <a:gd name="connsiteX5" fmla="*/ 0 w 70970"/>
                <a:gd name="connsiteY5" fmla="*/ 44002 h 85164"/>
                <a:gd name="connsiteX6" fmla="*/ 44002 w 70970"/>
                <a:gd name="connsiteY6" fmla="*/ 88004 h 85164"/>
                <a:gd name="connsiteX7" fmla="*/ 80906 w 70970"/>
                <a:gd name="connsiteY7" fmla="*/ 68132 h 85164"/>
                <a:gd name="connsiteX8" fmla="*/ 79487 w 70970"/>
                <a:gd name="connsiteY8" fmla="*/ 58196 h 85164"/>
                <a:gd name="connsiteX9" fmla="*/ 69551 w 70970"/>
                <a:gd name="connsiteY9" fmla="*/ 59615 h 85164"/>
                <a:gd name="connsiteX10" fmla="*/ 45421 w 70970"/>
                <a:gd name="connsiteY10" fmla="*/ 72390 h 85164"/>
                <a:gd name="connsiteX11" fmla="*/ 15614 w 70970"/>
                <a:gd name="connsiteY11" fmla="*/ 42582 h 85164"/>
                <a:gd name="connsiteX12" fmla="*/ 44002 w 70970"/>
                <a:gd name="connsiteY12" fmla="*/ 14194 h 8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970" h="85164">
                  <a:moveTo>
                    <a:pt x="44002" y="14194"/>
                  </a:moveTo>
                  <a:cubicBezTo>
                    <a:pt x="52518" y="14194"/>
                    <a:pt x="59615" y="17033"/>
                    <a:pt x="65293" y="22711"/>
                  </a:cubicBezTo>
                  <a:cubicBezTo>
                    <a:pt x="68132" y="25549"/>
                    <a:pt x="72390" y="25549"/>
                    <a:pt x="75229" y="22711"/>
                  </a:cubicBezTo>
                  <a:cubicBezTo>
                    <a:pt x="78068" y="19872"/>
                    <a:pt x="78068" y="15614"/>
                    <a:pt x="75229" y="12775"/>
                  </a:cubicBezTo>
                  <a:cubicBezTo>
                    <a:pt x="66712" y="4258"/>
                    <a:pt x="55357" y="0"/>
                    <a:pt x="44002" y="0"/>
                  </a:cubicBezTo>
                  <a:cubicBezTo>
                    <a:pt x="19872" y="0"/>
                    <a:pt x="0" y="19872"/>
                    <a:pt x="0" y="44002"/>
                  </a:cubicBezTo>
                  <a:cubicBezTo>
                    <a:pt x="0" y="68132"/>
                    <a:pt x="19872" y="88004"/>
                    <a:pt x="44002" y="88004"/>
                  </a:cubicBezTo>
                  <a:cubicBezTo>
                    <a:pt x="58196" y="88004"/>
                    <a:pt x="72390" y="80906"/>
                    <a:pt x="80906" y="68132"/>
                  </a:cubicBezTo>
                  <a:cubicBezTo>
                    <a:pt x="83745" y="65293"/>
                    <a:pt x="82326" y="61035"/>
                    <a:pt x="79487" y="58196"/>
                  </a:cubicBezTo>
                  <a:cubicBezTo>
                    <a:pt x="76648" y="55357"/>
                    <a:pt x="72390" y="56776"/>
                    <a:pt x="69551" y="59615"/>
                  </a:cubicBezTo>
                  <a:cubicBezTo>
                    <a:pt x="63874" y="68132"/>
                    <a:pt x="55357" y="72390"/>
                    <a:pt x="45421" y="72390"/>
                  </a:cubicBezTo>
                  <a:cubicBezTo>
                    <a:pt x="28388" y="72390"/>
                    <a:pt x="15614" y="59615"/>
                    <a:pt x="15614" y="42582"/>
                  </a:cubicBezTo>
                  <a:cubicBezTo>
                    <a:pt x="15614" y="25549"/>
                    <a:pt x="26969" y="14194"/>
                    <a:pt x="44002" y="14194"/>
                  </a:cubicBezTo>
                  <a:close/>
                </a:path>
              </a:pathLst>
            </a:custGeom>
            <a:solidFill>
              <a:srgbClr val="101010"/>
            </a:solidFill>
            <a:ln w="14007" cap="flat">
              <a:noFill/>
              <a:prstDash val="solid"/>
              <a:miter/>
            </a:ln>
          </p:spPr>
          <p:txBody>
            <a:bodyPr rtlCol="0" anchor="ctr"/>
            <a:lstStyle/>
            <a:p>
              <a:endParaRPr lang="de-DE"/>
            </a:p>
          </p:txBody>
        </p:sp>
        <p:sp>
          <p:nvSpPr>
            <p:cNvPr id="5257" name="Freeform: Shape 5256">
              <a:extLst>
                <a:ext uri="{FF2B5EF4-FFF2-40B4-BE49-F238E27FC236}">
                  <a16:creationId xmlns:a16="http://schemas.microsoft.com/office/drawing/2014/main" id="{0F8BA4C3-10C5-4850-A3E8-F348AEF60B55}"/>
                </a:ext>
              </a:extLst>
            </p:cNvPr>
            <p:cNvSpPr/>
            <p:nvPr/>
          </p:nvSpPr>
          <p:spPr>
            <a:xfrm>
              <a:off x="5854700" y="3187700"/>
              <a:ext cx="482600" cy="482600"/>
            </a:xfrm>
            <a:custGeom>
              <a:avLst/>
              <a:gdLst>
                <a:gd name="connsiteX0" fmla="*/ 374725 w 482600"/>
                <a:gd name="connsiteY0" fmla="*/ 41163 h 482600"/>
                <a:gd name="connsiteX1" fmla="*/ 364789 w 482600"/>
                <a:gd name="connsiteY1" fmla="*/ 42582 h 482600"/>
                <a:gd name="connsiteX2" fmla="*/ 366208 w 482600"/>
                <a:gd name="connsiteY2" fmla="*/ 52518 h 482600"/>
                <a:gd name="connsiteX3" fmla="*/ 441437 w 482600"/>
                <a:gd name="connsiteY3" fmla="*/ 136264 h 482600"/>
                <a:gd name="connsiteX4" fmla="*/ 393177 w 482600"/>
                <a:gd name="connsiteY4" fmla="*/ 157555 h 482600"/>
                <a:gd name="connsiteX5" fmla="*/ 241300 w 482600"/>
                <a:gd name="connsiteY5" fmla="*/ 66712 h 482600"/>
                <a:gd name="connsiteX6" fmla="*/ 241300 w 482600"/>
                <a:gd name="connsiteY6" fmla="*/ 66712 h 482600"/>
                <a:gd name="connsiteX7" fmla="*/ 241300 w 482600"/>
                <a:gd name="connsiteY7" fmla="*/ 66712 h 482600"/>
                <a:gd name="connsiteX8" fmla="*/ 158974 w 482600"/>
                <a:gd name="connsiteY8" fmla="*/ 88004 h 482600"/>
                <a:gd name="connsiteX9" fmla="*/ 156135 w 482600"/>
                <a:gd name="connsiteY9" fmla="*/ 97939 h 482600"/>
                <a:gd name="connsiteX10" fmla="*/ 166071 w 482600"/>
                <a:gd name="connsiteY10" fmla="*/ 100778 h 482600"/>
                <a:gd name="connsiteX11" fmla="*/ 235622 w 482600"/>
                <a:gd name="connsiteY11" fmla="*/ 82326 h 482600"/>
                <a:gd name="connsiteX12" fmla="*/ 235622 w 482600"/>
                <a:gd name="connsiteY12" fmla="*/ 136264 h 482600"/>
                <a:gd name="connsiteX13" fmla="*/ 149038 w 482600"/>
                <a:gd name="connsiteY13" fmla="*/ 185943 h 482600"/>
                <a:gd name="connsiteX14" fmla="*/ 151877 w 482600"/>
                <a:gd name="connsiteY14" fmla="*/ 195879 h 482600"/>
                <a:gd name="connsiteX15" fmla="*/ 161813 w 482600"/>
                <a:gd name="connsiteY15" fmla="*/ 193040 h 482600"/>
                <a:gd name="connsiteX16" fmla="*/ 278205 w 482600"/>
                <a:gd name="connsiteY16" fmla="*/ 158974 h 482600"/>
                <a:gd name="connsiteX17" fmla="*/ 325045 w 482600"/>
                <a:gd name="connsiteY17" fmla="*/ 211492 h 482600"/>
                <a:gd name="connsiteX18" fmla="*/ 320787 w 482600"/>
                <a:gd name="connsiteY18" fmla="*/ 281044 h 482600"/>
                <a:gd name="connsiteX19" fmla="*/ 268269 w 482600"/>
                <a:gd name="connsiteY19" fmla="*/ 327884 h 482600"/>
                <a:gd name="connsiteX20" fmla="*/ 198718 w 482600"/>
                <a:gd name="connsiteY20" fmla="*/ 323626 h 482600"/>
                <a:gd name="connsiteX21" fmla="*/ 153296 w 482600"/>
                <a:gd name="connsiteY21" fmla="*/ 276785 h 482600"/>
                <a:gd name="connsiteX22" fmla="*/ 143361 w 482600"/>
                <a:gd name="connsiteY22" fmla="*/ 272527 h 482600"/>
                <a:gd name="connsiteX23" fmla="*/ 139102 w 482600"/>
                <a:gd name="connsiteY23" fmla="*/ 282463 h 482600"/>
                <a:gd name="connsiteX24" fmla="*/ 191621 w 482600"/>
                <a:gd name="connsiteY24" fmla="*/ 336401 h 482600"/>
                <a:gd name="connsiteX25" fmla="*/ 237042 w 482600"/>
                <a:gd name="connsiteY25" fmla="*/ 346336 h 482600"/>
                <a:gd name="connsiteX26" fmla="*/ 272527 w 482600"/>
                <a:gd name="connsiteY26" fmla="*/ 340659 h 482600"/>
                <a:gd name="connsiteX27" fmla="*/ 306593 w 482600"/>
                <a:gd name="connsiteY27" fmla="*/ 320787 h 482600"/>
                <a:gd name="connsiteX28" fmla="*/ 347756 w 482600"/>
                <a:gd name="connsiteY28" fmla="*/ 359111 h 482600"/>
                <a:gd name="connsiteX29" fmla="*/ 261172 w 482600"/>
                <a:gd name="connsiteY29" fmla="*/ 398855 h 482600"/>
                <a:gd name="connsiteX30" fmla="*/ 255494 w 482600"/>
                <a:gd name="connsiteY30" fmla="*/ 407371 h 482600"/>
                <a:gd name="connsiteX31" fmla="*/ 262591 w 482600"/>
                <a:gd name="connsiteY31" fmla="*/ 413049 h 482600"/>
                <a:gd name="connsiteX32" fmla="*/ 264011 w 482600"/>
                <a:gd name="connsiteY32" fmla="*/ 413049 h 482600"/>
                <a:gd name="connsiteX33" fmla="*/ 410210 w 482600"/>
                <a:gd name="connsiteY33" fmla="*/ 285302 h 482600"/>
                <a:gd name="connsiteX34" fmla="*/ 404532 w 482600"/>
                <a:gd name="connsiteY34" fmla="*/ 276785 h 482600"/>
                <a:gd name="connsiteX35" fmla="*/ 396016 w 482600"/>
                <a:gd name="connsiteY35" fmla="*/ 282463 h 482600"/>
                <a:gd name="connsiteX36" fmla="*/ 359111 w 482600"/>
                <a:gd name="connsiteY36" fmla="*/ 349175 h 482600"/>
                <a:gd name="connsiteX37" fmla="*/ 317948 w 482600"/>
                <a:gd name="connsiteY37" fmla="*/ 310851 h 482600"/>
                <a:gd name="connsiteX38" fmla="*/ 333562 w 482600"/>
                <a:gd name="connsiteY38" fmla="*/ 286721 h 482600"/>
                <a:gd name="connsiteX39" fmla="*/ 337820 w 482600"/>
                <a:gd name="connsiteY39" fmla="*/ 205815 h 482600"/>
                <a:gd name="connsiteX40" fmla="*/ 283882 w 482600"/>
                <a:gd name="connsiteY40" fmla="*/ 146199 h 482600"/>
                <a:gd name="connsiteX41" fmla="*/ 248397 w 482600"/>
                <a:gd name="connsiteY41" fmla="*/ 136264 h 482600"/>
                <a:gd name="connsiteX42" fmla="*/ 248397 w 482600"/>
                <a:gd name="connsiteY42" fmla="*/ 82326 h 482600"/>
                <a:gd name="connsiteX43" fmla="*/ 400274 w 482600"/>
                <a:gd name="connsiteY43" fmla="*/ 221428 h 482600"/>
                <a:gd name="connsiteX44" fmla="*/ 407371 w 482600"/>
                <a:gd name="connsiteY44" fmla="*/ 227106 h 482600"/>
                <a:gd name="connsiteX45" fmla="*/ 408791 w 482600"/>
                <a:gd name="connsiteY45" fmla="*/ 227106 h 482600"/>
                <a:gd name="connsiteX46" fmla="*/ 414468 w 482600"/>
                <a:gd name="connsiteY46" fmla="*/ 218589 h 482600"/>
                <a:gd name="connsiteX47" fmla="*/ 401694 w 482600"/>
                <a:gd name="connsiteY47" fmla="*/ 171749 h 482600"/>
                <a:gd name="connsiteX48" fmla="*/ 449954 w 482600"/>
                <a:gd name="connsiteY48" fmla="*/ 150458 h 482600"/>
                <a:gd name="connsiteX49" fmla="*/ 468406 w 482600"/>
                <a:gd name="connsiteY49" fmla="*/ 241300 h 482600"/>
                <a:gd name="connsiteX50" fmla="*/ 241300 w 482600"/>
                <a:gd name="connsiteY50" fmla="*/ 468406 h 482600"/>
                <a:gd name="connsiteX51" fmla="*/ 51099 w 482600"/>
                <a:gd name="connsiteY51" fmla="*/ 364789 h 482600"/>
                <a:gd name="connsiteX52" fmla="*/ 96520 w 482600"/>
                <a:gd name="connsiteY52" fmla="*/ 339239 h 482600"/>
                <a:gd name="connsiteX53" fmla="*/ 201556 w 482600"/>
                <a:gd name="connsiteY53" fmla="*/ 411629 h 482600"/>
                <a:gd name="connsiteX54" fmla="*/ 202976 w 482600"/>
                <a:gd name="connsiteY54" fmla="*/ 411629 h 482600"/>
                <a:gd name="connsiteX55" fmla="*/ 210073 w 482600"/>
                <a:gd name="connsiteY55" fmla="*/ 405952 h 482600"/>
                <a:gd name="connsiteX56" fmla="*/ 204395 w 482600"/>
                <a:gd name="connsiteY56" fmla="*/ 397435 h 482600"/>
                <a:gd name="connsiteX57" fmla="*/ 80906 w 482600"/>
                <a:gd name="connsiteY57" fmla="*/ 241300 h 482600"/>
                <a:gd name="connsiteX58" fmla="*/ 116392 w 482600"/>
                <a:gd name="connsiteY58" fmla="*/ 141941 h 482600"/>
                <a:gd name="connsiteX59" fmla="*/ 114972 w 482600"/>
                <a:gd name="connsiteY59" fmla="*/ 132005 h 482600"/>
                <a:gd name="connsiteX60" fmla="*/ 105036 w 482600"/>
                <a:gd name="connsiteY60" fmla="*/ 132005 h 482600"/>
                <a:gd name="connsiteX61" fmla="*/ 66712 w 482600"/>
                <a:gd name="connsiteY61" fmla="*/ 241300 h 482600"/>
                <a:gd name="connsiteX62" fmla="*/ 88004 w 482600"/>
                <a:gd name="connsiteY62" fmla="*/ 326465 h 482600"/>
                <a:gd name="connsiteX63" fmla="*/ 42582 w 482600"/>
                <a:gd name="connsiteY63" fmla="*/ 352014 h 482600"/>
                <a:gd name="connsiteX64" fmla="*/ 14194 w 482600"/>
                <a:gd name="connsiteY64" fmla="*/ 241300 h 482600"/>
                <a:gd name="connsiteX65" fmla="*/ 241300 w 482600"/>
                <a:gd name="connsiteY65" fmla="*/ 14194 h 482600"/>
                <a:gd name="connsiteX66" fmla="*/ 300915 w 482600"/>
                <a:gd name="connsiteY66" fmla="*/ 22711 h 482600"/>
                <a:gd name="connsiteX67" fmla="*/ 309432 w 482600"/>
                <a:gd name="connsiteY67" fmla="*/ 17033 h 482600"/>
                <a:gd name="connsiteX68" fmla="*/ 303754 w 482600"/>
                <a:gd name="connsiteY68" fmla="*/ 8516 h 482600"/>
                <a:gd name="connsiteX69" fmla="*/ 241300 w 482600"/>
                <a:gd name="connsiteY69" fmla="*/ 0 h 482600"/>
                <a:gd name="connsiteX70" fmla="*/ 0 w 482600"/>
                <a:gd name="connsiteY70" fmla="*/ 241300 h 482600"/>
                <a:gd name="connsiteX71" fmla="*/ 241300 w 482600"/>
                <a:gd name="connsiteY71" fmla="*/ 482600 h 482600"/>
                <a:gd name="connsiteX72" fmla="*/ 482600 w 482600"/>
                <a:gd name="connsiteY72" fmla="*/ 241300 h 482600"/>
                <a:gd name="connsiteX73" fmla="*/ 374725 w 482600"/>
                <a:gd name="connsiteY73" fmla="*/ 41163 h 48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82600" h="482600">
                  <a:moveTo>
                    <a:pt x="374725" y="41163"/>
                  </a:moveTo>
                  <a:cubicBezTo>
                    <a:pt x="371886" y="38324"/>
                    <a:pt x="367628" y="39744"/>
                    <a:pt x="364789" y="42582"/>
                  </a:cubicBezTo>
                  <a:cubicBezTo>
                    <a:pt x="361950" y="45421"/>
                    <a:pt x="363369" y="49679"/>
                    <a:pt x="366208" y="52518"/>
                  </a:cubicBezTo>
                  <a:cubicBezTo>
                    <a:pt x="398855" y="73809"/>
                    <a:pt x="424404" y="103617"/>
                    <a:pt x="441437" y="136264"/>
                  </a:cubicBezTo>
                  <a:lnTo>
                    <a:pt x="393177" y="157555"/>
                  </a:lnTo>
                  <a:cubicBezTo>
                    <a:pt x="363369" y="103617"/>
                    <a:pt x="306593" y="66712"/>
                    <a:pt x="241300" y="66712"/>
                  </a:cubicBezTo>
                  <a:cubicBezTo>
                    <a:pt x="241300" y="66712"/>
                    <a:pt x="241300" y="66712"/>
                    <a:pt x="241300" y="66712"/>
                  </a:cubicBezTo>
                  <a:cubicBezTo>
                    <a:pt x="241300" y="66712"/>
                    <a:pt x="241300" y="66712"/>
                    <a:pt x="241300" y="66712"/>
                  </a:cubicBezTo>
                  <a:cubicBezTo>
                    <a:pt x="212912" y="66712"/>
                    <a:pt x="183104" y="73809"/>
                    <a:pt x="158974" y="88004"/>
                  </a:cubicBezTo>
                  <a:cubicBezTo>
                    <a:pt x="156135" y="89423"/>
                    <a:pt x="154716" y="93681"/>
                    <a:pt x="156135" y="97939"/>
                  </a:cubicBezTo>
                  <a:cubicBezTo>
                    <a:pt x="157555" y="100778"/>
                    <a:pt x="161813" y="102198"/>
                    <a:pt x="166071" y="100778"/>
                  </a:cubicBezTo>
                  <a:cubicBezTo>
                    <a:pt x="187362" y="89423"/>
                    <a:pt x="211492" y="83745"/>
                    <a:pt x="235622" y="82326"/>
                  </a:cubicBezTo>
                  <a:lnTo>
                    <a:pt x="235622" y="136264"/>
                  </a:lnTo>
                  <a:cubicBezTo>
                    <a:pt x="201556" y="137683"/>
                    <a:pt x="168910" y="154716"/>
                    <a:pt x="149038" y="185943"/>
                  </a:cubicBezTo>
                  <a:cubicBezTo>
                    <a:pt x="147619" y="188782"/>
                    <a:pt x="147619" y="193040"/>
                    <a:pt x="151877" y="195879"/>
                  </a:cubicBezTo>
                  <a:cubicBezTo>
                    <a:pt x="154716" y="197298"/>
                    <a:pt x="158974" y="197298"/>
                    <a:pt x="161813" y="193040"/>
                  </a:cubicBezTo>
                  <a:cubicBezTo>
                    <a:pt x="185943" y="153296"/>
                    <a:pt x="237042" y="139102"/>
                    <a:pt x="278205" y="158974"/>
                  </a:cubicBezTo>
                  <a:cubicBezTo>
                    <a:pt x="300915" y="168910"/>
                    <a:pt x="316529" y="187362"/>
                    <a:pt x="325045" y="211492"/>
                  </a:cubicBezTo>
                  <a:cubicBezTo>
                    <a:pt x="333562" y="234203"/>
                    <a:pt x="332142" y="259752"/>
                    <a:pt x="320787" y="281044"/>
                  </a:cubicBezTo>
                  <a:cubicBezTo>
                    <a:pt x="310851" y="303754"/>
                    <a:pt x="292399" y="319368"/>
                    <a:pt x="268269" y="327884"/>
                  </a:cubicBezTo>
                  <a:cubicBezTo>
                    <a:pt x="245558" y="336401"/>
                    <a:pt x="220009" y="334981"/>
                    <a:pt x="198718" y="323626"/>
                  </a:cubicBezTo>
                  <a:cubicBezTo>
                    <a:pt x="178846" y="313690"/>
                    <a:pt x="161813" y="296657"/>
                    <a:pt x="153296" y="276785"/>
                  </a:cubicBezTo>
                  <a:cubicBezTo>
                    <a:pt x="151877" y="272527"/>
                    <a:pt x="147619" y="271108"/>
                    <a:pt x="143361" y="272527"/>
                  </a:cubicBezTo>
                  <a:cubicBezTo>
                    <a:pt x="139102" y="273946"/>
                    <a:pt x="137683" y="278205"/>
                    <a:pt x="139102" y="282463"/>
                  </a:cubicBezTo>
                  <a:cubicBezTo>
                    <a:pt x="149038" y="306593"/>
                    <a:pt x="167491" y="325045"/>
                    <a:pt x="191621" y="336401"/>
                  </a:cubicBezTo>
                  <a:cubicBezTo>
                    <a:pt x="205815" y="343498"/>
                    <a:pt x="221428" y="346336"/>
                    <a:pt x="237042" y="346336"/>
                  </a:cubicBezTo>
                  <a:cubicBezTo>
                    <a:pt x="248397" y="346336"/>
                    <a:pt x="261172" y="344917"/>
                    <a:pt x="272527" y="340659"/>
                  </a:cubicBezTo>
                  <a:cubicBezTo>
                    <a:pt x="285302" y="336401"/>
                    <a:pt x="296657" y="329304"/>
                    <a:pt x="306593" y="320787"/>
                  </a:cubicBezTo>
                  <a:lnTo>
                    <a:pt x="347756" y="359111"/>
                  </a:lnTo>
                  <a:cubicBezTo>
                    <a:pt x="323626" y="380402"/>
                    <a:pt x="293818" y="394596"/>
                    <a:pt x="261172" y="398855"/>
                  </a:cubicBezTo>
                  <a:cubicBezTo>
                    <a:pt x="256914" y="398855"/>
                    <a:pt x="254075" y="403113"/>
                    <a:pt x="255494" y="407371"/>
                  </a:cubicBezTo>
                  <a:cubicBezTo>
                    <a:pt x="255494" y="411629"/>
                    <a:pt x="258333" y="413049"/>
                    <a:pt x="262591" y="413049"/>
                  </a:cubicBezTo>
                  <a:cubicBezTo>
                    <a:pt x="262591" y="413049"/>
                    <a:pt x="262591" y="413049"/>
                    <a:pt x="264011" y="413049"/>
                  </a:cubicBezTo>
                  <a:cubicBezTo>
                    <a:pt x="334981" y="404532"/>
                    <a:pt x="391758" y="353434"/>
                    <a:pt x="410210" y="285302"/>
                  </a:cubicBezTo>
                  <a:cubicBezTo>
                    <a:pt x="411629" y="281044"/>
                    <a:pt x="408791" y="278205"/>
                    <a:pt x="404532" y="276785"/>
                  </a:cubicBezTo>
                  <a:cubicBezTo>
                    <a:pt x="400274" y="275366"/>
                    <a:pt x="397435" y="278205"/>
                    <a:pt x="396016" y="282463"/>
                  </a:cubicBezTo>
                  <a:cubicBezTo>
                    <a:pt x="388919" y="308012"/>
                    <a:pt x="376144" y="330723"/>
                    <a:pt x="359111" y="349175"/>
                  </a:cubicBezTo>
                  <a:lnTo>
                    <a:pt x="317948" y="310851"/>
                  </a:lnTo>
                  <a:cubicBezTo>
                    <a:pt x="323626" y="303754"/>
                    <a:pt x="329304" y="295238"/>
                    <a:pt x="333562" y="286721"/>
                  </a:cubicBezTo>
                  <a:cubicBezTo>
                    <a:pt x="346336" y="261172"/>
                    <a:pt x="347756" y="232784"/>
                    <a:pt x="337820" y="205815"/>
                  </a:cubicBezTo>
                  <a:cubicBezTo>
                    <a:pt x="327884" y="178846"/>
                    <a:pt x="309432" y="157555"/>
                    <a:pt x="283882" y="146199"/>
                  </a:cubicBezTo>
                  <a:cubicBezTo>
                    <a:pt x="272527" y="140522"/>
                    <a:pt x="261172" y="137683"/>
                    <a:pt x="248397" y="136264"/>
                  </a:cubicBezTo>
                  <a:lnTo>
                    <a:pt x="248397" y="82326"/>
                  </a:lnTo>
                  <a:cubicBezTo>
                    <a:pt x="325045" y="85165"/>
                    <a:pt x="390338" y="144780"/>
                    <a:pt x="400274" y="221428"/>
                  </a:cubicBezTo>
                  <a:cubicBezTo>
                    <a:pt x="400274" y="225686"/>
                    <a:pt x="403113" y="227106"/>
                    <a:pt x="407371" y="227106"/>
                  </a:cubicBezTo>
                  <a:cubicBezTo>
                    <a:pt x="407371" y="227106"/>
                    <a:pt x="407371" y="227106"/>
                    <a:pt x="408791" y="227106"/>
                  </a:cubicBezTo>
                  <a:cubicBezTo>
                    <a:pt x="413049" y="227106"/>
                    <a:pt x="415888" y="222848"/>
                    <a:pt x="414468" y="218589"/>
                  </a:cubicBezTo>
                  <a:cubicBezTo>
                    <a:pt x="411629" y="201556"/>
                    <a:pt x="407371" y="185943"/>
                    <a:pt x="401694" y="171749"/>
                  </a:cubicBezTo>
                  <a:lnTo>
                    <a:pt x="449954" y="150458"/>
                  </a:lnTo>
                  <a:cubicBezTo>
                    <a:pt x="462728" y="178846"/>
                    <a:pt x="468406" y="210073"/>
                    <a:pt x="468406" y="241300"/>
                  </a:cubicBezTo>
                  <a:cubicBezTo>
                    <a:pt x="468406" y="366208"/>
                    <a:pt x="366208" y="468406"/>
                    <a:pt x="241300" y="468406"/>
                  </a:cubicBezTo>
                  <a:cubicBezTo>
                    <a:pt x="161813" y="468406"/>
                    <a:pt x="92262" y="427243"/>
                    <a:pt x="51099" y="364789"/>
                  </a:cubicBezTo>
                  <a:lnTo>
                    <a:pt x="96520" y="339239"/>
                  </a:lnTo>
                  <a:cubicBezTo>
                    <a:pt x="120650" y="374725"/>
                    <a:pt x="157555" y="401694"/>
                    <a:pt x="201556" y="411629"/>
                  </a:cubicBezTo>
                  <a:cubicBezTo>
                    <a:pt x="201556" y="411629"/>
                    <a:pt x="202976" y="411629"/>
                    <a:pt x="202976" y="411629"/>
                  </a:cubicBezTo>
                  <a:cubicBezTo>
                    <a:pt x="205815" y="411629"/>
                    <a:pt x="208654" y="408791"/>
                    <a:pt x="210073" y="405952"/>
                  </a:cubicBezTo>
                  <a:cubicBezTo>
                    <a:pt x="211492" y="401694"/>
                    <a:pt x="208654" y="398855"/>
                    <a:pt x="204395" y="397435"/>
                  </a:cubicBezTo>
                  <a:cubicBezTo>
                    <a:pt x="132005" y="380402"/>
                    <a:pt x="80906" y="316529"/>
                    <a:pt x="80906" y="241300"/>
                  </a:cubicBezTo>
                  <a:cubicBezTo>
                    <a:pt x="80906" y="204395"/>
                    <a:pt x="93681" y="170329"/>
                    <a:pt x="116392" y="141941"/>
                  </a:cubicBezTo>
                  <a:cubicBezTo>
                    <a:pt x="119231" y="139102"/>
                    <a:pt x="117811" y="134844"/>
                    <a:pt x="114972" y="132005"/>
                  </a:cubicBezTo>
                  <a:cubicBezTo>
                    <a:pt x="112134" y="129166"/>
                    <a:pt x="107875" y="129166"/>
                    <a:pt x="105036" y="132005"/>
                  </a:cubicBezTo>
                  <a:cubicBezTo>
                    <a:pt x="80906" y="163232"/>
                    <a:pt x="66712" y="201556"/>
                    <a:pt x="66712" y="241300"/>
                  </a:cubicBezTo>
                  <a:cubicBezTo>
                    <a:pt x="66712" y="272527"/>
                    <a:pt x="75229" y="300915"/>
                    <a:pt x="88004" y="326465"/>
                  </a:cubicBezTo>
                  <a:lnTo>
                    <a:pt x="42582" y="352014"/>
                  </a:lnTo>
                  <a:cubicBezTo>
                    <a:pt x="25549" y="317948"/>
                    <a:pt x="14194" y="281044"/>
                    <a:pt x="14194" y="241300"/>
                  </a:cubicBezTo>
                  <a:cubicBezTo>
                    <a:pt x="14194" y="116392"/>
                    <a:pt x="116392" y="14194"/>
                    <a:pt x="241300" y="14194"/>
                  </a:cubicBezTo>
                  <a:cubicBezTo>
                    <a:pt x="261172" y="14194"/>
                    <a:pt x="281044" y="17033"/>
                    <a:pt x="300915" y="22711"/>
                  </a:cubicBezTo>
                  <a:cubicBezTo>
                    <a:pt x="305174" y="24130"/>
                    <a:pt x="308012" y="21291"/>
                    <a:pt x="309432" y="17033"/>
                  </a:cubicBezTo>
                  <a:cubicBezTo>
                    <a:pt x="310851" y="12775"/>
                    <a:pt x="308012" y="9936"/>
                    <a:pt x="303754" y="8516"/>
                  </a:cubicBezTo>
                  <a:cubicBezTo>
                    <a:pt x="283882" y="2839"/>
                    <a:pt x="262591" y="0"/>
                    <a:pt x="241300" y="0"/>
                  </a:cubicBezTo>
                  <a:cubicBezTo>
                    <a:pt x="107875" y="0"/>
                    <a:pt x="0" y="107875"/>
                    <a:pt x="0" y="241300"/>
                  </a:cubicBezTo>
                  <a:cubicBezTo>
                    <a:pt x="0" y="374725"/>
                    <a:pt x="107875" y="482600"/>
                    <a:pt x="241300" y="482600"/>
                  </a:cubicBezTo>
                  <a:cubicBezTo>
                    <a:pt x="374725" y="482600"/>
                    <a:pt x="482600" y="374725"/>
                    <a:pt x="482600" y="241300"/>
                  </a:cubicBezTo>
                  <a:cubicBezTo>
                    <a:pt x="481181" y="160394"/>
                    <a:pt x="441437" y="85165"/>
                    <a:pt x="374725" y="41163"/>
                  </a:cubicBezTo>
                  <a:close/>
                </a:path>
              </a:pathLst>
            </a:custGeom>
            <a:solidFill>
              <a:srgbClr val="101010"/>
            </a:solidFill>
            <a:ln w="14007" cap="flat">
              <a:noFill/>
              <a:prstDash val="solid"/>
              <a:miter/>
            </a:ln>
          </p:spPr>
          <p:txBody>
            <a:bodyPr rtlCol="0" anchor="ctr"/>
            <a:lstStyle/>
            <a:p>
              <a:endParaRPr lang="de-DE"/>
            </a:p>
          </p:txBody>
        </p:sp>
      </p:grpSp>
      <p:sp>
        <p:nvSpPr>
          <p:cNvPr id="5258" name="Graphic 3">
            <a:extLst>
              <a:ext uri="{FF2B5EF4-FFF2-40B4-BE49-F238E27FC236}">
                <a16:creationId xmlns:a16="http://schemas.microsoft.com/office/drawing/2014/main" id="{6496354D-69AA-4770-92ED-C29EADFE065C}"/>
              </a:ext>
              <a:ext uri="{C183D7F6-B498-43B3-948B-1728B52AA6E4}">
                <adec:decorative xmlns:adec="http://schemas.microsoft.com/office/drawing/2017/decorative" val="1"/>
              </a:ext>
            </a:extLst>
          </p:cNvPr>
          <p:cNvSpPr>
            <a:spLocks noChangeAspect="1"/>
          </p:cNvSpPr>
          <p:nvPr/>
        </p:nvSpPr>
        <p:spPr>
          <a:xfrm>
            <a:off x="1781534" y="4204927"/>
            <a:ext cx="125995" cy="62997"/>
          </a:xfrm>
          <a:custGeom>
            <a:avLst/>
            <a:gdLst>
              <a:gd name="connsiteX0" fmla="*/ 310889 w 304800"/>
              <a:gd name="connsiteY0" fmla="*/ 28813 h 152400"/>
              <a:gd name="connsiteX1" fmla="*/ 306126 w 304800"/>
              <a:gd name="connsiteY1" fmla="*/ 16431 h 152400"/>
              <a:gd name="connsiteX2" fmla="*/ 294696 w 304800"/>
              <a:gd name="connsiteY2" fmla="*/ 5001 h 152400"/>
              <a:gd name="connsiteX3" fmla="*/ 270884 w 304800"/>
              <a:gd name="connsiteY3" fmla="*/ 5001 h 152400"/>
              <a:gd name="connsiteX4" fmla="*/ 168014 w 304800"/>
              <a:gd name="connsiteY4" fmla="*/ 107871 h 152400"/>
              <a:gd name="connsiteX5" fmla="*/ 168014 w 304800"/>
              <a:gd name="connsiteY5" fmla="*/ 107871 h 152400"/>
              <a:gd name="connsiteX6" fmla="*/ 167061 w 304800"/>
              <a:gd name="connsiteY6" fmla="*/ 108823 h 152400"/>
              <a:gd name="connsiteX7" fmla="*/ 167061 w 304800"/>
              <a:gd name="connsiteY7" fmla="*/ 109776 h 152400"/>
              <a:gd name="connsiteX8" fmla="*/ 167061 w 304800"/>
              <a:gd name="connsiteY8" fmla="*/ 109776 h 152400"/>
              <a:gd name="connsiteX9" fmla="*/ 158489 w 304800"/>
              <a:gd name="connsiteY9" fmla="*/ 146923 h 152400"/>
              <a:gd name="connsiteX10" fmla="*/ 158489 w 304800"/>
              <a:gd name="connsiteY10" fmla="*/ 147876 h 152400"/>
              <a:gd name="connsiteX11" fmla="*/ 151821 w 304800"/>
              <a:gd name="connsiteY11" fmla="*/ 148828 h 152400"/>
              <a:gd name="connsiteX12" fmla="*/ 148011 w 304800"/>
              <a:gd name="connsiteY12" fmla="*/ 150733 h 152400"/>
              <a:gd name="connsiteX13" fmla="*/ 142296 w 304800"/>
              <a:gd name="connsiteY13" fmla="*/ 147876 h 152400"/>
              <a:gd name="connsiteX14" fmla="*/ 129914 w 304800"/>
              <a:gd name="connsiteY14" fmla="*/ 141208 h 152400"/>
              <a:gd name="connsiteX15" fmla="*/ 119436 w 304800"/>
              <a:gd name="connsiteY15" fmla="*/ 147876 h 152400"/>
              <a:gd name="connsiteX16" fmla="*/ 118484 w 304800"/>
              <a:gd name="connsiteY16" fmla="*/ 148828 h 152400"/>
              <a:gd name="connsiteX17" fmla="*/ 115626 w 304800"/>
              <a:gd name="connsiteY17" fmla="*/ 145018 h 152400"/>
              <a:gd name="connsiteX18" fmla="*/ 111816 w 304800"/>
              <a:gd name="connsiteY18" fmla="*/ 140256 h 152400"/>
              <a:gd name="connsiteX19" fmla="*/ 107054 w 304800"/>
              <a:gd name="connsiteY19" fmla="*/ 139303 h 152400"/>
              <a:gd name="connsiteX20" fmla="*/ 103244 w 304800"/>
              <a:gd name="connsiteY20" fmla="*/ 145018 h 152400"/>
              <a:gd name="connsiteX21" fmla="*/ 103244 w 304800"/>
              <a:gd name="connsiteY21" fmla="*/ 146923 h 152400"/>
              <a:gd name="connsiteX22" fmla="*/ 99434 w 304800"/>
              <a:gd name="connsiteY22" fmla="*/ 144066 h 152400"/>
              <a:gd name="connsiteX23" fmla="*/ 85146 w 304800"/>
              <a:gd name="connsiteY23" fmla="*/ 135493 h 152400"/>
              <a:gd name="connsiteX24" fmla="*/ 77526 w 304800"/>
              <a:gd name="connsiteY24" fmla="*/ 140256 h 152400"/>
              <a:gd name="connsiteX25" fmla="*/ 75621 w 304800"/>
              <a:gd name="connsiteY25" fmla="*/ 144066 h 152400"/>
              <a:gd name="connsiteX26" fmla="*/ 65144 w 304800"/>
              <a:gd name="connsiteY26" fmla="*/ 144066 h 152400"/>
              <a:gd name="connsiteX27" fmla="*/ 55619 w 304800"/>
              <a:gd name="connsiteY27" fmla="*/ 135493 h 152400"/>
              <a:gd name="connsiteX28" fmla="*/ 60381 w 304800"/>
              <a:gd name="connsiteY28" fmla="*/ 125968 h 152400"/>
              <a:gd name="connsiteX29" fmla="*/ 57524 w 304800"/>
              <a:gd name="connsiteY29" fmla="*/ 64056 h 152400"/>
              <a:gd name="connsiteX30" fmla="*/ 47046 w 304800"/>
              <a:gd name="connsiteY30" fmla="*/ 58341 h 152400"/>
              <a:gd name="connsiteX31" fmla="*/ 36569 w 304800"/>
              <a:gd name="connsiteY31" fmla="*/ 85011 h 152400"/>
              <a:gd name="connsiteX32" fmla="*/ 45141 w 304800"/>
              <a:gd name="connsiteY32" fmla="*/ 135493 h 152400"/>
              <a:gd name="connsiteX33" fmla="*/ 33711 w 304800"/>
              <a:gd name="connsiteY33" fmla="*/ 144066 h 152400"/>
              <a:gd name="connsiteX34" fmla="*/ 8946 w 304800"/>
              <a:gd name="connsiteY34" fmla="*/ 131683 h 152400"/>
              <a:gd name="connsiteX35" fmla="*/ 2279 w 304800"/>
              <a:gd name="connsiteY35" fmla="*/ 129778 h 152400"/>
              <a:gd name="connsiteX36" fmla="*/ 374 w 304800"/>
              <a:gd name="connsiteY36" fmla="*/ 136446 h 152400"/>
              <a:gd name="connsiteX37" fmla="*/ 35616 w 304800"/>
              <a:gd name="connsiteY37" fmla="*/ 152638 h 152400"/>
              <a:gd name="connsiteX38" fmla="*/ 48951 w 304800"/>
              <a:gd name="connsiteY38" fmla="*/ 143113 h 152400"/>
              <a:gd name="connsiteX39" fmla="*/ 61334 w 304800"/>
              <a:gd name="connsiteY39" fmla="*/ 152638 h 152400"/>
              <a:gd name="connsiteX40" fmla="*/ 79431 w 304800"/>
              <a:gd name="connsiteY40" fmla="*/ 152638 h 152400"/>
              <a:gd name="connsiteX41" fmla="*/ 86099 w 304800"/>
              <a:gd name="connsiteY41" fmla="*/ 146923 h 152400"/>
              <a:gd name="connsiteX42" fmla="*/ 87051 w 304800"/>
              <a:gd name="connsiteY42" fmla="*/ 145971 h 152400"/>
              <a:gd name="connsiteX43" fmla="*/ 93719 w 304800"/>
              <a:gd name="connsiteY43" fmla="*/ 151686 h 152400"/>
              <a:gd name="connsiteX44" fmla="*/ 107054 w 304800"/>
              <a:gd name="connsiteY44" fmla="*/ 157401 h 152400"/>
              <a:gd name="connsiteX45" fmla="*/ 111816 w 304800"/>
              <a:gd name="connsiteY45" fmla="*/ 153591 h 152400"/>
              <a:gd name="connsiteX46" fmla="*/ 119436 w 304800"/>
              <a:gd name="connsiteY46" fmla="*/ 158353 h 152400"/>
              <a:gd name="connsiteX47" fmla="*/ 126104 w 304800"/>
              <a:gd name="connsiteY47" fmla="*/ 155496 h 152400"/>
              <a:gd name="connsiteX48" fmla="*/ 128009 w 304800"/>
              <a:gd name="connsiteY48" fmla="*/ 153591 h 152400"/>
              <a:gd name="connsiteX49" fmla="*/ 131819 w 304800"/>
              <a:gd name="connsiteY49" fmla="*/ 150733 h 152400"/>
              <a:gd name="connsiteX50" fmla="*/ 131819 w 304800"/>
              <a:gd name="connsiteY50" fmla="*/ 150733 h 152400"/>
              <a:gd name="connsiteX51" fmla="*/ 136581 w 304800"/>
              <a:gd name="connsiteY51" fmla="*/ 154543 h 152400"/>
              <a:gd name="connsiteX52" fmla="*/ 148964 w 304800"/>
              <a:gd name="connsiteY52" fmla="*/ 160258 h 152400"/>
              <a:gd name="connsiteX53" fmla="*/ 149916 w 304800"/>
              <a:gd name="connsiteY53" fmla="*/ 160258 h 152400"/>
              <a:gd name="connsiteX54" fmla="*/ 160394 w 304800"/>
              <a:gd name="connsiteY54" fmla="*/ 154543 h 152400"/>
              <a:gd name="connsiteX55" fmla="*/ 161346 w 304800"/>
              <a:gd name="connsiteY55" fmla="*/ 151686 h 152400"/>
              <a:gd name="connsiteX56" fmla="*/ 164204 w 304800"/>
              <a:gd name="connsiteY56" fmla="*/ 152638 h 152400"/>
              <a:gd name="connsiteX57" fmla="*/ 165156 w 304800"/>
              <a:gd name="connsiteY57" fmla="*/ 152638 h 152400"/>
              <a:gd name="connsiteX58" fmla="*/ 202304 w 304800"/>
              <a:gd name="connsiteY58" fmla="*/ 144066 h 152400"/>
              <a:gd name="connsiteX59" fmla="*/ 202304 w 304800"/>
              <a:gd name="connsiteY59" fmla="*/ 144066 h 152400"/>
              <a:gd name="connsiteX60" fmla="*/ 203256 w 304800"/>
              <a:gd name="connsiteY60" fmla="*/ 144066 h 152400"/>
              <a:gd name="connsiteX61" fmla="*/ 204209 w 304800"/>
              <a:gd name="connsiteY61" fmla="*/ 143113 h 152400"/>
              <a:gd name="connsiteX62" fmla="*/ 204209 w 304800"/>
              <a:gd name="connsiteY62" fmla="*/ 143113 h 152400"/>
              <a:gd name="connsiteX63" fmla="*/ 292791 w 304800"/>
              <a:gd name="connsiteY63" fmla="*/ 54531 h 152400"/>
              <a:gd name="connsiteX64" fmla="*/ 292791 w 304800"/>
              <a:gd name="connsiteY64" fmla="*/ 54531 h 152400"/>
              <a:gd name="connsiteX65" fmla="*/ 292791 w 304800"/>
              <a:gd name="connsiteY65" fmla="*/ 54531 h 152400"/>
              <a:gd name="connsiteX66" fmla="*/ 307079 w 304800"/>
              <a:gd name="connsiteY66" fmla="*/ 40243 h 152400"/>
              <a:gd name="connsiteX67" fmla="*/ 310889 w 304800"/>
              <a:gd name="connsiteY67" fmla="*/ 28813 h 152400"/>
              <a:gd name="connsiteX68" fmla="*/ 50856 w 304800"/>
              <a:gd name="connsiteY68" fmla="*/ 122158 h 152400"/>
              <a:gd name="connsiteX69" fmla="*/ 49904 w 304800"/>
              <a:gd name="connsiteY69" fmla="*/ 124063 h 152400"/>
              <a:gd name="connsiteX70" fmla="*/ 47046 w 304800"/>
              <a:gd name="connsiteY70" fmla="*/ 111681 h 152400"/>
              <a:gd name="connsiteX71" fmla="*/ 48951 w 304800"/>
              <a:gd name="connsiteY71" fmla="*/ 68818 h 152400"/>
              <a:gd name="connsiteX72" fmla="*/ 48951 w 304800"/>
              <a:gd name="connsiteY72" fmla="*/ 68818 h 152400"/>
              <a:gd name="connsiteX73" fmla="*/ 50856 w 304800"/>
              <a:gd name="connsiteY73" fmla="*/ 122158 h 152400"/>
              <a:gd name="connsiteX74" fmla="*/ 260406 w 304800"/>
              <a:gd name="connsiteY74" fmla="*/ 29766 h 152400"/>
              <a:gd name="connsiteX75" fmla="*/ 282314 w 304800"/>
              <a:gd name="connsiteY75" fmla="*/ 51673 h 152400"/>
              <a:gd name="connsiteX76" fmla="*/ 200399 w 304800"/>
              <a:gd name="connsiteY76" fmla="*/ 133588 h 152400"/>
              <a:gd name="connsiteX77" fmla="*/ 178491 w 304800"/>
              <a:gd name="connsiteY77" fmla="*/ 111681 h 152400"/>
              <a:gd name="connsiteX78" fmla="*/ 260406 w 304800"/>
              <a:gd name="connsiteY78" fmla="*/ 29766 h 152400"/>
              <a:gd name="connsiteX79" fmla="*/ 173729 w 304800"/>
              <a:gd name="connsiteY79" fmla="*/ 121206 h 152400"/>
              <a:gd name="connsiteX80" fmla="*/ 190874 w 304800"/>
              <a:gd name="connsiteY80" fmla="*/ 137398 h 152400"/>
              <a:gd name="connsiteX81" fmla="*/ 168966 w 304800"/>
              <a:gd name="connsiteY81" fmla="*/ 142161 h 152400"/>
              <a:gd name="connsiteX82" fmla="*/ 173729 w 304800"/>
              <a:gd name="connsiteY82" fmla="*/ 121206 h 152400"/>
              <a:gd name="connsiteX83" fmla="*/ 299459 w 304800"/>
              <a:gd name="connsiteY83" fmla="*/ 34528 h 152400"/>
              <a:gd name="connsiteX84" fmla="*/ 288981 w 304800"/>
              <a:gd name="connsiteY84" fmla="*/ 45006 h 152400"/>
              <a:gd name="connsiteX85" fmla="*/ 267074 w 304800"/>
              <a:gd name="connsiteY85" fmla="*/ 22146 h 152400"/>
              <a:gd name="connsiteX86" fmla="*/ 277551 w 304800"/>
              <a:gd name="connsiteY86" fmla="*/ 11668 h 152400"/>
              <a:gd name="connsiteX87" fmla="*/ 288029 w 304800"/>
              <a:gd name="connsiteY87" fmla="*/ 11668 h 152400"/>
              <a:gd name="connsiteX88" fmla="*/ 299459 w 304800"/>
              <a:gd name="connsiteY88" fmla="*/ 23098 h 152400"/>
              <a:gd name="connsiteX89" fmla="*/ 301364 w 304800"/>
              <a:gd name="connsiteY89" fmla="*/ 28813 h 152400"/>
              <a:gd name="connsiteX90" fmla="*/ 299459 w 304800"/>
              <a:gd name="connsiteY90" fmla="*/ 34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04800" h="152400">
                <a:moveTo>
                  <a:pt x="310889" y="28813"/>
                </a:moveTo>
                <a:cubicBezTo>
                  <a:pt x="310889" y="24051"/>
                  <a:pt x="308984" y="20241"/>
                  <a:pt x="306126" y="16431"/>
                </a:cubicBezTo>
                <a:lnTo>
                  <a:pt x="294696" y="5001"/>
                </a:lnTo>
                <a:cubicBezTo>
                  <a:pt x="288029" y="-1667"/>
                  <a:pt x="277551" y="-1667"/>
                  <a:pt x="270884" y="5001"/>
                </a:cubicBezTo>
                <a:lnTo>
                  <a:pt x="168014" y="107871"/>
                </a:lnTo>
                <a:cubicBezTo>
                  <a:pt x="168014" y="107871"/>
                  <a:pt x="168014" y="107871"/>
                  <a:pt x="168014" y="107871"/>
                </a:cubicBezTo>
                <a:cubicBezTo>
                  <a:pt x="168014" y="107871"/>
                  <a:pt x="168014" y="108823"/>
                  <a:pt x="167061" y="108823"/>
                </a:cubicBezTo>
                <a:cubicBezTo>
                  <a:pt x="167061" y="108823"/>
                  <a:pt x="167061" y="109776"/>
                  <a:pt x="167061" y="109776"/>
                </a:cubicBezTo>
                <a:cubicBezTo>
                  <a:pt x="167061" y="109776"/>
                  <a:pt x="167061" y="109776"/>
                  <a:pt x="167061" y="109776"/>
                </a:cubicBezTo>
                <a:lnTo>
                  <a:pt x="158489" y="146923"/>
                </a:lnTo>
                <a:cubicBezTo>
                  <a:pt x="158489" y="146923"/>
                  <a:pt x="158489" y="147876"/>
                  <a:pt x="158489" y="147876"/>
                </a:cubicBezTo>
                <a:cubicBezTo>
                  <a:pt x="156584" y="146923"/>
                  <a:pt x="153726" y="146923"/>
                  <a:pt x="151821" y="148828"/>
                </a:cubicBezTo>
                <a:cubicBezTo>
                  <a:pt x="151821" y="148828"/>
                  <a:pt x="149916" y="150733"/>
                  <a:pt x="148011" y="150733"/>
                </a:cubicBezTo>
                <a:cubicBezTo>
                  <a:pt x="146106" y="150733"/>
                  <a:pt x="144201" y="148828"/>
                  <a:pt x="142296" y="147876"/>
                </a:cubicBezTo>
                <a:cubicBezTo>
                  <a:pt x="137534" y="143113"/>
                  <a:pt x="133724" y="141208"/>
                  <a:pt x="129914" y="141208"/>
                </a:cubicBezTo>
                <a:cubicBezTo>
                  <a:pt x="125151" y="141208"/>
                  <a:pt x="122294" y="145018"/>
                  <a:pt x="119436" y="147876"/>
                </a:cubicBezTo>
                <a:lnTo>
                  <a:pt x="118484" y="148828"/>
                </a:lnTo>
                <a:cubicBezTo>
                  <a:pt x="117531" y="147876"/>
                  <a:pt x="116579" y="145971"/>
                  <a:pt x="115626" y="145018"/>
                </a:cubicBezTo>
                <a:cubicBezTo>
                  <a:pt x="114674" y="143113"/>
                  <a:pt x="112769" y="141208"/>
                  <a:pt x="111816" y="140256"/>
                </a:cubicBezTo>
                <a:cubicBezTo>
                  <a:pt x="110864" y="139303"/>
                  <a:pt x="108006" y="139303"/>
                  <a:pt x="107054" y="139303"/>
                </a:cubicBezTo>
                <a:cubicBezTo>
                  <a:pt x="104196" y="140256"/>
                  <a:pt x="103244" y="143113"/>
                  <a:pt x="103244" y="145018"/>
                </a:cubicBezTo>
                <a:cubicBezTo>
                  <a:pt x="103244" y="145018"/>
                  <a:pt x="103244" y="145971"/>
                  <a:pt x="103244" y="146923"/>
                </a:cubicBezTo>
                <a:cubicBezTo>
                  <a:pt x="102291" y="145971"/>
                  <a:pt x="101339" y="145018"/>
                  <a:pt x="99434" y="144066"/>
                </a:cubicBezTo>
                <a:cubicBezTo>
                  <a:pt x="92766" y="138351"/>
                  <a:pt x="88956" y="135493"/>
                  <a:pt x="85146" y="135493"/>
                </a:cubicBezTo>
                <a:cubicBezTo>
                  <a:pt x="81336" y="135493"/>
                  <a:pt x="79431" y="138351"/>
                  <a:pt x="77526" y="140256"/>
                </a:cubicBezTo>
                <a:cubicBezTo>
                  <a:pt x="77526" y="143113"/>
                  <a:pt x="76574" y="143113"/>
                  <a:pt x="75621" y="144066"/>
                </a:cubicBezTo>
                <a:cubicBezTo>
                  <a:pt x="70859" y="145971"/>
                  <a:pt x="65144" y="144066"/>
                  <a:pt x="65144" y="144066"/>
                </a:cubicBezTo>
                <a:cubicBezTo>
                  <a:pt x="61334" y="142161"/>
                  <a:pt x="58476" y="139303"/>
                  <a:pt x="55619" y="135493"/>
                </a:cubicBezTo>
                <a:cubicBezTo>
                  <a:pt x="57524" y="132636"/>
                  <a:pt x="58476" y="129778"/>
                  <a:pt x="60381" y="125968"/>
                </a:cubicBezTo>
                <a:cubicBezTo>
                  <a:pt x="68001" y="105013"/>
                  <a:pt x="67049" y="78343"/>
                  <a:pt x="57524" y="64056"/>
                </a:cubicBezTo>
                <a:cubicBezTo>
                  <a:pt x="52761" y="57388"/>
                  <a:pt x="48951" y="57388"/>
                  <a:pt x="47046" y="58341"/>
                </a:cubicBezTo>
                <a:cubicBezTo>
                  <a:pt x="39426" y="60246"/>
                  <a:pt x="37521" y="73581"/>
                  <a:pt x="36569" y="85011"/>
                </a:cubicBezTo>
                <a:cubicBezTo>
                  <a:pt x="35616" y="98346"/>
                  <a:pt x="37521" y="119301"/>
                  <a:pt x="45141" y="135493"/>
                </a:cubicBezTo>
                <a:cubicBezTo>
                  <a:pt x="42284" y="140256"/>
                  <a:pt x="38474" y="143113"/>
                  <a:pt x="33711" y="144066"/>
                </a:cubicBezTo>
                <a:cubicBezTo>
                  <a:pt x="19424" y="147876"/>
                  <a:pt x="9899" y="132636"/>
                  <a:pt x="8946" y="131683"/>
                </a:cubicBezTo>
                <a:cubicBezTo>
                  <a:pt x="7994" y="129778"/>
                  <a:pt x="5136" y="128826"/>
                  <a:pt x="2279" y="129778"/>
                </a:cubicBezTo>
                <a:cubicBezTo>
                  <a:pt x="374" y="130731"/>
                  <a:pt x="-579" y="133588"/>
                  <a:pt x="374" y="136446"/>
                </a:cubicBezTo>
                <a:cubicBezTo>
                  <a:pt x="1326" y="137398"/>
                  <a:pt x="14661" y="159306"/>
                  <a:pt x="35616" y="152638"/>
                </a:cubicBezTo>
                <a:cubicBezTo>
                  <a:pt x="40379" y="150733"/>
                  <a:pt x="45141" y="147876"/>
                  <a:pt x="48951" y="143113"/>
                </a:cubicBezTo>
                <a:cubicBezTo>
                  <a:pt x="51809" y="146923"/>
                  <a:pt x="56571" y="150733"/>
                  <a:pt x="61334" y="152638"/>
                </a:cubicBezTo>
                <a:cubicBezTo>
                  <a:pt x="61334" y="152638"/>
                  <a:pt x="69906" y="155496"/>
                  <a:pt x="79431" y="152638"/>
                </a:cubicBezTo>
                <a:cubicBezTo>
                  <a:pt x="83241" y="151686"/>
                  <a:pt x="85146" y="148828"/>
                  <a:pt x="86099" y="146923"/>
                </a:cubicBezTo>
                <a:cubicBezTo>
                  <a:pt x="86099" y="146923"/>
                  <a:pt x="87051" y="145971"/>
                  <a:pt x="87051" y="145971"/>
                </a:cubicBezTo>
                <a:cubicBezTo>
                  <a:pt x="88004" y="145971"/>
                  <a:pt x="89909" y="146923"/>
                  <a:pt x="93719" y="151686"/>
                </a:cubicBezTo>
                <a:cubicBezTo>
                  <a:pt x="97529" y="155496"/>
                  <a:pt x="102291" y="159306"/>
                  <a:pt x="107054" y="157401"/>
                </a:cubicBezTo>
                <a:cubicBezTo>
                  <a:pt x="108959" y="156448"/>
                  <a:pt x="110864" y="155496"/>
                  <a:pt x="111816" y="153591"/>
                </a:cubicBezTo>
                <a:cubicBezTo>
                  <a:pt x="113721" y="156448"/>
                  <a:pt x="116579" y="158353"/>
                  <a:pt x="119436" y="158353"/>
                </a:cubicBezTo>
                <a:cubicBezTo>
                  <a:pt x="121341" y="158353"/>
                  <a:pt x="123246" y="158353"/>
                  <a:pt x="126104" y="155496"/>
                </a:cubicBezTo>
                <a:lnTo>
                  <a:pt x="128009" y="153591"/>
                </a:lnTo>
                <a:cubicBezTo>
                  <a:pt x="128961" y="152638"/>
                  <a:pt x="130866" y="150733"/>
                  <a:pt x="131819" y="150733"/>
                </a:cubicBezTo>
                <a:lnTo>
                  <a:pt x="131819" y="150733"/>
                </a:lnTo>
                <a:cubicBezTo>
                  <a:pt x="131819" y="150733"/>
                  <a:pt x="133724" y="150733"/>
                  <a:pt x="136581" y="154543"/>
                </a:cubicBezTo>
                <a:cubicBezTo>
                  <a:pt x="140391" y="158353"/>
                  <a:pt x="144201" y="160258"/>
                  <a:pt x="148964" y="160258"/>
                </a:cubicBezTo>
                <a:cubicBezTo>
                  <a:pt x="148964" y="160258"/>
                  <a:pt x="148964" y="160258"/>
                  <a:pt x="149916" y="160258"/>
                </a:cubicBezTo>
                <a:cubicBezTo>
                  <a:pt x="156584" y="160258"/>
                  <a:pt x="160394" y="155496"/>
                  <a:pt x="160394" y="154543"/>
                </a:cubicBezTo>
                <a:cubicBezTo>
                  <a:pt x="161346" y="153591"/>
                  <a:pt x="161346" y="152638"/>
                  <a:pt x="161346" y="151686"/>
                </a:cubicBezTo>
                <a:cubicBezTo>
                  <a:pt x="162299" y="151686"/>
                  <a:pt x="163251" y="152638"/>
                  <a:pt x="164204" y="152638"/>
                </a:cubicBezTo>
                <a:cubicBezTo>
                  <a:pt x="164204" y="152638"/>
                  <a:pt x="165156" y="152638"/>
                  <a:pt x="165156" y="152638"/>
                </a:cubicBezTo>
                <a:lnTo>
                  <a:pt x="202304" y="144066"/>
                </a:lnTo>
                <a:cubicBezTo>
                  <a:pt x="202304" y="144066"/>
                  <a:pt x="202304" y="144066"/>
                  <a:pt x="202304" y="144066"/>
                </a:cubicBezTo>
                <a:cubicBezTo>
                  <a:pt x="202304" y="144066"/>
                  <a:pt x="203256" y="144066"/>
                  <a:pt x="203256" y="144066"/>
                </a:cubicBezTo>
                <a:cubicBezTo>
                  <a:pt x="203256" y="144066"/>
                  <a:pt x="204209" y="144066"/>
                  <a:pt x="204209" y="143113"/>
                </a:cubicBezTo>
                <a:cubicBezTo>
                  <a:pt x="204209" y="143113"/>
                  <a:pt x="204209" y="143113"/>
                  <a:pt x="204209" y="143113"/>
                </a:cubicBezTo>
                <a:lnTo>
                  <a:pt x="292791" y="54531"/>
                </a:lnTo>
                <a:cubicBezTo>
                  <a:pt x="292791" y="54531"/>
                  <a:pt x="292791" y="54531"/>
                  <a:pt x="292791" y="54531"/>
                </a:cubicBezTo>
                <a:cubicBezTo>
                  <a:pt x="292791" y="54531"/>
                  <a:pt x="292791" y="54531"/>
                  <a:pt x="292791" y="54531"/>
                </a:cubicBezTo>
                <a:lnTo>
                  <a:pt x="307079" y="40243"/>
                </a:lnTo>
                <a:cubicBezTo>
                  <a:pt x="309936" y="37386"/>
                  <a:pt x="311841" y="33576"/>
                  <a:pt x="310889" y="28813"/>
                </a:cubicBezTo>
                <a:close/>
                <a:moveTo>
                  <a:pt x="50856" y="122158"/>
                </a:moveTo>
                <a:cubicBezTo>
                  <a:pt x="50856" y="123111"/>
                  <a:pt x="50856" y="123111"/>
                  <a:pt x="49904" y="124063"/>
                </a:cubicBezTo>
                <a:cubicBezTo>
                  <a:pt x="47999" y="119301"/>
                  <a:pt x="47046" y="115491"/>
                  <a:pt x="47046" y="111681"/>
                </a:cubicBezTo>
                <a:cubicBezTo>
                  <a:pt x="44189" y="92631"/>
                  <a:pt x="46094" y="74533"/>
                  <a:pt x="48951" y="68818"/>
                </a:cubicBezTo>
                <a:cubicBezTo>
                  <a:pt x="48951" y="68818"/>
                  <a:pt x="48951" y="68818"/>
                  <a:pt x="48951" y="68818"/>
                </a:cubicBezTo>
                <a:cubicBezTo>
                  <a:pt x="56571" y="80248"/>
                  <a:pt x="57524" y="104061"/>
                  <a:pt x="50856" y="122158"/>
                </a:cubicBezTo>
                <a:close/>
                <a:moveTo>
                  <a:pt x="260406" y="29766"/>
                </a:moveTo>
                <a:lnTo>
                  <a:pt x="282314" y="51673"/>
                </a:lnTo>
                <a:lnTo>
                  <a:pt x="200399" y="133588"/>
                </a:lnTo>
                <a:lnTo>
                  <a:pt x="178491" y="111681"/>
                </a:lnTo>
                <a:lnTo>
                  <a:pt x="260406" y="29766"/>
                </a:lnTo>
                <a:close/>
                <a:moveTo>
                  <a:pt x="173729" y="121206"/>
                </a:moveTo>
                <a:lnTo>
                  <a:pt x="190874" y="137398"/>
                </a:lnTo>
                <a:lnTo>
                  <a:pt x="168966" y="142161"/>
                </a:lnTo>
                <a:lnTo>
                  <a:pt x="173729" y="121206"/>
                </a:lnTo>
                <a:close/>
                <a:moveTo>
                  <a:pt x="299459" y="34528"/>
                </a:moveTo>
                <a:lnTo>
                  <a:pt x="288981" y="45006"/>
                </a:lnTo>
                <a:lnTo>
                  <a:pt x="267074" y="22146"/>
                </a:lnTo>
                <a:lnTo>
                  <a:pt x="277551" y="11668"/>
                </a:lnTo>
                <a:cubicBezTo>
                  <a:pt x="280409" y="8811"/>
                  <a:pt x="285171" y="8811"/>
                  <a:pt x="288029" y="11668"/>
                </a:cubicBezTo>
                <a:lnTo>
                  <a:pt x="299459" y="23098"/>
                </a:lnTo>
                <a:cubicBezTo>
                  <a:pt x="301364" y="25003"/>
                  <a:pt x="301364" y="26908"/>
                  <a:pt x="301364" y="28813"/>
                </a:cubicBezTo>
                <a:cubicBezTo>
                  <a:pt x="301364" y="30718"/>
                  <a:pt x="301364" y="32623"/>
                  <a:pt x="299459" y="34528"/>
                </a:cubicBezTo>
                <a:close/>
              </a:path>
            </a:pathLst>
          </a:custGeom>
          <a:solidFill>
            <a:srgbClr val="101010"/>
          </a:solidFill>
          <a:ln w="9525" cap="flat">
            <a:noFill/>
            <a:prstDash val="solid"/>
            <a:miter/>
          </a:ln>
        </p:spPr>
        <p:txBody>
          <a:bodyPr rtlCol="0" anchor="ctr"/>
          <a:lstStyle/>
          <a:p>
            <a:endParaRPr lang="de-DE"/>
          </a:p>
        </p:txBody>
      </p:sp>
      <p:sp>
        <p:nvSpPr>
          <p:cNvPr id="5259" name="Graphic 3">
            <a:extLst>
              <a:ext uri="{FF2B5EF4-FFF2-40B4-BE49-F238E27FC236}">
                <a16:creationId xmlns:a16="http://schemas.microsoft.com/office/drawing/2014/main" id="{890D9F3C-A9A2-4940-B00E-3A44B3C5599C}"/>
              </a:ext>
              <a:ext uri="{C183D7F6-B498-43B3-948B-1728B52AA6E4}">
                <adec:decorative xmlns:adec="http://schemas.microsoft.com/office/drawing/2017/decorative" val="1"/>
              </a:ext>
            </a:extLst>
          </p:cNvPr>
          <p:cNvSpPr>
            <a:spLocks noChangeAspect="1"/>
          </p:cNvSpPr>
          <p:nvPr/>
        </p:nvSpPr>
        <p:spPr>
          <a:xfrm>
            <a:off x="2065199" y="4182050"/>
            <a:ext cx="112777" cy="108750"/>
          </a:xfrm>
          <a:custGeom>
            <a:avLst/>
            <a:gdLst>
              <a:gd name="connsiteX0" fmla="*/ 413518 w 412750"/>
              <a:gd name="connsiteY0" fmla="*/ 328329 h 398008"/>
              <a:gd name="connsiteX1" fmla="*/ 388458 w 412750"/>
              <a:gd name="connsiteY1" fmla="*/ 149962 h 398008"/>
              <a:gd name="connsiteX2" fmla="*/ 177661 w 412750"/>
              <a:gd name="connsiteY2" fmla="*/ 1077 h 398008"/>
              <a:gd name="connsiteX3" fmla="*/ 768 w 412750"/>
              <a:gd name="connsiteY3" fmla="*/ 177970 h 398008"/>
              <a:gd name="connsiteX4" fmla="*/ 43517 w 412750"/>
              <a:gd name="connsiteY4" fmla="*/ 319485 h 398008"/>
              <a:gd name="connsiteX5" fmla="*/ 77421 w 412750"/>
              <a:gd name="connsiteY5" fmla="*/ 341596 h 398008"/>
              <a:gd name="connsiteX6" fmla="*/ 311804 w 412750"/>
              <a:gd name="connsiteY6" fmla="*/ 409405 h 398008"/>
              <a:gd name="connsiteX7" fmla="*/ 333916 w 412750"/>
              <a:gd name="connsiteY7" fmla="*/ 412353 h 398008"/>
              <a:gd name="connsiteX8" fmla="*/ 351605 w 412750"/>
              <a:gd name="connsiteY8" fmla="*/ 409405 h 398008"/>
              <a:gd name="connsiteX9" fmla="*/ 413518 w 412750"/>
              <a:gd name="connsiteY9" fmla="*/ 328329 h 398008"/>
              <a:gd name="connsiteX10" fmla="*/ 375191 w 412750"/>
              <a:gd name="connsiteY10" fmla="*/ 158807 h 398008"/>
              <a:gd name="connsiteX11" fmla="*/ 397303 w 412750"/>
              <a:gd name="connsiteY11" fmla="*/ 318011 h 398008"/>
              <a:gd name="connsiteX12" fmla="*/ 201246 w 412750"/>
              <a:gd name="connsiteY12" fmla="*/ 239883 h 398008"/>
              <a:gd name="connsiteX13" fmla="*/ 155549 w 412750"/>
              <a:gd name="connsiteY13" fmla="*/ 200082 h 398008"/>
              <a:gd name="connsiteX14" fmla="*/ 167342 w 412750"/>
              <a:gd name="connsiteY14" fmla="*/ 167652 h 398008"/>
              <a:gd name="connsiteX15" fmla="*/ 196824 w 412750"/>
              <a:gd name="connsiteY15" fmla="*/ 158807 h 398008"/>
              <a:gd name="connsiteX16" fmla="*/ 375191 w 412750"/>
              <a:gd name="connsiteY16" fmla="*/ 158807 h 398008"/>
              <a:gd name="connsiteX17" fmla="*/ 348657 w 412750"/>
              <a:gd name="connsiteY17" fmla="*/ 396138 h 398008"/>
              <a:gd name="connsiteX18" fmla="*/ 317701 w 412750"/>
              <a:gd name="connsiteY18" fmla="*/ 394664 h 398008"/>
              <a:gd name="connsiteX19" fmla="*/ 81844 w 412750"/>
              <a:gd name="connsiteY19" fmla="*/ 326855 h 398008"/>
              <a:gd name="connsiteX20" fmla="*/ 55310 w 412750"/>
              <a:gd name="connsiteY20" fmla="*/ 309166 h 398008"/>
              <a:gd name="connsiteX21" fmla="*/ 15509 w 412750"/>
              <a:gd name="connsiteY21" fmla="*/ 179444 h 398008"/>
              <a:gd name="connsiteX22" fmla="*/ 179135 w 412750"/>
              <a:gd name="connsiteY22" fmla="*/ 15819 h 398008"/>
              <a:gd name="connsiteX23" fmla="*/ 196824 w 412750"/>
              <a:gd name="connsiteY23" fmla="*/ 14344 h 398008"/>
              <a:gd name="connsiteX24" fmla="*/ 372243 w 412750"/>
              <a:gd name="connsiteY24" fmla="*/ 144066 h 398008"/>
              <a:gd name="connsiteX25" fmla="*/ 199772 w 412750"/>
              <a:gd name="connsiteY25" fmla="*/ 144066 h 398008"/>
              <a:gd name="connsiteX26" fmla="*/ 159971 w 412750"/>
              <a:gd name="connsiteY26" fmla="*/ 155859 h 398008"/>
              <a:gd name="connsiteX27" fmla="*/ 142282 w 412750"/>
              <a:gd name="connsiteY27" fmla="*/ 200082 h 398008"/>
              <a:gd name="connsiteX28" fmla="*/ 195350 w 412750"/>
              <a:gd name="connsiteY28" fmla="*/ 253150 h 398008"/>
              <a:gd name="connsiteX29" fmla="*/ 398777 w 412750"/>
              <a:gd name="connsiteY29" fmla="*/ 334226 h 398008"/>
              <a:gd name="connsiteX30" fmla="*/ 348657 w 412750"/>
              <a:gd name="connsiteY30" fmla="*/ 396138 h 39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2750" h="398008">
                <a:moveTo>
                  <a:pt x="413518" y="328329"/>
                </a:moveTo>
                <a:lnTo>
                  <a:pt x="388458" y="149962"/>
                </a:lnTo>
                <a:cubicBezTo>
                  <a:pt x="364872" y="55619"/>
                  <a:pt x="274952" y="-9241"/>
                  <a:pt x="177661" y="1077"/>
                </a:cubicBezTo>
                <a:cubicBezTo>
                  <a:pt x="84792" y="9922"/>
                  <a:pt x="9612" y="86576"/>
                  <a:pt x="768" y="177970"/>
                </a:cubicBezTo>
                <a:cubicBezTo>
                  <a:pt x="-3655" y="229564"/>
                  <a:pt x="11086" y="279684"/>
                  <a:pt x="43517" y="319485"/>
                </a:cubicBezTo>
                <a:cubicBezTo>
                  <a:pt x="52361" y="329803"/>
                  <a:pt x="64154" y="338648"/>
                  <a:pt x="77421" y="341596"/>
                </a:cubicBezTo>
                <a:lnTo>
                  <a:pt x="311804" y="409405"/>
                </a:lnTo>
                <a:cubicBezTo>
                  <a:pt x="319175" y="410879"/>
                  <a:pt x="326545" y="412353"/>
                  <a:pt x="333916" y="412353"/>
                </a:cubicBezTo>
                <a:cubicBezTo>
                  <a:pt x="339812" y="412353"/>
                  <a:pt x="345709" y="410879"/>
                  <a:pt x="351605" y="409405"/>
                </a:cubicBezTo>
                <a:cubicBezTo>
                  <a:pt x="419414" y="391716"/>
                  <a:pt x="413518" y="329803"/>
                  <a:pt x="413518" y="328329"/>
                </a:cubicBezTo>
                <a:close/>
                <a:moveTo>
                  <a:pt x="375191" y="158807"/>
                </a:moveTo>
                <a:lnTo>
                  <a:pt x="397303" y="318011"/>
                </a:lnTo>
                <a:cubicBezTo>
                  <a:pt x="360450" y="303269"/>
                  <a:pt x="242521" y="257572"/>
                  <a:pt x="201246" y="239883"/>
                </a:cubicBezTo>
                <a:cubicBezTo>
                  <a:pt x="158497" y="220719"/>
                  <a:pt x="157023" y="200082"/>
                  <a:pt x="155549" y="200082"/>
                </a:cubicBezTo>
                <a:cubicBezTo>
                  <a:pt x="155549" y="185341"/>
                  <a:pt x="159971" y="173548"/>
                  <a:pt x="167342" y="167652"/>
                </a:cubicBezTo>
                <a:cubicBezTo>
                  <a:pt x="179135" y="157333"/>
                  <a:pt x="196824" y="158807"/>
                  <a:pt x="196824" y="158807"/>
                </a:cubicBezTo>
                <a:lnTo>
                  <a:pt x="375191" y="158807"/>
                </a:lnTo>
                <a:close/>
                <a:moveTo>
                  <a:pt x="348657" y="396138"/>
                </a:moveTo>
                <a:cubicBezTo>
                  <a:pt x="339812" y="399086"/>
                  <a:pt x="328019" y="399086"/>
                  <a:pt x="317701" y="394664"/>
                </a:cubicBezTo>
                <a:lnTo>
                  <a:pt x="81844" y="326855"/>
                </a:lnTo>
                <a:cubicBezTo>
                  <a:pt x="71525" y="323907"/>
                  <a:pt x="62680" y="318011"/>
                  <a:pt x="55310" y="309166"/>
                </a:cubicBezTo>
                <a:cubicBezTo>
                  <a:pt x="25828" y="272313"/>
                  <a:pt x="12561" y="226616"/>
                  <a:pt x="15509" y="179444"/>
                </a:cubicBezTo>
                <a:cubicBezTo>
                  <a:pt x="24353" y="93946"/>
                  <a:pt x="93636" y="23189"/>
                  <a:pt x="179135" y="15819"/>
                </a:cubicBezTo>
                <a:cubicBezTo>
                  <a:pt x="185031" y="14344"/>
                  <a:pt x="190928" y="14344"/>
                  <a:pt x="196824" y="14344"/>
                </a:cubicBezTo>
                <a:cubicBezTo>
                  <a:pt x="276426" y="14344"/>
                  <a:pt x="348657" y="67412"/>
                  <a:pt x="372243" y="144066"/>
                </a:cubicBezTo>
                <a:lnTo>
                  <a:pt x="199772" y="144066"/>
                </a:lnTo>
                <a:cubicBezTo>
                  <a:pt x="198298" y="144066"/>
                  <a:pt x="176186" y="141118"/>
                  <a:pt x="159971" y="155859"/>
                </a:cubicBezTo>
                <a:cubicBezTo>
                  <a:pt x="148178" y="166177"/>
                  <a:pt x="143756" y="180919"/>
                  <a:pt x="142282" y="200082"/>
                </a:cubicBezTo>
                <a:cubicBezTo>
                  <a:pt x="142282" y="203030"/>
                  <a:pt x="145230" y="229564"/>
                  <a:pt x="195350" y="253150"/>
                </a:cubicBezTo>
                <a:cubicBezTo>
                  <a:pt x="239573" y="272313"/>
                  <a:pt x="372243" y="323907"/>
                  <a:pt x="398777" y="334226"/>
                </a:cubicBezTo>
                <a:cubicBezTo>
                  <a:pt x="398777" y="347493"/>
                  <a:pt x="394354" y="382871"/>
                  <a:pt x="348657" y="396138"/>
                </a:cubicBezTo>
                <a:close/>
              </a:path>
            </a:pathLst>
          </a:custGeom>
          <a:solidFill>
            <a:srgbClr val="000000"/>
          </a:solidFill>
          <a:ln w="14628" cap="flat">
            <a:noFill/>
            <a:prstDash val="solid"/>
            <a:miter/>
          </a:ln>
        </p:spPr>
        <p:txBody>
          <a:bodyPr rtlCol="0" anchor="ctr"/>
          <a:lstStyle/>
          <a:p>
            <a:endParaRPr lang="de-DE"/>
          </a:p>
        </p:txBody>
      </p:sp>
      <p:sp>
        <p:nvSpPr>
          <p:cNvPr id="5260" name="Graphic 3">
            <a:extLst>
              <a:ext uri="{FF2B5EF4-FFF2-40B4-BE49-F238E27FC236}">
                <a16:creationId xmlns:a16="http://schemas.microsoft.com/office/drawing/2014/main" id="{BDAA5860-5766-4AD3-943B-E5DECF5EED38}"/>
              </a:ext>
              <a:ext uri="{C183D7F6-B498-43B3-948B-1728B52AA6E4}">
                <adec:decorative xmlns:adec="http://schemas.microsoft.com/office/drawing/2017/decorative" val="1"/>
              </a:ext>
            </a:extLst>
          </p:cNvPr>
          <p:cNvSpPr>
            <a:spLocks noChangeAspect="1"/>
          </p:cNvSpPr>
          <p:nvPr/>
        </p:nvSpPr>
        <p:spPr>
          <a:xfrm>
            <a:off x="2335646" y="4186543"/>
            <a:ext cx="108440" cy="99764"/>
          </a:xfrm>
          <a:custGeom>
            <a:avLst/>
            <a:gdLst>
              <a:gd name="connsiteX0" fmla="*/ 406400 w 396875"/>
              <a:gd name="connsiteY0" fmla="*/ 151060 h 365124"/>
              <a:gd name="connsiteX1" fmla="*/ 406400 w 396875"/>
              <a:gd name="connsiteY1" fmla="*/ 147885 h 365124"/>
              <a:gd name="connsiteX2" fmla="*/ 325438 w 396875"/>
              <a:gd name="connsiteY2" fmla="*/ 36760 h 365124"/>
              <a:gd name="connsiteX3" fmla="*/ 320675 w 396875"/>
              <a:gd name="connsiteY3" fmla="*/ 33585 h 365124"/>
              <a:gd name="connsiteX4" fmla="*/ 260350 w 396875"/>
              <a:gd name="connsiteY4" fmla="*/ 6597 h 365124"/>
              <a:gd name="connsiteX5" fmla="*/ 0 w 396875"/>
              <a:gd name="connsiteY5" fmla="*/ 147885 h 365124"/>
              <a:gd name="connsiteX6" fmla="*/ 0 w 396875"/>
              <a:gd name="connsiteY6" fmla="*/ 151060 h 365124"/>
              <a:gd name="connsiteX7" fmla="*/ 0 w 396875"/>
              <a:gd name="connsiteY7" fmla="*/ 151060 h 365124"/>
              <a:gd name="connsiteX8" fmla="*/ 31750 w 396875"/>
              <a:gd name="connsiteY8" fmla="*/ 239959 h 365124"/>
              <a:gd name="connsiteX9" fmla="*/ 61913 w 396875"/>
              <a:gd name="connsiteY9" fmla="*/ 254247 h 365124"/>
              <a:gd name="connsiteX10" fmla="*/ 79375 w 396875"/>
              <a:gd name="connsiteY10" fmla="*/ 249484 h 365124"/>
              <a:gd name="connsiteX11" fmla="*/ 104775 w 396875"/>
              <a:gd name="connsiteY11" fmla="*/ 236784 h 365124"/>
              <a:gd name="connsiteX12" fmla="*/ 185738 w 396875"/>
              <a:gd name="connsiteY12" fmla="*/ 295522 h 365124"/>
              <a:gd name="connsiteX13" fmla="*/ 201613 w 396875"/>
              <a:gd name="connsiteY13" fmla="*/ 312984 h 365124"/>
              <a:gd name="connsiteX14" fmla="*/ 227013 w 396875"/>
              <a:gd name="connsiteY14" fmla="*/ 363784 h 365124"/>
              <a:gd name="connsiteX15" fmla="*/ 233363 w 396875"/>
              <a:gd name="connsiteY15" fmla="*/ 368546 h 365124"/>
              <a:gd name="connsiteX16" fmla="*/ 236538 w 396875"/>
              <a:gd name="connsiteY16" fmla="*/ 366959 h 365124"/>
              <a:gd name="connsiteX17" fmla="*/ 239713 w 396875"/>
              <a:gd name="connsiteY17" fmla="*/ 355846 h 365124"/>
              <a:gd name="connsiteX18" fmla="*/ 214313 w 396875"/>
              <a:gd name="connsiteY18" fmla="*/ 305047 h 365124"/>
              <a:gd name="connsiteX19" fmla="*/ 209550 w 396875"/>
              <a:gd name="connsiteY19" fmla="*/ 298697 h 365124"/>
              <a:gd name="connsiteX20" fmla="*/ 274638 w 396875"/>
              <a:gd name="connsiteY20" fmla="*/ 227259 h 365124"/>
              <a:gd name="connsiteX21" fmla="*/ 406400 w 396875"/>
              <a:gd name="connsiteY21" fmla="*/ 155822 h 365124"/>
              <a:gd name="connsiteX22" fmla="*/ 406400 w 396875"/>
              <a:gd name="connsiteY22" fmla="*/ 155822 h 365124"/>
              <a:gd name="connsiteX23" fmla="*/ 406400 w 396875"/>
              <a:gd name="connsiteY23" fmla="*/ 151060 h 365124"/>
              <a:gd name="connsiteX24" fmla="*/ 406400 w 396875"/>
              <a:gd name="connsiteY24" fmla="*/ 151060 h 365124"/>
              <a:gd name="connsiteX25" fmla="*/ 255588 w 396875"/>
              <a:gd name="connsiteY25" fmla="*/ 22472 h 365124"/>
              <a:gd name="connsiteX26" fmla="*/ 311150 w 396875"/>
              <a:gd name="connsiteY26" fmla="*/ 46285 h 365124"/>
              <a:gd name="connsiteX27" fmla="*/ 315913 w 396875"/>
              <a:gd name="connsiteY27" fmla="*/ 49460 h 365124"/>
              <a:gd name="connsiteX28" fmla="*/ 387350 w 396875"/>
              <a:gd name="connsiteY28" fmla="*/ 141535 h 365124"/>
              <a:gd name="connsiteX29" fmla="*/ 19050 w 396875"/>
              <a:gd name="connsiteY29" fmla="*/ 143122 h 365124"/>
              <a:gd name="connsiteX30" fmla="*/ 255588 w 396875"/>
              <a:gd name="connsiteY30" fmla="*/ 22472 h 365124"/>
              <a:gd name="connsiteX31" fmla="*/ 119063 w 396875"/>
              <a:gd name="connsiteY31" fmla="*/ 227259 h 365124"/>
              <a:gd name="connsiteX32" fmla="*/ 122238 w 396875"/>
              <a:gd name="connsiteY32" fmla="*/ 225672 h 365124"/>
              <a:gd name="connsiteX33" fmla="*/ 219075 w 396875"/>
              <a:gd name="connsiteY33" fmla="*/ 216147 h 365124"/>
              <a:gd name="connsiteX34" fmla="*/ 252413 w 396875"/>
              <a:gd name="connsiteY34" fmla="*/ 225672 h 365124"/>
              <a:gd name="connsiteX35" fmla="*/ 198438 w 396875"/>
              <a:gd name="connsiteY35" fmla="*/ 285997 h 365124"/>
              <a:gd name="connsiteX36" fmla="*/ 193675 w 396875"/>
              <a:gd name="connsiteY36" fmla="*/ 281234 h 365124"/>
              <a:gd name="connsiteX37" fmla="*/ 119063 w 396875"/>
              <a:gd name="connsiteY37" fmla="*/ 227259 h 365124"/>
              <a:gd name="connsiteX38" fmla="*/ 269875 w 396875"/>
              <a:gd name="connsiteY38" fmla="*/ 211384 h 365124"/>
              <a:gd name="connsiteX39" fmla="*/ 269875 w 396875"/>
              <a:gd name="connsiteY39" fmla="*/ 211384 h 365124"/>
              <a:gd name="connsiteX40" fmla="*/ 225425 w 396875"/>
              <a:gd name="connsiteY40" fmla="*/ 203447 h 365124"/>
              <a:gd name="connsiteX41" fmla="*/ 114300 w 396875"/>
              <a:gd name="connsiteY41" fmla="*/ 212972 h 365124"/>
              <a:gd name="connsiteX42" fmla="*/ 109538 w 396875"/>
              <a:gd name="connsiteY42" fmla="*/ 216147 h 365124"/>
              <a:gd name="connsiteX43" fmla="*/ 71438 w 396875"/>
              <a:gd name="connsiteY43" fmla="*/ 236784 h 365124"/>
              <a:gd name="connsiteX44" fmla="*/ 44450 w 396875"/>
              <a:gd name="connsiteY44" fmla="*/ 230434 h 365124"/>
              <a:gd name="connsiteX45" fmla="*/ 17463 w 396875"/>
              <a:gd name="connsiteY45" fmla="*/ 158997 h 365124"/>
              <a:gd name="connsiteX46" fmla="*/ 381000 w 396875"/>
              <a:gd name="connsiteY46" fmla="*/ 158997 h 365124"/>
              <a:gd name="connsiteX47" fmla="*/ 269875 w 396875"/>
              <a:gd name="connsiteY47" fmla="*/ 211384 h 3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96875" h="365124">
                <a:moveTo>
                  <a:pt x="406400" y="151060"/>
                </a:moveTo>
                <a:cubicBezTo>
                  <a:pt x="406400" y="149472"/>
                  <a:pt x="406400" y="149472"/>
                  <a:pt x="406400" y="147885"/>
                </a:cubicBezTo>
                <a:cubicBezTo>
                  <a:pt x="393700" y="105022"/>
                  <a:pt x="365125" y="66922"/>
                  <a:pt x="325438" y="36760"/>
                </a:cubicBezTo>
                <a:cubicBezTo>
                  <a:pt x="323850" y="35172"/>
                  <a:pt x="322263" y="35172"/>
                  <a:pt x="320675" y="33585"/>
                </a:cubicBezTo>
                <a:cubicBezTo>
                  <a:pt x="301625" y="20885"/>
                  <a:pt x="280988" y="12947"/>
                  <a:pt x="260350" y="6597"/>
                </a:cubicBezTo>
                <a:cubicBezTo>
                  <a:pt x="130175" y="-23565"/>
                  <a:pt x="31750" y="54222"/>
                  <a:pt x="0" y="147885"/>
                </a:cubicBezTo>
                <a:cubicBezTo>
                  <a:pt x="0" y="149472"/>
                  <a:pt x="0" y="149472"/>
                  <a:pt x="0" y="151060"/>
                </a:cubicBezTo>
                <a:cubicBezTo>
                  <a:pt x="0" y="151060"/>
                  <a:pt x="0" y="151060"/>
                  <a:pt x="0" y="151060"/>
                </a:cubicBezTo>
                <a:cubicBezTo>
                  <a:pt x="0" y="152647"/>
                  <a:pt x="3175" y="203447"/>
                  <a:pt x="31750" y="239959"/>
                </a:cubicBezTo>
                <a:cubicBezTo>
                  <a:pt x="39688" y="249484"/>
                  <a:pt x="50800" y="254247"/>
                  <a:pt x="61913" y="254247"/>
                </a:cubicBezTo>
                <a:cubicBezTo>
                  <a:pt x="68263" y="254247"/>
                  <a:pt x="73025" y="252659"/>
                  <a:pt x="79375" y="249484"/>
                </a:cubicBezTo>
                <a:cubicBezTo>
                  <a:pt x="79375" y="249484"/>
                  <a:pt x="93663" y="241547"/>
                  <a:pt x="104775" y="236784"/>
                </a:cubicBezTo>
                <a:lnTo>
                  <a:pt x="185738" y="295522"/>
                </a:lnTo>
                <a:cubicBezTo>
                  <a:pt x="192088" y="300284"/>
                  <a:pt x="196850" y="306634"/>
                  <a:pt x="201613" y="312984"/>
                </a:cubicBezTo>
                <a:lnTo>
                  <a:pt x="227013" y="363784"/>
                </a:lnTo>
                <a:cubicBezTo>
                  <a:pt x="228600" y="366959"/>
                  <a:pt x="231775" y="368546"/>
                  <a:pt x="233363" y="368546"/>
                </a:cubicBezTo>
                <a:cubicBezTo>
                  <a:pt x="234950" y="368546"/>
                  <a:pt x="236538" y="368546"/>
                  <a:pt x="236538" y="366959"/>
                </a:cubicBezTo>
                <a:cubicBezTo>
                  <a:pt x="239713" y="365371"/>
                  <a:pt x="241300" y="360609"/>
                  <a:pt x="239713" y="355846"/>
                </a:cubicBezTo>
                <a:lnTo>
                  <a:pt x="214313" y="305047"/>
                </a:lnTo>
                <a:cubicBezTo>
                  <a:pt x="212725" y="301872"/>
                  <a:pt x="211138" y="300284"/>
                  <a:pt x="209550" y="298697"/>
                </a:cubicBezTo>
                <a:lnTo>
                  <a:pt x="274638" y="227259"/>
                </a:lnTo>
                <a:cubicBezTo>
                  <a:pt x="327025" y="224084"/>
                  <a:pt x="379413" y="187572"/>
                  <a:pt x="406400" y="155822"/>
                </a:cubicBezTo>
                <a:cubicBezTo>
                  <a:pt x="406400" y="155822"/>
                  <a:pt x="406400" y="155822"/>
                  <a:pt x="406400" y="155822"/>
                </a:cubicBezTo>
                <a:cubicBezTo>
                  <a:pt x="406400" y="154235"/>
                  <a:pt x="406400" y="152647"/>
                  <a:pt x="406400" y="151060"/>
                </a:cubicBezTo>
                <a:cubicBezTo>
                  <a:pt x="406400" y="151060"/>
                  <a:pt x="406400" y="151060"/>
                  <a:pt x="406400" y="151060"/>
                </a:cubicBezTo>
                <a:close/>
                <a:moveTo>
                  <a:pt x="255588" y="22472"/>
                </a:moveTo>
                <a:cubicBezTo>
                  <a:pt x="274638" y="27235"/>
                  <a:pt x="293688" y="35172"/>
                  <a:pt x="311150" y="46285"/>
                </a:cubicBezTo>
                <a:cubicBezTo>
                  <a:pt x="312738" y="47872"/>
                  <a:pt x="314325" y="47872"/>
                  <a:pt x="315913" y="49460"/>
                </a:cubicBezTo>
                <a:cubicBezTo>
                  <a:pt x="349250" y="74860"/>
                  <a:pt x="374650" y="106610"/>
                  <a:pt x="387350" y="141535"/>
                </a:cubicBezTo>
                <a:lnTo>
                  <a:pt x="19050" y="143122"/>
                </a:lnTo>
                <a:cubicBezTo>
                  <a:pt x="50800" y="60572"/>
                  <a:pt x="139700" y="-4515"/>
                  <a:pt x="255588" y="22472"/>
                </a:cubicBezTo>
                <a:close/>
                <a:moveTo>
                  <a:pt x="119063" y="227259"/>
                </a:moveTo>
                <a:cubicBezTo>
                  <a:pt x="120650" y="227259"/>
                  <a:pt x="120650" y="225672"/>
                  <a:pt x="122238" y="225672"/>
                </a:cubicBezTo>
                <a:cubicBezTo>
                  <a:pt x="139700" y="216147"/>
                  <a:pt x="177800" y="197097"/>
                  <a:pt x="219075" y="216147"/>
                </a:cubicBezTo>
                <a:cubicBezTo>
                  <a:pt x="230188" y="220909"/>
                  <a:pt x="241300" y="224084"/>
                  <a:pt x="252413" y="225672"/>
                </a:cubicBezTo>
                <a:lnTo>
                  <a:pt x="198438" y="285997"/>
                </a:lnTo>
                <a:cubicBezTo>
                  <a:pt x="196850" y="284409"/>
                  <a:pt x="195263" y="282822"/>
                  <a:pt x="193675" y="281234"/>
                </a:cubicBezTo>
                <a:lnTo>
                  <a:pt x="119063" y="227259"/>
                </a:lnTo>
                <a:close/>
                <a:moveTo>
                  <a:pt x="269875" y="211384"/>
                </a:moveTo>
                <a:cubicBezTo>
                  <a:pt x="269875" y="211384"/>
                  <a:pt x="269875" y="211384"/>
                  <a:pt x="269875" y="211384"/>
                </a:cubicBezTo>
                <a:cubicBezTo>
                  <a:pt x="254000" y="211384"/>
                  <a:pt x="239713" y="209797"/>
                  <a:pt x="225425" y="203447"/>
                </a:cubicBezTo>
                <a:cubicBezTo>
                  <a:pt x="176213" y="179634"/>
                  <a:pt x="134938" y="201859"/>
                  <a:pt x="114300" y="212972"/>
                </a:cubicBezTo>
                <a:cubicBezTo>
                  <a:pt x="112713" y="214559"/>
                  <a:pt x="111125" y="214559"/>
                  <a:pt x="109538" y="216147"/>
                </a:cubicBezTo>
                <a:cubicBezTo>
                  <a:pt x="104775" y="217734"/>
                  <a:pt x="71438" y="236784"/>
                  <a:pt x="71438" y="236784"/>
                </a:cubicBezTo>
                <a:cubicBezTo>
                  <a:pt x="61913" y="241547"/>
                  <a:pt x="52388" y="238372"/>
                  <a:pt x="44450" y="230434"/>
                </a:cubicBezTo>
                <a:cubicBezTo>
                  <a:pt x="25400" y="206622"/>
                  <a:pt x="19050" y="174872"/>
                  <a:pt x="17463" y="158997"/>
                </a:cubicBezTo>
                <a:lnTo>
                  <a:pt x="381000" y="158997"/>
                </a:lnTo>
                <a:cubicBezTo>
                  <a:pt x="354013" y="184397"/>
                  <a:pt x="311150" y="209797"/>
                  <a:pt x="269875" y="211384"/>
                </a:cubicBezTo>
                <a:close/>
              </a:path>
            </a:pathLst>
          </a:custGeom>
          <a:solidFill>
            <a:srgbClr val="101010"/>
          </a:solidFill>
          <a:ln w="15753" cap="flat">
            <a:noFill/>
            <a:prstDash val="solid"/>
            <a:miter/>
          </a:ln>
        </p:spPr>
        <p:txBody>
          <a:bodyPr rtlCol="0" anchor="ctr"/>
          <a:lstStyle/>
          <a:p>
            <a:endParaRPr lang="de-DE"/>
          </a:p>
        </p:txBody>
      </p:sp>
      <p:grpSp>
        <p:nvGrpSpPr>
          <p:cNvPr id="5261" name="Graphic 3">
            <a:extLst>
              <a:ext uri="{FF2B5EF4-FFF2-40B4-BE49-F238E27FC236}">
                <a16:creationId xmlns:a16="http://schemas.microsoft.com/office/drawing/2014/main" id="{39A55DFF-7B42-4B5E-AA58-7FC37C4D40C6}"/>
              </a:ext>
              <a:ext uri="{C183D7F6-B498-43B3-948B-1728B52AA6E4}">
                <adec:decorative xmlns:adec="http://schemas.microsoft.com/office/drawing/2017/decorative" val="1"/>
              </a:ext>
            </a:extLst>
          </p:cNvPr>
          <p:cNvGrpSpPr>
            <a:grpSpLocks noChangeAspect="1"/>
          </p:cNvGrpSpPr>
          <p:nvPr/>
        </p:nvGrpSpPr>
        <p:grpSpPr>
          <a:xfrm>
            <a:off x="2601756" y="4203938"/>
            <a:ext cx="90243" cy="64974"/>
            <a:chOff x="5976898" y="3343377"/>
            <a:chExt cx="238125" cy="171450"/>
          </a:xfrm>
          <a:solidFill>
            <a:srgbClr val="101010"/>
          </a:solidFill>
        </p:grpSpPr>
        <p:sp>
          <p:nvSpPr>
            <p:cNvPr id="5262" name="Freeform: Shape 5261">
              <a:extLst>
                <a:ext uri="{FF2B5EF4-FFF2-40B4-BE49-F238E27FC236}">
                  <a16:creationId xmlns:a16="http://schemas.microsoft.com/office/drawing/2014/main" id="{58890A71-901E-40F1-BB00-BC47E9CF2151}"/>
                </a:ext>
              </a:extLst>
            </p:cNvPr>
            <p:cNvSpPr/>
            <p:nvPr/>
          </p:nvSpPr>
          <p:spPr>
            <a:xfrm>
              <a:off x="5977890" y="3440430"/>
              <a:ext cx="228600" cy="76200"/>
            </a:xfrm>
            <a:custGeom>
              <a:avLst/>
              <a:gdLst>
                <a:gd name="connsiteX0" fmla="*/ 236220 w 228600"/>
                <a:gd name="connsiteY0" fmla="*/ 6667 h 76200"/>
                <a:gd name="connsiteX1" fmla="*/ 226695 w 228600"/>
                <a:gd name="connsiteY1" fmla="*/ 0 h 76200"/>
                <a:gd name="connsiteX2" fmla="*/ 4763 w 228600"/>
                <a:gd name="connsiteY2" fmla="*/ 0 h 76200"/>
                <a:gd name="connsiteX3" fmla="*/ 0 w 228600"/>
                <a:gd name="connsiteY3" fmla="*/ 4763 h 76200"/>
                <a:gd name="connsiteX4" fmla="*/ 4763 w 228600"/>
                <a:gd name="connsiteY4" fmla="*/ 9525 h 76200"/>
                <a:gd name="connsiteX5" fmla="*/ 226695 w 228600"/>
                <a:gd name="connsiteY5" fmla="*/ 9525 h 76200"/>
                <a:gd name="connsiteX6" fmla="*/ 227648 w 228600"/>
                <a:gd name="connsiteY6" fmla="*/ 10478 h 76200"/>
                <a:gd name="connsiteX7" fmla="*/ 170498 w 228600"/>
                <a:gd name="connsiteY7" fmla="*/ 69533 h 76200"/>
                <a:gd name="connsiteX8" fmla="*/ 170498 w 228600"/>
                <a:gd name="connsiteY8" fmla="*/ 76200 h 76200"/>
                <a:gd name="connsiteX9" fmla="*/ 173355 w 228600"/>
                <a:gd name="connsiteY9" fmla="*/ 77152 h 76200"/>
                <a:gd name="connsiteX10" fmla="*/ 177165 w 228600"/>
                <a:gd name="connsiteY10" fmla="*/ 75248 h 76200"/>
                <a:gd name="connsiteX11" fmla="*/ 234315 w 228600"/>
                <a:gd name="connsiteY11" fmla="*/ 16192 h 76200"/>
                <a:gd name="connsiteX12" fmla="*/ 236220 w 228600"/>
                <a:gd name="connsiteY12" fmla="*/ 66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600" h="76200">
                  <a:moveTo>
                    <a:pt x="236220" y="6667"/>
                  </a:moveTo>
                  <a:cubicBezTo>
                    <a:pt x="234315" y="2858"/>
                    <a:pt x="230505" y="0"/>
                    <a:pt x="226695" y="0"/>
                  </a:cubicBezTo>
                  <a:lnTo>
                    <a:pt x="4763" y="0"/>
                  </a:lnTo>
                  <a:cubicBezTo>
                    <a:pt x="1905" y="0"/>
                    <a:pt x="0" y="1905"/>
                    <a:pt x="0" y="4763"/>
                  </a:cubicBezTo>
                  <a:cubicBezTo>
                    <a:pt x="0" y="7620"/>
                    <a:pt x="1905" y="9525"/>
                    <a:pt x="4763" y="9525"/>
                  </a:cubicBezTo>
                  <a:lnTo>
                    <a:pt x="226695" y="9525"/>
                  </a:lnTo>
                  <a:lnTo>
                    <a:pt x="227648" y="10478"/>
                  </a:lnTo>
                  <a:lnTo>
                    <a:pt x="170498" y="69533"/>
                  </a:lnTo>
                  <a:cubicBezTo>
                    <a:pt x="168593" y="71438"/>
                    <a:pt x="168593" y="74295"/>
                    <a:pt x="170498" y="76200"/>
                  </a:cubicBezTo>
                  <a:cubicBezTo>
                    <a:pt x="171450" y="77152"/>
                    <a:pt x="172403" y="77152"/>
                    <a:pt x="173355" y="77152"/>
                  </a:cubicBezTo>
                  <a:cubicBezTo>
                    <a:pt x="174308" y="77152"/>
                    <a:pt x="176213" y="76200"/>
                    <a:pt x="177165" y="75248"/>
                  </a:cubicBezTo>
                  <a:lnTo>
                    <a:pt x="234315" y="16192"/>
                  </a:lnTo>
                  <a:cubicBezTo>
                    <a:pt x="237173" y="14288"/>
                    <a:pt x="238125" y="10478"/>
                    <a:pt x="236220" y="6667"/>
                  </a:cubicBezTo>
                  <a:close/>
                </a:path>
              </a:pathLst>
            </a:custGeom>
            <a:solidFill>
              <a:srgbClr val="101010"/>
            </a:solidFill>
            <a:ln w="9525" cap="flat">
              <a:noFill/>
              <a:prstDash val="solid"/>
              <a:miter/>
            </a:ln>
          </p:spPr>
          <p:txBody>
            <a:bodyPr rtlCol="0" anchor="ctr"/>
            <a:lstStyle/>
            <a:p>
              <a:endParaRPr lang="de-DE"/>
            </a:p>
          </p:txBody>
        </p:sp>
        <p:sp>
          <p:nvSpPr>
            <p:cNvPr id="5263" name="Freeform: Shape 5262">
              <a:extLst>
                <a:ext uri="{FF2B5EF4-FFF2-40B4-BE49-F238E27FC236}">
                  <a16:creationId xmlns:a16="http://schemas.microsoft.com/office/drawing/2014/main" id="{05974060-8FBC-4E9E-83FD-CA3551079CF2}"/>
                </a:ext>
              </a:extLst>
            </p:cNvPr>
            <p:cNvSpPr/>
            <p:nvPr/>
          </p:nvSpPr>
          <p:spPr>
            <a:xfrm>
              <a:off x="5976898" y="3343377"/>
              <a:ext cx="228600" cy="76200"/>
            </a:xfrm>
            <a:custGeom>
              <a:avLst/>
              <a:gdLst>
                <a:gd name="connsiteX0" fmla="*/ 10516 w 228600"/>
                <a:gd name="connsiteY0" fmla="*/ 78003 h 76200"/>
                <a:gd name="connsiteX1" fmla="*/ 232449 w 228600"/>
                <a:gd name="connsiteY1" fmla="*/ 78003 h 76200"/>
                <a:gd name="connsiteX2" fmla="*/ 237211 w 228600"/>
                <a:gd name="connsiteY2" fmla="*/ 73241 h 76200"/>
                <a:gd name="connsiteX3" fmla="*/ 232449 w 228600"/>
                <a:gd name="connsiteY3" fmla="*/ 68478 h 76200"/>
                <a:gd name="connsiteX4" fmla="*/ 10516 w 228600"/>
                <a:gd name="connsiteY4" fmla="*/ 68478 h 76200"/>
                <a:gd name="connsiteX5" fmla="*/ 9564 w 228600"/>
                <a:gd name="connsiteY5" fmla="*/ 67526 h 76200"/>
                <a:gd name="connsiteX6" fmla="*/ 66714 w 228600"/>
                <a:gd name="connsiteY6" fmla="*/ 8471 h 76200"/>
                <a:gd name="connsiteX7" fmla="*/ 66714 w 228600"/>
                <a:gd name="connsiteY7" fmla="*/ 1803 h 76200"/>
                <a:gd name="connsiteX8" fmla="*/ 60046 w 228600"/>
                <a:gd name="connsiteY8" fmla="*/ 1803 h 76200"/>
                <a:gd name="connsiteX9" fmla="*/ 2896 w 228600"/>
                <a:gd name="connsiteY9" fmla="*/ 60858 h 76200"/>
                <a:gd name="connsiteX10" fmla="*/ 991 w 228600"/>
                <a:gd name="connsiteY10" fmla="*/ 72288 h 76200"/>
                <a:gd name="connsiteX11" fmla="*/ 10516 w 228600"/>
                <a:gd name="connsiteY11" fmla="*/ 78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 h="76200">
                  <a:moveTo>
                    <a:pt x="10516" y="78003"/>
                  </a:moveTo>
                  <a:lnTo>
                    <a:pt x="232449" y="78003"/>
                  </a:lnTo>
                  <a:cubicBezTo>
                    <a:pt x="235306" y="78003"/>
                    <a:pt x="237211" y="76098"/>
                    <a:pt x="237211" y="73241"/>
                  </a:cubicBezTo>
                  <a:cubicBezTo>
                    <a:pt x="237211" y="70383"/>
                    <a:pt x="235306" y="68478"/>
                    <a:pt x="232449" y="68478"/>
                  </a:cubicBezTo>
                  <a:lnTo>
                    <a:pt x="10516" y="68478"/>
                  </a:lnTo>
                  <a:lnTo>
                    <a:pt x="9564" y="67526"/>
                  </a:lnTo>
                  <a:lnTo>
                    <a:pt x="66714" y="8471"/>
                  </a:lnTo>
                  <a:cubicBezTo>
                    <a:pt x="68619" y="6566"/>
                    <a:pt x="68619" y="3708"/>
                    <a:pt x="66714" y="1803"/>
                  </a:cubicBezTo>
                  <a:cubicBezTo>
                    <a:pt x="64809" y="-1054"/>
                    <a:pt x="61951" y="-102"/>
                    <a:pt x="60046" y="1803"/>
                  </a:cubicBezTo>
                  <a:lnTo>
                    <a:pt x="2896" y="60858"/>
                  </a:lnTo>
                  <a:cubicBezTo>
                    <a:pt x="39" y="63716"/>
                    <a:pt x="-914" y="68478"/>
                    <a:pt x="991" y="72288"/>
                  </a:cubicBezTo>
                  <a:cubicBezTo>
                    <a:pt x="2896" y="76098"/>
                    <a:pt x="5754" y="78003"/>
                    <a:pt x="10516" y="78003"/>
                  </a:cubicBezTo>
                  <a:close/>
                </a:path>
              </a:pathLst>
            </a:custGeom>
            <a:solidFill>
              <a:srgbClr val="101010"/>
            </a:solidFill>
            <a:ln w="9525" cap="flat">
              <a:noFill/>
              <a:prstDash val="solid"/>
              <a:miter/>
            </a:ln>
          </p:spPr>
          <p:txBody>
            <a:bodyPr rtlCol="0" anchor="ctr"/>
            <a:lstStyle/>
            <a:p>
              <a:endParaRPr lang="de-DE"/>
            </a:p>
          </p:txBody>
        </p:sp>
      </p:grpSp>
      <p:grpSp>
        <p:nvGrpSpPr>
          <p:cNvPr id="5264" name="Graphic 3">
            <a:extLst>
              <a:ext uri="{FF2B5EF4-FFF2-40B4-BE49-F238E27FC236}">
                <a16:creationId xmlns:a16="http://schemas.microsoft.com/office/drawing/2014/main" id="{6190C53D-5089-443F-9670-A2EFA4C19987}"/>
              </a:ext>
              <a:ext uri="{C183D7F6-B498-43B3-948B-1728B52AA6E4}">
                <adec:decorative xmlns:adec="http://schemas.microsoft.com/office/drawing/2017/decorative" val="1"/>
              </a:ext>
            </a:extLst>
          </p:cNvPr>
          <p:cNvGrpSpPr>
            <a:grpSpLocks noChangeAspect="1"/>
          </p:cNvGrpSpPr>
          <p:nvPr/>
        </p:nvGrpSpPr>
        <p:grpSpPr>
          <a:xfrm>
            <a:off x="2849669" y="4197387"/>
            <a:ext cx="127389" cy="78077"/>
            <a:chOff x="5862887" y="3286125"/>
            <a:chExt cx="466226" cy="285750"/>
          </a:xfrm>
          <a:solidFill>
            <a:srgbClr val="101010"/>
          </a:solidFill>
        </p:grpSpPr>
        <p:sp>
          <p:nvSpPr>
            <p:cNvPr id="5265" name="Freeform: Shape 5264">
              <a:extLst>
                <a:ext uri="{FF2B5EF4-FFF2-40B4-BE49-F238E27FC236}">
                  <a16:creationId xmlns:a16="http://schemas.microsoft.com/office/drawing/2014/main" id="{27AD43D7-246F-414A-B25E-3EAF6B5B7CE1}"/>
                </a:ext>
              </a:extLst>
            </p:cNvPr>
            <p:cNvSpPr/>
            <p:nvPr/>
          </p:nvSpPr>
          <p:spPr>
            <a:xfrm>
              <a:off x="6064417" y="3380874"/>
              <a:ext cx="60158" cy="75197"/>
            </a:xfrm>
            <a:custGeom>
              <a:avLst/>
              <a:gdLst>
                <a:gd name="connsiteX0" fmla="*/ 0 w 60158"/>
                <a:gd name="connsiteY0" fmla="*/ 52638 h 75197"/>
                <a:gd name="connsiteX1" fmla="*/ 28575 w 60158"/>
                <a:gd name="connsiteY1" fmla="*/ 54142 h 75197"/>
                <a:gd name="connsiteX2" fmla="*/ 21055 w 60158"/>
                <a:gd name="connsiteY2" fmla="*/ 84221 h 75197"/>
                <a:gd name="connsiteX3" fmla="*/ 63166 w 60158"/>
                <a:gd name="connsiteY3" fmla="*/ 31583 h 75197"/>
                <a:gd name="connsiteX4" fmla="*/ 34591 w 60158"/>
                <a:gd name="connsiteY4" fmla="*/ 30079 h 75197"/>
                <a:gd name="connsiteX5" fmla="*/ 42111 w 60158"/>
                <a:gd name="connsiteY5" fmla="*/ 0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58" h="75197">
                  <a:moveTo>
                    <a:pt x="0" y="52638"/>
                  </a:moveTo>
                  <a:lnTo>
                    <a:pt x="28575" y="54142"/>
                  </a:lnTo>
                  <a:lnTo>
                    <a:pt x="21055" y="84221"/>
                  </a:lnTo>
                  <a:lnTo>
                    <a:pt x="63166" y="31583"/>
                  </a:lnTo>
                  <a:lnTo>
                    <a:pt x="34591" y="30079"/>
                  </a:lnTo>
                  <a:lnTo>
                    <a:pt x="42111" y="0"/>
                  </a:lnTo>
                  <a:close/>
                </a:path>
              </a:pathLst>
            </a:custGeom>
            <a:solidFill>
              <a:srgbClr val="101010"/>
            </a:solidFill>
            <a:ln w="14748" cap="flat">
              <a:noFill/>
              <a:prstDash val="solid"/>
              <a:miter/>
            </a:ln>
          </p:spPr>
          <p:txBody>
            <a:bodyPr rtlCol="0" anchor="ctr"/>
            <a:lstStyle/>
            <a:p>
              <a:endParaRPr lang="de-DE"/>
            </a:p>
          </p:txBody>
        </p:sp>
        <p:sp>
          <p:nvSpPr>
            <p:cNvPr id="5266" name="Freeform: Shape 5265">
              <a:extLst>
                <a:ext uri="{FF2B5EF4-FFF2-40B4-BE49-F238E27FC236}">
                  <a16:creationId xmlns:a16="http://schemas.microsoft.com/office/drawing/2014/main" id="{EABA61C7-3B85-4B8F-AA13-CD09B74E3539}"/>
                </a:ext>
              </a:extLst>
            </p:cNvPr>
            <p:cNvSpPr/>
            <p:nvPr/>
          </p:nvSpPr>
          <p:spPr>
            <a:xfrm>
              <a:off x="5862887" y="3286125"/>
              <a:ext cx="466226" cy="285750"/>
            </a:xfrm>
            <a:custGeom>
              <a:avLst/>
              <a:gdLst>
                <a:gd name="connsiteX0" fmla="*/ 391028 w 466226"/>
                <a:gd name="connsiteY0" fmla="*/ 135355 h 285750"/>
                <a:gd name="connsiteX1" fmla="*/ 368469 w 466226"/>
                <a:gd name="connsiteY1" fmla="*/ 139867 h 285750"/>
                <a:gd name="connsiteX2" fmla="*/ 308311 w 466226"/>
                <a:gd name="connsiteY2" fmla="*/ 4512 h 285750"/>
                <a:gd name="connsiteX3" fmla="*/ 300791 w 466226"/>
                <a:gd name="connsiteY3" fmla="*/ 0 h 285750"/>
                <a:gd name="connsiteX4" fmla="*/ 255672 w 466226"/>
                <a:gd name="connsiteY4" fmla="*/ 0 h 285750"/>
                <a:gd name="connsiteX5" fmla="*/ 248153 w 466226"/>
                <a:gd name="connsiteY5" fmla="*/ 7520 h 285750"/>
                <a:gd name="connsiteX6" fmla="*/ 255672 w 466226"/>
                <a:gd name="connsiteY6" fmla="*/ 15039 h 285750"/>
                <a:gd name="connsiteX7" fmla="*/ 296279 w 466226"/>
                <a:gd name="connsiteY7" fmla="*/ 15039 h 285750"/>
                <a:gd name="connsiteX8" fmla="*/ 320342 w 466226"/>
                <a:gd name="connsiteY8" fmla="*/ 69182 h 285750"/>
                <a:gd name="connsiteX9" fmla="*/ 159419 w 466226"/>
                <a:gd name="connsiteY9" fmla="*/ 69182 h 285750"/>
                <a:gd name="connsiteX10" fmla="*/ 156411 w 466226"/>
                <a:gd name="connsiteY10" fmla="*/ 60158 h 285750"/>
                <a:gd name="connsiteX11" fmla="*/ 172955 w 466226"/>
                <a:gd name="connsiteY11" fmla="*/ 60158 h 285750"/>
                <a:gd name="connsiteX12" fmla="*/ 195514 w 466226"/>
                <a:gd name="connsiteY12" fmla="*/ 37599 h 285750"/>
                <a:gd name="connsiteX13" fmla="*/ 172955 w 466226"/>
                <a:gd name="connsiteY13" fmla="*/ 15039 h 285750"/>
                <a:gd name="connsiteX14" fmla="*/ 97757 w 466226"/>
                <a:gd name="connsiteY14" fmla="*/ 15039 h 285750"/>
                <a:gd name="connsiteX15" fmla="*/ 91741 w 466226"/>
                <a:gd name="connsiteY15" fmla="*/ 19551 h 285750"/>
                <a:gd name="connsiteX16" fmla="*/ 91741 w 466226"/>
                <a:gd name="connsiteY16" fmla="*/ 27071 h 285750"/>
                <a:gd name="connsiteX17" fmla="*/ 105277 w 466226"/>
                <a:gd name="connsiteY17" fmla="*/ 49630 h 285750"/>
                <a:gd name="connsiteX18" fmla="*/ 124828 w 466226"/>
                <a:gd name="connsiteY18" fmla="*/ 60158 h 285750"/>
                <a:gd name="connsiteX19" fmla="*/ 141372 w 466226"/>
                <a:gd name="connsiteY19" fmla="*/ 60158 h 285750"/>
                <a:gd name="connsiteX20" fmla="*/ 147388 w 466226"/>
                <a:gd name="connsiteY20" fmla="*/ 76701 h 285750"/>
                <a:gd name="connsiteX21" fmla="*/ 106781 w 466226"/>
                <a:gd name="connsiteY21" fmla="*/ 142875 h 285750"/>
                <a:gd name="connsiteX22" fmla="*/ 75198 w 466226"/>
                <a:gd name="connsiteY22" fmla="*/ 135355 h 285750"/>
                <a:gd name="connsiteX23" fmla="*/ 0 w 466226"/>
                <a:gd name="connsiteY23" fmla="*/ 210553 h 285750"/>
                <a:gd name="connsiteX24" fmla="*/ 75198 w 466226"/>
                <a:gd name="connsiteY24" fmla="*/ 285750 h 285750"/>
                <a:gd name="connsiteX25" fmla="*/ 148892 w 466226"/>
                <a:gd name="connsiteY25" fmla="*/ 218072 h 285750"/>
                <a:gd name="connsiteX26" fmla="*/ 186490 w 466226"/>
                <a:gd name="connsiteY26" fmla="*/ 218072 h 285750"/>
                <a:gd name="connsiteX27" fmla="*/ 209050 w 466226"/>
                <a:gd name="connsiteY27" fmla="*/ 234616 h 285750"/>
                <a:gd name="connsiteX28" fmla="*/ 218073 w 466226"/>
                <a:gd name="connsiteY28" fmla="*/ 233112 h 285750"/>
                <a:gd name="connsiteX29" fmla="*/ 231609 w 466226"/>
                <a:gd name="connsiteY29" fmla="*/ 218072 h 285750"/>
                <a:gd name="connsiteX30" fmla="*/ 255672 w 466226"/>
                <a:gd name="connsiteY30" fmla="*/ 218072 h 285750"/>
                <a:gd name="connsiteX31" fmla="*/ 263192 w 466226"/>
                <a:gd name="connsiteY31" fmla="*/ 210553 h 285750"/>
                <a:gd name="connsiteX32" fmla="*/ 255672 w 466226"/>
                <a:gd name="connsiteY32" fmla="*/ 203033 h 285750"/>
                <a:gd name="connsiteX33" fmla="*/ 242137 w 466226"/>
                <a:gd name="connsiteY33" fmla="*/ 203033 h 285750"/>
                <a:gd name="connsiteX34" fmla="*/ 330870 w 466226"/>
                <a:gd name="connsiteY34" fmla="*/ 91741 h 285750"/>
                <a:gd name="connsiteX35" fmla="*/ 354933 w 466226"/>
                <a:gd name="connsiteY35" fmla="*/ 145883 h 285750"/>
                <a:gd name="connsiteX36" fmla="*/ 315831 w 466226"/>
                <a:gd name="connsiteY36" fmla="*/ 210553 h 285750"/>
                <a:gd name="connsiteX37" fmla="*/ 391028 w 466226"/>
                <a:gd name="connsiteY37" fmla="*/ 285750 h 285750"/>
                <a:gd name="connsiteX38" fmla="*/ 466226 w 466226"/>
                <a:gd name="connsiteY38" fmla="*/ 210553 h 285750"/>
                <a:gd name="connsiteX39" fmla="*/ 391028 w 466226"/>
                <a:gd name="connsiteY39" fmla="*/ 135355 h 285750"/>
                <a:gd name="connsiteX40" fmla="*/ 117308 w 466226"/>
                <a:gd name="connsiteY40" fmla="*/ 42111 h 285750"/>
                <a:gd name="connsiteX41" fmla="*/ 111293 w 466226"/>
                <a:gd name="connsiteY41" fmla="*/ 30079 h 285750"/>
                <a:gd name="connsiteX42" fmla="*/ 172955 w 466226"/>
                <a:gd name="connsiteY42" fmla="*/ 30079 h 285750"/>
                <a:gd name="connsiteX43" fmla="*/ 180475 w 466226"/>
                <a:gd name="connsiteY43" fmla="*/ 37599 h 285750"/>
                <a:gd name="connsiteX44" fmla="*/ 172955 w 466226"/>
                <a:gd name="connsiteY44" fmla="*/ 45118 h 285750"/>
                <a:gd name="connsiteX45" fmla="*/ 124828 w 466226"/>
                <a:gd name="connsiteY45" fmla="*/ 45118 h 285750"/>
                <a:gd name="connsiteX46" fmla="*/ 117308 w 466226"/>
                <a:gd name="connsiteY46" fmla="*/ 42111 h 285750"/>
                <a:gd name="connsiteX47" fmla="*/ 148892 w 466226"/>
                <a:gd name="connsiteY47" fmla="*/ 100764 h 285750"/>
                <a:gd name="connsiteX48" fmla="*/ 153403 w 466226"/>
                <a:gd name="connsiteY48" fmla="*/ 93245 h 285750"/>
                <a:gd name="connsiteX49" fmla="*/ 192506 w 466226"/>
                <a:gd name="connsiteY49" fmla="*/ 194009 h 285750"/>
                <a:gd name="connsiteX50" fmla="*/ 187994 w 466226"/>
                <a:gd name="connsiteY50" fmla="*/ 201529 h 285750"/>
                <a:gd name="connsiteX51" fmla="*/ 148892 w 466226"/>
                <a:gd name="connsiteY51" fmla="*/ 201529 h 285750"/>
                <a:gd name="connsiteX52" fmla="*/ 118812 w 466226"/>
                <a:gd name="connsiteY52" fmla="*/ 148891 h 285750"/>
                <a:gd name="connsiteX53" fmla="*/ 148892 w 466226"/>
                <a:gd name="connsiteY53" fmla="*/ 100764 h 285750"/>
                <a:gd name="connsiteX54" fmla="*/ 133852 w 466226"/>
                <a:gd name="connsiteY54" fmla="*/ 203033 h 285750"/>
                <a:gd name="connsiteX55" fmla="*/ 88733 w 466226"/>
                <a:gd name="connsiteY55" fmla="*/ 203033 h 285750"/>
                <a:gd name="connsiteX56" fmla="*/ 112797 w 466226"/>
                <a:gd name="connsiteY56" fmla="*/ 163930 h 285750"/>
                <a:gd name="connsiteX57" fmla="*/ 133852 w 466226"/>
                <a:gd name="connsiteY57" fmla="*/ 203033 h 285750"/>
                <a:gd name="connsiteX58" fmla="*/ 75198 w 466226"/>
                <a:gd name="connsiteY58" fmla="*/ 270711 h 285750"/>
                <a:gd name="connsiteX59" fmla="*/ 15040 w 466226"/>
                <a:gd name="connsiteY59" fmla="*/ 210553 h 285750"/>
                <a:gd name="connsiteX60" fmla="*/ 75198 w 466226"/>
                <a:gd name="connsiteY60" fmla="*/ 150395 h 285750"/>
                <a:gd name="connsiteX61" fmla="*/ 99261 w 466226"/>
                <a:gd name="connsiteY61" fmla="*/ 154907 h 285750"/>
                <a:gd name="connsiteX62" fmla="*/ 69182 w 466226"/>
                <a:gd name="connsiteY62" fmla="*/ 206041 h 285750"/>
                <a:gd name="connsiteX63" fmla="*/ 69182 w 466226"/>
                <a:gd name="connsiteY63" fmla="*/ 213561 h 285750"/>
                <a:gd name="connsiteX64" fmla="*/ 75198 w 466226"/>
                <a:gd name="connsiteY64" fmla="*/ 218072 h 285750"/>
                <a:gd name="connsiteX65" fmla="*/ 133852 w 466226"/>
                <a:gd name="connsiteY65" fmla="*/ 218072 h 285750"/>
                <a:gd name="connsiteX66" fmla="*/ 75198 w 466226"/>
                <a:gd name="connsiteY66" fmla="*/ 270711 h 285750"/>
                <a:gd name="connsiteX67" fmla="*/ 213562 w 466226"/>
                <a:gd name="connsiteY67" fmla="*/ 219576 h 285750"/>
                <a:gd name="connsiteX68" fmla="*/ 200026 w 466226"/>
                <a:gd name="connsiteY68" fmla="*/ 210553 h 285750"/>
                <a:gd name="connsiteX69" fmla="*/ 206042 w 466226"/>
                <a:gd name="connsiteY69" fmla="*/ 201529 h 285750"/>
                <a:gd name="connsiteX70" fmla="*/ 209050 w 466226"/>
                <a:gd name="connsiteY70" fmla="*/ 201529 h 285750"/>
                <a:gd name="connsiteX71" fmla="*/ 218073 w 466226"/>
                <a:gd name="connsiteY71" fmla="*/ 210553 h 285750"/>
                <a:gd name="connsiteX72" fmla="*/ 213562 w 466226"/>
                <a:gd name="connsiteY72" fmla="*/ 219576 h 285750"/>
                <a:gd name="connsiteX73" fmla="*/ 230105 w 466226"/>
                <a:gd name="connsiteY73" fmla="*/ 195513 h 285750"/>
                <a:gd name="connsiteX74" fmla="*/ 210554 w 466226"/>
                <a:gd name="connsiteY74" fmla="*/ 186489 h 285750"/>
                <a:gd name="connsiteX75" fmla="*/ 204538 w 466226"/>
                <a:gd name="connsiteY75" fmla="*/ 186489 h 285750"/>
                <a:gd name="connsiteX76" fmla="*/ 165435 w 466226"/>
                <a:gd name="connsiteY76" fmla="*/ 84221 h 285750"/>
                <a:gd name="connsiteX77" fmla="*/ 315831 w 466226"/>
                <a:gd name="connsiteY77" fmla="*/ 84221 h 285750"/>
                <a:gd name="connsiteX78" fmla="*/ 230105 w 466226"/>
                <a:gd name="connsiteY78" fmla="*/ 195513 h 285750"/>
                <a:gd name="connsiteX79" fmla="*/ 391028 w 466226"/>
                <a:gd name="connsiteY79" fmla="*/ 270711 h 285750"/>
                <a:gd name="connsiteX80" fmla="*/ 330870 w 466226"/>
                <a:gd name="connsiteY80" fmla="*/ 210553 h 285750"/>
                <a:gd name="connsiteX81" fmla="*/ 360949 w 466226"/>
                <a:gd name="connsiteY81" fmla="*/ 159418 h 285750"/>
                <a:gd name="connsiteX82" fmla="*/ 385012 w 466226"/>
                <a:gd name="connsiteY82" fmla="*/ 213561 h 285750"/>
                <a:gd name="connsiteX83" fmla="*/ 392532 w 466226"/>
                <a:gd name="connsiteY83" fmla="*/ 218072 h 285750"/>
                <a:gd name="connsiteX84" fmla="*/ 395540 w 466226"/>
                <a:gd name="connsiteY84" fmla="*/ 218072 h 285750"/>
                <a:gd name="connsiteX85" fmla="*/ 400052 w 466226"/>
                <a:gd name="connsiteY85" fmla="*/ 207545 h 285750"/>
                <a:gd name="connsiteX86" fmla="*/ 375989 w 466226"/>
                <a:gd name="connsiteY86" fmla="*/ 153403 h 285750"/>
                <a:gd name="connsiteX87" fmla="*/ 392532 w 466226"/>
                <a:gd name="connsiteY87" fmla="*/ 150395 h 285750"/>
                <a:gd name="connsiteX88" fmla="*/ 452690 w 466226"/>
                <a:gd name="connsiteY88" fmla="*/ 210553 h 285750"/>
                <a:gd name="connsiteX89" fmla="*/ 391028 w 466226"/>
                <a:gd name="connsiteY89" fmla="*/ 2707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66226" h="285750">
                  <a:moveTo>
                    <a:pt x="391028" y="135355"/>
                  </a:moveTo>
                  <a:cubicBezTo>
                    <a:pt x="383508" y="135355"/>
                    <a:pt x="375989" y="136859"/>
                    <a:pt x="368469" y="139867"/>
                  </a:cubicBezTo>
                  <a:lnTo>
                    <a:pt x="308311" y="4512"/>
                  </a:lnTo>
                  <a:cubicBezTo>
                    <a:pt x="306807" y="1504"/>
                    <a:pt x="303799" y="0"/>
                    <a:pt x="300791" y="0"/>
                  </a:cubicBezTo>
                  <a:lnTo>
                    <a:pt x="255672" y="0"/>
                  </a:lnTo>
                  <a:cubicBezTo>
                    <a:pt x="251160" y="0"/>
                    <a:pt x="248153" y="3008"/>
                    <a:pt x="248153" y="7520"/>
                  </a:cubicBezTo>
                  <a:cubicBezTo>
                    <a:pt x="248153" y="12032"/>
                    <a:pt x="251160" y="15039"/>
                    <a:pt x="255672" y="15039"/>
                  </a:cubicBezTo>
                  <a:lnTo>
                    <a:pt x="296279" y="15039"/>
                  </a:lnTo>
                  <a:lnTo>
                    <a:pt x="320342" y="69182"/>
                  </a:lnTo>
                  <a:lnTo>
                    <a:pt x="159419" y="69182"/>
                  </a:lnTo>
                  <a:lnTo>
                    <a:pt x="156411" y="60158"/>
                  </a:lnTo>
                  <a:lnTo>
                    <a:pt x="172955" y="60158"/>
                  </a:lnTo>
                  <a:cubicBezTo>
                    <a:pt x="184986" y="60158"/>
                    <a:pt x="195514" y="49630"/>
                    <a:pt x="195514" y="37599"/>
                  </a:cubicBezTo>
                  <a:cubicBezTo>
                    <a:pt x="195514" y="25567"/>
                    <a:pt x="184986" y="15039"/>
                    <a:pt x="172955" y="15039"/>
                  </a:cubicBezTo>
                  <a:lnTo>
                    <a:pt x="97757" y="15039"/>
                  </a:lnTo>
                  <a:cubicBezTo>
                    <a:pt x="94749" y="15039"/>
                    <a:pt x="93245" y="16543"/>
                    <a:pt x="91741" y="19551"/>
                  </a:cubicBezTo>
                  <a:cubicBezTo>
                    <a:pt x="90237" y="21055"/>
                    <a:pt x="90237" y="24063"/>
                    <a:pt x="91741" y="27071"/>
                  </a:cubicBezTo>
                  <a:lnTo>
                    <a:pt x="105277" y="49630"/>
                  </a:lnTo>
                  <a:cubicBezTo>
                    <a:pt x="109789" y="55646"/>
                    <a:pt x="115805" y="60158"/>
                    <a:pt x="124828" y="60158"/>
                  </a:cubicBezTo>
                  <a:lnTo>
                    <a:pt x="141372" y="60158"/>
                  </a:lnTo>
                  <a:lnTo>
                    <a:pt x="147388" y="76701"/>
                  </a:lnTo>
                  <a:lnTo>
                    <a:pt x="106781" y="142875"/>
                  </a:lnTo>
                  <a:cubicBezTo>
                    <a:pt x="97757" y="138363"/>
                    <a:pt x="87229" y="135355"/>
                    <a:pt x="75198" y="135355"/>
                  </a:cubicBezTo>
                  <a:cubicBezTo>
                    <a:pt x="33087" y="135355"/>
                    <a:pt x="0" y="168442"/>
                    <a:pt x="0" y="210553"/>
                  </a:cubicBezTo>
                  <a:cubicBezTo>
                    <a:pt x="0" y="252663"/>
                    <a:pt x="33087" y="285750"/>
                    <a:pt x="75198" y="285750"/>
                  </a:cubicBezTo>
                  <a:cubicBezTo>
                    <a:pt x="114301" y="285750"/>
                    <a:pt x="145884" y="255671"/>
                    <a:pt x="148892" y="218072"/>
                  </a:cubicBezTo>
                  <a:lnTo>
                    <a:pt x="186490" y="218072"/>
                  </a:lnTo>
                  <a:cubicBezTo>
                    <a:pt x="189498" y="227096"/>
                    <a:pt x="198522" y="234616"/>
                    <a:pt x="209050" y="234616"/>
                  </a:cubicBezTo>
                  <a:cubicBezTo>
                    <a:pt x="212058" y="234616"/>
                    <a:pt x="215066" y="234616"/>
                    <a:pt x="218073" y="233112"/>
                  </a:cubicBezTo>
                  <a:cubicBezTo>
                    <a:pt x="224089" y="230104"/>
                    <a:pt x="230105" y="225592"/>
                    <a:pt x="231609" y="218072"/>
                  </a:cubicBezTo>
                  <a:lnTo>
                    <a:pt x="255672" y="218072"/>
                  </a:lnTo>
                  <a:cubicBezTo>
                    <a:pt x="260184" y="218072"/>
                    <a:pt x="263192" y="215064"/>
                    <a:pt x="263192" y="210553"/>
                  </a:cubicBezTo>
                  <a:cubicBezTo>
                    <a:pt x="263192" y="206041"/>
                    <a:pt x="260184" y="203033"/>
                    <a:pt x="255672" y="203033"/>
                  </a:cubicBezTo>
                  <a:lnTo>
                    <a:pt x="242137" y="203033"/>
                  </a:lnTo>
                  <a:lnTo>
                    <a:pt x="330870" y="91741"/>
                  </a:lnTo>
                  <a:lnTo>
                    <a:pt x="354933" y="145883"/>
                  </a:lnTo>
                  <a:cubicBezTo>
                    <a:pt x="330870" y="157914"/>
                    <a:pt x="315831" y="181978"/>
                    <a:pt x="315831" y="210553"/>
                  </a:cubicBezTo>
                  <a:cubicBezTo>
                    <a:pt x="315831" y="252663"/>
                    <a:pt x="348918" y="285750"/>
                    <a:pt x="391028" y="285750"/>
                  </a:cubicBezTo>
                  <a:cubicBezTo>
                    <a:pt x="433139" y="285750"/>
                    <a:pt x="466226" y="252663"/>
                    <a:pt x="466226" y="210553"/>
                  </a:cubicBezTo>
                  <a:cubicBezTo>
                    <a:pt x="466226" y="168442"/>
                    <a:pt x="433139" y="135355"/>
                    <a:pt x="391028" y="135355"/>
                  </a:cubicBezTo>
                  <a:close/>
                  <a:moveTo>
                    <a:pt x="117308" y="42111"/>
                  </a:moveTo>
                  <a:lnTo>
                    <a:pt x="111293" y="30079"/>
                  </a:lnTo>
                  <a:lnTo>
                    <a:pt x="172955" y="30079"/>
                  </a:lnTo>
                  <a:cubicBezTo>
                    <a:pt x="177467" y="30079"/>
                    <a:pt x="180475" y="33087"/>
                    <a:pt x="180475" y="37599"/>
                  </a:cubicBezTo>
                  <a:cubicBezTo>
                    <a:pt x="180475" y="42111"/>
                    <a:pt x="177467" y="45118"/>
                    <a:pt x="172955" y="45118"/>
                  </a:cubicBezTo>
                  <a:lnTo>
                    <a:pt x="124828" y="45118"/>
                  </a:lnTo>
                  <a:cubicBezTo>
                    <a:pt x="121820" y="45118"/>
                    <a:pt x="118812" y="43614"/>
                    <a:pt x="117308" y="42111"/>
                  </a:cubicBezTo>
                  <a:close/>
                  <a:moveTo>
                    <a:pt x="148892" y="100764"/>
                  </a:moveTo>
                  <a:lnTo>
                    <a:pt x="153403" y="93245"/>
                  </a:lnTo>
                  <a:lnTo>
                    <a:pt x="192506" y="194009"/>
                  </a:lnTo>
                  <a:cubicBezTo>
                    <a:pt x="191002" y="197017"/>
                    <a:pt x="189498" y="198521"/>
                    <a:pt x="187994" y="201529"/>
                  </a:cubicBezTo>
                  <a:lnTo>
                    <a:pt x="148892" y="201529"/>
                  </a:lnTo>
                  <a:cubicBezTo>
                    <a:pt x="147388" y="180474"/>
                    <a:pt x="135356" y="160922"/>
                    <a:pt x="118812" y="148891"/>
                  </a:cubicBezTo>
                  <a:lnTo>
                    <a:pt x="148892" y="100764"/>
                  </a:lnTo>
                  <a:close/>
                  <a:moveTo>
                    <a:pt x="133852" y="203033"/>
                  </a:moveTo>
                  <a:lnTo>
                    <a:pt x="88733" y="203033"/>
                  </a:lnTo>
                  <a:lnTo>
                    <a:pt x="112797" y="163930"/>
                  </a:lnTo>
                  <a:cubicBezTo>
                    <a:pt x="124828" y="172954"/>
                    <a:pt x="132348" y="186489"/>
                    <a:pt x="133852" y="203033"/>
                  </a:cubicBezTo>
                  <a:close/>
                  <a:moveTo>
                    <a:pt x="75198" y="270711"/>
                  </a:moveTo>
                  <a:cubicBezTo>
                    <a:pt x="42111" y="270711"/>
                    <a:pt x="15040" y="243639"/>
                    <a:pt x="15040" y="210553"/>
                  </a:cubicBezTo>
                  <a:cubicBezTo>
                    <a:pt x="15040" y="177466"/>
                    <a:pt x="42111" y="150395"/>
                    <a:pt x="75198" y="150395"/>
                  </a:cubicBezTo>
                  <a:cubicBezTo>
                    <a:pt x="84221" y="150395"/>
                    <a:pt x="91741" y="151899"/>
                    <a:pt x="99261" y="154907"/>
                  </a:cubicBezTo>
                  <a:lnTo>
                    <a:pt x="69182" y="206041"/>
                  </a:lnTo>
                  <a:cubicBezTo>
                    <a:pt x="67678" y="209049"/>
                    <a:pt x="67678" y="210553"/>
                    <a:pt x="69182" y="213561"/>
                  </a:cubicBezTo>
                  <a:cubicBezTo>
                    <a:pt x="70686" y="216568"/>
                    <a:pt x="73694" y="218072"/>
                    <a:pt x="75198" y="218072"/>
                  </a:cubicBezTo>
                  <a:lnTo>
                    <a:pt x="133852" y="218072"/>
                  </a:lnTo>
                  <a:cubicBezTo>
                    <a:pt x="130844" y="248151"/>
                    <a:pt x="105277" y="270711"/>
                    <a:pt x="75198" y="270711"/>
                  </a:cubicBezTo>
                  <a:close/>
                  <a:moveTo>
                    <a:pt x="213562" y="219576"/>
                  </a:moveTo>
                  <a:cubicBezTo>
                    <a:pt x="207546" y="222584"/>
                    <a:pt x="200026" y="218072"/>
                    <a:pt x="200026" y="210553"/>
                  </a:cubicBezTo>
                  <a:cubicBezTo>
                    <a:pt x="200026" y="206041"/>
                    <a:pt x="203034" y="203033"/>
                    <a:pt x="206042" y="201529"/>
                  </a:cubicBezTo>
                  <a:cubicBezTo>
                    <a:pt x="207546" y="201529"/>
                    <a:pt x="207546" y="201529"/>
                    <a:pt x="209050" y="201529"/>
                  </a:cubicBezTo>
                  <a:cubicBezTo>
                    <a:pt x="213562" y="201529"/>
                    <a:pt x="218073" y="206041"/>
                    <a:pt x="218073" y="210553"/>
                  </a:cubicBezTo>
                  <a:cubicBezTo>
                    <a:pt x="219577" y="213561"/>
                    <a:pt x="218073" y="218072"/>
                    <a:pt x="213562" y="219576"/>
                  </a:cubicBezTo>
                  <a:close/>
                  <a:moveTo>
                    <a:pt x="230105" y="195513"/>
                  </a:moveTo>
                  <a:cubicBezTo>
                    <a:pt x="225593" y="189497"/>
                    <a:pt x="219577" y="186489"/>
                    <a:pt x="210554" y="186489"/>
                  </a:cubicBezTo>
                  <a:cubicBezTo>
                    <a:pt x="209050" y="186489"/>
                    <a:pt x="206042" y="186489"/>
                    <a:pt x="204538" y="186489"/>
                  </a:cubicBezTo>
                  <a:lnTo>
                    <a:pt x="165435" y="84221"/>
                  </a:lnTo>
                  <a:lnTo>
                    <a:pt x="315831" y="84221"/>
                  </a:lnTo>
                  <a:lnTo>
                    <a:pt x="230105" y="195513"/>
                  </a:lnTo>
                  <a:close/>
                  <a:moveTo>
                    <a:pt x="391028" y="270711"/>
                  </a:moveTo>
                  <a:cubicBezTo>
                    <a:pt x="357941" y="270711"/>
                    <a:pt x="330870" y="243639"/>
                    <a:pt x="330870" y="210553"/>
                  </a:cubicBezTo>
                  <a:cubicBezTo>
                    <a:pt x="330870" y="187993"/>
                    <a:pt x="342902" y="169946"/>
                    <a:pt x="360949" y="159418"/>
                  </a:cubicBezTo>
                  <a:lnTo>
                    <a:pt x="385012" y="213561"/>
                  </a:lnTo>
                  <a:cubicBezTo>
                    <a:pt x="386516" y="216568"/>
                    <a:pt x="389524" y="218072"/>
                    <a:pt x="392532" y="218072"/>
                  </a:cubicBezTo>
                  <a:cubicBezTo>
                    <a:pt x="394036" y="218072"/>
                    <a:pt x="394036" y="218072"/>
                    <a:pt x="395540" y="218072"/>
                  </a:cubicBezTo>
                  <a:cubicBezTo>
                    <a:pt x="400052" y="216568"/>
                    <a:pt x="401556" y="212057"/>
                    <a:pt x="400052" y="207545"/>
                  </a:cubicBezTo>
                  <a:lnTo>
                    <a:pt x="375989" y="153403"/>
                  </a:lnTo>
                  <a:cubicBezTo>
                    <a:pt x="382005" y="151899"/>
                    <a:pt x="386516" y="150395"/>
                    <a:pt x="392532" y="150395"/>
                  </a:cubicBezTo>
                  <a:cubicBezTo>
                    <a:pt x="425619" y="150395"/>
                    <a:pt x="452690" y="177466"/>
                    <a:pt x="452690" y="210553"/>
                  </a:cubicBezTo>
                  <a:cubicBezTo>
                    <a:pt x="452690" y="243639"/>
                    <a:pt x="424115" y="270711"/>
                    <a:pt x="391028" y="270711"/>
                  </a:cubicBezTo>
                  <a:close/>
                </a:path>
              </a:pathLst>
            </a:custGeom>
            <a:solidFill>
              <a:srgbClr val="101010"/>
            </a:solidFill>
            <a:ln w="14748" cap="flat">
              <a:noFill/>
              <a:prstDash val="solid"/>
              <a:miter/>
            </a:ln>
          </p:spPr>
          <p:txBody>
            <a:bodyPr rtlCol="0" anchor="ctr"/>
            <a:lstStyle/>
            <a:p>
              <a:endParaRPr lang="de-DE"/>
            </a:p>
          </p:txBody>
        </p:sp>
      </p:grpSp>
      <p:sp>
        <p:nvSpPr>
          <p:cNvPr id="5267" name="Graphic 3">
            <a:extLst>
              <a:ext uri="{FF2B5EF4-FFF2-40B4-BE49-F238E27FC236}">
                <a16:creationId xmlns:a16="http://schemas.microsoft.com/office/drawing/2014/main" id="{987765AE-A35A-44EC-8B11-91F23CCC2B1A}"/>
              </a:ext>
              <a:ext uri="{C183D7F6-B498-43B3-948B-1728B52AA6E4}">
                <adec:decorative xmlns:adec="http://schemas.microsoft.com/office/drawing/2017/decorative" val="1"/>
              </a:ext>
            </a:extLst>
          </p:cNvPr>
          <p:cNvSpPr>
            <a:spLocks noChangeAspect="1"/>
          </p:cNvSpPr>
          <p:nvPr/>
        </p:nvSpPr>
        <p:spPr>
          <a:xfrm>
            <a:off x="3134728" y="4167891"/>
            <a:ext cx="120943" cy="137068"/>
          </a:xfrm>
          <a:custGeom>
            <a:avLst/>
            <a:gdLst>
              <a:gd name="connsiteX0" fmla="*/ 410174 w 442633"/>
              <a:gd name="connsiteY0" fmla="*/ 0 h 501650"/>
              <a:gd name="connsiteX1" fmla="*/ 300991 w 442633"/>
              <a:gd name="connsiteY1" fmla="*/ 0 h 501650"/>
              <a:gd name="connsiteX2" fmla="*/ 259678 w 442633"/>
              <a:gd name="connsiteY2" fmla="*/ 41312 h 501650"/>
              <a:gd name="connsiteX3" fmla="*/ 259678 w 442633"/>
              <a:gd name="connsiteY3" fmla="*/ 261153 h 501650"/>
              <a:gd name="connsiteX4" fmla="*/ 300991 w 442633"/>
              <a:gd name="connsiteY4" fmla="*/ 302465 h 501650"/>
              <a:gd name="connsiteX5" fmla="*/ 348205 w 442633"/>
              <a:gd name="connsiteY5" fmla="*/ 302465 h 501650"/>
              <a:gd name="connsiteX6" fmla="*/ 348205 w 442633"/>
              <a:gd name="connsiteY6" fmla="*/ 362959 h 501650"/>
              <a:gd name="connsiteX7" fmla="*/ 340828 w 442633"/>
              <a:gd name="connsiteY7" fmla="*/ 404271 h 501650"/>
              <a:gd name="connsiteX8" fmla="*/ 222792 w 442633"/>
              <a:gd name="connsiteY8" fmla="*/ 488371 h 501650"/>
              <a:gd name="connsiteX9" fmla="*/ 212464 w 442633"/>
              <a:gd name="connsiteY9" fmla="*/ 488371 h 501650"/>
              <a:gd name="connsiteX10" fmla="*/ 98855 w 442633"/>
              <a:gd name="connsiteY10" fmla="*/ 371811 h 501650"/>
              <a:gd name="connsiteX11" fmla="*/ 98855 w 442633"/>
              <a:gd name="connsiteY11" fmla="*/ 280334 h 501650"/>
              <a:gd name="connsiteX12" fmla="*/ 178529 w 442633"/>
              <a:gd name="connsiteY12" fmla="*/ 190332 h 501650"/>
              <a:gd name="connsiteX13" fmla="*/ 178529 w 442633"/>
              <a:gd name="connsiteY13" fmla="*/ 109183 h 501650"/>
              <a:gd name="connsiteX14" fmla="*/ 184431 w 442633"/>
              <a:gd name="connsiteY14" fmla="*/ 90002 h 501650"/>
              <a:gd name="connsiteX15" fmla="*/ 171152 w 442633"/>
              <a:gd name="connsiteY15" fmla="*/ 76723 h 501650"/>
              <a:gd name="connsiteX16" fmla="*/ 157873 w 442633"/>
              <a:gd name="connsiteY16" fmla="*/ 90002 h 501650"/>
              <a:gd name="connsiteX17" fmla="*/ 163774 w 442633"/>
              <a:gd name="connsiteY17" fmla="*/ 109183 h 501650"/>
              <a:gd name="connsiteX18" fmla="*/ 163774 w 442633"/>
              <a:gd name="connsiteY18" fmla="*/ 190332 h 501650"/>
              <a:gd name="connsiteX19" fmla="*/ 92953 w 442633"/>
              <a:gd name="connsiteY19" fmla="*/ 265579 h 501650"/>
              <a:gd name="connsiteX20" fmla="*/ 22132 w 442633"/>
              <a:gd name="connsiteY20" fmla="*/ 190332 h 501650"/>
              <a:gd name="connsiteX21" fmla="*/ 22132 w 442633"/>
              <a:gd name="connsiteY21" fmla="*/ 109183 h 501650"/>
              <a:gd name="connsiteX22" fmla="*/ 28033 w 442633"/>
              <a:gd name="connsiteY22" fmla="*/ 90002 h 501650"/>
              <a:gd name="connsiteX23" fmla="*/ 14754 w 442633"/>
              <a:gd name="connsiteY23" fmla="*/ 76723 h 501650"/>
              <a:gd name="connsiteX24" fmla="*/ 0 w 442633"/>
              <a:gd name="connsiteY24" fmla="*/ 90002 h 501650"/>
              <a:gd name="connsiteX25" fmla="*/ 5902 w 442633"/>
              <a:gd name="connsiteY25" fmla="*/ 109183 h 501650"/>
              <a:gd name="connsiteX26" fmla="*/ 5902 w 442633"/>
              <a:gd name="connsiteY26" fmla="*/ 190332 h 501650"/>
              <a:gd name="connsiteX27" fmla="*/ 84100 w 442633"/>
              <a:gd name="connsiteY27" fmla="*/ 280334 h 501650"/>
              <a:gd name="connsiteX28" fmla="*/ 84100 w 442633"/>
              <a:gd name="connsiteY28" fmla="*/ 371811 h 501650"/>
              <a:gd name="connsiteX29" fmla="*/ 210989 w 442633"/>
              <a:gd name="connsiteY29" fmla="*/ 503125 h 501650"/>
              <a:gd name="connsiteX30" fmla="*/ 222792 w 442633"/>
              <a:gd name="connsiteY30" fmla="*/ 503125 h 501650"/>
              <a:gd name="connsiteX31" fmla="*/ 355582 w 442633"/>
              <a:gd name="connsiteY31" fmla="*/ 410173 h 501650"/>
              <a:gd name="connsiteX32" fmla="*/ 362960 w 442633"/>
              <a:gd name="connsiteY32" fmla="*/ 362959 h 501650"/>
              <a:gd name="connsiteX33" fmla="*/ 362960 w 442633"/>
              <a:gd name="connsiteY33" fmla="*/ 302465 h 501650"/>
              <a:gd name="connsiteX34" fmla="*/ 410174 w 442633"/>
              <a:gd name="connsiteY34" fmla="*/ 302465 h 501650"/>
              <a:gd name="connsiteX35" fmla="*/ 451486 w 442633"/>
              <a:gd name="connsiteY35" fmla="*/ 261153 h 501650"/>
              <a:gd name="connsiteX36" fmla="*/ 451486 w 442633"/>
              <a:gd name="connsiteY36" fmla="*/ 41312 h 501650"/>
              <a:gd name="connsiteX37" fmla="*/ 410174 w 442633"/>
              <a:gd name="connsiteY37" fmla="*/ 0 h 501650"/>
              <a:gd name="connsiteX38" fmla="*/ 300991 w 442633"/>
              <a:gd name="connsiteY38" fmla="*/ 14754 h 501650"/>
              <a:gd name="connsiteX39" fmla="*/ 410174 w 442633"/>
              <a:gd name="connsiteY39" fmla="*/ 14754 h 501650"/>
              <a:gd name="connsiteX40" fmla="*/ 436732 w 442633"/>
              <a:gd name="connsiteY40" fmla="*/ 41312 h 501650"/>
              <a:gd name="connsiteX41" fmla="*/ 436732 w 442633"/>
              <a:gd name="connsiteY41" fmla="*/ 44263 h 501650"/>
              <a:gd name="connsiteX42" fmla="*/ 274433 w 442633"/>
              <a:gd name="connsiteY42" fmla="*/ 44263 h 501650"/>
              <a:gd name="connsiteX43" fmla="*/ 274433 w 442633"/>
              <a:gd name="connsiteY43" fmla="*/ 41312 h 501650"/>
              <a:gd name="connsiteX44" fmla="*/ 300991 w 442633"/>
              <a:gd name="connsiteY44" fmla="*/ 14754 h 501650"/>
              <a:gd name="connsiteX45" fmla="*/ 410174 w 442633"/>
              <a:gd name="connsiteY45" fmla="*/ 286236 h 501650"/>
              <a:gd name="connsiteX46" fmla="*/ 362960 w 442633"/>
              <a:gd name="connsiteY46" fmla="*/ 286236 h 501650"/>
              <a:gd name="connsiteX47" fmla="*/ 362960 w 442633"/>
              <a:gd name="connsiteY47" fmla="*/ 202135 h 501650"/>
              <a:gd name="connsiteX48" fmla="*/ 407223 w 442633"/>
              <a:gd name="connsiteY48" fmla="*/ 151970 h 501650"/>
              <a:gd name="connsiteX49" fmla="*/ 355582 w 442633"/>
              <a:gd name="connsiteY49" fmla="*/ 100330 h 501650"/>
              <a:gd name="connsiteX50" fmla="*/ 303942 w 442633"/>
              <a:gd name="connsiteY50" fmla="*/ 151970 h 501650"/>
              <a:gd name="connsiteX51" fmla="*/ 348205 w 442633"/>
              <a:gd name="connsiteY51" fmla="*/ 202135 h 501650"/>
              <a:gd name="connsiteX52" fmla="*/ 348205 w 442633"/>
              <a:gd name="connsiteY52" fmla="*/ 286236 h 501650"/>
              <a:gd name="connsiteX53" fmla="*/ 300991 w 442633"/>
              <a:gd name="connsiteY53" fmla="*/ 286236 h 501650"/>
              <a:gd name="connsiteX54" fmla="*/ 274433 w 442633"/>
              <a:gd name="connsiteY54" fmla="*/ 259678 h 501650"/>
              <a:gd name="connsiteX55" fmla="*/ 274433 w 442633"/>
              <a:gd name="connsiteY55" fmla="*/ 256727 h 501650"/>
              <a:gd name="connsiteX56" fmla="*/ 311319 w 442633"/>
              <a:gd name="connsiteY56" fmla="*/ 256727 h 501650"/>
              <a:gd name="connsiteX57" fmla="*/ 318696 w 442633"/>
              <a:gd name="connsiteY57" fmla="*/ 249350 h 501650"/>
              <a:gd name="connsiteX58" fmla="*/ 311319 w 442633"/>
              <a:gd name="connsiteY58" fmla="*/ 241972 h 501650"/>
              <a:gd name="connsiteX59" fmla="*/ 274433 w 442633"/>
              <a:gd name="connsiteY59" fmla="*/ 241972 h 501650"/>
              <a:gd name="connsiteX60" fmla="*/ 274433 w 442633"/>
              <a:gd name="connsiteY60" fmla="*/ 59018 h 501650"/>
              <a:gd name="connsiteX61" fmla="*/ 436732 w 442633"/>
              <a:gd name="connsiteY61" fmla="*/ 59018 h 501650"/>
              <a:gd name="connsiteX62" fmla="*/ 436732 w 442633"/>
              <a:gd name="connsiteY62" fmla="*/ 243448 h 501650"/>
              <a:gd name="connsiteX63" fmla="*/ 399846 w 442633"/>
              <a:gd name="connsiteY63" fmla="*/ 243448 h 501650"/>
              <a:gd name="connsiteX64" fmla="*/ 392468 w 442633"/>
              <a:gd name="connsiteY64" fmla="*/ 250825 h 501650"/>
              <a:gd name="connsiteX65" fmla="*/ 399846 w 442633"/>
              <a:gd name="connsiteY65" fmla="*/ 258202 h 501650"/>
              <a:gd name="connsiteX66" fmla="*/ 436732 w 442633"/>
              <a:gd name="connsiteY66" fmla="*/ 258202 h 501650"/>
              <a:gd name="connsiteX67" fmla="*/ 436732 w 442633"/>
              <a:gd name="connsiteY67" fmla="*/ 261153 h 501650"/>
              <a:gd name="connsiteX68" fmla="*/ 410174 w 442633"/>
              <a:gd name="connsiteY68" fmla="*/ 286236 h 501650"/>
              <a:gd name="connsiteX69" fmla="*/ 355582 w 442633"/>
              <a:gd name="connsiteY69" fmla="*/ 188856 h 501650"/>
              <a:gd name="connsiteX70" fmla="*/ 318696 w 442633"/>
              <a:gd name="connsiteY70" fmla="*/ 151970 h 501650"/>
              <a:gd name="connsiteX71" fmla="*/ 355582 w 442633"/>
              <a:gd name="connsiteY71" fmla="*/ 115084 h 501650"/>
              <a:gd name="connsiteX72" fmla="*/ 392468 w 442633"/>
              <a:gd name="connsiteY72" fmla="*/ 151970 h 501650"/>
              <a:gd name="connsiteX73" fmla="*/ 355582 w 442633"/>
              <a:gd name="connsiteY73" fmla="*/ 188856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42633" h="501650">
                <a:moveTo>
                  <a:pt x="410174" y="0"/>
                </a:moveTo>
                <a:lnTo>
                  <a:pt x="300991" y="0"/>
                </a:lnTo>
                <a:cubicBezTo>
                  <a:pt x="278859" y="0"/>
                  <a:pt x="259678" y="17705"/>
                  <a:pt x="259678" y="41312"/>
                </a:cubicBezTo>
                <a:lnTo>
                  <a:pt x="259678" y="261153"/>
                </a:lnTo>
                <a:cubicBezTo>
                  <a:pt x="259678" y="283285"/>
                  <a:pt x="277384" y="302465"/>
                  <a:pt x="300991" y="302465"/>
                </a:cubicBezTo>
                <a:lnTo>
                  <a:pt x="348205" y="302465"/>
                </a:lnTo>
                <a:lnTo>
                  <a:pt x="348205" y="362959"/>
                </a:lnTo>
                <a:cubicBezTo>
                  <a:pt x="348205" y="377713"/>
                  <a:pt x="345254" y="390992"/>
                  <a:pt x="340828" y="404271"/>
                </a:cubicBezTo>
                <a:cubicBezTo>
                  <a:pt x="323123" y="454436"/>
                  <a:pt x="275908" y="488371"/>
                  <a:pt x="222792" y="488371"/>
                </a:cubicBezTo>
                <a:cubicBezTo>
                  <a:pt x="219841" y="488371"/>
                  <a:pt x="215415" y="488371"/>
                  <a:pt x="212464" y="488371"/>
                </a:cubicBezTo>
                <a:cubicBezTo>
                  <a:pt x="153446" y="483945"/>
                  <a:pt x="103281" y="432304"/>
                  <a:pt x="98855" y="371811"/>
                </a:cubicBezTo>
                <a:lnTo>
                  <a:pt x="98855" y="280334"/>
                </a:lnTo>
                <a:cubicBezTo>
                  <a:pt x="143118" y="275908"/>
                  <a:pt x="178529" y="237546"/>
                  <a:pt x="178529" y="190332"/>
                </a:cubicBezTo>
                <a:lnTo>
                  <a:pt x="178529" y="109183"/>
                </a:lnTo>
                <a:cubicBezTo>
                  <a:pt x="181480" y="103281"/>
                  <a:pt x="184431" y="94428"/>
                  <a:pt x="184431" y="90002"/>
                </a:cubicBezTo>
                <a:cubicBezTo>
                  <a:pt x="184431" y="82625"/>
                  <a:pt x="178529" y="76723"/>
                  <a:pt x="171152" y="76723"/>
                </a:cubicBezTo>
                <a:cubicBezTo>
                  <a:pt x="163774" y="76723"/>
                  <a:pt x="157873" y="82625"/>
                  <a:pt x="157873" y="90002"/>
                </a:cubicBezTo>
                <a:cubicBezTo>
                  <a:pt x="157873" y="94428"/>
                  <a:pt x="159348" y="103281"/>
                  <a:pt x="163774" y="109183"/>
                </a:cubicBezTo>
                <a:lnTo>
                  <a:pt x="163774" y="190332"/>
                </a:lnTo>
                <a:cubicBezTo>
                  <a:pt x="163774" y="231644"/>
                  <a:pt x="131315" y="265579"/>
                  <a:pt x="92953" y="265579"/>
                </a:cubicBezTo>
                <a:cubicBezTo>
                  <a:pt x="54591" y="265579"/>
                  <a:pt x="22132" y="231644"/>
                  <a:pt x="22132" y="190332"/>
                </a:cubicBezTo>
                <a:lnTo>
                  <a:pt x="22132" y="109183"/>
                </a:lnTo>
                <a:cubicBezTo>
                  <a:pt x="25083" y="103281"/>
                  <a:pt x="28033" y="94428"/>
                  <a:pt x="28033" y="90002"/>
                </a:cubicBezTo>
                <a:cubicBezTo>
                  <a:pt x="28033" y="82625"/>
                  <a:pt x="22132" y="76723"/>
                  <a:pt x="14754" y="76723"/>
                </a:cubicBezTo>
                <a:cubicBezTo>
                  <a:pt x="7377" y="76723"/>
                  <a:pt x="0" y="82625"/>
                  <a:pt x="0" y="90002"/>
                </a:cubicBezTo>
                <a:cubicBezTo>
                  <a:pt x="0" y="94428"/>
                  <a:pt x="2951" y="103281"/>
                  <a:pt x="5902" y="109183"/>
                </a:cubicBezTo>
                <a:lnTo>
                  <a:pt x="5902" y="190332"/>
                </a:lnTo>
                <a:cubicBezTo>
                  <a:pt x="5902" y="237546"/>
                  <a:pt x="39837" y="275908"/>
                  <a:pt x="84100" y="280334"/>
                </a:cubicBezTo>
                <a:lnTo>
                  <a:pt x="84100" y="371811"/>
                </a:lnTo>
                <a:cubicBezTo>
                  <a:pt x="88527" y="439681"/>
                  <a:pt x="144594" y="497224"/>
                  <a:pt x="210989" y="503125"/>
                </a:cubicBezTo>
                <a:cubicBezTo>
                  <a:pt x="215415" y="503125"/>
                  <a:pt x="218366" y="503125"/>
                  <a:pt x="222792" y="503125"/>
                </a:cubicBezTo>
                <a:cubicBezTo>
                  <a:pt x="281810" y="503125"/>
                  <a:pt x="334926" y="466239"/>
                  <a:pt x="355582" y="410173"/>
                </a:cubicBezTo>
                <a:cubicBezTo>
                  <a:pt x="361484" y="395418"/>
                  <a:pt x="362960" y="379188"/>
                  <a:pt x="362960" y="362959"/>
                </a:cubicBezTo>
                <a:lnTo>
                  <a:pt x="362960" y="302465"/>
                </a:lnTo>
                <a:lnTo>
                  <a:pt x="410174" y="302465"/>
                </a:lnTo>
                <a:cubicBezTo>
                  <a:pt x="432305" y="302465"/>
                  <a:pt x="451486" y="284760"/>
                  <a:pt x="451486" y="261153"/>
                </a:cubicBezTo>
                <a:lnTo>
                  <a:pt x="451486" y="41312"/>
                </a:lnTo>
                <a:cubicBezTo>
                  <a:pt x="451486" y="17705"/>
                  <a:pt x="432305" y="0"/>
                  <a:pt x="410174" y="0"/>
                </a:cubicBezTo>
                <a:close/>
                <a:moveTo>
                  <a:pt x="300991" y="14754"/>
                </a:moveTo>
                <a:lnTo>
                  <a:pt x="410174" y="14754"/>
                </a:lnTo>
                <a:cubicBezTo>
                  <a:pt x="424928" y="14754"/>
                  <a:pt x="436732" y="26558"/>
                  <a:pt x="436732" y="41312"/>
                </a:cubicBezTo>
                <a:lnTo>
                  <a:pt x="436732" y="44263"/>
                </a:lnTo>
                <a:lnTo>
                  <a:pt x="274433" y="44263"/>
                </a:lnTo>
                <a:lnTo>
                  <a:pt x="274433" y="41312"/>
                </a:lnTo>
                <a:cubicBezTo>
                  <a:pt x="274433" y="26558"/>
                  <a:pt x="286236" y="14754"/>
                  <a:pt x="300991" y="14754"/>
                </a:cubicBezTo>
                <a:close/>
                <a:moveTo>
                  <a:pt x="410174" y="286236"/>
                </a:moveTo>
                <a:lnTo>
                  <a:pt x="362960" y="286236"/>
                </a:lnTo>
                <a:lnTo>
                  <a:pt x="362960" y="202135"/>
                </a:lnTo>
                <a:cubicBezTo>
                  <a:pt x="388042" y="199185"/>
                  <a:pt x="407223" y="177053"/>
                  <a:pt x="407223" y="151970"/>
                </a:cubicBezTo>
                <a:cubicBezTo>
                  <a:pt x="407223" y="123937"/>
                  <a:pt x="383616" y="100330"/>
                  <a:pt x="355582" y="100330"/>
                </a:cubicBezTo>
                <a:cubicBezTo>
                  <a:pt x="327549" y="100330"/>
                  <a:pt x="303942" y="123937"/>
                  <a:pt x="303942" y="151970"/>
                </a:cubicBezTo>
                <a:cubicBezTo>
                  <a:pt x="303942" y="178528"/>
                  <a:pt x="323123" y="199185"/>
                  <a:pt x="348205" y="202135"/>
                </a:cubicBezTo>
                <a:lnTo>
                  <a:pt x="348205" y="286236"/>
                </a:lnTo>
                <a:lnTo>
                  <a:pt x="300991" y="286236"/>
                </a:lnTo>
                <a:cubicBezTo>
                  <a:pt x="286236" y="286236"/>
                  <a:pt x="274433" y="274432"/>
                  <a:pt x="274433" y="259678"/>
                </a:cubicBezTo>
                <a:lnTo>
                  <a:pt x="274433" y="256727"/>
                </a:lnTo>
                <a:lnTo>
                  <a:pt x="311319" y="256727"/>
                </a:lnTo>
                <a:cubicBezTo>
                  <a:pt x="315745" y="256727"/>
                  <a:pt x="318696" y="253776"/>
                  <a:pt x="318696" y="249350"/>
                </a:cubicBezTo>
                <a:cubicBezTo>
                  <a:pt x="318696" y="244923"/>
                  <a:pt x="315745" y="241972"/>
                  <a:pt x="311319" y="241972"/>
                </a:cubicBezTo>
                <a:lnTo>
                  <a:pt x="274433" y="241972"/>
                </a:lnTo>
                <a:lnTo>
                  <a:pt x="274433" y="59018"/>
                </a:lnTo>
                <a:lnTo>
                  <a:pt x="436732" y="59018"/>
                </a:lnTo>
                <a:lnTo>
                  <a:pt x="436732" y="243448"/>
                </a:lnTo>
                <a:lnTo>
                  <a:pt x="399846" y="243448"/>
                </a:lnTo>
                <a:cubicBezTo>
                  <a:pt x="395419" y="243448"/>
                  <a:pt x="392468" y="246399"/>
                  <a:pt x="392468" y="250825"/>
                </a:cubicBezTo>
                <a:cubicBezTo>
                  <a:pt x="392468" y="255251"/>
                  <a:pt x="395419" y="258202"/>
                  <a:pt x="399846" y="258202"/>
                </a:cubicBezTo>
                <a:lnTo>
                  <a:pt x="436732" y="258202"/>
                </a:lnTo>
                <a:lnTo>
                  <a:pt x="436732" y="261153"/>
                </a:lnTo>
                <a:cubicBezTo>
                  <a:pt x="436732" y="274432"/>
                  <a:pt x="424928" y="286236"/>
                  <a:pt x="410174" y="286236"/>
                </a:cubicBezTo>
                <a:close/>
                <a:moveTo>
                  <a:pt x="355582" y="188856"/>
                </a:moveTo>
                <a:cubicBezTo>
                  <a:pt x="334926" y="188856"/>
                  <a:pt x="318696" y="172627"/>
                  <a:pt x="318696" y="151970"/>
                </a:cubicBezTo>
                <a:cubicBezTo>
                  <a:pt x="318696" y="131314"/>
                  <a:pt x="334926" y="115084"/>
                  <a:pt x="355582" y="115084"/>
                </a:cubicBezTo>
                <a:cubicBezTo>
                  <a:pt x="376239" y="115084"/>
                  <a:pt x="392468" y="131314"/>
                  <a:pt x="392468" y="151970"/>
                </a:cubicBezTo>
                <a:cubicBezTo>
                  <a:pt x="392468" y="172627"/>
                  <a:pt x="376239" y="188856"/>
                  <a:pt x="355582" y="188856"/>
                </a:cubicBezTo>
                <a:close/>
              </a:path>
            </a:pathLst>
          </a:custGeom>
          <a:solidFill>
            <a:srgbClr val="101010"/>
          </a:solidFill>
          <a:ln w="14748" cap="flat">
            <a:noFill/>
            <a:prstDash val="solid"/>
            <a:miter/>
          </a:ln>
        </p:spPr>
        <p:txBody>
          <a:bodyPr rtlCol="0" anchor="ctr"/>
          <a:lstStyle/>
          <a:p>
            <a:endParaRPr lang="de-DE"/>
          </a:p>
        </p:txBody>
      </p:sp>
      <p:grpSp>
        <p:nvGrpSpPr>
          <p:cNvPr id="5268" name="Graphic 3">
            <a:extLst>
              <a:ext uri="{FF2B5EF4-FFF2-40B4-BE49-F238E27FC236}">
                <a16:creationId xmlns:a16="http://schemas.microsoft.com/office/drawing/2014/main" id="{CE5A34F1-EC3D-429E-8A74-910B627C13A2}"/>
              </a:ext>
              <a:ext uri="{C183D7F6-B498-43B3-948B-1728B52AA6E4}">
                <adec:decorative xmlns:adec="http://schemas.microsoft.com/office/drawing/2017/decorative" val="1"/>
              </a:ext>
            </a:extLst>
          </p:cNvPr>
          <p:cNvGrpSpPr>
            <a:grpSpLocks noChangeAspect="1"/>
          </p:cNvGrpSpPr>
          <p:nvPr/>
        </p:nvGrpSpPr>
        <p:grpSpPr>
          <a:xfrm>
            <a:off x="3413341" y="4170178"/>
            <a:ext cx="97423" cy="132494"/>
            <a:chOff x="5976461" y="3262312"/>
            <a:chExt cx="238125" cy="323850"/>
          </a:xfrm>
          <a:solidFill>
            <a:srgbClr val="231F20"/>
          </a:solidFill>
        </p:grpSpPr>
        <p:sp>
          <p:nvSpPr>
            <p:cNvPr id="5269" name="Freeform: Shape 5268">
              <a:extLst>
                <a:ext uri="{FF2B5EF4-FFF2-40B4-BE49-F238E27FC236}">
                  <a16:creationId xmlns:a16="http://schemas.microsoft.com/office/drawing/2014/main" id="{7BD9E895-9F9F-4CBA-AF1F-05C28F09C313}"/>
                </a:ext>
              </a:extLst>
            </p:cNvPr>
            <p:cNvSpPr/>
            <p:nvPr/>
          </p:nvSpPr>
          <p:spPr>
            <a:xfrm>
              <a:off x="5976461" y="3262312"/>
              <a:ext cx="238125" cy="323850"/>
            </a:xfrm>
            <a:custGeom>
              <a:avLst/>
              <a:gdLst>
                <a:gd name="connsiteX0" fmla="*/ 236696 w 238125"/>
                <a:gd name="connsiteY0" fmla="*/ 144780 h 323850"/>
                <a:gd name="connsiteX1" fmla="*/ 212884 w 238125"/>
                <a:gd name="connsiteY1" fmla="*/ 140970 h 323850"/>
                <a:gd name="connsiteX2" fmla="*/ 198596 w 238125"/>
                <a:gd name="connsiteY2" fmla="*/ 158115 h 323850"/>
                <a:gd name="connsiteX3" fmla="*/ 196691 w 238125"/>
                <a:gd name="connsiteY3" fmla="*/ 161925 h 323850"/>
                <a:gd name="connsiteX4" fmla="*/ 188119 w 238125"/>
                <a:gd name="connsiteY4" fmla="*/ 176213 h 323850"/>
                <a:gd name="connsiteX5" fmla="*/ 170021 w 238125"/>
                <a:gd name="connsiteY5" fmla="*/ 180023 h 323850"/>
                <a:gd name="connsiteX6" fmla="*/ 161449 w 238125"/>
                <a:gd name="connsiteY6" fmla="*/ 135255 h 323850"/>
                <a:gd name="connsiteX7" fmla="*/ 171926 w 238125"/>
                <a:gd name="connsiteY7" fmla="*/ 35243 h 323850"/>
                <a:gd name="connsiteX8" fmla="*/ 155734 w 238125"/>
                <a:gd name="connsiteY8" fmla="*/ 16193 h 323850"/>
                <a:gd name="connsiteX9" fmla="*/ 142399 w 238125"/>
                <a:gd name="connsiteY9" fmla="*/ 20003 h 323850"/>
                <a:gd name="connsiteX10" fmla="*/ 135731 w 238125"/>
                <a:gd name="connsiteY10" fmla="*/ 31433 h 323850"/>
                <a:gd name="connsiteX11" fmla="*/ 127159 w 238125"/>
                <a:gd name="connsiteY11" fmla="*/ 117158 h 323850"/>
                <a:gd name="connsiteX12" fmla="*/ 126206 w 238125"/>
                <a:gd name="connsiteY12" fmla="*/ 118110 h 323850"/>
                <a:gd name="connsiteX13" fmla="*/ 125254 w 238125"/>
                <a:gd name="connsiteY13" fmla="*/ 118110 h 323850"/>
                <a:gd name="connsiteX14" fmla="*/ 124301 w 238125"/>
                <a:gd name="connsiteY14" fmla="*/ 116205 h 323850"/>
                <a:gd name="connsiteX15" fmla="*/ 124301 w 238125"/>
                <a:gd name="connsiteY15" fmla="*/ 17145 h 323850"/>
                <a:gd name="connsiteX16" fmla="*/ 107156 w 238125"/>
                <a:gd name="connsiteY16" fmla="*/ 0 h 323850"/>
                <a:gd name="connsiteX17" fmla="*/ 90011 w 238125"/>
                <a:gd name="connsiteY17" fmla="*/ 17145 h 323850"/>
                <a:gd name="connsiteX18" fmla="*/ 90011 w 238125"/>
                <a:gd name="connsiteY18" fmla="*/ 116205 h 323850"/>
                <a:gd name="connsiteX19" fmla="*/ 89059 w 238125"/>
                <a:gd name="connsiteY19" fmla="*/ 117158 h 323850"/>
                <a:gd name="connsiteX20" fmla="*/ 88106 w 238125"/>
                <a:gd name="connsiteY20" fmla="*/ 117158 h 323850"/>
                <a:gd name="connsiteX21" fmla="*/ 88106 w 238125"/>
                <a:gd name="connsiteY21" fmla="*/ 116205 h 323850"/>
                <a:gd name="connsiteX22" fmla="*/ 79534 w 238125"/>
                <a:gd name="connsiteY22" fmla="*/ 30480 h 323850"/>
                <a:gd name="connsiteX23" fmla="*/ 60484 w 238125"/>
                <a:gd name="connsiteY23" fmla="*/ 14288 h 323850"/>
                <a:gd name="connsiteX24" fmla="*/ 45244 w 238125"/>
                <a:gd name="connsiteY24" fmla="*/ 33338 h 323850"/>
                <a:gd name="connsiteX25" fmla="*/ 52864 w 238125"/>
                <a:gd name="connsiteY25" fmla="*/ 110490 h 323850"/>
                <a:gd name="connsiteX26" fmla="*/ 33814 w 238125"/>
                <a:gd name="connsiteY26" fmla="*/ 73343 h 323850"/>
                <a:gd name="connsiteX27" fmla="*/ 24289 w 238125"/>
                <a:gd name="connsiteY27" fmla="*/ 63818 h 323850"/>
                <a:gd name="connsiteX28" fmla="*/ 10954 w 238125"/>
                <a:gd name="connsiteY28" fmla="*/ 63818 h 323850"/>
                <a:gd name="connsiteX29" fmla="*/ 1429 w 238125"/>
                <a:gd name="connsiteY29" fmla="*/ 73343 h 323850"/>
                <a:gd name="connsiteX30" fmla="*/ 1429 w 238125"/>
                <a:gd name="connsiteY30" fmla="*/ 86678 h 323850"/>
                <a:gd name="connsiteX31" fmla="*/ 18574 w 238125"/>
                <a:gd name="connsiteY31" fmla="*/ 124778 h 323850"/>
                <a:gd name="connsiteX32" fmla="*/ 50006 w 238125"/>
                <a:gd name="connsiteY32" fmla="*/ 277178 h 323850"/>
                <a:gd name="connsiteX33" fmla="*/ 50959 w 238125"/>
                <a:gd name="connsiteY33" fmla="*/ 321945 h 323850"/>
                <a:gd name="connsiteX34" fmla="*/ 50959 w 238125"/>
                <a:gd name="connsiteY34" fmla="*/ 326708 h 323850"/>
                <a:gd name="connsiteX35" fmla="*/ 54769 w 238125"/>
                <a:gd name="connsiteY35" fmla="*/ 330518 h 323850"/>
                <a:gd name="connsiteX36" fmla="*/ 154781 w 238125"/>
                <a:gd name="connsiteY36" fmla="*/ 330518 h 323850"/>
                <a:gd name="connsiteX37" fmla="*/ 158591 w 238125"/>
                <a:gd name="connsiteY37" fmla="*/ 326708 h 323850"/>
                <a:gd name="connsiteX38" fmla="*/ 158591 w 238125"/>
                <a:gd name="connsiteY38" fmla="*/ 300038 h 323850"/>
                <a:gd name="connsiteX39" fmla="*/ 171926 w 238125"/>
                <a:gd name="connsiteY39" fmla="*/ 259080 h 323850"/>
                <a:gd name="connsiteX40" fmla="*/ 188119 w 238125"/>
                <a:gd name="connsiteY40" fmla="*/ 239078 h 323850"/>
                <a:gd name="connsiteX41" fmla="*/ 191929 w 238125"/>
                <a:gd name="connsiteY41" fmla="*/ 234315 h 323850"/>
                <a:gd name="connsiteX42" fmla="*/ 234791 w 238125"/>
                <a:gd name="connsiteY42" fmla="*/ 171450 h 323850"/>
                <a:gd name="connsiteX43" fmla="*/ 239554 w 238125"/>
                <a:gd name="connsiteY43" fmla="*/ 160020 h 323850"/>
                <a:gd name="connsiteX44" fmla="*/ 236696 w 238125"/>
                <a:gd name="connsiteY44" fmla="*/ 144780 h 323850"/>
                <a:gd name="connsiteX45" fmla="*/ 231934 w 238125"/>
                <a:gd name="connsiteY45" fmla="*/ 158115 h 323850"/>
                <a:gd name="connsiteX46" fmla="*/ 228124 w 238125"/>
                <a:gd name="connsiteY46" fmla="*/ 167640 h 323850"/>
                <a:gd name="connsiteX47" fmla="*/ 186214 w 238125"/>
                <a:gd name="connsiteY47" fmla="*/ 228600 h 323850"/>
                <a:gd name="connsiteX48" fmla="*/ 181451 w 238125"/>
                <a:gd name="connsiteY48" fmla="*/ 233363 h 323850"/>
                <a:gd name="connsiteX49" fmla="*/ 165259 w 238125"/>
                <a:gd name="connsiteY49" fmla="*/ 254318 h 323850"/>
                <a:gd name="connsiteX50" fmla="*/ 150971 w 238125"/>
                <a:gd name="connsiteY50" fmla="*/ 299085 h 323850"/>
                <a:gd name="connsiteX51" fmla="*/ 150971 w 238125"/>
                <a:gd name="connsiteY51" fmla="*/ 322898 h 323850"/>
                <a:gd name="connsiteX52" fmla="*/ 57626 w 238125"/>
                <a:gd name="connsiteY52" fmla="*/ 322898 h 323850"/>
                <a:gd name="connsiteX53" fmla="*/ 57626 w 238125"/>
                <a:gd name="connsiteY53" fmla="*/ 321945 h 323850"/>
                <a:gd name="connsiteX54" fmla="*/ 56674 w 238125"/>
                <a:gd name="connsiteY54" fmla="*/ 276225 h 323850"/>
                <a:gd name="connsiteX55" fmla="*/ 25241 w 238125"/>
                <a:gd name="connsiteY55" fmla="*/ 122873 h 323850"/>
                <a:gd name="connsiteX56" fmla="*/ 8096 w 238125"/>
                <a:gd name="connsiteY56" fmla="*/ 83820 h 323850"/>
                <a:gd name="connsiteX57" fmla="*/ 8096 w 238125"/>
                <a:gd name="connsiteY57" fmla="*/ 76200 h 323850"/>
                <a:gd name="connsiteX58" fmla="*/ 13811 w 238125"/>
                <a:gd name="connsiteY58" fmla="*/ 70485 h 323850"/>
                <a:gd name="connsiteX59" fmla="*/ 21431 w 238125"/>
                <a:gd name="connsiteY59" fmla="*/ 70485 h 323850"/>
                <a:gd name="connsiteX60" fmla="*/ 27146 w 238125"/>
                <a:gd name="connsiteY60" fmla="*/ 76200 h 323850"/>
                <a:gd name="connsiteX61" fmla="*/ 50006 w 238125"/>
                <a:gd name="connsiteY61" fmla="*/ 128588 h 323850"/>
                <a:gd name="connsiteX62" fmla="*/ 55721 w 238125"/>
                <a:gd name="connsiteY62" fmla="*/ 131445 h 323850"/>
                <a:gd name="connsiteX63" fmla="*/ 59531 w 238125"/>
                <a:gd name="connsiteY63" fmla="*/ 126683 h 323850"/>
                <a:gd name="connsiteX64" fmla="*/ 50006 w 238125"/>
                <a:gd name="connsiteY64" fmla="*/ 35243 h 323850"/>
                <a:gd name="connsiteX65" fmla="*/ 59531 w 238125"/>
                <a:gd name="connsiteY65" fmla="*/ 22860 h 323850"/>
                <a:gd name="connsiteX66" fmla="*/ 67151 w 238125"/>
                <a:gd name="connsiteY66" fmla="*/ 24765 h 323850"/>
                <a:gd name="connsiteX67" fmla="*/ 70961 w 238125"/>
                <a:gd name="connsiteY67" fmla="*/ 31433 h 323850"/>
                <a:gd name="connsiteX68" fmla="*/ 79534 w 238125"/>
                <a:gd name="connsiteY68" fmla="*/ 117158 h 323850"/>
                <a:gd name="connsiteX69" fmla="*/ 82391 w 238125"/>
                <a:gd name="connsiteY69" fmla="*/ 122873 h 323850"/>
                <a:gd name="connsiteX70" fmla="*/ 89059 w 238125"/>
                <a:gd name="connsiteY70" fmla="*/ 124778 h 323850"/>
                <a:gd name="connsiteX71" fmla="*/ 96679 w 238125"/>
                <a:gd name="connsiteY71" fmla="*/ 116205 h 323850"/>
                <a:gd name="connsiteX72" fmla="*/ 96679 w 238125"/>
                <a:gd name="connsiteY72" fmla="*/ 17145 h 323850"/>
                <a:gd name="connsiteX73" fmla="*/ 107156 w 238125"/>
                <a:gd name="connsiteY73" fmla="*/ 6668 h 323850"/>
                <a:gd name="connsiteX74" fmla="*/ 117634 w 238125"/>
                <a:gd name="connsiteY74" fmla="*/ 17145 h 323850"/>
                <a:gd name="connsiteX75" fmla="*/ 117634 w 238125"/>
                <a:gd name="connsiteY75" fmla="*/ 116205 h 323850"/>
                <a:gd name="connsiteX76" fmla="*/ 125254 w 238125"/>
                <a:gd name="connsiteY76" fmla="*/ 124778 h 323850"/>
                <a:gd name="connsiteX77" fmla="*/ 131921 w 238125"/>
                <a:gd name="connsiteY77" fmla="*/ 122873 h 323850"/>
                <a:gd name="connsiteX78" fmla="*/ 134779 w 238125"/>
                <a:gd name="connsiteY78" fmla="*/ 117158 h 323850"/>
                <a:gd name="connsiteX79" fmla="*/ 143351 w 238125"/>
                <a:gd name="connsiteY79" fmla="*/ 31433 h 323850"/>
                <a:gd name="connsiteX80" fmla="*/ 147161 w 238125"/>
                <a:gd name="connsiteY80" fmla="*/ 24765 h 323850"/>
                <a:gd name="connsiteX81" fmla="*/ 154781 w 238125"/>
                <a:gd name="connsiteY81" fmla="*/ 22860 h 323850"/>
                <a:gd name="connsiteX82" fmla="*/ 161449 w 238125"/>
                <a:gd name="connsiteY82" fmla="*/ 26670 h 323850"/>
                <a:gd name="connsiteX83" fmla="*/ 163354 w 238125"/>
                <a:gd name="connsiteY83" fmla="*/ 34290 h 323850"/>
                <a:gd name="connsiteX84" fmla="*/ 152876 w 238125"/>
                <a:gd name="connsiteY84" fmla="*/ 135255 h 323850"/>
                <a:gd name="connsiteX85" fmla="*/ 164306 w 238125"/>
                <a:gd name="connsiteY85" fmla="*/ 186690 h 323850"/>
                <a:gd name="connsiteX86" fmla="*/ 164306 w 238125"/>
                <a:gd name="connsiteY86" fmla="*/ 186690 h 323850"/>
                <a:gd name="connsiteX87" fmla="*/ 191929 w 238125"/>
                <a:gd name="connsiteY87" fmla="*/ 181928 h 323850"/>
                <a:gd name="connsiteX88" fmla="*/ 201454 w 238125"/>
                <a:gd name="connsiteY88" fmla="*/ 166688 h 323850"/>
                <a:gd name="connsiteX89" fmla="*/ 203359 w 238125"/>
                <a:gd name="connsiteY89" fmla="*/ 163830 h 323850"/>
                <a:gd name="connsiteX90" fmla="*/ 214789 w 238125"/>
                <a:gd name="connsiteY90" fmla="*/ 149543 h 323850"/>
                <a:gd name="connsiteX91" fmla="*/ 229076 w 238125"/>
                <a:gd name="connsiteY91" fmla="*/ 151448 h 323850"/>
                <a:gd name="connsiteX92" fmla="*/ 231934 w 238125"/>
                <a:gd name="connsiteY92" fmla="*/ 15811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38125" h="323850">
                  <a:moveTo>
                    <a:pt x="236696" y="144780"/>
                  </a:moveTo>
                  <a:cubicBezTo>
                    <a:pt x="230981" y="137160"/>
                    <a:pt x="220504" y="137160"/>
                    <a:pt x="212884" y="140970"/>
                  </a:cubicBezTo>
                  <a:cubicBezTo>
                    <a:pt x="205264" y="144780"/>
                    <a:pt x="201454" y="152400"/>
                    <a:pt x="198596" y="158115"/>
                  </a:cubicBezTo>
                  <a:lnTo>
                    <a:pt x="196691" y="161925"/>
                  </a:lnTo>
                  <a:cubicBezTo>
                    <a:pt x="193834" y="166688"/>
                    <a:pt x="191929" y="172403"/>
                    <a:pt x="188119" y="176213"/>
                  </a:cubicBezTo>
                  <a:cubicBezTo>
                    <a:pt x="182404" y="181928"/>
                    <a:pt x="177641" y="184785"/>
                    <a:pt x="170021" y="180023"/>
                  </a:cubicBezTo>
                  <a:cubicBezTo>
                    <a:pt x="160496" y="172403"/>
                    <a:pt x="160496" y="144780"/>
                    <a:pt x="161449" y="135255"/>
                  </a:cubicBezTo>
                  <a:lnTo>
                    <a:pt x="171926" y="35243"/>
                  </a:lnTo>
                  <a:cubicBezTo>
                    <a:pt x="172879" y="25718"/>
                    <a:pt x="166211" y="17145"/>
                    <a:pt x="155734" y="16193"/>
                  </a:cubicBezTo>
                  <a:cubicBezTo>
                    <a:pt x="150971" y="16193"/>
                    <a:pt x="146209" y="17145"/>
                    <a:pt x="142399" y="20003"/>
                  </a:cubicBezTo>
                  <a:cubicBezTo>
                    <a:pt x="138589" y="22860"/>
                    <a:pt x="136684" y="27623"/>
                    <a:pt x="135731" y="31433"/>
                  </a:cubicBezTo>
                  <a:lnTo>
                    <a:pt x="127159" y="117158"/>
                  </a:lnTo>
                  <a:cubicBezTo>
                    <a:pt x="127159" y="117158"/>
                    <a:pt x="127159" y="118110"/>
                    <a:pt x="126206" y="118110"/>
                  </a:cubicBezTo>
                  <a:cubicBezTo>
                    <a:pt x="126206" y="118110"/>
                    <a:pt x="125254" y="118110"/>
                    <a:pt x="125254" y="118110"/>
                  </a:cubicBezTo>
                  <a:cubicBezTo>
                    <a:pt x="124301" y="118110"/>
                    <a:pt x="124301" y="117158"/>
                    <a:pt x="124301" y="116205"/>
                  </a:cubicBezTo>
                  <a:lnTo>
                    <a:pt x="124301" y="17145"/>
                  </a:lnTo>
                  <a:cubicBezTo>
                    <a:pt x="124301" y="7620"/>
                    <a:pt x="116681" y="0"/>
                    <a:pt x="107156" y="0"/>
                  </a:cubicBezTo>
                  <a:cubicBezTo>
                    <a:pt x="97631" y="0"/>
                    <a:pt x="90011" y="7620"/>
                    <a:pt x="90011" y="17145"/>
                  </a:cubicBezTo>
                  <a:lnTo>
                    <a:pt x="90011" y="116205"/>
                  </a:lnTo>
                  <a:cubicBezTo>
                    <a:pt x="90011" y="117158"/>
                    <a:pt x="89059" y="117158"/>
                    <a:pt x="89059" y="117158"/>
                  </a:cubicBezTo>
                  <a:cubicBezTo>
                    <a:pt x="88106" y="117158"/>
                    <a:pt x="88106" y="117158"/>
                    <a:pt x="88106" y="117158"/>
                  </a:cubicBezTo>
                  <a:cubicBezTo>
                    <a:pt x="88106" y="117158"/>
                    <a:pt x="88106" y="117158"/>
                    <a:pt x="88106" y="116205"/>
                  </a:cubicBezTo>
                  <a:lnTo>
                    <a:pt x="79534" y="30480"/>
                  </a:lnTo>
                  <a:cubicBezTo>
                    <a:pt x="78581" y="20955"/>
                    <a:pt x="70009" y="13335"/>
                    <a:pt x="60484" y="14288"/>
                  </a:cubicBezTo>
                  <a:cubicBezTo>
                    <a:pt x="50959" y="15240"/>
                    <a:pt x="43339" y="23813"/>
                    <a:pt x="45244" y="33338"/>
                  </a:cubicBezTo>
                  <a:lnTo>
                    <a:pt x="52864" y="110490"/>
                  </a:lnTo>
                  <a:lnTo>
                    <a:pt x="33814" y="73343"/>
                  </a:lnTo>
                  <a:cubicBezTo>
                    <a:pt x="31909" y="68580"/>
                    <a:pt x="28099" y="65723"/>
                    <a:pt x="24289" y="63818"/>
                  </a:cubicBezTo>
                  <a:cubicBezTo>
                    <a:pt x="19526" y="61913"/>
                    <a:pt x="14764" y="61913"/>
                    <a:pt x="10954" y="63818"/>
                  </a:cubicBezTo>
                  <a:cubicBezTo>
                    <a:pt x="6191" y="65723"/>
                    <a:pt x="3334" y="69533"/>
                    <a:pt x="1429" y="73343"/>
                  </a:cubicBezTo>
                  <a:cubicBezTo>
                    <a:pt x="-476" y="78105"/>
                    <a:pt x="-476" y="82868"/>
                    <a:pt x="1429" y="86678"/>
                  </a:cubicBezTo>
                  <a:lnTo>
                    <a:pt x="18574" y="124778"/>
                  </a:lnTo>
                  <a:cubicBezTo>
                    <a:pt x="44291" y="190500"/>
                    <a:pt x="50006" y="276225"/>
                    <a:pt x="50006" y="277178"/>
                  </a:cubicBezTo>
                  <a:cubicBezTo>
                    <a:pt x="50959" y="286703"/>
                    <a:pt x="50959" y="308610"/>
                    <a:pt x="50959" y="321945"/>
                  </a:cubicBezTo>
                  <a:lnTo>
                    <a:pt x="50959" y="326708"/>
                  </a:lnTo>
                  <a:cubicBezTo>
                    <a:pt x="50959" y="328613"/>
                    <a:pt x="52864" y="330518"/>
                    <a:pt x="54769" y="330518"/>
                  </a:cubicBezTo>
                  <a:lnTo>
                    <a:pt x="154781" y="330518"/>
                  </a:lnTo>
                  <a:cubicBezTo>
                    <a:pt x="156686" y="330518"/>
                    <a:pt x="158591" y="328613"/>
                    <a:pt x="158591" y="326708"/>
                  </a:cubicBezTo>
                  <a:lnTo>
                    <a:pt x="158591" y="300038"/>
                  </a:lnTo>
                  <a:cubicBezTo>
                    <a:pt x="159544" y="285750"/>
                    <a:pt x="163354" y="271463"/>
                    <a:pt x="171926" y="259080"/>
                  </a:cubicBezTo>
                  <a:cubicBezTo>
                    <a:pt x="176689" y="251460"/>
                    <a:pt x="182404" y="244793"/>
                    <a:pt x="188119" y="239078"/>
                  </a:cubicBezTo>
                  <a:lnTo>
                    <a:pt x="191929" y="234315"/>
                  </a:lnTo>
                  <a:cubicBezTo>
                    <a:pt x="208121" y="215265"/>
                    <a:pt x="222409" y="194310"/>
                    <a:pt x="234791" y="171450"/>
                  </a:cubicBezTo>
                  <a:cubicBezTo>
                    <a:pt x="236696" y="167640"/>
                    <a:pt x="238601" y="163830"/>
                    <a:pt x="239554" y="160020"/>
                  </a:cubicBezTo>
                  <a:cubicBezTo>
                    <a:pt x="239554" y="154305"/>
                    <a:pt x="238601" y="148590"/>
                    <a:pt x="236696" y="144780"/>
                  </a:cubicBezTo>
                  <a:close/>
                  <a:moveTo>
                    <a:pt x="231934" y="158115"/>
                  </a:moveTo>
                  <a:cubicBezTo>
                    <a:pt x="230981" y="160973"/>
                    <a:pt x="230029" y="164783"/>
                    <a:pt x="228124" y="167640"/>
                  </a:cubicBezTo>
                  <a:cubicBezTo>
                    <a:pt x="216694" y="189548"/>
                    <a:pt x="202406" y="210503"/>
                    <a:pt x="186214" y="228600"/>
                  </a:cubicBezTo>
                  <a:lnTo>
                    <a:pt x="181451" y="233363"/>
                  </a:lnTo>
                  <a:cubicBezTo>
                    <a:pt x="175736" y="240030"/>
                    <a:pt x="170021" y="246698"/>
                    <a:pt x="165259" y="254318"/>
                  </a:cubicBezTo>
                  <a:cubicBezTo>
                    <a:pt x="156686" y="267653"/>
                    <a:pt x="151924" y="282893"/>
                    <a:pt x="150971" y="299085"/>
                  </a:cubicBezTo>
                  <a:lnTo>
                    <a:pt x="150971" y="322898"/>
                  </a:lnTo>
                  <a:lnTo>
                    <a:pt x="57626" y="322898"/>
                  </a:lnTo>
                  <a:lnTo>
                    <a:pt x="57626" y="321945"/>
                  </a:lnTo>
                  <a:cubicBezTo>
                    <a:pt x="57626" y="308610"/>
                    <a:pt x="57626" y="285750"/>
                    <a:pt x="56674" y="276225"/>
                  </a:cubicBezTo>
                  <a:cubicBezTo>
                    <a:pt x="56674" y="275273"/>
                    <a:pt x="50959" y="188595"/>
                    <a:pt x="25241" y="122873"/>
                  </a:cubicBezTo>
                  <a:lnTo>
                    <a:pt x="8096" y="83820"/>
                  </a:lnTo>
                  <a:cubicBezTo>
                    <a:pt x="7144" y="81915"/>
                    <a:pt x="7144" y="79058"/>
                    <a:pt x="8096" y="76200"/>
                  </a:cubicBezTo>
                  <a:cubicBezTo>
                    <a:pt x="9049" y="73343"/>
                    <a:pt x="10954" y="71438"/>
                    <a:pt x="13811" y="70485"/>
                  </a:cubicBezTo>
                  <a:cubicBezTo>
                    <a:pt x="16669" y="69533"/>
                    <a:pt x="19526" y="69533"/>
                    <a:pt x="21431" y="70485"/>
                  </a:cubicBezTo>
                  <a:cubicBezTo>
                    <a:pt x="24289" y="71438"/>
                    <a:pt x="26194" y="73343"/>
                    <a:pt x="27146" y="76200"/>
                  </a:cubicBezTo>
                  <a:lnTo>
                    <a:pt x="50006" y="128588"/>
                  </a:lnTo>
                  <a:cubicBezTo>
                    <a:pt x="50959" y="130493"/>
                    <a:pt x="53816" y="132398"/>
                    <a:pt x="55721" y="131445"/>
                  </a:cubicBezTo>
                  <a:cubicBezTo>
                    <a:pt x="57626" y="130493"/>
                    <a:pt x="59531" y="128588"/>
                    <a:pt x="59531" y="126683"/>
                  </a:cubicBezTo>
                  <a:lnTo>
                    <a:pt x="50006" y="35243"/>
                  </a:lnTo>
                  <a:cubicBezTo>
                    <a:pt x="50006" y="28575"/>
                    <a:pt x="53816" y="22860"/>
                    <a:pt x="59531" y="22860"/>
                  </a:cubicBezTo>
                  <a:cubicBezTo>
                    <a:pt x="62389" y="22860"/>
                    <a:pt x="65246" y="23813"/>
                    <a:pt x="67151" y="24765"/>
                  </a:cubicBezTo>
                  <a:cubicBezTo>
                    <a:pt x="69056" y="26670"/>
                    <a:pt x="70961" y="28575"/>
                    <a:pt x="70961" y="31433"/>
                  </a:cubicBezTo>
                  <a:lnTo>
                    <a:pt x="79534" y="117158"/>
                  </a:lnTo>
                  <a:cubicBezTo>
                    <a:pt x="79534" y="119063"/>
                    <a:pt x="80486" y="121920"/>
                    <a:pt x="82391" y="122873"/>
                  </a:cubicBezTo>
                  <a:cubicBezTo>
                    <a:pt x="84296" y="124778"/>
                    <a:pt x="86201" y="124778"/>
                    <a:pt x="89059" y="124778"/>
                  </a:cubicBezTo>
                  <a:cubicBezTo>
                    <a:pt x="93821" y="123825"/>
                    <a:pt x="96679" y="120968"/>
                    <a:pt x="96679" y="116205"/>
                  </a:cubicBezTo>
                  <a:lnTo>
                    <a:pt x="96679" y="17145"/>
                  </a:lnTo>
                  <a:cubicBezTo>
                    <a:pt x="96679" y="11430"/>
                    <a:pt x="101441" y="6668"/>
                    <a:pt x="107156" y="6668"/>
                  </a:cubicBezTo>
                  <a:cubicBezTo>
                    <a:pt x="112871" y="6668"/>
                    <a:pt x="117634" y="11430"/>
                    <a:pt x="117634" y="17145"/>
                  </a:cubicBezTo>
                  <a:lnTo>
                    <a:pt x="117634" y="116205"/>
                  </a:lnTo>
                  <a:cubicBezTo>
                    <a:pt x="117634" y="120968"/>
                    <a:pt x="120491" y="123825"/>
                    <a:pt x="125254" y="124778"/>
                  </a:cubicBezTo>
                  <a:cubicBezTo>
                    <a:pt x="127159" y="124778"/>
                    <a:pt x="130016" y="124778"/>
                    <a:pt x="131921" y="122873"/>
                  </a:cubicBezTo>
                  <a:cubicBezTo>
                    <a:pt x="133826" y="121920"/>
                    <a:pt x="134779" y="119063"/>
                    <a:pt x="134779" y="117158"/>
                  </a:cubicBezTo>
                  <a:lnTo>
                    <a:pt x="143351" y="31433"/>
                  </a:lnTo>
                  <a:cubicBezTo>
                    <a:pt x="143351" y="28575"/>
                    <a:pt x="145256" y="25718"/>
                    <a:pt x="147161" y="24765"/>
                  </a:cubicBezTo>
                  <a:cubicBezTo>
                    <a:pt x="149066" y="22860"/>
                    <a:pt x="151924" y="21908"/>
                    <a:pt x="154781" y="22860"/>
                  </a:cubicBezTo>
                  <a:cubicBezTo>
                    <a:pt x="157639" y="22860"/>
                    <a:pt x="160496" y="24765"/>
                    <a:pt x="161449" y="26670"/>
                  </a:cubicBezTo>
                  <a:cubicBezTo>
                    <a:pt x="163354" y="28575"/>
                    <a:pt x="164306" y="31433"/>
                    <a:pt x="163354" y="34290"/>
                  </a:cubicBezTo>
                  <a:lnTo>
                    <a:pt x="152876" y="135255"/>
                  </a:lnTo>
                  <a:cubicBezTo>
                    <a:pt x="152876" y="139065"/>
                    <a:pt x="150019" y="175260"/>
                    <a:pt x="164306" y="186690"/>
                  </a:cubicBezTo>
                  <a:cubicBezTo>
                    <a:pt x="164306" y="186690"/>
                    <a:pt x="164306" y="186690"/>
                    <a:pt x="164306" y="186690"/>
                  </a:cubicBezTo>
                  <a:cubicBezTo>
                    <a:pt x="178594" y="196215"/>
                    <a:pt x="188119" y="184785"/>
                    <a:pt x="191929" y="181928"/>
                  </a:cubicBezTo>
                  <a:cubicBezTo>
                    <a:pt x="196691" y="177165"/>
                    <a:pt x="198596" y="171450"/>
                    <a:pt x="201454" y="166688"/>
                  </a:cubicBezTo>
                  <a:lnTo>
                    <a:pt x="203359" y="163830"/>
                  </a:lnTo>
                  <a:cubicBezTo>
                    <a:pt x="206216" y="158115"/>
                    <a:pt x="210026" y="152400"/>
                    <a:pt x="214789" y="149543"/>
                  </a:cubicBezTo>
                  <a:cubicBezTo>
                    <a:pt x="219551" y="146685"/>
                    <a:pt x="226219" y="146685"/>
                    <a:pt x="229076" y="151448"/>
                  </a:cubicBezTo>
                  <a:cubicBezTo>
                    <a:pt x="231934" y="151448"/>
                    <a:pt x="232886" y="154305"/>
                    <a:pt x="231934" y="158115"/>
                  </a:cubicBezTo>
                  <a:close/>
                </a:path>
              </a:pathLst>
            </a:custGeom>
            <a:solidFill>
              <a:srgbClr val="231F20"/>
            </a:solidFill>
            <a:ln w="9525" cap="flat">
              <a:noFill/>
              <a:prstDash val="solid"/>
              <a:miter/>
            </a:ln>
          </p:spPr>
          <p:txBody>
            <a:bodyPr rtlCol="0" anchor="ctr"/>
            <a:lstStyle/>
            <a:p>
              <a:endParaRPr lang="de-DE"/>
            </a:p>
          </p:txBody>
        </p:sp>
        <p:sp>
          <p:nvSpPr>
            <p:cNvPr id="5270" name="Freeform: Shape 5269">
              <a:extLst>
                <a:ext uri="{FF2B5EF4-FFF2-40B4-BE49-F238E27FC236}">
                  <a16:creationId xmlns:a16="http://schemas.microsoft.com/office/drawing/2014/main" id="{C806F6A4-3415-4994-A33B-2B3B4ED7E181}"/>
                </a:ext>
              </a:extLst>
            </p:cNvPr>
            <p:cNvSpPr/>
            <p:nvPr/>
          </p:nvSpPr>
          <p:spPr>
            <a:xfrm>
              <a:off x="5997892" y="3273742"/>
              <a:ext cx="200025" cy="304800"/>
            </a:xfrm>
            <a:custGeom>
              <a:avLst/>
              <a:gdLst>
                <a:gd name="connsiteX0" fmla="*/ 199073 w 200025"/>
                <a:gd name="connsiteY0" fmla="*/ 141923 h 304800"/>
                <a:gd name="connsiteX1" fmla="*/ 193358 w 200025"/>
                <a:gd name="connsiteY1" fmla="*/ 147638 h 304800"/>
                <a:gd name="connsiteX2" fmla="*/ 195263 w 200025"/>
                <a:gd name="connsiteY2" fmla="*/ 151448 h 304800"/>
                <a:gd name="connsiteX3" fmla="*/ 195263 w 200025"/>
                <a:gd name="connsiteY3" fmla="*/ 151448 h 304800"/>
                <a:gd name="connsiteX4" fmla="*/ 158115 w 200025"/>
                <a:gd name="connsiteY4" fmla="*/ 200978 h 304800"/>
                <a:gd name="connsiteX5" fmla="*/ 102870 w 200025"/>
                <a:gd name="connsiteY5" fmla="*/ 285750 h 304800"/>
                <a:gd name="connsiteX6" fmla="*/ 97155 w 200025"/>
                <a:gd name="connsiteY6" fmla="*/ 277178 h 304800"/>
                <a:gd name="connsiteX7" fmla="*/ 120967 w 200025"/>
                <a:gd name="connsiteY7" fmla="*/ 127635 h 304800"/>
                <a:gd name="connsiteX8" fmla="*/ 133350 w 200025"/>
                <a:gd name="connsiteY8" fmla="*/ 27622 h 304800"/>
                <a:gd name="connsiteX9" fmla="*/ 133350 w 200025"/>
                <a:gd name="connsiteY9" fmla="*/ 27622 h 304800"/>
                <a:gd name="connsiteX10" fmla="*/ 139065 w 200025"/>
                <a:gd name="connsiteY10" fmla="*/ 21908 h 304800"/>
                <a:gd name="connsiteX11" fmla="*/ 133350 w 200025"/>
                <a:gd name="connsiteY11" fmla="*/ 16193 h 304800"/>
                <a:gd name="connsiteX12" fmla="*/ 127635 w 200025"/>
                <a:gd name="connsiteY12" fmla="*/ 21908 h 304800"/>
                <a:gd name="connsiteX13" fmla="*/ 131445 w 200025"/>
                <a:gd name="connsiteY13" fmla="*/ 27622 h 304800"/>
                <a:gd name="connsiteX14" fmla="*/ 131445 w 200025"/>
                <a:gd name="connsiteY14" fmla="*/ 27622 h 304800"/>
                <a:gd name="connsiteX15" fmla="*/ 119063 w 200025"/>
                <a:gd name="connsiteY15" fmla="*/ 127635 h 304800"/>
                <a:gd name="connsiteX16" fmla="*/ 95250 w 200025"/>
                <a:gd name="connsiteY16" fmla="*/ 275273 h 304800"/>
                <a:gd name="connsiteX17" fmla="*/ 89535 w 200025"/>
                <a:gd name="connsiteY17" fmla="*/ 273368 h 304800"/>
                <a:gd name="connsiteX18" fmla="*/ 87630 w 200025"/>
                <a:gd name="connsiteY18" fmla="*/ 108585 h 304800"/>
                <a:gd name="connsiteX19" fmla="*/ 87630 w 200025"/>
                <a:gd name="connsiteY19" fmla="*/ 11430 h 304800"/>
                <a:gd name="connsiteX20" fmla="*/ 87630 w 200025"/>
                <a:gd name="connsiteY20" fmla="*/ 11430 h 304800"/>
                <a:gd name="connsiteX21" fmla="*/ 92392 w 200025"/>
                <a:gd name="connsiteY21" fmla="*/ 5715 h 304800"/>
                <a:gd name="connsiteX22" fmla="*/ 86678 w 200025"/>
                <a:gd name="connsiteY22" fmla="*/ 0 h 304800"/>
                <a:gd name="connsiteX23" fmla="*/ 80010 w 200025"/>
                <a:gd name="connsiteY23" fmla="*/ 7620 h 304800"/>
                <a:gd name="connsiteX24" fmla="*/ 84773 w 200025"/>
                <a:gd name="connsiteY24" fmla="*/ 13335 h 304800"/>
                <a:gd name="connsiteX25" fmla="*/ 84773 w 200025"/>
                <a:gd name="connsiteY25" fmla="*/ 13335 h 304800"/>
                <a:gd name="connsiteX26" fmla="*/ 84773 w 200025"/>
                <a:gd name="connsiteY26" fmla="*/ 110490 h 304800"/>
                <a:gd name="connsiteX27" fmla="*/ 86678 w 200025"/>
                <a:gd name="connsiteY27" fmla="*/ 274320 h 304800"/>
                <a:gd name="connsiteX28" fmla="*/ 86678 w 200025"/>
                <a:gd name="connsiteY28" fmla="*/ 274320 h 304800"/>
                <a:gd name="connsiteX29" fmla="*/ 79058 w 200025"/>
                <a:gd name="connsiteY29" fmla="*/ 276225 h 304800"/>
                <a:gd name="connsiteX30" fmla="*/ 58103 w 200025"/>
                <a:gd name="connsiteY30" fmla="*/ 146685 h 304800"/>
                <a:gd name="connsiteX31" fmla="*/ 41910 w 200025"/>
                <a:gd name="connsiteY31" fmla="*/ 30480 h 304800"/>
                <a:gd name="connsiteX32" fmla="*/ 40958 w 200025"/>
                <a:gd name="connsiteY32" fmla="*/ 29528 h 304800"/>
                <a:gd name="connsiteX33" fmla="*/ 45720 w 200025"/>
                <a:gd name="connsiteY33" fmla="*/ 23813 h 304800"/>
                <a:gd name="connsiteX34" fmla="*/ 40005 w 200025"/>
                <a:gd name="connsiteY34" fmla="*/ 18097 h 304800"/>
                <a:gd name="connsiteX35" fmla="*/ 33337 w 200025"/>
                <a:gd name="connsiteY35" fmla="*/ 23813 h 304800"/>
                <a:gd name="connsiteX36" fmla="*/ 39053 w 200025"/>
                <a:gd name="connsiteY36" fmla="*/ 29528 h 304800"/>
                <a:gd name="connsiteX37" fmla="*/ 39053 w 200025"/>
                <a:gd name="connsiteY37" fmla="*/ 29528 h 304800"/>
                <a:gd name="connsiteX38" fmla="*/ 38100 w 200025"/>
                <a:gd name="connsiteY38" fmla="*/ 30480 h 304800"/>
                <a:gd name="connsiteX39" fmla="*/ 54293 w 200025"/>
                <a:gd name="connsiteY39" fmla="*/ 147638 h 304800"/>
                <a:gd name="connsiteX40" fmla="*/ 75248 w 200025"/>
                <a:gd name="connsiteY40" fmla="*/ 278130 h 304800"/>
                <a:gd name="connsiteX41" fmla="*/ 69533 w 200025"/>
                <a:gd name="connsiteY41" fmla="*/ 284798 h 304800"/>
                <a:gd name="connsiteX42" fmla="*/ 34290 w 200025"/>
                <a:gd name="connsiteY42" fmla="*/ 151448 h 304800"/>
                <a:gd name="connsiteX43" fmla="*/ 1905 w 200025"/>
                <a:gd name="connsiteY43" fmla="*/ 75248 h 304800"/>
                <a:gd name="connsiteX44" fmla="*/ 0 w 200025"/>
                <a:gd name="connsiteY44" fmla="*/ 77153 h 304800"/>
                <a:gd name="connsiteX45" fmla="*/ 32385 w 200025"/>
                <a:gd name="connsiteY45" fmla="*/ 153353 h 304800"/>
                <a:gd name="connsiteX46" fmla="*/ 69533 w 200025"/>
                <a:gd name="connsiteY46" fmla="*/ 290513 h 304800"/>
                <a:gd name="connsiteX47" fmla="*/ 69533 w 200025"/>
                <a:gd name="connsiteY47" fmla="*/ 292418 h 304800"/>
                <a:gd name="connsiteX48" fmla="*/ 86678 w 200025"/>
                <a:gd name="connsiteY48" fmla="*/ 309563 h 304800"/>
                <a:gd name="connsiteX49" fmla="*/ 103823 w 200025"/>
                <a:gd name="connsiteY49" fmla="*/ 292418 h 304800"/>
                <a:gd name="connsiteX50" fmla="*/ 103823 w 200025"/>
                <a:gd name="connsiteY50" fmla="*/ 291465 h 304800"/>
                <a:gd name="connsiteX51" fmla="*/ 160020 w 200025"/>
                <a:gd name="connsiteY51" fmla="*/ 204788 h 304800"/>
                <a:gd name="connsiteX52" fmla="*/ 197168 w 200025"/>
                <a:gd name="connsiteY52" fmla="*/ 154305 h 304800"/>
                <a:gd name="connsiteX53" fmla="*/ 197168 w 200025"/>
                <a:gd name="connsiteY53" fmla="*/ 154305 h 304800"/>
                <a:gd name="connsiteX54" fmla="*/ 200025 w 200025"/>
                <a:gd name="connsiteY54" fmla="*/ 155258 h 304800"/>
                <a:gd name="connsiteX55" fmla="*/ 205740 w 200025"/>
                <a:gd name="connsiteY55" fmla="*/ 149543 h 304800"/>
                <a:gd name="connsiteX56" fmla="*/ 199073 w 200025"/>
                <a:gd name="connsiteY56" fmla="*/ 14192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0025" h="304800">
                  <a:moveTo>
                    <a:pt x="199073" y="141923"/>
                  </a:moveTo>
                  <a:cubicBezTo>
                    <a:pt x="196215" y="141923"/>
                    <a:pt x="193358" y="144780"/>
                    <a:pt x="193358" y="147638"/>
                  </a:cubicBezTo>
                  <a:cubicBezTo>
                    <a:pt x="193358" y="149543"/>
                    <a:pt x="194310" y="150495"/>
                    <a:pt x="195263" y="151448"/>
                  </a:cubicBezTo>
                  <a:cubicBezTo>
                    <a:pt x="195263" y="151448"/>
                    <a:pt x="195263" y="151448"/>
                    <a:pt x="195263" y="151448"/>
                  </a:cubicBezTo>
                  <a:cubicBezTo>
                    <a:pt x="195263" y="151448"/>
                    <a:pt x="186690" y="168593"/>
                    <a:pt x="158115" y="200978"/>
                  </a:cubicBezTo>
                  <a:cubicBezTo>
                    <a:pt x="137160" y="225743"/>
                    <a:pt x="113348" y="266700"/>
                    <a:pt x="102870" y="285750"/>
                  </a:cubicBezTo>
                  <a:cubicBezTo>
                    <a:pt x="101917" y="282893"/>
                    <a:pt x="100013" y="280035"/>
                    <a:pt x="97155" y="277178"/>
                  </a:cubicBezTo>
                  <a:cubicBezTo>
                    <a:pt x="101917" y="242888"/>
                    <a:pt x="116205" y="156210"/>
                    <a:pt x="120967" y="127635"/>
                  </a:cubicBezTo>
                  <a:cubicBezTo>
                    <a:pt x="127635" y="92392"/>
                    <a:pt x="133350" y="27622"/>
                    <a:pt x="133350" y="27622"/>
                  </a:cubicBezTo>
                  <a:cubicBezTo>
                    <a:pt x="133350" y="27622"/>
                    <a:pt x="133350" y="27622"/>
                    <a:pt x="133350" y="27622"/>
                  </a:cubicBezTo>
                  <a:cubicBezTo>
                    <a:pt x="136208" y="27622"/>
                    <a:pt x="139065" y="24765"/>
                    <a:pt x="139065" y="21908"/>
                  </a:cubicBezTo>
                  <a:cubicBezTo>
                    <a:pt x="139065" y="19050"/>
                    <a:pt x="136208" y="16193"/>
                    <a:pt x="133350" y="16193"/>
                  </a:cubicBezTo>
                  <a:cubicBezTo>
                    <a:pt x="130492" y="16193"/>
                    <a:pt x="127635" y="19050"/>
                    <a:pt x="127635" y="21908"/>
                  </a:cubicBezTo>
                  <a:cubicBezTo>
                    <a:pt x="127635" y="24765"/>
                    <a:pt x="129540" y="26670"/>
                    <a:pt x="131445" y="27622"/>
                  </a:cubicBezTo>
                  <a:cubicBezTo>
                    <a:pt x="131445" y="27622"/>
                    <a:pt x="131445" y="27622"/>
                    <a:pt x="131445" y="27622"/>
                  </a:cubicBezTo>
                  <a:cubicBezTo>
                    <a:pt x="131445" y="28575"/>
                    <a:pt x="125730" y="92392"/>
                    <a:pt x="119063" y="127635"/>
                  </a:cubicBezTo>
                  <a:cubicBezTo>
                    <a:pt x="114300" y="155258"/>
                    <a:pt x="100965" y="240983"/>
                    <a:pt x="95250" y="275273"/>
                  </a:cubicBezTo>
                  <a:cubicBezTo>
                    <a:pt x="93345" y="274320"/>
                    <a:pt x="91440" y="273368"/>
                    <a:pt x="89535" y="273368"/>
                  </a:cubicBezTo>
                  <a:lnTo>
                    <a:pt x="87630" y="108585"/>
                  </a:lnTo>
                  <a:lnTo>
                    <a:pt x="87630" y="11430"/>
                  </a:lnTo>
                  <a:cubicBezTo>
                    <a:pt x="87630" y="11430"/>
                    <a:pt x="87630" y="11430"/>
                    <a:pt x="87630" y="11430"/>
                  </a:cubicBezTo>
                  <a:cubicBezTo>
                    <a:pt x="90488" y="11430"/>
                    <a:pt x="92392" y="8572"/>
                    <a:pt x="92392" y="5715"/>
                  </a:cubicBezTo>
                  <a:cubicBezTo>
                    <a:pt x="92392" y="2857"/>
                    <a:pt x="89535" y="0"/>
                    <a:pt x="86678" y="0"/>
                  </a:cubicBezTo>
                  <a:cubicBezTo>
                    <a:pt x="83820" y="0"/>
                    <a:pt x="80010" y="3810"/>
                    <a:pt x="80010" y="7620"/>
                  </a:cubicBezTo>
                  <a:cubicBezTo>
                    <a:pt x="80010" y="10477"/>
                    <a:pt x="81915" y="12383"/>
                    <a:pt x="84773" y="13335"/>
                  </a:cubicBezTo>
                  <a:cubicBezTo>
                    <a:pt x="84773" y="13335"/>
                    <a:pt x="84773" y="13335"/>
                    <a:pt x="84773" y="13335"/>
                  </a:cubicBezTo>
                  <a:lnTo>
                    <a:pt x="84773" y="110490"/>
                  </a:lnTo>
                  <a:lnTo>
                    <a:pt x="86678" y="274320"/>
                  </a:lnTo>
                  <a:cubicBezTo>
                    <a:pt x="86678" y="274320"/>
                    <a:pt x="86678" y="274320"/>
                    <a:pt x="86678" y="274320"/>
                  </a:cubicBezTo>
                  <a:cubicBezTo>
                    <a:pt x="83820" y="274320"/>
                    <a:pt x="80963" y="275273"/>
                    <a:pt x="79058" y="276225"/>
                  </a:cubicBezTo>
                  <a:cubicBezTo>
                    <a:pt x="73342" y="242888"/>
                    <a:pt x="60960" y="161925"/>
                    <a:pt x="58103" y="146685"/>
                  </a:cubicBezTo>
                  <a:cubicBezTo>
                    <a:pt x="54293" y="127635"/>
                    <a:pt x="41910" y="31433"/>
                    <a:pt x="41910" y="30480"/>
                  </a:cubicBezTo>
                  <a:cubicBezTo>
                    <a:pt x="41910" y="29528"/>
                    <a:pt x="40958" y="29528"/>
                    <a:pt x="40958" y="29528"/>
                  </a:cubicBezTo>
                  <a:cubicBezTo>
                    <a:pt x="43815" y="29528"/>
                    <a:pt x="45720" y="26670"/>
                    <a:pt x="45720" y="23813"/>
                  </a:cubicBezTo>
                  <a:cubicBezTo>
                    <a:pt x="45720" y="20955"/>
                    <a:pt x="42862" y="18097"/>
                    <a:pt x="40005" y="18097"/>
                  </a:cubicBezTo>
                  <a:cubicBezTo>
                    <a:pt x="36195" y="18097"/>
                    <a:pt x="33337" y="20003"/>
                    <a:pt x="33337" y="23813"/>
                  </a:cubicBezTo>
                  <a:cubicBezTo>
                    <a:pt x="33337" y="26670"/>
                    <a:pt x="36195" y="29528"/>
                    <a:pt x="39053" y="29528"/>
                  </a:cubicBezTo>
                  <a:cubicBezTo>
                    <a:pt x="39053" y="29528"/>
                    <a:pt x="39053" y="29528"/>
                    <a:pt x="39053" y="29528"/>
                  </a:cubicBezTo>
                  <a:cubicBezTo>
                    <a:pt x="39053" y="29528"/>
                    <a:pt x="38100" y="30480"/>
                    <a:pt x="38100" y="30480"/>
                  </a:cubicBezTo>
                  <a:cubicBezTo>
                    <a:pt x="38100" y="31433"/>
                    <a:pt x="50483" y="128588"/>
                    <a:pt x="54293" y="147638"/>
                  </a:cubicBezTo>
                  <a:cubicBezTo>
                    <a:pt x="57150" y="162878"/>
                    <a:pt x="70485" y="244793"/>
                    <a:pt x="75248" y="278130"/>
                  </a:cubicBezTo>
                  <a:cubicBezTo>
                    <a:pt x="72390" y="280035"/>
                    <a:pt x="70485" y="281940"/>
                    <a:pt x="69533" y="284798"/>
                  </a:cubicBezTo>
                  <a:cubicBezTo>
                    <a:pt x="62865" y="255270"/>
                    <a:pt x="41910" y="169545"/>
                    <a:pt x="34290" y="151448"/>
                  </a:cubicBezTo>
                  <a:cubicBezTo>
                    <a:pt x="24765" y="129540"/>
                    <a:pt x="1905" y="75248"/>
                    <a:pt x="1905" y="75248"/>
                  </a:cubicBezTo>
                  <a:lnTo>
                    <a:pt x="0" y="77153"/>
                  </a:lnTo>
                  <a:cubicBezTo>
                    <a:pt x="0" y="77153"/>
                    <a:pt x="22860" y="131445"/>
                    <a:pt x="32385" y="153353"/>
                  </a:cubicBezTo>
                  <a:cubicBezTo>
                    <a:pt x="40005" y="171450"/>
                    <a:pt x="63817" y="265748"/>
                    <a:pt x="69533" y="290513"/>
                  </a:cubicBezTo>
                  <a:cubicBezTo>
                    <a:pt x="69533" y="291465"/>
                    <a:pt x="69533" y="291465"/>
                    <a:pt x="69533" y="292418"/>
                  </a:cubicBezTo>
                  <a:cubicBezTo>
                    <a:pt x="69533" y="301943"/>
                    <a:pt x="77153" y="309563"/>
                    <a:pt x="86678" y="309563"/>
                  </a:cubicBezTo>
                  <a:cubicBezTo>
                    <a:pt x="96203" y="309563"/>
                    <a:pt x="103823" y="301943"/>
                    <a:pt x="103823" y="292418"/>
                  </a:cubicBezTo>
                  <a:cubicBezTo>
                    <a:pt x="103823" y="292418"/>
                    <a:pt x="103823" y="291465"/>
                    <a:pt x="103823" y="291465"/>
                  </a:cubicBezTo>
                  <a:cubicBezTo>
                    <a:pt x="113348" y="273368"/>
                    <a:pt x="138113" y="230505"/>
                    <a:pt x="160020" y="204788"/>
                  </a:cubicBezTo>
                  <a:cubicBezTo>
                    <a:pt x="188595" y="171450"/>
                    <a:pt x="197168" y="154305"/>
                    <a:pt x="197168" y="154305"/>
                  </a:cubicBezTo>
                  <a:cubicBezTo>
                    <a:pt x="197168" y="154305"/>
                    <a:pt x="197168" y="154305"/>
                    <a:pt x="197168" y="154305"/>
                  </a:cubicBezTo>
                  <a:cubicBezTo>
                    <a:pt x="198120" y="154305"/>
                    <a:pt x="199073" y="155258"/>
                    <a:pt x="200025" y="155258"/>
                  </a:cubicBezTo>
                  <a:cubicBezTo>
                    <a:pt x="202883" y="155258"/>
                    <a:pt x="205740" y="152400"/>
                    <a:pt x="205740" y="149543"/>
                  </a:cubicBezTo>
                  <a:cubicBezTo>
                    <a:pt x="205740" y="146685"/>
                    <a:pt x="201930" y="141923"/>
                    <a:pt x="199073" y="141923"/>
                  </a:cubicBezTo>
                  <a:close/>
                </a:path>
              </a:pathLst>
            </a:custGeom>
            <a:solidFill>
              <a:srgbClr val="231F20"/>
            </a:solidFill>
            <a:ln w="9525" cap="flat">
              <a:noFill/>
              <a:prstDash val="solid"/>
              <a:miter/>
            </a:ln>
          </p:spPr>
          <p:txBody>
            <a:bodyPr rtlCol="0" anchor="ctr"/>
            <a:lstStyle/>
            <a:p>
              <a:endParaRPr lang="de-DE"/>
            </a:p>
          </p:txBody>
        </p:sp>
        <p:sp>
          <p:nvSpPr>
            <p:cNvPr id="5271" name="Freeform: Shape 5270">
              <a:extLst>
                <a:ext uri="{FF2B5EF4-FFF2-40B4-BE49-F238E27FC236}">
                  <a16:creationId xmlns:a16="http://schemas.microsoft.com/office/drawing/2014/main" id="{1F056F17-1B35-472F-8016-3C9368546B35}"/>
                </a:ext>
              </a:extLst>
            </p:cNvPr>
            <p:cNvSpPr/>
            <p:nvPr/>
          </p:nvSpPr>
          <p:spPr>
            <a:xfrm>
              <a:off x="5990272" y="3338512"/>
              <a:ext cx="9525" cy="9525"/>
            </a:xfrm>
            <a:custGeom>
              <a:avLst/>
              <a:gdLst>
                <a:gd name="connsiteX0" fmla="*/ 11430 w 9525"/>
                <a:gd name="connsiteY0" fmla="*/ 6667 h 9525"/>
                <a:gd name="connsiteX1" fmla="*/ 5715 w 9525"/>
                <a:gd name="connsiteY1" fmla="*/ 0 h 9525"/>
                <a:gd name="connsiteX2" fmla="*/ 0 w 9525"/>
                <a:gd name="connsiteY2" fmla="*/ 6667 h 9525"/>
                <a:gd name="connsiteX3" fmla="*/ 5715 w 9525"/>
                <a:gd name="connsiteY3" fmla="*/ 12383 h 9525"/>
                <a:gd name="connsiteX4" fmla="*/ 11430 w 9525"/>
                <a:gd name="connsiteY4" fmla="*/ 666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430" y="6667"/>
                  </a:moveTo>
                  <a:cubicBezTo>
                    <a:pt x="11430" y="2858"/>
                    <a:pt x="8573" y="0"/>
                    <a:pt x="5715" y="0"/>
                  </a:cubicBezTo>
                  <a:cubicBezTo>
                    <a:pt x="2858" y="0"/>
                    <a:pt x="0" y="2858"/>
                    <a:pt x="0" y="6667"/>
                  </a:cubicBezTo>
                  <a:cubicBezTo>
                    <a:pt x="0" y="9525"/>
                    <a:pt x="2858" y="12383"/>
                    <a:pt x="5715" y="12383"/>
                  </a:cubicBezTo>
                  <a:cubicBezTo>
                    <a:pt x="8573" y="12383"/>
                    <a:pt x="11430" y="9525"/>
                    <a:pt x="11430" y="6667"/>
                  </a:cubicBezTo>
                  <a:close/>
                </a:path>
              </a:pathLst>
            </a:custGeom>
            <a:solidFill>
              <a:srgbClr val="231F20"/>
            </a:solidFill>
            <a:ln w="9525" cap="flat">
              <a:noFill/>
              <a:prstDash val="solid"/>
              <a:miter/>
            </a:ln>
          </p:spPr>
          <p:txBody>
            <a:bodyPr rtlCol="0" anchor="ctr"/>
            <a:lstStyle/>
            <a:p>
              <a:endParaRPr lang="de-DE"/>
            </a:p>
          </p:txBody>
        </p:sp>
      </p:grpSp>
      <p:grpSp>
        <p:nvGrpSpPr>
          <p:cNvPr id="5272" name="Graphic 3">
            <a:extLst>
              <a:ext uri="{FF2B5EF4-FFF2-40B4-BE49-F238E27FC236}">
                <a16:creationId xmlns:a16="http://schemas.microsoft.com/office/drawing/2014/main" id="{D5F8710A-2A64-4659-B04F-623B6C55DA9E}"/>
              </a:ext>
              <a:ext uri="{C183D7F6-B498-43B3-948B-1728B52AA6E4}">
                <adec:decorative xmlns:adec="http://schemas.microsoft.com/office/drawing/2017/decorative" val="1"/>
              </a:ext>
            </a:extLst>
          </p:cNvPr>
          <p:cNvGrpSpPr>
            <a:grpSpLocks noChangeAspect="1"/>
          </p:cNvGrpSpPr>
          <p:nvPr/>
        </p:nvGrpSpPr>
        <p:grpSpPr>
          <a:xfrm>
            <a:off x="3668434" y="4177434"/>
            <a:ext cx="88487" cy="117982"/>
            <a:chOff x="5991552" y="3295650"/>
            <a:chExt cx="200025" cy="266700"/>
          </a:xfrm>
          <a:solidFill>
            <a:srgbClr val="101010"/>
          </a:solidFill>
        </p:grpSpPr>
        <p:sp>
          <p:nvSpPr>
            <p:cNvPr id="5273" name="Freeform: Shape 5272">
              <a:extLst>
                <a:ext uri="{FF2B5EF4-FFF2-40B4-BE49-F238E27FC236}">
                  <a16:creationId xmlns:a16="http://schemas.microsoft.com/office/drawing/2014/main" id="{08700BDC-F218-4B27-8EC8-C129B473761D}"/>
                </a:ext>
              </a:extLst>
            </p:cNvPr>
            <p:cNvSpPr/>
            <p:nvPr/>
          </p:nvSpPr>
          <p:spPr>
            <a:xfrm>
              <a:off x="5991552" y="3295650"/>
              <a:ext cx="161925" cy="266700"/>
            </a:xfrm>
            <a:custGeom>
              <a:avLst/>
              <a:gdLst>
                <a:gd name="connsiteX0" fmla="*/ 109211 w 161925"/>
                <a:gd name="connsiteY0" fmla="*/ 16193 h 266700"/>
                <a:gd name="connsiteX1" fmla="*/ 155883 w 161925"/>
                <a:gd name="connsiteY1" fmla="*/ 64770 h 266700"/>
                <a:gd name="connsiteX2" fmla="*/ 158741 w 161925"/>
                <a:gd name="connsiteY2" fmla="*/ 66675 h 266700"/>
                <a:gd name="connsiteX3" fmla="*/ 161598 w 161925"/>
                <a:gd name="connsiteY3" fmla="*/ 65723 h 266700"/>
                <a:gd name="connsiteX4" fmla="*/ 161598 w 161925"/>
                <a:gd name="connsiteY4" fmla="*/ 59055 h 266700"/>
                <a:gd name="connsiteX5" fmla="*/ 107306 w 161925"/>
                <a:gd name="connsiteY5" fmla="*/ 1905 h 266700"/>
                <a:gd name="connsiteX6" fmla="*/ 104448 w 161925"/>
                <a:gd name="connsiteY6" fmla="*/ 0 h 266700"/>
                <a:gd name="connsiteX7" fmla="*/ 100638 w 161925"/>
                <a:gd name="connsiteY7" fmla="*/ 1905 h 266700"/>
                <a:gd name="connsiteX8" fmla="*/ 45393 w 161925"/>
                <a:gd name="connsiteY8" fmla="*/ 59055 h 266700"/>
                <a:gd name="connsiteX9" fmla="*/ 45393 w 161925"/>
                <a:gd name="connsiteY9" fmla="*/ 65723 h 266700"/>
                <a:gd name="connsiteX10" fmla="*/ 52061 w 161925"/>
                <a:gd name="connsiteY10" fmla="*/ 65723 h 266700"/>
                <a:gd name="connsiteX11" fmla="*/ 98733 w 161925"/>
                <a:gd name="connsiteY11" fmla="*/ 17145 h 266700"/>
                <a:gd name="connsiteX12" fmla="*/ 98733 w 161925"/>
                <a:gd name="connsiteY12" fmla="*/ 174308 h 266700"/>
                <a:gd name="connsiteX13" fmla="*/ 1578 w 161925"/>
                <a:gd name="connsiteY13" fmla="*/ 258128 h 266700"/>
                <a:gd name="connsiteX14" fmla="*/ 626 w 161925"/>
                <a:gd name="connsiteY14" fmla="*/ 264795 h 266700"/>
                <a:gd name="connsiteX15" fmla="*/ 4436 w 161925"/>
                <a:gd name="connsiteY15" fmla="*/ 266700 h 266700"/>
                <a:gd name="connsiteX16" fmla="*/ 7293 w 161925"/>
                <a:gd name="connsiteY16" fmla="*/ 265748 h 266700"/>
                <a:gd name="connsiteX17" fmla="*/ 107306 w 161925"/>
                <a:gd name="connsiteY17" fmla="*/ 180023 h 266700"/>
                <a:gd name="connsiteX18" fmla="*/ 107306 w 161925"/>
                <a:gd name="connsiteY18" fmla="*/ 180023 h 266700"/>
                <a:gd name="connsiteX19" fmla="*/ 108258 w 161925"/>
                <a:gd name="connsiteY19" fmla="*/ 179070 h 266700"/>
                <a:gd name="connsiteX20" fmla="*/ 108258 w 161925"/>
                <a:gd name="connsiteY20" fmla="*/ 178118 h 266700"/>
                <a:gd name="connsiteX21" fmla="*/ 108258 w 161925"/>
                <a:gd name="connsiteY21" fmla="*/ 177165 h 266700"/>
                <a:gd name="connsiteX22" fmla="*/ 108258 w 161925"/>
                <a:gd name="connsiteY22" fmla="*/ 176213 h 266700"/>
                <a:gd name="connsiteX23" fmla="*/ 108258 w 161925"/>
                <a:gd name="connsiteY23" fmla="*/ 176213 h 266700"/>
                <a:gd name="connsiteX24" fmla="*/ 108258 w 161925"/>
                <a:gd name="connsiteY24" fmla="*/ 16193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1925" h="266700">
                  <a:moveTo>
                    <a:pt x="109211" y="16193"/>
                  </a:moveTo>
                  <a:lnTo>
                    <a:pt x="155883" y="64770"/>
                  </a:lnTo>
                  <a:cubicBezTo>
                    <a:pt x="156836" y="65723"/>
                    <a:pt x="157788" y="66675"/>
                    <a:pt x="158741" y="66675"/>
                  </a:cubicBezTo>
                  <a:cubicBezTo>
                    <a:pt x="159693" y="66675"/>
                    <a:pt x="160646" y="66675"/>
                    <a:pt x="161598" y="65723"/>
                  </a:cubicBezTo>
                  <a:cubicBezTo>
                    <a:pt x="163503" y="63818"/>
                    <a:pt x="163503" y="60960"/>
                    <a:pt x="161598" y="59055"/>
                  </a:cubicBezTo>
                  <a:lnTo>
                    <a:pt x="107306" y="1905"/>
                  </a:lnTo>
                  <a:cubicBezTo>
                    <a:pt x="107306" y="953"/>
                    <a:pt x="106353" y="0"/>
                    <a:pt x="104448" y="0"/>
                  </a:cubicBezTo>
                  <a:cubicBezTo>
                    <a:pt x="103496" y="0"/>
                    <a:pt x="101591" y="953"/>
                    <a:pt x="100638" y="1905"/>
                  </a:cubicBezTo>
                  <a:lnTo>
                    <a:pt x="45393" y="59055"/>
                  </a:lnTo>
                  <a:cubicBezTo>
                    <a:pt x="43488" y="60960"/>
                    <a:pt x="43488" y="63818"/>
                    <a:pt x="45393" y="65723"/>
                  </a:cubicBezTo>
                  <a:cubicBezTo>
                    <a:pt x="47298" y="67628"/>
                    <a:pt x="50156" y="67628"/>
                    <a:pt x="52061" y="65723"/>
                  </a:cubicBezTo>
                  <a:lnTo>
                    <a:pt x="98733" y="17145"/>
                  </a:lnTo>
                  <a:lnTo>
                    <a:pt x="98733" y="174308"/>
                  </a:lnTo>
                  <a:lnTo>
                    <a:pt x="1578" y="258128"/>
                  </a:lnTo>
                  <a:cubicBezTo>
                    <a:pt x="-327" y="260033"/>
                    <a:pt x="-327" y="262890"/>
                    <a:pt x="626" y="264795"/>
                  </a:cubicBezTo>
                  <a:cubicBezTo>
                    <a:pt x="1578" y="265748"/>
                    <a:pt x="3483" y="266700"/>
                    <a:pt x="4436" y="266700"/>
                  </a:cubicBezTo>
                  <a:cubicBezTo>
                    <a:pt x="5388" y="266700"/>
                    <a:pt x="6341" y="266700"/>
                    <a:pt x="7293" y="265748"/>
                  </a:cubicBezTo>
                  <a:lnTo>
                    <a:pt x="107306" y="180023"/>
                  </a:lnTo>
                  <a:cubicBezTo>
                    <a:pt x="107306" y="180023"/>
                    <a:pt x="107306" y="180023"/>
                    <a:pt x="107306" y="180023"/>
                  </a:cubicBezTo>
                  <a:cubicBezTo>
                    <a:pt x="107306" y="180023"/>
                    <a:pt x="107306" y="179070"/>
                    <a:pt x="108258" y="179070"/>
                  </a:cubicBezTo>
                  <a:cubicBezTo>
                    <a:pt x="108258" y="179070"/>
                    <a:pt x="108258" y="179070"/>
                    <a:pt x="108258" y="178118"/>
                  </a:cubicBezTo>
                  <a:cubicBezTo>
                    <a:pt x="108258" y="178118"/>
                    <a:pt x="108258" y="177165"/>
                    <a:pt x="108258" y="177165"/>
                  </a:cubicBezTo>
                  <a:cubicBezTo>
                    <a:pt x="108258" y="177165"/>
                    <a:pt x="108258" y="176213"/>
                    <a:pt x="108258" y="176213"/>
                  </a:cubicBezTo>
                  <a:cubicBezTo>
                    <a:pt x="108258" y="176213"/>
                    <a:pt x="108258" y="176213"/>
                    <a:pt x="108258" y="176213"/>
                  </a:cubicBezTo>
                  <a:lnTo>
                    <a:pt x="108258" y="16193"/>
                  </a:lnTo>
                  <a:close/>
                </a:path>
              </a:pathLst>
            </a:custGeom>
            <a:solidFill>
              <a:srgbClr val="101010"/>
            </a:solidFill>
            <a:ln w="9525" cap="flat">
              <a:noFill/>
              <a:prstDash val="solid"/>
              <a:miter/>
            </a:ln>
          </p:spPr>
          <p:txBody>
            <a:bodyPr rtlCol="0" anchor="ctr"/>
            <a:lstStyle/>
            <a:p>
              <a:endParaRPr lang="de-DE"/>
            </a:p>
          </p:txBody>
        </p:sp>
        <p:sp>
          <p:nvSpPr>
            <p:cNvPr id="5274" name="Freeform: Shape 5273">
              <a:extLst>
                <a:ext uri="{FF2B5EF4-FFF2-40B4-BE49-F238E27FC236}">
                  <a16:creationId xmlns:a16="http://schemas.microsoft.com/office/drawing/2014/main" id="{D12F81FA-FF3A-405D-BF50-CDD5883ADB3D}"/>
                </a:ext>
              </a:extLst>
            </p:cNvPr>
            <p:cNvSpPr/>
            <p:nvPr/>
          </p:nvSpPr>
          <p:spPr>
            <a:xfrm>
              <a:off x="6118485" y="3491490"/>
              <a:ext cx="76200" cy="66675"/>
            </a:xfrm>
            <a:custGeom>
              <a:avLst/>
              <a:gdLst>
                <a:gd name="connsiteX0" fmla="*/ 80385 w 76200"/>
                <a:gd name="connsiteY0" fmla="*/ 62288 h 66675"/>
                <a:gd name="connsiteX1" fmla="*/ 7995 w 76200"/>
                <a:gd name="connsiteY1" fmla="*/ 1328 h 66675"/>
                <a:gd name="connsiteX2" fmla="*/ 1328 w 76200"/>
                <a:gd name="connsiteY2" fmla="*/ 2280 h 66675"/>
                <a:gd name="connsiteX3" fmla="*/ 2280 w 76200"/>
                <a:gd name="connsiteY3" fmla="*/ 8948 h 66675"/>
                <a:gd name="connsiteX4" fmla="*/ 74670 w 76200"/>
                <a:gd name="connsiteY4" fmla="*/ 69908 h 66675"/>
                <a:gd name="connsiteX5" fmla="*/ 77528 w 76200"/>
                <a:gd name="connsiteY5" fmla="*/ 70860 h 66675"/>
                <a:gd name="connsiteX6" fmla="*/ 81338 w 76200"/>
                <a:gd name="connsiteY6" fmla="*/ 68955 h 66675"/>
                <a:gd name="connsiteX7" fmla="*/ 80385 w 76200"/>
                <a:gd name="connsiteY7" fmla="*/ 62288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66675">
                  <a:moveTo>
                    <a:pt x="80385" y="62288"/>
                  </a:moveTo>
                  <a:lnTo>
                    <a:pt x="7995" y="1328"/>
                  </a:lnTo>
                  <a:cubicBezTo>
                    <a:pt x="6090" y="-577"/>
                    <a:pt x="3233" y="-577"/>
                    <a:pt x="1328" y="2280"/>
                  </a:cubicBezTo>
                  <a:cubicBezTo>
                    <a:pt x="-577" y="4185"/>
                    <a:pt x="-577" y="7043"/>
                    <a:pt x="2280" y="8948"/>
                  </a:cubicBezTo>
                  <a:lnTo>
                    <a:pt x="74670" y="69908"/>
                  </a:lnTo>
                  <a:cubicBezTo>
                    <a:pt x="75623" y="70860"/>
                    <a:pt x="76575" y="70860"/>
                    <a:pt x="77528" y="70860"/>
                  </a:cubicBezTo>
                  <a:cubicBezTo>
                    <a:pt x="78480" y="70860"/>
                    <a:pt x="80385" y="69908"/>
                    <a:pt x="81338" y="68955"/>
                  </a:cubicBezTo>
                  <a:cubicBezTo>
                    <a:pt x="83243" y="67050"/>
                    <a:pt x="82290" y="64193"/>
                    <a:pt x="80385" y="62288"/>
                  </a:cubicBezTo>
                  <a:close/>
                </a:path>
              </a:pathLst>
            </a:custGeom>
            <a:solidFill>
              <a:srgbClr val="101010"/>
            </a:solidFill>
            <a:ln w="9525" cap="flat">
              <a:noFill/>
              <a:prstDash val="solid"/>
              <a:miter/>
            </a:ln>
          </p:spPr>
          <p:txBody>
            <a:bodyPr rtlCol="0" anchor="ctr"/>
            <a:lstStyle/>
            <a:p>
              <a:endParaRPr lang="de-DE"/>
            </a:p>
          </p:txBody>
        </p:sp>
      </p:grpSp>
      <p:grpSp>
        <p:nvGrpSpPr>
          <p:cNvPr id="5275" name="Graphic 3">
            <a:extLst>
              <a:ext uri="{FF2B5EF4-FFF2-40B4-BE49-F238E27FC236}">
                <a16:creationId xmlns:a16="http://schemas.microsoft.com/office/drawing/2014/main" id="{9464A744-C85D-4EB1-8FE0-7802E2BB4844}"/>
              </a:ext>
              <a:ext uri="{C183D7F6-B498-43B3-948B-1728B52AA6E4}">
                <adec:decorative xmlns:adec="http://schemas.microsoft.com/office/drawing/2017/decorative" val="1"/>
              </a:ext>
            </a:extLst>
          </p:cNvPr>
          <p:cNvGrpSpPr>
            <a:grpSpLocks noChangeAspect="1"/>
          </p:cNvGrpSpPr>
          <p:nvPr/>
        </p:nvGrpSpPr>
        <p:grpSpPr>
          <a:xfrm>
            <a:off x="3914591" y="4170060"/>
            <a:ext cx="105404" cy="132730"/>
            <a:chOff x="5895261" y="3186112"/>
            <a:chExt cx="385763" cy="485776"/>
          </a:xfrm>
          <a:solidFill>
            <a:srgbClr val="101010"/>
          </a:solidFill>
        </p:grpSpPr>
        <p:sp>
          <p:nvSpPr>
            <p:cNvPr id="5276" name="Freeform: Shape 5275">
              <a:extLst>
                <a:ext uri="{FF2B5EF4-FFF2-40B4-BE49-F238E27FC236}">
                  <a16:creationId xmlns:a16="http://schemas.microsoft.com/office/drawing/2014/main" id="{60DF4411-FC99-461A-BD9C-614759D0FF3D}"/>
                </a:ext>
              </a:extLst>
            </p:cNvPr>
            <p:cNvSpPr/>
            <p:nvPr/>
          </p:nvSpPr>
          <p:spPr>
            <a:xfrm>
              <a:off x="5895261" y="3294697"/>
              <a:ext cx="385763" cy="371476"/>
            </a:xfrm>
            <a:custGeom>
              <a:avLst/>
              <a:gdLst>
                <a:gd name="connsiteX0" fmla="*/ 386477 w 385762"/>
                <a:gd name="connsiteY0" fmla="*/ 362903 h 371475"/>
                <a:gd name="connsiteX1" fmla="*/ 359331 w 385762"/>
                <a:gd name="connsiteY1" fmla="*/ 362903 h 371475"/>
                <a:gd name="connsiteX2" fmla="*/ 359331 w 385762"/>
                <a:gd name="connsiteY2" fmla="*/ 180023 h 371475"/>
                <a:gd name="connsiteX3" fmla="*/ 382191 w 385762"/>
                <a:gd name="connsiteY3" fmla="*/ 202883 h 371475"/>
                <a:gd name="connsiteX4" fmla="*/ 387906 w 385762"/>
                <a:gd name="connsiteY4" fmla="*/ 204312 h 371475"/>
                <a:gd name="connsiteX5" fmla="*/ 393621 w 385762"/>
                <a:gd name="connsiteY5" fmla="*/ 202883 h 371475"/>
                <a:gd name="connsiteX6" fmla="*/ 393621 w 385762"/>
                <a:gd name="connsiteY6" fmla="*/ 192882 h 371475"/>
                <a:gd name="connsiteX7" fmla="*/ 200739 w 385762"/>
                <a:gd name="connsiteY7" fmla="*/ 1429 h 371475"/>
                <a:gd name="connsiteX8" fmla="*/ 195024 w 385762"/>
                <a:gd name="connsiteY8" fmla="*/ 0 h 371475"/>
                <a:gd name="connsiteX9" fmla="*/ 189309 w 385762"/>
                <a:gd name="connsiteY9" fmla="*/ 1429 h 371475"/>
                <a:gd name="connsiteX10" fmla="*/ 2143 w 385762"/>
                <a:gd name="connsiteY10" fmla="*/ 192882 h 371475"/>
                <a:gd name="connsiteX11" fmla="*/ 2143 w 385762"/>
                <a:gd name="connsiteY11" fmla="*/ 202883 h 371475"/>
                <a:gd name="connsiteX12" fmla="*/ 12144 w 385762"/>
                <a:gd name="connsiteY12" fmla="*/ 202883 h 371475"/>
                <a:gd name="connsiteX13" fmla="*/ 35004 w 385762"/>
                <a:gd name="connsiteY13" fmla="*/ 180023 h 371475"/>
                <a:gd name="connsiteX14" fmla="*/ 35004 w 385762"/>
                <a:gd name="connsiteY14" fmla="*/ 362903 h 371475"/>
                <a:gd name="connsiteX15" fmla="*/ 7858 w 385762"/>
                <a:gd name="connsiteY15" fmla="*/ 362903 h 371475"/>
                <a:gd name="connsiteX16" fmla="*/ 714 w 385762"/>
                <a:gd name="connsiteY16" fmla="*/ 370047 h 371475"/>
                <a:gd name="connsiteX17" fmla="*/ 7858 w 385762"/>
                <a:gd name="connsiteY17" fmla="*/ 377191 h 371475"/>
                <a:gd name="connsiteX18" fmla="*/ 386477 w 385762"/>
                <a:gd name="connsiteY18" fmla="*/ 377191 h 371475"/>
                <a:gd name="connsiteX19" fmla="*/ 393621 w 385762"/>
                <a:gd name="connsiteY19" fmla="*/ 370047 h 371475"/>
                <a:gd name="connsiteX20" fmla="*/ 386477 w 385762"/>
                <a:gd name="connsiteY20" fmla="*/ 362903 h 371475"/>
                <a:gd name="connsiteX21" fmla="*/ 49292 w 385762"/>
                <a:gd name="connsiteY21" fmla="*/ 165735 h 371475"/>
                <a:gd name="connsiteX22" fmla="*/ 196453 w 385762"/>
                <a:gd name="connsiteY22" fmla="*/ 17145 h 371475"/>
                <a:gd name="connsiteX23" fmla="*/ 345043 w 385762"/>
                <a:gd name="connsiteY23" fmla="*/ 165735 h 371475"/>
                <a:gd name="connsiteX24" fmla="*/ 345043 w 385762"/>
                <a:gd name="connsiteY24" fmla="*/ 362903 h 371475"/>
                <a:gd name="connsiteX25" fmla="*/ 325041 w 385762"/>
                <a:gd name="connsiteY25" fmla="*/ 362903 h 371475"/>
                <a:gd name="connsiteX26" fmla="*/ 325041 w 385762"/>
                <a:gd name="connsiteY26" fmla="*/ 197168 h 371475"/>
                <a:gd name="connsiteX27" fmla="*/ 317897 w 385762"/>
                <a:gd name="connsiteY27" fmla="*/ 190024 h 371475"/>
                <a:gd name="connsiteX28" fmla="*/ 249317 w 385762"/>
                <a:gd name="connsiteY28" fmla="*/ 190024 h 371475"/>
                <a:gd name="connsiteX29" fmla="*/ 242173 w 385762"/>
                <a:gd name="connsiteY29" fmla="*/ 197168 h 371475"/>
                <a:gd name="connsiteX30" fmla="*/ 242173 w 385762"/>
                <a:gd name="connsiteY30" fmla="*/ 362903 h 371475"/>
                <a:gd name="connsiteX31" fmla="*/ 49292 w 385762"/>
                <a:gd name="connsiteY31" fmla="*/ 362903 h 371475"/>
                <a:gd name="connsiteX32" fmla="*/ 49292 w 385762"/>
                <a:gd name="connsiteY32" fmla="*/ 165735 h 371475"/>
                <a:gd name="connsiteX33" fmla="*/ 310753 w 385762"/>
                <a:gd name="connsiteY33" fmla="*/ 362903 h 371475"/>
                <a:gd name="connsiteX34" fmla="*/ 256461 w 385762"/>
                <a:gd name="connsiteY34" fmla="*/ 362903 h 371475"/>
                <a:gd name="connsiteX35" fmla="*/ 256461 w 385762"/>
                <a:gd name="connsiteY35" fmla="*/ 205740 h 371475"/>
                <a:gd name="connsiteX36" fmla="*/ 310753 w 385762"/>
                <a:gd name="connsiteY36" fmla="*/ 205740 h 371475"/>
                <a:gd name="connsiteX37" fmla="*/ 310753 w 385762"/>
                <a:gd name="connsiteY37" fmla="*/ 362903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5762" h="371475">
                  <a:moveTo>
                    <a:pt x="386477" y="362903"/>
                  </a:moveTo>
                  <a:lnTo>
                    <a:pt x="359331" y="362903"/>
                  </a:lnTo>
                  <a:lnTo>
                    <a:pt x="359331" y="180023"/>
                  </a:lnTo>
                  <a:lnTo>
                    <a:pt x="382191" y="202883"/>
                  </a:lnTo>
                  <a:cubicBezTo>
                    <a:pt x="383619" y="204312"/>
                    <a:pt x="385048" y="204312"/>
                    <a:pt x="387906" y="204312"/>
                  </a:cubicBezTo>
                  <a:cubicBezTo>
                    <a:pt x="389334" y="204312"/>
                    <a:pt x="392192" y="204312"/>
                    <a:pt x="393621" y="202883"/>
                  </a:cubicBezTo>
                  <a:cubicBezTo>
                    <a:pt x="396478" y="200025"/>
                    <a:pt x="396478" y="195739"/>
                    <a:pt x="393621" y="192882"/>
                  </a:cubicBezTo>
                  <a:lnTo>
                    <a:pt x="200739" y="1429"/>
                  </a:lnTo>
                  <a:cubicBezTo>
                    <a:pt x="199311" y="0"/>
                    <a:pt x="197882" y="0"/>
                    <a:pt x="195024" y="0"/>
                  </a:cubicBezTo>
                  <a:cubicBezTo>
                    <a:pt x="193596" y="0"/>
                    <a:pt x="190738" y="1429"/>
                    <a:pt x="189309" y="1429"/>
                  </a:cubicBezTo>
                  <a:lnTo>
                    <a:pt x="2143" y="192882"/>
                  </a:lnTo>
                  <a:cubicBezTo>
                    <a:pt x="-714" y="195739"/>
                    <a:pt x="-714" y="200025"/>
                    <a:pt x="2143" y="202883"/>
                  </a:cubicBezTo>
                  <a:cubicBezTo>
                    <a:pt x="5001" y="205740"/>
                    <a:pt x="9287" y="205740"/>
                    <a:pt x="12144" y="202883"/>
                  </a:cubicBezTo>
                  <a:lnTo>
                    <a:pt x="35004" y="180023"/>
                  </a:lnTo>
                  <a:lnTo>
                    <a:pt x="35004" y="362903"/>
                  </a:lnTo>
                  <a:lnTo>
                    <a:pt x="7858" y="362903"/>
                  </a:lnTo>
                  <a:cubicBezTo>
                    <a:pt x="3572" y="362903"/>
                    <a:pt x="714" y="365761"/>
                    <a:pt x="714" y="370047"/>
                  </a:cubicBezTo>
                  <a:cubicBezTo>
                    <a:pt x="714" y="374333"/>
                    <a:pt x="3572" y="377191"/>
                    <a:pt x="7858" y="377191"/>
                  </a:cubicBezTo>
                  <a:lnTo>
                    <a:pt x="386477" y="377191"/>
                  </a:lnTo>
                  <a:cubicBezTo>
                    <a:pt x="390763" y="377191"/>
                    <a:pt x="393621" y="374333"/>
                    <a:pt x="393621" y="370047"/>
                  </a:cubicBezTo>
                  <a:cubicBezTo>
                    <a:pt x="393621" y="365761"/>
                    <a:pt x="390763" y="362903"/>
                    <a:pt x="386477" y="362903"/>
                  </a:cubicBezTo>
                  <a:close/>
                  <a:moveTo>
                    <a:pt x="49292" y="165735"/>
                  </a:moveTo>
                  <a:lnTo>
                    <a:pt x="196453" y="17145"/>
                  </a:lnTo>
                  <a:lnTo>
                    <a:pt x="345043" y="165735"/>
                  </a:lnTo>
                  <a:lnTo>
                    <a:pt x="345043" y="362903"/>
                  </a:lnTo>
                  <a:lnTo>
                    <a:pt x="325041" y="362903"/>
                  </a:lnTo>
                  <a:lnTo>
                    <a:pt x="325041" y="197168"/>
                  </a:lnTo>
                  <a:cubicBezTo>
                    <a:pt x="325041" y="192882"/>
                    <a:pt x="322183" y="190024"/>
                    <a:pt x="317897" y="190024"/>
                  </a:cubicBezTo>
                  <a:lnTo>
                    <a:pt x="249317" y="190024"/>
                  </a:lnTo>
                  <a:cubicBezTo>
                    <a:pt x="245031" y="190024"/>
                    <a:pt x="242173" y="192882"/>
                    <a:pt x="242173" y="197168"/>
                  </a:cubicBezTo>
                  <a:lnTo>
                    <a:pt x="242173" y="362903"/>
                  </a:lnTo>
                  <a:lnTo>
                    <a:pt x="49292" y="362903"/>
                  </a:lnTo>
                  <a:lnTo>
                    <a:pt x="49292" y="165735"/>
                  </a:lnTo>
                  <a:close/>
                  <a:moveTo>
                    <a:pt x="310753" y="362903"/>
                  </a:moveTo>
                  <a:lnTo>
                    <a:pt x="256461" y="362903"/>
                  </a:lnTo>
                  <a:lnTo>
                    <a:pt x="256461" y="205740"/>
                  </a:lnTo>
                  <a:lnTo>
                    <a:pt x="310753" y="205740"/>
                  </a:lnTo>
                  <a:lnTo>
                    <a:pt x="310753" y="362903"/>
                  </a:lnTo>
                  <a:close/>
                </a:path>
              </a:pathLst>
            </a:custGeom>
            <a:solidFill>
              <a:srgbClr val="101010"/>
            </a:solidFill>
            <a:ln w="14288" cap="flat">
              <a:noFill/>
              <a:prstDash val="solid"/>
              <a:miter/>
            </a:ln>
          </p:spPr>
          <p:txBody>
            <a:bodyPr rtlCol="0" anchor="ctr"/>
            <a:lstStyle/>
            <a:p>
              <a:endParaRPr lang="de-DE"/>
            </a:p>
          </p:txBody>
        </p:sp>
        <p:sp>
          <p:nvSpPr>
            <p:cNvPr id="5277" name="Freeform: Shape 5276">
              <a:extLst>
                <a:ext uri="{FF2B5EF4-FFF2-40B4-BE49-F238E27FC236}">
                  <a16:creationId xmlns:a16="http://schemas.microsoft.com/office/drawing/2014/main" id="{119D385A-EC91-4996-A34A-7D8FD7FD09A7}"/>
                </a:ext>
              </a:extLst>
            </p:cNvPr>
            <p:cNvSpPr/>
            <p:nvPr/>
          </p:nvSpPr>
          <p:spPr>
            <a:xfrm>
              <a:off x="5964555" y="3484721"/>
              <a:ext cx="142875" cy="142875"/>
            </a:xfrm>
            <a:custGeom>
              <a:avLst/>
              <a:gdLst>
                <a:gd name="connsiteX0" fmla="*/ 144304 w 142875"/>
                <a:gd name="connsiteY0" fmla="*/ 0 h 142875"/>
                <a:gd name="connsiteX1" fmla="*/ 77152 w 142875"/>
                <a:gd name="connsiteY1" fmla="*/ 0 h 142875"/>
                <a:gd name="connsiteX2" fmla="*/ 75724 w 142875"/>
                <a:gd name="connsiteY2" fmla="*/ 0 h 142875"/>
                <a:gd name="connsiteX3" fmla="*/ 74295 w 142875"/>
                <a:gd name="connsiteY3" fmla="*/ 0 h 142875"/>
                <a:gd name="connsiteX4" fmla="*/ 7144 w 142875"/>
                <a:gd name="connsiteY4" fmla="*/ 0 h 142875"/>
                <a:gd name="connsiteX5" fmla="*/ 0 w 142875"/>
                <a:gd name="connsiteY5" fmla="*/ 7144 h 142875"/>
                <a:gd name="connsiteX6" fmla="*/ 0 w 142875"/>
                <a:gd name="connsiteY6" fmla="*/ 144304 h 142875"/>
                <a:gd name="connsiteX7" fmla="*/ 7144 w 142875"/>
                <a:gd name="connsiteY7" fmla="*/ 151448 h 142875"/>
                <a:gd name="connsiteX8" fmla="*/ 144304 w 142875"/>
                <a:gd name="connsiteY8" fmla="*/ 151448 h 142875"/>
                <a:gd name="connsiteX9" fmla="*/ 151447 w 142875"/>
                <a:gd name="connsiteY9" fmla="*/ 144304 h 142875"/>
                <a:gd name="connsiteX10" fmla="*/ 151447 w 142875"/>
                <a:gd name="connsiteY10" fmla="*/ 7144 h 142875"/>
                <a:gd name="connsiteX11" fmla="*/ 144304 w 142875"/>
                <a:gd name="connsiteY11" fmla="*/ 0 h 142875"/>
                <a:gd name="connsiteX12" fmla="*/ 137160 w 142875"/>
                <a:gd name="connsiteY12" fmla="*/ 70009 h 142875"/>
                <a:gd name="connsiteX13" fmla="*/ 82868 w 142875"/>
                <a:gd name="connsiteY13" fmla="*/ 70009 h 142875"/>
                <a:gd name="connsiteX14" fmla="*/ 82868 w 142875"/>
                <a:gd name="connsiteY14" fmla="*/ 15716 h 142875"/>
                <a:gd name="connsiteX15" fmla="*/ 137160 w 142875"/>
                <a:gd name="connsiteY15" fmla="*/ 15716 h 142875"/>
                <a:gd name="connsiteX16" fmla="*/ 137160 w 142875"/>
                <a:gd name="connsiteY16" fmla="*/ 70009 h 142875"/>
                <a:gd name="connsiteX17" fmla="*/ 68580 w 142875"/>
                <a:gd name="connsiteY17" fmla="*/ 14288 h 142875"/>
                <a:gd name="connsiteX18" fmla="*/ 68580 w 142875"/>
                <a:gd name="connsiteY18" fmla="*/ 68580 h 142875"/>
                <a:gd name="connsiteX19" fmla="*/ 14288 w 142875"/>
                <a:gd name="connsiteY19" fmla="*/ 68580 h 142875"/>
                <a:gd name="connsiteX20" fmla="*/ 14288 w 142875"/>
                <a:gd name="connsiteY20" fmla="*/ 14288 h 142875"/>
                <a:gd name="connsiteX21" fmla="*/ 68580 w 142875"/>
                <a:gd name="connsiteY21" fmla="*/ 14288 h 142875"/>
                <a:gd name="connsiteX22" fmla="*/ 14288 w 142875"/>
                <a:gd name="connsiteY22" fmla="*/ 84296 h 142875"/>
                <a:gd name="connsiteX23" fmla="*/ 68580 w 142875"/>
                <a:gd name="connsiteY23" fmla="*/ 84296 h 142875"/>
                <a:gd name="connsiteX24" fmla="*/ 68580 w 142875"/>
                <a:gd name="connsiteY24" fmla="*/ 138589 h 142875"/>
                <a:gd name="connsiteX25" fmla="*/ 14288 w 142875"/>
                <a:gd name="connsiteY25" fmla="*/ 138589 h 142875"/>
                <a:gd name="connsiteX26" fmla="*/ 14288 w 142875"/>
                <a:gd name="connsiteY26" fmla="*/ 84296 h 142875"/>
                <a:gd name="connsiteX27" fmla="*/ 82868 w 142875"/>
                <a:gd name="connsiteY27" fmla="*/ 138589 h 142875"/>
                <a:gd name="connsiteX28" fmla="*/ 82868 w 142875"/>
                <a:gd name="connsiteY28" fmla="*/ 84296 h 142875"/>
                <a:gd name="connsiteX29" fmla="*/ 137160 w 142875"/>
                <a:gd name="connsiteY29" fmla="*/ 84296 h 142875"/>
                <a:gd name="connsiteX30" fmla="*/ 137160 w 142875"/>
                <a:gd name="connsiteY30" fmla="*/ 138589 h 142875"/>
                <a:gd name="connsiteX31" fmla="*/ 82868 w 142875"/>
                <a:gd name="connsiteY31" fmla="*/ 13858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2875" h="142875">
                  <a:moveTo>
                    <a:pt x="144304" y="0"/>
                  </a:moveTo>
                  <a:lnTo>
                    <a:pt x="77152" y="0"/>
                  </a:lnTo>
                  <a:cubicBezTo>
                    <a:pt x="77152" y="0"/>
                    <a:pt x="75724" y="0"/>
                    <a:pt x="75724" y="0"/>
                  </a:cubicBezTo>
                  <a:cubicBezTo>
                    <a:pt x="75724" y="0"/>
                    <a:pt x="74295" y="0"/>
                    <a:pt x="74295" y="0"/>
                  </a:cubicBezTo>
                  <a:lnTo>
                    <a:pt x="7144" y="0"/>
                  </a:lnTo>
                  <a:cubicBezTo>
                    <a:pt x="2857" y="0"/>
                    <a:pt x="0" y="2858"/>
                    <a:pt x="0" y="7144"/>
                  </a:cubicBezTo>
                  <a:lnTo>
                    <a:pt x="0" y="144304"/>
                  </a:lnTo>
                  <a:cubicBezTo>
                    <a:pt x="0" y="148590"/>
                    <a:pt x="2857" y="151448"/>
                    <a:pt x="7144" y="151448"/>
                  </a:cubicBezTo>
                  <a:lnTo>
                    <a:pt x="144304" y="151448"/>
                  </a:lnTo>
                  <a:cubicBezTo>
                    <a:pt x="148590" y="151448"/>
                    <a:pt x="151447" y="148590"/>
                    <a:pt x="151447" y="144304"/>
                  </a:cubicBezTo>
                  <a:lnTo>
                    <a:pt x="151447" y="7144"/>
                  </a:lnTo>
                  <a:cubicBezTo>
                    <a:pt x="151447" y="4286"/>
                    <a:pt x="148590" y="0"/>
                    <a:pt x="144304" y="0"/>
                  </a:cubicBezTo>
                  <a:close/>
                  <a:moveTo>
                    <a:pt x="137160" y="70009"/>
                  </a:moveTo>
                  <a:lnTo>
                    <a:pt x="82868" y="70009"/>
                  </a:lnTo>
                  <a:lnTo>
                    <a:pt x="82868" y="15716"/>
                  </a:lnTo>
                  <a:lnTo>
                    <a:pt x="137160" y="15716"/>
                  </a:lnTo>
                  <a:lnTo>
                    <a:pt x="137160" y="70009"/>
                  </a:lnTo>
                  <a:close/>
                  <a:moveTo>
                    <a:pt x="68580" y="14288"/>
                  </a:moveTo>
                  <a:lnTo>
                    <a:pt x="68580" y="68580"/>
                  </a:lnTo>
                  <a:lnTo>
                    <a:pt x="14288" y="68580"/>
                  </a:lnTo>
                  <a:lnTo>
                    <a:pt x="14288" y="14288"/>
                  </a:lnTo>
                  <a:lnTo>
                    <a:pt x="68580" y="14288"/>
                  </a:lnTo>
                  <a:close/>
                  <a:moveTo>
                    <a:pt x="14288" y="84296"/>
                  </a:moveTo>
                  <a:lnTo>
                    <a:pt x="68580" y="84296"/>
                  </a:lnTo>
                  <a:lnTo>
                    <a:pt x="68580" y="138589"/>
                  </a:lnTo>
                  <a:lnTo>
                    <a:pt x="14288" y="138589"/>
                  </a:lnTo>
                  <a:lnTo>
                    <a:pt x="14288" y="84296"/>
                  </a:lnTo>
                  <a:close/>
                  <a:moveTo>
                    <a:pt x="82868" y="138589"/>
                  </a:moveTo>
                  <a:lnTo>
                    <a:pt x="82868" y="84296"/>
                  </a:lnTo>
                  <a:lnTo>
                    <a:pt x="137160" y="84296"/>
                  </a:lnTo>
                  <a:lnTo>
                    <a:pt x="137160" y="138589"/>
                  </a:lnTo>
                  <a:lnTo>
                    <a:pt x="82868" y="138589"/>
                  </a:lnTo>
                  <a:close/>
                </a:path>
              </a:pathLst>
            </a:custGeom>
            <a:solidFill>
              <a:srgbClr val="101010"/>
            </a:solidFill>
            <a:ln w="14288" cap="flat">
              <a:noFill/>
              <a:prstDash val="solid"/>
              <a:miter/>
            </a:ln>
          </p:spPr>
          <p:txBody>
            <a:bodyPr rtlCol="0" anchor="ctr"/>
            <a:lstStyle/>
            <a:p>
              <a:endParaRPr lang="de-DE"/>
            </a:p>
          </p:txBody>
        </p:sp>
        <p:sp>
          <p:nvSpPr>
            <p:cNvPr id="5278" name="Freeform: Shape 5277">
              <a:extLst>
                <a:ext uri="{FF2B5EF4-FFF2-40B4-BE49-F238E27FC236}">
                  <a16:creationId xmlns:a16="http://schemas.microsoft.com/office/drawing/2014/main" id="{B9839942-2BDD-43C7-9EAE-2B77D3811261}"/>
                </a:ext>
              </a:extLst>
            </p:cNvPr>
            <p:cNvSpPr/>
            <p:nvPr/>
          </p:nvSpPr>
          <p:spPr>
            <a:xfrm>
              <a:off x="6070997" y="3243619"/>
              <a:ext cx="28575" cy="28575"/>
            </a:xfrm>
            <a:custGeom>
              <a:avLst/>
              <a:gdLst>
                <a:gd name="connsiteX0" fmla="*/ 20717 w 28575"/>
                <a:gd name="connsiteY0" fmla="*/ 39648 h 28575"/>
                <a:gd name="connsiteX1" fmla="*/ 35004 w 28575"/>
                <a:gd name="connsiteY1" fmla="*/ 33933 h 28575"/>
                <a:gd name="connsiteX2" fmla="*/ 40719 w 28575"/>
                <a:gd name="connsiteY2" fmla="*/ 19645 h 28575"/>
                <a:gd name="connsiteX3" fmla="*/ 35004 w 28575"/>
                <a:gd name="connsiteY3" fmla="*/ 5358 h 28575"/>
                <a:gd name="connsiteX4" fmla="*/ 6429 w 28575"/>
                <a:gd name="connsiteY4" fmla="*/ 5358 h 28575"/>
                <a:gd name="connsiteX5" fmla="*/ 6429 w 28575"/>
                <a:gd name="connsiteY5" fmla="*/ 33933 h 28575"/>
                <a:gd name="connsiteX6" fmla="*/ 6429 w 28575"/>
                <a:gd name="connsiteY6" fmla="*/ 33933 h 28575"/>
                <a:gd name="connsiteX7" fmla="*/ 20717 w 28575"/>
                <a:gd name="connsiteY7" fmla="*/ 39648 h 28575"/>
                <a:gd name="connsiteX8" fmla="*/ 16431 w 28575"/>
                <a:gd name="connsiteY8" fmla="*/ 15359 h 28575"/>
                <a:gd name="connsiteX9" fmla="*/ 25003 w 28575"/>
                <a:gd name="connsiteY9" fmla="*/ 15359 h 28575"/>
                <a:gd name="connsiteX10" fmla="*/ 26432 w 28575"/>
                <a:gd name="connsiteY10" fmla="*/ 19645 h 28575"/>
                <a:gd name="connsiteX11" fmla="*/ 25003 w 28575"/>
                <a:gd name="connsiteY11" fmla="*/ 23932 h 28575"/>
                <a:gd name="connsiteX12" fmla="*/ 16431 w 28575"/>
                <a:gd name="connsiteY12" fmla="*/ 23932 h 28575"/>
                <a:gd name="connsiteX13" fmla="*/ 16431 w 28575"/>
                <a:gd name="connsiteY13" fmla="*/ 15359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575" h="28575">
                  <a:moveTo>
                    <a:pt x="20717" y="39648"/>
                  </a:moveTo>
                  <a:cubicBezTo>
                    <a:pt x="26432" y="39648"/>
                    <a:pt x="30718" y="38219"/>
                    <a:pt x="35004" y="33933"/>
                  </a:cubicBezTo>
                  <a:cubicBezTo>
                    <a:pt x="39291" y="29647"/>
                    <a:pt x="40719" y="25360"/>
                    <a:pt x="40719" y="19645"/>
                  </a:cubicBezTo>
                  <a:cubicBezTo>
                    <a:pt x="40719" y="13930"/>
                    <a:pt x="39291" y="9644"/>
                    <a:pt x="35004" y="5358"/>
                  </a:cubicBezTo>
                  <a:cubicBezTo>
                    <a:pt x="27861" y="-1786"/>
                    <a:pt x="13573" y="-1786"/>
                    <a:pt x="6429" y="5358"/>
                  </a:cubicBezTo>
                  <a:cubicBezTo>
                    <a:pt x="-2143" y="13930"/>
                    <a:pt x="-2143" y="26789"/>
                    <a:pt x="6429" y="33933"/>
                  </a:cubicBezTo>
                  <a:cubicBezTo>
                    <a:pt x="6429" y="33933"/>
                    <a:pt x="6429" y="33933"/>
                    <a:pt x="6429" y="33933"/>
                  </a:cubicBezTo>
                  <a:cubicBezTo>
                    <a:pt x="10716" y="38219"/>
                    <a:pt x="16431" y="39648"/>
                    <a:pt x="20717" y="39648"/>
                  </a:cubicBezTo>
                  <a:close/>
                  <a:moveTo>
                    <a:pt x="16431" y="15359"/>
                  </a:moveTo>
                  <a:cubicBezTo>
                    <a:pt x="19288" y="12502"/>
                    <a:pt x="22146" y="12502"/>
                    <a:pt x="25003" y="15359"/>
                  </a:cubicBezTo>
                  <a:cubicBezTo>
                    <a:pt x="26432" y="16788"/>
                    <a:pt x="26432" y="18217"/>
                    <a:pt x="26432" y="19645"/>
                  </a:cubicBezTo>
                  <a:cubicBezTo>
                    <a:pt x="26432" y="21074"/>
                    <a:pt x="26432" y="22503"/>
                    <a:pt x="25003" y="23932"/>
                  </a:cubicBezTo>
                  <a:cubicBezTo>
                    <a:pt x="22146" y="26789"/>
                    <a:pt x="19288" y="26789"/>
                    <a:pt x="16431" y="23932"/>
                  </a:cubicBezTo>
                  <a:cubicBezTo>
                    <a:pt x="15002" y="21074"/>
                    <a:pt x="15002" y="16788"/>
                    <a:pt x="16431" y="15359"/>
                  </a:cubicBezTo>
                  <a:close/>
                </a:path>
              </a:pathLst>
            </a:custGeom>
            <a:solidFill>
              <a:srgbClr val="101010"/>
            </a:solidFill>
            <a:ln w="14288" cap="flat">
              <a:noFill/>
              <a:prstDash val="solid"/>
              <a:miter/>
            </a:ln>
          </p:spPr>
          <p:txBody>
            <a:bodyPr rtlCol="0" anchor="ctr"/>
            <a:lstStyle/>
            <a:p>
              <a:endParaRPr lang="de-DE"/>
            </a:p>
          </p:txBody>
        </p:sp>
        <p:sp>
          <p:nvSpPr>
            <p:cNvPr id="5279" name="Freeform: Shape 5278">
              <a:extLst>
                <a:ext uri="{FF2B5EF4-FFF2-40B4-BE49-F238E27FC236}">
                  <a16:creationId xmlns:a16="http://schemas.microsoft.com/office/drawing/2014/main" id="{EE822330-829E-4E54-A9AA-E915DC279CA6}"/>
                </a:ext>
              </a:extLst>
            </p:cNvPr>
            <p:cNvSpPr/>
            <p:nvPr/>
          </p:nvSpPr>
          <p:spPr>
            <a:xfrm>
              <a:off x="6056709" y="3215044"/>
              <a:ext cx="57150" cy="14288"/>
            </a:xfrm>
            <a:custGeom>
              <a:avLst/>
              <a:gdLst>
                <a:gd name="connsiteX0" fmla="*/ 69294 w 57150"/>
                <a:gd name="connsiteY0" fmla="*/ 23932 h 14287"/>
                <a:gd name="connsiteX1" fmla="*/ 69294 w 57150"/>
                <a:gd name="connsiteY1" fmla="*/ 13930 h 14287"/>
                <a:gd name="connsiteX2" fmla="*/ 2143 w 57150"/>
                <a:gd name="connsiteY2" fmla="*/ 13930 h 14287"/>
                <a:gd name="connsiteX3" fmla="*/ 2143 w 57150"/>
                <a:gd name="connsiteY3" fmla="*/ 23932 h 14287"/>
                <a:gd name="connsiteX4" fmla="*/ 7858 w 57150"/>
                <a:gd name="connsiteY4" fmla="*/ 25360 h 14287"/>
                <a:gd name="connsiteX5" fmla="*/ 13573 w 57150"/>
                <a:gd name="connsiteY5" fmla="*/ 23932 h 14287"/>
                <a:gd name="connsiteX6" fmla="*/ 37862 w 57150"/>
                <a:gd name="connsiteY6" fmla="*/ 13930 h 14287"/>
                <a:gd name="connsiteX7" fmla="*/ 37862 w 57150"/>
                <a:gd name="connsiteY7" fmla="*/ 13930 h 14287"/>
                <a:gd name="connsiteX8" fmla="*/ 62151 w 57150"/>
                <a:gd name="connsiteY8" fmla="*/ 23932 h 14287"/>
                <a:gd name="connsiteX9" fmla="*/ 69294 w 57150"/>
                <a:gd name="connsiteY9" fmla="*/ 23932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14287">
                  <a:moveTo>
                    <a:pt x="69294" y="23932"/>
                  </a:moveTo>
                  <a:cubicBezTo>
                    <a:pt x="72152" y="21074"/>
                    <a:pt x="72152" y="16788"/>
                    <a:pt x="69294" y="13930"/>
                  </a:cubicBezTo>
                  <a:cubicBezTo>
                    <a:pt x="50721" y="-4643"/>
                    <a:pt x="20717" y="-4643"/>
                    <a:pt x="2143" y="13930"/>
                  </a:cubicBezTo>
                  <a:cubicBezTo>
                    <a:pt x="-714" y="16788"/>
                    <a:pt x="-714" y="21074"/>
                    <a:pt x="2143" y="23932"/>
                  </a:cubicBezTo>
                  <a:cubicBezTo>
                    <a:pt x="3572" y="25360"/>
                    <a:pt x="5001" y="25360"/>
                    <a:pt x="7858" y="25360"/>
                  </a:cubicBezTo>
                  <a:cubicBezTo>
                    <a:pt x="10716" y="25360"/>
                    <a:pt x="12144" y="25360"/>
                    <a:pt x="13573" y="23932"/>
                  </a:cubicBezTo>
                  <a:cubicBezTo>
                    <a:pt x="19288" y="18217"/>
                    <a:pt x="27861" y="13930"/>
                    <a:pt x="37862" y="13930"/>
                  </a:cubicBezTo>
                  <a:cubicBezTo>
                    <a:pt x="37862" y="13930"/>
                    <a:pt x="37862" y="13930"/>
                    <a:pt x="37862" y="13930"/>
                  </a:cubicBezTo>
                  <a:cubicBezTo>
                    <a:pt x="46434" y="13930"/>
                    <a:pt x="55007" y="16788"/>
                    <a:pt x="62151" y="23932"/>
                  </a:cubicBezTo>
                  <a:cubicBezTo>
                    <a:pt x="62151" y="26789"/>
                    <a:pt x="66437" y="26789"/>
                    <a:pt x="69294" y="23932"/>
                  </a:cubicBezTo>
                  <a:close/>
                </a:path>
              </a:pathLst>
            </a:custGeom>
            <a:solidFill>
              <a:srgbClr val="101010"/>
            </a:solidFill>
            <a:ln w="14288" cap="flat">
              <a:noFill/>
              <a:prstDash val="solid"/>
              <a:miter/>
            </a:ln>
          </p:spPr>
          <p:txBody>
            <a:bodyPr rtlCol="0" anchor="ctr"/>
            <a:lstStyle/>
            <a:p>
              <a:endParaRPr lang="de-DE"/>
            </a:p>
          </p:txBody>
        </p:sp>
        <p:sp>
          <p:nvSpPr>
            <p:cNvPr id="5280" name="Freeform: Shape 5279">
              <a:extLst>
                <a:ext uri="{FF2B5EF4-FFF2-40B4-BE49-F238E27FC236}">
                  <a16:creationId xmlns:a16="http://schemas.microsoft.com/office/drawing/2014/main" id="{1B3F43AA-D401-4EDA-AC10-B68498EC2753}"/>
                </a:ext>
              </a:extLst>
            </p:cNvPr>
            <p:cNvSpPr/>
            <p:nvPr/>
          </p:nvSpPr>
          <p:spPr>
            <a:xfrm>
              <a:off x="6035278" y="3186112"/>
              <a:ext cx="100013" cy="28575"/>
            </a:xfrm>
            <a:custGeom>
              <a:avLst/>
              <a:gdLst>
                <a:gd name="connsiteX0" fmla="*/ 7858 w 100012"/>
                <a:gd name="connsiteY0" fmla="*/ 34290 h 28575"/>
                <a:gd name="connsiteX1" fmla="*/ 13573 w 100012"/>
                <a:gd name="connsiteY1" fmla="*/ 32861 h 28575"/>
                <a:gd name="connsiteX2" fmla="*/ 56436 w 100012"/>
                <a:gd name="connsiteY2" fmla="*/ 14288 h 28575"/>
                <a:gd name="connsiteX3" fmla="*/ 56436 w 100012"/>
                <a:gd name="connsiteY3" fmla="*/ 14288 h 28575"/>
                <a:gd name="connsiteX4" fmla="*/ 100727 w 100012"/>
                <a:gd name="connsiteY4" fmla="*/ 32861 h 28575"/>
                <a:gd name="connsiteX5" fmla="*/ 110728 w 100012"/>
                <a:gd name="connsiteY5" fmla="*/ 32861 h 28575"/>
                <a:gd name="connsiteX6" fmla="*/ 110728 w 100012"/>
                <a:gd name="connsiteY6" fmla="*/ 22860 h 28575"/>
                <a:gd name="connsiteX7" fmla="*/ 56436 w 100012"/>
                <a:gd name="connsiteY7" fmla="*/ 0 h 28575"/>
                <a:gd name="connsiteX8" fmla="*/ 56436 w 100012"/>
                <a:gd name="connsiteY8" fmla="*/ 0 h 28575"/>
                <a:gd name="connsiteX9" fmla="*/ 2143 w 100012"/>
                <a:gd name="connsiteY9" fmla="*/ 22860 h 28575"/>
                <a:gd name="connsiteX10" fmla="*/ 2143 w 100012"/>
                <a:gd name="connsiteY10" fmla="*/ 32861 h 28575"/>
                <a:gd name="connsiteX11" fmla="*/ 7858 w 100012"/>
                <a:gd name="connsiteY11" fmla="*/ 3429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12" h="28575">
                  <a:moveTo>
                    <a:pt x="7858" y="34290"/>
                  </a:moveTo>
                  <a:cubicBezTo>
                    <a:pt x="9287" y="34290"/>
                    <a:pt x="12144" y="34290"/>
                    <a:pt x="13573" y="32861"/>
                  </a:cubicBezTo>
                  <a:cubicBezTo>
                    <a:pt x="25003" y="21431"/>
                    <a:pt x="40719" y="14288"/>
                    <a:pt x="56436" y="14288"/>
                  </a:cubicBezTo>
                  <a:cubicBezTo>
                    <a:pt x="56436" y="14288"/>
                    <a:pt x="56436" y="14288"/>
                    <a:pt x="56436" y="14288"/>
                  </a:cubicBezTo>
                  <a:cubicBezTo>
                    <a:pt x="73581" y="14288"/>
                    <a:pt x="89297" y="21431"/>
                    <a:pt x="100727" y="32861"/>
                  </a:cubicBezTo>
                  <a:cubicBezTo>
                    <a:pt x="103584" y="35719"/>
                    <a:pt x="107871" y="35719"/>
                    <a:pt x="110728" y="32861"/>
                  </a:cubicBezTo>
                  <a:cubicBezTo>
                    <a:pt x="113586" y="30004"/>
                    <a:pt x="113586" y="25718"/>
                    <a:pt x="110728" y="22860"/>
                  </a:cubicBezTo>
                  <a:cubicBezTo>
                    <a:pt x="96441" y="8573"/>
                    <a:pt x="76438" y="0"/>
                    <a:pt x="56436" y="0"/>
                  </a:cubicBezTo>
                  <a:cubicBezTo>
                    <a:pt x="56436" y="0"/>
                    <a:pt x="56436" y="0"/>
                    <a:pt x="56436" y="0"/>
                  </a:cubicBezTo>
                  <a:cubicBezTo>
                    <a:pt x="36433" y="0"/>
                    <a:pt x="17859" y="8573"/>
                    <a:pt x="2143" y="22860"/>
                  </a:cubicBezTo>
                  <a:cubicBezTo>
                    <a:pt x="-714" y="25718"/>
                    <a:pt x="-714" y="30004"/>
                    <a:pt x="2143" y="32861"/>
                  </a:cubicBezTo>
                  <a:cubicBezTo>
                    <a:pt x="3572" y="34290"/>
                    <a:pt x="6429" y="34290"/>
                    <a:pt x="7858" y="34290"/>
                  </a:cubicBezTo>
                  <a:close/>
                </a:path>
              </a:pathLst>
            </a:custGeom>
            <a:solidFill>
              <a:srgbClr val="101010"/>
            </a:solidFill>
            <a:ln w="14288" cap="flat">
              <a:noFill/>
              <a:prstDash val="solid"/>
              <a:miter/>
            </a:ln>
          </p:spPr>
          <p:txBody>
            <a:bodyPr rtlCol="0" anchor="ctr"/>
            <a:lstStyle/>
            <a:p>
              <a:endParaRPr lang="de-DE"/>
            </a:p>
          </p:txBody>
        </p:sp>
      </p:grpSp>
      <p:grpSp>
        <p:nvGrpSpPr>
          <p:cNvPr id="5281" name="Graphic 3">
            <a:extLst>
              <a:ext uri="{FF2B5EF4-FFF2-40B4-BE49-F238E27FC236}">
                <a16:creationId xmlns:a16="http://schemas.microsoft.com/office/drawing/2014/main" id="{8A3C62BC-5233-498C-8DF7-02BF33C8BC10}"/>
              </a:ext>
              <a:ext uri="{C183D7F6-B498-43B3-948B-1728B52AA6E4}">
                <adec:decorative xmlns:adec="http://schemas.microsoft.com/office/drawing/2017/decorative" val="1"/>
              </a:ext>
            </a:extLst>
          </p:cNvPr>
          <p:cNvGrpSpPr>
            <a:grpSpLocks noChangeAspect="1"/>
          </p:cNvGrpSpPr>
          <p:nvPr/>
        </p:nvGrpSpPr>
        <p:grpSpPr>
          <a:xfrm>
            <a:off x="4177665" y="4172055"/>
            <a:ext cx="88279" cy="128740"/>
            <a:chOff x="5927724" y="3187021"/>
            <a:chExt cx="323090" cy="471170"/>
          </a:xfrm>
          <a:solidFill>
            <a:srgbClr val="101010"/>
          </a:solidFill>
        </p:grpSpPr>
        <p:sp>
          <p:nvSpPr>
            <p:cNvPr id="5282" name="Freeform: Shape 5281">
              <a:extLst>
                <a:ext uri="{FF2B5EF4-FFF2-40B4-BE49-F238E27FC236}">
                  <a16:creationId xmlns:a16="http://schemas.microsoft.com/office/drawing/2014/main" id="{CEDB8683-DBCB-4A1D-9F49-1A47858F8408}"/>
                </a:ext>
              </a:extLst>
            </p:cNvPr>
            <p:cNvSpPr/>
            <p:nvPr/>
          </p:nvSpPr>
          <p:spPr>
            <a:xfrm>
              <a:off x="6013881" y="3372460"/>
              <a:ext cx="161545" cy="148082"/>
            </a:xfrm>
            <a:custGeom>
              <a:avLst/>
              <a:gdLst>
                <a:gd name="connsiteX0" fmla="*/ 6731 w 161544"/>
                <a:gd name="connsiteY0" fmla="*/ 152121 h 148082"/>
                <a:gd name="connsiteX1" fmla="*/ 156160 w 161544"/>
                <a:gd name="connsiteY1" fmla="*/ 152121 h 148082"/>
                <a:gd name="connsiteX2" fmla="*/ 162891 w 161544"/>
                <a:gd name="connsiteY2" fmla="*/ 145390 h 148082"/>
                <a:gd name="connsiteX3" fmla="*/ 162891 w 161544"/>
                <a:gd name="connsiteY3" fmla="*/ 6731 h 148082"/>
                <a:gd name="connsiteX4" fmla="*/ 156160 w 161544"/>
                <a:gd name="connsiteY4" fmla="*/ 0 h 148082"/>
                <a:gd name="connsiteX5" fmla="*/ 6731 w 161544"/>
                <a:gd name="connsiteY5" fmla="*/ 0 h 148082"/>
                <a:gd name="connsiteX6" fmla="*/ 0 w 161544"/>
                <a:gd name="connsiteY6" fmla="*/ 6731 h 148082"/>
                <a:gd name="connsiteX7" fmla="*/ 0 w 161544"/>
                <a:gd name="connsiteY7" fmla="*/ 145390 h 148082"/>
                <a:gd name="connsiteX8" fmla="*/ 6731 w 161544"/>
                <a:gd name="connsiteY8" fmla="*/ 152121 h 148082"/>
                <a:gd name="connsiteX9" fmla="*/ 149429 w 161544"/>
                <a:gd name="connsiteY9" fmla="*/ 91542 h 148082"/>
                <a:gd name="connsiteX10" fmla="*/ 111735 w 161544"/>
                <a:gd name="connsiteY10" fmla="*/ 91542 h 148082"/>
                <a:gd name="connsiteX11" fmla="*/ 111735 w 161544"/>
                <a:gd name="connsiteY11" fmla="*/ 60579 h 148082"/>
                <a:gd name="connsiteX12" fmla="*/ 149429 w 161544"/>
                <a:gd name="connsiteY12" fmla="*/ 60579 h 148082"/>
                <a:gd name="connsiteX13" fmla="*/ 149429 w 161544"/>
                <a:gd name="connsiteY13" fmla="*/ 91542 h 148082"/>
                <a:gd name="connsiteX14" fmla="*/ 98273 w 161544"/>
                <a:gd name="connsiteY14" fmla="*/ 91542 h 148082"/>
                <a:gd name="connsiteX15" fmla="*/ 65964 w 161544"/>
                <a:gd name="connsiteY15" fmla="*/ 91542 h 148082"/>
                <a:gd name="connsiteX16" fmla="*/ 65964 w 161544"/>
                <a:gd name="connsiteY16" fmla="*/ 60579 h 148082"/>
                <a:gd name="connsiteX17" fmla="*/ 98273 w 161544"/>
                <a:gd name="connsiteY17" fmla="*/ 60579 h 148082"/>
                <a:gd name="connsiteX18" fmla="*/ 98273 w 161544"/>
                <a:gd name="connsiteY18" fmla="*/ 91542 h 148082"/>
                <a:gd name="connsiteX19" fmla="*/ 52502 w 161544"/>
                <a:gd name="connsiteY19" fmla="*/ 91542 h 148082"/>
                <a:gd name="connsiteX20" fmla="*/ 13462 w 161544"/>
                <a:gd name="connsiteY20" fmla="*/ 91542 h 148082"/>
                <a:gd name="connsiteX21" fmla="*/ 13462 w 161544"/>
                <a:gd name="connsiteY21" fmla="*/ 60579 h 148082"/>
                <a:gd name="connsiteX22" fmla="*/ 51156 w 161544"/>
                <a:gd name="connsiteY22" fmla="*/ 60579 h 148082"/>
                <a:gd name="connsiteX23" fmla="*/ 51156 w 161544"/>
                <a:gd name="connsiteY23" fmla="*/ 91542 h 148082"/>
                <a:gd name="connsiteX24" fmla="*/ 13462 w 161544"/>
                <a:gd name="connsiteY24" fmla="*/ 105004 h 148082"/>
                <a:gd name="connsiteX25" fmla="*/ 51156 w 161544"/>
                <a:gd name="connsiteY25" fmla="*/ 105004 h 148082"/>
                <a:gd name="connsiteX26" fmla="*/ 51156 w 161544"/>
                <a:gd name="connsiteY26" fmla="*/ 140005 h 148082"/>
                <a:gd name="connsiteX27" fmla="*/ 13462 w 161544"/>
                <a:gd name="connsiteY27" fmla="*/ 140005 h 148082"/>
                <a:gd name="connsiteX28" fmla="*/ 13462 w 161544"/>
                <a:gd name="connsiteY28" fmla="*/ 105004 h 148082"/>
                <a:gd name="connsiteX29" fmla="*/ 65964 w 161544"/>
                <a:gd name="connsiteY29" fmla="*/ 105004 h 148082"/>
                <a:gd name="connsiteX30" fmla="*/ 98273 w 161544"/>
                <a:gd name="connsiteY30" fmla="*/ 105004 h 148082"/>
                <a:gd name="connsiteX31" fmla="*/ 98273 w 161544"/>
                <a:gd name="connsiteY31" fmla="*/ 140005 h 148082"/>
                <a:gd name="connsiteX32" fmla="*/ 65964 w 161544"/>
                <a:gd name="connsiteY32" fmla="*/ 140005 h 148082"/>
                <a:gd name="connsiteX33" fmla="*/ 65964 w 161544"/>
                <a:gd name="connsiteY33" fmla="*/ 105004 h 148082"/>
                <a:gd name="connsiteX34" fmla="*/ 111735 w 161544"/>
                <a:gd name="connsiteY34" fmla="*/ 105004 h 148082"/>
                <a:gd name="connsiteX35" fmla="*/ 149429 w 161544"/>
                <a:gd name="connsiteY35" fmla="*/ 105004 h 148082"/>
                <a:gd name="connsiteX36" fmla="*/ 149429 w 161544"/>
                <a:gd name="connsiteY36" fmla="*/ 140005 h 148082"/>
                <a:gd name="connsiteX37" fmla="*/ 111735 w 161544"/>
                <a:gd name="connsiteY37" fmla="*/ 140005 h 148082"/>
                <a:gd name="connsiteX38" fmla="*/ 111735 w 161544"/>
                <a:gd name="connsiteY38" fmla="*/ 105004 h 148082"/>
                <a:gd name="connsiteX39" fmla="*/ 149429 w 161544"/>
                <a:gd name="connsiteY39" fmla="*/ 47117 h 148082"/>
                <a:gd name="connsiteX40" fmla="*/ 111735 w 161544"/>
                <a:gd name="connsiteY40" fmla="*/ 47117 h 148082"/>
                <a:gd name="connsiteX41" fmla="*/ 111735 w 161544"/>
                <a:gd name="connsiteY41" fmla="*/ 14808 h 148082"/>
                <a:gd name="connsiteX42" fmla="*/ 149429 w 161544"/>
                <a:gd name="connsiteY42" fmla="*/ 14808 h 148082"/>
                <a:gd name="connsiteX43" fmla="*/ 149429 w 161544"/>
                <a:gd name="connsiteY43" fmla="*/ 47117 h 148082"/>
                <a:gd name="connsiteX44" fmla="*/ 98273 w 161544"/>
                <a:gd name="connsiteY44" fmla="*/ 47117 h 148082"/>
                <a:gd name="connsiteX45" fmla="*/ 65964 w 161544"/>
                <a:gd name="connsiteY45" fmla="*/ 47117 h 148082"/>
                <a:gd name="connsiteX46" fmla="*/ 65964 w 161544"/>
                <a:gd name="connsiteY46" fmla="*/ 16154 h 148082"/>
                <a:gd name="connsiteX47" fmla="*/ 65964 w 161544"/>
                <a:gd name="connsiteY47" fmla="*/ 14808 h 148082"/>
                <a:gd name="connsiteX48" fmla="*/ 99619 w 161544"/>
                <a:gd name="connsiteY48" fmla="*/ 14808 h 148082"/>
                <a:gd name="connsiteX49" fmla="*/ 99619 w 161544"/>
                <a:gd name="connsiteY49" fmla="*/ 47117 h 148082"/>
                <a:gd name="connsiteX50" fmla="*/ 52502 w 161544"/>
                <a:gd name="connsiteY50" fmla="*/ 16154 h 148082"/>
                <a:gd name="connsiteX51" fmla="*/ 52502 w 161544"/>
                <a:gd name="connsiteY51" fmla="*/ 47117 h 148082"/>
                <a:gd name="connsiteX52" fmla="*/ 13462 w 161544"/>
                <a:gd name="connsiteY52" fmla="*/ 47117 h 148082"/>
                <a:gd name="connsiteX53" fmla="*/ 13462 w 161544"/>
                <a:gd name="connsiteY53" fmla="*/ 14808 h 148082"/>
                <a:gd name="connsiteX54" fmla="*/ 52502 w 161544"/>
                <a:gd name="connsiteY54" fmla="*/ 14808 h 148082"/>
                <a:gd name="connsiteX55" fmla="*/ 52502 w 161544"/>
                <a:gd name="connsiteY55" fmla="*/ 16154 h 1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1544" h="148082">
                  <a:moveTo>
                    <a:pt x="6731" y="152121"/>
                  </a:moveTo>
                  <a:lnTo>
                    <a:pt x="156160" y="152121"/>
                  </a:lnTo>
                  <a:cubicBezTo>
                    <a:pt x="160199" y="152121"/>
                    <a:pt x="162891" y="149428"/>
                    <a:pt x="162891" y="145390"/>
                  </a:cubicBezTo>
                  <a:lnTo>
                    <a:pt x="162891" y="6731"/>
                  </a:lnTo>
                  <a:cubicBezTo>
                    <a:pt x="162891" y="2692"/>
                    <a:pt x="160199" y="0"/>
                    <a:pt x="156160" y="0"/>
                  </a:cubicBezTo>
                  <a:lnTo>
                    <a:pt x="6731" y="0"/>
                  </a:lnTo>
                  <a:cubicBezTo>
                    <a:pt x="2692" y="0"/>
                    <a:pt x="0" y="2692"/>
                    <a:pt x="0" y="6731"/>
                  </a:cubicBezTo>
                  <a:lnTo>
                    <a:pt x="0" y="145390"/>
                  </a:lnTo>
                  <a:cubicBezTo>
                    <a:pt x="0" y="149428"/>
                    <a:pt x="4039" y="152121"/>
                    <a:pt x="6731" y="152121"/>
                  </a:cubicBezTo>
                  <a:close/>
                  <a:moveTo>
                    <a:pt x="149429" y="91542"/>
                  </a:moveTo>
                  <a:lnTo>
                    <a:pt x="111735" y="91542"/>
                  </a:lnTo>
                  <a:lnTo>
                    <a:pt x="111735" y="60579"/>
                  </a:lnTo>
                  <a:lnTo>
                    <a:pt x="149429" y="60579"/>
                  </a:lnTo>
                  <a:lnTo>
                    <a:pt x="149429" y="91542"/>
                  </a:lnTo>
                  <a:close/>
                  <a:moveTo>
                    <a:pt x="98273" y="91542"/>
                  </a:moveTo>
                  <a:lnTo>
                    <a:pt x="65964" y="91542"/>
                  </a:lnTo>
                  <a:lnTo>
                    <a:pt x="65964" y="60579"/>
                  </a:lnTo>
                  <a:lnTo>
                    <a:pt x="98273" y="60579"/>
                  </a:lnTo>
                  <a:lnTo>
                    <a:pt x="98273" y="91542"/>
                  </a:lnTo>
                  <a:close/>
                  <a:moveTo>
                    <a:pt x="52502" y="91542"/>
                  </a:moveTo>
                  <a:lnTo>
                    <a:pt x="13462" y="91542"/>
                  </a:lnTo>
                  <a:lnTo>
                    <a:pt x="13462" y="60579"/>
                  </a:lnTo>
                  <a:lnTo>
                    <a:pt x="51156" y="60579"/>
                  </a:lnTo>
                  <a:lnTo>
                    <a:pt x="51156" y="91542"/>
                  </a:lnTo>
                  <a:close/>
                  <a:moveTo>
                    <a:pt x="13462" y="105004"/>
                  </a:moveTo>
                  <a:lnTo>
                    <a:pt x="51156" y="105004"/>
                  </a:lnTo>
                  <a:lnTo>
                    <a:pt x="51156" y="140005"/>
                  </a:lnTo>
                  <a:lnTo>
                    <a:pt x="13462" y="140005"/>
                  </a:lnTo>
                  <a:lnTo>
                    <a:pt x="13462" y="105004"/>
                  </a:lnTo>
                  <a:close/>
                  <a:moveTo>
                    <a:pt x="65964" y="105004"/>
                  </a:moveTo>
                  <a:lnTo>
                    <a:pt x="98273" y="105004"/>
                  </a:lnTo>
                  <a:lnTo>
                    <a:pt x="98273" y="140005"/>
                  </a:lnTo>
                  <a:lnTo>
                    <a:pt x="65964" y="140005"/>
                  </a:lnTo>
                  <a:lnTo>
                    <a:pt x="65964" y="105004"/>
                  </a:lnTo>
                  <a:close/>
                  <a:moveTo>
                    <a:pt x="111735" y="105004"/>
                  </a:moveTo>
                  <a:lnTo>
                    <a:pt x="149429" y="105004"/>
                  </a:lnTo>
                  <a:lnTo>
                    <a:pt x="149429" y="140005"/>
                  </a:lnTo>
                  <a:lnTo>
                    <a:pt x="111735" y="140005"/>
                  </a:lnTo>
                  <a:lnTo>
                    <a:pt x="111735" y="105004"/>
                  </a:lnTo>
                  <a:close/>
                  <a:moveTo>
                    <a:pt x="149429" y="47117"/>
                  </a:moveTo>
                  <a:lnTo>
                    <a:pt x="111735" y="47117"/>
                  </a:lnTo>
                  <a:lnTo>
                    <a:pt x="111735" y="14808"/>
                  </a:lnTo>
                  <a:lnTo>
                    <a:pt x="149429" y="14808"/>
                  </a:lnTo>
                  <a:lnTo>
                    <a:pt x="149429" y="47117"/>
                  </a:lnTo>
                  <a:close/>
                  <a:moveTo>
                    <a:pt x="98273" y="47117"/>
                  </a:moveTo>
                  <a:lnTo>
                    <a:pt x="65964" y="47117"/>
                  </a:lnTo>
                  <a:lnTo>
                    <a:pt x="65964" y="16154"/>
                  </a:lnTo>
                  <a:cubicBezTo>
                    <a:pt x="65964" y="16154"/>
                    <a:pt x="65964" y="14808"/>
                    <a:pt x="65964" y="14808"/>
                  </a:cubicBezTo>
                  <a:lnTo>
                    <a:pt x="99619" y="14808"/>
                  </a:lnTo>
                  <a:lnTo>
                    <a:pt x="99619" y="47117"/>
                  </a:lnTo>
                  <a:close/>
                  <a:moveTo>
                    <a:pt x="52502" y="16154"/>
                  </a:moveTo>
                  <a:lnTo>
                    <a:pt x="52502" y="47117"/>
                  </a:lnTo>
                  <a:lnTo>
                    <a:pt x="13462" y="47117"/>
                  </a:lnTo>
                  <a:lnTo>
                    <a:pt x="13462" y="14808"/>
                  </a:lnTo>
                  <a:lnTo>
                    <a:pt x="52502" y="14808"/>
                  </a:lnTo>
                  <a:cubicBezTo>
                    <a:pt x="52502" y="14808"/>
                    <a:pt x="52502" y="14808"/>
                    <a:pt x="52502" y="16154"/>
                  </a:cubicBezTo>
                  <a:close/>
                </a:path>
              </a:pathLst>
            </a:custGeom>
            <a:solidFill>
              <a:srgbClr val="101010"/>
            </a:solidFill>
            <a:ln w="13335" cap="flat">
              <a:noFill/>
              <a:prstDash val="solid"/>
              <a:miter/>
            </a:ln>
          </p:spPr>
          <p:txBody>
            <a:bodyPr rtlCol="0" anchor="ctr"/>
            <a:lstStyle/>
            <a:p>
              <a:endParaRPr lang="de-DE"/>
            </a:p>
          </p:txBody>
        </p:sp>
        <p:sp>
          <p:nvSpPr>
            <p:cNvPr id="5283" name="Freeform: Shape 5282">
              <a:extLst>
                <a:ext uri="{FF2B5EF4-FFF2-40B4-BE49-F238E27FC236}">
                  <a16:creationId xmlns:a16="http://schemas.microsoft.com/office/drawing/2014/main" id="{30B994B7-9DBC-41A5-B606-66E23845CD13}"/>
                </a:ext>
              </a:extLst>
            </p:cNvPr>
            <p:cNvSpPr/>
            <p:nvPr/>
          </p:nvSpPr>
          <p:spPr>
            <a:xfrm>
              <a:off x="5927724" y="3291688"/>
              <a:ext cx="323090" cy="363474"/>
            </a:xfrm>
            <a:custGeom>
              <a:avLst/>
              <a:gdLst>
                <a:gd name="connsiteX0" fmla="*/ 324436 w 323089"/>
                <a:gd name="connsiteY0" fmla="*/ 363474 h 363474"/>
                <a:gd name="connsiteX1" fmla="*/ 296166 w 323089"/>
                <a:gd name="connsiteY1" fmla="*/ 363474 h 363474"/>
                <a:gd name="connsiteX2" fmla="*/ 296166 w 323089"/>
                <a:gd name="connsiteY2" fmla="*/ 53848 h 363474"/>
                <a:gd name="connsiteX3" fmla="*/ 319051 w 323089"/>
                <a:gd name="connsiteY3" fmla="*/ 53848 h 363474"/>
                <a:gd name="connsiteX4" fmla="*/ 325782 w 323089"/>
                <a:gd name="connsiteY4" fmla="*/ 47117 h 363474"/>
                <a:gd name="connsiteX5" fmla="*/ 319051 w 323089"/>
                <a:gd name="connsiteY5" fmla="*/ 40386 h 363474"/>
                <a:gd name="connsiteX6" fmla="*/ 289435 w 323089"/>
                <a:gd name="connsiteY6" fmla="*/ 40386 h 363474"/>
                <a:gd name="connsiteX7" fmla="*/ 255780 w 323089"/>
                <a:gd name="connsiteY7" fmla="*/ 40386 h 363474"/>
                <a:gd name="connsiteX8" fmla="*/ 255780 w 323089"/>
                <a:gd name="connsiteY8" fmla="*/ 6731 h 363474"/>
                <a:gd name="connsiteX9" fmla="*/ 249048 w 323089"/>
                <a:gd name="connsiteY9" fmla="*/ 0 h 363474"/>
                <a:gd name="connsiteX10" fmla="*/ 87504 w 323089"/>
                <a:gd name="connsiteY10" fmla="*/ 0 h 363474"/>
                <a:gd name="connsiteX11" fmla="*/ 80772 w 323089"/>
                <a:gd name="connsiteY11" fmla="*/ 6731 h 363474"/>
                <a:gd name="connsiteX12" fmla="*/ 80772 w 323089"/>
                <a:gd name="connsiteY12" fmla="*/ 40386 h 363474"/>
                <a:gd name="connsiteX13" fmla="*/ 47117 w 323089"/>
                <a:gd name="connsiteY13" fmla="*/ 40386 h 363474"/>
                <a:gd name="connsiteX14" fmla="*/ 6731 w 323089"/>
                <a:gd name="connsiteY14" fmla="*/ 40386 h 363474"/>
                <a:gd name="connsiteX15" fmla="*/ 0 w 323089"/>
                <a:gd name="connsiteY15" fmla="*/ 47117 h 363474"/>
                <a:gd name="connsiteX16" fmla="*/ 6731 w 323089"/>
                <a:gd name="connsiteY16" fmla="*/ 53848 h 363474"/>
                <a:gd name="connsiteX17" fmla="*/ 40386 w 323089"/>
                <a:gd name="connsiteY17" fmla="*/ 53848 h 363474"/>
                <a:gd name="connsiteX18" fmla="*/ 40386 w 323089"/>
                <a:gd name="connsiteY18" fmla="*/ 363474 h 363474"/>
                <a:gd name="connsiteX19" fmla="*/ 12116 w 323089"/>
                <a:gd name="connsiteY19" fmla="*/ 363474 h 363474"/>
                <a:gd name="connsiteX20" fmla="*/ 5385 w 323089"/>
                <a:gd name="connsiteY20" fmla="*/ 370205 h 363474"/>
                <a:gd name="connsiteX21" fmla="*/ 12116 w 323089"/>
                <a:gd name="connsiteY21" fmla="*/ 376936 h 363474"/>
                <a:gd name="connsiteX22" fmla="*/ 324436 w 323089"/>
                <a:gd name="connsiteY22" fmla="*/ 376936 h 363474"/>
                <a:gd name="connsiteX23" fmla="*/ 331167 w 323089"/>
                <a:gd name="connsiteY23" fmla="*/ 370205 h 363474"/>
                <a:gd name="connsiteX24" fmla="*/ 324436 w 323089"/>
                <a:gd name="connsiteY24" fmla="*/ 363474 h 363474"/>
                <a:gd name="connsiteX25" fmla="*/ 144044 w 323089"/>
                <a:gd name="connsiteY25" fmla="*/ 363474 h 363474"/>
                <a:gd name="connsiteX26" fmla="*/ 87504 w 323089"/>
                <a:gd name="connsiteY26" fmla="*/ 363474 h 363474"/>
                <a:gd name="connsiteX27" fmla="*/ 87504 w 323089"/>
                <a:gd name="connsiteY27" fmla="*/ 275971 h 363474"/>
                <a:gd name="connsiteX28" fmla="*/ 144044 w 323089"/>
                <a:gd name="connsiteY28" fmla="*/ 275971 h 363474"/>
                <a:gd name="connsiteX29" fmla="*/ 144044 w 323089"/>
                <a:gd name="connsiteY29" fmla="*/ 363474 h 363474"/>
                <a:gd name="connsiteX30" fmla="*/ 247702 w 323089"/>
                <a:gd name="connsiteY30" fmla="*/ 363474 h 363474"/>
                <a:gd name="connsiteX31" fmla="*/ 191162 w 323089"/>
                <a:gd name="connsiteY31" fmla="*/ 363474 h 363474"/>
                <a:gd name="connsiteX32" fmla="*/ 191162 w 323089"/>
                <a:gd name="connsiteY32" fmla="*/ 275971 h 363474"/>
                <a:gd name="connsiteX33" fmla="*/ 247702 w 323089"/>
                <a:gd name="connsiteY33" fmla="*/ 275971 h 363474"/>
                <a:gd name="connsiteX34" fmla="*/ 247702 w 323089"/>
                <a:gd name="connsiteY34" fmla="*/ 363474 h 363474"/>
                <a:gd name="connsiteX35" fmla="*/ 94235 w 323089"/>
                <a:gd name="connsiteY35" fmla="*/ 13462 h 363474"/>
                <a:gd name="connsiteX36" fmla="*/ 242317 w 323089"/>
                <a:gd name="connsiteY36" fmla="*/ 13462 h 363474"/>
                <a:gd name="connsiteX37" fmla="*/ 242317 w 323089"/>
                <a:gd name="connsiteY37" fmla="*/ 40386 h 363474"/>
                <a:gd name="connsiteX38" fmla="*/ 94235 w 323089"/>
                <a:gd name="connsiteY38" fmla="*/ 40386 h 363474"/>
                <a:gd name="connsiteX39" fmla="*/ 94235 w 323089"/>
                <a:gd name="connsiteY39" fmla="*/ 13462 h 363474"/>
                <a:gd name="connsiteX40" fmla="*/ 282704 w 323089"/>
                <a:gd name="connsiteY40" fmla="*/ 53848 h 363474"/>
                <a:gd name="connsiteX41" fmla="*/ 282704 w 323089"/>
                <a:gd name="connsiteY41" fmla="*/ 363474 h 363474"/>
                <a:gd name="connsiteX42" fmla="*/ 261164 w 323089"/>
                <a:gd name="connsiteY42" fmla="*/ 363474 h 363474"/>
                <a:gd name="connsiteX43" fmla="*/ 261164 w 323089"/>
                <a:gd name="connsiteY43" fmla="*/ 269240 h 363474"/>
                <a:gd name="connsiteX44" fmla="*/ 254433 w 323089"/>
                <a:gd name="connsiteY44" fmla="*/ 262509 h 363474"/>
                <a:gd name="connsiteX45" fmla="*/ 184431 w 323089"/>
                <a:gd name="connsiteY45" fmla="*/ 262509 h 363474"/>
                <a:gd name="connsiteX46" fmla="*/ 177699 w 323089"/>
                <a:gd name="connsiteY46" fmla="*/ 269240 h 363474"/>
                <a:gd name="connsiteX47" fmla="*/ 177699 w 323089"/>
                <a:gd name="connsiteY47" fmla="*/ 363474 h 363474"/>
                <a:gd name="connsiteX48" fmla="*/ 156160 w 323089"/>
                <a:gd name="connsiteY48" fmla="*/ 363474 h 363474"/>
                <a:gd name="connsiteX49" fmla="*/ 156160 w 323089"/>
                <a:gd name="connsiteY49" fmla="*/ 269240 h 363474"/>
                <a:gd name="connsiteX50" fmla="*/ 149429 w 323089"/>
                <a:gd name="connsiteY50" fmla="*/ 262509 h 363474"/>
                <a:gd name="connsiteX51" fmla="*/ 80772 w 323089"/>
                <a:gd name="connsiteY51" fmla="*/ 262509 h 363474"/>
                <a:gd name="connsiteX52" fmla="*/ 74041 w 323089"/>
                <a:gd name="connsiteY52" fmla="*/ 269240 h 363474"/>
                <a:gd name="connsiteX53" fmla="*/ 74041 w 323089"/>
                <a:gd name="connsiteY53" fmla="*/ 363474 h 363474"/>
                <a:gd name="connsiteX54" fmla="*/ 53848 w 323089"/>
                <a:gd name="connsiteY54" fmla="*/ 363474 h 363474"/>
                <a:gd name="connsiteX55" fmla="*/ 53848 w 323089"/>
                <a:gd name="connsiteY55" fmla="*/ 53848 h 363474"/>
                <a:gd name="connsiteX56" fmla="*/ 282704 w 323089"/>
                <a:gd name="connsiteY56" fmla="*/ 53848 h 36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23089" h="363474">
                  <a:moveTo>
                    <a:pt x="324436" y="363474"/>
                  </a:moveTo>
                  <a:lnTo>
                    <a:pt x="296166" y="363474"/>
                  </a:lnTo>
                  <a:lnTo>
                    <a:pt x="296166" y="53848"/>
                  </a:lnTo>
                  <a:lnTo>
                    <a:pt x="319051" y="53848"/>
                  </a:lnTo>
                  <a:cubicBezTo>
                    <a:pt x="323090" y="53848"/>
                    <a:pt x="325782" y="51156"/>
                    <a:pt x="325782" y="47117"/>
                  </a:cubicBezTo>
                  <a:cubicBezTo>
                    <a:pt x="325782" y="43078"/>
                    <a:pt x="323090" y="40386"/>
                    <a:pt x="319051" y="40386"/>
                  </a:cubicBezTo>
                  <a:lnTo>
                    <a:pt x="289435" y="40386"/>
                  </a:lnTo>
                  <a:lnTo>
                    <a:pt x="255780" y="40386"/>
                  </a:lnTo>
                  <a:lnTo>
                    <a:pt x="255780" y="6731"/>
                  </a:lnTo>
                  <a:cubicBezTo>
                    <a:pt x="255780" y="2692"/>
                    <a:pt x="253087" y="0"/>
                    <a:pt x="249048" y="0"/>
                  </a:cubicBezTo>
                  <a:lnTo>
                    <a:pt x="87504" y="0"/>
                  </a:lnTo>
                  <a:cubicBezTo>
                    <a:pt x="83465" y="0"/>
                    <a:pt x="80772" y="4039"/>
                    <a:pt x="80772" y="6731"/>
                  </a:cubicBezTo>
                  <a:lnTo>
                    <a:pt x="80772" y="40386"/>
                  </a:lnTo>
                  <a:lnTo>
                    <a:pt x="47117" y="40386"/>
                  </a:lnTo>
                  <a:lnTo>
                    <a:pt x="6731" y="40386"/>
                  </a:lnTo>
                  <a:cubicBezTo>
                    <a:pt x="2692" y="40386"/>
                    <a:pt x="0" y="43078"/>
                    <a:pt x="0" y="47117"/>
                  </a:cubicBezTo>
                  <a:cubicBezTo>
                    <a:pt x="0" y="51156"/>
                    <a:pt x="2692" y="53848"/>
                    <a:pt x="6731" y="53848"/>
                  </a:cubicBezTo>
                  <a:lnTo>
                    <a:pt x="40386" y="53848"/>
                  </a:lnTo>
                  <a:lnTo>
                    <a:pt x="40386" y="363474"/>
                  </a:lnTo>
                  <a:lnTo>
                    <a:pt x="12116" y="363474"/>
                  </a:lnTo>
                  <a:cubicBezTo>
                    <a:pt x="8077" y="363474"/>
                    <a:pt x="5385" y="366166"/>
                    <a:pt x="5385" y="370205"/>
                  </a:cubicBezTo>
                  <a:cubicBezTo>
                    <a:pt x="5385" y="374244"/>
                    <a:pt x="8077" y="376936"/>
                    <a:pt x="12116" y="376936"/>
                  </a:cubicBezTo>
                  <a:lnTo>
                    <a:pt x="324436" y="376936"/>
                  </a:lnTo>
                  <a:cubicBezTo>
                    <a:pt x="328475" y="376936"/>
                    <a:pt x="331167" y="374244"/>
                    <a:pt x="331167" y="370205"/>
                  </a:cubicBezTo>
                  <a:cubicBezTo>
                    <a:pt x="331167" y="366166"/>
                    <a:pt x="328475" y="363474"/>
                    <a:pt x="324436" y="363474"/>
                  </a:cubicBezTo>
                  <a:close/>
                  <a:moveTo>
                    <a:pt x="144044" y="363474"/>
                  </a:moveTo>
                  <a:lnTo>
                    <a:pt x="87504" y="363474"/>
                  </a:lnTo>
                  <a:lnTo>
                    <a:pt x="87504" y="275971"/>
                  </a:lnTo>
                  <a:lnTo>
                    <a:pt x="144044" y="275971"/>
                  </a:lnTo>
                  <a:lnTo>
                    <a:pt x="144044" y="363474"/>
                  </a:lnTo>
                  <a:close/>
                  <a:moveTo>
                    <a:pt x="247702" y="363474"/>
                  </a:moveTo>
                  <a:lnTo>
                    <a:pt x="191162" y="363474"/>
                  </a:lnTo>
                  <a:lnTo>
                    <a:pt x="191162" y="275971"/>
                  </a:lnTo>
                  <a:lnTo>
                    <a:pt x="247702" y="275971"/>
                  </a:lnTo>
                  <a:lnTo>
                    <a:pt x="247702" y="363474"/>
                  </a:lnTo>
                  <a:close/>
                  <a:moveTo>
                    <a:pt x="94235" y="13462"/>
                  </a:moveTo>
                  <a:lnTo>
                    <a:pt x="242317" y="13462"/>
                  </a:lnTo>
                  <a:lnTo>
                    <a:pt x="242317" y="40386"/>
                  </a:lnTo>
                  <a:lnTo>
                    <a:pt x="94235" y="40386"/>
                  </a:lnTo>
                  <a:lnTo>
                    <a:pt x="94235" y="13462"/>
                  </a:lnTo>
                  <a:close/>
                  <a:moveTo>
                    <a:pt x="282704" y="53848"/>
                  </a:moveTo>
                  <a:lnTo>
                    <a:pt x="282704" y="363474"/>
                  </a:lnTo>
                  <a:lnTo>
                    <a:pt x="261164" y="363474"/>
                  </a:lnTo>
                  <a:lnTo>
                    <a:pt x="261164" y="269240"/>
                  </a:lnTo>
                  <a:cubicBezTo>
                    <a:pt x="261164" y="265201"/>
                    <a:pt x="258472" y="262509"/>
                    <a:pt x="254433" y="262509"/>
                  </a:cubicBezTo>
                  <a:lnTo>
                    <a:pt x="184431" y="262509"/>
                  </a:lnTo>
                  <a:cubicBezTo>
                    <a:pt x="180392" y="262509"/>
                    <a:pt x="177699" y="265201"/>
                    <a:pt x="177699" y="269240"/>
                  </a:cubicBezTo>
                  <a:lnTo>
                    <a:pt x="177699" y="363474"/>
                  </a:lnTo>
                  <a:lnTo>
                    <a:pt x="156160" y="363474"/>
                  </a:lnTo>
                  <a:lnTo>
                    <a:pt x="156160" y="269240"/>
                  </a:lnTo>
                  <a:cubicBezTo>
                    <a:pt x="156160" y="265201"/>
                    <a:pt x="153468" y="262509"/>
                    <a:pt x="149429" y="262509"/>
                  </a:cubicBezTo>
                  <a:lnTo>
                    <a:pt x="80772" y="262509"/>
                  </a:lnTo>
                  <a:cubicBezTo>
                    <a:pt x="76734" y="262509"/>
                    <a:pt x="74041" y="265201"/>
                    <a:pt x="74041" y="269240"/>
                  </a:cubicBezTo>
                  <a:lnTo>
                    <a:pt x="74041" y="363474"/>
                  </a:lnTo>
                  <a:lnTo>
                    <a:pt x="53848" y="363474"/>
                  </a:lnTo>
                  <a:lnTo>
                    <a:pt x="53848" y="53848"/>
                  </a:lnTo>
                  <a:lnTo>
                    <a:pt x="282704" y="53848"/>
                  </a:lnTo>
                  <a:close/>
                </a:path>
              </a:pathLst>
            </a:custGeom>
            <a:solidFill>
              <a:srgbClr val="101010"/>
            </a:solidFill>
            <a:ln w="13335" cap="flat">
              <a:noFill/>
              <a:prstDash val="solid"/>
              <a:miter/>
            </a:ln>
          </p:spPr>
          <p:txBody>
            <a:bodyPr rtlCol="0" anchor="ctr"/>
            <a:lstStyle/>
            <a:p>
              <a:endParaRPr lang="de-DE"/>
            </a:p>
          </p:txBody>
        </p:sp>
        <p:sp>
          <p:nvSpPr>
            <p:cNvPr id="5284" name="Freeform: Shape 5283">
              <a:extLst>
                <a:ext uri="{FF2B5EF4-FFF2-40B4-BE49-F238E27FC236}">
                  <a16:creationId xmlns:a16="http://schemas.microsoft.com/office/drawing/2014/main" id="{8C42980E-12FB-4B0F-9957-6F30497523FF}"/>
                </a:ext>
              </a:extLst>
            </p:cNvPr>
            <p:cNvSpPr/>
            <p:nvPr/>
          </p:nvSpPr>
          <p:spPr>
            <a:xfrm>
              <a:off x="6074461" y="3239859"/>
              <a:ext cx="26924" cy="26924"/>
            </a:xfrm>
            <a:custGeom>
              <a:avLst/>
              <a:gdLst>
                <a:gd name="connsiteX0" fmla="*/ 5385 w 26924"/>
                <a:gd name="connsiteY0" fmla="*/ 6058 h 26924"/>
                <a:gd name="connsiteX1" fmla="*/ 0 w 26924"/>
                <a:gd name="connsiteY1" fmla="*/ 19520 h 26924"/>
                <a:gd name="connsiteX2" fmla="*/ 5385 w 26924"/>
                <a:gd name="connsiteY2" fmla="*/ 32982 h 26924"/>
                <a:gd name="connsiteX3" fmla="*/ 18847 w 26924"/>
                <a:gd name="connsiteY3" fmla="*/ 38367 h 26924"/>
                <a:gd name="connsiteX4" fmla="*/ 18847 w 26924"/>
                <a:gd name="connsiteY4" fmla="*/ 38367 h 26924"/>
                <a:gd name="connsiteX5" fmla="*/ 32309 w 26924"/>
                <a:gd name="connsiteY5" fmla="*/ 32982 h 26924"/>
                <a:gd name="connsiteX6" fmla="*/ 32309 w 26924"/>
                <a:gd name="connsiteY6" fmla="*/ 6058 h 26924"/>
                <a:gd name="connsiteX7" fmla="*/ 5385 w 26924"/>
                <a:gd name="connsiteY7" fmla="*/ 6058 h 26924"/>
                <a:gd name="connsiteX8" fmla="*/ 22886 w 26924"/>
                <a:gd name="connsiteY8" fmla="*/ 15481 h 26924"/>
                <a:gd name="connsiteX9" fmla="*/ 22886 w 26924"/>
                <a:gd name="connsiteY9" fmla="*/ 23558 h 26924"/>
                <a:gd name="connsiteX10" fmla="*/ 14808 w 26924"/>
                <a:gd name="connsiteY10" fmla="*/ 23558 h 26924"/>
                <a:gd name="connsiteX11" fmla="*/ 14808 w 26924"/>
                <a:gd name="connsiteY11" fmla="*/ 23558 h 26924"/>
                <a:gd name="connsiteX12" fmla="*/ 13462 w 26924"/>
                <a:gd name="connsiteY12" fmla="*/ 19520 h 26924"/>
                <a:gd name="connsiteX13" fmla="*/ 14808 w 26924"/>
                <a:gd name="connsiteY13" fmla="*/ 15481 h 26924"/>
                <a:gd name="connsiteX14" fmla="*/ 18847 w 26924"/>
                <a:gd name="connsiteY14" fmla="*/ 14135 h 26924"/>
                <a:gd name="connsiteX15" fmla="*/ 22886 w 26924"/>
                <a:gd name="connsiteY15" fmla="*/ 15481 h 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924" h="26924">
                  <a:moveTo>
                    <a:pt x="5385" y="6058"/>
                  </a:moveTo>
                  <a:cubicBezTo>
                    <a:pt x="1346" y="10096"/>
                    <a:pt x="0" y="14135"/>
                    <a:pt x="0" y="19520"/>
                  </a:cubicBezTo>
                  <a:cubicBezTo>
                    <a:pt x="0" y="24905"/>
                    <a:pt x="1346" y="28943"/>
                    <a:pt x="5385" y="32982"/>
                  </a:cubicBezTo>
                  <a:cubicBezTo>
                    <a:pt x="9423" y="37020"/>
                    <a:pt x="13462" y="38367"/>
                    <a:pt x="18847" y="38367"/>
                  </a:cubicBezTo>
                  <a:cubicBezTo>
                    <a:pt x="18847" y="38367"/>
                    <a:pt x="18847" y="38367"/>
                    <a:pt x="18847" y="38367"/>
                  </a:cubicBezTo>
                  <a:cubicBezTo>
                    <a:pt x="24232" y="38367"/>
                    <a:pt x="28270" y="37020"/>
                    <a:pt x="32309" y="32982"/>
                  </a:cubicBezTo>
                  <a:cubicBezTo>
                    <a:pt x="40386" y="24905"/>
                    <a:pt x="40386" y="12789"/>
                    <a:pt x="32309" y="6058"/>
                  </a:cubicBezTo>
                  <a:cubicBezTo>
                    <a:pt x="24232" y="-2019"/>
                    <a:pt x="12116" y="-2019"/>
                    <a:pt x="5385" y="6058"/>
                  </a:cubicBezTo>
                  <a:close/>
                  <a:moveTo>
                    <a:pt x="22886" y="15481"/>
                  </a:moveTo>
                  <a:cubicBezTo>
                    <a:pt x="25578" y="18174"/>
                    <a:pt x="25578" y="20866"/>
                    <a:pt x="22886" y="23558"/>
                  </a:cubicBezTo>
                  <a:cubicBezTo>
                    <a:pt x="20193" y="26251"/>
                    <a:pt x="17501" y="26251"/>
                    <a:pt x="14808" y="23558"/>
                  </a:cubicBezTo>
                  <a:cubicBezTo>
                    <a:pt x="14808" y="23558"/>
                    <a:pt x="14808" y="23558"/>
                    <a:pt x="14808" y="23558"/>
                  </a:cubicBezTo>
                  <a:cubicBezTo>
                    <a:pt x="13462" y="22212"/>
                    <a:pt x="13462" y="20866"/>
                    <a:pt x="13462" y="19520"/>
                  </a:cubicBezTo>
                  <a:cubicBezTo>
                    <a:pt x="13462" y="18174"/>
                    <a:pt x="13462" y="16827"/>
                    <a:pt x="14808" y="15481"/>
                  </a:cubicBezTo>
                  <a:cubicBezTo>
                    <a:pt x="16155" y="14135"/>
                    <a:pt x="17501" y="14135"/>
                    <a:pt x="18847" y="14135"/>
                  </a:cubicBezTo>
                  <a:cubicBezTo>
                    <a:pt x="20193" y="14135"/>
                    <a:pt x="21539" y="14135"/>
                    <a:pt x="22886" y="15481"/>
                  </a:cubicBezTo>
                  <a:close/>
                </a:path>
              </a:pathLst>
            </a:custGeom>
            <a:solidFill>
              <a:srgbClr val="101010"/>
            </a:solidFill>
            <a:ln w="13335" cap="flat">
              <a:noFill/>
              <a:prstDash val="solid"/>
              <a:miter/>
            </a:ln>
          </p:spPr>
          <p:txBody>
            <a:bodyPr rtlCol="0" anchor="ctr"/>
            <a:lstStyle/>
            <a:p>
              <a:endParaRPr lang="de-DE"/>
            </a:p>
          </p:txBody>
        </p:sp>
        <p:sp>
          <p:nvSpPr>
            <p:cNvPr id="5285" name="Freeform: Shape 5284">
              <a:extLst>
                <a:ext uri="{FF2B5EF4-FFF2-40B4-BE49-F238E27FC236}">
                  <a16:creationId xmlns:a16="http://schemas.microsoft.com/office/drawing/2014/main" id="{E3206B01-DC76-4325-A2E0-0D6D77F7E0F2}"/>
                </a:ext>
              </a:extLst>
            </p:cNvPr>
            <p:cNvSpPr/>
            <p:nvPr/>
          </p:nvSpPr>
          <p:spPr>
            <a:xfrm>
              <a:off x="6060325" y="3213945"/>
              <a:ext cx="53848" cy="13462"/>
            </a:xfrm>
            <a:custGeom>
              <a:avLst/>
              <a:gdLst>
                <a:gd name="connsiteX0" fmla="*/ 65291 w 53848"/>
                <a:gd name="connsiteY0" fmla="*/ 22549 h 13462"/>
                <a:gd name="connsiteX1" fmla="*/ 65291 w 53848"/>
                <a:gd name="connsiteY1" fmla="*/ 13125 h 13462"/>
                <a:gd name="connsiteX2" fmla="*/ 2019 w 53848"/>
                <a:gd name="connsiteY2" fmla="*/ 13125 h 13462"/>
                <a:gd name="connsiteX3" fmla="*/ 2019 w 53848"/>
                <a:gd name="connsiteY3" fmla="*/ 22549 h 13462"/>
                <a:gd name="connsiteX4" fmla="*/ 7404 w 53848"/>
                <a:gd name="connsiteY4" fmla="*/ 23895 h 13462"/>
                <a:gd name="connsiteX5" fmla="*/ 12789 w 53848"/>
                <a:gd name="connsiteY5" fmla="*/ 22549 h 13462"/>
                <a:gd name="connsiteX6" fmla="*/ 57214 w 53848"/>
                <a:gd name="connsiteY6" fmla="*/ 22549 h 13462"/>
                <a:gd name="connsiteX7" fmla="*/ 65291 w 53848"/>
                <a:gd name="connsiteY7" fmla="*/ 22549 h 1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48" h="13462">
                  <a:moveTo>
                    <a:pt x="65291" y="22549"/>
                  </a:moveTo>
                  <a:cubicBezTo>
                    <a:pt x="67984" y="19856"/>
                    <a:pt x="67984" y="15818"/>
                    <a:pt x="65291" y="13125"/>
                  </a:cubicBezTo>
                  <a:cubicBezTo>
                    <a:pt x="47790" y="-4375"/>
                    <a:pt x="19520" y="-4375"/>
                    <a:pt x="2019" y="13125"/>
                  </a:cubicBezTo>
                  <a:cubicBezTo>
                    <a:pt x="-673" y="15818"/>
                    <a:pt x="-673" y="19856"/>
                    <a:pt x="2019" y="22549"/>
                  </a:cubicBezTo>
                  <a:cubicBezTo>
                    <a:pt x="3366" y="23895"/>
                    <a:pt x="4712" y="23895"/>
                    <a:pt x="7404" y="23895"/>
                  </a:cubicBezTo>
                  <a:cubicBezTo>
                    <a:pt x="10097" y="23895"/>
                    <a:pt x="11443" y="23895"/>
                    <a:pt x="12789" y="22549"/>
                  </a:cubicBezTo>
                  <a:cubicBezTo>
                    <a:pt x="24905" y="10433"/>
                    <a:pt x="45098" y="10433"/>
                    <a:pt x="57214" y="22549"/>
                  </a:cubicBezTo>
                  <a:cubicBezTo>
                    <a:pt x="57214" y="25241"/>
                    <a:pt x="62599" y="25241"/>
                    <a:pt x="65291" y="22549"/>
                  </a:cubicBezTo>
                  <a:close/>
                </a:path>
              </a:pathLst>
            </a:custGeom>
            <a:solidFill>
              <a:srgbClr val="101010"/>
            </a:solidFill>
            <a:ln w="13335" cap="flat">
              <a:noFill/>
              <a:prstDash val="solid"/>
              <a:miter/>
            </a:ln>
          </p:spPr>
          <p:txBody>
            <a:bodyPr rtlCol="0" anchor="ctr"/>
            <a:lstStyle/>
            <a:p>
              <a:endParaRPr lang="de-DE"/>
            </a:p>
          </p:txBody>
        </p:sp>
        <p:sp>
          <p:nvSpPr>
            <p:cNvPr id="5286" name="Freeform: Shape 5285">
              <a:extLst>
                <a:ext uri="{FF2B5EF4-FFF2-40B4-BE49-F238E27FC236}">
                  <a16:creationId xmlns:a16="http://schemas.microsoft.com/office/drawing/2014/main" id="{AA1C84C6-C071-465E-B5C8-3BDA5131811F}"/>
                </a:ext>
              </a:extLst>
            </p:cNvPr>
            <p:cNvSpPr/>
            <p:nvPr/>
          </p:nvSpPr>
          <p:spPr>
            <a:xfrm>
              <a:off x="6040132" y="3187021"/>
              <a:ext cx="94235" cy="26924"/>
            </a:xfrm>
            <a:custGeom>
              <a:avLst/>
              <a:gdLst>
                <a:gd name="connsiteX0" fmla="*/ 6058 w 94234"/>
                <a:gd name="connsiteY0" fmla="*/ 31972 h 26924"/>
                <a:gd name="connsiteX1" fmla="*/ 11443 w 94234"/>
                <a:gd name="connsiteY1" fmla="*/ 30626 h 26924"/>
                <a:gd name="connsiteX2" fmla="*/ 94908 w 94234"/>
                <a:gd name="connsiteY2" fmla="*/ 30626 h 26924"/>
                <a:gd name="connsiteX3" fmla="*/ 104331 w 94234"/>
                <a:gd name="connsiteY3" fmla="*/ 30626 h 26924"/>
                <a:gd name="connsiteX4" fmla="*/ 104331 w 94234"/>
                <a:gd name="connsiteY4" fmla="*/ 21203 h 26924"/>
                <a:gd name="connsiteX5" fmla="*/ 2019 w 94234"/>
                <a:gd name="connsiteY5" fmla="*/ 21203 h 26924"/>
                <a:gd name="connsiteX6" fmla="*/ 2019 w 94234"/>
                <a:gd name="connsiteY6" fmla="*/ 30626 h 26924"/>
                <a:gd name="connsiteX7" fmla="*/ 6058 w 94234"/>
                <a:gd name="connsiteY7" fmla="*/ 31972 h 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34" h="26924">
                  <a:moveTo>
                    <a:pt x="6058" y="31972"/>
                  </a:moveTo>
                  <a:cubicBezTo>
                    <a:pt x="7404" y="31972"/>
                    <a:pt x="10097" y="31972"/>
                    <a:pt x="11443" y="30626"/>
                  </a:cubicBezTo>
                  <a:cubicBezTo>
                    <a:pt x="34328" y="7741"/>
                    <a:pt x="72022" y="7741"/>
                    <a:pt x="94908" y="30626"/>
                  </a:cubicBezTo>
                  <a:cubicBezTo>
                    <a:pt x="97600" y="33318"/>
                    <a:pt x="101639" y="33318"/>
                    <a:pt x="104331" y="30626"/>
                  </a:cubicBezTo>
                  <a:cubicBezTo>
                    <a:pt x="107024" y="27934"/>
                    <a:pt x="107024" y="23895"/>
                    <a:pt x="104331" y="21203"/>
                  </a:cubicBezTo>
                  <a:cubicBezTo>
                    <a:pt x="76061" y="-7068"/>
                    <a:pt x="30290" y="-7068"/>
                    <a:pt x="2019" y="21203"/>
                  </a:cubicBezTo>
                  <a:cubicBezTo>
                    <a:pt x="-673" y="23895"/>
                    <a:pt x="-673" y="27934"/>
                    <a:pt x="2019" y="30626"/>
                  </a:cubicBezTo>
                  <a:cubicBezTo>
                    <a:pt x="3366" y="31972"/>
                    <a:pt x="4712" y="31972"/>
                    <a:pt x="6058" y="31972"/>
                  </a:cubicBezTo>
                  <a:close/>
                </a:path>
              </a:pathLst>
            </a:custGeom>
            <a:solidFill>
              <a:srgbClr val="101010"/>
            </a:solidFill>
            <a:ln w="13335" cap="flat">
              <a:noFill/>
              <a:prstDash val="solid"/>
              <a:miter/>
            </a:ln>
          </p:spPr>
          <p:txBody>
            <a:bodyPr rtlCol="0" anchor="ctr"/>
            <a:lstStyle/>
            <a:p>
              <a:endParaRPr lang="de-DE"/>
            </a:p>
          </p:txBody>
        </p:sp>
      </p:grpSp>
      <p:grpSp>
        <p:nvGrpSpPr>
          <p:cNvPr id="5287" name="Graphic 3">
            <a:extLst>
              <a:ext uri="{FF2B5EF4-FFF2-40B4-BE49-F238E27FC236}">
                <a16:creationId xmlns:a16="http://schemas.microsoft.com/office/drawing/2014/main" id="{927F3AF7-6A53-47DA-AEA3-F8EC76292475}"/>
              </a:ext>
              <a:ext uri="{C183D7F6-B498-43B3-948B-1728B52AA6E4}">
                <adec:decorative xmlns:adec="http://schemas.microsoft.com/office/drawing/2017/decorative" val="1"/>
              </a:ext>
            </a:extLst>
          </p:cNvPr>
          <p:cNvGrpSpPr>
            <a:grpSpLocks noChangeAspect="1"/>
          </p:cNvGrpSpPr>
          <p:nvPr/>
        </p:nvGrpSpPr>
        <p:grpSpPr>
          <a:xfrm>
            <a:off x="4644309" y="4169627"/>
            <a:ext cx="117404" cy="133597"/>
            <a:chOff x="5873750" y="3184526"/>
            <a:chExt cx="429683" cy="488948"/>
          </a:xfrm>
          <a:solidFill>
            <a:srgbClr val="101010"/>
          </a:solidFill>
        </p:grpSpPr>
        <p:sp>
          <p:nvSpPr>
            <p:cNvPr id="5288" name="Freeform: Shape 5287">
              <a:extLst>
                <a:ext uri="{FF2B5EF4-FFF2-40B4-BE49-F238E27FC236}">
                  <a16:creationId xmlns:a16="http://schemas.microsoft.com/office/drawing/2014/main" id="{09791456-3DC5-45F0-81AD-1E8FFFB9C2FE}"/>
                </a:ext>
              </a:extLst>
            </p:cNvPr>
            <p:cNvSpPr/>
            <p:nvPr/>
          </p:nvSpPr>
          <p:spPr>
            <a:xfrm>
              <a:off x="6057477" y="3261572"/>
              <a:ext cx="44450" cy="44450"/>
            </a:xfrm>
            <a:custGeom>
              <a:avLst/>
              <a:gdLst>
                <a:gd name="connsiteX0" fmla="*/ 0 w 44450"/>
                <a:gd name="connsiteY0" fmla="*/ 25188 h 44449"/>
                <a:gd name="connsiteX1" fmla="*/ 25188 w 44450"/>
                <a:gd name="connsiteY1" fmla="*/ 50376 h 44449"/>
                <a:gd name="connsiteX2" fmla="*/ 50377 w 44450"/>
                <a:gd name="connsiteY2" fmla="*/ 25188 h 44449"/>
                <a:gd name="connsiteX3" fmla="*/ 23707 w 44450"/>
                <a:gd name="connsiteY3" fmla="*/ 0 h 44449"/>
                <a:gd name="connsiteX4" fmla="*/ 0 w 44450"/>
                <a:gd name="connsiteY4" fmla="*/ 25188 h 44449"/>
                <a:gd name="connsiteX5" fmla="*/ 34078 w 44450"/>
                <a:gd name="connsiteY5" fmla="*/ 25188 h 44449"/>
                <a:gd name="connsiteX6" fmla="*/ 23707 w 44450"/>
                <a:gd name="connsiteY6" fmla="*/ 35560 h 44449"/>
                <a:gd name="connsiteX7" fmla="*/ 13335 w 44450"/>
                <a:gd name="connsiteY7" fmla="*/ 25188 h 44449"/>
                <a:gd name="connsiteX8" fmla="*/ 23707 w 44450"/>
                <a:gd name="connsiteY8" fmla="*/ 14817 h 44449"/>
                <a:gd name="connsiteX9" fmla="*/ 34078 w 44450"/>
                <a:gd name="connsiteY9" fmla="*/ 25188 h 4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450" h="44449">
                  <a:moveTo>
                    <a:pt x="0" y="25188"/>
                  </a:moveTo>
                  <a:cubicBezTo>
                    <a:pt x="0" y="38523"/>
                    <a:pt x="10372" y="50376"/>
                    <a:pt x="25188" y="50376"/>
                  </a:cubicBezTo>
                  <a:cubicBezTo>
                    <a:pt x="38523" y="50376"/>
                    <a:pt x="50377" y="40005"/>
                    <a:pt x="50377" y="25188"/>
                  </a:cubicBezTo>
                  <a:cubicBezTo>
                    <a:pt x="50377" y="10372"/>
                    <a:pt x="38523" y="0"/>
                    <a:pt x="23707" y="0"/>
                  </a:cubicBezTo>
                  <a:cubicBezTo>
                    <a:pt x="10372" y="0"/>
                    <a:pt x="0" y="11853"/>
                    <a:pt x="0" y="25188"/>
                  </a:cubicBezTo>
                  <a:close/>
                  <a:moveTo>
                    <a:pt x="34078" y="25188"/>
                  </a:moveTo>
                  <a:cubicBezTo>
                    <a:pt x="34078" y="31115"/>
                    <a:pt x="29633" y="35560"/>
                    <a:pt x="23707" y="35560"/>
                  </a:cubicBezTo>
                  <a:cubicBezTo>
                    <a:pt x="17780" y="35560"/>
                    <a:pt x="13335" y="31115"/>
                    <a:pt x="13335" y="25188"/>
                  </a:cubicBezTo>
                  <a:cubicBezTo>
                    <a:pt x="13335" y="19262"/>
                    <a:pt x="17780" y="14817"/>
                    <a:pt x="23707" y="14817"/>
                  </a:cubicBezTo>
                  <a:cubicBezTo>
                    <a:pt x="29633" y="14817"/>
                    <a:pt x="34078" y="19262"/>
                    <a:pt x="34078" y="25188"/>
                  </a:cubicBezTo>
                  <a:close/>
                </a:path>
              </a:pathLst>
            </a:custGeom>
            <a:solidFill>
              <a:srgbClr val="101010"/>
            </a:solidFill>
            <a:ln w="14605" cap="flat">
              <a:noFill/>
              <a:prstDash val="solid"/>
              <a:miter/>
            </a:ln>
          </p:spPr>
          <p:txBody>
            <a:bodyPr rtlCol="0" anchor="ctr"/>
            <a:lstStyle/>
            <a:p>
              <a:endParaRPr lang="de-DE"/>
            </a:p>
          </p:txBody>
        </p:sp>
        <p:sp>
          <p:nvSpPr>
            <p:cNvPr id="5289" name="Freeform: Shape 5288">
              <a:extLst>
                <a:ext uri="{FF2B5EF4-FFF2-40B4-BE49-F238E27FC236}">
                  <a16:creationId xmlns:a16="http://schemas.microsoft.com/office/drawing/2014/main" id="{2385C512-A549-4F54-B6B1-7DC5AE34574F}"/>
                </a:ext>
              </a:extLst>
            </p:cNvPr>
            <p:cNvSpPr/>
            <p:nvPr/>
          </p:nvSpPr>
          <p:spPr>
            <a:xfrm>
              <a:off x="6022425" y="3223049"/>
              <a:ext cx="118533" cy="29633"/>
            </a:xfrm>
            <a:custGeom>
              <a:avLst/>
              <a:gdLst>
                <a:gd name="connsiteX0" fmla="*/ 116543 w 118533"/>
                <a:gd name="connsiteY0" fmla="*/ 37042 h 29633"/>
                <a:gd name="connsiteX1" fmla="*/ 116543 w 118533"/>
                <a:gd name="connsiteY1" fmla="*/ 26670 h 29633"/>
                <a:gd name="connsiteX2" fmla="*/ 58758 w 118533"/>
                <a:gd name="connsiteY2" fmla="*/ 0 h 29633"/>
                <a:gd name="connsiteX3" fmla="*/ 973 w 118533"/>
                <a:gd name="connsiteY3" fmla="*/ 26670 h 29633"/>
                <a:gd name="connsiteX4" fmla="*/ 2455 w 118533"/>
                <a:gd name="connsiteY4" fmla="*/ 38523 h 29633"/>
                <a:gd name="connsiteX5" fmla="*/ 6900 w 118533"/>
                <a:gd name="connsiteY5" fmla="*/ 40005 h 29633"/>
                <a:gd name="connsiteX6" fmla="*/ 12827 w 118533"/>
                <a:gd name="connsiteY6" fmla="*/ 37042 h 29633"/>
                <a:gd name="connsiteX7" fmla="*/ 58758 w 118533"/>
                <a:gd name="connsiteY7" fmla="*/ 16298 h 29633"/>
                <a:gd name="connsiteX8" fmla="*/ 104690 w 118533"/>
                <a:gd name="connsiteY8" fmla="*/ 37042 h 29633"/>
                <a:gd name="connsiteX9" fmla="*/ 116543 w 118533"/>
                <a:gd name="connsiteY9" fmla="*/ 37042 h 2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533" h="29633">
                  <a:moveTo>
                    <a:pt x="116543" y="37042"/>
                  </a:moveTo>
                  <a:cubicBezTo>
                    <a:pt x="119507" y="34078"/>
                    <a:pt x="119507" y="29633"/>
                    <a:pt x="116543" y="26670"/>
                  </a:cubicBezTo>
                  <a:cubicBezTo>
                    <a:pt x="101727" y="10372"/>
                    <a:pt x="80983" y="0"/>
                    <a:pt x="58758" y="0"/>
                  </a:cubicBezTo>
                  <a:cubicBezTo>
                    <a:pt x="36533" y="0"/>
                    <a:pt x="15790" y="10372"/>
                    <a:pt x="973" y="26670"/>
                  </a:cubicBezTo>
                  <a:cubicBezTo>
                    <a:pt x="-508" y="31115"/>
                    <a:pt x="-508" y="35560"/>
                    <a:pt x="2455" y="38523"/>
                  </a:cubicBezTo>
                  <a:cubicBezTo>
                    <a:pt x="3937" y="40005"/>
                    <a:pt x="5418" y="40005"/>
                    <a:pt x="6900" y="40005"/>
                  </a:cubicBezTo>
                  <a:cubicBezTo>
                    <a:pt x="8382" y="40005"/>
                    <a:pt x="11345" y="38523"/>
                    <a:pt x="12827" y="37042"/>
                  </a:cubicBezTo>
                  <a:cubicBezTo>
                    <a:pt x="24680" y="23707"/>
                    <a:pt x="40978" y="16298"/>
                    <a:pt x="58758" y="16298"/>
                  </a:cubicBezTo>
                  <a:cubicBezTo>
                    <a:pt x="76538" y="16298"/>
                    <a:pt x="92837" y="23707"/>
                    <a:pt x="104690" y="37042"/>
                  </a:cubicBezTo>
                  <a:cubicBezTo>
                    <a:pt x="107653" y="40005"/>
                    <a:pt x="113580" y="40005"/>
                    <a:pt x="116543" y="37042"/>
                  </a:cubicBezTo>
                  <a:close/>
                </a:path>
              </a:pathLst>
            </a:custGeom>
            <a:solidFill>
              <a:srgbClr val="101010"/>
            </a:solidFill>
            <a:ln w="14605" cap="flat">
              <a:noFill/>
              <a:prstDash val="solid"/>
              <a:miter/>
            </a:ln>
          </p:spPr>
          <p:txBody>
            <a:bodyPr rtlCol="0" anchor="ctr"/>
            <a:lstStyle/>
            <a:p>
              <a:endParaRPr lang="de-DE"/>
            </a:p>
          </p:txBody>
        </p:sp>
        <p:sp>
          <p:nvSpPr>
            <p:cNvPr id="5290" name="Freeform: Shape 5289">
              <a:extLst>
                <a:ext uri="{FF2B5EF4-FFF2-40B4-BE49-F238E27FC236}">
                  <a16:creationId xmlns:a16="http://schemas.microsoft.com/office/drawing/2014/main" id="{468C5953-FCD8-479E-880A-38D84CA20284}"/>
                </a:ext>
              </a:extLst>
            </p:cNvPr>
            <p:cNvSpPr/>
            <p:nvPr/>
          </p:nvSpPr>
          <p:spPr>
            <a:xfrm>
              <a:off x="5998718" y="3184526"/>
              <a:ext cx="162983" cy="44450"/>
            </a:xfrm>
            <a:custGeom>
              <a:avLst/>
              <a:gdLst>
                <a:gd name="connsiteX0" fmla="*/ 6900 w 162983"/>
                <a:gd name="connsiteY0" fmla="*/ 53340 h 44449"/>
                <a:gd name="connsiteX1" fmla="*/ 12827 w 162983"/>
                <a:gd name="connsiteY1" fmla="*/ 50376 h 44449"/>
                <a:gd name="connsiteX2" fmla="*/ 82465 w 162983"/>
                <a:gd name="connsiteY2" fmla="*/ 14817 h 44449"/>
                <a:gd name="connsiteX3" fmla="*/ 152103 w 162983"/>
                <a:gd name="connsiteY3" fmla="*/ 48895 h 44449"/>
                <a:gd name="connsiteX4" fmla="*/ 162475 w 162983"/>
                <a:gd name="connsiteY4" fmla="*/ 50376 h 44449"/>
                <a:gd name="connsiteX5" fmla="*/ 163957 w 162983"/>
                <a:gd name="connsiteY5" fmla="*/ 40005 h 44449"/>
                <a:gd name="connsiteX6" fmla="*/ 82465 w 162983"/>
                <a:gd name="connsiteY6" fmla="*/ 0 h 44449"/>
                <a:gd name="connsiteX7" fmla="*/ 973 w 162983"/>
                <a:gd name="connsiteY7" fmla="*/ 41486 h 44449"/>
                <a:gd name="connsiteX8" fmla="*/ 2455 w 162983"/>
                <a:gd name="connsiteY8" fmla="*/ 51858 h 44449"/>
                <a:gd name="connsiteX9" fmla="*/ 6900 w 162983"/>
                <a:gd name="connsiteY9" fmla="*/ 53340 h 4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983" h="44449">
                  <a:moveTo>
                    <a:pt x="6900" y="53340"/>
                  </a:moveTo>
                  <a:cubicBezTo>
                    <a:pt x="9863" y="53340"/>
                    <a:pt x="11345" y="51858"/>
                    <a:pt x="12827" y="50376"/>
                  </a:cubicBezTo>
                  <a:cubicBezTo>
                    <a:pt x="30607" y="28152"/>
                    <a:pt x="55795" y="14817"/>
                    <a:pt x="82465" y="14817"/>
                  </a:cubicBezTo>
                  <a:cubicBezTo>
                    <a:pt x="109135" y="14817"/>
                    <a:pt x="134323" y="26670"/>
                    <a:pt x="152103" y="48895"/>
                  </a:cubicBezTo>
                  <a:cubicBezTo>
                    <a:pt x="155067" y="51858"/>
                    <a:pt x="159512" y="53340"/>
                    <a:pt x="162475" y="50376"/>
                  </a:cubicBezTo>
                  <a:cubicBezTo>
                    <a:pt x="165438" y="47413"/>
                    <a:pt x="166920" y="42968"/>
                    <a:pt x="163957" y="40005"/>
                  </a:cubicBezTo>
                  <a:cubicBezTo>
                    <a:pt x="144695" y="14817"/>
                    <a:pt x="115062" y="0"/>
                    <a:pt x="82465" y="0"/>
                  </a:cubicBezTo>
                  <a:cubicBezTo>
                    <a:pt x="49868" y="0"/>
                    <a:pt x="20235" y="14817"/>
                    <a:pt x="973" y="41486"/>
                  </a:cubicBezTo>
                  <a:cubicBezTo>
                    <a:pt x="-508" y="44450"/>
                    <a:pt x="-508" y="48895"/>
                    <a:pt x="2455" y="51858"/>
                  </a:cubicBezTo>
                  <a:cubicBezTo>
                    <a:pt x="3937" y="51858"/>
                    <a:pt x="5418" y="53340"/>
                    <a:pt x="6900" y="53340"/>
                  </a:cubicBezTo>
                  <a:close/>
                </a:path>
              </a:pathLst>
            </a:custGeom>
            <a:solidFill>
              <a:srgbClr val="101010"/>
            </a:solidFill>
            <a:ln w="14605" cap="flat">
              <a:noFill/>
              <a:prstDash val="solid"/>
              <a:miter/>
            </a:ln>
          </p:spPr>
          <p:txBody>
            <a:bodyPr rtlCol="0" anchor="ctr"/>
            <a:lstStyle/>
            <a:p>
              <a:endParaRPr lang="de-DE"/>
            </a:p>
          </p:txBody>
        </p:sp>
        <p:sp>
          <p:nvSpPr>
            <p:cNvPr id="5291" name="Freeform: Shape 5290">
              <a:extLst>
                <a:ext uri="{FF2B5EF4-FFF2-40B4-BE49-F238E27FC236}">
                  <a16:creationId xmlns:a16="http://schemas.microsoft.com/office/drawing/2014/main" id="{08A3E22D-0851-4117-8A62-99E121D2096F}"/>
                </a:ext>
              </a:extLst>
            </p:cNvPr>
            <p:cNvSpPr/>
            <p:nvPr/>
          </p:nvSpPr>
          <p:spPr>
            <a:xfrm>
              <a:off x="6217497" y="3574203"/>
              <a:ext cx="74083" cy="103716"/>
            </a:xfrm>
            <a:custGeom>
              <a:avLst/>
              <a:gdLst>
                <a:gd name="connsiteX0" fmla="*/ 47413 w 74083"/>
                <a:gd name="connsiteY0" fmla="*/ 2963 h 103716"/>
                <a:gd name="connsiteX1" fmla="*/ 41487 w 74083"/>
                <a:gd name="connsiteY1" fmla="*/ 0 h 103716"/>
                <a:gd name="connsiteX2" fmla="*/ 35560 w 74083"/>
                <a:gd name="connsiteY2" fmla="*/ 2963 h 103716"/>
                <a:gd name="connsiteX3" fmla="*/ 7408 w 74083"/>
                <a:gd name="connsiteY3" fmla="*/ 40005 h 103716"/>
                <a:gd name="connsiteX4" fmla="*/ 0 w 74083"/>
                <a:gd name="connsiteY4" fmla="*/ 62230 h 103716"/>
                <a:gd name="connsiteX5" fmla="*/ 41487 w 74083"/>
                <a:gd name="connsiteY5" fmla="*/ 103716 h 103716"/>
                <a:gd name="connsiteX6" fmla="*/ 82973 w 74083"/>
                <a:gd name="connsiteY6" fmla="*/ 62230 h 103716"/>
                <a:gd name="connsiteX7" fmla="*/ 77047 w 74083"/>
                <a:gd name="connsiteY7" fmla="*/ 41487 h 103716"/>
                <a:gd name="connsiteX8" fmla="*/ 47413 w 74083"/>
                <a:gd name="connsiteY8" fmla="*/ 2963 h 103716"/>
                <a:gd name="connsiteX9" fmla="*/ 41487 w 74083"/>
                <a:gd name="connsiteY9" fmla="*/ 90381 h 103716"/>
                <a:gd name="connsiteX10" fmla="*/ 14817 w 74083"/>
                <a:gd name="connsiteY10" fmla="*/ 63711 h 103716"/>
                <a:gd name="connsiteX11" fmla="*/ 19262 w 74083"/>
                <a:gd name="connsiteY11" fmla="*/ 48895 h 103716"/>
                <a:gd name="connsiteX12" fmla="*/ 41487 w 74083"/>
                <a:gd name="connsiteY12" fmla="*/ 19262 h 103716"/>
                <a:gd name="connsiteX13" fmla="*/ 63712 w 74083"/>
                <a:gd name="connsiteY13" fmla="*/ 50376 h 103716"/>
                <a:gd name="connsiteX14" fmla="*/ 66675 w 74083"/>
                <a:gd name="connsiteY14" fmla="*/ 63711 h 103716"/>
                <a:gd name="connsiteX15" fmla="*/ 41487 w 74083"/>
                <a:gd name="connsiteY15" fmla="*/ 90381 h 10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083" h="103716">
                  <a:moveTo>
                    <a:pt x="47413" y="2963"/>
                  </a:moveTo>
                  <a:cubicBezTo>
                    <a:pt x="45932" y="1482"/>
                    <a:pt x="42968" y="0"/>
                    <a:pt x="41487" y="0"/>
                  </a:cubicBezTo>
                  <a:cubicBezTo>
                    <a:pt x="38523" y="0"/>
                    <a:pt x="37042" y="1482"/>
                    <a:pt x="35560" y="2963"/>
                  </a:cubicBezTo>
                  <a:lnTo>
                    <a:pt x="7408" y="40005"/>
                  </a:lnTo>
                  <a:cubicBezTo>
                    <a:pt x="2963" y="47413"/>
                    <a:pt x="0" y="54821"/>
                    <a:pt x="0" y="62230"/>
                  </a:cubicBezTo>
                  <a:cubicBezTo>
                    <a:pt x="0" y="84455"/>
                    <a:pt x="17780" y="103716"/>
                    <a:pt x="41487" y="103716"/>
                  </a:cubicBezTo>
                  <a:cubicBezTo>
                    <a:pt x="63712" y="103716"/>
                    <a:pt x="82973" y="85936"/>
                    <a:pt x="82973" y="62230"/>
                  </a:cubicBezTo>
                  <a:cubicBezTo>
                    <a:pt x="82973" y="54821"/>
                    <a:pt x="81492" y="47413"/>
                    <a:pt x="77047" y="41487"/>
                  </a:cubicBezTo>
                  <a:lnTo>
                    <a:pt x="47413" y="2963"/>
                  </a:lnTo>
                  <a:close/>
                  <a:moveTo>
                    <a:pt x="41487" y="90381"/>
                  </a:moveTo>
                  <a:cubicBezTo>
                    <a:pt x="26670" y="90381"/>
                    <a:pt x="14817" y="78528"/>
                    <a:pt x="14817" y="63711"/>
                  </a:cubicBezTo>
                  <a:cubicBezTo>
                    <a:pt x="14817" y="57785"/>
                    <a:pt x="16298" y="53340"/>
                    <a:pt x="19262" y="48895"/>
                  </a:cubicBezTo>
                  <a:lnTo>
                    <a:pt x="41487" y="19262"/>
                  </a:lnTo>
                  <a:lnTo>
                    <a:pt x="63712" y="50376"/>
                  </a:lnTo>
                  <a:cubicBezTo>
                    <a:pt x="66675" y="54821"/>
                    <a:pt x="66675" y="59266"/>
                    <a:pt x="66675" y="63711"/>
                  </a:cubicBezTo>
                  <a:cubicBezTo>
                    <a:pt x="68157" y="78528"/>
                    <a:pt x="56303" y="90381"/>
                    <a:pt x="41487" y="90381"/>
                  </a:cubicBezTo>
                  <a:close/>
                </a:path>
              </a:pathLst>
            </a:custGeom>
            <a:solidFill>
              <a:srgbClr val="101010"/>
            </a:solidFill>
            <a:ln w="14605" cap="flat">
              <a:noFill/>
              <a:prstDash val="solid"/>
              <a:miter/>
            </a:ln>
          </p:spPr>
          <p:txBody>
            <a:bodyPr rtlCol="0" anchor="ctr"/>
            <a:lstStyle/>
            <a:p>
              <a:endParaRPr lang="de-DE"/>
            </a:p>
          </p:txBody>
        </p:sp>
        <p:sp>
          <p:nvSpPr>
            <p:cNvPr id="5292" name="Freeform: Shape 5291">
              <a:extLst>
                <a:ext uri="{FF2B5EF4-FFF2-40B4-BE49-F238E27FC236}">
                  <a16:creationId xmlns:a16="http://schemas.microsoft.com/office/drawing/2014/main" id="{4FA1A517-ECA4-416A-A644-E78BAD377C88}"/>
                </a:ext>
              </a:extLst>
            </p:cNvPr>
            <p:cNvSpPr/>
            <p:nvPr/>
          </p:nvSpPr>
          <p:spPr>
            <a:xfrm>
              <a:off x="5873750" y="3273426"/>
              <a:ext cx="429683" cy="281516"/>
            </a:xfrm>
            <a:custGeom>
              <a:avLst/>
              <a:gdLst>
                <a:gd name="connsiteX0" fmla="*/ 437092 w 429683"/>
                <a:gd name="connsiteY0" fmla="*/ 274107 h 281515"/>
                <a:gd name="connsiteX1" fmla="*/ 437092 w 429683"/>
                <a:gd name="connsiteY1" fmla="*/ 274107 h 281515"/>
                <a:gd name="connsiteX2" fmla="*/ 437092 w 429683"/>
                <a:gd name="connsiteY2" fmla="*/ 226694 h 281515"/>
                <a:gd name="connsiteX3" fmla="*/ 299297 w 429683"/>
                <a:gd name="connsiteY3" fmla="*/ 88900 h 281515"/>
                <a:gd name="connsiteX4" fmla="*/ 259292 w 429683"/>
                <a:gd name="connsiteY4" fmla="*/ 88900 h 281515"/>
                <a:gd name="connsiteX5" fmla="*/ 237067 w 429683"/>
                <a:gd name="connsiteY5" fmla="*/ 66675 h 281515"/>
                <a:gd name="connsiteX6" fmla="*/ 177800 w 429683"/>
                <a:gd name="connsiteY6" fmla="*/ 66675 h 281515"/>
                <a:gd name="connsiteX7" fmla="*/ 155575 w 429683"/>
                <a:gd name="connsiteY7" fmla="*/ 88900 h 281515"/>
                <a:gd name="connsiteX8" fmla="*/ 81492 w 429683"/>
                <a:gd name="connsiteY8" fmla="*/ 88900 h 281515"/>
                <a:gd name="connsiteX9" fmla="*/ 81492 w 429683"/>
                <a:gd name="connsiteY9" fmla="*/ 51858 h 281515"/>
                <a:gd name="connsiteX10" fmla="*/ 29633 w 429683"/>
                <a:gd name="connsiteY10" fmla="*/ 0 h 281515"/>
                <a:gd name="connsiteX11" fmla="*/ 14817 w 429683"/>
                <a:gd name="connsiteY11" fmla="*/ 0 h 281515"/>
                <a:gd name="connsiteX12" fmla="*/ 0 w 429683"/>
                <a:gd name="connsiteY12" fmla="*/ 14817 h 281515"/>
                <a:gd name="connsiteX13" fmla="*/ 0 w 429683"/>
                <a:gd name="connsiteY13" fmla="*/ 266699 h 281515"/>
                <a:gd name="connsiteX14" fmla="*/ 14817 w 429683"/>
                <a:gd name="connsiteY14" fmla="*/ 281516 h 281515"/>
                <a:gd name="connsiteX15" fmla="*/ 29633 w 429683"/>
                <a:gd name="connsiteY15" fmla="*/ 281516 h 281515"/>
                <a:gd name="connsiteX16" fmla="*/ 81492 w 429683"/>
                <a:gd name="connsiteY16" fmla="*/ 229657 h 281515"/>
                <a:gd name="connsiteX17" fmla="*/ 81492 w 429683"/>
                <a:gd name="connsiteY17" fmla="*/ 192616 h 281515"/>
                <a:gd name="connsiteX18" fmla="*/ 155575 w 429683"/>
                <a:gd name="connsiteY18" fmla="*/ 192616 h 281515"/>
                <a:gd name="connsiteX19" fmla="*/ 177800 w 429683"/>
                <a:gd name="connsiteY19" fmla="*/ 214841 h 281515"/>
                <a:gd name="connsiteX20" fmla="*/ 237067 w 429683"/>
                <a:gd name="connsiteY20" fmla="*/ 214841 h 281515"/>
                <a:gd name="connsiteX21" fmla="*/ 259292 w 429683"/>
                <a:gd name="connsiteY21" fmla="*/ 192616 h 281515"/>
                <a:gd name="connsiteX22" fmla="*/ 278553 w 429683"/>
                <a:gd name="connsiteY22" fmla="*/ 192616 h 281515"/>
                <a:gd name="connsiteX23" fmla="*/ 333375 w 429683"/>
                <a:gd name="connsiteY23" fmla="*/ 247437 h 281515"/>
                <a:gd name="connsiteX24" fmla="*/ 333375 w 429683"/>
                <a:gd name="connsiteY24" fmla="*/ 274107 h 281515"/>
                <a:gd name="connsiteX25" fmla="*/ 333375 w 429683"/>
                <a:gd name="connsiteY25" fmla="*/ 274107 h 281515"/>
                <a:gd name="connsiteX26" fmla="*/ 333375 w 429683"/>
                <a:gd name="connsiteY26" fmla="*/ 275589 h 281515"/>
                <a:gd name="connsiteX27" fmla="*/ 340783 w 429683"/>
                <a:gd name="connsiteY27" fmla="*/ 282997 h 281515"/>
                <a:gd name="connsiteX28" fmla="*/ 429683 w 429683"/>
                <a:gd name="connsiteY28" fmla="*/ 282997 h 281515"/>
                <a:gd name="connsiteX29" fmla="*/ 437092 w 429683"/>
                <a:gd name="connsiteY29" fmla="*/ 274107 h 281515"/>
                <a:gd name="connsiteX30" fmla="*/ 437092 w 429683"/>
                <a:gd name="connsiteY30" fmla="*/ 274107 h 281515"/>
                <a:gd name="connsiteX31" fmla="*/ 66675 w 429683"/>
                <a:gd name="connsiteY31" fmla="*/ 229657 h 281515"/>
                <a:gd name="connsiteX32" fmla="*/ 29633 w 429683"/>
                <a:gd name="connsiteY32" fmla="*/ 266699 h 281515"/>
                <a:gd name="connsiteX33" fmla="*/ 14817 w 429683"/>
                <a:gd name="connsiteY33" fmla="*/ 266699 h 281515"/>
                <a:gd name="connsiteX34" fmla="*/ 14817 w 429683"/>
                <a:gd name="connsiteY34" fmla="*/ 14817 h 281515"/>
                <a:gd name="connsiteX35" fmla="*/ 29633 w 429683"/>
                <a:gd name="connsiteY35" fmla="*/ 14817 h 281515"/>
                <a:gd name="connsiteX36" fmla="*/ 66675 w 429683"/>
                <a:gd name="connsiteY36" fmla="*/ 51858 h 281515"/>
                <a:gd name="connsiteX37" fmla="*/ 66675 w 429683"/>
                <a:gd name="connsiteY37" fmla="*/ 229657 h 281515"/>
                <a:gd name="connsiteX38" fmla="*/ 81492 w 429683"/>
                <a:gd name="connsiteY38" fmla="*/ 177799 h 281515"/>
                <a:gd name="connsiteX39" fmla="*/ 81492 w 429683"/>
                <a:gd name="connsiteY39" fmla="*/ 103716 h 281515"/>
                <a:gd name="connsiteX40" fmla="*/ 155575 w 429683"/>
                <a:gd name="connsiteY40" fmla="*/ 103716 h 281515"/>
                <a:gd name="connsiteX41" fmla="*/ 155575 w 429683"/>
                <a:gd name="connsiteY41" fmla="*/ 177799 h 281515"/>
                <a:gd name="connsiteX42" fmla="*/ 81492 w 429683"/>
                <a:gd name="connsiteY42" fmla="*/ 177799 h 281515"/>
                <a:gd name="connsiteX43" fmla="*/ 244475 w 429683"/>
                <a:gd name="connsiteY43" fmla="*/ 192616 h 281515"/>
                <a:gd name="connsiteX44" fmla="*/ 237067 w 429683"/>
                <a:gd name="connsiteY44" fmla="*/ 200024 h 281515"/>
                <a:gd name="connsiteX45" fmla="*/ 177800 w 429683"/>
                <a:gd name="connsiteY45" fmla="*/ 200024 h 281515"/>
                <a:gd name="connsiteX46" fmla="*/ 170392 w 429683"/>
                <a:gd name="connsiteY46" fmla="*/ 192616 h 281515"/>
                <a:gd name="connsiteX47" fmla="*/ 170392 w 429683"/>
                <a:gd name="connsiteY47" fmla="*/ 88900 h 281515"/>
                <a:gd name="connsiteX48" fmla="*/ 177800 w 429683"/>
                <a:gd name="connsiteY48" fmla="*/ 81491 h 281515"/>
                <a:gd name="connsiteX49" fmla="*/ 237067 w 429683"/>
                <a:gd name="connsiteY49" fmla="*/ 81491 h 281515"/>
                <a:gd name="connsiteX50" fmla="*/ 244475 w 429683"/>
                <a:gd name="connsiteY50" fmla="*/ 88900 h 281515"/>
                <a:gd name="connsiteX51" fmla="*/ 244475 w 429683"/>
                <a:gd name="connsiteY51" fmla="*/ 192616 h 281515"/>
                <a:gd name="connsiteX52" fmla="*/ 278553 w 429683"/>
                <a:gd name="connsiteY52" fmla="*/ 177799 h 281515"/>
                <a:gd name="connsiteX53" fmla="*/ 259292 w 429683"/>
                <a:gd name="connsiteY53" fmla="*/ 177799 h 281515"/>
                <a:gd name="connsiteX54" fmla="*/ 259292 w 429683"/>
                <a:gd name="connsiteY54" fmla="*/ 103716 h 281515"/>
                <a:gd name="connsiteX55" fmla="*/ 299297 w 429683"/>
                <a:gd name="connsiteY55" fmla="*/ 103716 h 281515"/>
                <a:gd name="connsiteX56" fmla="*/ 422275 w 429683"/>
                <a:gd name="connsiteY56" fmla="*/ 226694 h 281515"/>
                <a:gd name="connsiteX57" fmla="*/ 422275 w 429683"/>
                <a:gd name="connsiteY57" fmla="*/ 268181 h 281515"/>
                <a:gd name="connsiteX58" fmla="*/ 348192 w 429683"/>
                <a:gd name="connsiteY58" fmla="*/ 268181 h 281515"/>
                <a:gd name="connsiteX59" fmla="*/ 348192 w 429683"/>
                <a:gd name="connsiteY59" fmla="*/ 247437 h 281515"/>
                <a:gd name="connsiteX60" fmla="*/ 278553 w 429683"/>
                <a:gd name="connsiteY60" fmla="*/ 177799 h 28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29683" h="281515">
                  <a:moveTo>
                    <a:pt x="437092" y="274107"/>
                  </a:moveTo>
                  <a:cubicBezTo>
                    <a:pt x="437092" y="274107"/>
                    <a:pt x="437092" y="274107"/>
                    <a:pt x="437092" y="274107"/>
                  </a:cubicBezTo>
                  <a:lnTo>
                    <a:pt x="437092" y="226694"/>
                  </a:lnTo>
                  <a:cubicBezTo>
                    <a:pt x="437092" y="149648"/>
                    <a:pt x="374862" y="88900"/>
                    <a:pt x="299297" y="88900"/>
                  </a:cubicBezTo>
                  <a:lnTo>
                    <a:pt x="259292" y="88900"/>
                  </a:lnTo>
                  <a:cubicBezTo>
                    <a:pt x="259292" y="77046"/>
                    <a:pt x="248920" y="66675"/>
                    <a:pt x="237067" y="66675"/>
                  </a:cubicBezTo>
                  <a:lnTo>
                    <a:pt x="177800" y="66675"/>
                  </a:lnTo>
                  <a:cubicBezTo>
                    <a:pt x="165947" y="66675"/>
                    <a:pt x="155575" y="77046"/>
                    <a:pt x="155575" y="88900"/>
                  </a:cubicBezTo>
                  <a:lnTo>
                    <a:pt x="81492" y="88900"/>
                  </a:lnTo>
                  <a:lnTo>
                    <a:pt x="81492" y="51858"/>
                  </a:lnTo>
                  <a:cubicBezTo>
                    <a:pt x="81492" y="23707"/>
                    <a:pt x="57785" y="0"/>
                    <a:pt x="29633" y="0"/>
                  </a:cubicBezTo>
                  <a:lnTo>
                    <a:pt x="14817" y="0"/>
                  </a:lnTo>
                  <a:cubicBezTo>
                    <a:pt x="5927" y="0"/>
                    <a:pt x="0" y="5927"/>
                    <a:pt x="0" y="14817"/>
                  </a:cubicBezTo>
                  <a:lnTo>
                    <a:pt x="0" y="266699"/>
                  </a:lnTo>
                  <a:cubicBezTo>
                    <a:pt x="0" y="275589"/>
                    <a:pt x="5927" y="281516"/>
                    <a:pt x="14817" y="281516"/>
                  </a:cubicBezTo>
                  <a:lnTo>
                    <a:pt x="29633" y="281516"/>
                  </a:lnTo>
                  <a:cubicBezTo>
                    <a:pt x="57785" y="281516"/>
                    <a:pt x="81492" y="257809"/>
                    <a:pt x="81492" y="229657"/>
                  </a:cubicBezTo>
                  <a:lnTo>
                    <a:pt x="81492" y="192616"/>
                  </a:lnTo>
                  <a:lnTo>
                    <a:pt x="155575" y="192616"/>
                  </a:lnTo>
                  <a:cubicBezTo>
                    <a:pt x="155575" y="204469"/>
                    <a:pt x="165947" y="214841"/>
                    <a:pt x="177800" y="214841"/>
                  </a:cubicBezTo>
                  <a:lnTo>
                    <a:pt x="237067" y="214841"/>
                  </a:lnTo>
                  <a:cubicBezTo>
                    <a:pt x="248920" y="214841"/>
                    <a:pt x="259292" y="204469"/>
                    <a:pt x="259292" y="192616"/>
                  </a:cubicBezTo>
                  <a:lnTo>
                    <a:pt x="278553" y="192616"/>
                  </a:lnTo>
                  <a:cubicBezTo>
                    <a:pt x="309668" y="192616"/>
                    <a:pt x="333375" y="217804"/>
                    <a:pt x="333375" y="247437"/>
                  </a:cubicBezTo>
                  <a:lnTo>
                    <a:pt x="333375" y="274107"/>
                  </a:lnTo>
                  <a:cubicBezTo>
                    <a:pt x="333375" y="274107"/>
                    <a:pt x="333375" y="274107"/>
                    <a:pt x="333375" y="274107"/>
                  </a:cubicBezTo>
                  <a:cubicBezTo>
                    <a:pt x="333375" y="274107"/>
                    <a:pt x="333375" y="274107"/>
                    <a:pt x="333375" y="275589"/>
                  </a:cubicBezTo>
                  <a:cubicBezTo>
                    <a:pt x="333375" y="280034"/>
                    <a:pt x="336338" y="282997"/>
                    <a:pt x="340783" y="282997"/>
                  </a:cubicBezTo>
                  <a:lnTo>
                    <a:pt x="429683" y="282997"/>
                  </a:lnTo>
                  <a:cubicBezTo>
                    <a:pt x="434128" y="282997"/>
                    <a:pt x="437092" y="280034"/>
                    <a:pt x="437092" y="274107"/>
                  </a:cubicBezTo>
                  <a:cubicBezTo>
                    <a:pt x="437092" y="275589"/>
                    <a:pt x="437092" y="275589"/>
                    <a:pt x="437092" y="274107"/>
                  </a:cubicBezTo>
                  <a:close/>
                  <a:moveTo>
                    <a:pt x="66675" y="229657"/>
                  </a:moveTo>
                  <a:cubicBezTo>
                    <a:pt x="66675" y="250401"/>
                    <a:pt x="50377" y="266699"/>
                    <a:pt x="29633" y="266699"/>
                  </a:cubicBezTo>
                  <a:lnTo>
                    <a:pt x="14817" y="266699"/>
                  </a:lnTo>
                  <a:lnTo>
                    <a:pt x="14817" y="14817"/>
                  </a:lnTo>
                  <a:lnTo>
                    <a:pt x="29633" y="14817"/>
                  </a:lnTo>
                  <a:cubicBezTo>
                    <a:pt x="50377" y="14817"/>
                    <a:pt x="66675" y="31115"/>
                    <a:pt x="66675" y="51858"/>
                  </a:cubicBezTo>
                  <a:lnTo>
                    <a:pt x="66675" y="229657"/>
                  </a:lnTo>
                  <a:close/>
                  <a:moveTo>
                    <a:pt x="81492" y="177799"/>
                  </a:moveTo>
                  <a:lnTo>
                    <a:pt x="81492" y="103716"/>
                  </a:lnTo>
                  <a:lnTo>
                    <a:pt x="155575" y="103716"/>
                  </a:lnTo>
                  <a:lnTo>
                    <a:pt x="155575" y="177799"/>
                  </a:lnTo>
                  <a:lnTo>
                    <a:pt x="81492" y="177799"/>
                  </a:lnTo>
                  <a:close/>
                  <a:moveTo>
                    <a:pt x="244475" y="192616"/>
                  </a:moveTo>
                  <a:cubicBezTo>
                    <a:pt x="244475" y="197061"/>
                    <a:pt x="241512" y="200024"/>
                    <a:pt x="237067" y="200024"/>
                  </a:cubicBezTo>
                  <a:lnTo>
                    <a:pt x="177800" y="200024"/>
                  </a:lnTo>
                  <a:cubicBezTo>
                    <a:pt x="173355" y="200024"/>
                    <a:pt x="170392" y="197061"/>
                    <a:pt x="170392" y="192616"/>
                  </a:cubicBezTo>
                  <a:lnTo>
                    <a:pt x="170392" y="88900"/>
                  </a:lnTo>
                  <a:cubicBezTo>
                    <a:pt x="170392" y="84455"/>
                    <a:pt x="173355" y="81491"/>
                    <a:pt x="177800" y="81491"/>
                  </a:cubicBezTo>
                  <a:lnTo>
                    <a:pt x="237067" y="81491"/>
                  </a:lnTo>
                  <a:cubicBezTo>
                    <a:pt x="241512" y="81491"/>
                    <a:pt x="244475" y="84455"/>
                    <a:pt x="244475" y="88900"/>
                  </a:cubicBezTo>
                  <a:lnTo>
                    <a:pt x="244475" y="192616"/>
                  </a:lnTo>
                  <a:close/>
                  <a:moveTo>
                    <a:pt x="278553" y="177799"/>
                  </a:moveTo>
                  <a:lnTo>
                    <a:pt x="259292" y="177799"/>
                  </a:lnTo>
                  <a:lnTo>
                    <a:pt x="259292" y="103716"/>
                  </a:lnTo>
                  <a:lnTo>
                    <a:pt x="299297" y="103716"/>
                  </a:lnTo>
                  <a:cubicBezTo>
                    <a:pt x="367453" y="103716"/>
                    <a:pt x="422275" y="158538"/>
                    <a:pt x="422275" y="226694"/>
                  </a:cubicBezTo>
                  <a:lnTo>
                    <a:pt x="422275" y="268181"/>
                  </a:lnTo>
                  <a:lnTo>
                    <a:pt x="348192" y="268181"/>
                  </a:lnTo>
                  <a:lnTo>
                    <a:pt x="348192" y="247437"/>
                  </a:lnTo>
                  <a:cubicBezTo>
                    <a:pt x="348192" y="208914"/>
                    <a:pt x="317077" y="177799"/>
                    <a:pt x="278553" y="177799"/>
                  </a:cubicBezTo>
                  <a:close/>
                </a:path>
              </a:pathLst>
            </a:custGeom>
            <a:solidFill>
              <a:srgbClr val="101010"/>
            </a:solidFill>
            <a:ln w="14605" cap="flat">
              <a:noFill/>
              <a:prstDash val="solid"/>
              <a:miter/>
            </a:ln>
          </p:spPr>
          <p:txBody>
            <a:bodyPr rtlCol="0" anchor="ctr"/>
            <a:lstStyle/>
            <a:p>
              <a:endParaRPr lang="de-DE"/>
            </a:p>
          </p:txBody>
        </p:sp>
      </p:grpSp>
      <p:grpSp>
        <p:nvGrpSpPr>
          <p:cNvPr id="5293" name="Graphic 3">
            <a:extLst>
              <a:ext uri="{FF2B5EF4-FFF2-40B4-BE49-F238E27FC236}">
                <a16:creationId xmlns:a16="http://schemas.microsoft.com/office/drawing/2014/main" id="{F8688780-3D55-455F-8B9D-9974BB313070}"/>
              </a:ext>
              <a:ext uri="{C183D7F6-B498-43B3-948B-1728B52AA6E4}">
                <adec:decorative xmlns:adec="http://schemas.microsoft.com/office/drawing/2017/decorative" val="1"/>
              </a:ext>
            </a:extLst>
          </p:cNvPr>
          <p:cNvGrpSpPr>
            <a:grpSpLocks noChangeAspect="1"/>
          </p:cNvGrpSpPr>
          <p:nvPr/>
        </p:nvGrpSpPr>
        <p:grpSpPr>
          <a:xfrm>
            <a:off x="4919383" y="4170778"/>
            <a:ext cx="115380" cy="131294"/>
            <a:chOff x="5953125" y="3267075"/>
            <a:chExt cx="276225" cy="314325"/>
          </a:xfrm>
          <a:solidFill>
            <a:srgbClr val="101010"/>
          </a:solidFill>
        </p:grpSpPr>
        <p:sp>
          <p:nvSpPr>
            <p:cNvPr id="5294" name="Freeform: Shape 5293">
              <a:extLst>
                <a:ext uri="{FF2B5EF4-FFF2-40B4-BE49-F238E27FC236}">
                  <a16:creationId xmlns:a16="http://schemas.microsoft.com/office/drawing/2014/main" id="{0BA50A3F-E8E7-4D40-B5AF-491F5E058CC1}"/>
                </a:ext>
              </a:extLst>
            </p:cNvPr>
            <p:cNvSpPr/>
            <p:nvPr/>
          </p:nvSpPr>
          <p:spPr>
            <a:xfrm>
              <a:off x="6081713" y="3316605"/>
              <a:ext cx="28575" cy="28575"/>
            </a:xfrm>
            <a:custGeom>
              <a:avLst/>
              <a:gdLst>
                <a:gd name="connsiteX0" fmla="*/ 0 w 28575"/>
                <a:gd name="connsiteY0" fmla="*/ 16193 h 28575"/>
                <a:gd name="connsiteX1" fmla="*/ 16192 w 28575"/>
                <a:gd name="connsiteY1" fmla="*/ 32385 h 28575"/>
                <a:gd name="connsiteX2" fmla="*/ 32385 w 28575"/>
                <a:gd name="connsiteY2" fmla="*/ 16193 h 28575"/>
                <a:gd name="connsiteX3" fmla="*/ 16192 w 28575"/>
                <a:gd name="connsiteY3" fmla="*/ 0 h 28575"/>
                <a:gd name="connsiteX4" fmla="*/ 0 w 28575"/>
                <a:gd name="connsiteY4" fmla="*/ 16193 h 28575"/>
                <a:gd name="connsiteX5" fmla="*/ 22860 w 28575"/>
                <a:gd name="connsiteY5" fmla="*/ 16193 h 28575"/>
                <a:gd name="connsiteX6" fmla="*/ 16192 w 28575"/>
                <a:gd name="connsiteY6" fmla="*/ 22860 h 28575"/>
                <a:gd name="connsiteX7" fmla="*/ 9525 w 28575"/>
                <a:gd name="connsiteY7" fmla="*/ 16193 h 28575"/>
                <a:gd name="connsiteX8" fmla="*/ 16192 w 28575"/>
                <a:gd name="connsiteY8" fmla="*/ 9525 h 28575"/>
                <a:gd name="connsiteX9" fmla="*/ 22860 w 28575"/>
                <a:gd name="connsiteY9" fmla="*/ 1619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28575">
                  <a:moveTo>
                    <a:pt x="0" y="16193"/>
                  </a:moveTo>
                  <a:cubicBezTo>
                    <a:pt x="0" y="24765"/>
                    <a:pt x="6667" y="32385"/>
                    <a:pt x="16192" y="32385"/>
                  </a:cubicBezTo>
                  <a:cubicBezTo>
                    <a:pt x="24765" y="32385"/>
                    <a:pt x="32385" y="25718"/>
                    <a:pt x="32385" y="16193"/>
                  </a:cubicBezTo>
                  <a:cubicBezTo>
                    <a:pt x="32385" y="6668"/>
                    <a:pt x="25718" y="0"/>
                    <a:pt x="16192" y="0"/>
                  </a:cubicBezTo>
                  <a:cubicBezTo>
                    <a:pt x="7620" y="0"/>
                    <a:pt x="0" y="7620"/>
                    <a:pt x="0" y="16193"/>
                  </a:cubicBezTo>
                  <a:close/>
                  <a:moveTo>
                    <a:pt x="22860" y="16193"/>
                  </a:moveTo>
                  <a:cubicBezTo>
                    <a:pt x="22860" y="20003"/>
                    <a:pt x="20003" y="22860"/>
                    <a:pt x="16192" y="22860"/>
                  </a:cubicBezTo>
                  <a:cubicBezTo>
                    <a:pt x="12383" y="22860"/>
                    <a:pt x="9525" y="20003"/>
                    <a:pt x="9525" y="16193"/>
                  </a:cubicBezTo>
                  <a:cubicBezTo>
                    <a:pt x="9525" y="12383"/>
                    <a:pt x="12383" y="9525"/>
                    <a:pt x="16192" y="9525"/>
                  </a:cubicBezTo>
                  <a:cubicBezTo>
                    <a:pt x="20003" y="9525"/>
                    <a:pt x="22860" y="12383"/>
                    <a:pt x="22860" y="16193"/>
                  </a:cubicBezTo>
                  <a:close/>
                </a:path>
              </a:pathLst>
            </a:custGeom>
            <a:solidFill>
              <a:srgbClr val="101010"/>
            </a:solidFill>
            <a:ln w="9525" cap="flat">
              <a:noFill/>
              <a:prstDash val="solid"/>
              <a:miter/>
            </a:ln>
          </p:spPr>
          <p:txBody>
            <a:bodyPr rtlCol="0" anchor="ctr"/>
            <a:lstStyle/>
            <a:p>
              <a:endParaRPr lang="de-DE"/>
            </a:p>
          </p:txBody>
        </p:sp>
        <p:sp>
          <p:nvSpPr>
            <p:cNvPr id="5295" name="Freeform: Shape 5294">
              <a:extLst>
                <a:ext uri="{FF2B5EF4-FFF2-40B4-BE49-F238E27FC236}">
                  <a16:creationId xmlns:a16="http://schemas.microsoft.com/office/drawing/2014/main" id="{2E6903D5-4D1A-4A9D-95AE-EA8F42BEA6EC}"/>
                </a:ext>
              </a:extLst>
            </p:cNvPr>
            <p:cNvSpPr/>
            <p:nvPr/>
          </p:nvSpPr>
          <p:spPr>
            <a:xfrm>
              <a:off x="6058477" y="3291840"/>
              <a:ext cx="76200" cy="19050"/>
            </a:xfrm>
            <a:custGeom>
              <a:avLst/>
              <a:gdLst>
                <a:gd name="connsiteX0" fmla="*/ 75623 w 76200"/>
                <a:gd name="connsiteY0" fmla="*/ 23813 h 19050"/>
                <a:gd name="connsiteX1" fmla="*/ 75623 w 76200"/>
                <a:gd name="connsiteY1" fmla="*/ 17145 h 19050"/>
                <a:gd name="connsiteX2" fmla="*/ 38475 w 76200"/>
                <a:gd name="connsiteY2" fmla="*/ 0 h 19050"/>
                <a:gd name="connsiteX3" fmla="*/ 1328 w 76200"/>
                <a:gd name="connsiteY3" fmla="*/ 17145 h 19050"/>
                <a:gd name="connsiteX4" fmla="*/ 2280 w 76200"/>
                <a:gd name="connsiteY4" fmla="*/ 23813 h 19050"/>
                <a:gd name="connsiteX5" fmla="*/ 5138 w 76200"/>
                <a:gd name="connsiteY5" fmla="*/ 24765 h 19050"/>
                <a:gd name="connsiteX6" fmla="*/ 8948 w 76200"/>
                <a:gd name="connsiteY6" fmla="*/ 22860 h 19050"/>
                <a:gd name="connsiteX7" fmla="*/ 38475 w 76200"/>
                <a:gd name="connsiteY7" fmla="*/ 9525 h 19050"/>
                <a:gd name="connsiteX8" fmla="*/ 68003 w 76200"/>
                <a:gd name="connsiteY8" fmla="*/ 22860 h 19050"/>
                <a:gd name="connsiteX9" fmla="*/ 75623 w 76200"/>
                <a:gd name="connsiteY9" fmla="*/ 2381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19050">
                  <a:moveTo>
                    <a:pt x="75623" y="23813"/>
                  </a:moveTo>
                  <a:cubicBezTo>
                    <a:pt x="77528" y="21908"/>
                    <a:pt x="77528" y="19050"/>
                    <a:pt x="75623" y="17145"/>
                  </a:cubicBezTo>
                  <a:cubicBezTo>
                    <a:pt x="66098" y="6668"/>
                    <a:pt x="52763" y="0"/>
                    <a:pt x="38475" y="0"/>
                  </a:cubicBezTo>
                  <a:cubicBezTo>
                    <a:pt x="24188" y="0"/>
                    <a:pt x="10853" y="6668"/>
                    <a:pt x="1328" y="17145"/>
                  </a:cubicBezTo>
                  <a:cubicBezTo>
                    <a:pt x="-577" y="19050"/>
                    <a:pt x="-577" y="21908"/>
                    <a:pt x="2280" y="23813"/>
                  </a:cubicBezTo>
                  <a:cubicBezTo>
                    <a:pt x="3233" y="24765"/>
                    <a:pt x="4185" y="24765"/>
                    <a:pt x="5138" y="24765"/>
                  </a:cubicBezTo>
                  <a:cubicBezTo>
                    <a:pt x="6090" y="24765"/>
                    <a:pt x="7995" y="23813"/>
                    <a:pt x="8948" y="22860"/>
                  </a:cubicBezTo>
                  <a:cubicBezTo>
                    <a:pt x="16568" y="14288"/>
                    <a:pt x="27045" y="9525"/>
                    <a:pt x="38475" y="9525"/>
                  </a:cubicBezTo>
                  <a:cubicBezTo>
                    <a:pt x="49905" y="9525"/>
                    <a:pt x="60383" y="14288"/>
                    <a:pt x="68003" y="22860"/>
                  </a:cubicBezTo>
                  <a:cubicBezTo>
                    <a:pt x="70860" y="25718"/>
                    <a:pt x="73718" y="25718"/>
                    <a:pt x="75623" y="23813"/>
                  </a:cubicBezTo>
                  <a:close/>
                </a:path>
              </a:pathLst>
            </a:custGeom>
            <a:solidFill>
              <a:srgbClr val="101010"/>
            </a:solidFill>
            <a:ln w="9525" cap="flat">
              <a:noFill/>
              <a:prstDash val="solid"/>
              <a:miter/>
            </a:ln>
          </p:spPr>
          <p:txBody>
            <a:bodyPr rtlCol="0" anchor="ctr"/>
            <a:lstStyle/>
            <a:p>
              <a:endParaRPr lang="de-DE"/>
            </a:p>
          </p:txBody>
        </p:sp>
        <p:sp>
          <p:nvSpPr>
            <p:cNvPr id="5296" name="Freeform: Shape 5295">
              <a:extLst>
                <a:ext uri="{FF2B5EF4-FFF2-40B4-BE49-F238E27FC236}">
                  <a16:creationId xmlns:a16="http://schemas.microsoft.com/office/drawing/2014/main" id="{18D2C77E-9A02-48BE-8913-BEF3F36198C4}"/>
                </a:ext>
              </a:extLst>
            </p:cNvPr>
            <p:cNvSpPr/>
            <p:nvPr/>
          </p:nvSpPr>
          <p:spPr>
            <a:xfrm>
              <a:off x="6044479" y="3267075"/>
              <a:ext cx="104775" cy="28575"/>
            </a:xfrm>
            <a:custGeom>
              <a:avLst/>
              <a:gdLst>
                <a:gd name="connsiteX0" fmla="*/ 4848 w 104775"/>
                <a:gd name="connsiteY0" fmla="*/ 34290 h 28575"/>
                <a:gd name="connsiteX1" fmla="*/ 8658 w 104775"/>
                <a:gd name="connsiteY1" fmla="*/ 32385 h 28575"/>
                <a:gd name="connsiteX2" fmla="*/ 53426 w 104775"/>
                <a:gd name="connsiteY2" fmla="*/ 9525 h 28575"/>
                <a:gd name="connsiteX3" fmla="*/ 98193 w 104775"/>
                <a:gd name="connsiteY3" fmla="*/ 31433 h 28575"/>
                <a:gd name="connsiteX4" fmla="*/ 104861 w 104775"/>
                <a:gd name="connsiteY4" fmla="*/ 32385 h 28575"/>
                <a:gd name="connsiteX5" fmla="*/ 105813 w 104775"/>
                <a:gd name="connsiteY5" fmla="*/ 25718 h 28575"/>
                <a:gd name="connsiteX6" fmla="*/ 53426 w 104775"/>
                <a:gd name="connsiteY6" fmla="*/ 0 h 28575"/>
                <a:gd name="connsiteX7" fmla="*/ 1038 w 104775"/>
                <a:gd name="connsiteY7" fmla="*/ 26670 h 28575"/>
                <a:gd name="connsiteX8" fmla="*/ 1991 w 104775"/>
                <a:gd name="connsiteY8" fmla="*/ 33338 h 28575"/>
                <a:gd name="connsiteX9" fmla="*/ 4848 w 104775"/>
                <a:gd name="connsiteY9" fmla="*/ 3429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28575">
                  <a:moveTo>
                    <a:pt x="4848" y="34290"/>
                  </a:moveTo>
                  <a:cubicBezTo>
                    <a:pt x="6753" y="34290"/>
                    <a:pt x="7706" y="33338"/>
                    <a:pt x="8658" y="32385"/>
                  </a:cubicBezTo>
                  <a:cubicBezTo>
                    <a:pt x="19136" y="18098"/>
                    <a:pt x="35328" y="9525"/>
                    <a:pt x="53426" y="9525"/>
                  </a:cubicBezTo>
                  <a:cubicBezTo>
                    <a:pt x="70571" y="9525"/>
                    <a:pt x="86763" y="17145"/>
                    <a:pt x="98193" y="31433"/>
                  </a:cubicBezTo>
                  <a:cubicBezTo>
                    <a:pt x="100098" y="33338"/>
                    <a:pt x="102956" y="34290"/>
                    <a:pt x="104861" y="32385"/>
                  </a:cubicBezTo>
                  <a:cubicBezTo>
                    <a:pt x="106766" y="30480"/>
                    <a:pt x="107718" y="27623"/>
                    <a:pt x="105813" y="25718"/>
                  </a:cubicBezTo>
                  <a:cubicBezTo>
                    <a:pt x="92478" y="9525"/>
                    <a:pt x="74381" y="0"/>
                    <a:pt x="53426" y="0"/>
                  </a:cubicBezTo>
                  <a:cubicBezTo>
                    <a:pt x="32471" y="0"/>
                    <a:pt x="13421" y="9525"/>
                    <a:pt x="1038" y="26670"/>
                  </a:cubicBezTo>
                  <a:cubicBezTo>
                    <a:pt x="-867" y="28575"/>
                    <a:pt x="86" y="31433"/>
                    <a:pt x="1991" y="33338"/>
                  </a:cubicBezTo>
                  <a:cubicBezTo>
                    <a:pt x="2943" y="33338"/>
                    <a:pt x="3896" y="34290"/>
                    <a:pt x="4848" y="34290"/>
                  </a:cubicBezTo>
                  <a:close/>
                </a:path>
              </a:pathLst>
            </a:custGeom>
            <a:solidFill>
              <a:srgbClr val="101010"/>
            </a:solidFill>
            <a:ln w="9525" cap="flat">
              <a:noFill/>
              <a:prstDash val="solid"/>
              <a:miter/>
            </a:ln>
          </p:spPr>
          <p:txBody>
            <a:bodyPr rtlCol="0" anchor="ctr"/>
            <a:lstStyle/>
            <a:p>
              <a:endParaRPr lang="de-DE"/>
            </a:p>
          </p:txBody>
        </p:sp>
        <p:sp>
          <p:nvSpPr>
            <p:cNvPr id="5297" name="Freeform: Shape 5296">
              <a:extLst>
                <a:ext uri="{FF2B5EF4-FFF2-40B4-BE49-F238E27FC236}">
                  <a16:creationId xmlns:a16="http://schemas.microsoft.com/office/drawing/2014/main" id="{C5BB2833-AFF0-4FD9-BC59-BA4A6CFED0BF}"/>
                </a:ext>
              </a:extLst>
            </p:cNvPr>
            <p:cNvSpPr/>
            <p:nvPr/>
          </p:nvSpPr>
          <p:spPr>
            <a:xfrm>
              <a:off x="5953125" y="3352800"/>
              <a:ext cx="276225" cy="228600"/>
            </a:xfrm>
            <a:custGeom>
              <a:avLst/>
              <a:gdLst>
                <a:gd name="connsiteX0" fmla="*/ 271463 w 276225"/>
                <a:gd name="connsiteY0" fmla="*/ 33338 h 228600"/>
                <a:gd name="connsiteX1" fmla="*/ 263843 w 276225"/>
                <a:gd name="connsiteY1" fmla="*/ 33338 h 228600"/>
                <a:gd name="connsiteX2" fmla="*/ 230505 w 276225"/>
                <a:gd name="connsiteY2" fmla="*/ 0 h 228600"/>
                <a:gd name="connsiteX3" fmla="*/ 201930 w 276225"/>
                <a:gd name="connsiteY3" fmla="*/ 16192 h 228600"/>
                <a:gd name="connsiteX4" fmla="*/ 173355 w 276225"/>
                <a:gd name="connsiteY4" fmla="*/ 0 h 228600"/>
                <a:gd name="connsiteX5" fmla="*/ 144780 w 276225"/>
                <a:gd name="connsiteY5" fmla="*/ 16192 h 228600"/>
                <a:gd name="connsiteX6" fmla="*/ 116205 w 276225"/>
                <a:gd name="connsiteY6" fmla="*/ 0 h 228600"/>
                <a:gd name="connsiteX7" fmla="*/ 87630 w 276225"/>
                <a:gd name="connsiteY7" fmla="*/ 16192 h 228600"/>
                <a:gd name="connsiteX8" fmla="*/ 59055 w 276225"/>
                <a:gd name="connsiteY8" fmla="*/ 0 h 228600"/>
                <a:gd name="connsiteX9" fmla="*/ 25718 w 276225"/>
                <a:gd name="connsiteY9" fmla="*/ 33338 h 228600"/>
                <a:gd name="connsiteX10" fmla="*/ 25718 w 276225"/>
                <a:gd name="connsiteY10" fmla="*/ 201930 h 228600"/>
                <a:gd name="connsiteX11" fmla="*/ 16193 w 276225"/>
                <a:gd name="connsiteY11" fmla="*/ 200025 h 228600"/>
                <a:gd name="connsiteX12" fmla="*/ 4763 w 276225"/>
                <a:gd name="connsiteY12" fmla="*/ 200025 h 228600"/>
                <a:gd name="connsiteX13" fmla="*/ 0 w 276225"/>
                <a:gd name="connsiteY13" fmla="*/ 204788 h 228600"/>
                <a:gd name="connsiteX14" fmla="*/ 4763 w 276225"/>
                <a:gd name="connsiteY14" fmla="*/ 209550 h 228600"/>
                <a:gd name="connsiteX15" fmla="*/ 16193 w 276225"/>
                <a:gd name="connsiteY15" fmla="*/ 209550 h 228600"/>
                <a:gd name="connsiteX16" fmla="*/ 27623 w 276225"/>
                <a:gd name="connsiteY16" fmla="*/ 214313 h 228600"/>
                <a:gd name="connsiteX17" fmla="*/ 27623 w 276225"/>
                <a:gd name="connsiteY17" fmla="*/ 214313 h 228600"/>
                <a:gd name="connsiteX18" fmla="*/ 59055 w 276225"/>
                <a:gd name="connsiteY18" fmla="*/ 237173 h 228600"/>
                <a:gd name="connsiteX19" fmla="*/ 87630 w 276225"/>
                <a:gd name="connsiteY19" fmla="*/ 220980 h 228600"/>
                <a:gd name="connsiteX20" fmla="*/ 116205 w 276225"/>
                <a:gd name="connsiteY20" fmla="*/ 237173 h 228600"/>
                <a:gd name="connsiteX21" fmla="*/ 144780 w 276225"/>
                <a:gd name="connsiteY21" fmla="*/ 220980 h 228600"/>
                <a:gd name="connsiteX22" fmla="*/ 173355 w 276225"/>
                <a:gd name="connsiteY22" fmla="*/ 237173 h 228600"/>
                <a:gd name="connsiteX23" fmla="*/ 201930 w 276225"/>
                <a:gd name="connsiteY23" fmla="*/ 220980 h 228600"/>
                <a:gd name="connsiteX24" fmla="*/ 230505 w 276225"/>
                <a:gd name="connsiteY24" fmla="*/ 237173 h 228600"/>
                <a:gd name="connsiteX25" fmla="*/ 263843 w 276225"/>
                <a:gd name="connsiteY25" fmla="*/ 203835 h 228600"/>
                <a:gd name="connsiteX26" fmla="*/ 263843 w 276225"/>
                <a:gd name="connsiteY26" fmla="*/ 78105 h 228600"/>
                <a:gd name="connsiteX27" fmla="*/ 271463 w 276225"/>
                <a:gd name="connsiteY27" fmla="*/ 78105 h 228600"/>
                <a:gd name="connsiteX28" fmla="*/ 280988 w 276225"/>
                <a:gd name="connsiteY28" fmla="*/ 68580 h 228600"/>
                <a:gd name="connsiteX29" fmla="*/ 280988 w 276225"/>
                <a:gd name="connsiteY29" fmla="*/ 42863 h 228600"/>
                <a:gd name="connsiteX30" fmla="*/ 271463 w 276225"/>
                <a:gd name="connsiteY30" fmla="*/ 33338 h 228600"/>
                <a:gd name="connsiteX31" fmla="*/ 59055 w 276225"/>
                <a:gd name="connsiteY31" fmla="*/ 229552 h 228600"/>
                <a:gd name="connsiteX32" fmla="*/ 35243 w 276225"/>
                <a:gd name="connsiteY32" fmla="*/ 205740 h 228600"/>
                <a:gd name="connsiteX33" fmla="*/ 35243 w 276225"/>
                <a:gd name="connsiteY33" fmla="*/ 33338 h 228600"/>
                <a:gd name="connsiteX34" fmla="*/ 59055 w 276225"/>
                <a:gd name="connsiteY34" fmla="*/ 9525 h 228600"/>
                <a:gd name="connsiteX35" fmla="*/ 82868 w 276225"/>
                <a:gd name="connsiteY35" fmla="*/ 32385 h 228600"/>
                <a:gd name="connsiteX36" fmla="*/ 82868 w 276225"/>
                <a:gd name="connsiteY36" fmla="*/ 33338 h 228600"/>
                <a:gd name="connsiteX37" fmla="*/ 82868 w 276225"/>
                <a:gd name="connsiteY37" fmla="*/ 205740 h 228600"/>
                <a:gd name="connsiteX38" fmla="*/ 82868 w 276225"/>
                <a:gd name="connsiteY38" fmla="*/ 206693 h 228600"/>
                <a:gd name="connsiteX39" fmla="*/ 59055 w 276225"/>
                <a:gd name="connsiteY39" fmla="*/ 229552 h 228600"/>
                <a:gd name="connsiteX40" fmla="*/ 140018 w 276225"/>
                <a:gd name="connsiteY40" fmla="*/ 205740 h 228600"/>
                <a:gd name="connsiteX41" fmla="*/ 116205 w 276225"/>
                <a:gd name="connsiteY41" fmla="*/ 229552 h 228600"/>
                <a:gd name="connsiteX42" fmla="*/ 92393 w 276225"/>
                <a:gd name="connsiteY42" fmla="*/ 206693 h 228600"/>
                <a:gd name="connsiteX43" fmla="*/ 92393 w 276225"/>
                <a:gd name="connsiteY43" fmla="*/ 205740 h 228600"/>
                <a:gd name="connsiteX44" fmla="*/ 92393 w 276225"/>
                <a:gd name="connsiteY44" fmla="*/ 33338 h 228600"/>
                <a:gd name="connsiteX45" fmla="*/ 92393 w 276225"/>
                <a:gd name="connsiteY45" fmla="*/ 32385 h 228600"/>
                <a:gd name="connsiteX46" fmla="*/ 116205 w 276225"/>
                <a:gd name="connsiteY46" fmla="*/ 9525 h 228600"/>
                <a:gd name="connsiteX47" fmla="*/ 140018 w 276225"/>
                <a:gd name="connsiteY47" fmla="*/ 33338 h 228600"/>
                <a:gd name="connsiteX48" fmla="*/ 140018 w 276225"/>
                <a:gd name="connsiteY48" fmla="*/ 205740 h 228600"/>
                <a:gd name="connsiteX49" fmla="*/ 173355 w 276225"/>
                <a:gd name="connsiteY49" fmla="*/ 229552 h 228600"/>
                <a:gd name="connsiteX50" fmla="*/ 149543 w 276225"/>
                <a:gd name="connsiteY50" fmla="*/ 205740 h 228600"/>
                <a:gd name="connsiteX51" fmla="*/ 149543 w 276225"/>
                <a:gd name="connsiteY51" fmla="*/ 33338 h 228600"/>
                <a:gd name="connsiteX52" fmla="*/ 173355 w 276225"/>
                <a:gd name="connsiteY52" fmla="*/ 9525 h 228600"/>
                <a:gd name="connsiteX53" fmla="*/ 197168 w 276225"/>
                <a:gd name="connsiteY53" fmla="*/ 33338 h 228600"/>
                <a:gd name="connsiteX54" fmla="*/ 197168 w 276225"/>
                <a:gd name="connsiteY54" fmla="*/ 33338 h 228600"/>
                <a:gd name="connsiteX55" fmla="*/ 197168 w 276225"/>
                <a:gd name="connsiteY55" fmla="*/ 204788 h 228600"/>
                <a:gd name="connsiteX56" fmla="*/ 173355 w 276225"/>
                <a:gd name="connsiteY56" fmla="*/ 229552 h 228600"/>
                <a:gd name="connsiteX57" fmla="*/ 254318 w 276225"/>
                <a:gd name="connsiteY57" fmla="*/ 205740 h 228600"/>
                <a:gd name="connsiteX58" fmla="*/ 230505 w 276225"/>
                <a:gd name="connsiteY58" fmla="*/ 229552 h 228600"/>
                <a:gd name="connsiteX59" fmla="*/ 206693 w 276225"/>
                <a:gd name="connsiteY59" fmla="*/ 205740 h 228600"/>
                <a:gd name="connsiteX60" fmla="*/ 206693 w 276225"/>
                <a:gd name="connsiteY60" fmla="*/ 205740 h 228600"/>
                <a:gd name="connsiteX61" fmla="*/ 206693 w 276225"/>
                <a:gd name="connsiteY61" fmla="*/ 34290 h 228600"/>
                <a:gd name="connsiteX62" fmla="*/ 230505 w 276225"/>
                <a:gd name="connsiteY62" fmla="*/ 10478 h 228600"/>
                <a:gd name="connsiteX63" fmla="*/ 254318 w 276225"/>
                <a:gd name="connsiteY63" fmla="*/ 34290 h 228600"/>
                <a:gd name="connsiteX64" fmla="*/ 254318 w 276225"/>
                <a:gd name="connsiteY64" fmla="*/ 20574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6225" h="228600">
                  <a:moveTo>
                    <a:pt x="271463" y="33338"/>
                  </a:moveTo>
                  <a:lnTo>
                    <a:pt x="263843" y="33338"/>
                  </a:lnTo>
                  <a:cubicBezTo>
                    <a:pt x="263843" y="15240"/>
                    <a:pt x="248603" y="0"/>
                    <a:pt x="230505" y="0"/>
                  </a:cubicBezTo>
                  <a:cubicBezTo>
                    <a:pt x="218123" y="0"/>
                    <a:pt x="207645" y="6667"/>
                    <a:pt x="201930" y="16192"/>
                  </a:cubicBezTo>
                  <a:cubicBezTo>
                    <a:pt x="196215" y="6667"/>
                    <a:pt x="185738" y="0"/>
                    <a:pt x="173355" y="0"/>
                  </a:cubicBezTo>
                  <a:cubicBezTo>
                    <a:pt x="160973" y="0"/>
                    <a:pt x="150495" y="6667"/>
                    <a:pt x="144780" y="16192"/>
                  </a:cubicBezTo>
                  <a:cubicBezTo>
                    <a:pt x="139065" y="6667"/>
                    <a:pt x="128588" y="0"/>
                    <a:pt x="116205" y="0"/>
                  </a:cubicBezTo>
                  <a:cubicBezTo>
                    <a:pt x="103823" y="0"/>
                    <a:pt x="93345" y="6667"/>
                    <a:pt x="87630" y="16192"/>
                  </a:cubicBezTo>
                  <a:cubicBezTo>
                    <a:pt x="81915" y="6667"/>
                    <a:pt x="71438" y="0"/>
                    <a:pt x="59055" y="0"/>
                  </a:cubicBezTo>
                  <a:cubicBezTo>
                    <a:pt x="40958" y="0"/>
                    <a:pt x="25718" y="15240"/>
                    <a:pt x="25718" y="33338"/>
                  </a:cubicBezTo>
                  <a:lnTo>
                    <a:pt x="25718" y="201930"/>
                  </a:lnTo>
                  <a:cubicBezTo>
                    <a:pt x="22860" y="200978"/>
                    <a:pt x="20003" y="200025"/>
                    <a:pt x="16193" y="200025"/>
                  </a:cubicBezTo>
                  <a:lnTo>
                    <a:pt x="4763" y="200025"/>
                  </a:lnTo>
                  <a:cubicBezTo>
                    <a:pt x="1905" y="200025"/>
                    <a:pt x="0" y="201930"/>
                    <a:pt x="0" y="204788"/>
                  </a:cubicBezTo>
                  <a:cubicBezTo>
                    <a:pt x="0" y="207645"/>
                    <a:pt x="1905" y="209550"/>
                    <a:pt x="4763" y="209550"/>
                  </a:cubicBezTo>
                  <a:lnTo>
                    <a:pt x="16193" y="209550"/>
                  </a:lnTo>
                  <a:cubicBezTo>
                    <a:pt x="24765" y="209550"/>
                    <a:pt x="26670" y="214313"/>
                    <a:pt x="27623" y="214313"/>
                  </a:cubicBezTo>
                  <a:cubicBezTo>
                    <a:pt x="27623" y="214313"/>
                    <a:pt x="27623" y="214313"/>
                    <a:pt x="27623" y="214313"/>
                  </a:cubicBezTo>
                  <a:cubicBezTo>
                    <a:pt x="32385" y="227648"/>
                    <a:pt x="44768" y="237173"/>
                    <a:pt x="59055" y="237173"/>
                  </a:cubicBezTo>
                  <a:cubicBezTo>
                    <a:pt x="71438" y="237173"/>
                    <a:pt x="81915" y="230505"/>
                    <a:pt x="87630" y="220980"/>
                  </a:cubicBezTo>
                  <a:cubicBezTo>
                    <a:pt x="93345" y="230505"/>
                    <a:pt x="103823" y="237173"/>
                    <a:pt x="116205" y="237173"/>
                  </a:cubicBezTo>
                  <a:cubicBezTo>
                    <a:pt x="128588" y="237173"/>
                    <a:pt x="139065" y="230505"/>
                    <a:pt x="144780" y="220980"/>
                  </a:cubicBezTo>
                  <a:cubicBezTo>
                    <a:pt x="150495" y="230505"/>
                    <a:pt x="160973" y="237173"/>
                    <a:pt x="173355" y="237173"/>
                  </a:cubicBezTo>
                  <a:cubicBezTo>
                    <a:pt x="185738" y="237173"/>
                    <a:pt x="196215" y="230505"/>
                    <a:pt x="201930" y="220980"/>
                  </a:cubicBezTo>
                  <a:cubicBezTo>
                    <a:pt x="207645" y="230505"/>
                    <a:pt x="218123" y="237173"/>
                    <a:pt x="230505" y="237173"/>
                  </a:cubicBezTo>
                  <a:cubicBezTo>
                    <a:pt x="248603" y="237173"/>
                    <a:pt x="263843" y="221933"/>
                    <a:pt x="263843" y="203835"/>
                  </a:cubicBezTo>
                  <a:lnTo>
                    <a:pt x="263843" y="78105"/>
                  </a:lnTo>
                  <a:lnTo>
                    <a:pt x="271463" y="78105"/>
                  </a:lnTo>
                  <a:cubicBezTo>
                    <a:pt x="277178" y="78105"/>
                    <a:pt x="280988" y="74295"/>
                    <a:pt x="280988" y="68580"/>
                  </a:cubicBezTo>
                  <a:lnTo>
                    <a:pt x="280988" y="42863"/>
                  </a:lnTo>
                  <a:cubicBezTo>
                    <a:pt x="280988" y="37147"/>
                    <a:pt x="276225" y="33338"/>
                    <a:pt x="271463" y="33338"/>
                  </a:cubicBezTo>
                  <a:close/>
                  <a:moveTo>
                    <a:pt x="59055" y="229552"/>
                  </a:moveTo>
                  <a:cubicBezTo>
                    <a:pt x="45720" y="229552"/>
                    <a:pt x="35243" y="219075"/>
                    <a:pt x="35243" y="205740"/>
                  </a:cubicBezTo>
                  <a:lnTo>
                    <a:pt x="35243" y="33338"/>
                  </a:lnTo>
                  <a:cubicBezTo>
                    <a:pt x="35243" y="20003"/>
                    <a:pt x="45720" y="9525"/>
                    <a:pt x="59055" y="9525"/>
                  </a:cubicBezTo>
                  <a:cubicBezTo>
                    <a:pt x="71438" y="9525"/>
                    <a:pt x="81915" y="20003"/>
                    <a:pt x="82868" y="32385"/>
                  </a:cubicBezTo>
                  <a:cubicBezTo>
                    <a:pt x="82868" y="32385"/>
                    <a:pt x="82868" y="33338"/>
                    <a:pt x="82868" y="33338"/>
                  </a:cubicBezTo>
                  <a:lnTo>
                    <a:pt x="82868" y="205740"/>
                  </a:lnTo>
                  <a:cubicBezTo>
                    <a:pt x="82868" y="205740"/>
                    <a:pt x="82868" y="206693"/>
                    <a:pt x="82868" y="206693"/>
                  </a:cubicBezTo>
                  <a:cubicBezTo>
                    <a:pt x="81915" y="219075"/>
                    <a:pt x="71438" y="229552"/>
                    <a:pt x="59055" y="229552"/>
                  </a:cubicBezTo>
                  <a:close/>
                  <a:moveTo>
                    <a:pt x="140018" y="205740"/>
                  </a:moveTo>
                  <a:cubicBezTo>
                    <a:pt x="140018" y="219075"/>
                    <a:pt x="129540" y="229552"/>
                    <a:pt x="116205" y="229552"/>
                  </a:cubicBezTo>
                  <a:cubicBezTo>
                    <a:pt x="103823" y="229552"/>
                    <a:pt x="93345" y="219075"/>
                    <a:pt x="92393" y="206693"/>
                  </a:cubicBezTo>
                  <a:cubicBezTo>
                    <a:pt x="92393" y="206693"/>
                    <a:pt x="92393" y="205740"/>
                    <a:pt x="92393" y="205740"/>
                  </a:cubicBezTo>
                  <a:lnTo>
                    <a:pt x="92393" y="33338"/>
                  </a:lnTo>
                  <a:cubicBezTo>
                    <a:pt x="92393" y="33338"/>
                    <a:pt x="92393" y="32385"/>
                    <a:pt x="92393" y="32385"/>
                  </a:cubicBezTo>
                  <a:cubicBezTo>
                    <a:pt x="92393" y="20003"/>
                    <a:pt x="102870" y="9525"/>
                    <a:pt x="116205" y="9525"/>
                  </a:cubicBezTo>
                  <a:cubicBezTo>
                    <a:pt x="129540" y="9525"/>
                    <a:pt x="140018" y="20003"/>
                    <a:pt x="140018" y="33338"/>
                  </a:cubicBezTo>
                  <a:lnTo>
                    <a:pt x="140018" y="205740"/>
                  </a:lnTo>
                  <a:close/>
                  <a:moveTo>
                    <a:pt x="173355" y="229552"/>
                  </a:moveTo>
                  <a:cubicBezTo>
                    <a:pt x="160020" y="229552"/>
                    <a:pt x="149543" y="219075"/>
                    <a:pt x="149543" y="205740"/>
                  </a:cubicBezTo>
                  <a:lnTo>
                    <a:pt x="149543" y="33338"/>
                  </a:lnTo>
                  <a:cubicBezTo>
                    <a:pt x="149543" y="20003"/>
                    <a:pt x="160020" y="9525"/>
                    <a:pt x="173355" y="9525"/>
                  </a:cubicBezTo>
                  <a:cubicBezTo>
                    <a:pt x="186690" y="9525"/>
                    <a:pt x="197168" y="20003"/>
                    <a:pt x="197168" y="33338"/>
                  </a:cubicBezTo>
                  <a:lnTo>
                    <a:pt x="197168" y="33338"/>
                  </a:lnTo>
                  <a:lnTo>
                    <a:pt x="197168" y="204788"/>
                  </a:lnTo>
                  <a:cubicBezTo>
                    <a:pt x="197168" y="218123"/>
                    <a:pt x="186690" y="229552"/>
                    <a:pt x="173355" y="229552"/>
                  </a:cubicBezTo>
                  <a:close/>
                  <a:moveTo>
                    <a:pt x="254318" y="205740"/>
                  </a:moveTo>
                  <a:cubicBezTo>
                    <a:pt x="254318" y="219075"/>
                    <a:pt x="243840" y="229552"/>
                    <a:pt x="230505" y="229552"/>
                  </a:cubicBezTo>
                  <a:cubicBezTo>
                    <a:pt x="217170" y="229552"/>
                    <a:pt x="206693" y="219075"/>
                    <a:pt x="206693" y="205740"/>
                  </a:cubicBezTo>
                  <a:lnTo>
                    <a:pt x="206693" y="205740"/>
                  </a:lnTo>
                  <a:lnTo>
                    <a:pt x="206693" y="34290"/>
                  </a:lnTo>
                  <a:cubicBezTo>
                    <a:pt x="206693" y="20955"/>
                    <a:pt x="217170" y="10478"/>
                    <a:pt x="230505" y="10478"/>
                  </a:cubicBezTo>
                  <a:cubicBezTo>
                    <a:pt x="243840" y="10478"/>
                    <a:pt x="254318" y="20955"/>
                    <a:pt x="254318" y="34290"/>
                  </a:cubicBezTo>
                  <a:lnTo>
                    <a:pt x="254318" y="205740"/>
                  </a:lnTo>
                  <a:close/>
                </a:path>
              </a:pathLst>
            </a:custGeom>
            <a:solidFill>
              <a:srgbClr val="101010"/>
            </a:solidFill>
            <a:ln w="9525" cap="flat">
              <a:noFill/>
              <a:prstDash val="solid"/>
              <a:miter/>
            </a:ln>
          </p:spPr>
          <p:txBody>
            <a:bodyPr rtlCol="0" anchor="ctr"/>
            <a:lstStyle/>
            <a:p>
              <a:endParaRPr lang="de-DE"/>
            </a:p>
          </p:txBody>
        </p:sp>
      </p:grpSp>
      <p:grpSp>
        <p:nvGrpSpPr>
          <p:cNvPr id="5298" name="Graphic 3">
            <a:extLst>
              <a:ext uri="{FF2B5EF4-FFF2-40B4-BE49-F238E27FC236}">
                <a16:creationId xmlns:a16="http://schemas.microsoft.com/office/drawing/2014/main" id="{2CED5386-E219-4E9B-B15A-B81E0B49475D}"/>
              </a:ext>
              <a:ext uri="{C183D7F6-B498-43B3-948B-1728B52AA6E4}">
                <adec:decorative xmlns:adec="http://schemas.microsoft.com/office/drawing/2017/decorative" val="1"/>
              </a:ext>
            </a:extLst>
          </p:cNvPr>
          <p:cNvGrpSpPr>
            <a:grpSpLocks noChangeAspect="1"/>
          </p:cNvGrpSpPr>
          <p:nvPr/>
        </p:nvGrpSpPr>
        <p:grpSpPr>
          <a:xfrm>
            <a:off x="5192433" y="4171714"/>
            <a:ext cx="87674" cy="129423"/>
            <a:chOff x="5927923" y="3184525"/>
            <a:chExt cx="320874" cy="473670"/>
          </a:xfrm>
          <a:solidFill>
            <a:srgbClr val="000000"/>
          </a:solidFill>
        </p:grpSpPr>
        <p:sp>
          <p:nvSpPr>
            <p:cNvPr id="5299" name="Freeform: Shape 5298">
              <a:extLst>
                <a:ext uri="{FF2B5EF4-FFF2-40B4-BE49-F238E27FC236}">
                  <a16:creationId xmlns:a16="http://schemas.microsoft.com/office/drawing/2014/main" id="{57C9CD03-CBDA-43DD-887D-5432C672FD9D}"/>
                </a:ext>
              </a:extLst>
            </p:cNvPr>
            <p:cNvSpPr/>
            <p:nvPr/>
          </p:nvSpPr>
          <p:spPr>
            <a:xfrm>
              <a:off x="6066969" y="3263979"/>
              <a:ext cx="45839" cy="45839"/>
            </a:xfrm>
            <a:custGeom>
              <a:avLst/>
              <a:gdLst>
                <a:gd name="connsiteX0" fmla="*/ 0 w 45839"/>
                <a:gd name="connsiteY0" fmla="*/ 25975 h 45839"/>
                <a:gd name="connsiteX1" fmla="*/ 25976 w 45839"/>
                <a:gd name="connsiteY1" fmla="*/ 51951 h 45839"/>
                <a:gd name="connsiteX2" fmla="*/ 51951 w 45839"/>
                <a:gd name="connsiteY2" fmla="*/ 25975 h 45839"/>
                <a:gd name="connsiteX3" fmla="*/ 25976 w 45839"/>
                <a:gd name="connsiteY3" fmla="*/ 0 h 45839"/>
                <a:gd name="connsiteX4" fmla="*/ 0 w 45839"/>
                <a:gd name="connsiteY4" fmla="*/ 25975 h 45839"/>
                <a:gd name="connsiteX5" fmla="*/ 35143 w 45839"/>
                <a:gd name="connsiteY5" fmla="*/ 25975 h 45839"/>
                <a:gd name="connsiteX6" fmla="*/ 24448 w 45839"/>
                <a:gd name="connsiteY6" fmla="*/ 36671 h 45839"/>
                <a:gd name="connsiteX7" fmla="*/ 13752 w 45839"/>
                <a:gd name="connsiteY7" fmla="*/ 25975 h 45839"/>
                <a:gd name="connsiteX8" fmla="*/ 24448 w 45839"/>
                <a:gd name="connsiteY8" fmla="*/ 15280 h 45839"/>
                <a:gd name="connsiteX9" fmla="*/ 35143 w 45839"/>
                <a:gd name="connsiteY9" fmla="*/ 25975 h 4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39" h="45839">
                  <a:moveTo>
                    <a:pt x="0" y="25975"/>
                  </a:moveTo>
                  <a:cubicBezTo>
                    <a:pt x="0" y="39727"/>
                    <a:pt x="10696" y="51951"/>
                    <a:pt x="25976" y="51951"/>
                  </a:cubicBezTo>
                  <a:cubicBezTo>
                    <a:pt x="39727" y="51951"/>
                    <a:pt x="51951" y="41255"/>
                    <a:pt x="51951" y="25975"/>
                  </a:cubicBezTo>
                  <a:cubicBezTo>
                    <a:pt x="51951" y="10696"/>
                    <a:pt x="41255" y="0"/>
                    <a:pt x="25976" y="0"/>
                  </a:cubicBezTo>
                  <a:cubicBezTo>
                    <a:pt x="10696" y="0"/>
                    <a:pt x="0" y="12224"/>
                    <a:pt x="0" y="25975"/>
                  </a:cubicBezTo>
                  <a:close/>
                  <a:moveTo>
                    <a:pt x="35143" y="25975"/>
                  </a:moveTo>
                  <a:cubicBezTo>
                    <a:pt x="35143" y="32087"/>
                    <a:pt x="30559" y="36671"/>
                    <a:pt x="24448" y="36671"/>
                  </a:cubicBezTo>
                  <a:cubicBezTo>
                    <a:pt x="18336" y="36671"/>
                    <a:pt x="13752" y="32087"/>
                    <a:pt x="13752" y="25975"/>
                  </a:cubicBezTo>
                  <a:cubicBezTo>
                    <a:pt x="13752" y="19864"/>
                    <a:pt x="18336" y="15280"/>
                    <a:pt x="24448" y="15280"/>
                  </a:cubicBezTo>
                  <a:cubicBezTo>
                    <a:pt x="30559" y="15280"/>
                    <a:pt x="35143" y="19864"/>
                    <a:pt x="35143" y="25975"/>
                  </a:cubicBezTo>
                  <a:close/>
                </a:path>
              </a:pathLst>
            </a:custGeom>
            <a:solidFill>
              <a:srgbClr val="000000"/>
            </a:solidFill>
            <a:ln w="15153" cap="flat">
              <a:noFill/>
              <a:prstDash val="solid"/>
              <a:miter/>
            </a:ln>
          </p:spPr>
          <p:txBody>
            <a:bodyPr rtlCol="0" anchor="ctr"/>
            <a:lstStyle/>
            <a:p>
              <a:endParaRPr lang="de-DE"/>
            </a:p>
          </p:txBody>
        </p:sp>
        <p:sp>
          <p:nvSpPr>
            <p:cNvPr id="5300" name="Freeform: Shape 5299">
              <a:extLst>
                <a:ext uri="{FF2B5EF4-FFF2-40B4-BE49-F238E27FC236}">
                  <a16:creationId xmlns:a16="http://schemas.microsoft.com/office/drawing/2014/main" id="{69899C2F-4FE2-4613-9744-D9981C72B687}"/>
                </a:ext>
              </a:extLst>
            </p:cNvPr>
            <p:cNvSpPr/>
            <p:nvPr/>
          </p:nvSpPr>
          <p:spPr>
            <a:xfrm>
              <a:off x="6030821" y="3224252"/>
              <a:ext cx="122238" cy="30559"/>
            </a:xfrm>
            <a:custGeom>
              <a:avLst/>
              <a:gdLst>
                <a:gd name="connsiteX0" fmla="*/ 120186 w 122237"/>
                <a:gd name="connsiteY0" fmla="*/ 38199 h 30559"/>
                <a:gd name="connsiteX1" fmla="*/ 120186 w 122237"/>
                <a:gd name="connsiteY1" fmla="*/ 27503 h 30559"/>
                <a:gd name="connsiteX2" fmla="*/ 60595 w 122237"/>
                <a:gd name="connsiteY2" fmla="*/ 0 h 30559"/>
                <a:gd name="connsiteX3" fmla="*/ 1004 w 122237"/>
                <a:gd name="connsiteY3" fmla="*/ 27503 h 30559"/>
                <a:gd name="connsiteX4" fmla="*/ 2532 w 122237"/>
                <a:gd name="connsiteY4" fmla="*/ 39727 h 30559"/>
                <a:gd name="connsiteX5" fmla="*/ 7116 w 122237"/>
                <a:gd name="connsiteY5" fmla="*/ 41255 h 30559"/>
                <a:gd name="connsiteX6" fmla="*/ 13227 w 122237"/>
                <a:gd name="connsiteY6" fmla="*/ 38199 h 30559"/>
                <a:gd name="connsiteX7" fmla="*/ 60595 w 122237"/>
                <a:gd name="connsiteY7" fmla="*/ 16808 h 30559"/>
                <a:gd name="connsiteX8" fmla="*/ 107962 w 122237"/>
                <a:gd name="connsiteY8" fmla="*/ 38199 h 30559"/>
                <a:gd name="connsiteX9" fmla="*/ 120186 w 122237"/>
                <a:gd name="connsiteY9" fmla="*/ 3819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37" h="30559">
                  <a:moveTo>
                    <a:pt x="120186" y="38199"/>
                  </a:moveTo>
                  <a:cubicBezTo>
                    <a:pt x="123241" y="35143"/>
                    <a:pt x="123241" y="30559"/>
                    <a:pt x="120186" y="27503"/>
                  </a:cubicBezTo>
                  <a:cubicBezTo>
                    <a:pt x="104906" y="10696"/>
                    <a:pt x="83514" y="0"/>
                    <a:pt x="60595" y="0"/>
                  </a:cubicBezTo>
                  <a:cubicBezTo>
                    <a:pt x="37675" y="0"/>
                    <a:pt x="16283" y="10696"/>
                    <a:pt x="1004" y="27503"/>
                  </a:cubicBezTo>
                  <a:cubicBezTo>
                    <a:pt x="-524" y="32087"/>
                    <a:pt x="-524" y="36671"/>
                    <a:pt x="2532" y="39727"/>
                  </a:cubicBezTo>
                  <a:cubicBezTo>
                    <a:pt x="4060" y="39727"/>
                    <a:pt x="5588" y="41255"/>
                    <a:pt x="7116" y="41255"/>
                  </a:cubicBezTo>
                  <a:cubicBezTo>
                    <a:pt x="8644" y="41255"/>
                    <a:pt x="11699" y="39727"/>
                    <a:pt x="13227" y="38199"/>
                  </a:cubicBezTo>
                  <a:cubicBezTo>
                    <a:pt x="25451" y="24447"/>
                    <a:pt x="42259" y="16808"/>
                    <a:pt x="60595" y="16808"/>
                  </a:cubicBezTo>
                  <a:cubicBezTo>
                    <a:pt x="78930" y="16808"/>
                    <a:pt x="95738" y="24447"/>
                    <a:pt x="107962" y="38199"/>
                  </a:cubicBezTo>
                  <a:cubicBezTo>
                    <a:pt x="111018" y="41255"/>
                    <a:pt x="117130" y="41255"/>
                    <a:pt x="120186" y="38199"/>
                  </a:cubicBezTo>
                  <a:close/>
                </a:path>
              </a:pathLst>
            </a:custGeom>
            <a:solidFill>
              <a:srgbClr val="000000"/>
            </a:solidFill>
            <a:ln w="15153" cap="flat">
              <a:noFill/>
              <a:prstDash val="solid"/>
              <a:miter/>
            </a:ln>
          </p:spPr>
          <p:txBody>
            <a:bodyPr rtlCol="0" anchor="ctr"/>
            <a:lstStyle/>
            <a:p>
              <a:endParaRPr lang="de-DE"/>
            </a:p>
          </p:txBody>
        </p:sp>
        <p:sp>
          <p:nvSpPr>
            <p:cNvPr id="5301" name="Freeform: Shape 5300">
              <a:extLst>
                <a:ext uri="{FF2B5EF4-FFF2-40B4-BE49-F238E27FC236}">
                  <a16:creationId xmlns:a16="http://schemas.microsoft.com/office/drawing/2014/main" id="{69E61566-1730-4F06-98F9-55F194574702}"/>
                </a:ext>
              </a:extLst>
            </p:cNvPr>
            <p:cNvSpPr/>
            <p:nvPr/>
          </p:nvSpPr>
          <p:spPr>
            <a:xfrm>
              <a:off x="6006374" y="3184525"/>
              <a:ext cx="168077" cy="45839"/>
            </a:xfrm>
            <a:custGeom>
              <a:avLst/>
              <a:gdLst>
                <a:gd name="connsiteX0" fmla="*/ 7116 w 168077"/>
                <a:gd name="connsiteY0" fmla="*/ 55007 h 45839"/>
                <a:gd name="connsiteX1" fmla="*/ 13227 w 168077"/>
                <a:gd name="connsiteY1" fmla="*/ 51951 h 45839"/>
                <a:gd name="connsiteX2" fmla="*/ 85042 w 168077"/>
                <a:gd name="connsiteY2" fmla="*/ 15280 h 45839"/>
                <a:gd name="connsiteX3" fmla="*/ 156857 w 168077"/>
                <a:gd name="connsiteY3" fmla="*/ 50423 h 45839"/>
                <a:gd name="connsiteX4" fmla="*/ 167553 w 168077"/>
                <a:gd name="connsiteY4" fmla="*/ 51951 h 45839"/>
                <a:gd name="connsiteX5" fmla="*/ 169081 w 168077"/>
                <a:gd name="connsiteY5" fmla="*/ 41255 h 45839"/>
                <a:gd name="connsiteX6" fmla="*/ 85042 w 168077"/>
                <a:gd name="connsiteY6" fmla="*/ 0 h 45839"/>
                <a:gd name="connsiteX7" fmla="*/ 1004 w 168077"/>
                <a:gd name="connsiteY7" fmla="*/ 42783 h 45839"/>
                <a:gd name="connsiteX8" fmla="*/ 2532 w 168077"/>
                <a:gd name="connsiteY8" fmla="*/ 53479 h 45839"/>
                <a:gd name="connsiteX9" fmla="*/ 7116 w 168077"/>
                <a:gd name="connsiteY9" fmla="*/ 55007 h 4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077" h="45839">
                  <a:moveTo>
                    <a:pt x="7116" y="55007"/>
                  </a:moveTo>
                  <a:cubicBezTo>
                    <a:pt x="10171" y="55007"/>
                    <a:pt x="11699" y="53479"/>
                    <a:pt x="13227" y="51951"/>
                  </a:cubicBezTo>
                  <a:cubicBezTo>
                    <a:pt x="30035" y="29031"/>
                    <a:pt x="57539" y="15280"/>
                    <a:pt x="85042" y="15280"/>
                  </a:cubicBezTo>
                  <a:cubicBezTo>
                    <a:pt x="112546" y="15280"/>
                    <a:pt x="138521" y="27503"/>
                    <a:pt x="156857" y="50423"/>
                  </a:cubicBezTo>
                  <a:cubicBezTo>
                    <a:pt x="159913" y="53479"/>
                    <a:pt x="164497" y="55007"/>
                    <a:pt x="167553" y="51951"/>
                  </a:cubicBezTo>
                  <a:cubicBezTo>
                    <a:pt x="170609" y="48895"/>
                    <a:pt x="172137" y="44311"/>
                    <a:pt x="169081" y="41255"/>
                  </a:cubicBezTo>
                  <a:cubicBezTo>
                    <a:pt x="149217" y="15280"/>
                    <a:pt x="118658" y="0"/>
                    <a:pt x="85042" y="0"/>
                  </a:cubicBezTo>
                  <a:cubicBezTo>
                    <a:pt x="51427" y="0"/>
                    <a:pt x="20867" y="15280"/>
                    <a:pt x="1004" y="42783"/>
                  </a:cubicBezTo>
                  <a:cubicBezTo>
                    <a:pt x="-524" y="45839"/>
                    <a:pt x="-524" y="50423"/>
                    <a:pt x="2532" y="53479"/>
                  </a:cubicBezTo>
                  <a:cubicBezTo>
                    <a:pt x="4060" y="53479"/>
                    <a:pt x="5588" y="55007"/>
                    <a:pt x="7116" y="55007"/>
                  </a:cubicBezTo>
                  <a:close/>
                </a:path>
              </a:pathLst>
            </a:custGeom>
            <a:solidFill>
              <a:srgbClr val="000000"/>
            </a:solidFill>
            <a:ln w="15153" cap="flat">
              <a:noFill/>
              <a:prstDash val="solid"/>
              <a:miter/>
            </a:ln>
          </p:spPr>
          <p:txBody>
            <a:bodyPr rtlCol="0" anchor="ctr"/>
            <a:lstStyle/>
            <a:p>
              <a:endParaRPr lang="de-DE"/>
            </a:p>
          </p:txBody>
        </p:sp>
        <p:sp>
          <p:nvSpPr>
            <p:cNvPr id="5302" name="Freeform: Shape 5301">
              <a:extLst>
                <a:ext uri="{FF2B5EF4-FFF2-40B4-BE49-F238E27FC236}">
                  <a16:creationId xmlns:a16="http://schemas.microsoft.com/office/drawing/2014/main" id="{18C47C1C-7D03-4517-88E3-CCCF77909A32}"/>
                </a:ext>
              </a:extLst>
            </p:cNvPr>
            <p:cNvSpPr/>
            <p:nvPr/>
          </p:nvSpPr>
          <p:spPr>
            <a:xfrm>
              <a:off x="5998072" y="3377049"/>
              <a:ext cx="183357" cy="61119"/>
            </a:xfrm>
            <a:custGeom>
              <a:avLst/>
              <a:gdLst>
                <a:gd name="connsiteX0" fmla="*/ 94872 w 183356"/>
                <a:gd name="connsiteY0" fmla="*/ 0 h 61118"/>
                <a:gd name="connsiteX1" fmla="*/ 1666 w 183356"/>
                <a:gd name="connsiteY1" fmla="*/ 47367 h 61118"/>
                <a:gd name="connsiteX2" fmla="*/ 3194 w 183356"/>
                <a:gd name="connsiteY2" fmla="*/ 58063 h 61118"/>
                <a:gd name="connsiteX3" fmla="*/ 13890 w 183356"/>
                <a:gd name="connsiteY3" fmla="*/ 56535 h 61118"/>
                <a:gd name="connsiteX4" fmla="*/ 94872 w 183356"/>
                <a:gd name="connsiteY4" fmla="*/ 15280 h 61118"/>
                <a:gd name="connsiteX5" fmla="*/ 177383 w 183356"/>
                <a:gd name="connsiteY5" fmla="*/ 59591 h 61118"/>
                <a:gd name="connsiteX6" fmla="*/ 183495 w 183356"/>
                <a:gd name="connsiteY6" fmla="*/ 62647 h 61118"/>
                <a:gd name="connsiteX7" fmla="*/ 188078 w 183356"/>
                <a:gd name="connsiteY7" fmla="*/ 61119 h 61118"/>
                <a:gd name="connsiteX8" fmla="*/ 189606 w 183356"/>
                <a:gd name="connsiteY8" fmla="*/ 50423 h 61118"/>
                <a:gd name="connsiteX9" fmla="*/ 94872 w 183356"/>
                <a:gd name="connsiteY9" fmla="*/ 0 h 61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356" h="61118">
                  <a:moveTo>
                    <a:pt x="94872" y="0"/>
                  </a:moveTo>
                  <a:cubicBezTo>
                    <a:pt x="58201" y="0"/>
                    <a:pt x="23057" y="18336"/>
                    <a:pt x="1666" y="47367"/>
                  </a:cubicBezTo>
                  <a:cubicBezTo>
                    <a:pt x="-1390" y="50423"/>
                    <a:pt x="138" y="55007"/>
                    <a:pt x="3194" y="58063"/>
                  </a:cubicBezTo>
                  <a:cubicBezTo>
                    <a:pt x="6250" y="61119"/>
                    <a:pt x="10834" y="59591"/>
                    <a:pt x="13890" y="56535"/>
                  </a:cubicBezTo>
                  <a:cubicBezTo>
                    <a:pt x="32225" y="30559"/>
                    <a:pt x="62785" y="15280"/>
                    <a:pt x="94872" y="15280"/>
                  </a:cubicBezTo>
                  <a:cubicBezTo>
                    <a:pt x="128487" y="15280"/>
                    <a:pt x="159047" y="32087"/>
                    <a:pt x="177383" y="59591"/>
                  </a:cubicBezTo>
                  <a:cubicBezTo>
                    <a:pt x="178911" y="61119"/>
                    <a:pt x="181967" y="62647"/>
                    <a:pt x="183495" y="62647"/>
                  </a:cubicBezTo>
                  <a:cubicBezTo>
                    <a:pt x="185022" y="62647"/>
                    <a:pt x="186550" y="62647"/>
                    <a:pt x="188078" y="61119"/>
                  </a:cubicBezTo>
                  <a:cubicBezTo>
                    <a:pt x="191134" y="58063"/>
                    <a:pt x="192662" y="53479"/>
                    <a:pt x="189606" y="50423"/>
                  </a:cubicBezTo>
                  <a:cubicBezTo>
                    <a:pt x="168215" y="18336"/>
                    <a:pt x="133071" y="0"/>
                    <a:pt x="94872" y="0"/>
                  </a:cubicBezTo>
                  <a:close/>
                </a:path>
              </a:pathLst>
            </a:custGeom>
            <a:solidFill>
              <a:srgbClr val="000000"/>
            </a:solidFill>
            <a:ln w="15153" cap="flat">
              <a:noFill/>
              <a:prstDash val="solid"/>
              <a:miter/>
            </a:ln>
          </p:spPr>
          <p:txBody>
            <a:bodyPr rtlCol="0" anchor="ctr"/>
            <a:lstStyle/>
            <a:p>
              <a:endParaRPr lang="de-DE"/>
            </a:p>
          </p:txBody>
        </p:sp>
        <p:sp>
          <p:nvSpPr>
            <p:cNvPr id="5303" name="Freeform: Shape 5302">
              <a:extLst>
                <a:ext uri="{FF2B5EF4-FFF2-40B4-BE49-F238E27FC236}">
                  <a16:creationId xmlns:a16="http://schemas.microsoft.com/office/drawing/2014/main" id="{9530EC71-39A2-4101-BB89-CA39480CA336}"/>
                </a:ext>
              </a:extLst>
            </p:cNvPr>
            <p:cNvSpPr/>
            <p:nvPr/>
          </p:nvSpPr>
          <p:spPr>
            <a:xfrm>
              <a:off x="6026238" y="3423412"/>
              <a:ext cx="91678" cy="106958"/>
            </a:xfrm>
            <a:custGeom>
              <a:avLst/>
              <a:gdLst>
                <a:gd name="connsiteX0" fmla="*/ 66706 w 91678"/>
                <a:gd name="connsiteY0" fmla="*/ 48371 h 106957"/>
                <a:gd name="connsiteX1" fmla="*/ 52955 w 91678"/>
                <a:gd name="connsiteY1" fmla="*/ 51427 h 106957"/>
                <a:gd name="connsiteX2" fmla="*/ 13227 w 91678"/>
                <a:gd name="connsiteY2" fmla="*/ 2532 h 106957"/>
                <a:gd name="connsiteX3" fmla="*/ 2532 w 91678"/>
                <a:gd name="connsiteY3" fmla="*/ 1004 h 106957"/>
                <a:gd name="connsiteX4" fmla="*/ 1004 w 91678"/>
                <a:gd name="connsiteY4" fmla="*/ 11699 h 106957"/>
                <a:gd name="connsiteX5" fmla="*/ 40731 w 91678"/>
                <a:gd name="connsiteY5" fmla="*/ 60594 h 106957"/>
                <a:gd name="connsiteX6" fmla="*/ 34619 w 91678"/>
                <a:gd name="connsiteY6" fmla="*/ 78930 h 106957"/>
                <a:gd name="connsiteX7" fmla="*/ 66706 w 91678"/>
                <a:gd name="connsiteY7" fmla="*/ 111017 h 106957"/>
                <a:gd name="connsiteX8" fmla="*/ 98794 w 91678"/>
                <a:gd name="connsiteY8" fmla="*/ 78930 h 106957"/>
                <a:gd name="connsiteX9" fmla="*/ 66706 w 91678"/>
                <a:gd name="connsiteY9" fmla="*/ 48371 h 106957"/>
                <a:gd name="connsiteX10" fmla="*/ 66706 w 91678"/>
                <a:gd name="connsiteY10" fmla="*/ 95738 h 106957"/>
                <a:gd name="connsiteX11" fmla="*/ 49899 w 91678"/>
                <a:gd name="connsiteY11" fmla="*/ 78930 h 106957"/>
                <a:gd name="connsiteX12" fmla="*/ 66706 w 91678"/>
                <a:gd name="connsiteY12" fmla="*/ 62122 h 106957"/>
                <a:gd name="connsiteX13" fmla="*/ 83514 w 91678"/>
                <a:gd name="connsiteY13" fmla="*/ 78930 h 106957"/>
                <a:gd name="connsiteX14" fmla="*/ 66706 w 91678"/>
                <a:gd name="connsiteY14" fmla="*/ 95738 h 10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678" h="106957">
                  <a:moveTo>
                    <a:pt x="66706" y="48371"/>
                  </a:moveTo>
                  <a:cubicBezTo>
                    <a:pt x="62123" y="48371"/>
                    <a:pt x="57539" y="49899"/>
                    <a:pt x="52955" y="51427"/>
                  </a:cubicBezTo>
                  <a:lnTo>
                    <a:pt x="13227" y="2532"/>
                  </a:lnTo>
                  <a:cubicBezTo>
                    <a:pt x="10171" y="-524"/>
                    <a:pt x="5588" y="-524"/>
                    <a:pt x="2532" y="1004"/>
                  </a:cubicBezTo>
                  <a:cubicBezTo>
                    <a:pt x="-524" y="4060"/>
                    <a:pt x="-524" y="8644"/>
                    <a:pt x="1004" y="11699"/>
                  </a:cubicBezTo>
                  <a:lnTo>
                    <a:pt x="40731" y="60594"/>
                  </a:lnTo>
                  <a:cubicBezTo>
                    <a:pt x="37675" y="65178"/>
                    <a:pt x="34619" y="71290"/>
                    <a:pt x="34619" y="78930"/>
                  </a:cubicBezTo>
                  <a:cubicBezTo>
                    <a:pt x="34619" y="95738"/>
                    <a:pt x="48371" y="111017"/>
                    <a:pt x="66706" y="111017"/>
                  </a:cubicBezTo>
                  <a:cubicBezTo>
                    <a:pt x="85042" y="111017"/>
                    <a:pt x="98794" y="97266"/>
                    <a:pt x="98794" y="78930"/>
                  </a:cubicBezTo>
                  <a:cubicBezTo>
                    <a:pt x="98794" y="60594"/>
                    <a:pt x="85042" y="48371"/>
                    <a:pt x="66706" y="48371"/>
                  </a:cubicBezTo>
                  <a:close/>
                  <a:moveTo>
                    <a:pt x="66706" y="95738"/>
                  </a:moveTo>
                  <a:cubicBezTo>
                    <a:pt x="57539" y="95738"/>
                    <a:pt x="49899" y="88098"/>
                    <a:pt x="49899" y="78930"/>
                  </a:cubicBezTo>
                  <a:cubicBezTo>
                    <a:pt x="49899" y="69762"/>
                    <a:pt x="57539" y="62122"/>
                    <a:pt x="66706" y="62122"/>
                  </a:cubicBezTo>
                  <a:cubicBezTo>
                    <a:pt x="75874" y="62122"/>
                    <a:pt x="83514" y="69762"/>
                    <a:pt x="83514" y="78930"/>
                  </a:cubicBezTo>
                  <a:cubicBezTo>
                    <a:pt x="83514" y="89626"/>
                    <a:pt x="75874" y="95738"/>
                    <a:pt x="66706" y="95738"/>
                  </a:cubicBezTo>
                  <a:close/>
                </a:path>
              </a:pathLst>
            </a:custGeom>
            <a:solidFill>
              <a:srgbClr val="000000"/>
            </a:solidFill>
            <a:ln w="15153" cap="flat">
              <a:noFill/>
              <a:prstDash val="solid"/>
              <a:miter/>
            </a:ln>
          </p:spPr>
          <p:txBody>
            <a:bodyPr rtlCol="0" anchor="ctr"/>
            <a:lstStyle/>
            <a:p>
              <a:endParaRPr lang="de-DE"/>
            </a:p>
          </p:txBody>
        </p:sp>
        <p:sp>
          <p:nvSpPr>
            <p:cNvPr id="5304" name="Freeform: Shape 5303">
              <a:extLst>
                <a:ext uri="{FF2B5EF4-FFF2-40B4-BE49-F238E27FC236}">
                  <a16:creationId xmlns:a16="http://schemas.microsoft.com/office/drawing/2014/main" id="{FE5E95DF-7D04-4005-8F43-1911492A0CC0}"/>
                </a:ext>
              </a:extLst>
            </p:cNvPr>
            <p:cNvSpPr/>
            <p:nvPr/>
          </p:nvSpPr>
          <p:spPr>
            <a:xfrm>
              <a:off x="5927923" y="3337322"/>
              <a:ext cx="320874" cy="320873"/>
            </a:xfrm>
            <a:custGeom>
              <a:avLst/>
              <a:gdLst>
                <a:gd name="connsiteX0" fmla="*/ 165021 w 320874"/>
                <a:gd name="connsiteY0" fmla="*/ 0 h 320873"/>
                <a:gd name="connsiteX1" fmla="*/ 0 w 320874"/>
                <a:gd name="connsiteY1" fmla="*/ 166549 h 320873"/>
                <a:gd name="connsiteX2" fmla="*/ 165021 w 320874"/>
                <a:gd name="connsiteY2" fmla="*/ 331569 h 320873"/>
                <a:gd name="connsiteX3" fmla="*/ 330042 w 320874"/>
                <a:gd name="connsiteY3" fmla="*/ 166549 h 320873"/>
                <a:gd name="connsiteX4" fmla="*/ 165021 w 320874"/>
                <a:gd name="connsiteY4" fmla="*/ 0 h 320873"/>
                <a:gd name="connsiteX5" fmla="*/ 165021 w 320874"/>
                <a:gd name="connsiteY5" fmla="*/ 316290 h 320873"/>
                <a:gd name="connsiteX6" fmla="*/ 15280 w 320874"/>
                <a:gd name="connsiteY6" fmla="*/ 166549 h 320873"/>
                <a:gd name="connsiteX7" fmla="*/ 165021 w 320874"/>
                <a:gd name="connsiteY7" fmla="*/ 15280 h 320873"/>
                <a:gd name="connsiteX8" fmla="*/ 314762 w 320874"/>
                <a:gd name="connsiteY8" fmla="*/ 165021 h 320873"/>
                <a:gd name="connsiteX9" fmla="*/ 165021 w 320874"/>
                <a:gd name="connsiteY9" fmla="*/ 316290 h 32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874" h="320873">
                  <a:moveTo>
                    <a:pt x="165021" y="0"/>
                  </a:moveTo>
                  <a:cubicBezTo>
                    <a:pt x="74871" y="0"/>
                    <a:pt x="0" y="74870"/>
                    <a:pt x="0" y="166549"/>
                  </a:cubicBezTo>
                  <a:cubicBezTo>
                    <a:pt x="0" y="258227"/>
                    <a:pt x="74871" y="331569"/>
                    <a:pt x="165021" y="331569"/>
                  </a:cubicBezTo>
                  <a:cubicBezTo>
                    <a:pt x="255171" y="331569"/>
                    <a:pt x="330042" y="256699"/>
                    <a:pt x="330042" y="166549"/>
                  </a:cubicBezTo>
                  <a:cubicBezTo>
                    <a:pt x="330042" y="76398"/>
                    <a:pt x="256699" y="0"/>
                    <a:pt x="165021" y="0"/>
                  </a:cubicBezTo>
                  <a:close/>
                  <a:moveTo>
                    <a:pt x="165021" y="316290"/>
                  </a:moveTo>
                  <a:cubicBezTo>
                    <a:pt x="82511" y="316290"/>
                    <a:pt x="15280" y="249059"/>
                    <a:pt x="15280" y="166549"/>
                  </a:cubicBezTo>
                  <a:cubicBezTo>
                    <a:pt x="15280" y="84038"/>
                    <a:pt x="82511" y="15280"/>
                    <a:pt x="165021" y="15280"/>
                  </a:cubicBezTo>
                  <a:cubicBezTo>
                    <a:pt x="247532" y="15280"/>
                    <a:pt x="314762" y="82510"/>
                    <a:pt x="314762" y="165021"/>
                  </a:cubicBezTo>
                  <a:cubicBezTo>
                    <a:pt x="314762" y="247531"/>
                    <a:pt x="247532" y="316290"/>
                    <a:pt x="165021" y="316290"/>
                  </a:cubicBezTo>
                  <a:close/>
                </a:path>
              </a:pathLst>
            </a:custGeom>
            <a:solidFill>
              <a:srgbClr val="000000"/>
            </a:solidFill>
            <a:ln w="15153" cap="flat">
              <a:noFill/>
              <a:prstDash val="solid"/>
              <a:miter/>
            </a:ln>
          </p:spPr>
          <p:txBody>
            <a:bodyPr rtlCol="0" anchor="ctr"/>
            <a:lstStyle/>
            <a:p>
              <a:endParaRPr lang="de-DE"/>
            </a:p>
          </p:txBody>
        </p:sp>
      </p:grpSp>
      <p:grpSp>
        <p:nvGrpSpPr>
          <p:cNvPr id="5305" name="Graphic 3">
            <a:extLst>
              <a:ext uri="{FF2B5EF4-FFF2-40B4-BE49-F238E27FC236}">
                <a16:creationId xmlns:a16="http://schemas.microsoft.com/office/drawing/2014/main" id="{47772DD7-F51A-4732-AE65-C159AB4ED238}"/>
              </a:ext>
              <a:ext uri="{C183D7F6-B498-43B3-948B-1728B52AA6E4}">
                <adec:decorative xmlns:adec="http://schemas.microsoft.com/office/drawing/2017/decorative" val="1"/>
              </a:ext>
            </a:extLst>
          </p:cNvPr>
          <p:cNvGrpSpPr>
            <a:grpSpLocks noChangeAspect="1"/>
          </p:cNvGrpSpPr>
          <p:nvPr/>
        </p:nvGrpSpPr>
        <p:grpSpPr>
          <a:xfrm>
            <a:off x="5437777" y="4183900"/>
            <a:ext cx="134465" cy="105051"/>
            <a:chOff x="5938837" y="3309937"/>
            <a:chExt cx="304800" cy="238125"/>
          </a:xfrm>
          <a:solidFill>
            <a:srgbClr val="101010"/>
          </a:solidFill>
        </p:grpSpPr>
        <p:sp>
          <p:nvSpPr>
            <p:cNvPr id="5306" name="Freeform: Shape 5305">
              <a:extLst>
                <a:ext uri="{FF2B5EF4-FFF2-40B4-BE49-F238E27FC236}">
                  <a16:creationId xmlns:a16="http://schemas.microsoft.com/office/drawing/2014/main" id="{DB929E89-3204-43A0-8364-83BC199D55F1}"/>
                </a:ext>
              </a:extLst>
            </p:cNvPr>
            <p:cNvSpPr/>
            <p:nvPr/>
          </p:nvSpPr>
          <p:spPr>
            <a:xfrm>
              <a:off x="5938837" y="3309937"/>
              <a:ext cx="304800" cy="238125"/>
            </a:xfrm>
            <a:custGeom>
              <a:avLst/>
              <a:gdLst>
                <a:gd name="connsiteX0" fmla="*/ 276225 w 304800"/>
                <a:gd name="connsiteY0" fmla="*/ 0 h 238125"/>
                <a:gd name="connsiteX1" fmla="*/ 33338 w 304800"/>
                <a:gd name="connsiteY1" fmla="*/ 0 h 238125"/>
                <a:gd name="connsiteX2" fmla="*/ 0 w 304800"/>
                <a:gd name="connsiteY2" fmla="*/ 33338 h 238125"/>
                <a:gd name="connsiteX3" fmla="*/ 0 w 304800"/>
                <a:gd name="connsiteY3" fmla="*/ 204788 h 238125"/>
                <a:gd name="connsiteX4" fmla="*/ 33338 w 304800"/>
                <a:gd name="connsiteY4" fmla="*/ 238125 h 238125"/>
                <a:gd name="connsiteX5" fmla="*/ 276225 w 304800"/>
                <a:gd name="connsiteY5" fmla="*/ 238125 h 238125"/>
                <a:gd name="connsiteX6" fmla="*/ 309563 w 304800"/>
                <a:gd name="connsiteY6" fmla="*/ 204788 h 238125"/>
                <a:gd name="connsiteX7" fmla="*/ 309563 w 304800"/>
                <a:gd name="connsiteY7" fmla="*/ 33338 h 238125"/>
                <a:gd name="connsiteX8" fmla="*/ 276225 w 304800"/>
                <a:gd name="connsiteY8" fmla="*/ 0 h 238125"/>
                <a:gd name="connsiteX9" fmla="*/ 200025 w 304800"/>
                <a:gd name="connsiteY9" fmla="*/ 9525 h 238125"/>
                <a:gd name="connsiteX10" fmla="*/ 200025 w 304800"/>
                <a:gd name="connsiteY10" fmla="*/ 228600 h 238125"/>
                <a:gd name="connsiteX11" fmla="*/ 109538 w 304800"/>
                <a:gd name="connsiteY11" fmla="*/ 228600 h 238125"/>
                <a:gd name="connsiteX12" fmla="*/ 109538 w 304800"/>
                <a:gd name="connsiteY12" fmla="*/ 9525 h 238125"/>
                <a:gd name="connsiteX13" fmla="*/ 200025 w 304800"/>
                <a:gd name="connsiteY13" fmla="*/ 9525 h 238125"/>
                <a:gd name="connsiteX14" fmla="*/ 9525 w 304800"/>
                <a:gd name="connsiteY14" fmla="*/ 204788 h 238125"/>
                <a:gd name="connsiteX15" fmla="*/ 9525 w 304800"/>
                <a:gd name="connsiteY15" fmla="*/ 33338 h 238125"/>
                <a:gd name="connsiteX16" fmla="*/ 33338 w 304800"/>
                <a:gd name="connsiteY16" fmla="*/ 9525 h 238125"/>
                <a:gd name="connsiteX17" fmla="*/ 100013 w 304800"/>
                <a:gd name="connsiteY17" fmla="*/ 9525 h 238125"/>
                <a:gd name="connsiteX18" fmla="*/ 100013 w 304800"/>
                <a:gd name="connsiteY18" fmla="*/ 228600 h 238125"/>
                <a:gd name="connsiteX19" fmla="*/ 33338 w 304800"/>
                <a:gd name="connsiteY19" fmla="*/ 228600 h 238125"/>
                <a:gd name="connsiteX20" fmla="*/ 9525 w 304800"/>
                <a:gd name="connsiteY20" fmla="*/ 204788 h 238125"/>
                <a:gd name="connsiteX21" fmla="*/ 300038 w 304800"/>
                <a:gd name="connsiteY21" fmla="*/ 204788 h 238125"/>
                <a:gd name="connsiteX22" fmla="*/ 276225 w 304800"/>
                <a:gd name="connsiteY22" fmla="*/ 228600 h 238125"/>
                <a:gd name="connsiteX23" fmla="*/ 209550 w 304800"/>
                <a:gd name="connsiteY23" fmla="*/ 228600 h 238125"/>
                <a:gd name="connsiteX24" fmla="*/ 209550 w 304800"/>
                <a:gd name="connsiteY24" fmla="*/ 9525 h 238125"/>
                <a:gd name="connsiteX25" fmla="*/ 276225 w 304800"/>
                <a:gd name="connsiteY25" fmla="*/ 9525 h 238125"/>
                <a:gd name="connsiteX26" fmla="*/ 300038 w 304800"/>
                <a:gd name="connsiteY26" fmla="*/ 33338 h 238125"/>
                <a:gd name="connsiteX27" fmla="*/ 300038 w 304800"/>
                <a:gd name="connsiteY27" fmla="*/ 20478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4800" h="238125">
                  <a:moveTo>
                    <a:pt x="276225" y="0"/>
                  </a:moveTo>
                  <a:lnTo>
                    <a:pt x="33338" y="0"/>
                  </a:lnTo>
                  <a:cubicBezTo>
                    <a:pt x="15240" y="0"/>
                    <a:pt x="0" y="15240"/>
                    <a:pt x="0" y="33338"/>
                  </a:cubicBezTo>
                  <a:lnTo>
                    <a:pt x="0" y="204788"/>
                  </a:lnTo>
                  <a:cubicBezTo>
                    <a:pt x="0" y="222885"/>
                    <a:pt x="15240" y="238125"/>
                    <a:pt x="33338" y="238125"/>
                  </a:cubicBezTo>
                  <a:lnTo>
                    <a:pt x="276225" y="238125"/>
                  </a:lnTo>
                  <a:cubicBezTo>
                    <a:pt x="294323" y="238125"/>
                    <a:pt x="309563" y="222885"/>
                    <a:pt x="309563" y="204788"/>
                  </a:cubicBezTo>
                  <a:lnTo>
                    <a:pt x="309563" y="33338"/>
                  </a:lnTo>
                  <a:cubicBezTo>
                    <a:pt x="309563" y="15240"/>
                    <a:pt x="294323" y="0"/>
                    <a:pt x="276225" y="0"/>
                  </a:cubicBezTo>
                  <a:close/>
                  <a:moveTo>
                    <a:pt x="200025" y="9525"/>
                  </a:moveTo>
                  <a:lnTo>
                    <a:pt x="200025" y="228600"/>
                  </a:lnTo>
                  <a:lnTo>
                    <a:pt x="109538" y="228600"/>
                  </a:lnTo>
                  <a:lnTo>
                    <a:pt x="109538" y="9525"/>
                  </a:lnTo>
                  <a:lnTo>
                    <a:pt x="200025" y="9525"/>
                  </a:lnTo>
                  <a:close/>
                  <a:moveTo>
                    <a:pt x="9525" y="204788"/>
                  </a:moveTo>
                  <a:lnTo>
                    <a:pt x="9525" y="33338"/>
                  </a:lnTo>
                  <a:cubicBezTo>
                    <a:pt x="9525" y="20003"/>
                    <a:pt x="20003" y="9525"/>
                    <a:pt x="33338" y="9525"/>
                  </a:cubicBezTo>
                  <a:lnTo>
                    <a:pt x="100013" y="9525"/>
                  </a:lnTo>
                  <a:lnTo>
                    <a:pt x="100013" y="228600"/>
                  </a:lnTo>
                  <a:lnTo>
                    <a:pt x="33338" y="228600"/>
                  </a:lnTo>
                  <a:cubicBezTo>
                    <a:pt x="20003" y="228600"/>
                    <a:pt x="9525" y="218123"/>
                    <a:pt x="9525" y="204788"/>
                  </a:cubicBezTo>
                  <a:close/>
                  <a:moveTo>
                    <a:pt x="300038" y="204788"/>
                  </a:moveTo>
                  <a:cubicBezTo>
                    <a:pt x="300038" y="218123"/>
                    <a:pt x="289560" y="228600"/>
                    <a:pt x="276225" y="228600"/>
                  </a:cubicBezTo>
                  <a:lnTo>
                    <a:pt x="209550" y="228600"/>
                  </a:lnTo>
                  <a:lnTo>
                    <a:pt x="209550" y="9525"/>
                  </a:lnTo>
                  <a:lnTo>
                    <a:pt x="276225" y="9525"/>
                  </a:lnTo>
                  <a:cubicBezTo>
                    <a:pt x="289560" y="9525"/>
                    <a:pt x="300038" y="20003"/>
                    <a:pt x="300038" y="33338"/>
                  </a:cubicBezTo>
                  <a:lnTo>
                    <a:pt x="300038" y="204788"/>
                  </a:lnTo>
                  <a:close/>
                </a:path>
              </a:pathLst>
            </a:custGeom>
            <a:solidFill>
              <a:srgbClr val="101010"/>
            </a:solidFill>
            <a:ln w="9525" cap="flat">
              <a:noFill/>
              <a:prstDash val="solid"/>
              <a:miter/>
            </a:ln>
          </p:spPr>
          <p:txBody>
            <a:bodyPr rtlCol="0" anchor="ctr"/>
            <a:lstStyle/>
            <a:p>
              <a:endParaRPr lang="de-DE"/>
            </a:p>
          </p:txBody>
        </p:sp>
        <p:sp>
          <p:nvSpPr>
            <p:cNvPr id="5307" name="Freeform: Shape 5306">
              <a:extLst>
                <a:ext uri="{FF2B5EF4-FFF2-40B4-BE49-F238E27FC236}">
                  <a16:creationId xmlns:a16="http://schemas.microsoft.com/office/drawing/2014/main" id="{BEA46A5B-6164-41AC-8FBF-63FFB227BCB3}"/>
                </a:ext>
              </a:extLst>
            </p:cNvPr>
            <p:cNvSpPr/>
            <p:nvPr/>
          </p:nvSpPr>
          <p:spPr>
            <a:xfrm>
              <a:off x="5967412" y="3338512"/>
              <a:ext cx="47625" cy="180975"/>
            </a:xfrm>
            <a:custGeom>
              <a:avLst/>
              <a:gdLst>
                <a:gd name="connsiteX0" fmla="*/ 42863 w 47625"/>
                <a:gd name="connsiteY0" fmla="*/ 0 h 180975"/>
                <a:gd name="connsiteX1" fmla="*/ 9525 w 47625"/>
                <a:gd name="connsiteY1" fmla="*/ 0 h 180975"/>
                <a:gd name="connsiteX2" fmla="*/ 0 w 47625"/>
                <a:gd name="connsiteY2" fmla="*/ 9525 h 180975"/>
                <a:gd name="connsiteX3" fmla="*/ 0 w 47625"/>
                <a:gd name="connsiteY3" fmla="*/ 171450 h 180975"/>
                <a:gd name="connsiteX4" fmla="*/ 9525 w 47625"/>
                <a:gd name="connsiteY4" fmla="*/ 180975 h 180975"/>
                <a:gd name="connsiteX5" fmla="*/ 42863 w 47625"/>
                <a:gd name="connsiteY5" fmla="*/ 180975 h 180975"/>
                <a:gd name="connsiteX6" fmla="*/ 52388 w 47625"/>
                <a:gd name="connsiteY6" fmla="*/ 171450 h 180975"/>
                <a:gd name="connsiteX7" fmla="*/ 52388 w 47625"/>
                <a:gd name="connsiteY7" fmla="*/ 9525 h 180975"/>
                <a:gd name="connsiteX8" fmla="*/ 42863 w 47625"/>
                <a:gd name="connsiteY8" fmla="*/ 0 h 180975"/>
                <a:gd name="connsiteX9" fmla="*/ 9525 w 47625"/>
                <a:gd name="connsiteY9" fmla="*/ 85725 h 180975"/>
                <a:gd name="connsiteX10" fmla="*/ 9525 w 47625"/>
                <a:gd name="connsiteY10" fmla="*/ 66675 h 180975"/>
                <a:gd name="connsiteX11" fmla="*/ 42863 w 47625"/>
                <a:gd name="connsiteY11" fmla="*/ 66675 h 180975"/>
                <a:gd name="connsiteX12" fmla="*/ 42863 w 47625"/>
                <a:gd name="connsiteY12" fmla="*/ 85725 h 180975"/>
                <a:gd name="connsiteX13" fmla="*/ 9525 w 47625"/>
                <a:gd name="connsiteY13" fmla="*/ 85725 h 180975"/>
                <a:gd name="connsiteX14" fmla="*/ 42863 w 47625"/>
                <a:gd name="connsiteY14" fmla="*/ 95250 h 180975"/>
                <a:gd name="connsiteX15" fmla="*/ 42863 w 47625"/>
                <a:gd name="connsiteY15" fmla="*/ 114300 h 180975"/>
                <a:gd name="connsiteX16" fmla="*/ 9525 w 47625"/>
                <a:gd name="connsiteY16" fmla="*/ 114300 h 180975"/>
                <a:gd name="connsiteX17" fmla="*/ 9525 w 47625"/>
                <a:gd name="connsiteY17" fmla="*/ 95250 h 180975"/>
                <a:gd name="connsiteX18" fmla="*/ 42863 w 47625"/>
                <a:gd name="connsiteY18" fmla="*/ 95250 h 180975"/>
                <a:gd name="connsiteX19" fmla="*/ 9525 w 47625"/>
                <a:gd name="connsiteY19" fmla="*/ 57150 h 180975"/>
                <a:gd name="connsiteX20" fmla="*/ 9525 w 47625"/>
                <a:gd name="connsiteY20" fmla="*/ 38100 h 180975"/>
                <a:gd name="connsiteX21" fmla="*/ 42863 w 47625"/>
                <a:gd name="connsiteY21" fmla="*/ 38100 h 180975"/>
                <a:gd name="connsiteX22" fmla="*/ 42863 w 47625"/>
                <a:gd name="connsiteY22" fmla="*/ 57150 h 180975"/>
                <a:gd name="connsiteX23" fmla="*/ 9525 w 47625"/>
                <a:gd name="connsiteY23" fmla="*/ 57150 h 180975"/>
                <a:gd name="connsiteX24" fmla="*/ 9525 w 47625"/>
                <a:gd name="connsiteY24" fmla="*/ 123825 h 180975"/>
                <a:gd name="connsiteX25" fmla="*/ 42863 w 47625"/>
                <a:gd name="connsiteY25" fmla="*/ 123825 h 180975"/>
                <a:gd name="connsiteX26" fmla="*/ 42863 w 47625"/>
                <a:gd name="connsiteY26" fmla="*/ 142875 h 180975"/>
                <a:gd name="connsiteX27" fmla="*/ 9525 w 47625"/>
                <a:gd name="connsiteY27" fmla="*/ 142875 h 180975"/>
                <a:gd name="connsiteX28" fmla="*/ 9525 w 47625"/>
                <a:gd name="connsiteY28" fmla="*/ 123825 h 180975"/>
                <a:gd name="connsiteX29" fmla="*/ 42863 w 47625"/>
                <a:gd name="connsiteY29" fmla="*/ 9525 h 180975"/>
                <a:gd name="connsiteX30" fmla="*/ 42863 w 47625"/>
                <a:gd name="connsiteY30" fmla="*/ 28575 h 180975"/>
                <a:gd name="connsiteX31" fmla="*/ 9525 w 47625"/>
                <a:gd name="connsiteY31" fmla="*/ 28575 h 180975"/>
                <a:gd name="connsiteX32" fmla="*/ 9525 w 47625"/>
                <a:gd name="connsiteY32" fmla="*/ 9525 h 180975"/>
                <a:gd name="connsiteX33" fmla="*/ 42863 w 47625"/>
                <a:gd name="connsiteY33" fmla="*/ 9525 h 180975"/>
                <a:gd name="connsiteX34" fmla="*/ 9525 w 47625"/>
                <a:gd name="connsiteY34" fmla="*/ 171450 h 180975"/>
                <a:gd name="connsiteX35" fmla="*/ 9525 w 47625"/>
                <a:gd name="connsiteY35" fmla="*/ 152400 h 180975"/>
                <a:gd name="connsiteX36" fmla="*/ 42863 w 47625"/>
                <a:gd name="connsiteY36" fmla="*/ 152400 h 180975"/>
                <a:gd name="connsiteX37" fmla="*/ 42863 w 47625"/>
                <a:gd name="connsiteY37" fmla="*/ 171450 h 180975"/>
                <a:gd name="connsiteX38" fmla="*/ 9525 w 47625"/>
                <a:gd name="connsiteY38" fmla="*/ 171450 h 180975"/>
                <a:gd name="connsiteX39" fmla="*/ 42863 w 47625"/>
                <a:gd name="connsiteY39" fmla="*/ 176213 h 180975"/>
                <a:gd name="connsiteX40" fmla="*/ 42863 w 47625"/>
                <a:gd name="connsiteY40" fmla="*/ 171450 h 180975"/>
                <a:gd name="connsiteX41" fmla="*/ 42863 w 47625"/>
                <a:gd name="connsiteY41" fmla="*/ 171450 h 180975"/>
                <a:gd name="connsiteX42" fmla="*/ 42863 w 47625"/>
                <a:gd name="connsiteY42" fmla="*/ 17621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7625" h="180975">
                  <a:moveTo>
                    <a:pt x="42863" y="0"/>
                  </a:moveTo>
                  <a:lnTo>
                    <a:pt x="9525" y="0"/>
                  </a:lnTo>
                  <a:cubicBezTo>
                    <a:pt x="3810" y="0"/>
                    <a:pt x="0" y="3810"/>
                    <a:pt x="0" y="9525"/>
                  </a:cubicBezTo>
                  <a:lnTo>
                    <a:pt x="0" y="171450"/>
                  </a:lnTo>
                  <a:cubicBezTo>
                    <a:pt x="0" y="177165"/>
                    <a:pt x="3810" y="180975"/>
                    <a:pt x="9525" y="180975"/>
                  </a:cubicBezTo>
                  <a:lnTo>
                    <a:pt x="42863" y="180975"/>
                  </a:lnTo>
                  <a:cubicBezTo>
                    <a:pt x="48578" y="180975"/>
                    <a:pt x="52388" y="177165"/>
                    <a:pt x="52388" y="171450"/>
                  </a:cubicBezTo>
                  <a:lnTo>
                    <a:pt x="52388" y="9525"/>
                  </a:lnTo>
                  <a:cubicBezTo>
                    <a:pt x="52388" y="3810"/>
                    <a:pt x="48578" y="0"/>
                    <a:pt x="42863" y="0"/>
                  </a:cubicBezTo>
                  <a:close/>
                  <a:moveTo>
                    <a:pt x="9525" y="85725"/>
                  </a:moveTo>
                  <a:lnTo>
                    <a:pt x="9525" y="66675"/>
                  </a:lnTo>
                  <a:lnTo>
                    <a:pt x="42863" y="66675"/>
                  </a:lnTo>
                  <a:lnTo>
                    <a:pt x="42863" y="85725"/>
                  </a:lnTo>
                  <a:lnTo>
                    <a:pt x="9525" y="85725"/>
                  </a:lnTo>
                  <a:close/>
                  <a:moveTo>
                    <a:pt x="42863" y="95250"/>
                  </a:moveTo>
                  <a:lnTo>
                    <a:pt x="42863" y="114300"/>
                  </a:lnTo>
                  <a:lnTo>
                    <a:pt x="9525" y="114300"/>
                  </a:lnTo>
                  <a:lnTo>
                    <a:pt x="9525" y="95250"/>
                  </a:lnTo>
                  <a:lnTo>
                    <a:pt x="42863" y="95250"/>
                  </a:lnTo>
                  <a:close/>
                  <a:moveTo>
                    <a:pt x="9525" y="57150"/>
                  </a:moveTo>
                  <a:lnTo>
                    <a:pt x="9525" y="38100"/>
                  </a:lnTo>
                  <a:lnTo>
                    <a:pt x="42863" y="38100"/>
                  </a:lnTo>
                  <a:lnTo>
                    <a:pt x="42863" y="57150"/>
                  </a:lnTo>
                  <a:lnTo>
                    <a:pt x="9525" y="57150"/>
                  </a:lnTo>
                  <a:close/>
                  <a:moveTo>
                    <a:pt x="9525" y="123825"/>
                  </a:moveTo>
                  <a:lnTo>
                    <a:pt x="42863" y="123825"/>
                  </a:lnTo>
                  <a:lnTo>
                    <a:pt x="42863" y="142875"/>
                  </a:lnTo>
                  <a:lnTo>
                    <a:pt x="9525" y="142875"/>
                  </a:lnTo>
                  <a:lnTo>
                    <a:pt x="9525" y="123825"/>
                  </a:lnTo>
                  <a:close/>
                  <a:moveTo>
                    <a:pt x="42863" y="9525"/>
                  </a:moveTo>
                  <a:lnTo>
                    <a:pt x="42863" y="28575"/>
                  </a:lnTo>
                  <a:lnTo>
                    <a:pt x="9525" y="28575"/>
                  </a:lnTo>
                  <a:lnTo>
                    <a:pt x="9525" y="9525"/>
                  </a:lnTo>
                  <a:lnTo>
                    <a:pt x="42863" y="9525"/>
                  </a:lnTo>
                  <a:close/>
                  <a:moveTo>
                    <a:pt x="9525" y="171450"/>
                  </a:moveTo>
                  <a:lnTo>
                    <a:pt x="9525" y="152400"/>
                  </a:lnTo>
                  <a:lnTo>
                    <a:pt x="42863" y="152400"/>
                  </a:lnTo>
                  <a:lnTo>
                    <a:pt x="42863" y="171450"/>
                  </a:lnTo>
                  <a:lnTo>
                    <a:pt x="9525" y="171450"/>
                  </a:lnTo>
                  <a:close/>
                  <a:moveTo>
                    <a:pt x="42863" y="176213"/>
                  </a:moveTo>
                  <a:lnTo>
                    <a:pt x="42863" y="171450"/>
                  </a:lnTo>
                  <a:cubicBezTo>
                    <a:pt x="42863" y="171450"/>
                    <a:pt x="42863" y="171450"/>
                    <a:pt x="42863" y="171450"/>
                  </a:cubicBezTo>
                  <a:lnTo>
                    <a:pt x="42863" y="176213"/>
                  </a:lnTo>
                  <a:close/>
                </a:path>
              </a:pathLst>
            </a:custGeom>
            <a:solidFill>
              <a:srgbClr val="101010"/>
            </a:solidFill>
            <a:ln w="9525" cap="flat">
              <a:noFill/>
              <a:prstDash val="solid"/>
              <a:miter/>
            </a:ln>
          </p:spPr>
          <p:txBody>
            <a:bodyPr rtlCol="0" anchor="ctr"/>
            <a:lstStyle/>
            <a:p>
              <a:endParaRPr lang="de-DE"/>
            </a:p>
          </p:txBody>
        </p:sp>
        <p:sp>
          <p:nvSpPr>
            <p:cNvPr id="5308" name="Freeform: Shape 5307">
              <a:extLst>
                <a:ext uri="{FF2B5EF4-FFF2-40B4-BE49-F238E27FC236}">
                  <a16:creationId xmlns:a16="http://schemas.microsoft.com/office/drawing/2014/main" id="{8059C932-6824-46ED-80B1-7ADC712C50AB}"/>
                </a:ext>
              </a:extLst>
            </p:cNvPr>
            <p:cNvSpPr/>
            <p:nvPr/>
          </p:nvSpPr>
          <p:spPr>
            <a:xfrm>
              <a:off x="6067425" y="3381375"/>
              <a:ext cx="47625" cy="95250"/>
            </a:xfrm>
            <a:custGeom>
              <a:avLst/>
              <a:gdLst>
                <a:gd name="connsiteX0" fmla="*/ 9525 w 47625"/>
                <a:gd name="connsiteY0" fmla="*/ 95250 h 95250"/>
                <a:gd name="connsiteX1" fmla="*/ 42863 w 47625"/>
                <a:gd name="connsiteY1" fmla="*/ 95250 h 95250"/>
                <a:gd name="connsiteX2" fmla="*/ 52388 w 47625"/>
                <a:gd name="connsiteY2" fmla="*/ 85725 h 95250"/>
                <a:gd name="connsiteX3" fmla="*/ 52388 w 47625"/>
                <a:gd name="connsiteY3" fmla="*/ 9525 h 95250"/>
                <a:gd name="connsiteX4" fmla="*/ 42863 w 47625"/>
                <a:gd name="connsiteY4" fmla="*/ 0 h 95250"/>
                <a:gd name="connsiteX5" fmla="*/ 9525 w 47625"/>
                <a:gd name="connsiteY5" fmla="*/ 0 h 95250"/>
                <a:gd name="connsiteX6" fmla="*/ 0 w 47625"/>
                <a:gd name="connsiteY6" fmla="*/ 9525 h 95250"/>
                <a:gd name="connsiteX7" fmla="*/ 0 w 47625"/>
                <a:gd name="connsiteY7" fmla="*/ 85725 h 95250"/>
                <a:gd name="connsiteX8" fmla="*/ 9525 w 47625"/>
                <a:gd name="connsiteY8" fmla="*/ 95250 h 95250"/>
                <a:gd name="connsiteX9" fmla="*/ 42863 w 47625"/>
                <a:gd name="connsiteY9" fmla="*/ 57150 h 95250"/>
                <a:gd name="connsiteX10" fmla="*/ 9525 w 47625"/>
                <a:gd name="connsiteY10" fmla="*/ 57150 h 95250"/>
                <a:gd name="connsiteX11" fmla="*/ 9525 w 47625"/>
                <a:gd name="connsiteY11" fmla="*/ 38100 h 95250"/>
                <a:gd name="connsiteX12" fmla="*/ 42863 w 47625"/>
                <a:gd name="connsiteY12" fmla="*/ 38100 h 95250"/>
                <a:gd name="connsiteX13" fmla="*/ 42863 w 47625"/>
                <a:gd name="connsiteY13" fmla="*/ 57150 h 95250"/>
                <a:gd name="connsiteX14" fmla="*/ 9525 w 47625"/>
                <a:gd name="connsiteY14" fmla="*/ 85725 h 95250"/>
                <a:gd name="connsiteX15" fmla="*/ 9525 w 47625"/>
                <a:gd name="connsiteY15" fmla="*/ 66675 h 95250"/>
                <a:gd name="connsiteX16" fmla="*/ 42863 w 47625"/>
                <a:gd name="connsiteY16" fmla="*/ 66675 h 95250"/>
                <a:gd name="connsiteX17" fmla="*/ 42863 w 47625"/>
                <a:gd name="connsiteY17" fmla="*/ 85725 h 95250"/>
                <a:gd name="connsiteX18" fmla="*/ 9525 w 47625"/>
                <a:gd name="connsiteY18" fmla="*/ 85725 h 95250"/>
                <a:gd name="connsiteX19" fmla="*/ 42863 w 47625"/>
                <a:gd name="connsiteY19" fmla="*/ 90488 h 95250"/>
                <a:gd name="connsiteX20" fmla="*/ 42863 w 47625"/>
                <a:gd name="connsiteY20" fmla="*/ 85725 h 95250"/>
                <a:gd name="connsiteX21" fmla="*/ 42863 w 47625"/>
                <a:gd name="connsiteY21" fmla="*/ 85725 h 95250"/>
                <a:gd name="connsiteX22" fmla="*/ 42863 w 47625"/>
                <a:gd name="connsiteY22" fmla="*/ 90488 h 95250"/>
                <a:gd name="connsiteX23" fmla="*/ 42863 w 47625"/>
                <a:gd name="connsiteY23" fmla="*/ 9525 h 95250"/>
                <a:gd name="connsiteX24" fmla="*/ 42863 w 47625"/>
                <a:gd name="connsiteY24" fmla="*/ 28575 h 95250"/>
                <a:gd name="connsiteX25" fmla="*/ 9525 w 47625"/>
                <a:gd name="connsiteY25" fmla="*/ 28575 h 95250"/>
                <a:gd name="connsiteX26" fmla="*/ 9525 w 47625"/>
                <a:gd name="connsiteY26" fmla="*/ 9525 h 95250"/>
                <a:gd name="connsiteX27" fmla="*/ 42863 w 47625"/>
                <a:gd name="connsiteY27" fmla="*/ 952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625" h="95250">
                  <a:moveTo>
                    <a:pt x="9525" y="95250"/>
                  </a:moveTo>
                  <a:lnTo>
                    <a:pt x="42863" y="95250"/>
                  </a:lnTo>
                  <a:cubicBezTo>
                    <a:pt x="48578" y="95250"/>
                    <a:pt x="52388" y="91440"/>
                    <a:pt x="52388" y="85725"/>
                  </a:cubicBezTo>
                  <a:lnTo>
                    <a:pt x="52388" y="9525"/>
                  </a:lnTo>
                  <a:cubicBezTo>
                    <a:pt x="52388" y="3810"/>
                    <a:pt x="48578" y="0"/>
                    <a:pt x="42863" y="0"/>
                  </a:cubicBezTo>
                  <a:lnTo>
                    <a:pt x="9525" y="0"/>
                  </a:lnTo>
                  <a:cubicBezTo>
                    <a:pt x="3810" y="0"/>
                    <a:pt x="0" y="3810"/>
                    <a:pt x="0" y="9525"/>
                  </a:cubicBezTo>
                  <a:lnTo>
                    <a:pt x="0" y="85725"/>
                  </a:lnTo>
                  <a:cubicBezTo>
                    <a:pt x="0" y="91440"/>
                    <a:pt x="3810" y="95250"/>
                    <a:pt x="9525" y="95250"/>
                  </a:cubicBezTo>
                  <a:close/>
                  <a:moveTo>
                    <a:pt x="42863" y="57150"/>
                  </a:moveTo>
                  <a:lnTo>
                    <a:pt x="9525" y="57150"/>
                  </a:lnTo>
                  <a:lnTo>
                    <a:pt x="9525" y="38100"/>
                  </a:lnTo>
                  <a:lnTo>
                    <a:pt x="42863" y="38100"/>
                  </a:lnTo>
                  <a:lnTo>
                    <a:pt x="42863" y="57150"/>
                  </a:lnTo>
                  <a:close/>
                  <a:moveTo>
                    <a:pt x="9525" y="85725"/>
                  </a:moveTo>
                  <a:lnTo>
                    <a:pt x="9525" y="66675"/>
                  </a:lnTo>
                  <a:lnTo>
                    <a:pt x="42863" y="66675"/>
                  </a:lnTo>
                  <a:lnTo>
                    <a:pt x="42863" y="85725"/>
                  </a:lnTo>
                  <a:lnTo>
                    <a:pt x="9525" y="85725"/>
                  </a:lnTo>
                  <a:close/>
                  <a:moveTo>
                    <a:pt x="42863" y="90488"/>
                  </a:moveTo>
                  <a:lnTo>
                    <a:pt x="42863" y="85725"/>
                  </a:lnTo>
                  <a:cubicBezTo>
                    <a:pt x="42863" y="85725"/>
                    <a:pt x="42863" y="85725"/>
                    <a:pt x="42863" y="85725"/>
                  </a:cubicBezTo>
                  <a:lnTo>
                    <a:pt x="42863" y="90488"/>
                  </a:lnTo>
                  <a:close/>
                  <a:moveTo>
                    <a:pt x="42863" y="9525"/>
                  </a:moveTo>
                  <a:lnTo>
                    <a:pt x="42863" y="28575"/>
                  </a:lnTo>
                  <a:lnTo>
                    <a:pt x="9525" y="28575"/>
                  </a:lnTo>
                  <a:lnTo>
                    <a:pt x="9525" y="9525"/>
                  </a:lnTo>
                  <a:lnTo>
                    <a:pt x="42863" y="9525"/>
                  </a:lnTo>
                  <a:close/>
                </a:path>
              </a:pathLst>
            </a:custGeom>
            <a:solidFill>
              <a:srgbClr val="101010"/>
            </a:solidFill>
            <a:ln w="9525" cap="flat">
              <a:noFill/>
              <a:prstDash val="solid"/>
              <a:miter/>
            </a:ln>
          </p:spPr>
          <p:txBody>
            <a:bodyPr rtlCol="0" anchor="ctr"/>
            <a:lstStyle/>
            <a:p>
              <a:endParaRPr lang="de-DE"/>
            </a:p>
          </p:txBody>
        </p:sp>
        <p:sp>
          <p:nvSpPr>
            <p:cNvPr id="5309" name="Freeform: Shape 5308">
              <a:extLst>
                <a:ext uri="{FF2B5EF4-FFF2-40B4-BE49-F238E27FC236}">
                  <a16:creationId xmlns:a16="http://schemas.microsoft.com/office/drawing/2014/main" id="{5E4AFA2C-6434-45CB-A9D5-4F05005234C3}"/>
                </a:ext>
              </a:extLst>
            </p:cNvPr>
            <p:cNvSpPr/>
            <p:nvPr/>
          </p:nvSpPr>
          <p:spPr>
            <a:xfrm>
              <a:off x="6167437" y="3367087"/>
              <a:ext cx="47625" cy="123825"/>
            </a:xfrm>
            <a:custGeom>
              <a:avLst/>
              <a:gdLst>
                <a:gd name="connsiteX0" fmla="*/ 42863 w 47625"/>
                <a:gd name="connsiteY0" fmla="*/ 0 h 123825"/>
                <a:gd name="connsiteX1" fmla="*/ 9525 w 47625"/>
                <a:gd name="connsiteY1" fmla="*/ 0 h 123825"/>
                <a:gd name="connsiteX2" fmla="*/ 0 w 47625"/>
                <a:gd name="connsiteY2" fmla="*/ 9525 h 123825"/>
                <a:gd name="connsiteX3" fmla="*/ 0 w 47625"/>
                <a:gd name="connsiteY3" fmla="*/ 114300 h 123825"/>
                <a:gd name="connsiteX4" fmla="*/ 9525 w 47625"/>
                <a:gd name="connsiteY4" fmla="*/ 123825 h 123825"/>
                <a:gd name="connsiteX5" fmla="*/ 42863 w 47625"/>
                <a:gd name="connsiteY5" fmla="*/ 123825 h 123825"/>
                <a:gd name="connsiteX6" fmla="*/ 52388 w 47625"/>
                <a:gd name="connsiteY6" fmla="*/ 114300 h 123825"/>
                <a:gd name="connsiteX7" fmla="*/ 52388 w 47625"/>
                <a:gd name="connsiteY7" fmla="*/ 9525 h 123825"/>
                <a:gd name="connsiteX8" fmla="*/ 42863 w 47625"/>
                <a:gd name="connsiteY8" fmla="*/ 0 h 123825"/>
                <a:gd name="connsiteX9" fmla="*/ 9525 w 47625"/>
                <a:gd name="connsiteY9" fmla="*/ 38100 h 123825"/>
                <a:gd name="connsiteX10" fmla="*/ 42863 w 47625"/>
                <a:gd name="connsiteY10" fmla="*/ 38100 h 123825"/>
                <a:gd name="connsiteX11" fmla="*/ 42863 w 47625"/>
                <a:gd name="connsiteY11" fmla="*/ 57150 h 123825"/>
                <a:gd name="connsiteX12" fmla="*/ 9525 w 47625"/>
                <a:gd name="connsiteY12" fmla="*/ 57150 h 123825"/>
                <a:gd name="connsiteX13" fmla="*/ 9525 w 47625"/>
                <a:gd name="connsiteY13" fmla="*/ 38100 h 123825"/>
                <a:gd name="connsiteX14" fmla="*/ 9525 w 47625"/>
                <a:gd name="connsiteY14" fmla="*/ 66675 h 123825"/>
                <a:gd name="connsiteX15" fmla="*/ 42863 w 47625"/>
                <a:gd name="connsiteY15" fmla="*/ 66675 h 123825"/>
                <a:gd name="connsiteX16" fmla="*/ 42863 w 47625"/>
                <a:gd name="connsiteY16" fmla="*/ 85725 h 123825"/>
                <a:gd name="connsiteX17" fmla="*/ 9525 w 47625"/>
                <a:gd name="connsiteY17" fmla="*/ 85725 h 123825"/>
                <a:gd name="connsiteX18" fmla="*/ 9525 w 47625"/>
                <a:gd name="connsiteY18" fmla="*/ 66675 h 123825"/>
                <a:gd name="connsiteX19" fmla="*/ 42863 w 47625"/>
                <a:gd name="connsiteY19" fmla="*/ 9525 h 123825"/>
                <a:gd name="connsiteX20" fmla="*/ 42863 w 47625"/>
                <a:gd name="connsiteY20" fmla="*/ 28575 h 123825"/>
                <a:gd name="connsiteX21" fmla="*/ 9525 w 47625"/>
                <a:gd name="connsiteY21" fmla="*/ 28575 h 123825"/>
                <a:gd name="connsiteX22" fmla="*/ 9525 w 47625"/>
                <a:gd name="connsiteY22" fmla="*/ 9525 h 123825"/>
                <a:gd name="connsiteX23" fmla="*/ 42863 w 47625"/>
                <a:gd name="connsiteY23" fmla="*/ 9525 h 123825"/>
                <a:gd name="connsiteX24" fmla="*/ 9525 w 47625"/>
                <a:gd name="connsiteY24" fmla="*/ 114300 h 123825"/>
                <a:gd name="connsiteX25" fmla="*/ 9525 w 47625"/>
                <a:gd name="connsiteY25" fmla="*/ 95250 h 123825"/>
                <a:gd name="connsiteX26" fmla="*/ 42863 w 47625"/>
                <a:gd name="connsiteY26" fmla="*/ 95250 h 123825"/>
                <a:gd name="connsiteX27" fmla="*/ 42863 w 47625"/>
                <a:gd name="connsiteY27" fmla="*/ 114300 h 123825"/>
                <a:gd name="connsiteX28" fmla="*/ 9525 w 47625"/>
                <a:gd name="connsiteY28" fmla="*/ 114300 h 123825"/>
                <a:gd name="connsiteX29" fmla="*/ 42863 w 47625"/>
                <a:gd name="connsiteY29" fmla="*/ 119063 h 123825"/>
                <a:gd name="connsiteX30" fmla="*/ 42863 w 47625"/>
                <a:gd name="connsiteY30" fmla="*/ 114300 h 123825"/>
                <a:gd name="connsiteX31" fmla="*/ 42863 w 47625"/>
                <a:gd name="connsiteY31" fmla="*/ 114300 h 123825"/>
                <a:gd name="connsiteX32" fmla="*/ 42863 w 47625"/>
                <a:gd name="connsiteY32" fmla="*/ 1190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625" h="123825">
                  <a:moveTo>
                    <a:pt x="42863" y="0"/>
                  </a:moveTo>
                  <a:lnTo>
                    <a:pt x="9525" y="0"/>
                  </a:lnTo>
                  <a:cubicBezTo>
                    <a:pt x="3810" y="0"/>
                    <a:pt x="0" y="3810"/>
                    <a:pt x="0" y="9525"/>
                  </a:cubicBezTo>
                  <a:lnTo>
                    <a:pt x="0" y="114300"/>
                  </a:lnTo>
                  <a:cubicBezTo>
                    <a:pt x="0" y="120015"/>
                    <a:pt x="3810" y="123825"/>
                    <a:pt x="9525" y="123825"/>
                  </a:cubicBezTo>
                  <a:lnTo>
                    <a:pt x="42863" y="123825"/>
                  </a:lnTo>
                  <a:cubicBezTo>
                    <a:pt x="48578" y="123825"/>
                    <a:pt x="52388" y="120015"/>
                    <a:pt x="52388" y="114300"/>
                  </a:cubicBezTo>
                  <a:lnTo>
                    <a:pt x="52388" y="9525"/>
                  </a:lnTo>
                  <a:cubicBezTo>
                    <a:pt x="52388" y="3810"/>
                    <a:pt x="48578" y="0"/>
                    <a:pt x="42863" y="0"/>
                  </a:cubicBezTo>
                  <a:close/>
                  <a:moveTo>
                    <a:pt x="9525" y="38100"/>
                  </a:moveTo>
                  <a:lnTo>
                    <a:pt x="42863" y="38100"/>
                  </a:lnTo>
                  <a:lnTo>
                    <a:pt x="42863" y="57150"/>
                  </a:lnTo>
                  <a:lnTo>
                    <a:pt x="9525" y="57150"/>
                  </a:lnTo>
                  <a:lnTo>
                    <a:pt x="9525" y="38100"/>
                  </a:lnTo>
                  <a:close/>
                  <a:moveTo>
                    <a:pt x="9525" y="66675"/>
                  </a:moveTo>
                  <a:lnTo>
                    <a:pt x="42863" y="66675"/>
                  </a:lnTo>
                  <a:lnTo>
                    <a:pt x="42863" y="85725"/>
                  </a:lnTo>
                  <a:lnTo>
                    <a:pt x="9525" y="85725"/>
                  </a:lnTo>
                  <a:lnTo>
                    <a:pt x="9525" y="66675"/>
                  </a:lnTo>
                  <a:close/>
                  <a:moveTo>
                    <a:pt x="42863" y="9525"/>
                  </a:moveTo>
                  <a:lnTo>
                    <a:pt x="42863" y="28575"/>
                  </a:lnTo>
                  <a:lnTo>
                    <a:pt x="9525" y="28575"/>
                  </a:lnTo>
                  <a:lnTo>
                    <a:pt x="9525" y="9525"/>
                  </a:lnTo>
                  <a:lnTo>
                    <a:pt x="42863" y="9525"/>
                  </a:lnTo>
                  <a:close/>
                  <a:moveTo>
                    <a:pt x="9525" y="114300"/>
                  </a:moveTo>
                  <a:lnTo>
                    <a:pt x="9525" y="95250"/>
                  </a:lnTo>
                  <a:lnTo>
                    <a:pt x="42863" y="95250"/>
                  </a:lnTo>
                  <a:lnTo>
                    <a:pt x="42863" y="114300"/>
                  </a:lnTo>
                  <a:lnTo>
                    <a:pt x="9525" y="114300"/>
                  </a:lnTo>
                  <a:close/>
                  <a:moveTo>
                    <a:pt x="42863" y="119063"/>
                  </a:moveTo>
                  <a:lnTo>
                    <a:pt x="42863" y="114300"/>
                  </a:lnTo>
                  <a:cubicBezTo>
                    <a:pt x="42863" y="114300"/>
                    <a:pt x="42863" y="114300"/>
                    <a:pt x="42863" y="114300"/>
                  </a:cubicBezTo>
                  <a:lnTo>
                    <a:pt x="42863" y="119063"/>
                  </a:lnTo>
                  <a:close/>
                </a:path>
              </a:pathLst>
            </a:custGeom>
            <a:solidFill>
              <a:srgbClr val="101010"/>
            </a:solidFill>
            <a:ln w="9525" cap="flat">
              <a:noFill/>
              <a:prstDash val="solid"/>
              <a:miter/>
            </a:ln>
          </p:spPr>
          <p:txBody>
            <a:bodyPr rtlCol="0" anchor="ctr"/>
            <a:lstStyle/>
            <a:p>
              <a:endParaRPr lang="de-DE"/>
            </a:p>
          </p:txBody>
        </p:sp>
      </p:grpSp>
      <p:grpSp>
        <p:nvGrpSpPr>
          <p:cNvPr id="5310" name="Graphic 3">
            <a:extLst>
              <a:ext uri="{FF2B5EF4-FFF2-40B4-BE49-F238E27FC236}">
                <a16:creationId xmlns:a16="http://schemas.microsoft.com/office/drawing/2014/main" id="{273CC2E7-C420-4B1C-89C1-3523F76DEEC9}"/>
              </a:ext>
              <a:ext uri="{C183D7F6-B498-43B3-948B-1728B52AA6E4}">
                <adec:decorative xmlns:adec="http://schemas.microsoft.com/office/drawing/2017/decorative" val="1"/>
              </a:ext>
            </a:extLst>
          </p:cNvPr>
          <p:cNvGrpSpPr>
            <a:grpSpLocks noChangeAspect="1"/>
          </p:cNvGrpSpPr>
          <p:nvPr/>
        </p:nvGrpSpPr>
        <p:grpSpPr>
          <a:xfrm>
            <a:off x="5729916" y="4185798"/>
            <a:ext cx="129607" cy="101255"/>
            <a:chOff x="5943600" y="3309937"/>
            <a:chExt cx="304800" cy="238125"/>
          </a:xfrm>
          <a:solidFill>
            <a:srgbClr val="101010"/>
          </a:solidFill>
        </p:grpSpPr>
        <p:sp>
          <p:nvSpPr>
            <p:cNvPr id="5311" name="Freeform: Shape 5310">
              <a:extLst>
                <a:ext uri="{FF2B5EF4-FFF2-40B4-BE49-F238E27FC236}">
                  <a16:creationId xmlns:a16="http://schemas.microsoft.com/office/drawing/2014/main" id="{6DB55890-8D69-44E9-8E7F-E65E874689F0}"/>
                </a:ext>
              </a:extLst>
            </p:cNvPr>
            <p:cNvSpPr/>
            <p:nvPr/>
          </p:nvSpPr>
          <p:spPr>
            <a:xfrm>
              <a:off x="5943600" y="3309937"/>
              <a:ext cx="238125" cy="66675"/>
            </a:xfrm>
            <a:custGeom>
              <a:avLst/>
              <a:gdLst>
                <a:gd name="connsiteX0" fmla="*/ 4763 w 238125"/>
                <a:gd name="connsiteY0" fmla="*/ 66675 h 66675"/>
                <a:gd name="connsiteX1" fmla="*/ 233363 w 238125"/>
                <a:gd name="connsiteY1" fmla="*/ 66675 h 66675"/>
                <a:gd name="connsiteX2" fmla="*/ 238125 w 238125"/>
                <a:gd name="connsiteY2" fmla="*/ 61913 h 66675"/>
                <a:gd name="connsiteX3" fmla="*/ 238125 w 238125"/>
                <a:gd name="connsiteY3" fmla="*/ 4763 h 66675"/>
                <a:gd name="connsiteX4" fmla="*/ 233363 w 238125"/>
                <a:gd name="connsiteY4" fmla="*/ 0 h 66675"/>
                <a:gd name="connsiteX5" fmla="*/ 4763 w 238125"/>
                <a:gd name="connsiteY5" fmla="*/ 0 h 66675"/>
                <a:gd name="connsiteX6" fmla="*/ 0 w 238125"/>
                <a:gd name="connsiteY6" fmla="*/ 4763 h 66675"/>
                <a:gd name="connsiteX7" fmla="*/ 0 w 238125"/>
                <a:gd name="connsiteY7" fmla="*/ 61913 h 66675"/>
                <a:gd name="connsiteX8" fmla="*/ 4763 w 238125"/>
                <a:gd name="connsiteY8" fmla="*/ 66675 h 66675"/>
                <a:gd name="connsiteX9" fmla="*/ 9525 w 238125"/>
                <a:gd name="connsiteY9" fmla="*/ 9525 h 66675"/>
                <a:gd name="connsiteX10" fmla="*/ 228600 w 238125"/>
                <a:gd name="connsiteY10" fmla="*/ 9525 h 66675"/>
                <a:gd name="connsiteX11" fmla="*/ 228600 w 238125"/>
                <a:gd name="connsiteY11" fmla="*/ 57150 h 66675"/>
                <a:gd name="connsiteX12" fmla="*/ 9525 w 238125"/>
                <a:gd name="connsiteY12" fmla="*/ 57150 h 66675"/>
                <a:gd name="connsiteX13" fmla="*/ 9525 w 238125"/>
                <a:gd name="connsiteY13"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66675">
                  <a:moveTo>
                    <a:pt x="4763" y="66675"/>
                  </a:moveTo>
                  <a:lnTo>
                    <a:pt x="233363" y="66675"/>
                  </a:lnTo>
                  <a:cubicBezTo>
                    <a:pt x="236220" y="66675"/>
                    <a:pt x="238125" y="64770"/>
                    <a:pt x="238125" y="61913"/>
                  </a:cubicBezTo>
                  <a:lnTo>
                    <a:pt x="238125" y="4763"/>
                  </a:lnTo>
                  <a:cubicBezTo>
                    <a:pt x="238125" y="1905"/>
                    <a:pt x="236220" y="0"/>
                    <a:pt x="233363" y="0"/>
                  </a:cubicBezTo>
                  <a:lnTo>
                    <a:pt x="4763" y="0"/>
                  </a:lnTo>
                  <a:cubicBezTo>
                    <a:pt x="1905" y="0"/>
                    <a:pt x="0" y="1905"/>
                    <a:pt x="0" y="4763"/>
                  </a:cubicBezTo>
                  <a:lnTo>
                    <a:pt x="0" y="61913"/>
                  </a:lnTo>
                  <a:cubicBezTo>
                    <a:pt x="0" y="64770"/>
                    <a:pt x="1905" y="66675"/>
                    <a:pt x="4763" y="66675"/>
                  </a:cubicBezTo>
                  <a:close/>
                  <a:moveTo>
                    <a:pt x="9525" y="9525"/>
                  </a:moveTo>
                  <a:lnTo>
                    <a:pt x="228600" y="9525"/>
                  </a:lnTo>
                  <a:lnTo>
                    <a:pt x="228600" y="57150"/>
                  </a:lnTo>
                  <a:lnTo>
                    <a:pt x="9525" y="57150"/>
                  </a:lnTo>
                  <a:lnTo>
                    <a:pt x="9525" y="9525"/>
                  </a:lnTo>
                  <a:close/>
                </a:path>
              </a:pathLst>
            </a:custGeom>
            <a:solidFill>
              <a:srgbClr val="101010"/>
            </a:solidFill>
            <a:ln w="9525" cap="flat">
              <a:noFill/>
              <a:prstDash val="solid"/>
              <a:miter/>
            </a:ln>
          </p:spPr>
          <p:txBody>
            <a:bodyPr rtlCol="0" anchor="ctr"/>
            <a:lstStyle/>
            <a:p>
              <a:endParaRPr lang="de-DE"/>
            </a:p>
          </p:txBody>
        </p:sp>
        <p:sp>
          <p:nvSpPr>
            <p:cNvPr id="5312" name="Freeform: Shape 5311">
              <a:extLst>
                <a:ext uri="{FF2B5EF4-FFF2-40B4-BE49-F238E27FC236}">
                  <a16:creationId xmlns:a16="http://schemas.microsoft.com/office/drawing/2014/main" id="{7FA3C84D-5F72-4C41-9F47-6343A07C9656}"/>
                </a:ext>
              </a:extLst>
            </p:cNvPr>
            <p:cNvSpPr/>
            <p:nvPr/>
          </p:nvSpPr>
          <p:spPr>
            <a:xfrm>
              <a:off x="5972175" y="3395662"/>
              <a:ext cx="238125" cy="66675"/>
            </a:xfrm>
            <a:custGeom>
              <a:avLst/>
              <a:gdLst>
                <a:gd name="connsiteX0" fmla="*/ 233363 w 238125"/>
                <a:gd name="connsiteY0" fmla="*/ 0 h 66675"/>
                <a:gd name="connsiteX1" fmla="*/ 4763 w 238125"/>
                <a:gd name="connsiteY1" fmla="*/ 0 h 66675"/>
                <a:gd name="connsiteX2" fmla="*/ 0 w 238125"/>
                <a:gd name="connsiteY2" fmla="*/ 4763 h 66675"/>
                <a:gd name="connsiteX3" fmla="*/ 0 w 238125"/>
                <a:gd name="connsiteY3" fmla="*/ 61913 h 66675"/>
                <a:gd name="connsiteX4" fmla="*/ 4763 w 238125"/>
                <a:gd name="connsiteY4" fmla="*/ 66675 h 66675"/>
                <a:gd name="connsiteX5" fmla="*/ 233363 w 238125"/>
                <a:gd name="connsiteY5" fmla="*/ 66675 h 66675"/>
                <a:gd name="connsiteX6" fmla="*/ 238125 w 238125"/>
                <a:gd name="connsiteY6" fmla="*/ 61913 h 66675"/>
                <a:gd name="connsiteX7" fmla="*/ 238125 w 238125"/>
                <a:gd name="connsiteY7" fmla="*/ 4763 h 66675"/>
                <a:gd name="connsiteX8" fmla="*/ 233363 w 238125"/>
                <a:gd name="connsiteY8" fmla="*/ 0 h 66675"/>
                <a:gd name="connsiteX9" fmla="*/ 228600 w 238125"/>
                <a:gd name="connsiteY9" fmla="*/ 57150 h 66675"/>
                <a:gd name="connsiteX10" fmla="*/ 9525 w 238125"/>
                <a:gd name="connsiteY10" fmla="*/ 57150 h 66675"/>
                <a:gd name="connsiteX11" fmla="*/ 9525 w 238125"/>
                <a:gd name="connsiteY11" fmla="*/ 9525 h 66675"/>
                <a:gd name="connsiteX12" fmla="*/ 228600 w 238125"/>
                <a:gd name="connsiteY12" fmla="*/ 9525 h 66675"/>
                <a:gd name="connsiteX13" fmla="*/ 228600 w 238125"/>
                <a:gd name="connsiteY13" fmla="*/ 571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66675">
                  <a:moveTo>
                    <a:pt x="233363" y="0"/>
                  </a:moveTo>
                  <a:lnTo>
                    <a:pt x="4763" y="0"/>
                  </a:lnTo>
                  <a:cubicBezTo>
                    <a:pt x="1905" y="0"/>
                    <a:pt x="0" y="1905"/>
                    <a:pt x="0" y="4763"/>
                  </a:cubicBezTo>
                  <a:lnTo>
                    <a:pt x="0" y="61913"/>
                  </a:lnTo>
                  <a:cubicBezTo>
                    <a:pt x="0" y="64770"/>
                    <a:pt x="1905" y="66675"/>
                    <a:pt x="4763" y="66675"/>
                  </a:cubicBezTo>
                  <a:lnTo>
                    <a:pt x="233363" y="66675"/>
                  </a:lnTo>
                  <a:cubicBezTo>
                    <a:pt x="236220" y="66675"/>
                    <a:pt x="238125" y="64770"/>
                    <a:pt x="238125" y="61913"/>
                  </a:cubicBezTo>
                  <a:lnTo>
                    <a:pt x="238125" y="4763"/>
                  </a:lnTo>
                  <a:cubicBezTo>
                    <a:pt x="238125" y="1905"/>
                    <a:pt x="235268" y="0"/>
                    <a:pt x="233363" y="0"/>
                  </a:cubicBezTo>
                  <a:close/>
                  <a:moveTo>
                    <a:pt x="228600" y="57150"/>
                  </a:moveTo>
                  <a:lnTo>
                    <a:pt x="9525" y="57150"/>
                  </a:lnTo>
                  <a:lnTo>
                    <a:pt x="9525" y="9525"/>
                  </a:lnTo>
                  <a:lnTo>
                    <a:pt x="228600" y="9525"/>
                  </a:lnTo>
                  <a:lnTo>
                    <a:pt x="228600" y="57150"/>
                  </a:lnTo>
                  <a:close/>
                </a:path>
              </a:pathLst>
            </a:custGeom>
            <a:solidFill>
              <a:srgbClr val="101010"/>
            </a:solidFill>
            <a:ln w="9525" cap="flat">
              <a:noFill/>
              <a:prstDash val="solid"/>
              <a:miter/>
            </a:ln>
          </p:spPr>
          <p:txBody>
            <a:bodyPr rtlCol="0" anchor="ctr"/>
            <a:lstStyle/>
            <a:p>
              <a:endParaRPr lang="de-DE"/>
            </a:p>
          </p:txBody>
        </p:sp>
        <p:sp>
          <p:nvSpPr>
            <p:cNvPr id="5313" name="Freeform: Shape 5312">
              <a:extLst>
                <a:ext uri="{FF2B5EF4-FFF2-40B4-BE49-F238E27FC236}">
                  <a16:creationId xmlns:a16="http://schemas.microsoft.com/office/drawing/2014/main" id="{82AE1B0F-AE47-441C-A1C0-B778C63DB24E}"/>
                </a:ext>
              </a:extLst>
            </p:cNvPr>
            <p:cNvSpPr/>
            <p:nvPr/>
          </p:nvSpPr>
          <p:spPr>
            <a:xfrm>
              <a:off x="5943600" y="3481387"/>
              <a:ext cx="238125" cy="66675"/>
            </a:xfrm>
            <a:custGeom>
              <a:avLst/>
              <a:gdLst>
                <a:gd name="connsiteX0" fmla="*/ 233363 w 238125"/>
                <a:gd name="connsiteY0" fmla="*/ 0 h 66675"/>
                <a:gd name="connsiteX1" fmla="*/ 4763 w 238125"/>
                <a:gd name="connsiteY1" fmla="*/ 0 h 66675"/>
                <a:gd name="connsiteX2" fmla="*/ 0 w 238125"/>
                <a:gd name="connsiteY2" fmla="*/ 4763 h 66675"/>
                <a:gd name="connsiteX3" fmla="*/ 0 w 238125"/>
                <a:gd name="connsiteY3" fmla="*/ 61913 h 66675"/>
                <a:gd name="connsiteX4" fmla="*/ 4763 w 238125"/>
                <a:gd name="connsiteY4" fmla="*/ 66675 h 66675"/>
                <a:gd name="connsiteX5" fmla="*/ 233363 w 238125"/>
                <a:gd name="connsiteY5" fmla="*/ 66675 h 66675"/>
                <a:gd name="connsiteX6" fmla="*/ 238125 w 238125"/>
                <a:gd name="connsiteY6" fmla="*/ 61913 h 66675"/>
                <a:gd name="connsiteX7" fmla="*/ 238125 w 238125"/>
                <a:gd name="connsiteY7" fmla="*/ 4763 h 66675"/>
                <a:gd name="connsiteX8" fmla="*/ 233363 w 238125"/>
                <a:gd name="connsiteY8" fmla="*/ 0 h 66675"/>
                <a:gd name="connsiteX9" fmla="*/ 228600 w 238125"/>
                <a:gd name="connsiteY9" fmla="*/ 57150 h 66675"/>
                <a:gd name="connsiteX10" fmla="*/ 9525 w 238125"/>
                <a:gd name="connsiteY10" fmla="*/ 57150 h 66675"/>
                <a:gd name="connsiteX11" fmla="*/ 9525 w 238125"/>
                <a:gd name="connsiteY11" fmla="*/ 9525 h 66675"/>
                <a:gd name="connsiteX12" fmla="*/ 228600 w 238125"/>
                <a:gd name="connsiteY12" fmla="*/ 9525 h 66675"/>
                <a:gd name="connsiteX13" fmla="*/ 228600 w 238125"/>
                <a:gd name="connsiteY13" fmla="*/ 571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66675">
                  <a:moveTo>
                    <a:pt x="233363" y="0"/>
                  </a:moveTo>
                  <a:lnTo>
                    <a:pt x="4763" y="0"/>
                  </a:lnTo>
                  <a:cubicBezTo>
                    <a:pt x="1905" y="0"/>
                    <a:pt x="0" y="1905"/>
                    <a:pt x="0" y="4763"/>
                  </a:cubicBezTo>
                  <a:lnTo>
                    <a:pt x="0" y="61913"/>
                  </a:lnTo>
                  <a:cubicBezTo>
                    <a:pt x="0" y="64770"/>
                    <a:pt x="1905" y="66675"/>
                    <a:pt x="4763" y="66675"/>
                  </a:cubicBezTo>
                  <a:lnTo>
                    <a:pt x="233363" y="66675"/>
                  </a:lnTo>
                  <a:cubicBezTo>
                    <a:pt x="236220" y="66675"/>
                    <a:pt x="238125" y="64770"/>
                    <a:pt x="238125" y="61913"/>
                  </a:cubicBezTo>
                  <a:lnTo>
                    <a:pt x="238125" y="4763"/>
                  </a:lnTo>
                  <a:cubicBezTo>
                    <a:pt x="238125" y="1905"/>
                    <a:pt x="236220" y="0"/>
                    <a:pt x="233363" y="0"/>
                  </a:cubicBezTo>
                  <a:close/>
                  <a:moveTo>
                    <a:pt x="228600" y="57150"/>
                  </a:moveTo>
                  <a:lnTo>
                    <a:pt x="9525" y="57150"/>
                  </a:lnTo>
                  <a:lnTo>
                    <a:pt x="9525" y="9525"/>
                  </a:lnTo>
                  <a:lnTo>
                    <a:pt x="228600" y="9525"/>
                  </a:lnTo>
                  <a:lnTo>
                    <a:pt x="228600" y="57150"/>
                  </a:lnTo>
                  <a:close/>
                </a:path>
              </a:pathLst>
            </a:custGeom>
            <a:solidFill>
              <a:srgbClr val="101010"/>
            </a:solidFill>
            <a:ln w="9525" cap="flat">
              <a:noFill/>
              <a:prstDash val="solid"/>
              <a:miter/>
            </a:ln>
          </p:spPr>
          <p:txBody>
            <a:bodyPr rtlCol="0" anchor="ctr"/>
            <a:lstStyle/>
            <a:p>
              <a:endParaRPr lang="de-DE"/>
            </a:p>
          </p:txBody>
        </p:sp>
        <p:sp>
          <p:nvSpPr>
            <p:cNvPr id="5314" name="Freeform: Shape 5313">
              <a:extLst>
                <a:ext uri="{FF2B5EF4-FFF2-40B4-BE49-F238E27FC236}">
                  <a16:creationId xmlns:a16="http://schemas.microsoft.com/office/drawing/2014/main" id="{17179534-1774-4A50-9961-16BCA340F213}"/>
                </a:ext>
              </a:extLst>
            </p:cNvPr>
            <p:cNvSpPr/>
            <p:nvPr/>
          </p:nvSpPr>
          <p:spPr>
            <a:xfrm>
              <a:off x="6187440" y="3318836"/>
              <a:ext cx="57150" cy="114300"/>
            </a:xfrm>
            <a:custGeom>
              <a:avLst/>
              <a:gdLst>
                <a:gd name="connsiteX0" fmla="*/ 18097 w 57150"/>
                <a:gd name="connsiteY0" fmla="*/ 16818 h 114300"/>
                <a:gd name="connsiteX1" fmla="*/ 28575 w 57150"/>
                <a:gd name="connsiteY1" fmla="*/ 8246 h 114300"/>
                <a:gd name="connsiteX2" fmla="*/ 29528 w 57150"/>
                <a:gd name="connsiteY2" fmla="*/ 1578 h 114300"/>
                <a:gd name="connsiteX3" fmla="*/ 22860 w 57150"/>
                <a:gd name="connsiteY3" fmla="*/ 626 h 114300"/>
                <a:gd name="connsiteX4" fmla="*/ 1905 w 57150"/>
                <a:gd name="connsiteY4" fmla="*/ 16818 h 114300"/>
                <a:gd name="connsiteX5" fmla="*/ 0 w 57150"/>
                <a:gd name="connsiteY5" fmla="*/ 19676 h 114300"/>
                <a:gd name="connsiteX6" fmla="*/ 953 w 57150"/>
                <a:gd name="connsiteY6" fmla="*/ 23486 h 114300"/>
                <a:gd name="connsiteX7" fmla="*/ 18097 w 57150"/>
                <a:gd name="connsiteY7" fmla="*/ 42536 h 114300"/>
                <a:gd name="connsiteX8" fmla="*/ 21907 w 57150"/>
                <a:gd name="connsiteY8" fmla="*/ 44441 h 114300"/>
                <a:gd name="connsiteX9" fmla="*/ 24765 w 57150"/>
                <a:gd name="connsiteY9" fmla="*/ 43488 h 114300"/>
                <a:gd name="connsiteX10" fmla="*/ 24765 w 57150"/>
                <a:gd name="connsiteY10" fmla="*/ 36821 h 114300"/>
                <a:gd name="connsiteX11" fmla="*/ 15240 w 57150"/>
                <a:gd name="connsiteY11" fmla="*/ 26343 h 114300"/>
                <a:gd name="connsiteX12" fmla="*/ 52388 w 57150"/>
                <a:gd name="connsiteY12" fmla="*/ 68253 h 114300"/>
                <a:gd name="connsiteX13" fmla="*/ 28575 w 57150"/>
                <a:gd name="connsiteY13" fmla="*/ 106353 h 114300"/>
                <a:gd name="connsiteX14" fmla="*/ 26670 w 57150"/>
                <a:gd name="connsiteY14" fmla="*/ 113021 h 114300"/>
                <a:gd name="connsiteX15" fmla="*/ 31432 w 57150"/>
                <a:gd name="connsiteY15" fmla="*/ 115878 h 114300"/>
                <a:gd name="connsiteX16" fmla="*/ 33338 w 57150"/>
                <a:gd name="connsiteY16" fmla="*/ 115878 h 114300"/>
                <a:gd name="connsiteX17" fmla="*/ 62865 w 57150"/>
                <a:gd name="connsiteY17" fmla="*/ 69206 h 114300"/>
                <a:gd name="connsiteX18" fmla="*/ 18097 w 57150"/>
                <a:gd name="connsiteY18" fmla="*/ 1681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114300">
                  <a:moveTo>
                    <a:pt x="18097" y="16818"/>
                  </a:moveTo>
                  <a:lnTo>
                    <a:pt x="28575" y="8246"/>
                  </a:lnTo>
                  <a:cubicBezTo>
                    <a:pt x="30480" y="6341"/>
                    <a:pt x="31432" y="3483"/>
                    <a:pt x="29528" y="1578"/>
                  </a:cubicBezTo>
                  <a:cubicBezTo>
                    <a:pt x="27622" y="-327"/>
                    <a:pt x="24765" y="-327"/>
                    <a:pt x="22860" y="626"/>
                  </a:cubicBezTo>
                  <a:lnTo>
                    <a:pt x="1905" y="16818"/>
                  </a:lnTo>
                  <a:cubicBezTo>
                    <a:pt x="953" y="17771"/>
                    <a:pt x="0" y="18723"/>
                    <a:pt x="0" y="19676"/>
                  </a:cubicBezTo>
                  <a:cubicBezTo>
                    <a:pt x="0" y="20628"/>
                    <a:pt x="0" y="22533"/>
                    <a:pt x="953" y="23486"/>
                  </a:cubicBezTo>
                  <a:lnTo>
                    <a:pt x="18097" y="42536"/>
                  </a:lnTo>
                  <a:cubicBezTo>
                    <a:pt x="19050" y="43488"/>
                    <a:pt x="20003" y="44441"/>
                    <a:pt x="21907" y="44441"/>
                  </a:cubicBezTo>
                  <a:cubicBezTo>
                    <a:pt x="22860" y="44441"/>
                    <a:pt x="23813" y="44441"/>
                    <a:pt x="24765" y="43488"/>
                  </a:cubicBezTo>
                  <a:cubicBezTo>
                    <a:pt x="26670" y="41583"/>
                    <a:pt x="26670" y="38726"/>
                    <a:pt x="24765" y="36821"/>
                  </a:cubicBezTo>
                  <a:lnTo>
                    <a:pt x="15240" y="26343"/>
                  </a:lnTo>
                  <a:cubicBezTo>
                    <a:pt x="36195" y="29201"/>
                    <a:pt x="52388" y="46346"/>
                    <a:pt x="52388" y="68253"/>
                  </a:cubicBezTo>
                  <a:cubicBezTo>
                    <a:pt x="52388" y="84446"/>
                    <a:pt x="42863" y="99686"/>
                    <a:pt x="28575" y="106353"/>
                  </a:cubicBezTo>
                  <a:cubicBezTo>
                    <a:pt x="26670" y="107306"/>
                    <a:pt x="24765" y="110163"/>
                    <a:pt x="26670" y="113021"/>
                  </a:cubicBezTo>
                  <a:cubicBezTo>
                    <a:pt x="27622" y="114926"/>
                    <a:pt x="29528" y="115878"/>
                    <a:pt x="31432" y="115878"/>
                  </a:cubicBezTo>
                  <a:cubicBezTo>
                    <a:pt x="32385" y="115878"/>
                    <a:pt x="32385" y="115878"/>
                    <a:pt x="33338" y="115878"/>
                  </a:cubicBezTo>
                  <a:cubicBezTo>
                    <a:pt x="51435" y="107306"/>
                    <a:pt x="62865" y="89208"/>
                    <a:pt x="62865" y="69206"/>
                  </a:cubicBezTo>
                  <a:cubicBezTo>
                    <a:pt x="62865" y="42536"/>
                    <a:pt x="43815" y="20628"/>
                    <a:pt x="18097" y="16818"/>
                  </a:cubicBezTo>
                  <a:close/>
                </a:path>
              </a:pathLst>
            </a:custGeom>
            <a:solidFill>
              <a:srgbClr val="101010"/>
            </a:solidFill>
            <a:ln w="9525" cap="flat">
              <a:noFill/>
              <a:prstDash val="solid"/>
              <a:miter/>
            </a:ln>
          </p:spPr>
          <p:txBody>
            <a:bodyPr rtlCol="0" anchor="ctr"/>
            <a:lstStyle/>
            <a:p>
              <a:endParaRPr lang="de-DE"/>
            </a:p>
          </p:txBody>
        </p:sp>
      </p:grpSp>
      <p:grpSp>
        <p:nvGrpSpPr>
          <p:cNvPr id="5315" name="Graphic 3">
            <a:extLst>
              <a:ext uri="{FF2B5EF4-FFF2-40B4-BE49-F238E27FC236}">
                <a16:creationId xmlns:a16="http://schemas.microsoft.com/office/drawing/2014/main" id="{3981CEC1-CC9A-45AA-9B26-913511901354}"/>
              </a:ext>
              <a:ext uri="{C183D7F6-B498-43B3-948B-1728B52AA6E4}">
                <adec:decorative xmlns:adec="http://schemas.microsoft.com/office/drawing/2017/decorative" val="1"/>
              </a:ext>
            </a:extLst>
          </p:cNvPr>
          <p:cNvGrpSpPr>
            <a:grpSpLocks noChangeAspect="1"/>
          </p:cNvGrpSpPr>
          <p:nvPr/>
        </p:nvGrpSpPr>
        <p:grpSpPr>
          <a:xfrm>
            <a:off x="9650908" y="1758448"/>
            <a:ext cx="135333" cy="107469"/>
            <a:chOff x="5934075" y="3296126"/>
            <a:chExt cx="323850" cy="257175"/>
          </a:xfrm>
          <a:solidFill>
            <a:srgbClr val="231F20"/>
          </a:solidFill>
        </p:grpSpPr>
        <p:sp>
          <p:nvSpPr>
            <p:cNvPr id="5316" name="Freeform: Shape 5315">
              <a:extLst>
                <a:ext uri="{FF2B5EF4-FFF2-40B4-BE49-F238E27FC236}">
                  <a16:creationId xmlns:a16="http://schemas.microsoft.com/office/drawing/2014/main" id="{FC7C5DF8-4318-4C7D-9282-A2C626BED080}"/>
                </a:ext>
              </a:extLst>
            </p:cNvPr>
            <p:cNvSpPr/>
            <p:nvPr/>
          </p:nvSpPr>
          <p:spPr>
            <a:xfrm>
              <a:off x="6120765" y="3381851"/>
              <a:ext cx="133350" cy="85725"/>
            </a:xfrm>
            <a:custGeom>
              <a:avLst/>
              <a:gdLst>
                <a:gd name="connsiteX0" fmla="*/ 136208 w 133350"/>
                <a:gd name="connsiteY0" fmla="*/ 50006 h 85725"/>
                <a:gd name="connsiteX1" fmla="*/ 137160 w 133350"/>
                <a:gd name="connsiteY1" fmla="*/ 49054 h 85725"/>
                <a:gd name="connsiteX2" fmla="*/ 137160 w 133350"/>
                <a:gd name="connsiteY2" fmla="*/ 45244 h 85725"/>
                <a:gd name="connsiteX3" fmla="*/ 136208 w 133350"/>
                <a:gd name="connsiteY3" fmla="*/ 43339 h 85725"/>
                <a:gd name="connsiteX4" fmla="*/ 136208 w 133350"/>
                <a:gd name="connsiteY4" fmla="*/ 43339 h 85725"/>
                <a:gd name="connsiteX5" fmla="*/ 136208 w 133350"/>
                <a:gd name="connsiteY5" fmla="*/ 43339 h 85725"/>
                <a:gd name="connsiteX6" fmla="*/ 136208 w 133350"/>
                <a:gd name="connsiteY6" fmla="*/ 43339 h 85725"/>
                <a:gd name="connsiteX7" fmla="*/ 94298 w 133350"/>
                <a:gd name="connsiteY7" fmla="*/ 1429 h 85725"/>
                <a:gd name="connsiteX8" fmla="*/ 87630 w 133350"/>
                <a:gd name="connsiteY8" fmla="*/ 1429 h 85725"/>
                <a:gd name="connsiteX9" fmla="*/ 87630 w 133350"/>
                <a:gd name="connsiteY9" fmla="*/ 8096 h 85725"/>
                <a:gd name="connsiteX10" fmla="*/ 120967 w 133350"/>
                <a:gd name="connsiteY10" fmla="*/ 42386 h 85725"/>
                <a:gd name="connsiteX11" fmla="*/ 4763 w 133350"/>
                <a:gd name="connsiteY11" fmla="*/ 42386 h 85725"/>
                <a:gd name="connsiteX12" fmla="*/ 0 w 133350"/>
                <a:gd name="connsiteY12" fmla="*/ 47149 h 85725"/>
                <a:gd name="connsiteX13" fmla="*/ 4763 w 133350"/>
                <a:gd name="connsiteY13" fmla="*/ 51911 h 85725"/>
                <a:gd name="connsiteX14" fmla="*/ 120967 w 133350"/>
                <a:gd name="connsiteY14" fmla="*/ 51911 h 85725"/>
                <a:gd name="connsiteX15" fmla="*/ 87630 w 133350"/>
                <a:gd name="connsiteY15" fmla="*/ 86201 h 85725"/>
                <a:gd name="connsiteX16" fmla="*/ 87630 w 133350"/>
                <a:gd name="connsiteY16" fmla="*/ 92869 h 85725"/>
                <a:gd name="connsiteX17" fmla="*/ 91440 w 133350"/>
                <a:gd name="connsiteY17" fmla="*/ 93821 h 85725"/>
                <a:gd name="connsiteX18" fmla="*/ 95250 w 133350"/>
                <a:gd name="connsiteY18" fmla="*/ 92869 h 85725"/>
                <a:gd name="connsiteX19" fmla="*/ 136208 w 133350"/>
                <a:gd name="connsiteY19" fmla="*/ 50006 h 85725"/>
                <a:gd name="connsiteX20" fmla="*/ 136208 w 133350"/>
                <a:gd name="connsiteY20" fmla="*/ 50006 h 85725"/>
                <a:gd name="connsiteX21" fmla="*/ 136208 w 133350"/>
                <a:gd name="connsiteY21" fmla="*/ 50006 h 85725"/>
                <a:gd name="connsiteX22" fmla="*/ 136208 w 133350"/>
                <a:gd name="connsiteY22" fmla="*/ 5000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136208" y="50006"/>
                  </a:moveTo>
                  <a:cubicBezTo>
                    <a:pt x="136208" y="50006"/>
                    <a:pt x="137160" y="49054"/>
                    <a:pt x="137160" y="49054"/>
                  </a:cubicBezTo>
                  <a:cubicBezTo>
                    <a:pt x="138112" y="48101"/>
                    <a:pt x="138112" y="46196"/>
                    <a:pt x="137160" y="45244"/>
                  </a:cubicBezTo>
                  <a:cubicBezTo>
                    <a:pt x="137160" y="44291"/>
                    <a:pt x="136208" y="44291"/>
                    <a:pt x="136208" y="43339"/>
                  </a:cubicBezTo>
                  <a:cubicBezTo>
                    <a:pt x="136208" y="43339"/>
                    <a:pt x="136208" y="43339"/>
                    <a:pt x="136208" y="43339"/>
                  </a:cubicBezTo>
                  <a:lnTo>
                    <a:pt x="136208" y="43339"/>
                  </a:lnTo>
                  <a:cubicBezTo>
                    <a:pt x="136208" y="43339"/>
                    <a:pt x="136208" y="43339"/>
                    <a:pt x="136208" y="43339"/>
                  </a:cubicBezTo>
                  <a:lnTo>
                    <a:pt x="94298" y="1429"/>
                  </a:lnTo>
                  <a:cubicBezTo>
                    <a:pt x="92392" y="-476"/>
                    <a:pt x="89535" y="-476"/>
                    <a:pt x="87630" y="1429"/>
                  </a:cubicBezTo>
                  <a:cubicBezTo>
                    <a:pt x="85725" y="3334"/>
                    <a:pt x="85725" y="6191"/>
                    <a:pt x="87630" y="8096"/>
                  </a:cubicBezTo>
                  <a:lnTo>
                    <a:pt x="120967" y="42386"/>
                  </a:lnTo>
                  <a:lnTo>
                    <a:pt x="4763" y="42386"/>
                  </a:lnTo>
                  <a:cubicBezTo>
                    <a:pt x="1905" y="42386"/>
                    <a:pt x="0" y="44291"/>
                    <a:pt x="0" y="47149"/>
                  </a:cubicBezTo>
                  <a:cubicBezTo>
                    <a:pt x="0" y="50006"/>
                    <a:pt x="1905" y="51911"/>
                    <a:pt x="4763" y="51911"/>
                  </a:cubicBezTo>
                  <a:lnTo>
                    <a:pt x="120967" y="51911"/>
                  </a:lnTo>
                  <a:lnTo>
                    <a:pt x="87630" y="86201"/>
                  </a:lnTo>
                  <a:cubicBezTo>
                    <a:pt x="85725" y="88106"/>
                    <a:pt x="85725" y="90964"/>
                    <a:pt x="87630" y="92869"/>
                  </a:cubicBezTo>
                  <a:cubicBezTo>
                    <a:pt x="88582" y="93821"/>
                    <a:pt x="89535" y="93821"/>
                    <a:pt x="91440" y="93821"/>
                  </a:cubicBezTo>
                  <a:cubicBezTo>
                    <a:pt x="92392" y="93821"/>
                    <a:pt x="94298" y="93821"/>
                    <a:pt x="95250" y="92869"/>
                  </a:cubicBezTo>
                  <a:lnTo>
                    <a:pt x="136208" y="50006"/>
                  </a:lnTo>
                  <a:cubicBezTo>
                    <a:pt x="136208" y="50959"/>
                    <a:pt x="136208" y="50959"/>
                    <a:pt x="136208" y="50006"/>
                  </a:cubicBezTo>
                  <a:lnTo>
                    <a:pt x="136208" y="50006"/>
                  </a:lnTo>
                  <a:cubicBezTo>
                    <a:pt x="136208" y="50006"/>
                    <a:pt x="136208" y="50006"/>
                    <a:pt x="136208" y="50006"/>
                  </a:cubicBezTo>
                  <a:close/>
                </a:path>
              </a:pathLst>
            </a:custGeom>
            <a:solidFill>
              <a:srgbClr val="231F20"/>
            </a:solidFill>
            <a:ln w="9525" cap="flat">
              <a:noFill/>
              <a:prstDash val="solid"/>
              <a:miter/>
            </a:ln>
          </p:spPr>
          <p:txBody>
            <a:bodyPr rtlCol="0" anchor="ctr"/>
            <a:lstStyle/>
            <a:p>
              <a:endParaRPr lang="de-DE"/>
            </a:p>
          </p:txBody>
        </p:sp>
        <p:sp>
          <p:nvSpPr>
            <p:cNvPr id="5317" name="Freeform: Shape 5316">
              <a:extLst>
                <a:ext uri="{FF2B5EF4-FFF2-40B4-BE49-F238E27FC236}">
                  <a16:creationId xmlns:a16="http://schemas.microsoft.com/office/drawing/2014/main" id="{0CBA4E86-6F03-4A1B-88C1-D41BCFB4DD71}"/>
                </a:ext>
              </a:extLst>
            </p:cNvPr>
            <p:cNvSpPr/>
            <p:nvPr/>
          </p:nvSpPr>
          <p:spPr>
            <a:xfrm>
              <a:off x="5934075" y="3381851"/>
              <a:ext cx="133350" cy="85725"/>
            </a:xfrm>
            <a:custGeom>
              <a:avLst/>
              <a:gdLst>
                <a:gd name="connsiteX0" fmla="*/ 86678 w 133350"/>
                <a:gd name="connsiteY0" fmla="*/ 92869 h 85725"/>
                <a:gd name="connsiteX1" fmla="*/ 90488 w 133350"/>
                <a:gd name="connsiteY1" fmla="*/ 93821 h 85725"/>
                <a:gd name="connsiteX2" fmla="*/ 94298 w 133350"/>
                <a:gd name="connsiteY2" fmla="*/ 92869 h 85725"/>
                <a:gd name="connsiteX3" fmla="*/ 136208 w 133350"/>
                <a:gd name="connsiteY3" fmla="*/ 50959 h 85725"/>
                <a:gd name="connsiteX4" fmla="*/ 136208 w 133350"/>
                <a:gd name="connsiteY4" fmla="*/ 50959 h 85725"/>
                <a:gd name="connsiteX5" fmla="*/ 136208 w 133350"/>
                <a:gd name="connsiteY5" fmla="*/ 50959 h 85725"/>
                <a:gd name="connsiteX6" fmla="*/ 136208 w 133350"/>
                <a:gd name="connsiteY6" fmla="*/ 50959 h 85725"/>
                <a:gd name="connsiteX7" fmla="*/ 137160 w 133350"/>
                <a:gd name="connsiteY7" fmla="*/ 50006 h 85725"/>
                <a:gd name="connsiteX8" fmla="*/ 137160 w 133350"/>
                <a:gd name="connsiteY8" fmla="*/ 46196 h 85725"/>
                <a:gd name="connsiteX9" fmla="*/ 136208 w 133350"/>
                <a:gd name="connsiteY9" fmla="*/ 44291 h 85725"/>
                <a:gd name="connsiteX10" fmla="*/ 136208 w 133350"/>
                <a:gd name="connsiteY10" fmla="*/ 44291 h 85725"/>
                <a:gd name="connsiteX11" fmla="*/ 136208 w 133350"/>
                <a:gd name="connsiteY11" fmla="*/ 44291 h 85725"/>
                <a:gd name="connsiteX12" fmla="*/ 136208 w 133350"/>
                <a:gd name="connsiteY12" fmla="*/ 44291 h 85725"/>
                <a:gd name="connsiteX13" fmla="*/ 93345 w 133350"/>
                <a:gd name="connsiteY13" fmla="*/ 1429 h 85725"/>
                <a:gd name="connsiteX14" fmla="*/ 86678 w 133350"/>
                <a:gd name="connsiteY14" fmla="*/ 1429 h 85725"/>
                <a:gd name="connsiteX15" fmla="*/ 86678 w 133350"/>
                <a:gd name="connsiteY15" fmla="*/ 8096 h 85725"/>
                <a:gd name="connsiteX16" fmla="*/ 120015 w 133350"/>
                <a:gd name="connsiteY16" fmla="*/ 42386 h 85725"/>
                <a:gd name="connsiteX17" fmla="*/ 4763 w 133350"/>
                <a:gd name="connsiteY17" fmla="*/ 42386 h 85725"/>
                <a:gd name="connsiteX18" fmla="*/ 0 w 133350"/>
                <a:gd name="connsiteY18" fmla="*/ 47149 h 85725"/>
                <a:gd name="connsiteX19" fmla="*/ 4763 w 133350"/>
                <a:gd name="connsiteY19" fmla="*/ 51911 h 85725"/>
                <a:gd name="connsiteX20" fmla="*/ 120968 w 133350"/>
                <a:gd name="connsiteY20" fmla="*/ 51911 h 85725"/>
                <a:gd name="connsiteX21" fmla="*/ 87630 w 133350"/>
                <a:gd name="connsiteY21" fmla="*/ 86201 h 85725"/>
                <a:gd name="connsiteX22" fmla="*/ 86678 w 133350"/>
                <a:gd name="connsiteY22" fmla="*/ 9286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86678" y="92869"/>
                  </a:moveTo>
                  <a:cubicBezTo>
                    <a:pt x="87630" y="93821"/>
                    <a:pt x="88583" y="93821"/>
                    <a:pt x="90488" y="93821"/>
                  </a:cubicBezTo>
                  <a:cubicBezTo>
                    <a:pt x="91440" y="93821"/>
                    <a:pt x="93345" y="93821"/>
                    <a:pt x="94298" y="92869"/>
                  </a:cubicBezTo>
                  <a:lnTo>
                    <a:pt x="136208" y="50959"/>
                  </a:lnTo>
                  <a:cubicBezTo>
                    <a:pt x="136208" y="50959"/>
                    <a:pt x="136208" y="50959"/>
                    <a:pt x="136208" y="50959"/>
                  </a:cubicBezTo>
                  <a:lnTo>
                    <a:pt x="136208" y="50959"/>
                  </a:lnTo>
                  <a:cubicBezTo>
                    <a:pt x="136208" y="50959"/>
                    <a:pt x="136208" y="50959"/>
                    <a:pt x="136208" y="50959"/>
                  </a:cubicBezTo>
                  <a:cubicBezTo>
                    <a:pt x="136208" y="50959"/>
                    <a:pt x="137160" y="50006"/>
                    <a:pt x="137160" y="50006"/>
                  </a:cubicBezTo>
                  <a:cubicBezTo>
                    <a:pt x="138113" y="49054"/>
                    <a:pt x="138113" y="47149"/>
                    <a:pt x="137160" y="46196"/>
                  </a:cubicBezTo>
                  <a:cubicBezTo>
                    <a:pt x="137160" y="45244"/>
                    <a:pt x="136208" y="45244"/>
                    <a:pt x="136208" y="44291"/>
                  </a:cubicBezTo>
                  <a:cubicBezTo>
                    <a:pt x="136208" y="44291"/>
                    <a:pt x="136208" y="44291"/>
                    <a:pt x="136208" y="44291"/>
                  </a:cubicBezTo>
                  <a:lnTo>
                    <a:pt x="136208" y="44291"/>
                  </a:lnTo>
                  <a:cubicBezTo>
                    <a:pt x="136208" y="44291"/>
                    <a:pt x="136208" y="44291"/>
                    <a:pt x="136208" y="44291"/>
                  </a:cubicBezTo>
                  <a:lnTo>
                    <a:pt x="93345" y="1429"/>
                  </a:lnTo>
                  <a:cubicBezTo>
                    <a:pt x="91440" y="-476"/>
                    <a:pt x="88583" y="-476"/>
                    <a:pt x="86678" y="1429"/>
                  </a:cubicBezTo>
                  <a:cubicBezTo>
                    <a:pt x="84773" y="3334"/>
                    <a:pt x="84773" y="6191"/>
                    <a:pt x="86678" y="8096"/>
                  </a:cubicBezTo>
                  <a:lnTo>
                    <a:pt x="120015" y="42386"/>
                  </a:lnTo>
                  <a:lnTo>
                    <a:pt x="4763" y="42386"/>
                  </a:lnTo>
                  <a:cubicBezTo>
                    <a:pt x="1905" y="42386"/>
                    <a:pt x="0" y="44291"/>
                    <a:pt x="0" y="47149"/>
                  </a:cubicBezTo>
                  <a:cubicBezTo>
                    <a:pt x="0" y="50006"/>
                    <a:pt x="1905" y="51911"/>
                    <a:pt x="4763" y="51911"/>
                  </a:cubicBezTo>
                  <a:lnTo>
                    <a:pt x="120968" y="51911"/>
                  </a:lnTo>
                  <a:lnTo>
                    <a:pt x="87630" y="86201"/>
                  </a:lnTo>
                  <a:cubicBezTo>
                    <a:pt x="84773" y="88106"/>
                    <a:pt x="84773" y="90964"/>
                    <a:pt x="86678" y="92869"/>
                  </a:cubicBezTo>
                  <a:close/>
                </a:path>
              </a:pathLst>
            </a:custGeom>
            <a:solidFill>
              <a:srgbClr val="231F20"/>
            </a:solidFill>
            <a:ln w="9525" cap="flat">
              <a:noFill/>
              <a:prstDash val="solid"/>
              <a:miter/>
            </a:ln>
          </p:spPr>
          <p:txBody>
            <a:bodyPr rtlCol="0" anchor="ctr"/>
            <a:lstStyle/>
            <a:p>
              <a:endParaRPr lang="de-DE"/>
            </a:p>
          </p:txBody>
        </p:sp>
        <p:sp>
          <p:nvSpPr>
            <p:cNvPr id="5318" name="Freeform: Shape 5317">
              <a:extLst>
                <a:ext uri="{FF2B5EF4-FFF2-40B4-BE49-F238E27FC236}">
                  <a16:creationId xmlns:a16="http://schemas.microsoft.com/office/drawing/2014/main" id="{0AB08BAF-25F9-4B41-9E28-F03EBB043D02}"/>
                </a:ext>
              </a:extLst>
            </p:cNvPr>
            <p:cNvSpPr/>
            <p:nvPr/>
          </p:nvSpPr>
          <p:spPr>
            <a:xfrm>
              <a:off x="6019800" y="3296126"/>
              <a:ext cx="133350" cy="85725"/>
            </a:xfrm>
            <a:custGeom>
              <a:avLst/>
              <a:gdLst>
                <a:gd name="connsiteX0" fmla="*/ 4763 w 133350"/>
                <a:gd name="connsiteY0" fmla="*/ 50959 h 85725"/>
                <a:gd name="connsiteX1" fmla="*/ 120968 w 133350"/>
                <a:gd name="connsiteY1" fmla="*/ 50959 h 85725"/>
                <a:gd name="connsiteX2" fmla="*/ 86678 w 133350"/>
                <a:gd name="connsiteY2" fmla="*/ 85249 h 85725"/>
                <a:gd name="connsiteX3" fmla="*/ 86678 w 133350"/>
                <a:gd name="connsiteY3" fmla="*/ 91916 h 85725"/>
                <a:gd name="connsiteX4" fmla="*/ 90488 w 133350"/>
                <a:gd name="connsiteY4" fmla="*/ 92869 h 85725"/>
                <a:gd name="connsiteX5" fmla="*/ 94298 w 133350"/>
                <a:gd name="connsiteY5" fmla="*/ 91916 h 85725"/>
                <a:gd name="connsiteX6" fmla="*/ 136208 w 133350"/>
                <a:gd name="connsiteY6" fmla="*/ 50006 h 85725"/>
                <a:gd name="connsiteX7" fmla="*/ 136208 w 133350"/>
                <a:gd name="connsiteY7" fmla="*/ 50006 h 85725"/>
                <a:gd name="connsiteX8" fmla="*/ 136208 w 133350"/>
                <a:gd name="connsiteY8" fmla="*/ 50006 h 85725"/>
                <a:gd name="connsiteX9" fmla="*/ 136208 w 133350"/>
                <a:gd name="connsiteY9" fmla="*/ 50006 h 85725"/>
                <a:gd name="connsiteX10" fmla="*/ 137160 w 133350"/>
                <a:gd name="connsiteY10" fmla="*/ 49054 h 85725"/>
                <a:gd name="connsiteX11" fmla="*/ 137160 w 133350"/>
                <a:gd name="connsiteY11" fmla="*/ 45244 h 85725"/>
                <a:gd name="connsiteX12" fmla="*/ 136208 w 133350"/>
                <a:gd name="connsiteY12" fmla="*/ 43339 h 85725"/>
                <a:gd name="connsiteX13" fmla="*/ 136208 w 133350"/>
                <a:gd name="connsiteY13" fmla="*/ 43339 h 85725"/>
                <a:gd name="connsiteX14" fmla="*/ 136208 w 133350"/>
                <a:gd name="connsiteY14" fmla="*/ 43339 h 85725"/>
                <a:gd name="connsiteX15" fmla="*/ 136208 w 133350"/>
                <a:gd name="connsiteY15" fmla="*/ 43339 h 85725"/>
                <a:gd name="connsiteX16" fmla="*/ 94298 w 133350"/>
                <a:gd name="connsiteY16" fmla="*/ 1429 h 85725"/>
                <a:gd name="connsiteX17" fmla="*/ 87630 w 133350"/>
                <a:gd name="connsiteY17" fmla="*/ 1429 h 85725"/>
                <a:gd name="connsiteX18" fmla="*/ 87630 w 133350"/>
                <a:gd name="connsiteY18" fmla="*/ 8096 h 85725"/>
                <a:gd name="connsiteX19" fmla="*/ 120968 w 133350"/>
                <a:gd name="connsiteY19" fmla="*/ 42386 h 85725"/>
                <a:gd name="connsiteX20" fmla="*/ 4763 w 133350"/>
                <a:gd name="connsiteY20" fmla="*/ 42386 h 85725"/>
                <a:gd name="connsiteX21" fmla="*/ 0 w 133350"/>
                <a:gd name="connsiteY21" fmla="*/ 46196 h 85725"/>
                <a:gd name="connsiteX22" fmla="*/ 4763 w 133350"/>
                <a:gd name="connsiteY22" fmla="*/ 5095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4763" y="50959"/>
                  </a:moveTo>
                  <a:lnTo>
                    <a:pt x="120968" y="50959"/>
                  </a:lnTo>
                  <a:lnTo>
                    <a:pt x="86678" y="85249"/>
                  </a:lnTo>
                  <a:cubicBezTo>
                    <a:pt x="84773" y="87154"/>
                    <a:pt x="84773" y="90011"/>
                    <a:pt x="86678" y="91916"/>
                  </a:cubicBezTo>
                  <a:cubicBezTo>
                    <a:pt x="87630" y="92869"/>
                    <a:pt x="88582" y="92869"/>
                    <a:pt x="90488" y="92869"/>
                  </a:cubicBezTo>
                  <a:cubicBezTo>
                    <a:pt x="91440" y="92869"/>
                    <a:pt x="93345" y="92869"/>
                    <a:pt x="94298" y="91916"/>
                  </a:cubicBezTo>
                  <a:lnTo>
                    <a:pt x="136208" y="50006"/>
                  </a:lnTo>
                  <a:cubicBezTo>
                    <a:pt x="136208" y="50006"/>
                    <a:pt x="136208" y="50006"/>
                    <a:pt x="136208" y="50006"/>
                  </a:cubicBezTo>
                  <a:lnTo>
                    <a:pt x="136208" y="50006"/>
                  </a:lnTo>
                  <a:cubicBezTo>
                    <a:pt x="136208" y="50006"/>
                    <a:pt x="136208" y="50006"/>
                    <a:pt x="136208" y="50006"/>
                  </a:cubicBezTo>
                  <a:cubicBezTo>
                    <a:pt x="136208" y="50006"/>
                    <a:pt x="137160" y="49054"/>
                    <a:pt x="137160" y="49054"/>
                  </a:cubicBezTo>
                  <a:cubicBezTo>
                    <a:pt x="138113" y="48101"/>
                    <a:pt x="138113" y="46196"/>
                    <a:pt x="137160" y="45244"/>
                  </a:cubicBezTo>
                  <a:cubicBezTo>
                    <a:pt x="137160" y="44291"/>
                    <a:pt x="136208" y="44291"/>
                    <a:pt x="136208" y="43339"/>
                  </a:cubicBezTo>
                  <a:cubicBezTo>
                    <a:pt x="136208" y="43339"/>
                    <a:pt x="136208" y="43339"/>
                    <a:pt x="136208" y="43339"/>
                  </a:cubicBezTo>
                  <a:lnTo>
                    <a:pt x="136208" y="43339"/>
                  </a:lnTo>
                  <a:cubicBezTo>
                    <a:pt x="136208" y="43339"/>
                    <a:pt x="136208" y="43339"/>
                    <a:pt x="136208" y="43339"/>
                  </a:cubicBezTo>
                  <a:lnTo>
                    <a:pt x="94298" y="1429"/>
                  </a:lnTo>
                  <a:cubicBezTo>
                    <a:pt x="92393" y="-476"/>
                    <a:pt x="89535" y="-476"/>
                    <a:pt x="87630" y="1429"/>
                  </a:cubicBezTo>
                  <a:cubicBezTo>
                    <a:pt x="85725" y="3334"/>
                    <a:pt x="85725" y="6191"/>
                    <a:pt x="87630" y="8096"/>
                  </a:cubicBezTo>
                  <a:lnTo>
                    <a:pt x="120968" y="42386"/>
                  </a:lnTo>
                  <a:lnTo>
                    <a:pt x="4763" y="42386"/>
                  </a:lnTo>
                  <a:cubicBezTo>
                    <a:pt x="2858" y="41434"/>
                    <a:pt x="0" y="43339"/>
                    <a:pt x="0" y="46196"/>
                  </a:cubicBezTo>
                  <a:cubicBezTo>
                    <a:pt x="0" y="49054"/>
                    <a:pt x="2858" y="50959"/>
                    <a:pt x="4763" y="50959"/>
                  </a:cubicBezTo>
                  <a:close/>
                </a:path>
              </a:pathLst>
            </a:custGeom>
            <a:solidFill>
              <a:srgbClr val="231F20"/>
            </a:solidFill>
            <a:ln w="9525" cap="flat">
              <a:noFill/>
              <a:prstDash val="solid"/>
              <a:miter/>
            </a:ln>
          </p:spPr>
          <p:txBody>
            <a:bodyPr rtlCol="0" anchor="ctr"/>
            <a:lstStyle/>
            <a:p>
              <a:endParaRPr lang="de-DE"/>
            </a:p>
          </p:txBody>
        </p:sp>
        <p:sp>
          <p:nvSpPr>
            <p:cNvPr id="5319" name="Freeform: Shape 5318">
              <a:extLst>
                <a:ext uri="{FF2B5EF4-FFF2-40B4-BE49-F238E27FC236}">
                  <a16:creationId xmlns:a16="http://schemas.microsoft.com/office/drawing/2014/main" id="{99C5923D-ABC0-4C3C-8C47-EB5599A1B66E}"/>
                </a:ext>
              </a:extLst>
            </p:cNvPr>
            <p:cNvSpPr/>
            <p:nvPr/>
          </p:nvSpPr>
          <p:spPr>
            <a:xfrm>
              <a:off x="6019800" y="3466624"/>
              <a:ext cx="133350" cy="85725"/>
            </a:xfrm>
            <a:custGeom>
              <a:avLst/>
              <a:gdLst>
                <a:gd name="connsiteX0" fmla="*/ 136208 w 133350"/>
                <a:gd name="connsiteY0" fmla="*/ 45244 h 85725"/>
                <a:gd name="connsiteX1" fmla="*/ 135255 w 133350"/>
                <a:gd name="connsiteY1" fmla="*/ 43339 h 85725"/>
                <a:gd name="connsiteX2" fmla="*/ 135255 w 133350"/>
                <a:gd name="connsiteY2" fmla="*/ 43339 h 85725"/>
                <a:gd name="connsiteX3" fmla="*/ 135255 w 133350"/>
                <a:gd name="connsiteY3" fmla="*/ 43339 h 85725"/>
                <a:gd name="connsiteX4" fmla="*/ 135255 w 133350"/>
                <a:gd name="connsiteY4" fmla="*/ 43339 h 85725"/>
                <a:gd name="connsiteX5" fmla="*/ 93345 w 133350"/>
                <a:gd name="connsiteY5" fmla="*/ 1429 h 85725"/>
                <a:gd name="connsiteX6" fmla="*/ 86678 w 133350"/>
                <a:gd name="connsiteY6" fmla="*/ 1429 h 85725"/>
                <a:gd name="connsiteX7" fmla="*/ 86678 w 133350"/>
                <a:gd name="connsiteY7" fmla="*/ 8096 h 85725"/>
                <a:gd name="connsiteX8" fmla="*/ 120015 w 133350"/>
                <a:gd name="connsiteY8" fmla="*/ 42386 h 85725"/>
                <a:gd name="connsiteX9" fmla="*/ 4763 w 133350"/>
                <a:gd name="connsiteY9" fmla="*/ 42386 h 85725"/>
                <a:gd name="connsiteX10" fmla="*/ 0 w 133350"/>
                <a:gd name="connsiteY10" fmla="*/ 47149 h 85725"/>
                <a:gd name="connsiteX11" fmla="*/ 4763 w 133350"/>
                <a:gd name="connsiteY11" fmla="*/ 51911 h 85725"/>
                <a:gd name="connsiteX12" fmla="*/ 120968 w 133350"/>
                <a:gd name="connsiteY12" fmla="*/ 51911 h 85725"/>
                <a:gd name="connsiteX13" fmla="*/ 87630 w 133350"/>
                <a:gd name="connsiteY13" fmla="*/ 86201 h 85725"/>
                <a:gd name="connsiteX14" fmla="*/ 87630 w 133350"/>
                <a:gd name="connsiteY14" fmla="*/ 92869 h 85725"/>
                <a:gd name="connsiteX15" fmla="*/ 91440 w 133350"/>
                <a:gd name="connsiteY15" fmla="*/ 93821 h 85725"/>
                <a:gd name="connsiteX16" fmla="*/ 95250 w 133350"/>
                <a:gd name="connsiteY16" fmla="*/ 92869 h 85725"/>
                <a:gd name="connsiteX17" fmla="*/ 137160 w 133350"/>
                <a:gd name="connsiteY17" fmla="*/ 50959 h 85725"/>
                <a:gd name="connsiteX18" fmla="*/ 137160 w 133350"/>
                <a:gd name="connsiteY18" fmla="*/ 50959 h 85725"/>
                <a:gd name="connsiteX19" fmla="*/ 137160 w 133350"/>
                <a:gd name="connsiteY19" fmla="*/ 50959 h 85725"/>
                <a:gd name="connsiteX20" fmla="*/ 137160 w 133350"/>
                <a:gd name="connsiteY20" fmla="*/ 50959 h 85725"/>
                <a:gd name="connsiteX21" fmla="*/ 138113 w 133350"/>
                <a:gd name="connsiteY21" fmla="*/ 50006 h 85725"/>
                <a:gd name="connsiteX22" fmla="*/ 136208 w 133350"/>
                <a:gd name="connsiteY22" fmla="*/ 452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136208" y="45244"/>
                  </a:moveTo>
                  <a:cubicBezTo>
                    <a:pt x="136208" y="44291"/>
                    <a:pt x="135255" y="44291"/>
                    <a:pt x="135255" y="43339"/>
                  </a:cubicBezTo>
                  <a:cubicBezTo>
                    <a:pt x="135255" y="43339"/>
                    <a:pt x="135255" y="43339"/>
                    <a:pt x="135255" y="43339"/>
                  </a:cubicBezTo>
                  <a:lnTo>
                    <a:pt x="135255" y="43339"/>
                  </a:lnTo>
                  <a:cubicBezTo>
                    <a:pt x="135255" y="43339"/>
                    <a:pt x="135255" y="43339"/>
                    <a:pt x="135255" y="43339"/>
                  </a:cubicBezTo>
                  <a:lnTo>
                    <a:pt x="93345" y="1429"/>
                  </a:lnTo>
                  <a:cubicBezTo>
                    <a:pt x="91440" y="-476"/>
                    <a:pt x="88582" y="-476"/>
                    <a:pt x="86678" y="1429"/>
                  </a:cubicBezTo>
                  <a:cubicBezTo>
                    <a:pt x="84773" y="3334"/>
                    <a:pt x="84773" y="6191"/>
                    <a:pt x="86678" y="8096"/>
                  </a:cubicBezTo>
                  <a:lnTo>
                    <a:pt x="120015" y="42386"/>
                  </a:lnTo>
                  <a:lnTo>
                    <a:pt x="4763" y="42386"/>
                  </a:lnTo>
                  <a:cubicBezTo>
                    <a:pt x="1905" y="42386"/>
                    <a:pt x="0" y="44291"/>
                    <a:pt x="0" y="47149"/>
                  </a:cubicBezTo>
                  <a:cubicBezTo>
                    <a:pt x="0" y="50006"/>
                    <a:pt x="1905" y="51911"/>
                    <a:pt x="4763" y="51911"/>
                  </a:cubicBezTo>
                  <a:lnTo>
                    <a:pt x="120968" y="51911"/>
                  </a:lnTo>
                  <a:lnTo>
                    <a:pt x="87630" y="86201"/>
                  </a:lnTo>
                  <a:cubicBezTo>
                    <a:pt x="85725" y="88106"/>
                    <a:pt x="85725" y="90964"/>
                    <a:pt x="87630" y="92869"/>
                  </a:cubicBezTo>
                  <a:cubicBezTo>
                    <a:pt x="88582" y="93821"/>
                    <a:pt x="89535" y="93821"/>
                    <a:pt x="91440" y="93821"/>
                  </a:cubicBezTo>
                  <a:cubicBezTo>
                    <a:pt x="92393" y="93821"/>
                    <a:pt x="94298" y="93821"/>
                    <a:pt x="95250" y="92869"/>
                  </a:cubicBezTo>
                  <a:lnTo>
                    <a:pt x="137160" y="50959"/>
                  </a:lnTo>
                  <a:cubicBezTo>
                    <a:pt x="137160" y="50959"/>
                    <a:pt x="137160" y="50959"/>
                    <a:pt x="137160" y="50959"/>
                  </a:cubicBezTo>
                  <a:lnTo>
                    <a:pt x="137160" y="50959"/>
                  </a:lnTo>
                  <a:cubicBezTo>
                    <a:pt x="137160" y="50959"/>
                    <a:pt x="137160" y="50959"/>
                    <a:pt x="137160" y="50959"/>
                  </a:cubicBezTo>
                  <a:cubicBezTo>
                    <a:pt x="137160" y="50959"/>
                    <a:pt x="138113" y="50006"/>
                    <a:pt x="138113" y="50006"/>
                  </a:cubicBezTo>
                  <a:cubicBezTo>
                    <a:pt x="137160" y="47149"/>
                    <a:pt x="137160" y="46196"/>
                    <a:pt x="136208" y="45244"/>
                  </a:cubicBezTo>
                  <a:close/>
                </a:path>
              </a:pathLst>
            </a:custGeom>
            <a:solidFill>
              <a:srgbClr val="231F20"/>
            </a:solidFill>
            <a:ln w="9525" cap="flat">
              <a:noFill/>
              <a:prstDash val="solid"/>
              <a:miter/>
            </a:ln>
          </p:spPr>
          <p:txBody>
            <a:bodyPr rtlCol="0" anchor="ctr"/>
            <a:lstStyle/>
            <a:p>
              <a:endParaRPr lang="de-DE"/>
            </a:p>
          </p:txBody>
        </p:sp>
      </p:grpSp>
      <p:sp>
        <p:nvSpPr>
          <p:cNvPr id="5320" name="Graphic 3">
            <a:extLst>
              <a:ext uri="{FF2B5EF4-FFF2-40B4-BE49-F238E27FC236}">
                <a16:creationId xmlns:a16="http://schemas.microsoft.com/office/drawing/2014/main" id="{F3D23495-F9C1-428E-AB72-81F967A05556}"/>
              </a:ext>
              <a:ext uri="{C183D7F6-B498-43B3-948B-1728B52AA6E4}">
                <adec:decorative xmlns:adec="http://schemas.microsoft.com/office/drawing/2017/decorative" val="1"/>
              </a:ext>
            </a:extLst>
          </p:cNvPr>
          <p:cNvSpPr>
            <a:spLocks noChangeAspect="1"/>
          </p:cNvSpPr>
          <p:nvPr/>
        </p:nvSpPr>
        <p:spPr>
          <a:xfrm>
            <a:off x="4423614" y="4191126"/>
            <a:ext cx="63025" cy="90598"/>
          </a:xfrm>
          <a:custGeom>
            <a:avLst/>
            <a:gdLst>
              <a:gd name="connsiteX0" fmla="*/ 160496 w 152400"/>
              <a:gd name="connsiteY0" fmla="*/ 106680 h 219075"/>
              <a:gd name="connsiteX1" fmla="*/ 160496 w 152400"/>
              <a:gd name="connsiteY1" fmla="*/ 106680 h 219075"/>
              <a:gd name="connsiteX2" fmla="*/ 160496 w 152400"/>
              <a:gd name="connsiteY2" fmla="*/ 104775 h 219075"/>
              <a:gd name="connsiteX3" fmla="*/ 160496 w 152400"/>
              <a:gd name="connsiteY3" fmla="*/ 103823 h 219075"/>
              <a:gd name="connsiteX4" fmla="*/ 159544 w 152400"/>
              <a:gd name="connsiteY4" fmla="*/ 102870 h 219075"/>
              <a:gd name="connsiteX5" fmla="*/ 159544 w 152400"/>
              <a:gd name="connsiteY5" fmla="*/ 101918 h 219075"/>
              <a:gd name="connsiteX6" fmla="*/ 159544 w 152400"/>
              <a:gd name="connsiteY6" fmla="*/ 101918 h 219075"/>
              <a:gd name="connsiteX7" fmla="*/ 159544 w 152400"/>
              <a:gd name="connsiteY7" fmla="*/ 101918 h 219075"/>
              <a:gd name="connsiteX8" fmla="*/ 133826 w 152400"/>
              <a:gd name="connsiteY8" fmla="*/ 86678 h 219075"/>
              <a:gd name="connsiteX9" fmla="*/ 127159 w 152400"/>
              <a:gd name="connsiteY9" fmla="*/ 87630 h 219075"/>
              <a:gd name="connsiteX10" fmla="*/ 128111 w 152400"/>
              <a:gd name="connsiteY10" fmla="*/ 94298 h 219075"/>
              <a:gd name="connsiteX11" fmla="*/ 140494 w 152400"/>
              <a:gd name="connsiteY11" fmla="*/ 102870 h 219075"/>
              <a:gd name="connsiteX12" fmla="*/ 64294 w 152400"/>
              <a:gd name="connsiteY12" fmla="*/ 157163 h 219075"/>
              <a:gd name="connsiteX13" fmla="*/ 64294 w 152400"/>
              <a:gd name="connsiteY13" fmla="*/ 16193 h 219075"/>
              <a:gd name="connsiteX14" fmla="*/ 110966 w 152400"/>
              <a:gd name="connsiteY14" fmla="*/ 64770 h 219075"/>
              <a:gd name="connsiteX15" fmla="*/ 114776 w 152400"/>
              <a:gd name="connsiteY15" fmla="*/ 66675 h 219075"/>
              <a:gd name="connsiteX16" fmla="*/ 117634 w 152400"/>
              <a:gd name="connsiteY16" fmla="*/ 65723 h 219075"/>
              <a:gd name="connsiteX17" fmla="*/ 117634 w 152400"/>
              <a:gd name="connsiteY17" fmla="*/ 59055 h 219075"/>
              <a:gd name="connsiteX18" fmla="*/ 63341 w 152400"/>
              <a:gd name="connsiteY18" fmla="*/ 1905 h 219075"/>
              <a:gd name="connsiteX19" fmla="*/ 60484 w 152400"/>
              <a:gd name="connsiteY19" fmla="*/ 0 h 219075"/>
              <a:gd name="connsiteX20" fmla="*/ 56674 w 152400"/>
              <a:gd name="connsiteY20" fmla="*/ 1905 h 219075"/>
              <a:gd name="connsiteX21" fmla="*/ 1429 w 152400"/>
              <a:gd name="connsiteY21" fmla="*/ 59055 h 219075"/>
              <a:gd name="connsiteX22" fmla="*/ 1429 w 152400"/>
              <a:gd name="connsiteY22" fmla="*/ 65723 h 219075"/>
              <a:gd name="connsiteX23" fmla="*/ 8096 w 152400"/>
              <a:gd name="connsiteY23" fmla="*/ 65723 h 219075"/>
              <a:gd name="connsiteX24" fmla="*/ 54769 w 152400"/>
              <a:gd name="connsiteY24" fmla="*/ 17145 h 219075"/>
              <a:gd name="connsiteX25" fmla="*/ 54769 w 152400"/>
              <a:gd name="connsiteY25" fmla="*/ 199073 h 219075"/>
              <a:gd name="connsiteX26" fmla="*/ 54769 w 152400"/>
              <a:gd name="connsiteY26" fmla="*/ 199073 h 219075"/>
              <a:gd name="connsiteX27" fmla="*/ 54769 w 152400"/>
              <a:gd name="connsiteY27" fmla="*/ 199073 h 219075"/>
              <a:gd name="connsiteX28" fmla="*/ 54769 w 152400"/>
              <a:gd name="connsiteY28" fmla="*/ 214313 h 219075"/>
              <a:gd name="connsiteX29" fmla="*/ 60484 w 152400"/>
              <a:gd name="connsiteY29" fmla="*/ 219075 h 219075"/>
              <a:gd name="connsiteX30" fmla="*/ 65246 w 152400"/>
              <a:gd name="connsiteY30" fmla="*/ 214313 h 219075"/>
              <a:gd name="connsiteX31" fmla="*/ 65246 w 152400"/>
              <a:gd name="connsiteY31" fmla="*/ 199073 h 219075"/>
              <a:gd name="connsiteX32" fmla="*/ 145256 w 152400"/>
              <a:gd name="connsiteY32" fmla="*/ 112395 h 219075"/>
              <a:gd name="connsiteX33" fmla="*/ 133826 w 152400"/>
              <a:gd name="connsiteY33" fmla="*/ 126683 h 219075"/>
              <a:gd name="connsiteX34" fmla="*/ 134779 w 152400"/>
              <a:gd name="connsiteY34" fmla="*/ 133350 h 219075"/>
              <a:gd name="connsiteX35" fmla="*/ 137636 w 152400"/>
              <a:gd name="connsiteY35" fmla="*/ 134303 h 219075"/>
              <a:gd name="connsiteX36" fmla="*/ 141446 w 152400"/>
              <a:gd name="connsiteY36" fmla="*/ 132398 h 219075"/>
              <a:gd name="connsiteX37" fmla="*/ 160496 w 152400"/>
              <a:gd name="connsiteY37" fmla="*/ 109538 h 219075"/>
              <a:gd name="connsiteX38" fmla="*/ 160496 w 152400"/>
              <a:gd name="connsiteY38" fmla="*/ 109538 h 219075"/>
              <a:gd name="connsiteX39" fmla="*/ 160496 w 152400"/>
              <a:gd name="connsiteY39" fmla="*/ 109538 h 219075"/>
              <a:gd name="connsiteX40" fmla="*/ 160496 w 152400"/>
              <a:gd name="connsiteY40" fmla="*/ 108585 h 219075"/>
              <a:gd name="connsiteX41" fmla="*/ 160496 w 152400"/>
              <a:gd name="connsiteY41" fmla="*/ 106680 h 219075"/>
              <a:gd name="connsiteX42" fmla="*/ 160496 w 152400"/>
              <a:gd name="connsiteY42" fmla="*/ 10668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400" h="219075">
                <a:moveTo>
                  <a:pt x="160496" y="106680"/>
                </a:moveTo>
                <a:cubicBezTo>
                  <a:pt x="160496" y="106680"/>
                  <a:pt x="160496" y="105728"/>
                  <a:pt x="160496" y="106680"/>
                </a:cubicBezTo>
                <a:cubicBezTo>
                  <a:pt x="160496" y="105728"/>
                  <a:pt x="160496" y="104775"/>
                  <a:pt x="160496" y="104775"/>
                </a:cubicBezTo>
                <a:cubicBezTo>
                  <a:pt x="160496" y="104775"/>
                  <a:pt x="160496" y="103823"/>
                  <a:pt x="160496" y="103823"/>
                </a:cubicBezTo>
                <a:cubicBezTo>
                  <a:pt x="160496" y="103823"/>
                  <a:pt x="160496" y="102870"/>
                  <a:pt x="159544" y="102870"/>
                </a:cubicBezTo>
                <a:cubicBezTo>
                  <a:pt x="159544" y="102870"/>
                  <a:pt x="159544" y="102870"/>
                  <a:pt x="159544" y="101918"/>
                </a:cubicBezTo>
                <a:cubicBezTo>
                  <a:pt x="159544" y="101918"/>
                  <a:pt x="159544" y="101918"/>
                  <a:pt x="159544" y="101918"/>
                </a:cubicBezTo>
                <a:cubicBezTo>
                  <a:pt x="159544" y="101918"/>
                  <a:pt x="159544" y="101918"/>
                  <a:pt x="159544" y="101918"/>
                </a:cubicBezTo>
                <a:lnTo>
                  <a:pt x="133826" y="86678"/>
                </a:lnTo>
                <a:cubicBezTo>
                  <a:pt x="131921" y="84773"/>
                  <a:pt x="129064" y="85725"/>
                  <a:pt x="127159" y="87630"/>
                </a:cubicBezTo>
                <a:cubicBezTo>
                  <a:pt x="125254" y="89535"/>
                  <a:pt x="126206" y="92393"/>
                  <a:pt x="128111" y="94298"/>
                </a:cubicBezTo>
                <a:lnTo>
                  <a:pt x="140494" y="102870"/>
                </a:lnTo>
                <a:cubicBezTo>
                  <a:pt x="106204" y="106680"/>
                  <a:pt x="77629" y="127635"/>
                  <a:pt x="64294" y="157163"/>
                </a:cubicBezTo>
                <a:lnTo>
                  <a:pt x="64294" y="16193"/>
                </a:lnTo>
                <a:lnTo>
                  <a:pt x="110966" y="64770"/>
                </a:lnTo>
                <a:cubicBezTo>
                  <a:pt x="111919" y="65723"/>
                  <a:pt x="113824" y="66675"/>
                  <a:pt x="114776" y="66675"/>
                </a:cubicBezTo>
                <a:cubicBezTo>
                  <a:pt x="115729" y="66675"/>
                  <a:pt x="116681" y="66675"/>
                  <a:pt x="117634" y="65723"/>
                </a:cubicBezTo>
                <a:cubicBezTo>
                  <a:pt x="119539" y="63818"/>
                  <a:pt x="119539" y="60960"/>
                  <a:pt x="117634" y="59055"/>
                </a:cubicBezTo>
                <a:lnTo>
                  <a:pt x="63341" y="1905"/>
                </a:lnTo>
                <a:cubicBezTo>
                  <a:pt x="62389" y="953"/>
                  <a:pt x="61436" y="0"/>
                  <a:pt x="60484" y="0"/>
                </a:cubicBezTo>
                <a:cubicBezTo>
                  <a:pt x="58579" y="0"/>
                  <a:pt x="57626" y="953"/>
                  <a:pt x="56674" y="1905"/>
                </a:cubicBezTo>
                <a:lnTo>
                  <a:pt x="1429" y="59055"/>
                </a:lnTo>
                <a:cubicBezTo>
                  <a:pt x="-476" y="60960"/>
                  <a:pt x="-476" y="63818"/>
                  <a:pt x="1429" y="65723"/>
                </a:cubicBezTo>
                <a:cubicBezTo>
                  <a:pt x="3334" y="67628"/>
                  <a:pt x="6191" y="67628"/>
                  <a:pt x="8096" y="65723"/>
                </a:cubicBezTo>
                <a:lnTo>
                  <a:pt x="54769" y="17145"/>
                </a:lnTo>
                <a:lnTo>
                  <a:pt x="54769" y="199073"/>
                </a:lnTo>
                <a:cubicBezTo>
                  <a:pt x="54769" y="199073"/>
                  <a:pt x="54769" y="199073"/>
                  <a:pt x="54769" y="199073"/>
                </a:cubicBezTo>
                <a:cubicBezTo>
                  <a:pt x="54769" y="199073"/>
                  <a:pt x="54769" y="199073"/>
                  <a:pt x="54769" y="199073"/>
                </a:cubicBezTo>
                <a:lnTo>
                  <a:pt x="54769" y="214313"/>
                </a:lnTo>
                <a:cubicBezTo>
                  <a:pt x="55721" y="217170"/>
                  <a:pt x="57626" y="219075"/>
                  <a:pt x="60484" y="219075"/>
                </a:cubicBezTo>
                <a:cubicBezTo>
                  <a:pt x="63341" y="219075"/>
                  <a:pt x="65246" y="217170"/>
                  <a:pt x="65246" y="214313"/>
                </a:cubicBezTo>
                <a:lnTo>
                  <a:pt x="65246" y="199073"/>
                </a:lnTo>
                <a:cubicBezTo>
                  <a:pt x="65246" y="153353"/>
                  <a:pt x="100489" y="116205"/>
                  <a:pt x="145256" y="112395"/>
                </a:cubicBezTo>
                <a:lnTo>
                  <a:pt x="133826" y="126683"/>
                </a:lnTo>
                <a:cubicBezTo>
                  <a:pt x="131921" y="128588"/>
                  <a:pt x="131921" y="131445"/>
                  <a:pt x="134779" y="133350"/>
                </a:cubicBezTo>
                <a:cubicBezTo>
                  <a:pt x="135731" y="134303"/>
                  <a:pt x="136684" y="134303"/>
                  <a:pt x="137636" y="134303"/>
                </a:cubicBezTo>
                <a:cubicBezTo>
                  <a:pt x="138589" y="134303"/>
                  <a:pt x="140494" y="133350"/>
                  <a:pt x="141446" y="132398"/>
                </a:cubicBezTo>
                <a:lnTo>
                  <a:pt x="160496" y="109538"/>
                </a:lnTo>
                <a:cubicBezTo>
                  <a:pt x="160496" y="109538"/>
                  <a:pt x="160496" y="109538"/>
                  <a:pt x="160496" y="109538"/>
                </a:cubicBezTo>
                <a:cubicBezTo>
                  <a:pt x="160496" y="109538"/>
                  <a:pt x="160496" y="109538"/>
                  <a:pt x="160496" y="109538"/>
                </a:cubicBezTo>
                <a:cubicBezTo>
                  <a:pt x="160496" y="109538"/>
                  <a:pt x="160496" y="109538"/>
                  <a:pt x="160496" y="108585"/>
                </a:cubicBezTo>
                <a:cubicBezTo>
                  <a:pt x="159544" y="108585"/>
                  <a:pt x="160496" y="107633"/>
                  <a:pt x="160496" y="106680"/>
                </a:cubicBezTo>
                <a:cubicBezTo>
                  <a:pt x="160496" y="107633"/>
                  <a:pt x="160496" y="106680"/>
                  <a:pt x="160496" y="106680"/>
                </a:cubicBezTo>
                <a:close/>
              </a:path>
            </a:pathLst>
          </a:custGeom>
          <a:solidFill>
            <a:srgbClr val="101010"/>
          </a:solidFill>
          <a:ln w="9525" cap="flat">
            <a:noFill/>
            <a:prstDash val="solid"/>
            <a:miter/>
          </a:ln>
        </p:spPr>
        <p:txBody>
          <a:bodyPr rtlCol="0" anchor="ctr"/>
          <a:lstStyle/>
          <a:p>
            <a:endParaRPr lang="de-DE"/>
          </a:p>
        </p:txBody>
      </p:sp>
      <p:sp>
        <p:nvSpPr>
          <p:cNvPr id="5321" name="Graphic 3">
            <a:extLst>
              <a:ext uri="{FF2B5EF4-FFF2-40B4-BE49-F238E27FC236}">
                <a16:creationId xmlns:a16="http://schemas.microsoft.com/office/drawing/2014/main" id="{9A25D8DD-9788-4005-9C85-3DB8ADC20EDD}"/>
              </a:ext>
              <a:ext uri="{C183D7F6-B498-43B3-948B-1728B52AA6E4}">
                <adec:decorative xmlns:adec="http://schemas.microsoft.com/office/drawing/2017/decorative" val="1"/>
              </a:ext>
            </a:extLst>
          </p:cNvPr>
          <p:cNvSpPr>
            <a:spLocks noChangeAspect="1"/>
          </p:cNvSpPr>
          <p:nvPr/>
        </p:nvSpPr>
        <p:spPr>
          <a:xfrm>
            <a:off x="9924244" y="1777072"/>
            <a:ext cx="117115" cy="88845"/>
          </a:xfrm>
          <a:custGeom>
            <a:avLst/>
            <a:gdLst>
              <a:gd name="connsiteX0" fmla="*/ 280035 w 276225"/>
              <a:gd name="connsiteY0" fmla="*/ 100965 h 209550"/>
              <a:gd name="connsiteX1" fmla="*/ 223838 w 276225"/>
              <a:gd name="connsiteY1" fmla="*/ 42863 h 209550"/>
              <a:gd name="connsiteX2" fmla="*/ 217170 w 276225"/>
              <a:gd name="connsiteY2" fmla="*/ 42863 h 209550"/>
              <a:gd name="connsiteX3" fmla="*/ 217170 w 276225"/>
              <a:gd name="connsiteY3" fmla="*/ 49530 h 209550"/>
              <a:gd name="connsiteX4" fmla="*/ 265748 w 276225"/>
              <a:gd name="connsiteY4" fmla="*/ 100013 h 209550"/>
              <a:gd name="connsiteX5" fmla="*/ 151448 w 276225"/>
              <a:gd name="connsiteY5" fmla="*/ 100013 h 209550"/>
              <a:gd name="connsiteX6" fmla="*/ 113348 w 276225"/>
              <a:gd name="connsiteY6" fmla="*/ 20955 h 209550"/>
              <a:gd name="connsiteX7" fmla="*/ 81915 w 276225"/>
              <a:gd name="connsiteY7" fmla="*/ 0 h 209550"/>
              <a:gd name="connsiteX8" fmla="*/ 6668 w 276225"/>
              <a:gd name="connsiteY8" fmla="*/ 0 h 209550"/>
              <a:gd name="connsiteX9" fmla="*/ 1905 w 276225"/>
              <a:gd name="connsiteY9" fmla="*/ 4763 h 209550"/>
              <a:gd name="connsiteX10" fmla="*/ 6668 w 276225"/>
              <a:gd name="connsiteY10" fmla="*/ 9525 h 209550"/>
              <a:gd name="connsiteX11" fmla="*/ 81915 w 276225"/>
              <a:gd name="connsiteY11" fmla="*/ 9525 h 209550"/>
              <a:gd name="connsiteX12" fmla="*/ 103823 w 276225"/>
              <a:gd name="connsiteY12" fmla="*/ 24765 h 209550"/>
              <a:gd name="connsiteX13" fmla="*/ 141923 w 276225"/>
              <a:gd name="connsiteY13" fmla="*/ 103823 h 209550"/>
              <a:gd name="connsiteX14" fmla="*/ 101918 w 276225"/>
              <a:gd name="connsiteY14" fmla="*/ 183833 h 209550"/>
              <a:gd name="connsiteX15" fmla="*/ 80010 w 276225"/>
              <a:gd name="connsiteY15" fmla="*/ 199073 h 209550"/>
              <a:gd name="connsiteX16" fmla="*/ 4763 w 276225"/>
              <a:gd name="connsiteY16" fmla="*/ 199073 h 209550"/>
              <a:gd name="connsiteX17" fmla="*/ 0 w 276225"/>
              <a:gd name="connsiteY17" fmla="*/ 204788 h 209550"/>
              <a:gd name="connsiteX18" fmla="*/ 4763 w 276225"/>
              <a:gd name="connsiteY18" fmla="*/ 209550 h 209550"/>
              <a:gd name="connsiteX19" fmla="*/ 80010 w 276225"/>
              <a:gd name="connsiteY19" fmla="*/ 209550 h 209550"/>
              <a:gd name="connsiteX20" fmla="*/ 110490 w 276225"/>
              <a:gd name="connsiteY20" fmla="*/ 188595 h 209550"/>
              <a:gd name="connsiteX21" fmla="*/ 150495 w 276225"/>
              <a:gd name="connsiteY21" fmla="*/ 109538 h 209550"/>
              <a:gd name="connsiteX22" fmla="*/ 265748 w 276225"/>
              <a:gd name="connsiteY22" fmla="*/ 109538 h 209550"/>
              <a:gd name="connsiteX23" fmla="*/ 217170 w 276225"/>
              <a:gd name="connsiteY23" fmla="*/ 160020 h 209550"/>
              <a:gd name="connsiteX24" fmla="*/ 217170 w 276225"/>
              <a:gd name="connsiteY24" fmla="*/ 166688 h 209550"/>
              <a:gd name="connsiteX25" fmla="*/ 220028 w 276225"/>
              <a:gd name="connsiteY25" fmla="*/ 167640 h 209550"/>
              <a:gd name="connsiteX26" fmla="*/ 223838 w 276225"/>
              <a:gd name="connsiteY26" fmla="*/ 165735 h 209550"/>
              <a:gd name="connsiteX27" fmla="*/ 280035 w 276225"/>
              <a:gd name="connsiteY27" fmla="*/ 107633 h 209550"/>
              <a:gd name="connsiteX28" fmla="*/ 280035 w 276225"/>
              <a:gd name="connsiteY28" fmla="*/ 100965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6225" h="209550">
                <a:moveTo>
                  <a:pt x="280035" y="100965"/>
                </a:moveTo>
                <a:lnTo>
                  <a:pt x="223838" y="42863"/>
                </a:lnTo>
                <a:cubicBezTo>
                  <a:pt x="221933" y="40958"/>
                  <a:pt x="219075" y="40958"/>
                  <a:pt x="217170" y="42863"/>
                </a:cubicBezTo>
                <a:cubicBezTo>
                  <a:pt x="215265" y="44768"/>
                  <a:pt x="215265" y="47625"/>
                  <a:pt x="217170" y="49530"/>
                </a:cubicBezTo>
                <a:lnTo>
                  <a:pt x="265748" y="100013"/>
                </a:lnTo>
                <a:lnTo>
                  <a:pt x="151448" y="100013"/>
                </a:lnTo>
                <a:lnTo>
                  <a:pt x="113348" y="20955"/>
                </a:lnTo>
                <a:cubicBezTo>
                  <a:pt x="105728" y="7620"/>
                  <a:pt x="94298" y="0"/>
                  <a:pt x="81915" y="0"/>
                </a:cubicBezTo>
                <a:lnTo>
                  <a:pt x="6668" y="0"/>
                </a:lnTo>
                <a:cubicBezTo>
                  <a:pt x="3810" y="0"/>
                  <a:pt x="1905" y="1905"/>
                  <a:pt x="1905" y="4763"/>
                </a:cubicBezTo>
                <a:cubicBezTo>
                  <a:pt x="1905" y="7620"/>
                  <a:pt x="3810" y="9525"/>
                  <a:pt x="6668" y="9525"/>
                </a:cubicBezTo>
                <a:lnTo>
                  <a:pt x="81915" y="9525"/>
                </a:lnTo>
                <a:cubicBezTo>
                  <a:pt x="91440" y="9525"/>
                  <a:pt x="99060" y="15240"/>
                  <a:pt x="103823" y="24765"/>
                </a:cubicBezTo>
                <a:lnTo>
                  <a:pt x="141923" y="103823"/>
                </a:lnTo>
                <a:lnTo>
                  <a:pt x="101918" y="183833"/>
                </a:lnTo>
                <a:cubicBezTo>
                  <a:pt x="97155" y="193358"/>
                  <a:pt x="88583" y="199073"/>
                  <a:pt x="80010" y="199073"/>
                </a:cubicBezTo>
                <a:lnTo>
                  <a:pt x="4763" y="199073"/>
                </a:lnTo>
                <a:cubicBezTo>
                  <a:pt x="1905" y="200025"/>
                  <a:pt x="0" y="201930"/>
                  <a:pt x="0" y="204788"/>
                </a:cubicBezTo>
                <a:cubicBezTo>
                  <a:pt x="0" y="207645"/>
                  <a:pt x="1905" y="209550"/>
                  <a:pt x="4763" y="209550"/>
                </a:cubicBezTo>
                <a:lnTo>
                  <a:pt x="80010" y="209550"/>
                </a:lnTo>
                <a:cubicBezTo>
                  <a:pt x="93345" y="209550"/>
                  <a:pt x="104775" y="201930"/>
                  <a:pt x="110490" y="188595"/>
                </a:cubicBezTo>
                <a:lnTo>
                  <a:pt x="150495" y="109538"/>
                </a:lnTo>
                <a:lnTo>
                  <a:pt x="265748" y="109538"/>
                </a:lnTo>
                <a:lnTo>
                  <a:pt x="217170" y="160020"/>
                </a:lnTo>
                <a:cubicBezTo>
                  <a:pt x="215265" y="161925"/>
                  <a:pt x="215265" y="164783"/>
                  <a:pt x="217170" y="166688"/>
                </a:cubicBezTo>
                <a:cubicBezTo>
                  <a:pt x="218123" y="167640"/>
                  <a:pt x="219075" y="167640"/>
                  <a:pt x="220028" y="167640"/>
                </a:cubicBezTo>
                <a:cubicBezTo>
                  <a:pt x="220980" y="167640"/>
                  <a:pt x="222885" y="166688"/>
                  <a:pt x="223838" y="165735"/>
                </a:cubicBezTo>
                <a:lnTo>
                  <a:pt x="280035" y="107633"/>
                </a:lnTo>
                <a:cubicBezTo>
                  <a:pt x="280988" y="105728"/>
                  <a:pt x="280988" y="102870"/>
                  <a:pt x="280035" y="100965"/>
                </a:cubicBezTo>
                <a:close/>
              </a:path>
            </a:pathLst>
          </a:custGeom>
          <a:solidFill>
            <a:srgbClr val="231F20"/>
          </a:solidFill>
          <a:ln w="9525" cap="flat">
            <a:noFill/>
            <a:prstDash val="solid"/>
            <a:miter/>
          </a:ln>
        </p:spPr>
        <p:txBody>
          <a:bodyPr rtlCol="0" anchor="ctr"/>
          <a:lstStyle/>
          <a:p>
            <a:endParaRPr lang="de-DE"/>
          </a:p>
        </p:txBody>
      </p:sp>
      <p:pic>
        <p:nvPicPr>
          <p:cNvPr id="5322" name="Graphic 5321">
            <a:extLst>
              <a:ext uri="{FF2B5EF4-FFF2-40B4-BE49-F238E27FC236}">
                <a16:creationId xmlns:a16="http://schemas.microsoft.com/office/drawing/2014/main" id="{F5E0630F-9B57-45CA-B35D-769493898D86}"/>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0429" y="4505455"/>
            <a:ext cx="77443" cy="105974"/>
          </a:xfrm>
          <a:prstGeom prst="rect">
            <a:avLst/>
          </a:prstGeom>
        </p:spPr>
      </p:pic>
      <p:sp>
        <p:nvSpPr>
          <p:cNvPr id="5323" name="Graphic 3">
            <a:extLst>
              <a:ext uri="{FF2B5EF4-FFF2-40B4-BE49-F238E27FC236}">
                <a16:creationId xmlns:a16="http://schemas.microsoft.com/office/drawing/2014/main" id="{0E5963D0-0D78-455B-A92B-9E88E3B0E220}"/>
              </a:ext>
              <a:ext uri="{C183D7F6-B498-43B3-948B-1728B52AA6E4}">
                <adec:decorative xmlns:adec="http://schemas.microsoft.com/office/drawing/2017/decorative" val="1"/>
              </a:ext>
            </a:extLst>
          </p:cNvPr>
          <p:cNvSpPr>
            <a:spLocks noChangeAspect="1"/>
          </p:cNvSpPr>
          <p:nvPr/>
        </p:nvSpPr>
        <p:spPr>
          <a:xfrm>
            <a:off x="888280" y="4531744"/>
            <a:ext cx="118478" cy="82935"/>
          </a:xfrm>
          <a:custGeom>
            <a:avLst/>
            <a:gdLst>
              <a:gd name="connsiteX0" fmla="*/ 419799 w 419100"/>
              <a:gd name="connsiteY0" fmla="*/ 177419 h 293370"/>
              <a:gd name="connsiteX1" fmla="*/ 327597 w 419100"/>
              <a:gd name="connsiteY1" fmla="*/ 6985 h 293370"/>
              <a:gd name="connsiteX2" fmla="*/ 316421 w 419100"/>
              <a:gd name="connsiteY2" fmla="*/ 0 h 293370"/>
              <a:gd name="connsiteX3" fmla="*/ 303848 w 419100"/>
              <a:gd name="connsiteY3" fmla="*/ 4191 h 293370"/>
              <a:gd name="connsiteX4" fmla="*/ 282893 w 419100"/>
              <a:gd name="connsiteY4" fmla="*/ 25146 h 293370"/>
              <a:gd name="connsiteX5" fmla="*/ 282893 w 419100"/>
              <a:gd name="connsiteY5" fmla="*/ 34925 h 293370"/>
              <a:gd name="connsiteX6" fmla="*/ 292672 w 419100"/>
              <a:gd name="connsiteY6" fmla="*/ 34925 h 293370"/>
              <a:gd name="connsiteX7" fmla="*/ 315024 w 419100"/>
              <a:gd name="connsiteY7" fmla="*/ 13970 h 293370"/>
              <a:gd name="connsiteX8" fmla="*/ 408623 w 419100"/>
              <a:gd name="connsiteY8" fmla="*/ 184404 h 293370"/>
              <a:gd name="connsiteX9" fmla="*/ 391859 w 419100"/>
              <a:gd name="connsiteY9" fmla="*/ 184404 h 293370"/>
              <a:gd name="connsiteX10" fmla="*/ 376492 w 419100"/>
              <a:gd name="connsiteY10" fmla="*/ 169037 h 293370"/>
              <a:gd name="connsiteX11" fmla="*/ 351346 w 419100"/>
              <a:gd name="connsiteY11" fmla="*/ 162052 h 293370"/>
              <a:gd name="connsiteX12" fmla="*/ 235394 w 419100"/>
              <a:gd name="connsiteY12" fmla="*/ 185801 h 293370"/>
              <a:gd name="connsiteX13" fmla="*/ 213043 w 419100"/>
              <a:gd name="connsiteY13" fmla="*/ 176022 h 293370"/>
              <a:gd name="connsiteX14" fmla="*/ 190691 w 419100"/>
              <a:gd name="connsiteY14" fmla="*/ 185801 h 293370"/>
              <a:gd name="connsiteX15" fmla="*/ 74740 w 419100"/>
              <a:gd name="connsiteY15" fmla="*/ 162052 h 293370"/>
              <a:gd name="connsiteX16" fmla="*/ 49594 w 419100"/>
              <a:gd name="connsiteY16" fmla="*/ 169037 h 293370"/>
              <a:gd name="connsiteX17" fmla="*/ 34227 w 419100"/>
              <a:gd name="connsiteY17" fmla="*/ 183007 h 293370"/>
              <a:gd name="connsiteX18" fmla="*/ 14669 w 419100"/>
              <a:gd name="connsiteY18" fmla="*/ 184404 h 293370"/>
              <a:gd name="connsiteX19" fmla="*/ 109665 w 419100"/>
              <a:gd name="connsiteY19" fmla="*/ 13970 h 293370"/>
              <a:gd name="connsiteX20" fmla="*/ 130620 w 419100"/>
              <a:gd name="connsiteY20" fmla="*/ 34925 h 293370"/>
              <a:gd name="connsiteX21" fmla="*/ 140399 w 419100"/>
              <a:gd name="connsiteY21" fmla="*/ 34925 h 293370"/>
              <a:gd name="connsiteX22" fmla="*/ 140399 w 419100"/>
              <a:gd name="connsiteY22" fmla="*/ 25146 h 293370"/>
              <a:gd name="connsiteX23" fmla="*/ 119444 w 419100"/>
              <a:gd name="connsiteY23" fmla="*/ 4191 h 293370"/>
              <a:gd name="connsiteX24" fmla="*/ 106871 w 419100"/>
              <a:gd name="connsiteY24" fmla="*/ 0 h 293370"/>
              <a:gd name="connsiteX25" fmla="*/ 95695 w 419100"/>
              <a:gd name="connsiteY25" fmla="*/ 6985 h 293370"/>
              <a:gd name="connsiteX26" fmla="*/ 2096 w 419100"/>
              <a:gd name="connsiteY26" fmla="*/ 177419 h 293370"/>
              <a:gd name="connsiteX27" fmla="*/ 2096 w 419100"/>
              <a:gd name="connsiteY27" fmla="*/ 191389 h 293370"/>
              <a:gd name="connsiteX28" fmla="*/ 14669 w 419100"/>
              <a:gd name="connsiteY28" fmla="*/ 198374 h 293370"/>
              <a:gd name="connsiteX29" fmla="*/ 27242 w 419100"/>
              <a:gd name="connsiteY29" fmla="*/ 198374 h 293370"/>
              <a:gd name="connsiteX30" fmla="*/ 27242 w 419100"/>
              <a:gd name="connsiteY30" fmla="*/ 203962 h 293370"/>
              <a:gd name="connsiteX31" fmla="*/ 28639 w 419100"/>
              <a:gd name="connsiteY31" fmla="*/ 224917 h 293370"/>
              <a:gd name="connsiteX32" fmla="*/ 102680 w 419100"/>
              <a:gd name="connsiteY32" fmla="*/ 300355 h 293370"/>
              <a:gd name="connsiteX33" fmla="*/ 111062 w 419100"/>
              <a:gd name="connsiteY33" fmla="*/ 300355 h 293370"/>
              <a:gd name="connsiteX34" fmla="*/ 166942 w 419100"/>
              <a:gd name="connsiteY34" fmla="*/ 283591 h 293370"/>
              <a:gd name="connsiteX35" fmla="*/ 197676 w 419100"/>
              <a:gd name="connsiteY35" fmla="*/ 199771 h 293370"/>
              <a:gd name="connsiteX36" fmla="*/ 211646 w 419100"/>
              <a:gd name="connsiteY36" fmla="*/ 191389 h 293370"/>
              <a:gd name="connsiteX37" fmla="*/ 225616 w 419100"/>
              <a:gd name="connsiteY37" fmla="*/ 199771 h 293370"/>
              <a:gd name="connsiteX38" fmla="*/ 256349 w 419100"/>
              <a:gd name="connsiteY38" fmla="*/ 283591 h 293370"/>
              <a:gd name="connsiteX39" fmla="*/ 312230 w 419100"/>
              <a:gd name="connsiteY39" fmla="*/ 300355 h 293370"/>
              <a:gd name="connsiteX40" fmla="*/ 320612 w 419100"/>
              <a:gd name="connsiteY40" fmla="*/ 300355 h 293370"/>
              <a:gd name="connsiteX41" fmla="*/ 394653 w 419100"/>
              <a:gd name="connsiteY41" fmla="*/ 224917 h 293370"/>
              <a:gd name="connsiteX42" fmla="*/ 396050 w 419100"/>
              <a:gd name="connsiteY42" fmla="*/ 203962 h 293370"/>
              <a:gd name="connsiteX43" fmla="*/ 396050 w 419100"/>
              <a:gd name="connsiteY43" fmla="*/ 198374 h 293370"/>
              <a:gd name="connsiteX44" fmla="*/ 407226 w 419100"/>
              <a:gd name="connsiteY44" fmla="*/ 198374 h 293370"/>
              <a:gd name="connsiteX45" fmla="*/ 419799 w 419100"/>
              <a:gd name="connsiteY45" fmla="*/ 191389 h 293370"/>
              <a:gd name="connsiteX46" fmla="*/ 419799 w 419100"/>
              <a:gd name="connsiteY46" fmla="*/ 177419 h 293370"/>
              <a:gd name="connsiteX47" fmla="*/ 158560 w 419100"/>
              <a:gd name="connsiteY47" fmla="*/ 273812 h 293370"/>
              <a:gd name="connsiteX48" fmla="*/ 102680 w 419100"/>
              <a:gd name="connsiteY48" fmla="*/ 287782 h 293370"/>
              <a:gd name="connsiteX49" fmla="*/ 41212 w 419100"/>
              <a:gd name="connsiteY49" fmla="*/ 224917 h 293370"/>
              <a:gd name="connsiteX50" fmla="*/ 39815 w 419100"/>
              <a:gd name="connsiteY50" fmla="*/ 205359 h 293370"/>
              <a:gd name="connsiteX51" fmla="*/ 41212 w 419100"/>
              <a:gd name="connsiteY51" fmla="*/ 196977 h 293370"/>
              <a:gd name="connsiteX52" fmla="*/ 53785 w 419100"/>
              <a:gd name="connsiteY52" fmla="*/ 183007 h 293370"/>
              <a:gd name="connsiteX53" fmla="*/ 73343 w 419100"/>
              <a:gd name="connsiteY53" fmla="*/ 177419 h 293370"/>
              <a:gd name="connsiteX54" fmla="*/ 106871 w 419100"/>
              <a:gd name="connsiteY54" fmla="*/ 176022 h 293370"/>
              <a:gd name="connsiteX55" fmla="*/ 182309 w 419100"/>
              <a:gd name="connsiteY55" fmla="*/ 202565 h 293370"/>
              <a:gd name="connsiteX56" fmla="*/ 158560 w 419100"/>
              <a:gd name="connsiteY56" fmla="*/ 273812 h 293370"/>
              <a:gd name="connsiteX57" fmla="*/ 382080 w 419100"/>
              <a:gd name="connsiteY57" fmla="*/ 224917 h 293370"/>
              <a:gd name="connsiteX58" fmla="*/ 320612 w 419100"/>
              <a:gd name="connsiteY58" fmla="*/ 287782 h 293370"/>
              <a:gd name="connsiteX59" fmla="*/ 264732 w 419100"/>
              <a:gd name="connsiteY59" fmla="*/ 273812 h 293370"/>
              <a:gd name="connsiteX60" fmla="*/ 239586 w 419100"/>
              <a:gd name="connsiteY60" fmla="*/ 203962 h 293370"/>
              <a:gd name="connsiteX61" fmla="*/ 315024 w 419100"/>
              <a:gd name="connsiteY61" fmla="*/ 177419 h 293370"/>
              <a:gd name="connsiteX62" fmla="*/ 348552 w 419100"/>
              <a:gd name="connsiteY62" fmla="*/ 178816 h 293370"/>
              <a:gd name="connsiteX63" fmla="*/ 368110 w 419100"/>
              <a:gd name="connsiteY63" fmla="*/ 184404 h 293370"/>
              <a:gd name="connsiteX64" fmla="*/ 380683 w 419100"/>
              <a:gd name="connsiteY64" fmla="*/ 198374 h 293370"/>
              <a:gd name="connsiteX65" fmla="*/ 382080 w 419100"/>
              <a:gd name="connsiteY65" fmla="*/ 206756 h 293370"/>
              <a:gd name="connsiteX66" fmla="*/ 382080 w 419100"/>
              <a:gd name="connsiteY66" fmla="*/ 224917 h 2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19100" h="293370">
                <a:moveTo>
                  <a:pt x="419799" y="177419"/>
                </a:moveTo>
                <a:lnTo>
                  <a:pt x="327597" y="6985"/>
                </a:lnTo>
                <a:cubicBezTo>
                  <a:pt x="324803" y="2794"/>
                  <a:pt x="322009" y="0"/>
                  <a:pt x="316421" y="0"/>
                </a:cubicBezTo>
                <a:cubicBezTo>
                  <a:pt x="312230" y="0"/>
                  <a:pt x="306642" y="1397"/>
                  <a:pt x="303848" y="4191"/>
                </a:cubicBezTo>
                <a:lnTo>
                  <a:pt x="282893" y="25146"/>
                </a:lnTo>
                <a:cubicBezTo>
                  <a:pt x="280099" y="27940"/>
                  <a:pt x="280099" y="32131"/>
                  <a:pt x="282893" y="34925"/>
                </a:cubicBezTo>
                <a:cubicBezTo>
                  <a:pt x="285687" y="37719"/>
                  <a:pt x="289878" y="37719"/>
                  <a:pt x="292672" y="34925"/>
                </a:cubicBezTo>
                <a:lnTo>
                  <a:pt x="315024" y="13970"/>
                </a:lnTo>
                <a:lnTo>
                  <a:pt x="408623" y="184404"/>
                </a:lnTo>
                <a:lnTo>
                  <a:pt x="391859" y="184404"/>
                </a:lnTo>
                <a:cubicBezTo>
                  <a:pt x="387668" y="177419"/>
                  <a:pt x="382080" y="173228"/>
                  <a:pt x="376492" y="169037"/>
                </a:cubicBezTo>
                <a:cubicBezTo>
                  <a:pt x="369507" y="164846"/>
                  <a:pt x="361125" y="163449"/>
                  <a:pt x="351346" y="162052"/>
                </a:cubicBezTo>
                <a:cubicBezTo>
                  <a:pt x="324803" y="160655"/>
                  <a:pt x="259144" y="155067"/>
                  <a:pt x="235394" y="185801"/>
                </a:cubicBezTo>
                <a:cubicBezTo>
                  <a:pt x="229807" y="180213"/>
                  <a:pt x="221425" y="176022"/>
                  <a:pt x="213043" y="176022"/>
                </a:cubicBezTo>
                <a:cubicBezTo>
                  <a:pt x="204661" y="176022"/>
                  <a:pt x="196279" y="180213"/>
                  <a:pt x="190691" y="185801"/>
                </a:cubicBezTo>
                <a:cubicBezTo>
                  <a:pt x="165545" y="155067"/>
                  <a:pt x="99886" y="160655"/>
                  <a:pt x="74740" y="162052"/>
                </a:cubicBezTo>
                <a:cubicBezTo>
                  <a:pt x="64961" y="163449"/>
                  <a:pt x="56579" y="164846"/>
                  <a:pt x="49594" y="169037"/>
                </a:cubicBezTo>
                <a:cubicBezTo>
                  <a:pt x="42609" y="171831"/>
                  <a:pt x="37021" y="177419"/>
                  <a:pt x="34227" y="183007"/>
                </a:cubicBezTo>
                <a:lnTo>
                  <a:pt x="14669" y="184404"/>
                </a:lnTo>
                <a:lnTo>
                  <a:pt x="109665" y="13970"/>
                </a:lnTo>
                <a:lnTo>
                  <a:pt x="130620" y="34925"/>
                </a:lnTo>
                <a:cubicBezTo>
                  <a:pt x="133414" y="37719"/>
                  <a:pt x="137605" y="37719"/>
                  <a:pt x="140399" y="34925"/>
                </a:cubicBezTo>
                <a:cubicBezTo>
                  <a:pt x="143193" y="32131"/>
                  <a:pt x="143193" y="27940"/>
                  <a:pt x="140399" y="25146"/>
                </a:cubicBezTo>
                <a:lnTo>
                  <a:pt x="119444" y="4191"/>
                </a:lnTo>
                <a:cubicBezTo>
                  <a:pt x="116650" y="1397"/>
                  <a:pt x="111062" y="0"/>
                  <a:pt x="106871" y="0"/>
                </a:cubicBezTo>
                <a:cubicBezTo>
                  <a:pt x="102680" y="1397"/>
                  <a:pt x="98489" y="4191"/>
                  <a:pt x="95695" y="6985"/>
                </a:cubicBezTo>
                <a:lnTo>
                  <a:pt x="2096" y="177419"/>
                </a:lnTo>
                <a:cubicBezTo>
                  <a:pt x="-699" y="181610"/>
                  <a:pt x="-699" y="187198"/>
                  <a:pt x="2096" y="191389"/>
                </a:cubicBezTo>
                <a:cubicBezTo>
                  <a:pt x="4890" y="195580"/>
                  <a:pt x="9081" y="198374"/>
                  <a:pt x="14669" y="198374"/>
                </a:cubicBezTo>
                <a:lnTo>
                  <a:pt x="27242" y="198374"/>
                </a:lnTo>
                <a:cubicBezTo>
                  <a:pt x="27242" y="199771"/>
                  <a:pt x="27242" y="202565"/>
                  <a:pt x="27242" y="203962"/>
                </a:cubicBezTo>
                <a:cubicBezTo>
                  <a:pt x="27242" y="210947"/>
                  <a:pt x="27242" y="217932"/>
                  <a:pt x="28639" y="224917"/>
                </a:cubicBezTo>
                <a:cubicBezTo>
                  <a:pt x="34227" y="269621"/>
                  <a:pt x="60770" y="297561"/>
                  <a:pt x="102680" y="300355"/>
                </a:cubicBezTo>
                <a:cubicBezTo>
                  <a:pt x="105474" y="300355"/>
                  <a:pt x="108268" y="300355"/>
                  <a:pt x="111062" y="300355"/>
                </a:cubicBezTo>
                <a:cubicBezTo>
                  <a:pt x="143193" y="300355"/>
                  <a:pt x="161354" y="287782"/>
                  <a:pt x="166942" y="283591"/>
                </a:cubicBezTo>
                <a:cubicBezTo>
                  <a:pt x="180912" y="273812"/>
                  <a:pt x="207455" y="233299"/>
                  <a:pt x="197676" y="199771"/>
                </a:cubicBezTo>
                <a:cubicBezTo>
                  <a:pt x="200470" y="194183"/>
                  <a:pt x="206058" y="191389"/>
                  <a:pt x="211646" y="191389"/>
                </a:cubicBezTo>
                <a:cubicBezTo>
                  <a:pt x="217234" y="191389"/>
                  <a:pt x="222822" y="194183"/>
                  <a:pt x="225616" y="199771"/>
                </a:cubicBezTo>
                <a:cubicBezTo>
                  <a:pt x="214440" y="233299"/>
                  <a:pt x="240983" y="273812"/>
                  <a:pt x="256349" y="283591"/>
                </a:cubicBezTo>
                <a:cubicBezTo>
                  <a:pt x="261938" y="287782"/>
                  <a:pt x="280099" y="300355"/>
                  <a:pt x="312230" y="300355"/>
                </a:cubicBezTo>
                <a:cubicBezTo>
                  <a:pt x="315024" y="300355"/>
                  <a:pt x="317818" y="300355"/>
                  <a:pt x="320612" y="300355"/>
                </a:cubicBezTo>
                <a:cubicBezTo>
                  <a:pt x="362522" y="297561"/>
                  <a:pt x="390462" y="269621"/>
                  <a:pt x="394653" y="224917"/>
                </a:cubicBezTo>
                <a:cubicBezTo>
                  <a:pt x="396050" y="217932"/>
                  <a:pt x="396050" y="210947"/>
                  <a:pt x="396050" y="203962"/>
                </a:cubicBezTo>
                <a:cubicBezTo>
                  <a:pt x="396050" y="202565"/>
                  <a:pt x="396050" y="199771"/>
                  <a:pt x="396050" y="198374"/>
                </a:cubicBezTo>
                <a:lnTo>
                  <a:pt x="407226" y="198374"/>
                </a:lnTo>
                <a:cubicBezTo>
                  <a:pt x="412814" y="198374"/>
                  <a:pt x="417005" y="195580"/>
                  <a:pt x="419799" y="191389"/>
                </a:cubicBezTo>
                <a:cubicBezTo>
                  <a:pt x="422593" y="187198"/>
                  <a:pt x="422593" y="181610"/>
                  <a:pt x="419799" y="177419"/>
                </a:cubicBezTo>
                <a:close/>
                <a:moveTo>
                  <a:pt x="158560" y="273812"/>
                </a:moveTo>
                <a:cubicBezTo>
                  <a:pt x="151575" y="278003"/>
                  <a:pt x="134811" y="290576"/>
                  <a:pt x="102680" y="287782"/>
                </a:cubicBezTo>
                <a:cubicBezTo>
                  <a:pt x="67755" y="284988"/>
                  <a:pt x="45403" y="262636"/>
                  <a:pt x="41212" y="224917"/>
                </a:cubicBezTo>
                <a:cubicBezTo>
                  <a:pt x="39815" y="217932"/>
                  <a:pt x="39815" y="210947"/>
                  <a:pt x="39815" y="205359"/>
                </a:cubicBezTo>
                <a:cubicBezTo>
                  <a:pt x="39815" y="202565"/>
                  <a:pt x="39815" y="199771"/>
                  <a:pt x="41212" y="196977"/>
                </a:cubicBezTo>
                <a:cubicBezTo>
                  <a:pt x="44006" y="191389"/>
                  <a:pt x="48197" y="185801"/>
                  <a:pt x="53785" y="183007"/>
                </a:cubicBezTo>
                <a:cubicBezTo>
                  <a:pt x="59372" y="180213"/>
                  <a:pt x="66358" y="178816"/>
                  <a:pt x="73343" y="177419"/>
                </a:cubicBezTo>
                <a:cubicBezTo>
                  <a:pt x="80328" y="177419"/>
                  <a:pt x="92901" y="176022"/>
                  <a:pt x="106871" y="176022"/>
                </a:cubicBezTo>
                <a:cubicBezTo>
                  <a:pt x="136208" y="176022"/>
                  <a:pt x="173927" y="180213"/>
                  <a:pt x="182309" y="202565"/>
                </a:cubicBezTo>
                <a:cubicBezTo>
                  <a:pt x="193485" y="229108"/>
                  <a:pt x="171133" y="265430"/>
                  <a:pt x="158560" y="273812"/>
                </a:cubicBezTo>
                <a:close/>
                <a:moveTo>
                  <a:pt x="382080" y="224917"/>
                </a:moveTo>
                <a:cubicBezTo>
                  <a:pt x="377889" y="264033"/>
                  <a:pt x="355537" y="286385"/>
                  <a:pt x="320612" y="287782"/>
                </a:cubicBezTo>
                <a:cubicBezTo>
                  <a:pt x="288481" y="290576"/>
                  <a:pt x="271717" y="278003"/>
                  <a:pt x="264732" y="273812"/>
                </a:cubicBezTo>
                <a:cubicBezTo>
                  <a:pt x="252159" y="265430"/>
                  <a:pt x="229807" y="229108"/>
                  <a:pt x="239586" y="203962"/>
                </a:cubicBezTo>
                <a:cubicBezTo>
                  <a:pt x="247968" y="181610"/>
                  <a:pt x="285687" y="177419"/>
                  <a:pt x="315024" y="177419"/>
                </a:cubicBezTo>
                <a:cubicBezTo>
                  <a:pt x="328994" y="177419"/>
                  <a:pt x="340170" y="178816"/>
                  <a:pt x="348552" y="178816"/>
                </a:cubicBezTo>
                <a:cubicBezTo>
                  <a:pt x="356934" y="178816"/>
                  <a:pt x="362522" y="181610"/>
                  <a:pt x="368110" y="184404"/>
                </a:cubicBezTo>
                <a:cubicBezTo>
                  <a:pt x="373698" y="187198"/>
                  <a:pt x="377889" y="191389"/>
                  <a:pt x="380683" y="198374"/>
                </a:cubicBezTo>
                <a:cubicBezTo>
                  <a:pt x="382080" y="201168"/>
                  <a:pt x="382080" y="203962"/>
                  <a:pt x="382080" y="206756"/>
                </a:cubicBezTo>
                <a:cubicBezTo>
                  <a:pt x="383477" y="210947"/>
                  <a:pt x="383477" y="217932"/>
                  <a:pt x="382080" y="224917"/>
                </a:cubicBezTo>
                <a:close/>
              </a:path>
            </a:pathLst>
          </a:custGeom>
          <a:solidFill>
            <a:srgbClr val="101010"/>
          </a:solidFill>
          <a:ln w="13970" cap="flat">
            <a:noFill/>
            <a:prstDash val="solid"/>
            <a:miter/>
          </a:ln>
        </p:spPr>
        <p:txBody>
          <a:bodyPr rtlCol="0" anchor="ctr"/>
          <a:lstStyle/>
          <a:p>
            <a:endParaRPr lang="de-DE"/>
          </a:p>
        </p:txBody>
      </p:sp>
      <p:sp>
        <p:nvSpPr>
          <p:cNvPr id="2366" name="Graphic 45">
            <a:extLst>
              <a:ext uri="{FF2B5EF4-FFF2-40B4-BE49-F238E27FC236}">
                <a16:creationId xmlns:a16="http://schemas.microsoft.com/office/drawing/2014/main" id="{D43ED5C8-05A5-4A97-81F5-C08CE159911C}"/>
              </a:ext>
              <a:ext uri="{C183D7F6-B498-43B3-948B-1728B52AA6E4}">
                <adec:decorative xmlns:adec="http://schemas.microsoft.com/office/drawing/2017/decorative" val="1"/>
              </a:ext>
            </a:extLst>
          </p:cNvPr>
          <p:cNvSpPr>
            <a:spLocks noChangeAspect="1"/>
          </p:cNvSpPr>
          <p:nvPr/>
        </p:nvSpPr>
        <p:spPr>
          <a:xfrm>
            <a:off x="1147956" y="4504121"/>
            <a:ext cx="129104" cy="129862"/>
          </a:xfrm>
          <a:custGeom>
            <a:avLst/>
            <a:gdLst>
              <a:gd name="connsiteX0" fmla="*/ 250508 w 323850"/>
              <a:gd name="connsiteY0" fmla="*/ 166688 h 323850"/>
              <a:gd name="connsiteX1" fmla="*/ 271463 w 323850"/>
              <a:gd name="connsiteY1" fmla="*/ 166688 h 323850"/>
              <a:gd name="connsiteX2" fmla="*/ 297180 w 323850"/>
              <a:gd name="connsiteY2" fmla="*/ 188595 h 323850"/>
              <a:gd name="connsiteX3" fmla="*/ 323850 w 323850"/>
              <a:gd name="connsiteY3" fmla="*/ 161925 h 323850"/>
              <a:gd name="connsiteX4" fmla="*/ 297180 w 323850"/>
              <a:gd name="connsiteY4" fmla="*/ 135255 h 323850"/>
              <a:gd name="connsiteX5" fmla="*/ 271463 w 323850"/>
              <a:gd name="connsiteY5" fmla="*/ 157163 h 323850"/>
              <a:gd name="connsiteX6" fmla="*/ 250508 w 323850"/>
              <a:gd name="connsiteY6" fmla="*/ 157163 h 323850"/>
              <a:gd name="connsiteX7" fmla="*/ 240983 w 323850"/>
              <a:gd name="connsiteY7" fmla="*/ 121920 h 323850"/>
              <a:gd name="connsiteX8" fmla="*/ 257175 w 323850"/>
              <a:gd name="connsiteY8" fmla="*/ 112395 h 323850"/>
              <a:gd name="connsiteX9" fmla="*/ 270510 w 323850"/>
              <a:gd name="connsiteY9" fmla="*/ 120968 h 323850"/>
              <a:gd name="connsiteX10" fmla="*/ 277178 w 323850"/>
              <a:gd name="connsiteY10" fmla="*/ 121920 h 323850"/>
              <a:gd name="connsiteX11" fmla="*/ 290513 w 323850"/>
              <a:gd name="connsiteY11" fmla="*/ 118110 h 323850"/>
              <a:gd name="connsiteX12" fmla="*/ 302895 w 323850"/>
              <a:gd name="connsiteY12" fmla="*/ 101918 h 323850"/>
              <a:gd name="connsiteX13" fmla="*/ 300038 w 323850"/>
              <a:gd name="connsiteY13" fmla="*/ 81915 h 323850"/>
              <a:gd name="connsiteX14" fmla="*/ 283845 w 323850"/>
              <a:gd name="connsiteY14" fmla="*/ 69533 h 323850"/>
              <a:gd name="connsiteX15" fmla="*/ 263843 w 323850"/>
              <a:gd name="connsiteY15" fmla="*/ 72390 h 323850"/>
              <a:gd name="connsiteX16" fmla="*/ 252413 w 323850"/>
              <a:gd name="connsiteY16" fmla="*/ 103823 h 323850"/>
              <a:gd name="connsiteX17" fmla="*/ 236220 w 323850"/>
              <a:gd name="connsiteY17" fmla="*/ 113348 h 323850"/>
              <a:gd name="connsiteX18" fmla="*/ 209550 w 323850"/>
              <a:gd name="connsiteY18" fmla="*/ 86678 h 323850"/>
              <a:gd name="connsiteX19" fmla="*/ 220028 w 323850"/>
              <a:gd name="connsiteY19" fmla="*/ 68580 h 323850"/>
              <a:gd name="connsiteX20" fmla="*/ 228600 w 323850"/>
              <a:gd name="connsiteY20" fmla="*/ 70485 h 323850"/>
              <a:gd name="connsiteX21" fmla="*/ 251460 w 323850"/>
              <a:gd name="connsiteY21" fmla="*/ 57150 h 323850"/>
              <a:gd name="connsiteX22" fmla="*/ 241935 w 323850"/>
              <a:gd name="connsiteY22" fmla="*/ 20955 h 323850"/>
              <a:gd name="connsiteX23" fmla="*/ 205740 w 323850"/>
              <a:gd name="connsiteY23" fmla="*/ 30480 h 323850"/>
              <a:gd name="connsiteX24" fmla="*/ 211455 w 323850"/>
              <a:gd name="connsiteY24" fmla="*/ 63818 h 323850"/>
              <a:gd name="connsiteX25" fmla="*/ 200978 w 323850"/>
              <a:gd name="connsiteY25" fmla="*/ 81915 h 323850"/>
              <a:gd name="connsiteX26" fmla="*/ 165735 w 323850"/>
              <a:gd name="connsiteY26" fmla="*/ 72390 h 323850"/>
              <a:gd name="connsiteX27" fmla="*/ 165735 w 323850"/>
              <a:gd name="connsiteY27" fmla="*/ 51435 h 323850"/>
              <a:gd name="connsiteX28" fmla="*/ 187643 w 323850"/>
              <a:gd name="connsiteY28" fmla="*/ 25718 h 323850"/>
              <a:gd name="connsiteX29" fmla="*/ 161925 w 323850"/>
              <a:gd name="connsiteY29" fmla="*/ 0 h 323850"/>
              <a:gd name="connsiteX30" fmla="*/ 135255 w 323850"/>
              <a:gd name="connsiteY30" fmla="*/ 26670 h 323850"/>
              <a:gd name="connsiteX31" fmla="*/ 157163 w 323850"/>
              <a:gd name="connsiteY31" fmla="*/ 52388 h 323850"/>
              <a:gd name="connsiteX32" fmla="*/ 157163 w 323850"/>
              <a:gd name="connsiteY32" fmla="*/ 73343 h 323850"/>
              <a:gd name="connsiteX33" fmla="*/ 121920 w 323850"/>
              <a:gd name="connsiteY33" fmla="*/ 82868 h 323850"/>
              <a:gd name="connsiteX34" fmla="*/ 111443 w 323850"/>
              <a:gd name="connsiteY34" fmla="*/ 64770 h 323850"/>
              <a:gd name="connsiteX35" fmla="*/ 117158 w 323850"/>
              <a:gd name="connsiteY35" fmla="*/ 31433 h 323850"/>
              <a:gd name="connsiteX36" fmla="*/ 80963 w 323850"/>
              <a:gd name="connsiteY36" fmla="*/ 21908 h 323850"/>
              <a:gd name="connsiteX37" fmla="*/ 71438 w 323850"/>
              <a:gd name="connsiteY37" fmla="*/ 57150 h 323850"/>
              <a:gd name="connsiteX38" fmla="*/ 94298 w 323850"/>
              <a:gd name="connsiteY38" fmla="*/ 70485 h 323850"/>
              <a:gd name="connsiteX39" fmla="*/ 102870 w 323850"/>
              <a:gd name="connsiteY39" fmla="*/ 68580 h 323850"/>
              <a:gd name="connsiteX40" fmla="*/ 113348 w 323850"/>
              <a:gd name="connsiteY40" fmla="*/ 86678 h 323850"/>
              <a:gd name="connsiteX41" fmla="*/ 86678 w 323850"/>
              <a:gd name="connsiteY41" fmla="*/ 113348 h 323850"/>
              <a:gd name="connsiteX42" fmla="*/ 70485 w 323850"/>
              <a:gd name="connsiteY42" fmla="*/ 103823 h 323850"/>
              <a:gd name="connsiteX43" fmla="*/ 59055 w 323850"/>
              <a:gd name="connsiteY43" fmla="*/ 72390 h 323850"/>
              <a:gd name="connsiteX44" fmla="*/ 39053 w 323850"/>
              <a:gd name="connsiteY44" fmla="*/ 70485 h 323850"/>
              <a:gd name="connsiteX45" fmla="*/ 22860 w 323850"/>
              <a:gd name="connsiteY45" fmla="*/ 82868 h 323850"/>
              <a:gd name="connsiteX46" fmla="*/ 20955 w 323850"/>
              <a:gd name="connsiteY46" fmla="*/ 102870 h 323850"/>
              <a:gd name="connsiteX47" fmla="*/ 33338 w 323850"/>
              <a:gd name="connsiteY47" fmla="*/ 119063 h 323850"/>
              <a:gd name="connsiteX48" fmla="*/ 46673 w 323850"/>
              <a:gd name="connsiteY48" fmla="*/ 122873 h 323850"/>
              <a:gd name="connsiteX49" fmla="*/ 66675 w 323850"/>
              <a:gd name="connsiteY49" fmla="*/ 113348 h 323850"/>
              <a:gd name="connsiteX50" fmla="*/ 82868 w 323850"/>
              <a:gd name="connsiteY50" fmla="*/ 122873 h 323850"/>
              <a:gd name="connsiteX51" fmla="*/ 73343 w 323850"/>
              <a:gd name="connsiteY51" fmla="*/ 158115 h 323850"/>
              <a:gd name="connsiteX52" fmla="*/ 51435 w 323850"/>
              <a:gd name="connsiteY52" fmla="*/ 158115 h 323850"/>
              <a:gd name="connsiteX53" fmla="*/ 25718 w 323850"/>
              <a:gd name="connsiteY53" fmla="*/ 136208 h 323850"/>
              <a:gd name="connsiteX54" fmla="*/ 0 w 323850"/>
              <a:gd name="connsiteY54" fmla="*/ 161925 h 323850"/>
              <a:gd name="connsiteX55" fmla="*/ 26670 w 323850"/>
              <a:gd name="connsiteY55" fmla="*/ 188595 h 323850"/>
              <a:gd name="connsiteX56" fmla="*/ 52388 w 323850"/>
              <a:gd name="connsiteY56" fmla="*/ 166688 h 323850"/>
              <a:gd name="connsiteX57" fmla="*/ 73343 w 323850"/>
              <a:gd name="connsiteY57" fmla="*/ 166688 h 323850"/>
              <a:gd name="connsiteX58" fmla="*/ 82868 w 323850"/>
              <a:gd name="connsiteY58" fmla="*/ 202883 h 323850"/>
              <a:gd name="connsiteX59" fmla="*/ 65723 w 323850"/>
              <a:gd name="connsiteY59" fmla="*/ 212408 h 323850"/>
              <a:gd name="connsiteX60" fmla="*/ 32385 w 323850"/>
              <a:gd name="connsiteY60" fmla="*/ 206693 h 323850"/>
              <a:gd name="connsiteX61" fmla="*/ 20003 w 323850"/>
              <a:gd name="connsiteY61" fmla="*/ 222885 h 323850"/>
              <a:gd name="connsiteX62" fmla="*/ 22860 w 323850"/>
              <a:gd name="connsiteY62" fmla="*/ 242888 h 323850"/>
              <a:gd name="connsiteX63" fmla="*/ 39053 w 323850"/>
              <a:gd name="connsiteY63" fmla="*/ 255270 h 323850"/>
              <a:gd name="connsiteX64" fmla="*/ 45720 w 323850"/>
              <a:gd name="connsiteY64" fmla="*/ 256223 h 323850"/>
              <a:gd name="connsiteX65" fmla="*/ 59055 w 323850"/>
              <a:gd name="connsiteY65" fmla="*/ 252413 h 323850"/>
              <a:gd name="connsiteX66" fmla="*/ 70485 w 323850"/>
              <a:gd name="connsiteY66" fmla="*/ 220980 h 323850"/>
              <a:gd name="connsiteX67" fmla="*/ 87630 w 323850"/>
              <a:gd name="connsiteY67" fmla="*/ 211455 h 323850"/>
              <a:gd name="connsiteX68" fmla="*/ 114300 w 323850"/>
              <a:gd name="connsiteY68" fmla="*/ 237173 h 323850"/>
              <a:gd name="connsiteX69" fmla="*/ 102870 w 323850"/>
              <a:gd name="connsiteY69" fmla="*/ 256223 h 323850"/>
              <a:gd name="connsiteX70" fmla="*/ 71438 w 323850"/>
              <a:gd name="connsiteY70" fmla="*/ 267653 h 323850"/>
              <a:gd name="connsiteX71" fmla="*/ 80963 w 323850"/>
              <a:gd name="connsiteY71" fmla="*/ 303848 h 323850"/>
              <a:gd name="connsiteX72" fmla="*/ 94298 w 323850"/>
              <a:gd name="connsiteY72" fmla="*/ 307658 h 323850"/>
              <a:gd name="connsiteX73" fmla="*/ 117158 w 323850"/>
              <a:gd name="connsiteY73" fmla="*/ 294323 h 323850"/>
              <a:gd name="connsiteX74" fmla="*/ 111443 w 323850"/>
              <a:gd name="connsiteY74" fmla="*/ 260985 h 323850"/>
              <a:gd name="connsiteX75" fmla="*/ 122873 w 323850"/>
              <a:gd name="connsiteY75" fmla="*/ 241935 h 323850"/>
              <a:gd name="connsiteX76" fmla="*/ 158115 w 323850"/>
              <a:gd name="connsiteY76" fmla="*/ 251460 h 323850"/>
              <a:gd name="connsiteX77" fmla="*/ 158115 w 323850"/>
              <a:gd name="connsiteY77" fmla="*/ 273368 h 323850"/>
              <a:gd name="connsiteX78" fmla="*/ 136208 w 323850"/>
              <a:gd name="connsiteY78" fmla="*/ 299085 h 323850"/>
              <a:gd name="connsiteX79" fmla="*/ 162878 w 323850"/>
              <a:gd name="connsiteY79" fmla="*/ 325755 h 323850"/>
              <a:gd name="connsiteX80" fmla="*/ 189548 w 323850"/>
              <a:gd name="connsiteY80" fmla="*/ 299085 h 323850"/>
              <a:gd name="connsiteX81" fmla="*/ 167640 w 323850"/>
              <a:gd name="connsiteY81" fmla="*/ 273368 h 323850"/>
              <a:gd name="connsiteX82" fmla="*/ 167640 w 323850"/>
              <a:gd name="connsiteY82" fmla="*/ 251460 h 323850"/>
              <a:gd name="connsiteX83" fmla="*/ 202883 w 323850"/>
              <a:gd name="connsiteY83" fmla="*/ 241935 h 323850"/>
              <a:gd name="connsiteX84" fmla="*/ 214313 w 323850"/>
              <a:gd name="connsiteY84" fmla="*/ 260985 h 323850"/>
              <a:gd name="connsiteX85" fmla="*/ 208598 w 323850"/>
              <a:gd name="connsiteY85" fmla="*/ 294323 h 323850"/>
              <a:gd name="connsiteX86" fmla="*/ 231458 w 323850"/>
              <a:gd name="connsiteY86" fmla="*/ 307658 h 323850"/>
              <a:gd name="connsiteX87" fmla="*/ 244793 w 323850"/>
              <a:gd name="connsiteY87" fmla="*/ 303848 h 323850"/>
              <a:gd name="connsiteX88" fmla="*/ 254318 w 323850"/>
              <a:gd name="connsiteY88" fmla="*/ 267653 h 323850"/>
              <a:gd name="connsiteX89" fmla="*/ 222885 w 323850"/>
              <a:gd name="connsiteY89" fmla="*/ 256223 h 323850"/>
              <a:gd name="connsiteX90" fmla="*/ 211455 w 323850"/>
              <a:gd name="connsiteY90" fmla="*/ 237173 h 323850"/>
              <a:gd name="connsiteX91" fmla="*/ 237173 w 323850"/>
              <a:gd name="connsiteY91" fmla="*/ 211455 h 323850"/>
              <a:gd name="connsiteX92" fmla="*/ 254318 w 323850"/>
              <a:gd name="connsiteY92" fmla="*/ 220980 h 323850"/>
              <a:gd name="connsiteX93" fmla="*/ 265748 w 323850"/>
              <a:gd name="connsiteY93" fmla="*/ 252413 h 323850"/>
              <a:gd name="connsiteX94" fmla="*/ 279083 w 323850"/>
              <a:gd name="connsiteY94" fmla="*/ 256223 h 323850"/>
              <a:gd name="connsiteX95" fmla="*/ 285750 w 323850"/>
              <a:gd name="connsiteY95" fmla="*/ 255270 h 323850"/>
              <a:gd name="connsiteX96" fmla="*/ 301943 w 323850"/>
              <a:gd name="connsiteY96" fmla="*/ 242888 h 323850"/>
              <a:gd name="connsiteX97" fmla="*/ 304800 w 323850"/>
              <a:gd name="connsiteY97" fmla="*/ 222885 h 323850"/>
              <a:gd name="connsiteX98" fmla="*/ 292418 w 323850"/>
              <a:gd name="connsiteY98" fmla="*/ 206693 h 323850"/>
              <a:gd name="connsiteX99" fmla="*/ 272415 w 323850"/>
              <a:gd name="connsiteY99" fmla="*/ 203835 h 323850"/>
              <a:gd name="connsiteX100" fmla="*/ 259080 w 323850"/>
              <a:gd name="connsiteY100" fmla="*/ 212408 h 323850"/>
              <a:gd name="connsiteX101" fmla="*/ 241935 w 323850"/>
              <a:gd name="connsiteY101" fmla="*/ 202883 h 323850"/>
              <a:gd name="connsiteX102" fmla="*/ 250508 w 323850"/>
              <a:gd name="connsiteY102" fmla="*/ 166688 h 323850"/>
              <a:gd name="connsiteX103" fmla="*/ 269558 w 323850"/>
              <a:gd name="connsiteY103" fmla="*/ 80963 h 323850"/>
              <a:gd name="connsiteX104" fmla="*/ 278130 w 323850"/>
              <a:gd name="connsiteY104" fmla="*/ 79058 h 323850"/>
              <a:gd name="connsiteX105" fmla="*/ 282893 w 323850"/>
              <a:gd name="connsiteY105" fmla="*/ 80010 h 323850"/>
              <a:gd name="connsiteX106" fmla="*/ 293370 w 323850"/>
              <a:gd name="connsiteY106" fmla="*/ 87630 h 323850"/>
              <a:gd name="connsiteX107" fmla="*/ 295275 w 323850"/>
              <a:gd name="connsiteY107" fmla="*/ 100013 h 323850"/>
              <a:gd name="connsiteX108" fmla="*/ 287655 w 323850"/>
              <a:gd name="connsiteY108" fmla="*/ 110490 h 323850"/>
              <a:gd name="connsiteX109" fmla="*/ 275273 w 323850"/>
              <a:gd name="connsiteY109" fmla="*/ 112395 h 323850"/>
              <a:gd name="connsiteX110" fmla="*/ 264795 w 323850"/>
              <a:gd name="connsiteY110" fmla="*/ 104775 h 323850"/>
              <a:gd name="connsiteX111" fmla="*/ 269558 w 323850"/>
              <a:gd name="connsiteY111" fmla="*/ 80963 h 323850"/>
              <a:gd name="connsiteX112" fmla="*/ 215265 w 323850"/>
              <a:gd name="connsiteY112" fmla="*/ 36195 h 323850"/>
              <a:gd name="connsiteX113" fmla="*/ 238125 w 323850"/>
              <a:gd name="connsiteY113" fmla="*/ 30480 h 323850"/>
              <a:gd name="connsiteX114" fmla="*/ 243840 w 323850"/>
              <a:gd name="connsiteY114" fmla="*/ 53340 h 323850"/>
              <a:gd name="connsiteX115" fmla="*/ 220980 w 323850"/>
              <a:gd name="connsiteY115" fmla="*/ 59055 h 323850"/>
              <a:gd name="connsiteX116" fmla="*/ 215265 w 323850"/>
              <a:gd name="connsiteY116" fmla="*/ 36195 h 323850"/>
              <a:gd name="connsiteX117" fmla="*/ 80010 w 323850"/>
              <a:gd name="connsiteY117" fmla="*/ 52388 h 323850"/>
              <a:gd name="connsiteX118" fmla="*/ 85725 w 323850"/>
              <a:gd name="connsiteY118" fmla="*/ 29528 h 323850"/>
              <a:gd name="connsiteX119" fmla="*/ 94298 w 323850"/>
              <a:gd name="connsiteY119" fmla="*/ 27623 h 323850"/>
              <a:gd name="connsiteX120" fmla="*/ 108585 w 323850"/>
              <a:gd name="connsiteY120" fmla="*/ 36195 h 323850"/>
              <a:gd name="connsiteX121" fmla="*/ 102870 w 323850"/>
              <a:gd name="connsiteY121" fmla="*/ 59055 h 323850"/>
              <a:gd name="connsiteX122" fmla="*/ 80010 w 323850"/>
              <a:gd name="connsiteY122" fmla="*/ 52388 h 323850"/>
              <a:gd name="connsiteX123" fmla="*/ 38100 w 323850"/>
              <a:gd name="connsiteY123" fmla="*/ 110490 h 323850"/>
              <a:gd name="connsiteX124" fmla="*/ 30480 w 323850"/>
              <a:gd name="connsiteY124" fmla="*/ 100013 h 323850"/>
              <a:gd name="connsiteX125" fmla="*/ 31433 w 323850"/>
              <a:gd name="connsiteY125" fmla="*/ 87630 h 323850"/>
              <a:gd name="connsiteX126" fmla="*/ 41910 w 323850"/>
              <a:gd name="connsiteY126" fmla="*/ 80010 h 323850"/>
              <a:gd name="connsiteX127" fmla="*/ 46673 w 323850"/>
              <a:gd name="connsiteY127" fmla="*/ 79058 h 323850"/>
              <a:gd name="connsiteX128" fmla="*/ 55245 w 323850"/>
              <a:gd name="connsiteY128" fmla="*/ 80963 h 323850"/>
              <a:gd name="connsiteX129" fmla="*/ 60960 w 323850"/>
              <a:gd name="connsiteY129" fmla="*/ 103823 h 323850"/>
              <a:gd name="connsiteX130" fmla="*/ 38100 w 323850"/>
              <a:gd name="connsiteY130" fmla="*/ 110490 h 323850"/>
              <a:gd name="connsiteX131" fmla="*/ 54293 w 323850"/>
              <a:gd name="connsiteY131" fmla="*/ 243840 h 323850"/>
              <a:gd name="connsiteX132" fmla="*/ 41910 w 323850"/>
              <a:gd name="connsiteY132" fmla="*/ 245745 h 323850"/>
              <a:gd name="connsiteX133" fmla="*/ 31433 w 323850"/>
              <a:gd name="connsiteY133" fmla="*/ 238125 h 323850"/>
              <a:gd name="connsiteX134" fmla="*/ 29528 w 323850"/>
              <a:gd name="connsiteY134" fmla="*/ 225743 h 323850"/>
              <a:gd name="connsiteX135" fmla="*/ 37148 w 323850"/>
              <a:gd name="connsiteY135" fmla="*/ 215265 h 323850"/>
              <a:gd name="connsiteX136" fmla="*/ 45720 w 323850"/>
              <a:gd name="connsiteY136" fmla="*/ 213360 h 323850"/>
              <a:gd name="connsiteX137" fmla="*/ 60008 w 323850"/>
              <a:gd name="connsiteY137" fmla="*/ 221933 h 323850"/>
              <a:gd name="connsiteX138" fmla="*/ 54293 w 323850"/>
              <a:gd name="connsiteY138" fmla="*/ 243840 h 323850"/>
              <a:gd name="connsiteX139" fmla="*/ 108585 w 323850"/>
              <a:gd name="connsiteY139" fmla="*/ 289560 h 323850"/>
              <a:gd name="connsiteX140" fmla="*/ 85725 w 323850"/>
              <a:gd name="connsiteY140" fmla="*/ 295275 h 323850"/>
              <a:gd name="connsiteX141" fmla="*/ 80010 w 323850"/>
              <a:gd name="connsiteY141" fmla="*/ 272415 h 323850"/>
              <a:gd name="connsiteX142" fmla="*/ 102870 w 323850"/>
              <a:gd name="connsiteY142" fmla="*/ 266700 h 323850"/>
              <a:gd name="connsiteX143" fmla="*/ 108585 w 323850"/>
              <a:gd name="connsiteY143" fmla="*/ 289560 h 323850"/>
              <a:gd name="connsiteX144" fmla="*/ 243840 w 323850"/>
              <a:gd name="connsiteY144" fmla="*/ 272415 h 323850"/>
              <a:gd name="connsiteX145" fmla="*/ 238125 w 323850"/>
              <a:gd name="connsiteY145" fmla="*/ 295275 h 323850"/>
              <a:gd name="connsiteX146" fmla="*/ 215265 w 323850"/>
              <a:gd name="connsiteY146" fmla="*/ 289560 h 323850"/>
              <a:gd name="connsiteX147" fmla="*/ 220980 w 323850"/>
              <a:gd name="connsiteY147" fmla="*/ 266700 h 323850"/>
              <a:gd name="connsiteX148" fmla="*/ 229553 w 323850"/>
              <a:gd name="connsiteY148" fmla="*/ 264795 h 323850"/>
              <a:gd name="connsiteX149" fmla="*/ 243840 w 323850"/>
              <a:gd name="connsiteY149" fmla="*/ 272415 h 323850"/>
              <a:gd name="connsiteX150" fmla="*/ 273368 w 323850"/>
              <a:gd name="connsiteY150" fmla="*/ 213360 h 323850"/>
              <a:gd name="connsiteX151" fmla="*/ 278130 w 323850"/>
              <a:gd name="connsiteY151" fmla="*/ 212408 h 323850"/>
              <a:gd name="connsiteX152" fmla="*/ 286703 w 323850"/>
              <a:gd name="connsiteY152" fmla="*/ 214313 h 323850"/>
              <a:gd name="connsiteX153" fmla="*/ 294323 w 323850"/>
              <a:gd name="connsiteY153" fmla="*/ 224790 h 323850"/>
              <a:gd name="connsiteX154" fmla="*/ 292418 w 323850"/>
              <a:gd name="connsiteY154" fmla="*/ 237173 h 323850"/>
              <a:gd name="connsiteX155" fmla="*/ 281940 w 323850"/>
              <a:gd name="connsiteY155" fmla="*/ 244793 h 323850"/>
              <a:gd name="connsiteX156" fmla="*/ 269558 w 323850"/>
              <a:gd name="connsiteY156" fmla="*/ 242888 h 323850"/>
              <a:gd name="connsiteX157" fmla="*/ 263843 w 323850"/>
              <a:gd name="connsiteY157" fmla="*/ 220028 h 323850"/>
              <a:gd name="connsiteX158" fmla="*/ 273368 w 323850"/>
              <a:gd name="connsiteY158" fmla="*/ 213360 h 323850"/>
              <a:gd name="connsiteX159" fmla="*/ 298133 w 323850"/>
              <a:gd name="connsiteY159" fmla="*/ 145733 h 323850"/>
              <a:gd name="connsiteX160" fmla="*/ 315278 w 323850"/>
              <a:gd name="connsiteY160" fmla="*/ 162878 h 323850"/>
              <a:gd name="connsiteX161" fmla="*/ 298133 w 323850"/>
              <a:gd name="connsiteY161" fmla="*/ 180023 h 323850"/>
              <a:gd name="connsiteX162" fmla="*/ 280988 w 323850"/>
              <a:gd name="connsiteY162" fmla="*/ 161925 h 323850"/>
              <a:gd name="connsiteX163" fmla="*/ 298133 w 323850"/>
              <a:gd name="connsiteY163" fmla="*/ 145733 h 323850"/>
              <a:gd name="connsiteX164" fmla="*/ 145733 w 323850"/>
              <a:gd name="connsiteY164" fmla="*/ 26670 h 323850"/>
              <a:gd name="connsiteX165" fmla="*/ 161925 w 323850"/>
              <a:gd name="connsiteY165" fmla="*/ 9525 h 323850"/>
              <a:gd name="connsiteX166" fmla="*/ 179070 w 323850"/>
              <a:gd name="connsiteY166" fmla="*/ 26670 h 323850"/>
              <a:gd name="connsiteX167" fmla="*/ 161925 w 323850"/>
              <a:gd name="connsiteY167" fmla="*/ 42863 h 323850"/>
              <a:gd name="connsiteX168" fmla="*/ 145733 w 323850"/>
              <a:gd name="connsiteY168" fmla="*/ 26670 h 323850"/>
              <a:gd name="connsiteX169" fmla="*/ 26670 w 323850"/>
              <a:gd name="connsiteY169" fmla="*/ 179070 h 323850"/>
              <a:gd name="connsiteX170" fmla="*/ 9525 w 323850"/>
              <a:gd name="connsiteY170" fmla="*/ 161925 h 323850"/>
              <a:gd name="connsiteX171" fmla="*/ 26670 w 323850"/>
              <a:gd name="connsiteY171" fmla="*/ 144780 h 323850"/>
              <a:gd name="connsiteX172" fmla="*/ 42863 w 323850"/>
              <a:gd name="connsiteY172" fmla="*/ 161925 h 323850"/>
              <a:gd name="connsiteX173" fmla="*/ 26670 w 323850"/>
              <a:gd name="connsiteY173" fmla="*/ 179070 h 323850"/>
              <a:gd name="connsiteX174" fmla="*/ 179070 w 323850"/>
              <a:gd name="connsiteY174" fmla="*/ 298133 h 323850"/>
              <a:gd name="connsiteX175" fmla="*/ 161925 w 323850"/>
              <a:gd name="connsiteY175" fmla="*/ 315278 h 323850"/>
              <a:gd name="connsiteX176" fmla="*/ 144780 w 323850"/>
              <a:gd name="connsiteY176" fmla="*/ 298133 h 323850"/>
              <a:gd name="connsiteX177" fmla="*/ 161925 w 323850"/>
              <a:gd name="connsiteY177" fmla="*/ 280988 h 323850"/>
              <a:gd name="connsiteX178" fmla="*/ 179070 w 323850"/>
              <a:gd name="connsiteY178" fmla="*/ 298133 h 323850"/>
              <a:gd name="connsiteX179" fmla="*/ 161925 w 323850"/>
              <a:gd name="connsiteY179" fmla="*/ 241935 h 323850"/>
              <a:gd name="connsiteX180" fmla="*/ 81915 w 323850"/>
              <a:gd name="connsiteY180" fmla="*/ 161925 h 323850"/>
              <a:gd name="connsiteX181" fmla="*/ 161925 w 323850"/>
              <a:gd name="connsiteY181" fmla="*/ 81915 h 323850"/>
              <a:gd name="connsiteX182" fmla="*/ 241935 w 323850"/>
              <a:gd name="connsiteY182" fmla="*/ 161925 h 323850"/>
              <a:gd name="connsiteX183" fmla="*/ 161925 w 323850"/>
              <a:gd name="connsiteY183" fmla="*/ 241935 h 323850"/>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739 w 323850"/>
              <a:gd name="connsiteY174" fmla="*/ 297798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739 w 323850"/>
              <a:gd name="connsiteY178" fmla="*/ 297798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739 w 323850"/>
              <a:gd name="connsiteY174" fmla="*/ 297798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739 w 323850"/>
              <a:gd name="connsiteY178" fmla="*/ 297798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0988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4780 w 323850"/>
              <a:gd name="connsiteY176" fmla="*/ 298133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1925 w 323850"/>
              <a:gd name="connsiteY175" fmla="*/ 316675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29553 w 323850"/>
              <a:gd name="connsiteY148" fmla="*/ 264795 h 325755"/>
              <a:gd name="connsiteX149" fmla="*/ 243840 w 323850"/>
              <a:gd name="connsiteY149" fmla="*/ 272415 h 325755"/>
              <a:gd name="connsiteX150" fmla="*/ 273368 w 323850"/>
              <a:gd name="connsiteY150" fmla="*/ 213360 h 325755"/>
              <a:gd name="connsiteX151" fmla="*/ 278130 w 323850"/>
              <a:gd name="connsiteY151" fmla="*/ 212408 h 325755"/>
              <a:gd name="connsiteX152" fmla="*/ 286703 w 323850"/>
              <a:gd name="connsiteY152" fmla="*/ 214313 h 325755"/>
              <a:gd name="connsiteX153" fmla="*/ 294323 w 323850"/>
              <a:gd name="connsiteY153" fmla="*/ 224790 h 325755"/>
              <a:gd name="connsiteX154" fmla="*/ 292418 w 323850"/>
              <a:gd name="connsiteY154" fmla="*/ 237173 h 325755"/>
              <a:gd name="connsiteX155" fmla="*/ 281940 w 323850"/>
              <a:gd name="connsiteY155" fmla="*/ 244793 h 325755"/>
              <a:gd name="connsiteX156" fmla="*/ 269558 w 323850"/>
              <a:gd name="connsiteY156" fmla="*/ 242888 h 325755"/>
              <a:gd name="connsiteX157" fmla="*/ 263843 w 323850"/>
              <a:gd name="connsiteY157" fmla="*/ 220028 h 325755"/>
              <a:gd name="connsiteX158" fmla="*/ 273368 w 323850"/>
              <a:gd name="connsiteY158" fmla="*/ 213360 h 325755"/>
              <a:gd name="connsiteX159" fmla="*/ 298133 w 323850"/>
              <a:gd name="connsiteY159" fmla="*/ 145733 h 325755"/>
              <a:gd name="connsiteX160" fmla="*/ 315278 w 323850"/>
              <a:gd name="connsiteY160" fmla="*/ 162878 h 325755"/>
              <a:gd name="connsiteX161" fmla="*/ 298133 w 323850"/>
              <a:gd name="connsiteY161" fmla="*/ 180023 h 325755"/>
              <a:gd name="connsiteX162" fmla="*/ 280988 w 323850"/>
              <a:gd name="connsiteY162" fmla="*/ 161925 h 325755"/>
              <a:gd name="connsiteX163" fmla="*/ 298133 w 323850"/>
              <a:gd name="connsiteY163" fmla="*/ 145733 h 325755"/>
              <a:gd name="connsiteX164" fmla="*/ 145733 w 323850"/>
              <a:gd name="connsiteY164" fmla="*/ 26670 h 325755"/>
              <a:gd name="connsiteX165" fmla="*/ 161925 w 323850"/>
              <a:gd name="connsiteY165" fmla="*/ 9525 h 325755"/>
              <a:gd name="connsiteX166" fmla="*/ 179070 w 323850"/>
              <a:gd name="connsiteY166" fmla="*/ 26670 h 325755"/>
              <a:gd name="connsiteX167" fmla="*/ 161925 w 323850"/>
              <a:gd name="connsiteY167" fmla="*/ 42863 h 325755"/>
              <a:gd name="connsiteX168" fmla="*/ 145733 w 323850"/>
              <a:gd name="connsiteY168" fmla="*/ 26670 h 325755"/>
              <a:gd name="connsiteX169" fmla="*/ 26670 w 323850"/>
              <a:gd name="connsiteY169" fmla="*/ 179070 h 325755"/>
              <a:gd name="connsiteX170" fmla="*/ 9525 w 323850"/>
              <a:gd name="connsiteY170" fmla="*/ 161925 h 325755"/>
              <a:gd name="connsiteX171" fmla="*/ 26670 w 323850"/>
              <a:gd name="connsiteY171" fmla="*/ 144780 h 325755"/>
              <a:gd name="connsiteX172" fmla="*/ 42863 w 323850"/>
              <a:gd name="connsiteY172" fmla="*/ 161925 h 325755"/>
              <a:gd name="connsiteX173" fmla="*/ 26670 w 323850"/>
              <a:gd name="connsiteY173" fmla="*/ 179070 h 325755"/>
              <a:gd name="connsiteX174" fmla="*/ 179070 w 323850"/>
              <a:gd name="connsiteY174" fmla="*/ 298133 h 325755"/>
              <a:gd name="connsiteX175" fmla="*/ 162260 w 323850"/>
              <a:gd name="connsiteY175" fmla="*/ 316006 h 325755"/>
              <a:gd name="connsiteX176" fmla="*/ 145449 w 323850"/>
              <a:gd name="connsiteY176" fmla="*/ 299137 h 325755"/>
              <a:gd name="connsiteX177" fmla="*/ 161925 w 323850"/>
              <a:gd name="connsiteY177" fmla="*/ 281992 h 325755"/>
              <a:gd name="connsiteX178" fmla="*/ 179070 w 323850"/>
              <a:gd name="connsiteY178" fmla="*/ 298133 h 325755"/>
              <a:gd name="connsiteX179" fmla="*/ 161925 w 323850"/>
              <a:gd name="connsiteY179" fmla="*/ 241935 h 325755"/>
              <a:gd name="connsiteX180" fmla="*/ 81915 w 323850"/>
              <a:gd name="connsiteY180" fmla="*/ 161925 h 325755"/>
              <a:gd name="connsiteX181" fmla="*/ 161925 w 323850"/>
              <a:gd name="connsiteY181" fmla="*/ 81915 h 325755"/>
              <a:gd name="connsiteX182" fmla="*/ 241935 w 323850"/>
              <a:gd name="connsiteY182" fmla="*/ 161925 h 325755"/>
              <a:gd name="connsiteX183" fmla="*/ 161925 w 323850"/>
              <a:gd name="connsiteY183"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3840 w 323850"/>
              <a:gd name="connsiteY144" fmla="*/ 272415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3840 w 323850"/>
              <a:gd name="connsiteY148" fmla="*/ 272415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0980 w 323850"/>
              <a:gd name="connsiteY147" fmla="*/ 266700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8125 w 323850"/>
              <a:gd name="connsiteY145" fmla="*/ 295275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5265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39464 w 323850"/>
              <a:gd name="connsiteY145" fmla="*/ 295610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513 w 323850"/>
              <a:gd name="connsiteY144" fmla="*/ 272750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5513 w 323850"/>
              <a:gd name="connsiteY148" fmla="*/ 272750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6852 w 323850"/>
              <a:gd name="connsiteY144" fmla="*/ 271746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6852 w 323850"/>
              <a:gd name="connsiteY148" fmla="*/ 271746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6852 w 323850"/>
              <a:gd name="connsiteY144" fmla="*/ 271746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6852 w 323850"/>
              <a:gd name="connsiteY148" fmla="*/ 271746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269 w 323850"/>
              <a:gd name="connsiteY146" fmla="*/ 289560 h 325755"/>
              <a:gd name="connsiteX147" fmla="*/ 221984 w 323850"/>
              <a:gd name="connsiteY147" fmla="*/ 266365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1984 w 323850"/>
              <a:gd name="connsiteY147" fmla="*/ 266365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1984 w 323850"/>
              <a:gd name="connsiteY147" fmla="*/ 266365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73368 w 323850"/>
              <a:gd name="connsiteY149" fmla="*/ 213360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73368 w 323850"/>
              <a:gd name="connsiteY157" fmla="*/ 213360 h 325755"/>
              <a:gd name="connsiteX158" fmla="*/ 298133 w 323850"/>
              <a:gd name="connsiteY158" fmla="*/ 145733 h 325755"/>
              <a:gd name="connsiteX159" fmla="*/ 315278 w 323850"/>
              <a:gd name="connsiteY159" fmla="*/ 162878 h 325755"/>
              <a:gd name="connsiteX160" fmla="*/ 298133 w 323850"/>
              <a:gd name="connsiteY160" fmla="*/ 180023 h 325755"/>
              <a:gd name="connsiteX161" fmla="*/ 280988 w 323850"/>
              <a:gd name="connsiteY161" fmla="*/ 161925 h 325755"/>
              <a:gd name="connsiteX162" fmla="*/ 298133 w 323850"/>
              <a:gd name="connsiteY162" fmla="*/ 145733 h 325755"/>
              <a:gd name="connsiteX163" fmla="*/ 145733 w 323850"/>
              <a:gd name="connsiteY163" fmla="*/ 26670 h 325755"/>
              <a:gd name="connsiteX164" fmla="*/ 161925 w 323850"/>
              <a:gd name="connsiteY164" fmla="*/ 9525 h 325755"/>
              <a:gd name="connsiteX165" fmla="*/ 179070 w 323850"/>
              <a:gd name="connsiteY165" fmla="*/ 26670 h 325755"/>
              <a:gd name="connsiteX166" fmla="*/ 161925 w 323850"/>
              <a:gd name="connsiteY166" fmla="*/ 42863 h 325755"/>
              <a:gd name="connsiteX167" fmla="*/ 145733 w 323850"/>
              <a:gd name="connsiteY167" fmla="*/ 26670 h 325755"/>
              <a:gd name="connsiteX168" fmla="*/ 26670 w 323850"/>
              <a:gd name="connsiteY168" fmla="*/ 179070 h 325755"/>
              <a:gd name="connsiteX169" fmla="*/ 9525 w 323850"/>
              <a:gd name="connsiteY169" fmla="*/ 161925 h 325755"/>
              <a:gd name="connsiteX170" fmla="*/ 26670 w 323850"/>
              <a:gd name="connsiteY170" fmla="*/ 144780 h 325755"/>
              <a:gd name="connsiteX171" fmla="*/ 42863 w 323850"/>
              <a:gd name="connsiteY171" fmla="*/ 161925 h 325755"/>
              <a:gd name="connsiteX172" fmla="*/ 26670 w 323850"/>
              <a:gd name="connsiteY172" fmla="*/ 179070 h 325755"/>
              <a:gd name="connsiteX173" fmla="*/ 179070 w 323850"/>
              <a:gd name="connsiteY173" fmla="*/ 298133 h 325755"/>
              <a:gd name="connsiteX174" fmla="*/ 162260 w 323850"/>
              <a:gd name="connsiteY174" fmla="*/ 316006 h 325755"/>
              <a:gd name="connsiteX175" fmla="*/ 145449 w 323850"/>
              <a:gd name="connsiteY175" fmla="*/ 299137 h 325755"/>
              <a:gd name="connsiteX176" fmla="*/ 161925 w 323850"/>
              <a:gd name="connsiteY176" fmla="*/ 281992 h 325755"/>
              <a:gd name="connsiteX177" fmla="*/ 179070 w 323850"/>
              <a:gd name="connsiteY177" fmla="*/ 298133 h 325755"/>
              <a:gd name="connsiteX178" fmla="*/ 161925 w 323850"/>
              <a:gd name="connsiteY178" fmla="*/ 241935 h 325755"/>
              <a:gd name="connsiteX179" fmla="*/ 81915 w 323850"/>
              <a:gd name="connsiteY179" fmla="*/ 161925 h 325755"/>
              <a:gd name="connsiteX180" fmla="*/ 161925 w 323850"/>
              <a:gd name="connsiteY180" fmla="*/ 81915 h 325755"/>
              <a:gd name="connsiteX181" fmla="*/ 241935 w 323850"/>
              <a:gd name="connsiteY181" fmla="*/ 161925 h 325755"/>
              <a:gd name="connsiteX182" fmla="*/ 161925 w 323850"/>
              <a:gd name="connsiteY182"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78130 w 323850"/>
              <a:gd name="connsiteY150" fmla="*/ 212408 h 325755"/>
              <a:gd name="connsiteX151" fmla="*/ 286703 w 323850"/>
              <a:gd name="connsiteY151" fmla="*/ 214313 h 325755"/>
              <a:gd name="connsiteX152" fmla="*/ 294323 w 323850"/>
              <a:gd name="connsiteY152" fmla="*/ 224790 h 325755"/>
              <a:gd name="connsiteX153" fmla="*/ 292418 w 323850"/>
              <a:gd name="connsiteY153" fmla="*/ 237173 h 325755"/>
              <a:gd name="connsiteX154" fmla="*/ 281940 w 323850"/>
              <a:gd name="connsiteY154" fmla="*/ 244793 h 325755"/>
              <a:gd name="connsiteX155" fmla="*/ 269558 w 323850"/>
              <a:gd name="connsiteY155" fmla="*/ 242888 h 325755"/>
              <a:gd name="connsiteX156" fmla="*/ 263843 w 323850"/>
              <a:gd name="connsiteY156" fmla="*/ 220028 h 325755"/>
              <a:gd name="connsiteX157" fmla="*/ 298133 w 323850"/>
              <a:gd name="connsiteY157" fmla="*/ 145733 h 325755"/>
              <a:gd name="connsiteX158" fmla="*/ 315278 w 323850"/>
              <a:gd name="connsiteY158" fmla="*/ 162878 h 325755"/>
              <a:gd name="connsiteX159" fmla="*/ 298133 w 323850"/>
              <a:gd name="connsiteY159" fmla="*/ 180023 h 325755"/>
              <a:gd name="connsiteX160" fmla="*/ 280988 w 323850"/>
              <a:gd name="connsiteY160" fmla="*/ 161925 h 325755"/>
              <a:gd name="connsiteX161" fmla="*/ 298133 w 323850"/>
              <a:gd name="connsiteY161" fmla="*/ 145733 h 325755"/>
              <a:gd name="connsiteX162" fmla="*/ 145733 w 323850"/>
              <a:gd name="connsiteY162" fmla="*/ 26670 h 325755"/>
              <a:gd name="connsiteX163" fmla="*/ 161925 w 323850"/>
              <a:gd name="connsiteY163" fmla="*/ 9525 h 325755"/>
              <a:gd name="connsiteX164" fmla="*/ 179070 w 323850"/>
              <a:gd name="connsiteY164" fmla="*/ 26670 h 325755"/>
              <a:gd name="connsiteX165" fmla="*/ 161925 w 323850"/>
              <a:gd name="connsiteY165" fmla="*/ 42863 h 325755"/>
              <a:gd name="connsiteX166" fmla="*/ 145733 w 323850"/>
              <a:gd name="connsiteY166" fmla="*/ 26670 h 325755"/>
              <a:gd name="connsiteX167" fmla="*/ 26670 w 323850"/>
              <a:gd name="connsiteY167" fmla="*/ 179070 h 325755"/>
              <a:gd name="connsiteX168" fmla="*/ 9525 w 323850"/>
              <a:gd name="connsiteY168" fmla="*/ 161925 h 325755"/>
              <a:gd name="connsiteX169" fmla="*/ 26670 w 323850"/>
              <a:gd name="connsiteY169" fmla="*/ 144780 h 325755"/>
              <a:gd name="connsiteX170" fmla="*/ 42863 w 323850"/>
              <a:gd name="connsiteY170" fmla="*/ 161925 h 325755"/>
              <a:gd name="connsiteX171" fmla="*/ 26670 w 323850"/>
              <a:gd name="connsiteY171" fmla="*/ 179070 h 325755"/>
              <a:gd name="connsiteX172" fmla="*/ 179070 w 323850"/>
              <a:gd name="connsiteY172" fmla="*/ 298133 h 325755"/>
              <a:gd name="connsiteX173" fmla="*/ 162260 w 323850"/>
              <a:gd name="connsiteY173" fmla="*/ 316006 h 325755"/>
              <a:gd name="connsiteX174" fmla="*/ 145449 w 323850"/>
              <a:gd name="connsiteY174" fmla="*/ 299137 h 325755"/>
              <a:gd name="connsiteX175" fmla="*/ 161925 w 323850"/>
              <a:gd name="connsiteY175" fmla="*/ 281992 h 325755"/>
              <a:gd name="connsiteX176" fmla="*/ 179070 w 323850"/>
              <a:gd name="connsiteY176" fmla="*/ 298133 h 325755"/>
              <a:gd name="connsiteX177" fmla="*/ 161925 w 323850"/>
              <a:gd name="connsiteY177" fmla="*/ 241935 h 325755"/>
              <a:gd name="connsiteX178" fmla="*/ 81915 w 323850"/>
              <a:gd name="connsiteY178" fmla="*/ 161925 h 325755"/>
              <a:gd name="connsiteX179" fmla="*/ 161925 w 323850"/>
              <a:gd name="connsiteY179" fmla="*/ 81915 h 325755"/>
              <a:gd name="connsiteX180" fmla="*/ 241935 w 323850"/>
              <a:gd name="connsiteY180" fmla="*/ 161925 h 325755"/>
              <a:gd name="connsiteX181" fmla="*/ 161925 w 323850"/>
              <a:gd name="connsiteY181"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4323 w 323850"/>
              <a:gd name="connsiteY151" fmla="*/ 224790 h 325755"/>
              <a:gd name="connsiteX152" fmla="*/ 292418 w 323850"/>
              <a:gd name="connsiteY152" fmla="*/ 237173 h 325755"/>
              <a:gd name="connsiteX153" fmla="*/ 281940 w 323850"/>
              <a:gd name="connsiteY153" fmla="*/ 244793 h 325755"/>
              <a:gd name="connsiteX154" fmla="*/ 269558 w 323850"/>
              <a:gd name="connsiteY154" fmla="*/ 242888 h 325755"/>
              <a:gd name="connsiteX155" fmla="*/ 263843 w 323850"/>
              <a:gd name="connsiteY155" fmla="*/ 220028 h 325755"/>
              <a:gd name="connsiteX156" fmla="*/ 298133 w 323850"/>
              <a:gd name="connsiteY156" fmla="*/ 145733 h 325755"/>
              <a:gd name="connsiteX157" fmla="*/ 315278 w 323850"/>
              <a:gd name="connsiteY157" fmla="*/ 162878 h 325755"/>
              <a:gd name="connsiteX158" fmla="*/ 298133 w 323850"/>
              <a:gd name="connsiteY158" fmla="*/ 180023 h 325755"/>
              <a:gd name="connsiteX159" fmla="*/ 280988 w 323850"/>
              <a:gd name="connsiteY159" fmla="*/ 161925 h 325755"/>
              <a:gd name="connsiteX160" fmla="*/ 298133 w 323850"/>
              <a:gd name="connsiteY160" fmla="*/ 145733 h 325755"/>
              <a:gd name="connsiteX161" fmla="*/ 145733 w 323850"/>
              <a:gd name="connsiteY161" fmla="*/ 26670 h 325755"/>
              <a:gd name="connsiteX162" fmla="*/ 161925 w 323850"/>
              <a:gd name="connsiteY162" fmla="*/ 9525 h 325755"/>
              <a:gd name="connsiteX163" fmla="*/ 179070 w 323850"/>
              <a:gd name="connsiteY163" fmla="*/ 26670 h 325755"/>
              <a:gd name="connsiteX164" fmla="*/ 161925 w 323850"/>
              <a:gd name="connsiteY164" fmla="*/ 42863 h 325755"/>
              <a:gd name="connsiteX165" fmla="*/ 145733 w 323850"/>
              <a:gd name="connsiteY165" fmla="*/ 26670 h 325755"/>
              <a:gd name="connsiteX166" fmla="*/ 26670 w 323850"/>
              <a:gd name="connsiteY166" fmla="*/ 179070 h 325755"/>
              <a:gd name="connsiteX167" fmla="*/ 9525 w 323850"/>
              <a:gd name="connsiteY167" fmla="*/ 161925 h 325755"/>
              <a:gd name="connsiteX168" fmla="*/ 26670 w 323850"/>
              <a:gd name="connsiteY168" fmla="*/ 144780 h 325755"/>
              <a:gd name="connsiteX169" fmla="*/ 42863 w 323850"/>
              <a:gd name="connsiteY169" fmla="*/ 161925 h 325755"/>
              <a:gd name="connsiteX170" fmla="*/ 26670 w 323850"/>
              <a:gd name="connsiteY170" fmla="*/ 179070 h 325755"/>
              <a:gd name="connsiteX171" fmla="*/ 179070 w 323850"/>
              <a:gd name="connsiteY171" fmla="*/ 298133 h 325755"/>
              <a:gd name="connsiteX172" fmla="*/ 162260 w 323850"/>
              <a:gd name="connsiteY172" fmla="*/ 316006 h 325755"/>
              <a:gd name="connsiteX173" fmla="*/ 145449 w 323850"/>
              <a:gd name="connsiteY173" fmla="*/ 299137 h 325755"/>
              <a:gd name="connsiteX174" fmla="*/ 161925 w 323850"/>
              <a:gd name="connsiteY174" fmla="*/ 281992 h 325755"/>
              <a:gd name="connsiteX175" fmla="*/ 179070 w 323850"/>
              <a:gd name="connsiteY175" fmla="*/ 298133 h 325755"/>
              <a:gd name="connsiteX176" fmla="*/ 161925 w 323850"/>
              <a:gd name="connsiteY176" fmla="*/ 241935 h 325755"/>
              <a:gd name="connsiteX177" fmla="*/ 81915 w 323850"/>
              <a:gd name="connsiteY177" fmla="*/ 161925 h 325755"/>
              <a:gd name="connsiteX178" fmla="*/ 161925 w 323850"/>
              <a:gd name="connsiteY178" fmla="*/ 81915 h 325755"/>
              <a:gd name="connsiteX179" fmla="*/ 241935 w 323850"/>
              <a:gd name="connsiteY179" fmla="*/ 161925 h 325755"/>
              <a:gd name="connsiteX180" fmla="*/ 161925 w 323850"/>
              <a:gd name="connsiteY180"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4323 w 323850"/>
              <a:gd name="connsiteY151" fmla="*/ 224790 h 325755"/>
              <a:gd name="connsiteX152" fmla="*/ 292418 w 323850"/>
              <a:gd name="connsiteY152" fmla="*/ 237173 h 325755"/>
              <a:gd name="connsiteX153" fmla="*/ 281940 w 323850"/>
              <a:gd name="connsiteY153" fmla="*/ 244793 h 325755"/>
              <a:gd name="connsiteX154" fmla="*/ 269558 w 323850"/>
              <a:gd name="connsiteY154" fmla="*/ 242888 h 325755"/>
              <a:gd name="connsiteX155" fmla="*/ 263843 w 323850"/>
              <a:gd name="connsiteY155" fmla="*/ 220028 h 325755"/>
              <a:gd name="connsiteX156" fmla="*/ 298133 w 323850"/>
              <a:gd name="connsiteY156" fmla="*/ 145733 h 325755"/>
              <a:gd name="connsiteX157" fmla="*/ 315278 w 323850"/>
              <a:gd name="connsiteY157" fmla="*/ 162878 h 325755"/>
              <a:gd name="connsiteX158" fmla="*/ 298133 w 323850"/>
              <a:gd name="connsiteY158" fmla="*/ 180023 h 325755"/>
              <a:gd name="connsiteX159" fmla="*/ 280988 w 323850"/>
              <a:gd name="connsiteY159" fmla="*/ 161925 h 325755"/>
              <a:gd name="connsiteX160" fmla="*/ 298133 w 323850"/>
              <a:gd name="connsiteY160" fmla="*/ 145733 h 325755"/>
              <a:gd name="connsiteX161" fmla="*/ 145733 w 323850"/>
              <a:gd name="connsiteY161" fmla="*/ 26670 h 325755"/>
              <a:gd name="connsiteX162" fmla="*/ 161925 w 323850"/>
              <a:gd name="connsiteY162" fmla="*/ 9525 h 325755"/>
              <a:gd name="connsiteX163" fmla="*/ 179070 w 323850"/>
              <a:gd name="connsiteY163" fmla="*/ 26670 h 325755"/>
              <a:gd name="connsiteX164" fmla="*/ 161925 w 323850"/>
              <a:gd name="connsiteY164" fmla="*/ 42863 h 325755"/>
              <a:gd name="connsiteX165" fmla="*/ 145733 w 323850"/>
              <a:gd name="connsiteY165" fmla="*/ 26670 h 325755"/>
              <a:gd name="connsiteX166" fmla="*/ 26670 w 323850"/>
              <a:gd name="connsiteY166" fmla="*/ 179070 h 325755"/>
              <a:gd name="connsiteX167" fmla="*/ 9525 w 323850"/>
              <a:gd name="connsiteY167" fmla="*/ 161925 h 325755"/>
              <a:gd name="connsiteX168" fmla="*/ 26670 w 323850"/>
              <a:gd name="connsiteY168" fmla="*/ 144780 h 325755"/>
              <a:gd name="connsiteX169" fmla="*/ 42863 w 323850"/>
              <a:gd name="connsiteY169" fmla="*/ 161925 h 325755"/>
              <a:gd name="connsiteX170" fmla="*/ 26670 w 323850"/>
              <a:gd name="connsiteY170" fmla="*/ 179070 h 325755"/>
              <a:gd name="connsiteX171" fmla="*/ 179070 w 323850"/>
              <a:gd name="connsiteY171" fmla="*/ 298133 h 325755"/>
              <a:gd name="connsiteX172" fmla="*/ 162260 w 323850"/>
              <a:gd name="connsiteY172" fmla="*/ 316006 h 325755"/>
              <a:gd name="connsiteX173" fmla="*/ 145449 w 323850"/>
              <a:gd name="connsiteY173" fmla="*/ 299137 h 325755"/>
              <a:gd name="connsiteX174" fmla="*/ 161925 w 323850"/>
              <a:gd name="connsiteY174" fmla="*/ 281992 h 325755"/>
              <a:gd name="connsiteX175" fmla="*/ 179070 w 323850"/>
              <a:gd name="connsiteY175" fmla="*/ 298133 h 325755"/>
              <a:gd name="connsiteX176" fmla="*/ 161925 w 323850"/>
              <a:gd name="connsiteY176" fmla="*/ 241935 h 325755"/>
              <a:gd name="connsiteX177" fmla="*/ 81915 w 323850"/>
              <a:gd name="connsiteY177" fmla="*/ 161925 h 325755"/>
              <a:gd name="connsiteX178" fmla="*/ 161925 w 323850"/>
              <a:gd name="connsiteY178" fmla="*/ 81915 h 325755"/>
              <a:gd name="connsiteX179" fmla="*/ 241935 w 323850"/>
              <a:gd name="connsiteY179" fmla="*/ 161925 h 325755"/>
              <a:gd name="connsiteX180" fmla="*/ 161925 w 323850"/>
              <a:gd name="connsiteY180"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81940 w 323850"/>
              <a:gd name="connsiteY152" fmla="*/ 244793 h 325755"/>
              <a:gd name="connsiteX153" fmla="*/ 269558 w 323850"/>
              <a:gd name="connsiteY153" fmla="*/ 242888 h 325755"/>
              <a:gd name="connsiteX154" fmla="*/ 263843 w 323850"/>
              <a:gd name="connsiteY154" fmla="*/ 220028 h 325755"/>
              <a:gd name="connsiteX155" fmla="*/ 298133 w 323850"/>
              <a:gd name="connsiteY155" fmla="*/ 145733 h 325755"/>
              <a:gd name="connsiteX156" fmla="*/ 315278 w 323850"/>
              <a:gd name="connsiteY156" fmla="*/ 162878 h 325755"/>
              <a:gd name="connsiteX157" fmla="*/ 298133 w 323850"/>
              <a:gd name="connsiteY157" fmla="*/ 180023 h 325755"/>
              <a:gd name="connsiteX158" fmla="*/ 280988 w 323850"/>
              <a:gd name="connsiteY158" fmla="*/ 161925 h 325755"/>
              <a:gd name="connsiteX159" fmla="*/ 298133 w 323850"/>
              <a:gd name="connsiteY159" fmla="*/ 145733 h 325755"/>
              <a:gd name="connsiteX160" fmla="*/ 145733 w 323850"/>
              <a:gd name="connsiteY160" fmla="*/ 26670 h 325755"/>
              <a:gd name="connsiteX161" fmla="*/ 161925 w 323850"/>
              <a:gd name="connsiteY161" fmla="*/ 9525 h 325755"/>
              <a:gd name="connsiteX162" fmla="*/ 179070 w 323850"/>
              <a:gd name="connsiteY162" fmla="*/ 26670 h 325755"/>
              <a:gd name="connsiteX163" fmla="*/ 161925 w 323850"/>
              <a:gd name="connsiteY163" fmla="*/ 42863 h 325755"/>
              <a:gd name="connsiteX164" fmla="*/ 145733 w 323850"/>
              <a:gd name="connsiteY164" fmla="*/ 26670 h 325755"/>
              <a:gd name="connsiteX165" fmla="*/ 26670 w 323850"/>
              <a:gd name="connsiteY165" fmla="*/ 179070 h 325755"/>
              <a:gd name="connsiteX166" fmla="*/ 9525 w 323850"/>
              <a:gd name="connsiteY166" fmla="*/ 161925 h 325755"/>
              <a:gd name="connsiteX167" fmla="*/ 26670 w 323850"/>
              <a:gd name="connsiteY167" fmla="*/ 144780 h 325755"/>
              <a:gd name="connsiteX168" fmla="*/ 42863 w 323850"/>
              <a:gd name="connsiteY168" fmla="*/ 161925 h 325755"/>
              <a:gd name="connsiteX169" fmla="*/ 26670 w 323850"/>
              <a:gd name="connsiteY169" fmla="*/ 179070 h 325755"/>
              <a:gd name="connsiteX170" fmla="*/ 179070 w 323850"/>
              <a:gd name="connsiteY170" fmla="*/ 298133 h 325755"/>
              <a:gd name="connsiteX171" fmla="*/ 162260 w 323850"/>
              <a:gd name="connsiteY171" fmla="*/ 316006 h 325755"/>
              <a:gd name="connsiteX172" fmla="*/ 145449 w 323850"/>
              <a:gd name="connsiteY172" fmla="*/ 299137 h 325755"/>
              <a:gd name="connsiteX173" fmla="*/ 161925 w 323850"/>
              <a:gd name="connsiteY173" fmla="*/ 281992 h 325755"/>
              <a:gd name="connsiteX174" fmla="*/ 179070 w 323850"/>
              <a:gd name="connsiteY174" fmla="*/ 298133 h 325755"/>
              <a:gd name="connsiteX175" fmla="*/ 161925 w 323850"/>
              <a:gd name="connsiteY175" fmla="*/ 241935 h 325755"/>
              <a:gd name="connsiteX176" fmla="*/ 81915 w 323850"/>
              <a:gd name="connsiteY176" fmla="*/ 161925 h 325755"/>
              <a:gd name="connsiteX177" fmla="*/ 161925 w 323850"/>
              <a:gd name="connsiteY177" fmla="*/ 81915 h 325755"/>
              <a:gd name="connsiteX178" fmla="*/ 241935 w 323850"/>
              <a:gd name="connsiteY178" fmla="*/ 161925 h 325755"/>
              <a:gd name="connsiteX179" fmla="*/ 161925 w 323850"/>
              <a:gd name="connsiteY179"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6703 w 323850"/>
              <a:gd name="connsiteY150" fmla="*/ 214313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418 w 323850"/>
              <a:gd name="connsiteY151" fmla="*/ 237173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558 w 323850"/>
              <a:gd name="connsiteY152" fmla="*/ 242888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2219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2219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042 w 323850"/>
              <a:gd name="connsiteY150" fmla="*/ 215652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3843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3843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4512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4512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4512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4512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4512 w 323850"/>
              <a:gd name="connsiteY149" fmla="*/ 220028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4512 w 323850"/>
              <a:gd name="connsiteY153" fmla="*/ 220028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711 w 323850"/>
              <a:gd name="connsiteY150" fmla="*/ 215987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 name="connsiteX0" fmla="*/ 250508 w 323850"/>
              <a:gd name="connsiteY0" fmla="*/ 166688 h 325755"/>
              <a:gd name="connsiteX1" fmla="*/ 271463 w 323850"/>
              <a:gd name="connsiteY1" fmla="*/ 166688 h 325755"/>
              <a:gd name="connsiteX2" fmla="*/ 297180 w 323850"/>
              <a:gd name="connsiteY2" fmla="*/ 188595 h 325755"/>
              <a:gd name="connsiteX3" fmla="*/ 323850 w 323850"/>
              <a:gd name="connsiteY3" fmla="*/ 161925 h 325755"/>
              <a:gd name="connsiteX4" fmla="*/ 297180 w 323850"/>
              <a:gd name="connsiteY4" fmla="*/ 135255 h 325755"/>
              <a:gd name="connsiteX5" fmla="*/ 271463 w 323850"/>
              <a:gd name="connsiteY5" fmla="*/ 157163 h 325755"/>
              <a:gd name="connsiteX6" fmla="*/ 250508 w 323850"/>
              <a:gd name="connsiteY6" fmla="*/ 157163 h 325755"/>
              <a:gd name="connsiteX7" fmla="*/ 240983 w 323850"/>
              <a:gd name="connsiteY7" fmla="*/ 121920 h 325755"/>
              <a:gd name="connsiteX8" fmla="*/ 257175 w 323850"/>
              <a:gd name="connsiteY8" fmla="*/ 112395 h 325755"/>
              <a:gd name="connsiteX9" fmla="*/ 270510 w 323850"/>
              <a:gd name="connsiteY9" fmla="*/ 120968 h 325755"/>
              <a:gd name="connsiteX10" fmla="*/ 277178 w 323850"/>
              <a:gd name="connsiteY10" fmla="*/ 121920 h 325755"/>
              <a:gd name="connsiteX11" fmla="*/ 290513 w 323850"/>
              <a:gd name="connsiteY11" fmla="*/ 118110 h 325755"/>
              <a:gd name="connsiteX12" fmla="*/ 302895 w 323850"/>
              <a:gd name="connsiteY12" fmla="*/ 101918 h 325755"/>
              <a:gd name="connsiteX13" fmla="*/ 300038 w 323850"/>
              <a:gd name="connsiteY13" fmla="*/ 81915 h 325755"/>
              <a:gd name="connsiteX14" fmla="*/ 283845 w 323850"/>
              <a:gd name="connsiteY14" fmla="*/ 69533 h 325755"/>
              <a:gd name="connsiteX15" fmla="*/ 263843 w 323850"/>
              <a:gd name="connsiteY15" fmla="*/ 72390 h 325755"/>
              <a:gd name="connsiteX16" fmla="*/ 252413 w 323850"/>
              <a:gd name="connsiteY16" fmla="*/ 103823 h 325755"/>
              <a:gd name="connsiteX17" fmla="*/ 236220 w 323850"/>
              <a:gd name="connsiteY17" fmla="*/ 113348 h 325755"/>
              <a:gd name="connsiteX18" fmla="*/ 209550 w 323850"/>
              <a:gd name="connsiteY18" fmla="*/ 86678 h 325755"/>
              <a:gd name="connsiteX19" fmla="*/ 220028 w 323850"/>
              <a:gd name="connsiteY19" fmla="*/ 68580 h 325755"/>
              <a:gd name="connsiteX20" fmla="*/ 228600 w 323850"/>
              <a:gd name="connsiteY20" fmla="*/ 70485 h 325755"/>
              <a:gd name="connsiteX21" fmla="*/ 251460 w 323850"/>
              <a:gd name="connsiteY21" fmla="*/ 57150 h 325755"/>
              <a:gd name="connsiteX22" fmla="*/ 241935 w 323850"/>
              <a:gd name="connsiteY22" fmla="*/ 20955 h 325755"/>
              <a:gd name="connsiteX23" fmla="*/ 205740 w 323850"/>
              <a:gd name="connsiteY23" fmla="*/ 30480 h 325755"/>
              <a:gd name="connsiteX24" fmla="*/ 211455 w 323850"/>
              <a:gd name="connsiteY24" fmla="*/ 63818 h 325755"/>
              <a:gd name="connsiteX25" fmla="*/ 200978 w 323850"/>
              <a:gd name="connsiteY25" fmla="*/ 81915 h 325755"/>
              <a:gd name="connsiteX26" fmla="*/ 165735 w 323850"/>
              <a:gd name="connsiteY26" fmla="*/ 72390 h 325755"/>
              <a:gd name="connsiteX27" fmla="*/ 165735 w 323850"/>
              <a:gd name="connsiteY27" fmla="*/ 51435 h 325755"/>
              <a:gd name="connsiteX28" fmla="*/ 187643 w 323850"/>
              <a:gd name="connsiteY28" fmla="*/ 25718 h 325755"/>
              <a:gd name="connsiteX29" fmla="*/ 161925 w 323850"/>
              <a:gd name="connsiteY29" fmla="*/ 0 h 325755"/>
              <a:gd name="connsiteX30" fmla="*/ 135255 w 323850"/>
              <a:gd name="connsiteY30" fmla="*/ 26670 h 325755"/>
              <a:gd name="connsiteX31" fmla="*/ 157163 w 323850"/>
              <a:gd name="connsiteY31" fmla="*/ 52388 h 325755"/>
              <a:gd name="connsiteX32" fmla="*/ 157163 w 323850"/>
              <a:gd name="connsiteY32" fmla="*/ 73343 h 325755"/>
              <a:gd name="connsiteX33" fmla="*/ 121920 w 323850"/>
              <a:gd name="connsiteY33" fmla="*/ 82868 h 325755"/>
              <a:gd name="connsiteX34" fmla="*/ 111443 w 323850"/>
              <a:gd name="connsiteY34" fmla="*/ 64770 h 325755"/>
              <a:gd name="connsiteX35" fmla="*/ 117158 w 323850"/>
              <a:gd name="connsiteY35" fmla="*/ 31433 h 325755"/>
              <a:gd name="connsiteX36" fmla="*/ 80963 w 323850"/>
              <a:gd name="connsiteY36" fmla="*/ 21908 h 325755"/>
              <a:gd name="connsiteX37" fmla="*/ 71438 w 323850"/>
              <a:gd name="connsiteY37" fmla="*/ 57150 h 325755"/>
              <a:gd name="connsiteX38" fmla="*/ 94298 w 323850"/>
              <a:gd name="connsiteY38" fmla="*/ 70485 h 325755"/>
              <a:gd name="connsiteX39" fmla="*/ 102870 w 323850"/>
              <a:gd name="connsiteY39" fmla="*/ 68580 h 325755"/>
              <a:gd name="connsiteX40" fmla="*/ 113348 w 323850"/>
              <a:gd name="connsiteY40" fmla="*/ 86678 h 325755"/>
              <a:gd name="connsiteX41" fmla="*/ 86678 w 323850"/>
              <a:gd name="connsiteY41" fmla="*/ 113348 h 325755"/>
              <a:gd name="connsiteX42" fmla="*/ 70485 w 323850"/>
              <a:gd name="connsiteY42" fmla="*/ 103823 h 325755"/>
              <a:gd name="connsiteX43" fmla="*/ 59055 w 323850"/>
              <a:gd name="connsiteY43" fmla="*/ 72390 h 325755"/>
              <a:gd name="connsiteX44" fmla="*/ 39053 w 323850"/>
              <a:gd name="connsiteY44" fmla="*/ 70485 h 325755"/>
              <a:gd name="connsiteX45" fmla="*/ 22860 w 323850"/>
              <a:gd name="connsiteY45" fmla="*/ 82868 h 325755"/>
              <a:gd name="connsiteX46" fmla="*/ 20955 w 323850"/>
              <a:gd name="connsiteY46" fmla="*/ 102870 h 325755"/>
              <a:gd name="connsiteX47" fmla="*/ 33338 w 323850"/>
              <a:gd name="connsiteY47" fmla="*/ 119063 h 325755"/>
              <a:gd name="connsiteX48" fmla="*/ 46673 w 323850"/>
              <a:gd name="connsiteY48" fmla="*/ 122873 h 325755"/>
              <a:gd name="connsiteX49" fmla="*/ 66675 w 323850"/>
              <a:gd name="connsiteY49" fmla="*/ 113348 h 325755"/>
              <a:gd name="connsiteX50" fmla="*/ 82868 w 323850"/>
              <a:gd name="connsiteY50" fmla="*/ 122873 h 325755"/>
              <a:gd name="connsiteX51" fmla="*/ 73343 w 323850"/>
              <a:gd name="connsiteY51" fmla="*/ 158115 h 325755"/>
              <a:gd name="connsiteX52" fmla="*/ 51435 w 323850"/>
              <a:gd name="connsiteY52" fmla="*/ 158115 h 325755"/>
              <a:gd name="connsiteX53" fmla="*/ 25718 w 323850"/>
              <a:gd name="connsiteY53" fmla="*/ 136208 h 325755"/>
              <a:gd name="connsiteX54" fmla="*/ 0 w 323850"/>
              <a:gd name="connsiteY54" fmla="*/ 161925 h 325755"/>
              <a:gd name="connsiteX55" fmla="*/ 26670 w 323850"/>
              <a:gd name="connsiteY55" fmla="*/ 188595 h 325755"/>
              <a:gd name="connsiteX56" fmla="*/ 52388 w 323850"/>
              <a:gd name="connsiteY56" fmla="*/ 166688 h 325755"/>
              <a:gd name="connsiteX57" fmla="*/ 73343 w 323850"/>
              <a:gd name="connsiteY57" fmla="*/ 166688 h 325755"/>
              <a:gd name="connsiteX58" fmla="*/ 82868 w 323850"/>
              <a:gd name="connsiteY58" fmla="*/ 202883 h 325755"/>
              <a:gd name="connsiteX59" fmla="*/ 65723 w 323850"/>
              <a:gd name="connsiteY59" fmla="*/ 212408 h 325755"/>
              <a:gd name="connsiteX60" fmla="*/ 32385 w 323850"/>
              <a:gd name="connsiteY60" fmla="*/ 206693 h 325755"/>
              <a:gd name="connsiteX61" fmla="*/ 20003 w 323850"/>
              <a:gd name="connsiteY61" fmla="*/ 222885 h 325755"/>
              <a:gd name="connsiteX62" fmla="*/ 22860 w 323850"/>
              <a:gd name="connsiteY62" fmla="*/ 242888 h 325755"/>
              <a:gd name="connsiteX63" fmla="*/ 39053 w 323850"/>
              <a:gd name="connsiteY63" fmla="*/ 255270 h 325755"/>
              <a:gd name="connsiteX64" fmla="*/ 45720 w 323850"/>
              <a:gd name="connsiteY64" fmla="*/ 256223 h 325755"/>
              <a:gd name="connsiteX65" fmla="*/ 59055 w 323850"/>
              <a:gd name="connsiteY65" fmla="*/ 252413 h 325755"/>
              <a:gd name="connsiteX66" fmla="*/ 70485 w 323850"/>
              <a:gd name="connsiteY66" fmla="*/ 220980 h 325755"/>
              <a:gd name="connsiteX67" fmla="*/ 87630 w 323850"/>
              <a:gd name="connsiteY67" fmla="*/ 211455 h 325755"/>
              <a:gd name="connsiteX68" fmla="*/ 114300 w 323850"/>
              <a:gd name="connsiteY68" fmla="*/ 237173 h 325755"/>
              <a:gd name="connsiteX69" fmla="*/ 102870 w 323850"/>
              <a:gd name="connsiteY69" fmla="*/ 256223 h 325755"/>
              <a:gd name="connsiteX70" fmla="*/ 71438 w 323850"/>
              <a:gd name="connsiteY70" fmla="*/ 267653 h 325755"/>
              <a:gd name="connsiteX71" fmla="*/ 80963 w 323850"/>
              <a:gd name="connsiteY71" fmla="*/ 303848 h 325755"/>
              <a:gd name="connsiteX72" fmla="*/ 94298 w 323850"/>
              <a:gd name="connsiteY72" fmla="*/ 307658 h 325755"/>
              <a:gd name="connsiteX73" fmla="*/ 117158 w 323850"/>
              <a:gd name="connsiteY73" fmla="*/ 294323 h 325755"/>
              <a:gd name="connsiteX74" fmla="*/ 111443 w 323850"/>
              <a:gd name="connsiteY74" fmla="*/ 260985 h 325755"/>
              <a:gd name="connsiteX75" fmla="*/ 122873 w 323850"/>
              <a:gd name="connsiteY75" fmla="*/ 241935 h 325755"/>
              <a:gd name="connsiteX76" fmla="*/ 158115 w 323850"/>
              <a:gd name="connsiteY76" fmla="*/ 251460 h 325755"/>
              <a:gd name="connsiteX77" fmla="*/ 158115 w 323850"/>
              <a:gd name="connsiteY77" fmla="*/ 273368 h 325755"/>
              <a:gd name="connsiteX78" fmla="*/ 136208 w 323850"/>
              <a:gd name="connsiteY78" fmla="*/ 299085 h 325755"/>
              <a:gd name="connsiteX79" fmla="*/ 162878 w 323850"/>
              <a:gd name="connsiteY79" fmla="*/ 325755 h 325755"/>
              <a:gd name="connsiteX80" fmla="*/ 189548 w 323850"/>
              <a:gd name="connsiteY80" fmla="*/ 299085 h 325755"/>
              <a:gd name="connsiteX81" fmla="*/ 167640 w 323850"/>
              <a:gd name="connsiteY81" fmla="*/ 273368 h 325755"/>
              <a:gd name="connsiteX82" fmla="*/ 167640 w 323850"/>
              <a:gd name="connsiteY82" fmla="*/ 251460 h 325755"/>
              <a:gd name="connsiteX83" fmla="*/ 202883 w 323850"/>
              <a:gd name="connsiteY83" fmla="*/ 241935 h 325755"/>
              <a:gd name="connsiteX84" fmla="*/ 214313 w 323850"/>
              <a:gd name="connsiteY84" fmla="*/ 260985 h 325755"/>
              <a:gd name="connsiteX85" fmla="*/ 208598 w 323850"/>
              <a:gd name="connsiteY85" fmla="*/ 294323 h 325755"/>
              <a:gd name="connsiteX86" fmla="*/ 231458 w 323850"/>
              <a:gd name="connsiteY86" fmla="*/ 307658 h 325755"/>
              <a:gd name="connsiteX87" fmla="*/ 244793 w 323850"/>
              <a:gd name="connsiteY87" fmla="*/ 303848 h 325755"/>
              <a:gd name="connsiteX88" fmla="*/ 254318 w 323850"/>
              <a:gd name="connsiteY88" fmla="*/ 267653 h 325755"/>
              <a:gd name="connsiteX89" fmla="*/ 222885 w 323850"/>
              <a:gd name="connsiteY89" fmla="*/ 256223 h 325755"/>
              <a:gd name="connsiteX90" fmla="*/ 211455 w 323850"/>
              <a:gd name="connsiteY90" fmla="*/ 237173 h 325755"/>
              <a:gd name="connsiteX91" fmla="*/ 237173 w 323850"/>
              <a:gd name="connsiteY91" fmla="*/ 211455 h 325755"/>
              <a:gd name="connsiteX92" fmla="*/ 254318 w 323850"/>
              <a:gd name="connsiteY92" fmla="*/ 220980 h 325755"/>
              <a:gd name="connsiteX93" fmla="*/ 265748 w 323850"/>
              <a:gd name="connsiteY93" fmla="*/ 252413 h 325755"/>
              <a:gd name="connsiteX94" fmla="*/ 279083 w 323850"/>
              <a:gd name="connsiteY94" fmla="*/ 256223 h 325755"/>
              <a:gd name="connsiteX95" fmla="*/ 285750 w 323850"/>
              <a:gd name="connsiteY95" fmla="*/ 255270 h 325755"/>
              <a:gd name="connsiteX96" fmla="*/ 301943 w 323850"/>
              <a:gd name="connsiteY96" fmla="*/ 242888 h 325755"/>
              <a:gd name="connsiteX97" fmla="*/ 304800 w 323850"/>
              <a:gd name="connsiteY97" fmla="*/ 222885 h 325755"/>
              <a:gd name="connsiteX98" fmla="*/ 292418 w 323850"/>
              <a:gd name="connsiteY98" fmla="*/ 206693 h 325755"/>
              <a:gd name="connsiteX99" fmla="*/ 272415 w 323850"/>
              <a:gd name="connsiteY99" fmla="*/ 203835 h 325755"/>
              <a:gd name="connsiteX100" fmla="*/ 259080 w 323850"/>
              <a:gd name="connsiteY100" fmla="*/ 212408 h 325755"/>
              <a:gd name="connsiteX101" fmla="*/ 241935 w 323850"/>
              <a:gd name="connsiteY101" fmla="*/ 202883 h 325755"/>
              <a:gd name="connsiteX102" fmla="*/ 250508 w 323850"/>
              <a:gd name="connsiteY102" fmla="*/ 166688 h 325755"/>
              <a:gd name="connsiteX103" fmla="*/ 269558 w 323850"/>
              <a:gd name="connsiteY103" fmla="*/ 80963 h 325755"/>
              <a:gd name="connsiteX104" fmla="*/ 278130 w 323850"/>
              <a:gd name="connsiteY104" fmla="*/ 79058 h 325755"/>
              <a:gd name="connsiteX105" fmla="*/ 282893 w 323850"/>
              <a:gd name="connsiteY105" fmla="*/ 80010 h 325755"/>
              <a:gd name="connsiteX106" fmla="*/ 293370 w 323850"/>
              <a:gd name="connsiteY106" fmla="*/ 87630 h 325755"/>
              <a:gd name="connsiteX107" fmla="*/ 295275 w 323850"/>
              <a:gd name="connsiteY107" fmla="*/ 100013 h 325755"/>
              <a:gd name="connsiteX108" fmla="*/ 287655 w 323850"/>
              <a:gd name="connsiteY108" fmla="*/ 110490 h 325755"/>
              <a:gd name="connsiteX109" fmla="*/ 275273 w 323850"/>
              <a:gd name="connsiteY109" fmla="*/ 112395 h 325755"/>
              <a:gd name="connsiteX110" fmla="*/ 264795 w 323850"/>
              <a:gd name="connsiteY110" fmla="*/ 104775 h 325755"/>
              <a:gd name="connsiteX111" fmla="*/ 269558 w 323850"/>
              <a:gd name="connsiteY111" fmla="*/ 80963 h 325755"/>
              <a:gd name="connsiteX112" fmla="*/ 215265 w 323850"/>
              <a:gd name="connsiteY112" fmla="*/ 36195 h 325755"/>
              <a:gd name="connsiteX113" fmla="*/ 238125 w 323850"/>
              <a:gd name="connsiteY113" fmla="*/ 30480 h 325755"/>
              <a:gd name="connsiteX114" fmla="*/ 243840 w 323850"/>
              <a:gd name="connsiteY114" fmla="*/ 53340 h 325755"/>
              <a:gd name="connsiteX115" fmla="*/ 220980 w 323850"/>
              <a:gd name="connsiteY115" fmla="*/ 59055 h 325755"/>
              <a:gd name="connsiteX116" fmla="*/ 215265 w 323850"/>
              <a:gd name="connsiteY116" fmla="*/ 36195 h 325755"/>
              <a:gd name="connsiteX117" fmla="*/ 80010 w 323850"/>
              <a:gd name="connsiteY117" fmla="*/ 52388 h 325755"/>
              <a:gd name="connsiteX118" fmla="*/ 85725 w 323850"/>
              <a:gd name="connsiteY118" fmla="*/ 29528 h 325755"/>
              <a:gd name="connsiteX119" fmla="*/ 94298 w 323850"/>
              <a:gd name="connsiteY119" fmla="*/ 27623 h 325755"/>
              <a:gd name="connsiteX120" fmla="*/ 108585 w 323850"/>
              <a:gd name="connsiteY120" fmla="*/ 36195 h 325755"/>
              <a:gd name="connsiteX121" fmla="*/ 102870 w 323850"/>
              <a:gd name="connsiteY121" fmla="*/ 59055 h 325755"/>
              <a:gd name="connsiteX122" fmla="*/ 80010 w 323850"/>
              <a:gd name="connsiteY122" fmla="*/ 52388 h 325755"/>
              <a:gd name="connsiteX123" fmla="*/ 38100 w 323850"/>
              <a:gd name="connsiteY123" fmla="*/ 110490 h 325755"/>
              <a:gd name="connsiteX124" fmla="*/ 30480 w 323850"/>
              <a:gd name="connsiteY124" fmla="*/ 100013 h 325755"/>
              <a:gd name="connsiteX125" fmla="*/ 31433 w 323850"/>
              <a:gd name="connsiteY125" fmla="*/ 87630 h 325755"/>
              <a:gd name="connsiteX126" fmla="*/ 41910 w 323850"/>
              <a:gd name="connsiteY126" fmla="*/ 80010 h 325755"/>
              <a:gd name="connsiteX127" fmla="*/ 46673 w 323850"/>
              <a:gd name="connsiteY127" fmla="*/ 79058 h 325755"/>
              <a:gd name="connsiteX128" fmla="*/ 55245 w 323850"/>
              <a:gd name="connsiteY128" fmla="*/ 80963 h 325755"/>
              <a:gd name="connsiteX129" fmla="*/ 60960 w 323850"/>
              <a:gd name="connsiteY129" fmla="*/ 103823 h 325755"/>
              <a:gd name="connsiteX130" fmla="*/ 38100 w 323850"/>
              <a:gd name="connsiteY130" fmla="*/ 110490 h 325755"/>
              <a:gd name="connsiteX131" fmla="*/ 54293 w 323850"/>
              <a:gd name="connsiteY131" fmla="*/ 243840 h 325755"/>
              <a:gd name="connsiteX132" fmla="*/ 41910 w 323850"/>
              <a:gd name="connsiteY132" fmla="*/ 245745 h 325755"/>
              <a:gd name="connsiteX133" fmla="*/ 31433 w 323850"/>
              <a:gd name="connsiteY133" fmla="*/ 238125 h 325755"/>
              <a:gd name="connsiteX134" fmla="*/ 29528 w 323850"/>
              <a:gd name="connsiteY134" fmla="*/ 225743 h 325755"/>
              <a:gd name="connsiteX135" fmla="*/ 37148 w 323850"/>
              <a:gd name="connsiteY135" fmla="*/ 215265 h 325755"/>
              <a:gd name="connsiteX136" fmla="*/ 45720 w 323850"/>
              <a:gd name="connsiteY136" fmla="*/ 213360 h 325755"/>
              <a:gd name="connsiteX137" fmla="*/ 60008 w 323850"/>
              <a:gd name="connsiteY137" fmla="*/ 221933 h 325755"/>
              <a:gd name="connsiteX138" fmla="*/ 54293 w 323850"/>
              <a:gd name="connsiteY138" fmla="*/ 243840 h 325755"/>
              <a:gd name="connsiteX139" fmla="*/ 108585 w 323850"/>
              <a:gd name="connsiteY139" fmla="*/ 289560 h 325755"/>
              <a:gd name="connsiteX140" fmla="*/ 85725 w 323850"/>
              <a:gd name="connsiteY140" fmla="*/ 295275 h 325755"/>
              <a:gd name="connsiteX141" fmla="*/ 80010 w 323850"/>
              <a:gd name="connsiteY141" fmla="*/ 272415 h 325755"/>
              <a:gd name="connsiteX142" fmla="*/ 102870 w 323850"/>
              <a:gd name="connsiteY142" fmla="*/ 266700 h 325755"/>
              <a:gd name="connsiteX143" fmla="*/ 108585 w 323850"/>
              <a:gd name="connsiteY143" fmla="*/ 289560 h 325755"/>
              <a:gd name="connsiteX144" fmla="*/ 245848 w 323850"/>
              <a:gd name="connsiteY144" fmla="*/ 271411 h 325755"/>
              <a:gd name="connsiteX145" fmla="*/ 240468 w 323850"/>
              <a:gd name="connsiteY145" fmla="*/ 294941 h 325755"/>
              <a:gd name="connsiteX146" fmla="*/ 216938 w 323850"/>
              <a:gd name="connsiteY146" fmla="*/ 289560 h 325755"/>
              <a:gd name="connsiteX147" fmla="*/ 223323 w 323850"/>
              <a:gd name="connsiteY147" fmla="*/ 265361 h 325755"/>
              <a:gd name="connsiteX148" fmla="*/ 245848 w 323850"/>
              <a:gd name="connsiteY148" fmla="*/ 271411 h 325755"/>
              <a:gd name="connsiteX149" fmla="*/ 265181 w 323850"/>
              <a:gd name="connsiteY149" fmla="*/ 220363 h 325755"/>
              <a:gd name="connsiteX150" fmla="*/ 288376 w 323850"/>
              <a:gd name="connsiteY150" fmla="*/ 216322 h 325755"/>
              <a:gd name="connsiteX151" fmla="*/ 292753 w 323850"/>
              <a:gd name="connsiteY151" fmla="*/ 239181 h 325755"/>
              <a:gd name="connsiteX152" fmla="*/ 269893 w 323850"/>
              <a:gd name="connsiteY152" fmla="*/ 243223 h 325755"/>
              <a:gd name="connsiteX153" fmla="*/ 265181 w 323850"/>
              <a:gd name="connsiteY153" fmla="*/ 220363 h 325755"/>
              <a:gd name="connsiteX154" fmla="*/ 298133 w 323850"/>
              <a:gd name="connsiteY154" fmla="*/ 145733 h 325755"/>
              <a:gd name="connsiteX155" fmla="*/ 315278 w 323850"/>
              <a:gd name="connsiteY155" fmla="*/ 162878 h 325755"/>
              <a:gd name="connsiteX156" fmla="*/ 298133 w 323850"/>
              <a:gd name="connsiteY156" fmla="*/ 180023 h 325755"/>
              <a:gd name="connsiteX157" fmla="*/ 280988 w 323850"/>
              <a:gd name="connsiteY157" fmla="*/ 161925 h 325755"/>
              <a:gd name="connsiteX158" fmla="*/ 298133 w 323850"/>
              <a:gd name="connsiteY158" fmla="*/ 145733 h 325755"/>
              <a:gd name="connsiteX159" fmla="*/ 145733 w 323850"/>
              <a:gd name="connsiteY159" fmla="*/ 26670 h 325755"/>
              <a:gd name="connsiteX160" fmla="*/ 161925 w 323850"/>
              <a:gd name="connsiteY160" fmla="*/ 9525 h 325755"/>
              <a:gd name="connsiteX161" fmla="*/ 179070 w 323850"/>
              <a:gd name="connsiteY161" fmla="*/ 26670 h 325755"/>
              <a:gd name="connsiteX162" fmla="*/ 161925 w 323850"/>
              <a:gd name="connsiteY162" fmla="*/ 42863 h 325755"/>
              <a:gd name="connsiteX163" fmla="*/ 145733 w 323850"/>
              <a:gd name="connsiteY163" fmla="*/ 26670 h 325755"/>
              <a:gd name="connsiteX164" fmla="*/ 26670 w 323850"/>
              <a:gd name="connsiteY164" fmla="*/ 179070 h 325755"/>
              <a:gd name="connsiteX165" fmla="*/ 9525 w 323850"/>
              <a:gd name="connsiteY165" fmla="*/ 161925 h 325755"/>
              <a:gd name="connsiteX166" fmla="*/ 26670 w 323850"/>
              <a:gd name="connsiteY166" fmla="*/ 144780 h 325755"/>
              <a:gd name="connsiteX167" fmla="*/ 42863 w 323850"/>
              <a:gd name="connsiteY167" fmla="*/ 161925 h 325755"/>
              <a:gd name="connsiteX168" fmla="*/ 26670 w 323850"/>
              <a:gd name="connsiteY168" fmla="*/ 179070 h 325755"/>
              <a:gd name="connsiteX169" fmla="*/ 179070 w 323850"/>
              <a:gd name="connsiteY169" fmla="*/ 298133 h 325755"/>
              <a:gd name="connsiteX170" fmla="*/ 162260 w 323850"/>
              <a:gd name="connsiteY170" fmla="*/ 316006 h 325755"/>
              <a:gd name="connsiteX171" fmla="*/ 145449 w 323850"/>
              <a:gd name="connsiteY171" fmla="*/ 299137 h 325755"/>
              <a:gd name="connsiteX172" fmla="*/ 161925 w 323850"/>
              <a:gd name="connsiteY172" fmla="*/ 281992 h 325755"/>
              <a:gd name="connsiteX173" fmla="*/ 179070 w 323850"/>
              <a:gd name="connsiteY173" fmla="*/ 298133 h 325755"/>
              <a:gd name="connsiteX174" fmla="*/ 161925 w 323850"/>
              <a:gd name="connsiteY174" fmla="*/ 241935 h 325755"/>
              <a:gd name="connsiteX175" fmla="*/ 81915 w 323850"/>
              <a:gd name="connsiteY175" fmla="*/ 161925 h 325755"/>
              <a:gd name="connsiteX176" fmla="*/ 161925 w 323850"/>
              <a:gd name="connsiteY176" fmla="*/ 81915 h 325755"/>
              <a:gd name="connsiteX177" fmla="*/ 241935 w 323850"/>
              <a:gd name="connsiteY177" fmla="*/ 161925 h 325755"/>
              <a:gd name="connsiteX178" fmla="*/ 161925 w 323850"/>
              <a:gd name="connsiteY178" fmla="*/ 24193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23850" h="325755">
                <a:moveTo>
                  <a:pt x="250508" y="166688"/>
                </a:moveTo>
                <a:lnTo>
                  <a:pt x="271463" y="166688"/>
                </a:lnTo>
                <a:cubicBezTo>
                  <a:pt x="273368" y="179070"/>
                  <a:pt x="284798" y="188595"/>
                  <a:pt x="297180" y="188595"/>
                </a:cubicBezTo>
                <a:cubicBezTo>
                  <a:pt x="311468" y="188595"/>
                  <a:pt x="323850" y="177165"/>
                  <a:pt x="323850" y="161925"/>
                </a:cubicBezTo>
                <a:cubicBezTo>
                  <a:pt x="323850" y="146685"/>
                  <a:pt x="312420" y="135255"/>
                  <a:pt x="297180" y="135255"/>
                </a:cubicBezTo>
                <a:cubicBezTo>
                  <a:pt x="284798" y="135255"/>
                  <a:pt x="273368" y="144780"/>
                  <a:pt x="271463" y="157163"/>
                </a:cubicBezTo>
                <a:lnTo>
                  <a:pt x="250508" y="157163"/>
                </a:lnTo>
                <a:cubicBezTo>
                  <a:pt x="249555" y="144780"/>
                  <a:pt x="246698" y="132398"/>
                  <a:pt x="240983" y="121920"/>
                </a:cubicBezTo>
                <a:lnTo>
                  <a:pt x="257175" y="112395"/>
                </a:lnTo>
                <a:cubicBezTo>
                  <a:pt x="260985" y="116205"/>
                  <a:pt x="264795" y="119063"/>
                  <a:pt x="270510" y="120968"/>
                </a:cubicBezTo>
                <a:cubicBezTo>
                  <a:pt x="272415" y="121920"/>
                  <a:pt x="275273" y="121920"/>
                  <a:pt x="277178" y="121920"/>
                </a:cubicBezTo>
                <a:cubicBezTo>
                  <a:pt x="281940" y="121920"/>
                  <a:pt x="285750" y="120968"/>
                  <a:pt x="290513" y="118110"/>
                </a:cubicBezTo>
                <a:cubicBezTo>
                  <a:pt x="296228" y="114300"/>
                  <a:pt x="300990" y="108585"/>
                  <a:pt x="302895" y="101918"/>
                </a:cubicBezTo>
                <a:cubicBezTo>
                  <a:pt x="304800" y="95250"/>
                  <a:pt x="303848" y="87630"/>
                  <a:pt x="300038" y="81915"/>
                </a:cubicBezTo>
                <a:cubicBezTo>
                  <a:pt x="296228" y="76200"/>
                  <a:pt x="290513" y="71438"/>
                  <a:pt x="283845" y="69533"/>
                </a:cubicBezTo>
                <a:cubicBezTo>
                  <a:pt x="277178" y="67628"/>
                  <a:pt x="269558" y="68580"/>
                  <a:pt x="263843" y="72390"/>
                </a:cubicBezTo>
                <a:cubicBezTo>
                  <a:pt x="252413" y="79058"/>
                  <a:pt x="248603" y="92393"/>
                  <a:pt x="252413" y="103823"/>
                </a:cubicBezTo>
                <a:lnTo>
                  <a:pt x="236220" y="113348"/>
                </a:lnTo>
                <a:cubicBezTo>
                  <a:pt x="229553" y="102870"/>
                  <a:pt x="220028" y="93345"/>
                  <a:pt x="209550" y="86678"/>
                </a:cubicBezTo>
                <a:lnTo>
                  <a:pt x="220028" y="68580"/>
                </a:lnTo>
                <a:cubicBezTo>
                  <a:pt x="222885" y="69533"/>
                  <a:pt x="225743" y="70485"/>
                  <a:pt x="228600" y="70485"/>
                </a:cubicBezTo>
                <a:cubicBezTo>
                  <a:pt x="238125" y="70485"/>
                  <a:pt x="246698" y="65723"/>
                  <a:pt x="251460" y="57150"/>
                </a:cubicBezTo>
                <a:cubicBezTo>
                  <a:pt x="259080" y="44768"/>
                  <a:pt x="254318" y="28575"/>
                  <a:pt x="241935" y="20955"/>
                </a:cubicBezTo>
                <a:cubicBezTo>
                  <a:pt x="229553" y="13335"/>
                  <a:pt x="213360" y="18098"/>
                  <a:pt x="205740" y="30480"/>
                </a:cubicBezTo>
                <a:cubicBezTo>
                  <a:pt x="199073" y="41910"/>
                  <a:pt x="201930" y="55245"/>
                  <a:pt x="211455" y="63818"/>
                </a:cubicBezTo>
                <a:lnTo>
                  <a:pt x="200978" y="81915"/>
                </a:lnTo>
                <a:cubicBezTo>
                  <a:pt x="190500" y="76200"/>
                  <a:pt x="178118" y="73343"/>
                  <a:pt x="165735" y="72390"/>
                </a:cubicBezTo>
                <a:lnTo>
                  <a:pt x="165735" y="51435"/>
                </a:lnTo>
                <a:cubicBezTo>
                  <a:pt x="178118" y="49530"/>
                  <a:pt x="187643" y="38100"/>
                  <a:pt x="187643" y="25718"/>
                </a:cubicBezTo>
                <a:cubicBezTo>
                  <a:pt x="188595" y="11430"/>
                  <a:pt x="176213" y="0"/>
                  <a:pt x="161925" y="0"/>
                </a:cubicBezTo>
                <a:cubicBezTo>
                  <a:pt x="147638" y="0"/>
                  <a:pt x="135255" y="11430"/>
                  <a:pt x="135255" y="26670"/>
                </a:cubicBezTo>
                <a:cubicBezTo>
                  <a:pt x="135255" y="39053"/>
                  <a:pt x="144780" y="50483"/>
                  <a:pt x="157163" y="52388"/>
                </a:cubicBezTo>
                <a:lnTo>
                  <a:pt x="157163" y="73343"/>
                </a:lnTo>
                <a:cubicBezTo>
                  <a:pt x="144780" y="74295"/>
                  <a:pt x="132398" y="77153"/>
                  <a:pt x="121920" y="82868"/>
                </a:cubicBezTo>
                <a:lnTo>
                  <a:pt x="111443" y="64770"/>
                </a:lnTo>
                <a:cubicBezTo>
                  <a:pt x="120968" y="57150"/>
                  <a:pt x="123825" y="42863"/>
                  <a:pt x="117158" y="31433"/>
                </a:cubicBezTo>
                <a:cubicBezTo>
                  <a:pt x="109538" y="19050"/>
                  <a:pt x="94298" y="14288"/>
                  <a:pt x="80963" y="21908"/>
                </a:cubicBezTo>
                <a:cubicBezTo>
                  <a:pt x="68580" y="28575"/>
                  <a:pt x="63818" y="44768"/>
                  <a:pt x="71438" y="57150"/>
                </a:cubicBezTo>
                <a:cubicBezTo>
                  <a:pt x="76200" y="65723"/>
                  <a:pt x="84773" y="70485"/>
                  <a:pt x="94298" y="70485"/>
                </a:cubicBezTo>
                <a:cubicBezTo>
                  <a:pt x="97155" y="70485"/>
                  <a:pt x="100013" y="69533"/>
                  <a:pt x="102870" y="68580"/>
                </a:cubicBezTo>
                <a:lnTo>
                  <a:pt x="113348" y="86678"/>
                </a:lnTo>
                <a:cubicBezTo>
                  <a:pt x="102870" y="93345"/>
                  <a:pt x="93345" y="102870"/>
                  <a:pt x="86678" y="113348"/>
                </a:cubicBezTo>
                <a:lnTo>
                  <a:pt x="70485" y="103823"/>
                </a:lnTo>
                <a:cubicBezTo>
                  <a:pt x="74295" y="92393"/>
                  <a:pt x="70485" y="79058"/>
                  <a:pt x="59055" y="72390"/>
                </a:cubicBezTo>
                <a:cubicBezTo>
                  <a:pt x="53340" y="69533"/>
                  <a:pt x="45720" y="68580"/>
                  <a:pt x="39053" y="70485"/>
                </a:cubicBezTo>
                <a:cubicBezTo>
                  <a:pt x="32385" y="72390"/>
                  <a:pt x="26670" y="77153"/>
                  <a:pt x="22860" y="82868"/>
                </a:cubicBezTo>
                <a:cubicBezTo>
                  <a:pt x="20003" y="88583"/>
                  <a:pt x="19050" y="96203"/>
                  <a:pt x="20955" y="102870"/>
                </a:cubicBezTo>
                <a:cubicBezTo>
                  <a:pt x="22860" y="109538"/>
                  <a:pt x="26670" y="115253"/>
                  <a:pt x="33338" y="119063"/>
                </a:cubicBezTo>
                <a:cubicBezTo>
                  <a:pt x="37148" y="120968"/>
                  <a:pt x="41910" y="122873"/>
                  <a:pt x="46673" y="122873"/>
                </a:cubicBezTo>
                <a:cubicBezTo>
                  <a:pt x="54293" y="122873"/>
                  <a:pt x="60960" y="119063"/>
                  <a:pt x="66675" y="113348"/>
                </a:cubicBezTo>
                <a:lnTo>
                  <a:pt x="82868" y="122873"/>
                </a:lnTo>
                <a:cubicBezTo>
                  <a:pt x="77153" y="133350"/>
                  <a:pt x="74295" y="145733"/>
                  <a:pt x="73343" y="158115"/>
                </a:cubicBezTo>
                <a:lnTo>
                  <a:pt x="51435" y="158115"/>
                </a:lnTo>
                <a:cubicBezTo>
                  <a:pt x="49530" y="145733"/>
                  <a:pt x="38100" y="136208"/>
                  <a:pt x="25718" y="136208"/>
                </a:cubicBezTo>
                <a:cubicBezTo>
                  <a:pt x="11430" y="136208"/>
                  <a:pt x="0" y="147638"/>
                  <a:pt x="0" y="161925"/>
                </a:cubicBezTo>
                <a:cubicBezTo>
                  <a:pt x="0" y="176213"/>
                  <a:pt x="11430" y="188595"/>
                  <a:pt x="26670" y="188595"/>
                </a:cubicBezTo>
                <a:cubicBezTo>
                  <a:pt x="39053" y="188595"/>
                  <a:pt x="50483" y="179070"/>
                  <a:pt x="52388" y="166688"/>
                </a:cubicBezTo>
                <a:lnTo>
                  <a:pt x="73343" y="166688"/>
                </a:lnTo>
                <a:cubicBezTo>
                  <a:pt x="74295" y="180023"/>
                  <a:pt x="77153" y="192405"/>
                  <a:pt x="82868" y="202883"/>
                </a:cubicBezTo>
                <a:lnTo>
                  <a:pt x="65723" y="212408"/>
                </a:lnTo>
                <a:cubicBezTo>
                  <a:pt x="58103" y="202883"/>
                  <a:pt x="43815" y="200025"/>
                  <a:pt x="32385" y="206693"/>
                </a:cubicBezTo>
                <a:cubicBezTo>
                  <a:pt x="26670" y="210503"/>
                  <a:pt x="21908" y="216218"/>
                  <a:pt x="20003" y="222885"/>
                </a:cubicBezTo>
                <a:cubicBezTo>
                  <a:pt x="18098" y="229553"/>
                  <a:pt x="19050" y="237173"/>
                  <a:pt x="22860" y="242888"/>
                </a:cubicBezTo>
                <a:cubicBezTo>
                  <a:pt x="26670" y="248603"/>
                  <a:pt x="32385" y="253365"/>
                  <a:pt x="39053" y="255270"/>
                </a:cubicBezTo>
                <a:cubicBezTo>
                  <a:pt x="40958" y="256223"/>
                  <a:pt x="43815" y="256223"/>
                  <a:pt x="45720" y="256223"/>
                </a:cubicBezTo>
                <a:cubicBezTo>
                  <a:pt x="50483" y="256223"/>
                  <a:pt x="54293" y="255270"/>
                  <a:pt x="59055" y="252413"/>
                </a:cubicBezTo>
                <a:cubicBezTo>
                  <a:pt x="70485" y="245745"/>
                  <a:pt x="74295" y="232410"/>
                  <a:pt x="70485" y="220980"/>
                </a:cubicBezTo>
                <a:lnTo>
                  <a:pt x="87630" y="211455"/>
                </a:lnTo>
                <a:cubicBezTo>
                  <a:pt x="94298" y="221933"/>
                  <a:pt x="103823" y="230505"/>
                  <a:pt x="114300" y="237173"/>
                </a:cubicBezTo>
                <a:lnTo>
                  <a:pt x="102870" y="256223"/>
                </a:lnTo>
                <a:cubicBezTo>
                  <a:pt x="91440" y="252413"/>
                  <a:pt x="78105" y="256223"/>
                  <a:pt x="71438" y="267653"/>
                </a:cubicBezTo>
                <a:cubicBezTo>
                  <a:pt x="63818" y="280035"/>
                  <a:pt x="68580" y="296228"/>
                  <a:pt x="80963" y="303848"/>
                </a:cubicBezTo>
                <a:cubicBezTo>
                  <a:pt x="84773" y="305753"/>
                  <a:pt x="89535" y="307658"/>
                  <a:pt x="94298" y="307658"/>
                </a:cubicBezTo>
                <a:cubicBezTo>
                  <a:pt x="103823" y="307658"/>
                  <a:pt x="112395" y="302895"/>
                  <a:pt x="117158" y="294323"/>
                </a:cubicBezTo>
                <a:cubicBezTo>
                  <a:pt x="123825" y="282893"/>
                  <a:pt x="120968" y="269558"/>
                  <a:pt x="111443" y="260985"/>
                </a:cubicBezTo>
                <a:lnTo>
                  <a:pt x="122873" y="241935"/>
                </a:lnTo>
                <a:cubicBezTo>
                  <a:pt x="133350" y="247650"/>
                  <a:pt x="145733" y="250508"/>
                  <a:pt x="158115" y="251460"/>
                </a:cubicBezTo>
                <a:lnTo>
                  <a:pt x="158115" y="273368"/>
                </a:lnTo>
                <a:cubicBezTo>
                  <a:pt x="145733" y="275273"/>
                  <a:pt x="136208" y="286703"/>
                  <a:pt x="136208" y="299085"/>
                </a:cubicBezTo>
                <a:cubicBezTo>
                  <a:pt x="136208" y="313373"/>
                  <a:pt x="147638" y="325755"/>
                  <a:pt x="162878" y="325755"/>
                </a:cubicBezTo>
                <a:cubicBezTo>
                  <a:pt x="178118" y="325755"/>
                  <a:pt x="189548" y="314325"/>
                  <a:pt x="189548" y="299085"/>
                </a:cubicBezTo>
                <a:cubicBezTo>
                  <a:pt x="189548" y="286703"/>
                  <a:pt x="180023" y="275273"/>
                  <a:pt x="167640" y="273368"/>
                </a:cubicBezTo>
                <a:lnTo>
                  <a:pt x="167640" y="251460"/>
                </a:lnTo>
                <a:cubicBezTo>
                  <a:pt x="180023" y="250508"/>
                  <a:pt x="191453" y="247650"/>
                  <a:pt x="202883" y="241935"/>
                </a:cubicBezTo>
                <a:lnTo>
                  <a:pt x="214313" y="260985"/>
                </a:lnTo>
                <a:cubicBezTo>
                  <a:pt x="204788" y="268605"/>
                  <a:pt x="201930" y="282893"/>
                  <a:pt x="208598" y="294323"/>
                </a:cubicBezTo>
                <a:cubicBezTo>
                  <a:pt x="213360" y="302895"/>
                  <a:pt x="221933" y="307658"/>
                  <a:pt x="231458" y="307658"/>
                </a:cubicBezTo>
                <a:cubicBezTo>
                  <a:pt x="236220" y="307658"/>
                  <a:pt x="240030" y="306705"/>
                  <a:pt x="244793" y="303848"/>
                </a:cubicBezTo>
                <a:cubicBezTo>
                  <a:pt x="257175" y="296228"/>
                  <a:pt x="261938" y="280988"/>
                  <a:pt x="254318" y="267653"/>
                </a:cubicBezTo>
                <a:cubicBezTo>
                  <a:pt x="247650" y="256223"/>
                  <a:pt x="234315" y="252413"/>
                  <a:pt x="222885" y="256223"/>
                </a:cubicBezTo>
                <a:lnTo>
                  <a:pt x="211455" y="237173"/>
                </a:lnTo>
                <a:cubicBezTo>
                  <a:pt x="221933" y="230505"/>
                  <a:pt x="230505" y="221933"/>
                  <a:pt x="237173" y="211455"/>
                </a:cubicBezTo>
                <a:lnTo>
                  <a:pt x="254318" y="220980"/>
                </a:lnTo>
                <a:cubicBezTo>
                  <a:pt x="250508" y="232410"/>
                  <a:pt x="255270" y="245745"/>
                  <a:pt x="265748" y="252413"/>
                </a:cubicBezTo>
                <a:cubicBezTo>
                  <a:pt x="269558" y="254318"/>
                  <a:pt x="274320" y="256223"/>
                  <a:pt x="279083" y="256223"/>
                </a:cubicBezTo>
                <a:cubicBezTo>
                  <a:pt x="280988" y="256223"/>
                  <a:pt x="283845" y="256223"/>
                  <a:pt x="285750" y="255270"/>
                </a:cubicBezTo>
                <a:cubicBezTo>
                  <a:pt x="292418" y="253365"/>
                  <a:pt x="298133" y="249555"/>
                  <a:pt x="301943" y="242888"/>
                </a:cubicBezTo>
                <a:cubicBezTo>
                  <a:pt x="305753" y="236220"/>
                  <a:pt x="306705" y="229553"/>
                  <a:pt x="304800" y="222885"/>
                </a:cubicBezTo>
                <a:cubicBezTo>
                  <a:pt x="302895" y="216218"/>
                  <a:pt x="299085" y="210503"/>
                  <a:pt x="292418" y="206693"/>
                </a:cubicBezTo>
                <a:cubicBezTo>
                  <a:pt x="285750" y="202883"/>
                  <a:pt x="279083" y="201930"/>
                  <a:pt x="272415" y="203835"/>
                </a:cubicBezTo>
                <a:cubicBezTo>
                  <a:pt x="267653" y="204788"/>
                  <a:pt x="262890" y="208598"/>
                  <a:pt x="259080" y="212408"/>
                </a:cubicBezTo>
                <a:lnTo>
                  <a:pt x="241935" y="202883"/>
                </a:lnTo>
                <a:cubicBezTo>
                  <a:pt x="246698" y="192405"/>
                  <a:pt x="250508" y="180023"/>
                  <a:pt x="250508" y="166688"/>
                </a:cubicBezTo>
                <a:close/>
                <a:moveTo>
                  <a:pt x="269558" y="80963"/>
                </a:moveTo>
                <a:cubicBezTo>
                  <a:pt x="272415" y="79058"/>
                  <a:pt x="275273" y="79058"/>
                  <a:pt x="278130" y="79058"/>
                </a:cubicBezTo>
                <a:cubicBezTo>
                  <a:pt x="280035" y="79058"/>
                  <a:pt x="280988" y="79058"/>
                  <a:pt x="282893" y="80010"/>
                </a:cubicBezTo>
                <a:cubicBezTo>
                  <a:pt x="287655" y="80963"/>
                  <a:pt x="290513" y="83820"/>
                  <a:pt x="293370" y="87630"/>
                </a:cubicBezTo>
                <a:cubicBezTo>
                  <a:pt x="295275" y="91440"/>
                  <a:pt x="296228" y="96203"/>
                  <a:pt x="295275" y="100013"/>
                </a:cubicBezTo>
                <a:cubicBezTo>
                  <a:pt x="294323" y="104775"/>
                  <a:pt x="291465" y="107633"/>
                  <a:pt x="287655" y="110490"/>
                </a:cubicBezTo>
                <a:cubicBezTo>
                  <a:pt x="283845" y="112395"/>
                  <a:pt x="279083" y="113348"/>
                  <a:pt x="275273" y="112395"/>
                </a:cubicBezTo>
                <a:cubicBezTo>
                  <a:pt x="270510" y="111443"/>
                  <a:pt x="267653" y="108585"/>
                  <a:pt x="264795" y="104775"/>
                </a:cubicBezTo>
                <a:cubicBezTo>
                  <a:pt x="259080" y="96203"/>
                  <a:pt x="260985" y="85725"/>
                  <a:pt x="269558" y="80963"/>
                </a:cubicBezTo>
                <a:close/>
                <a:moveTo>
                  <a:pt x="215265" y="36195"/>
                </a:moveTo>
                <a:cubicBezTo>
                  <a:pt x="220028" y="28575"/>
                  <a:pt x="230505" y="25718"/>
                  <a:pt x="238125" y="30480"/>
                </a:cubicBezTo>
                <a:cubicBezTo>
                  <a:pt x="245745" y="35243"/>
                  <a:pt x="248603" y="45720"/>
                  <a:pt x="243840" y="53340"/>
                </a:cubicBezTo>
                <a:cubicBezTo>
                  <a:pt x="239078" y="60960"/>
                  <a:pt x="228600" y="63818"/>
                  <a:pt x="220980" y="59055"/>
                </a:cubicBezTo>
                <a:cubicBezTo>
                  <a:pt x="213360" y="54293"/>
                  <a:pt x="210503" y="43815"/>
                  <a:pt x="215265" y="36195"/>
                </a:cubicBezTo>
                <a:close/>
                <a:moveTo>
                  <a:pt x="80010" y="52388"/>
                </a:moveTo>
                <a:cubicBezTo>
                  <a:pt x="75248" y="44768"/>
                  <a:pt x="78105" y="34290"/>
                  <a:pt x="85725" y="29528"/>
                </a:cubicBezTo>
                <a:cubicBezTo>
                  <a:pt x="88583" y="28575"/>
                  <a:pt x="91440" y="27623"/>
                  <a:pt x="94298" y="27623"/>
                </a:cubicBezTo>
                <a:cubicBezTo>
                  <a:pt x="100013" y="27623"/>
                  <a:pt x="105728" y="30480"/>
                  <a:pt x="108585" y="36195"/>
                </a:cubicBezTo>
                <a:cubicBezTo>
                  <a:pt x="113348" y="43815"/>
                  <a:pt x="110490" y="54293"/>
                  <a:pt x="102870" y="59055"/>
                </a:cubicBezTo>
                <a:cubicBezTo>
                  <a:pt x="95250" y="63818"/>
                  <a:pt x="83820" y="60960"/>
                  <a:pt x="80010" y="52388"/>
                </a:cubicBezTo>
                <a:close/>
                <a:moveTo>
                  <a:pt x="38100" y="110490"/>
                </a:moveTo>
                <a:cubicBezTo>
                  <a:pt x="34290" y="108585"/>
                  <a:pt x="31433" y="104775"/>
                  <a:pt x="30480" y="100013"/>
                </a:cubicBezTo>
                <a:cubicBezTo>
                  <a:pt x="28575" y="96203"/>
                  <a:pt x="29528" y="91440"/>
                  <a:pt x="31433" y="87630"/>
                </a:cubicBezTo>
                <a:cubicBezTo>
                  <a:pt x="33338" y="83820"/>
                  <a:pt x="37148" y="80963"/>
                  <a:pt x="41910" y="80010"/>
                </a:cubicBezTo>
                <a:cubicBezTo>
                  <a:pt x="43815" y="80010"/>
                  <a:pt x="44768" y="79058"/>
                  <a:pt x="46673" y="79058"/>
                </a:cubicBezTo>
                <a:cubicBezTo>
                  <a:pt x="49530" y="79058"/>
                  <a:pt x="52388" y="80010"/>
                  <a:pt x="55245" y="80963"/>
                </a:cubicBezTo>
                <a:cubicBezTo>
                  <a:pt x="62865" y="85725"/>
                  <a:pt x="65723" y="96203"/>
                  <a:pt x="60960" y="103823"/>
                </a:cubicBezTo>
                <a:cubicBezTo>
                  <a:pt x="56198" y="112395"/>
                  <a:pt x="45720" y="115253"/>
                  <a:pt x="38100" y="110490"/>
                </a:cubicBezTo>
                <a:close/>
                <a:moveTo>
                  <a:pt x="54293" y="243840"/>
                </a:moveTo>
                <a:cubicBezTo>
                  <a:pt x="50483" y="245745"/>
                  <a:pt x="45720" y="246698"/>
                  <a:pt x="41910" y="245745"/>
                </a:cubicBezTo>
                <a:cubicBezTo>
                  <a:pt x="37148" y="244793"/>
                  <a:pt x="34290" y="241935"/>
                  <a:pt x="31433" y="238125"/>
                </a:cubicBezTo>
                <a:cubicBezTo>
                  <a:pt x="29528" y="234315"/>
                  <a:pt x="28575" y="229553"/>
                  <a:pt x="29528" y="225743"/>
                </a:cubicBezTo>
                <a:cubicBezTo>
                  <a:pt x="30480" y="220980"/>
                  <a:pt x="33338" y="218123"/>
                  <a:pt x="37148" y="215265"/>
                </a:cubicBezTo>
                <a:cubicBezTo>
                  <a:pt x="40005" y="213360"/>
                  <a:pt x="42863" y="213360"/>
                  <a:pt x="45720" y="213360"/>
                </a:cubicBezTo>
                <a:cubicBezTo>
                  <a:pt x="51435" y="213360"/>
                  <a:pt x="57150" y="216218"/>
                  <a:pt x="60008" y="221933"/>
                </a:cubicBezTo>
                <a:cubicBezTo>
                  <a:pt x="64770" y="229553"/>
                  <a:pt x="61913" y="240030"/>
                  <a:pt x="54293" y="243840"/>
                </a:cubicBezTo>
                <a:close/>
                <a:moveTo>
                  <a:pt x="108585" y="289560"/>
                </a:moveTo>
                <a:cubicBezTo>
                  <a:pt x="103823" y="297180"/>
                  <a:pt x="93345" y="300038"/>
                  <a:pt x="85725" y="295275"/>
                </a:cubicBezTo>
                <a:cubicBezTo>
                  <a:pt x="78105" y="290513"/>
                  <a:pt x="75248" y="280035"/>
                  <a:pt x="80010" y="272415"/>
                </a:cubicBezTo>
                <a:cubicBezTo>
                  <a:pt x="84773" y="264795"/>
                  <a:pt x="95250" y="261938"/>
                  <a:pt x="102870" y="266700"/>
                </a:cubicBezTo>
                <a:cubicBezTo>
                  <a:pt x="110490" y="271463"/>
                  <a:pt x="113348" y="280988"/>
                  <a:pt x="108585" y="289560"/>
                </a:cubicBezTo>
                <a:close/>
                <a:moveTo>
                  <a:pt x="245848" y="271411"/>
                </a:moveTo>
                <a:cubicBezTo>
                  <a:pt x="248706" y="276341"/>
                  <a:pt x="248298" y="290577"/>
                  <a:pt x="240468" y="294941"/>
                </a:cubicBezTo>
                <a:cubicBezTo>
                  <a:pt x="232638" y="299305"/>
                  <a:pt x="221134" y="296833"/>
                  <a:pt x="216938" y="289560"/>
                </a:cubicBezTo>
                <a:cubicBezTo>
                  <a:pt x="212742" y="282287"/>
                  <a:pt x="215158" y="269390"/>
                  <a:pt x="223323" y="265361"/>
                </a:cubicBezTo>
                <a:cubicBezTo>
                  <a:pt x="231488" y="261332"/>
                  <a:pt x="242991" y="266481"/>
                  <a:pt x="245848" y="271411"/>
                </a:cubicBezTo>
                <a:close/>
                <a:moveTo>
                  <a:pt x="265181" y="220363"/>
                </a:moveTo>
                <a:cubicBezTo>
                  <a:pt x="268261" y="215880"/>
                  <a:pt x="281438" y="210509"/>
                  <a:pt x="288376" y="216322"/>
                </a:cubicBezTo>
                <a:cubicBezTo>
                  <a:pt x="295314" y="222135"/>
                  <a:pt x="296837" y="233694"/>
                  <a:pt x="292753" y="239181"/>
                </a:cubicBezTo>
                <a:cubicBezTo>
                  <a:pt x="288669" y="244668"/>
                  <a:pt x="278169" y="247363"/>
                  <a:pt x="269893" y="243223"/>
                </a:cubicBezTo>
                <a:cubicBezTo>
                  <a:pt x="261617" y="239083"/>
                  <a:pt x="262101" y="224846"/>
                  <a:pt x="265181" y="220363"/>
                </a:cubicBezTo>
                <a:close/>
                <a:moveTo>
                  <a:pt x="298133" y="145733"/>
                </a:moveTo>
                <a:cubicBezTo>
                  <a:pt x="307658" y="145733"/>
                  <a:pt x="315278" y="153353"/>
                  <a:pt x="315278" y="162878"/>
                </a:cubicBezTo>
                <a:cubicBezTo>
                  <a:pt x="315278" y="172403"/>
                  <a:pt x="307658" y="180023"/>
                  <a:pt x="298133" y="180023"/>
                </a:cubicBezTo>
                <a:cubicBezTo>
                  <a:pt x="288608" y="180023"/>
                  <a:pt x="280988" y="171450"/>
                  <a:pt x="280988" y="161925"/>
                </a:cubicBezTo>
                <a:cubicBezTo>
                  <a:pt x="280988" y="152400"/>
                  <a:pt x="288608" y="145733"/>
                  <a:pt x="298133" y="145733"/>
                </a:cubicBezTo>
                <a:close/>
                <a:moveTo>
                  <a:pt x="145733" y="26670"/>
                </a:moveTo>
                <a:cubicBezTo>
                  <a:pt x="145733" y="17145"/>
                  <a:pt x="152400" y="9525"/>
                  <a:pt x="161925" y="9525"/>
                </a:cubicBezTo>
                <a:cubicBezTo>
                  <a:pt x="171450" y="9525"/>
                  <a:pt x="179070" y="17145"/>
                  <a:pt x="179070" y="26670"/>
                </a:cubicBezTo>
                <a:cubicBezTo>
                  <a:pt x="179070" y="36195"/>
                  <a:pt x="171450" y="42863"/>
                  <a:pt x="161925" y="42863"/>
                </a:cubicBezTo>
                <a:cubicBezTo>
                  <a:pt x="152400" y="42863"/>
                  <a:pt x="145733" y="35243"/>
                  <a:pt x="145733" y="26670"/>
                </a:cubicBezTo>
                <a:close/>
                <a:moveTo>
                  <a:pt x="26670" y="179070"/>
                </a:moveTo>
                <a:cubicBezTo>
                  <a:pt x="17145" y="179070"/>
                  <a:pt x="9525" y="171450"/>
                  <a:pt x="9525" y="161925"/>
                </a:cubicBezTo>
                <a:cubicBezTo>
                  <a:pt x="9525" y="152400"/>
                  <a:pt x="17145" y="144780"/>
                  <a:pt x="26670" y="144780"/>
                </a:cubicBezTo>
                <a:cubicBezTo>
                  <a:pt x="36195" y="144780"/>
                  <a:pt x="42863" y="152400"/>
                  <a:pt x="42863" y="161925"/>
                </a:cubicBezTo>
                <a:cubicBezTo>
                  <a:pt x="42863" y="171450"/>
                  <a:pt x="35243" y="179070"/>
                  <a:pt x="26670" y="179070"/>
                </a:cubicBezTo>
                <a:close/>
                <a:moveTo>
                  <a:pt x="179070" y="298133"/>
                </a:moveTo>
                <a:cubicBezTo>
                  <a:pt x="179795" y="306814"/>
                  <a:pt x="172213" y="315839"/>
                  <a:pt x="162260" y="316006"/>
                </a:cubicBezTo>
                <a:cubicBezTo>
                  <a:pt x="152307" y="316173"/>
                  <a:pt x="145840" y="307483"/>
                  <a:pt x="145449" y="299137"/>
                </a:cubicBezTo>
                <a:cubicBezTo>
                  <a:pt x="145058" y="290791"/>
                  <a:pt x="156322" y="282159"/>
                  <a:pt x="161925" y="281992"/>
                </a:cubicBezTo>
                <a:cubicBezTo>
                  <a:pt x="167528" y="281825"/>
                  <a:pt x="178345" y="289452"/>
                  <a:pt x="179070" y="298133"/>
                </a:cubicBezTo>
                <a:close/>
                <a:moveTo>
                  <a:pt x="161925" y="241935"/>
                </a:moveTo>
                <a:cubicBezTo>
                  <a:pt x="118110" y="241935"/>
                  <a:pt x="81915" y="205740"/>
                  <a:pt x="81915" y="161925"/>
                </a:cubicBezTo>
                <a:cubicBezTo>
                  <a:pt x="81915" y="118110"/>
                  <a:pt x="118110" y="81915"/>
                  <a:pt x="161925" y="81915"/>
                </a:cubicBezTo>
                <a:cubicBezTo>
                  <a:pt x="205740" y="81915"/>
                  <a:pt x="241935" y="118110"/>
                  <a:pt x="241935" y="161925"/>
                </a:cubicBezTo>
                <a:cubicBezTo>
                  <a:pt x="241935" y="205740"/>
                  <a:pt x="205740" y="241935"/>
                  <a:pt x="161925" y="241935"/>
                </a:cubicBezTo>
                <a:close/>
              </a:path>
            </a:pathLst>
          </a:custGeom>
          <a:solidFill>
            <a:srgbClr val="101010"/>
          </a:solidFill>
          <a:ln w="9525" cap="flat">
            <a:noFill/>
            <a:prstDash val="solid"/>
            <a:miter/>
          </a:ln>
        </p:spPr>
        <p:txBody>
          <a:bodyPr rtlCol="0" anchor="ctr"/>
          <a:lstStyle/>
          <a:p>
            <a:endParaRPr lang="de-DE"/>
          </a:p>
        </p:txBody>
      </p:sp>
      <p:sp>
        <p:nvSpPr>
          <p:cNvPr id="2367" name="Graphic 4">
            <a:extLst>
              <a:ext uri="{FF2B5EF4-FFF2-40B4-BE49-F238E27FC236}">
                <a16:creationId xmlns:a16="http://schemas.microsoft.com/office/drawing/2014/main" id="{36B31486-B5CC-4336-BEF1-BA3938D29CCC}"/>
              </a:ext>
              <a:ext uri="{C183D7F6-B498-43B3-948B-1728B52AA6E4}">
                <adec:decorative xmlns:adec="http://schemas.microsoft.com/office/drawing/2017/decorative" val="1"/>
              </a:ext>
            </a:extLst>
          </p:cNvPr>
          <p:cNvSpPr>
            <a:spLocks noChangeAspect="1"/>
          </p:cNvSpPr>
          <p:nvPr/>
        </p:nvSpPr>
        <p:spPr>
          <a:xfrm>
            <a:off x="1456352" y="4527405"/>
            <a:ext cx="129104" cy="83293"/>
          </a:xfrm>
          <a:custGeom>
            <a:avLst/>
            <a:gdLst>
              <a:gd name="connsiteX0" fmla="*/ 255270 w 295275"/>
              <a:gd name="connsiteY0" fmla="*/ 145733 h 190500"/>
              <a:gd name="connsiteX1" fmla="*/ 300038 w 295275"/>
              <a:gd name="connsiteY1" fmla="*/ 91440 h 190500"/>
              <a:gd name="connsiteX2" fmla="*/ 255270 w 295275"/>
              <a:gd name="connsiteY2" fmla="*/ 40958 h 190500"/>
              <a:gd name="connsiteX3" fmla="*/ 255270 w 295275"/>
              <a:gd name="connsiteY3" fmla="*/ 22860 h 190500"/>
              <a:gd name="connsiteX4" fmla="*/ 251460 w 295275"/>
              <a:gd name="connsiteY4" fmla="*/ 18098 h 190500"/>
              <a:gd name="connsiteX5" fmla="*/ 151448 w 295275"/>
              <a:gd name="connsiteY5" fmla="*/ 0 h 190500"/>
              <a:gd name="connsiteX6" fmla="*/ 149543 w 295275"/>
              <a:gd name="connsiteY6" fmla="*/ 0 h 190500"/>
              <a:gd name="connsiteX7" fmla="*/ 48578 w 295275"/>
              <a:gd name="connsiteY7" fmla="*/ 18098 h 190500"/>
              <a:gd name="connsiteX8" fmla="*/ 44768 w 295275"/>
              <a:gd name="connsiteY8" fmla="*/ 22860 h 190500"/>
              <a:gd name="connsiteX9" fmla="*/ 44768 w 295275"/>
              <a:gd name="connsiteY9" fmla="*/ 40958 h 190500"/>
              <a:gd name="connsiteX10" fmla="*/ 42863 w 295275"/>
              <a:gd name="connsiteY10" fmla="*/ 40958 h 190500"/>
              <a:gd name="connsiteX11" fmla="*/ 0 w 295275"/>
              <a:gd name="connsiteY11" fmla="*/ 91440 h 190500"/>
              <a:gd name="connsiteX12" fmla="*/ 42863 w 295275"/>
              <a:gd name="connsiteY12" fmla="*/ 145733 h 190500"/>
              <a:gd name="connsiteX13" fmla="*/ 42863 w 295275"/>
              <a:gd name="connsiteY13" fmla="*/ 145733 h 190500"/>
              <a:gd name="connsiteX14" fmla="*/ 44768 w 295275"/>
              <a:gd name="connsiteY14" fmla="*/ 145733 h 190500"/>
              <a:gd name="connsiteX15" fmla="*/ 44768 w 295275"/>
              <a:gd name="connsiteY15" fmla="*/ 165735 h 190500"/>
              <a:gd name="connsiteX16" fmla="*/ 48578 w 295275"/>
              <a:gd name="connsiteY16" fmla="*/ 170498 h 190500"/>
              <a:gd name="connsiteX17" fmla="*/ 148590 w 295275"/>
              <a:gd name="connsiteY17" fmla="*/ 191453 h 190500"/>
              <a:gd name="connsiteX18" fmla="*/ 149543 w 295275"/>
              <a:gd name="connsiteY18" fmla="*/ 191453 h 190500"/>
              <a:gd name="connsiteX19" fmla="*/ 150495 w 295275"/>
              <a:gd name="connsiteY19" fmla="*/ 191453 h 190500"/>
              <a:gd name="connsiteX20" fmla="*/ 250508 w 295275"/>
              <a:gd name="connsiteY20" fmla="*/ 170498 h 190500"/>
              <a:gd name="connsiteX21" fmla="*/ 254318 w 295275"/>
              <a:gd name="connsiteY21" fmla="*/ 165735 h 190500"/>
              <a:gd name="connsiteX22" fmla="*/ 254318 w 295275"/>
              <a:gd name="connsiteY22" fmla="*/ 145733 h 190500"/>
              <a:gd name="connsiteX23" fmla="*/ 54293 w 295275"/>
              <a:gd name="connsiteY23" fmla="*/ 76200 h 190500"/>
              <a:gd name="connsiteX24" fmla="*/ 148590 w 295275"/>
              <a:gd name="connsiteY24" fmla="*/ 70485 h 190500"/>
              <a:gd name="connsiteX25" fmla="*/ 245745 w 295275"/>
              <a:gd name="connsiteY25" fmla="*/ 76200 h 190500"/>
              <a:gd name="connsiteX26" fmla="*/ 245745 w 295275"/>
              <a:gd name="connsiteY26" fmla="*/ 115253 h 190500"/>
              <a:gd name="connsiteX27" fmla="*/ 150495 w 295275"/>
              <a:gd name="connsiteY27" fmla="*/ 125730 h 190500"/>
              <a:gd name="connsiteX28" fmla="*/ 54293 w 295275"/>
              <a:gd name="connsiteY28" fmla="*/ 114300 h 190500"/>
              <a:gd name="connsiteX29" fmla="*/ 54293 w 295275"/>
              <a:gd name="connsiteY29" fmla="*/ 76200 h 190500"/>
              <a:gd name="connsiteX30" fmla="*/ 290513 w 295275"/>
              <a:gd name="connsiteY30" fmla="*/ 91440 h 190500"/>
              <a:gd name="connsiteX31" fmla="*/ 255270 w 295275"/>
              <a:gd name="connsiteY31" fmla="*/ 136208 h 190500"/>
              <a:gd name="connsiteX32" fmla="*/ 255270 w 295275"/>
              <a:gd name="connsiteY32" fmla="*/ 50483 h 190500"/>
              <a:gd name="connsiteX33" fmla="*/ 290513 w 295275"/>
              <a:gd name="connsiteY33" fmla="*/ 91440 h 190500"/>
              <a:gd name="connsiteX34" fmla="*/ 150495 w 295275"/>
              <a:gd name="connsiteY34" fmla="*/ 9525 h 190500"/>
              <a:gd name="connsiteX35" fmla="*/ 245745 w 295275"/>
              <a:gd name="connsiteY35" fmla="*/ 26670 h 190500"/>
              <a:gd name="connsiteX36" fmla="*/ 245745 w 295275"/>
              <a:gd name="connsiteY36" fmla="*/ 66675 h 190500"/>
              <a:gd name="connsiteX37" fmla="*/ 149543 w 295275"/>
              <a:gd name="connsiteY37" fmla="*/ 60960 h 190500"/>
              <a:gd name="connsiteX38" fmla="*/ 54293 w 295275"/>
              <a:gd name="connsiteY38" fmla="*/ 66675 h 190500"/>
              <a:gd name="connsiteX39" fmla="*/ 54293 w 295275"/>
              <a:gd name="connsiteY39" fmla="*/ 26670 h 190500"/>
              <a:gd name="connsiteX40" fmla="*/ 150495 w 295275"/>
              <a:gd name="connsiteY40" fmla="*/ 9525 h 190500"/>
              <a:gd name="connsiteX41" fmla="*/ 43815 w 295275"/>
              <a:gd name="connsiteY41" fmla="*/ 136208 h 190500"/>
              <a:gd name="connsiteX42" fmla="*/ 9525 w 295275"/>
              <a:gd name="connsiteY42" fmla="*/ 91440 h 190500"/>
              <a:gd name="connsiteX43" fmla="*/ 42863 w 295275"/>
              <a:gd name="connsiteY43" fmla="*/ 50483 h 190500"/>
              <a:gd name="connsiteX44" fmla="*/ 44768 w 295275"/>
              <a:gd name="connsiteY44" fmla="*/ 50483 h 190500"/>
              <a:gd name="connsiteX45" fmla="*/ 44768 w 295275"/>
              <a:gd name="connsiteY45" fmla="*/ 138113 h 190500"/>
              <a:gd name="connsiteX46" fmla="*/ 43815 w 295275"/>
              <a:gd name="connsiteY46" fmla="*/ 136208 h 190500"/>
              <a:gd name="connsiteX47" fmla="*/ 150495 w 295275"/>
              <a:gd name="connsiteY47" fmla="*/ 181928 h 190500"/>
              <a:gd name="connsiteX48" fmla="*/ 54293 w 295275"/>
              <a:gd name="connsiteY48" fmla="*/ 161925 h 190500"/>
              <a:gd name="connsiteX49" fmla="*/ 54293 w 295275"/>
              <a:gd name="connsiteY49" fmla="*/ 124778 h 190500"/>
              <a:gd name="connsiteX50" fmla="*/ 149543 w 295275"/>
              <a:gd name="connsiteY50" fmla="*/ 135255 h 190500"/>
              <a:gd name="connsiteX51" fmla="*/ 150495 w 295275"/>
              <a:gd name="connsiteY51" fmla="*/ 135255 h 190500"/>
              <a:gd name="connsiteX52" fmla="*/ 151448 w 295275"/>
              <a:gd name="connsiteY52" fmla="*/ 135255 h 190500"/>
              <a:gd name="connsiteX53" fmla="*/ 246698 w 295275"/>
              <a:gd name="connsiteY53" fmla="*/ 124778 h 190500"/>
              <a:gd name="connsiteX54" fmla="*/ 246698 w 295275"/>
              <a:gd name="connsiteY54" fmla="*/ 161925 h 190500"/>
              <a:gd name="connsiteX55" fmla="*/ 150495 w 295275"/>
              <a:gd name="connsiteY55" fmla="*/ 18192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95275" h="190500">
                <a:moveTo>
                  <a:pt x="255270" y="145733"/>
                </a:moveTo>
                <a:cubicBezTo>
                  <a:pt x="264795" y="143828"/>
                  <a:pt x="300038" y="135255"/>
                  <a:pt x="300038" y="91440"/>
                </a:cubicBezTo>
                <a:cubicBezTo>
                  <a:pt x="300038" y="47625"/>
                  <a:pt x="265748" y="41910"/>
                  <a:pt x="255270" y="40958"/>
                </a:cubicBezTo>
                <a:lnTo>
                  <a:pt x="255270" y="22860"/>
                </a:lnTo>
                <a:cubicBezTo>
                  <a:pt x="255270" y="20955"/>
                  <a:pt x="253365" y="19050"/>
                  <a:pt x="251460" y="18098"/>
                </a:cubicBezTo>
                <a:lnTo>
                  <a:pt x="151448" y="0"/>
                </a:lnTo>
                <a:cubicBezTo>
                  <a:pt x="150495" y="0"/>
                  <a:pt x="150495" y="0"/>
                  <a:pt x="149543" y="0"/>
                </a:cubicBezTo>
                <a:lnTo>
                  <a:pt x="48578" y="18098"/>
                </a:lnTo>
                <a:cubicBezTo>
                  <a:pt x="46673" y="19050"/>
                  <a:pt x="44768" y="20955"/>
                  <a:pt x="44768" y="22860"/>
                </a:cubicBezTo>
                <a:lnTo>
                  <a:pt x="44768" y="40958"/>
                </a:lnTo>
                <a:cubicBezTo>
                  <a:pt x="43815" y="40958"/>
                  <a:pt x="43815" y="40958"/>
                  <a:pt x="42863" y="40958"/>
                </a:cubicBezTo>
                <a:cubicBezTo>
                  <a:pt x="42863" y="40958"/>
                  <a:pt x="0" y="41910"/>
                  <a:pt x="0" y="91440"/>
                </a:cubicBezTo>
                <a:cubicBezTo>
                  <a:pt x="0" y="141923"/>
                  <a:pt x="41910" y="145733"/>
                  <a:pt x="42863" y="145733"/>
                </a:cubicBezTo>
                <a:cubicBezTo>
                  <a:pt x="42863" y="145733"/>
                  <a:pt x="42863" y="145733"/>
                  <a:pt x="42863" y="145733"/>
                </a:cubicBezTo>
                <a:cubicBezTo>
                  <a:pt x="43815" y="145733"/>
                  <a:pt x="43815" y="145733"/>
                  <a:pt x="44768" y="145733"/>
                </a:cubicBezTo>
                <a:lnTo>
                  <a:pt x="44768" y="165735"/>
                </a:lnTo>
                <a:cubicBezTo>
                  <a:pt x="44768" y="167640"/>
                  <a:pt x="46673" y="169545"/>
                  <a:pt x="48578" y="170498"/>
                </a:cubicBezTo>
                <a:lnTo>
                  <a:pt x="148590" y="191453"/>
                </a:lnTo>
                <a:cubicBezTo>
                  <a:pt x="148590" y="191453"/>
                  <a:pt x="149543" y="191453"/>
                  <a:pt x="149543" y="191453"/>
                </a:cubicBezTo>
                <a:cubicBezTo>
                  <a:pt x="149543" y="191453"/>
                  <a:pt x="150495" y="191453"/>
                  <a:pt x="150495" y="191453"/>
                </a:cubicBezTo>
                <a:lnTo>
                  <a:pt x="250508" y="170498"/>
                </a:lnTo>
                <a:cubicBezTo>
                  <a:pt x="252413" y="170498"/>
                  <a:pt x="254318" y="167640"/>
                  <a:pt x="254318" y="165735"/>
                </a:cubicBezTo>
                <a:lnTo>
                  <a:pt x="254318" y="145733"/>
                </a:lnTo>
                <a:close/>
                <a:moveTo>
                  <a:pt x="54293" y="76200"/>
                </a:moveTo>
                <a:lnTo>
                  <a:pt x="148590" y="70485"/>
                </a:lnTo>
                <a:lnTo>
                  <a:pt x="245745" y="76200"/>
                </a:lnTo>
                <a:lnTo>
                  <a:pt x="245745" y="115253"/>
                </a:lnTo>
                <a:lnTo>
                  <a:pt x="150495" y="125730"/>
                </a:lnTo>
                <a:lnTo>
                  <a:pt x="54293" y="114300"/>
                </a:lnTo>
                <a:lnTo>
                  <a:pt x="54293" y="76200"/>
                </a:lnTo>
                <a:close/>
                <a:moveTo>
                  <a:pt x="290513" y="91440"/>
                </a:moveTo>
                <a:cubicBezTo>
                  <a:pt x="290513" y="126683"/>
                  <a:pt x="264795" y="134303"/>
                  <a:pt x="255270" y="136208"/>
                </a:cubicBezTo>
                <a:lnTo>
                  <a:pt x="255270" y="50483"/>
                </a:lnTo>
                <a:cubicBezTo>
                  <a:pt x="263843" y="50483"/>
                  <a:pt x="290513" y="56198"/>
                  <a:pt x="290513" y="91440"/>
                </a:cubicBezTo>
                <a:close/>
                <a:moveTo>
                  <a:pt x="150495" y="9525"/>
                </a:moveTo>
                <a:lnTo>
                  <a:pt x="245745" y="26670"/>
                </a:lnTo>
                <a:lnTo>
                  <a:pt x="245745" y="66675"/>
                </a:lnTo>
                <a:lnTo>
                  <a:pt x="149543" y="60960"/>
                </a:lnTo>
                <a:lnTo>
                  <a:pt x="54293" y="66675"/>
                </a:lnTo>
                <a:lnTo>
                  <a:pt x="54293" y="26670"/>
                </a:lnTo>
                <a:lnTo>
                  <a:pt x="150495" y="9525"/>
                </a:lnTo>
                <a:close/>
                <a:moveTo>
                  <a:pt x="43815" y="136208"/>
                </a:moveTo>
                <a:cubicBezTo>
                  <a:pt x="41910" y="136208"/>
                  <a:pt x="9525" y="132398"/>
                  <a:pt x="9525" y="91440"/>
                </a:cubicBezTo>
                <a:cubicBezTo>
                  <a:pt x="9525" y="50483"/>
                  <a:pt x="41910" y="50483"/>
                  <a:pt x="42863" y="50483"/>
                </a:cubicBezTo>
                <a:cubicBezTo>
                  <a:pt x="43815" y="50483"/>
                  <a:pt x="43815" y="50483"/>
                  <a:pt x="44768" y="50483"/>
                </a:cubicBezTo>
                <a:lnTo>
                  <a:pt x="44768" y="138113"/>
                </a:lnTo>
                <a:cubicBezTo>
                  <a:pt x="44768" y="136208"/>
                  <a:pt x="43815" y="136208"/>
                  <a:pt x="43815" y="136208"/>
                </a:cubicBezTo>
                <a:close/>
                <a:moveTo>
                  <a:pt x="150495" y="181928"/>
                </a:moveTo>
                <a:lnTo>
                  <a:pt x="54293" y="161925"/>
                </a:lnTo>
                <a:lnTo>
                  <a:pt x="54293" y="124778"/>
                </a:lnTo>
                <a:lnTo>
                  <a:pt x="149543" y="135255"/>
                </a:lnTo>
                <a:cubicBezTo>
                  <a:pt x="149543" y="135255"/>
                  <a:pt x="149543" y="135255"/>
                  <a:pt x="150495" y="135255"/>
                </a:cubicBezTo>
                <a:cubicBezTo>
                  <a:pt x="150495" y="135255"/>
                  <a:pt x="150495" y="135255"/>
                  <a:pt x="151448" y="135255"/>
                </a:cubicBezTo>
                <a:lnTo>
                  <a:pt x="246698" y="124778"/>
                </a:lnTo>
                <a:lnTo>
                  <a:pt x="246698" y="161925"/>
                </a:lnTo>
                <a:lnTo>
                  <a:pt x="150495" y="181928"/>
                </a:lnTo>
                <a:close/>
              </a:path>
            </a:pathLst>
          </a:custGeom>
          <a:solidFill>
            <a:srgbClr val="231F20"/>
          </a:solidFill>
          <a:ln w="9525" cap="flat">
            <a:noFill/>
            <a:prstDash val="solid"/>
            <a:miter/>
          </a:ln>
        </p:spPr>
        <p:txBody>
          <a:bodyPr rtlCol="0" anchor="ctr"/>
          <a:lstStyle/>
          <a:p>
            <a:endParaRPr lang="de-DE"/>
          </a:p>
        </p:txBody>
      </p:sp>
      <p:sp>
        <p:nvSpPr>
          <p:cNvPr id="2368" name="Graphic 3">
            <a:extLst>
              <a:ext uri="{FF2B5EF4-FFF2-40B4-BE49-F238E27FC236}">
                <a16:creationId xmlns:a16="http://schemas.microsoft.com/office/drawing/2014/main" id="{2DC1F0CC-97D4-4A08-A50A-F8F664DEEFFC}"/>
              </a:ext>
              <a:ext uri="{C183D7F6-B498-43B3-948B-1728B52AA6E4}">
                <adec:decorative xmlns:adec="http://schemas.microsoft.com/office/drawing/2017/decorative" val="1"/>
              </a:ext>
            </a:extLst>
          </p:cNvPr>
          <p:cNvSpPr>
            <a:spLocks noChangeAspect="1"/>
          </p:cNvSpPr>
          <p:nvPr/>
        </p:nvSpPr>
        <p:spPr>
          <a:xfrm>
            <a:off x="1718872" y="4504121"/>
            <a:ext cx="118404" cy="129862"/>
          </a:xfrm>
          <a:custGeom>
            <a:avLst/>
            <a:gdLst>
              <a:gd name="connsiteX0" fmla="*/ 302895 w 295275"/>
              <a:gd name="connsiteY0" fmla="*/ 280044 h 323850"/>
              <a:gd name="connsiteX1" fmla="*/ 302895 w 295275"/>
              <a:gd name="connsiteY1" fmla="*/ 278139 h 323850"/>
              <a:gd name="connsiteX2" fmla="*/ 224790 w 295275"/>
              <a:gd name="connsiteY2" fmla="*/ 198129 h 323850"/>
              <a:gd name="connsiteX3" fmla="*/ 190500 w 295275"/>
              <a:gd name="connsiteY3" fmla="*/ 161934 h 323850"/>
              <a:gd name="connsiteX4" fmla="*/ 191453 w 295275"/>
              <a:gd name="connsiteY4" fmla="*/ 155267 h 323850"/>
              <a:gd name="connsiteX5" fmla="*/ 199073 w 295275"/>
              <a:gd name="connsiteY5" fmla="*/ 148599 h 323850"/>
              <a:gd name="connsiteX6" fmla="*/ 220028 w 295275"/>
              <a:gd name="connsiteY6" fmla="*/ 90497 h 323850"/>
              <a:gd name="connsiteX7" fmla="*/ 220980 w 295275"/>
              <a:gd name="connsiteY7" fmla="*/ 85734 h 323850"/>
              <a:gd name="connsiteX8" fmla="*/ 220980 w 295275"/>
              <a:gd name="connsiteY8" fmla="*/ 48587 h 323850"/>
              <a:gd name="connsiteX9" fmla="*/ 151448 w 295275"/>
              <a:gd name="connsiteY9" fmla="*/ 9 h 323850"/>
              <a:gd name="connsiteX10" fmla="*/ 82868 w 295275"/>
              <a:gd name="connsiteY10" fmla="*/ 48587 h 323850"/>
              <a:gd name="connsiteX11" fmla="*/ 82868 w 295275"/>
              <a:gd name="connsiteY11" fmla="*/ 85734 h 323850"/>
              <a:gd name="connsiteX12" fmla="*/ 82868 w 295275"/>
              <a:gd name="connsiteY12" fmla="*/ 88592 h 323850"/>
              <a:gd name="connsiteX13" fmla="*/ 84773 w 295275"/>
              <a:gd name="connsiteY13" fmla="*/ 97164 h 323850"/>
              <a:gd name="connsiteX14" fmla="*/ 84773 w 295275"/>
              <a:gd name="connsiteY14" fmla="*/ 98117 h 323850"/>
              <a:gd name="connsiteX15" fmla="*/ 85725 w 295275"/>
              <a:gd name="connsiteY15" fmla="*/ 100974 h 323850"/>
              <a:gd name="connsiteX16" fmla="*/ 105728 w 295275"/>
              <a:gd name="connsiteY16" fmla="*/ 149552 h 323850"/>
              <a:gd name="connsiteX17" fmla="*/ 111443 w 295275"/>
              <a:gd name="connsiteY17" fmla="*/ 155267 h 323850"/>
              <a:gd name="connsiteX18" fmla="*/ 112395 w 295275"/>
              <a:gd name="connsiteY18" fmla="*/ 163839 h 323850"/>
              <a:gd name="connsiteX19" fmla="*/ 78105 w 295275"/>
              <a:gd name="connsiteY19" fmla="*/ 200034 h 323850"/>
              <a:gd name="connsiteX20" fmla="*/ 0 w 295275"/>
              <a:gd name="connsiteY20" fmla="*/ 280044 h 323850"/>
              <a:gd name="connsiteX21" fmla="*/ 0 w 295275"/>
              <a:gd name="connsiteY21" fmla="*/ 285759 h 323850"/>
              <a:gd name="connsiteX22" fmla="*/ 0 w 295275"/>
              <a:gd name="connsiteY22" fmla="*/ 320049 h 323850"/>
              <a:gd name="connsiteX23" fmla="*/ 4763 w 295275"/>
              <a:gd name="connsiteY23" fmla="*/ 323859 h 323850"/>
              <a:gd name="connsiteX24" fmla="*/ 4763 w 295275"/>
              <a:gd name="connsiteY24" fmla="*/ 323859 h 323850"/>
              <a:gd name="connsiteX25" fmla="*/ 9525 w 295275"/>
              <a:gd name="connsiteY25" fmla="*/ 319097 h 323850"/>
              <a:gd name="connsiteX26" fmla="*/ 9525 w 295275"/>
              <a:gd name="connsiteY26" fmla="*/ 284807 h 323850"/>
              <a:gd name="connsiteX27" fmla="*/ 9525 w 295275"/>
              <a:gd name="connsiteY27" fmla="*/ 279092 h 323850"/>
              <a:gd name="connsiteX28" fmla="*/ 78105 w 295275"/>
              <a:gd name="connsiteY28" fmla="*/ 208607 h 323850"/>
              <a:gd name="connsiteX29" fmla="*/ 121920 w 295275"/>
              <a:gd name="connsiteY29" fmla="*/ 162887 h 323850"/>
              <a:gd name="connsiteX30" fmla="*/ 121920 w 295275"/>
              <a:gd name="connsiteY30" fmla="*/ 160982 h 323850"/>
              <a:gd name="connsiteX31" fmla="*/ 152400 w 295275"/>
              <a:gd name="connsiteY31" fmla="*/ 168602 h 323850"/>
              <a:gd name="connsiteX32" fmla="*/ 153353 w 295275"/>
              <a:gd name="connsiteY32" fmla="*/ 168602 h 323850"/>
              <a:gd name="connsiteX33" fmla="*/ 181928 w 295275"/>
              <a:gd name="connsiteY33" fmla="*/ 162887 h 323850"/>
              <a:gd name="connsiteX34" fmla="*/ 181928 w 295275"/>
              <a:gd name="connsiteY34" fmla="*/ 163839 h 323850"/>
              <a:gd name="connsiteX35" fmla="*/ 225743 w 295275"/>
              <a:gd name="connsiteY35" fmla="*/ 209559 h 323850"/>
              <a:gd name="connsiteX36" fmla="*/ 294323 w 295275"/>
              <a:gd name="connsiteY36" fmla="*/ 280044 h 323850"/>
              <a:gd name="connsiteX37" fmla="*/ 294323 w 295275"/>
              <a:gd name="connsiteY37" fmla="*/ 281949 h 323850"/>
              <a:gd name="connsiteX38" fmla="*/ 294323 w 295275"/>
              <a:gd name="connsiteY38" fmla="*/ 320049 h 323850"/>
              <a:gd name="connsiteX39" fmla="*/ 299085 w 295275"/>
              <a:gd name="connsiteY39" fmla="*/ 324812 h 323850"/>
              <a:gd name="connsiteX40" fmla="*/ 299085 w 295275"/>
              <a:gd name="connsiteY40" fmla="*/ 324812 h 323850"/>
              <a:gd name="connsiteX41" fmla="*/ 303848 w 295275"/>
              <a:gd name="connsiteY41" fmla="*/ 320049 h 323850"/>
              <a:gd name="connsiteX42" fmla="*/ 302895 w 295275"/>
              <a:gd name="connsiteY42" fmla="*/ 280044 h 323850"/>
              <a:gd name="connsiteX43" fmla="*/ 194310 w 295275"/>
              <a:gd name="connsiteY43" fmla="*/ 139074 h 323850"/>
              <a:gd name="connsiteX44" fmla="*/ 190500 w 295275"/>
              <a:gd name="connsiteY44" fmla="*/ 138122 h 323850"/>
              <a:gd name="connsiteX45" fmla="*/ 190500 w 295275"/>
              <a:gd name="connsiteY45" fmla="*/ 104784 h 323850"/>
              <a:gd name="connsiteX46" fmla="*/ 208598 w 295275"/>
              <a:gd name="connsiteY46" fmla="*/ 101927 h 323850"/>
              <a:gd name="connsiteX47" fmla="*/ 194310 w 295275"/>
              <a:gd name="connsiteY47" fmla="*/ 139074 h 323850"/>
              <a:gd name="connsiteX48" fmla="*/ 180975 w 295275"/>
              <a:gd name="connsiteY48" fmla="*/ 104784 h 323850"/>
              <a:gd name="connsiteX49" fmla="*/ 180975 w 295275"/>
              <a:gd name="connsiteY49" fmla="*/ 114309 h 323850"/>
              <a:gd name="connsiteX50" fmla="*/ 121920 w 295275"/>
              <a:gd name="connsiteY50" fmla="*/ 114309 h 323850"/>
              <a:gd name="connsiteX51" fmla="*/ 121920 w 295275"/>
              <a:gd name="connsiteY51" fmla="*/ 104784 h 323850"/>
              <a:gd name="connsiteX52" fmla="*/ 180975 w 295275"/>
              <a:gd name="connsiteY52" fmla="*/ 104784 h 323850"/>
              <a:gd name="connsiteX53" fmla="*/ 122873 w 295275"/>
              <a:gd name="connsiteY53" fmla="*/ 136217 h 323850"/>
              <a:gd name="connsiteX54" fmla="*/ 122873 w 295275"/>
              <a:gd name="connsiteY54" fmla="*/ 123834 h 323850"/>
              <a:gd name="connsiteX55" fmla="*/ 181928 w 295275"/>
              <a:gd name="connsiteY55" fmla="*/ 123834 h 323850"/>
              <a:gd name="connsiteX56" fmla="*/ 181928 w 295275"/>
              <a:gd name="connsiteY56" fmla="*/ 137169 h 323850"/>
              <a:gd name="connsiteX57" fmla="*/ 122873 w 295275"/>
              <a:gd name="connsiteY57" fmla="*/ 136217 h 323850"/>
              <a:gd name="connsiteX58" fmla="*/ 91440 w 295275"/>
              <a:gd name="connsiteY58" fmla="*/ 50492 h 323850"/>
              <a:gd name="connsiteX59" fmla="*/ 151448 w 295275"/>
              <a:gd name="connsiteY59" fmla="*/ 9534 h 323850"/>
              <a:gd name="connsiteX60" fmla="*/ 211455 w 295275"/>
              <a:gd name="connsiteY60" fmla="*/ 50492 h 323850"/>
              <a:gd name="connsiteX61" fmla="*/ 211455 w 295275"/>
              <a:gd name="connsiteY61" fmla="*/ 84782 h 323850"/>
              <a:gd name="connsiteX62" fmla="*/ 210503 w 295275"/>
              <a:gd name="connsiteY62" fmla="*/ 90497 h 323850"/>
              <a:gd name="connsiteX63" fmla="*/ 210503 w 295275"/>
              <a:gd name="connsiteY63" fmla="*/ 91449 h 323850"/>
              <a:gd name="connsiteX64" fmla="*/ 187643 w 295275"/>
              <a:gd name="connsiteY64" fmla="*/ 96212 h 323850"/>
              <a:gd name="connsiteX65" fmla="*/ 119063 w 295275"/>
              <a:gd name="connsiteY65" fmla="*/ 96212 h 323850"/>
              <a:gd name="connsiteX66" fmla="*/ 93345 w 295275"/>
              <a:gd name="connsiteY66" fmla="*/ 94307 h 323850"/>
              <a:gd name="connsiteX67" fmla="*/ 92393 w 295275"/>
              <a:gd name="connsiteY67" fmla="*/ 87639 h 323850"/>
              <a:gd name="connsiteX68" fmla="*/ 92393 w 295275"/>
              <a:gd name="connsiteY68" fmla="*/ 84782 h 323850"/>
              <a:gd name="connsiteX69" fmla="*/ 91440 w 295275"/>
              <a:gd name="connsiteY69" fmla="*/ 50492 h 323850"/>
              <a:gd name="connsiteX70" fmla="*/ 95250 w 295275"/>
              <a:gd name="connsiteY70" fmla="*/ 103832 h 323850"/>
              <a:gd name="connsiteX71" fmla="*/ 113348 w 295275"/>
              <a:gd name="connsiteY71" fmla="*/ 104784 h 323850"/>
              <a:gd name="connsiteX72" fmla="*/ 113348 w 295275"/>
              <a:gd name="connsiteY72" fmla="*/ 138122 h 323850"/>
              <a:gd name="connsiteX73" fmla="*/ 110490 w 295275"/>
              <a:gd name="connsiteY73" fmla="*/ 140027 h 323850"/>
              <a:gd name="connsiteX74" fmla="*/ 95250 w 295275"/>
              <a:gd name="connsiteY74" fmla="*/ 103832 h 323850"/>
              <a:gd name="connsiteX75" fmla="*/ 152400 w 295275"/>
              <a:gd name="connsiteY75" fmla="*/ 159077 h 323850"/>
              <a:gd name="connsiteX76" fmla="*/ 152400 w 295275"/>
              <a:gd name="connsiteY76" fmla="*/ 159077 h 323850"/>
              <a:gd name="connsiteX77" fmla="*/ 117158 w 295275"/>
              <a:gd name="connsiteY77" fmla="*/ 147647 h 323850"/>
              <a:gd name="connsiteX78" fmla="*/ 119063 w 295275"/>
              <a:gd name="connsiteY78" fmla="*/ 145742 h 323850"/>
              <a:gd name="connsiteX79" fmla="*/ 184785 w 295275"/>
              <a:gd name="connsiteY79" fmla="*/ 146694 h 323850"/>
              <a:gd name="connsiteX80" fmla="*/ 184785 w 295275"/>
              <a:gd name="connsiteY80" fmla="*/ 146694 h 323850"/>
              <a:gd name="connsiteX81" fmla="*/ 184785 w 295275"/>
              <a:gd name="connsiteY81" fmla="*/ 146694 h 323850"/>
              <a:gd name="connsiteX82" fmla="*/ 186690 w 295275"/>
              <a:gd name="connsiteY82" fmla="*/ 147647 h 323850"/>
              <a:gd name="connsiteX83" fmla="*/ 152400 w 295275"/>
              <a:gd name="connsiteY83" fmla="*/ 15907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95275" h="323850">
                <a:moveTo>
                  <a:pt x="302895" y="280044"/>
                </a:moveTo>
                <a:lnTo>
                  <a:pt x="302895" y="278139"/>
                </a:lnTo>
                <a:cubicBezTo>
                  <a:pt x="301943" y="233372"/>
                  <a:pt x="267653" y="198129"/>
                  <a:pt x="224790" y="198129"/>
                </a:cubicBezTo>
                <a:cubicBezTo>
                  <a:pt x="205740" y="198129"/>
                  <a:pt x="190500" y="181937"/>
                  <a:pt x="190500" y="161934"/>
                </a:cubicBezTo>
                <a:cubicBezTo>
                  <a:pt x="190500" y="160029"/>
                  <a:pt x="190500" y="157172"/>
                  <a:pt x="191453" y="155267"/>
                </a:cubicBezTo>
                <a:cubicBezTo>
                  <a:pt x="194310" y="153362"/>
                  <a:pt x="196215" y="151457"/>
                  <a:pt x="199073" y="148599"/>
                </a:cubicBezTo>
                <a:cubicBezTo>
                  <a:pt x="214313" y="131454"/>
                  <a:pt x="217170" y="107642"/>
                  <a:pt x="220028" y="90497"/>
                </a:cubicBezTo>
                <a:lnTo>
                  <a:pt x="220980" y="85734"/>
                </a:lnTo>
                <a:cubicBezTo>
                  <a:pt x="224790" y="65732"/>
                  <a:pt x="220980" y="48587"/>
                  <a:pt x="220980" y="48587"/>
                </a:cubicBezTo>
                <a:cubicBezTo>
                  <a:pt x="210503" y="-1896"/>
                  <a:pt x="151448" y="9"/>
                  <a:pt x="151448" y="9"/>
                </a:cubicBezTo>
                <a:cubicBezTo>
                  <a:pt x="150495" y="9"/>
                  <a:pt x="92393" y="-943"/>
                  <a:pt x="82868" y="48587"/>
                </a:cubicBezTo>
                <a:cubicBezTo>
                  <a:pt x="82868" y="49539"/>
                  <a:pt x="79058" y="65732"/>
                  <a:pt x="82868" y="85734"/>
                </a:cubicBezTo>
                <a:lnTo>
                  <a:pt x="82868" y="88592"/>
                </a:lnTo>
                <a:cubicBezTo>
                  <a:pt x="82868" y="91449"/>
                  <a:pt x="83820" y="94307"/>
                  <a:pt x="84773" y="97164"/>
                </a:cubicBezTo>
                <a:cubicBezTo>
                  <a:pt x="84773" y="97164"/>
                  <a:pt x="84773" y="97164"/>
                  <a:pt x="84773" y="98117"/>
                </a:cubicBezTo>
                <a:cubicBezTo>
                  <a:pt x="84773" y="99069"/>
                  <a:pt x="84773" y="100022"/>
                  <a:pt x="85725" y="100974"/>
                </a:cubicBezTo>
                <a:cubicBezTo>
                  <a:pt x="88583" y="116214"/>
                  <a:pt x="93345" y="134312"/>
                  <a:pt x="105728" y="149552"/>
                </a:cubicBezTo>
                <a:cubicBezTo>
                  <a:pt x="107633" y="151457"/>
                  <a:pt x="109538" y="153362"/>
                  <a:pt x="111443" y="155267"/>
                </a:cubicBezTo>
                <a:cubicBezTo>
                  <a:pt x="112395" y="158124"/>
                  <a:pt x="112395" y="160982"/>
                  <a:pt x="112395" y="163839"/>
                </a:cubicBezTo>
                <a:cubicBezTo>
                  <a:pt x="112395" y="183842"/>
                  <a:pt x="97155" y="200034"/>
                  <a:pt x="78105" y="200034"/>
                </a:cubicBezTo>
                <a:cubicBezTo>
                  <a:pt x="35243" y="200034"/>
                  <a:pt x="953" y="235277"/>
                  <a:pt x="0" y="280044"/>
                </a:cubicBezTo>
                <a:lnTo>
                  <a:pt x="0" y="285759"/>
                </a:lnTo>
                <a:cubicBezTo>
                  <a:pt x="0" y="297189"/>
                  <a:pt x="0" y="309572"/>
                  <a:pt x="0" y="320049"/>
                </a:cubicBezTo>
                <a:cubicBezTo>
                  <a:pt x="0" y="321954"/>
                  <a:pt x="2858" y="323859"/>
                  <a:pt x="4763" y="323859"/>
                </a:cubicBezTo>
                <a:cubicBezTo>
                  <a:pt x="4763" y="323859"/>
                  <a:pt x="4763" y="323859"/>
                  <a:pt x="4763" y="323859"/>
                </a:cubicBezTo>
                <a:cubicBezTo>
                  <a:pt x="7620" y="323859"/>
                  <a:pt x="9525" y="321954"/>
                  <a:pt x="9525" y="319097"/>
                </a:cubicBezTo>
                <a:cubicBezTo>
                  <a:pt x="9525" y="307667"/>
                  <a:pt x="9525" y="295284"/>
                  <a:pt x="9525" y="284807"/>
                </a:cubicBezTo>
                <a:lnTo>
                  <a:pt x="9525" y="279092"/>
                </a:lnTo>
                <a:cubicBezTo>
                  <a:pt x="10478" y="240039"/>
                  <a:pt x="40958" y="208607"/>
                  <a:pt x="78105" y="208607"/>
                </a:cubicBezTo>
                <a:cubicBezTo>
                  <a:pt x="101918" y="208607"/>
                  <a:pt x="121920" y="188604"/>
                  <a:pt x="121920" y="162887"/>
                </a:cubicBezTo>
                <a:cubicBezTo>
                  <a:pt x="121920" y="161934"/>
                  <a:pt x="121920" y="161934"/>
                  <a:pt x="121920" y="160982"/>
                </a:cubicBezTo>
                <a:cubicBezTo>
                  <a:pt x="136208" y="167649"/>
                  <a:pt x="150495" y="168602"/>
                  <a:pt x="152400" y="168602"/>
                </a:cubicBezTo>
                <a:cubicBezTo>
                  <a:pt x="152400" y="168602"/>
                  <a:pt x="152400" y="168602"/>
                  <a:pt x="153353" y="168602"/>
                </a:cubicBezTo>
                <a:cubicBezTo>
                  <a:pt x="157163" y="168602"/>
                  <a:pt x="169545" y="167649"/>
                  <a:pt x="181928" y="162887"/>
                </a:cubicBezTo>
                <a:cubicBezTo>
                  <a:pt x="181928" y="162887"/>
                  <a:pt x="181928" y="162887"/>
                  <a:pt x="181928" y="163839"/>
                </a:cubicBezTo>
                <a:cubicBezTo>
                  <a:pt x="181928" y="188604"/>
                  <a:pt x="200978" y="209559"/>
                  <a:pt x="225743" y="209559"/>
                </a:cubicBezTo>
                <a:cubicBezTo>
                  <a:pt x="262890" y="209559"/>
                  <a:pt x="293370" y="240039"/>
                  <a:pt x="294323" y="280044"/>
                </a:cubicBezTo>
                <a:lnTo>
                  <a:pt x="294323" y="281949"/>
                </a:lnTo>
                <a:cubicBezTo>
                  <a:pt x="294323" y="295284"/>
                  <a:pt x="294323" y="308619"/>
                  <a:pt x="294323" y="320049"/>
                </a:cubicBezTo>
                <a:cubicBezTo>
                  <a:pt x="294323" y="322907"/>
                  <a:pt x="296228" y="324812"/>
                  <a:pt x="299085" y="324812"/>
                </a:cubicBezTo>
                <a:cubicBezTo>
                  <a:pt x="299085" y="324812"/>
                  <a:pt x="299085" y="324812"/>
                  <a:pt x="299085" y="324812"/>
                </a:cubicBezTo>
                <a:cubicBezTo>
                  <a:pt x="301943" y="324812"/>
                  <a:pt x="303848" y="322907"/>
                  <a:pt x="303848" y="320049"/>
                </a:cubicBezTo>
                <a:cubicBezTo>
                  <a:pt x="302895" y="307667"/>
                  <a:pt x="302895" y="294332"/>
                  <a:pt x="302895" y="280044"/>
                </a:cubicBezTo>
                <a:close/>
                <a:moveTo>
                  <a:pt x="194310" y="139074"/>
                </a:moveTo>
                <a:lnTo>
                  <a:pt x="190500" y="138122"/>
                </a:lnTo>
                <a:lnTo>
                  <a:pt x="190500" y="104784"/>
                </a:lnTo>
                <a:lnTo>
                  <a:pt x="208598" y="101927"/>
                </a:lnTo>
                <a:cubicBezTo>
                  <a:pt x="206693" y="114309"/>
                  <a:pt x="202883" y="127644"/>
                  <a:pt x="194310" y="139074"/>
                </a:cubicBezTo>
                <a:close/>
                <a:moveTo>
                  <a:pt x="180975" y="104784"/>
                </a:moveTo>
                <a:lnTo>
                  <a:pt x="180975" y="114309"/>
                </a:lnTo>
                <a:lnTo>
                  <a:pt x="121920" y="114309"/>
                </a:lnTo>
                <a:lnTo>
                  <a:pt x="121920" y="104784"/>
                </a:lnTo>
                <a:cubicBezTo>
                  <a:pt x="131445" y="104784"/>
                  <a:pt x="153353" y="104784"/>
                  <a:pt x="180975" y="104784"/>
                </a:cubicBezTo>
                <a:close/>
                <a:moveTo>
                  <a:pt x="122873" y="136217"/>
                </a:moveTo>
                <a:lnTo>
                  <a:pt x="122873" y="123834"/>
                </a:lnTo>
                <a:lnTo>
                  <a:pt x="181928" y="123834"/>
                </a:lnTo>
                <a:lnTo>
                  <a:pt x="181928" y="137169"/>
                </a:lnTo>
                <a:lnTo>
                  <a:pt x="122873" y="136217"/>
                </a:lnTo>
                <a:close/>
                <a:moveTo>
                  <a:pt x="91440" y="50492"/>
                </a:moveTo>
                <a:cubicBezTo>
                  <a:pt x="100013" y="8582"/>
                  <a:pt x="148590" y="9534"/>
                  <a:pt x="151448" y="9534"/>
                </a:cubicBezTo>
                <a:cubicBezTo>
                  <a:pt x="153353" y="9534"/>
                  <a:pt x="202883" y="8582"/>
                  <a:pt x="211455" y="50492"/>
                </a:cubicBezTo>
                <a:cubicBezTo>
                  <a:pt x="211455" y="50492"/>
                  <a:pt x="214313" y="65732"/>
                  <a:pt x="211455" y="84782"/>
                </a:cubicBezTo>
                <a:lnTo>
                  <a:pt x="210503" y="90497"/>
                </a:lnTo>
                <a:cubicBezTo>
                  <a:pt x="210503" y="90497"/>
                  <a:pt x="210503" y="91449"/>
                  <a:pt x="210503" y="91449"/>
                </a:cubicBezTo>
                <a:lnTo>
                  <a:pt x="187643" y="96212"/>
                </a:lnTo>
                <a:cubicBezTo>
                  <a:pt x="146685" y="95259"/>
                  <a:pt x="118110" y="96212"/>
                  <a:pt x="119063" y="96212"/>
                </a:cubicBezTo>
                <a:lnTo>
                  <a:pt x="93345" y="94307"/>
                </a:lnTo>
                <a:cubicBezTo>
                  <a:pt x="93345" y="92402"/>
                  <a:pt x="92393" y="89544"/>
                  <a:pt x="92393" y="87639"/>
                </a:cubicBezTo>
                <a:lnTo>
                  <a:pt x="92393" y="84782"/>
                </a:lnTo>
                <a:cubicBezTo>
                  <a:pt x="88583" y="65732"/>
                  <a:pt x="91440" y="50492"/>
                  <a:pt x="91440" y="50492"/>
                </a:cubicBezTo>
                <a:close/>
                <a:moveTo>
                  <a:pt x="95250" y="103832"/>
                </a:moveTo>
                <a:lnTo>
                  <a:pt x="113348" y="104784"/>
                </a:lnTo>
                <a:lnTo>
                  <a:pt x="113348" y="138122"/>
                </a:lnTo>
                <a:lnTo>
                  <a:pt x="110490" y="140027"/>
                </a:lnTo>
                <a:cubicBezTo>
                  <a:pt x="101918" y="129549"/>
                  <a:pt x="98108" y="116214"/>
                  <a:pt x="95250" y="103832"/>
                </a:cubicBezTo>
                <a:close/>
                <a:moveTo>
                  <a:pt x="152400" y="159077"/>
                </a:moveTo>
                <a:cubicBezTo>
                  <a:pt x="152400" y="159077"/>
                  <a:pt x="152400" y="159077"/>
                  <a:pt x="152400" y="159077"/>
                </a:cubicBezTo>
                <a:cubicBezTo>
                  <a:pt x="151448" y="159077"/>
                  <a:pt x="131445" y="159077"/>
                  <a:pt x="117158" y="147647"/>
                </a:cubicBezTo>
                <a:lnTo>
                  <a:pt x="119063" y="145742"/>
                </a:lnTo>
                <a:lnTo>
                  <a:pt x="184785" y="146694"/>
                </a:lnTo>
                <a:cubicBezTo>
                  <a:pt x="184785" y="146694"/>
                  <a:pt x="184785" y="146694"/>
                  <a:pt x="184785" y="146694"/>
                </a:cubicBezTo>
                <a:cubicBezTo>
                  <a:pt x="184785" y="146694"/>
                  <a:pt x="184785" y="146694"/>
                  <a:pt x="184785" y="146694"/>
                </a:cubicBezTo>
                <a:lnTo>
                  <a:pt x="186690" y="147647"/>
                </a:lnTo>
                <a:cubicBezTo>
                  <a:pt x="174308" y="158124"/>
                  <a:pt x="156210" y="159077"/>
                  <a:pt x="152400" y="159077"/>
                </a:cubicBezTo>
                <a:close/>
              </a:path>
            </a:pathLst>
          </a:custGeom>
          <a:solidFill>
            <a:srgbClr val="231F20"/>
          </a:solidFill>
          <a:ln w="9525" cap="flat">
            <a:noFill/>
            <a:prstDash val="solid"/>
            <a:miter/>
          </a:ln>
        </p:spPr>
        <p:txBody>
          <a:bodyPr rtlCol="0" anchor="ctr"/>
          <a:lstStyle/>
          <a:p>
            <a:endParaRPr lang="de-DE"/>
          </a:p>
        </p:txBody>
      </p:sp>
      <p:grpSp>
        <p:nvGrpSpPr>
          <p:cNvPr id="2369" name="Group 2368">
            <a:extLst>
              <a:ext uri="{FF2B5EF4-FFF2-40B4-BE49-F238E27FC236}">
                <a16:creationId xmlns:a16="http://schemas.microsoft.com/office/drawing/2014/main" id="{B40F47C4-B9E9-43DF-80DD-53CEFDDA2CF9}"/>
              </a:ext>
              <a:ext uri="{C183D7F6-B498-43B3-948B-1728B52AA6E4}">
                <adec:decorative xmlns:adec="http://schemas.microsoft.com/office/drawing/2017/decorative" val="1"/>
              </a:ext>
            </a:extLst>
          </p:cNvPr>
          <p:cNvGrpSpPr>
            <a:grpSpLocks noChangeAspect="1"/>
          </p:cNvGrpSpPr>
          <p:nvPr/>
        </p:nvGrpSpPr>
        <p:grpSpPr>
          <a:xfrm>
            <a:off x="1963585" y="4504121"/>
            <a:ext cx="133108" cy="129862"/>
            <a:chOff x="5842000" y="3198091"/>
            <a:chExt cx="492125" cy="480123"/>
          </a:xfrm>
        </p:grpSpPr>
        <p:sp>
          <p:nvSpPr>
            <p:cNvPr id="2370" name="Freeform: Shape 2369">
              <a:extLst>
                <a:ext uri="{FF2B5EF4-FFF2-40B4-BE49-F238E27FC236}">
                  <a16:creationId xmlns:a16="http://schemas.microsoft.com/office/drawing/2014/main" id="{392787C0-F08B-4057-A6CC-B79B8E237DAE}"/>
                </a:ext>
              </a:extLst>
            </p:cNvPr>
            <p:cNvSpPr/>
            <p:nvPr/>
          </p:nvSpPr>
          <p:spPr>
            <a:xfrm>
              <a:off x="5842000" y="3304880"/>
              <a:ext cx="193867" cy="298258"/>
            </a:xfrm>
            <a:custGeom>
              <a:avLst/>
              <a:gdLst>
                <a:gd name="connsiteX0" fmla="*/ 100965 w 123825"/>
                <a:gd name="connsiteY0" fmla="*/ 180023 h 190500"/>
                <a:gd name="connsiteX1" fmla="*/ 100965 w 123825"/>
                <a:gd name="connsiteY1" fmla="*/ 108585 h 190500"/>
                <a:gd name="connsiteX2" fmla="*/ 109538 w 123825"/>
                <a:gd name="connsiteY2" fmla="*/ 108585 h 190500"/>
                <a:gd name="connsiteX3" fmla="*/ 124778 w 123825"/>
                <a:gd name="connsiteY3" fmla="*/ 94298 h 190500"/>
                <a:gd name="connsiteX4" fmla="*/ 124778 w 123825"/>
                <a:gd name="connsiteY4" fmla="*/ 27623 h 190500"/>
                <a:gd name="connsiteX5" fmla="*/ 97155 w 123825"/>
                <a:gd name="connsiteY5" fmla="*/ 0 h 190500"/>
                <a:gd name="connsiteX6" fmla="*/ 27623 w 123825"/>
                <a:gd name="connsiteY6" fmla="*/ 0 h 190500"/>
                <a:gd name="connsiteX7" fmla="*/ 0 w 123825"/>
                <a:gd name="connsiteY7" fmla="*/ 28575 h 190500"/>
                <a:gd name="connsiteX8" fmla="*/ 0 w 123825"/>
                <a:gd name="connsiteY8" fmla="*/ 95250 h 190500"/>
                <a:gd name="connsiteX9" fmla="*/ 15240 w 123825"/>
                <a:gd name="connsiteY9" fmla="*/ 109538 h 190500"/>
                <a:gd name="connsiteX10" fmla="*/ 23813 w 123825"/>
                <a:gd name="connsiteY10" fmla="*/ 109538 h 190500"/>
                <a:gd name="connsiteX11" fmla="*/ 23813 w 123825"/>
                <a:gd name="connsiteY11" fmla="*/ 180975 h 190500"/>
                <a:gd name="connsiteX12" fmla="*/ 38100 w 123825"/>
                <a:gd name="connsiteY12" fmla="*/ 196215 h 190500"/>
                <a:gd name="connsiteX13" fmla="*/ 85725 w 123825"/>
                <a:gd name="connsiteY13" fmla="*/ 196215 h 190500"/>
                <a:gd name="connsiteX14" fmla="*/ 100965 w 123825"/>
                <a:gd name="connsiteY14" fmla="*/ 180023 h 190500"/>
                <a:gd name="connsiteX15" fmla="*/ 91440 w 123825"/>
                <a:gd name="connsiteY15" fmla="*/ 180023 h 190500"/>
                <a:gd name="connsiteX16" fmla="*/ 86678 w 123825"/>
                <a:gd name="connsiteY16" fmla="*/ 185738 h 190500"/>
                <a:gd name="connsiteX17" fmla="*/ 66675 w 123825"/>
                <a:gd name="connsiteY17" fmla="*/ 185738 h 190500"/>
                <a:gd name="connsiteX18" fmla="*/ 66675 w 123825"/>
                <a:gd name="connsiteY18" fmla="*/ 107633 h 190500"/>
                <a:gd name="connsiteX19" fmla="*/ 61913 w 123825"/>
                <a:gd name="connsiteY19" fmla="*/ 102870 h 190500"/>
                <a:gd name="connsiteX20" fmla="*/ 57150 w 123825"/>
                <a:gd name="connsiteY20" fmla="*/ 107633 h 190500"/>
                <a:gd name="connsiteX21" fmla="*/ 57150 w 123825"/>
                <a:gd name="connsiteY21" fmla="*/ 185738 h 190500"/>
                <a:gd name="connsiteX22" fmla="*/ 38100 w 123825"/>
                <a:gd name="connsiteY22" fmla="*/ 185738 h 190500"/>
                <a:gd name="connsiteX23" fmla="*/ 33338 w 123825"/>
                <a:gd name="connsiteY23" fmla="*/ 180023 h 190500"/>
                <a:gd name="connsiteX24" fmla="*/ 33338 w 123825"/>
                <a:gd name="connsiteY24" fmla="*/ 41910 h 190500"/>
                <a:gd name="connsiteX25" fmla="*/ 28575 w 123825"/>
                <a:gd name="connsiteY25" fmla="*/ 37148 h 190500"/>
                <a:gd name="connsiteX26" fmla="*/ 23813 w 123825"/>
                <a:gd name="connsiteY26" fmla="*/ 41910 h 190500"/>
                <a:gd name="connsiteX27" fmla="*/ 23813 w 123825"/>
                <a:gd name="connsiteY27" fmla="*/ 100013 h 190500"/>
                <a:gd name="connsiteX28" fmla="*/ 15240 w 123825"/>
                <a:gd name="connsiteY28" fmla="*/ 100013 h 190500"/>
                <a:gd name="connsiteX29" fmla="*/ 9525 w 123825"/>
                <a:gd name="connsiteY29" fmla="*/ 95250 h 190500"/>
                <a:gd name="connsiteX30" fmla="*/ 9525 w 123825"/>
                <a:gd name="connsiteY30" fmla="*/ 28575 h 190500"/>
                <a:gd name="connsiteX31" fmla="*/ 27623 w 123825"/>
                <a:gd name="connsiteY31" fmla="*/ 10478 h 190500"/>
                <a:gd name="connsiteX32" fmla="*/ 96203 w 123825"/>
                <a:gd name="connsiteY32" fmla="*/ 10478 h 190500"/>
                <a:gd name="connsiteX33" fmla="*/ 114300 w 123825"/>
                <a:gd name="connsiteY33" fmla="*/ 28575 h 190500"/>
                <a:gd name="connsiteX34" fmla="*/ 114300 w 123825"/>
                <a:gd name="connsiteY34" fmla="*/ 95250 h 190500"/>
                <a:gd name="connsiteX35" fmla="*/ 108585 w 123825"/>
                <a:gd name="connsiteY35" fmla="*/ 100013 h 190500"/>
                <a:gd name="connsiteX36" fmla="*/ 100013 w 123825"/>
                <a:gd name="connsiteY36" fmla="*/ 100013 h 190500"/>
                <a:gd name="connsiteX37" fmla="*/ 100013 w 123825"/>
                <a:gd name="connsiteY37" fmla="*/ 41910 h 190500"/>
                <a:gd name="connsiteX38" fmla="*/ 95250 w 123825"/>
                <a:gd name="connsiteY38" fmla="*/ 37148 h 190500"/>
                <a:gd name="connsiteX39" fmla="*/ 90488 w 123825"/>
                <a:gd name="connsiteY39" fmla="*/ 41910 h 190500"/>
                <a:gd name="connsiteX40" fmla="*/ 90488 w 123825"/>
                <a:gd name="connsiteY40" fmla="*/ 18002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3825" h="190500">
                  <a:moveTo>
                    <a:pt x="100965" y="180023"/>
                  </a:moveTo>
                  <a:lnTo>
                    <a:pt x="100965" y="108585"/>
                  </a:lnTo>
                  <a:lnTo>
                    <a:pt x="109538" y="108585"/>
                  </a:lnTo>
                  <a:cubicBezTo>
                    <a:pt x="118110" y="108585"/>
                    <a:pt x="124778" y="101918"/>
                    <a:pt x="124778" y="94298"/>
                  </a:cubicBezTo>
                  <a:lnTo>
                    <a:pt x="124778" y="27623"/>
                  </a:lnTo>
                  <a:cubicBezTo>
                    <a:pt x="124778" y="12383"/>
                    <a:pt x="112395" y="0"/>
                    <a:pt x="97155" y="0"/>
                  </a:cubicBezTo>
                  <a:lnTo>
                    <a:pt x="27623" y="0"/>
                  </a:lnTo>
                  <a:cubicBezTo>
                    <a:pt x="12383" y="953"/>
                    <a:pt x="0" y="13335"/>
                    <a:pt x="0" y="28575"/>
                  </a:cubicBezTo>
                  <a:lnTo>
                    <a:pt x="0" y="95250"/>
                  </a:lnTo>
                  <a:cubicBezTo>
                    <a:pt x="0" y="103823"/>
                    <a:pt x="6668" y="109538"/>
                    <a:pt x="15240" y="109538"/>
                  </a:cubicBezTo>
                  <a:lnTo>
                    <a:pt x="23813" y="109538"/>
                  </a:lnTo>
                  <a:lnTo>
                    <a:pt x="23813" y="180975"/>
                  </a:lnTo>
                  <a:cubicBezTo>
                    <a:pt x="23813" y="189548"/>
                    <a:pt x="30480" y="196215"/>
                    <a:pt x="38100" y="196215"/>
                  </a:cubicBezTo>
                  <a:lnTo>
                    <a:pt x="85725" y="196215"/>
                  </a:lnTo>
                  <a:cubicBezTo>
                    <a:pt x="94298" y="195263"/>
                    <a:pt x="100965" y="188595"/>
                    <a:pt x="100965" y="180023"/>
                  </a:cubicBezTo>
                  <a:close/>
                  <a:moveTo>
                    <a:pt x="91440" y="180023"/>
                  </a:moveTo>
                  <a:cubicBezTo>
                    <a:pt x="91440" y="182880"/>
                    <a:pt x="89535" y="185738"/>
                    <a:pt x="86678" y="185738"/>
                  </a:cubicBezTo>
                  <a:lnTo>
                    <a:pt x="66675" y="185738"/>
                  </a:lnTo>
                  <a:lnTo>
                    <a:pt x="66675" y="107633"/>
                  </a:lnTo>
                  <a:cubicBezTo>
                    <a:pt x="66675" y="104775"/>
                    <a:pt x="64770" y="102870"/>
                    <a:pt x="61913" y="102870"/>
                  </a:cubicBezTo>
                  <a:cubicBezTo>
                    <a:pt x="59055" y="102870"/>
                    <a:pt x="57150" y="104775"/>
                    <a:pt x="57150" y="107633"/>
                  </a:cubicBezTo>
                  <a:lnTo>
                    <a:pt x="57150" y="185738"/>
                  </a:lnTo>
                  <a:lnTo>
                    <a:pt x="38100" y="185738"/>
                  </a:lnTo>
                  <a:cubicBezTo>
                    <a:pt x="35243" y="185738"/>
                    <a:pt x="33338" y="183833"/>
                    <a:pt x="33338" y="180023"/>
                  </a:cubicBezTo>
                  <a:lnTo>
                    <a:pt x="33338" y="41910"/>
                  </a:lnTo>
                  <a:cubicBezTo>
                    <a:pt x="33338" y="39053"/>
                    <a:pt x="31433" y="37148"/>
                    <a:pt x="28575" y="37148"/>
                  </a:cubicBezTo>
                  <a:cubicBezTo>
                    <a:pt x="25718" y="37148"/>
                    <a:pt x="23813" y="39053"/>
                    <a:pt x="23813" y="41910"/>
                  </a:cubicBezTo>
                  <a:lnTo>
                    <a:pt x="23813" y="100013"/>
                  </a:lnTo>
                  <a:lnTo>
                    <a:pt x="15240" y="100013"/>
                  </a:lnTo>
                  <a:cubicBezTo>
                    <a:pt x="12383" y="100013"/>
                    <a:pt x="9525" y="98108"/>
                    <a:pt x="9525" y="95250"/>
                  </a:cubicBezTo>
                  <a:lnTo>
                    <a:pt x="9525" y="28575"/>
                  </a:lnTo>
                  <a:cubicBezTo>
                    <a:pt x="9525" y="19050"/>
                    <a:pt x="18098" y="10478"/>
                    <a:pt x="27623" y="10478"/>
                  </a:cubicBezTo>
                  <a:lnTo>
                    <a:pt x="96203" y="10478"/>
                  </a:lnTo>
                  <a:cubicBezTo>
                    <a:pt x="105728" y="10478"/>
                    <a:pt x="114300" y="18098"/>
                    <a:pt x="114300" y="28575"/>
                  </a:cubicBezTo>
                  <a:lnTo>
                    <a:pt x="114300" y="95250"/>
                  </a:lnTo>
                  <a:cubicBezTo>
                    <a:pt x="114300" y="98108"/>
                    <a:pt x="112395" y="100013"/>
                    <a:pt x="108585" y="100013"/>
                  </a:cubicBezTo>
                  <a:lnTo>
                    <a:pt x="100013" y="100013"/>
                  </a:lnTo>
                  <a:lnTo>
                    <a:pt x="100013" y="41910"/>
                  </a:lnTo>
                  <a:cubicBezTo>
                    <a:pt x="100013" y="39053"/>
                    <a:pt x="98108" y="37148"/>
                    <a:pt x="95250" y="37148"/>
                  </a:cubicBezTo>
                  <a:cubicBezTo>
                    <a:pt x="92393" y="37148"/>
                    <a:pt x="90488" y="39053"/>
                    <a:pt x="90488" y="41910"/>
                  </a:cubicBezTo>
                  <a:lnTo>
                    <a:pt x="90488" y="180023"/>
                  </a:lnTo>
                  <a:close/>
                </a:path>
              </a:pathLst>
            </a:custGeom>
            <a:solidFill>
              <a:srgbClr val="231F20"/>
            </a:solidFill>
            <a:ln w="9525" cap="flat">
              <a:noFill/>
              <a:prstDash val="solid"/>
              <a:miter/>
            </a:ln>
          </p:spPr>
          <p:txBody>
            <a:bodyPr rtlCol="0" anchor="ctr"/>
            <a:lstStyle/>
            <a:p>
              <a:endParaRPr lang="de-DE"/>
            </a:p>
          </p:txBody>
        </p:sp>
        <p:sp>
          <p:nvSpPr>
            <p:cNvPr id="2371" name="Freeform: Shape 2370">
              <a:extLst>
                <a:ext uri="{FF2B5EF4-FFF2-40B4-BE49-F238E27FC236}">
                  <a16:creationId xmlns:a16="http://schemas.microsoft.com/office/drawing/2014/main" id="{3DFA0BD8-898B-4BBF-9FA6-B871A4248BB5}"/>
                </a:ext>
              </a:extLst>
            </p:cNvPr>
            <p:cNvSpPr/>
            <p:nvPr/>
          </p:nvSpPr>
          <p:spPr>
            <a:xfrm>
              <a:off x="5891797" y="3198091"/>
              <a:ext cx="89477" cy="89477"/>
            </a:xfrm>
            <a:custGeom>
              <a:avLst/>
              <a:gdLst>
                <a:gd name="connsiteX0" fmla="*/ 24392 w 57150"/>
                <a:gd name="connsiteY0" fmla="*/ 59634 h 57150"/>
                <a:gd name="connsiteX1" fmla="*/ 30107 w 57150"/>
                <a:gd name="connsiteY1" fmla="*/ 60587 h 57150"/>
                <a:gd name="connsiteX2" fmla="*/ 52014 w 57150"/>
                <a:gd name="connsiteY2" fmla="*/ 52014 h 57150"/>
                <a:gd name="connsiteX3" fmla="*/ 60587 w 57150"/>
                <a:gd name="connsiteY3" fmla="*/ 24392 h 57150"/>
                <a:gd name="connsiteX4" fmla="*/ 35822 w 57150"/>
                <a:gd name="connsiteY4" fmla="*/ 579 h 57150"/>
                <a:gd name="connsiteX5" fmla="*/ 8199 w 57150"/>
                <a:gd name="connsiteY5" fmla="*/ 8199 h 57150"/>
                <a:gd name="connsiteX6" fmla="*/ 579 w 57150"/>
                <a:gd name="connsiteY6" fmla="*/ 35822 h 57150"/>
                <a:gd name="connsiteX7" fmla="*/ 24392 w 57150"/>
                <a:gd name="connsiteY7" fmla="*/ 59634 h 57150"/>
                <a:gd name="connsiteX8" fmla="*/ 14867 w 57150"/>
                <a:gd name="connsiteY8" fmla="*/ 14867 h 57150"/>
                <a:gd name="connsiteX9" fmla="*/ 30107 w 57150"/>
                <a:gd name="connsiteY9" fmla="*/ 9152 h 57150"/>
                <a:gd name="connsiteX10" fmla="*/ 33917 w 57150"/>
                <a:gd name="connsiteY10" fmla="*/ 9152 h 57150"/>
                <a:gd name="connsiteX11" fmla="*/ 50109 w 57150"/>
                <a:gd name="connsiteY11" fmla="*/ 25344 h 57150"/>
                <a:gd name="connsiteX12" fmla="*/ 50109 w 57150"/>
                <a:gd name="connsiteY12" fmla="*/ 25344 h 57150"/>
                <a:gd name="connsiteX13" fmla="*/ 44394 w 57150"/>
                <a:gd name="connsiteY13" fmla="*/ 44394 h 57150"/>
                <a:gd name="connsiteX14" fmla="*/ 25344 w 57150"/>
                <a:gd name="connsiteY14" fmla="*/ 50109 h 57150"/>
                <a:gd name="connsiteX15" fmla="*/ 9152 w 57150"/>
                <a:gd name="connsiteY15" fmla="*/ 33917 h 57150"/>
                <a:gd name="connsiteX16" fmla="*/ 14867 w 57150"/>
                <a:gd name="connsiteY16" fmla="*/ 1486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57150">
                  <a:moveTo>
                    <a:pt x="24392" y="59634"/>
                  </a:moveTo>
                  <a:cubicBezTo>
                    <a:pt x="26297" y="59634"/>
                    <a:pt x="28202" y="60587"/>
                    <a:pt x="30107" y="60587"/>
                  </a:cubicBezTo>
                  <a:cubicBezTo>
                    <a:pt x="37727" y="60587"/>
                    <a:pt x="46299" y="57729"/>
                    <a:pt x="52014" y="52014"/>
                  </a:cubicBezTo>
                  <a:cubicBezTo>
                    <a:pt x="58682" y="45347"/>
                    <a:pt x="62492" y="34869"/>
                    <a:pt x="60587" y="24392"/>
                  </a:cubicBezTo>
                  <a:cubicBezTo>
                    <a:pt x="57729" y="12009"/>
                    <a:pt x="48204" y="2484"/>
                    <a:pt x="35822" y="579"/>
                  </a:cubicBezTo>
                  <a:cubicBezTo>
                    <a:pt x="26297" y="-1326"/>
                    <a:pt x="15819" y="1532"/>
                    <a:pt x="8199" y="8199"/>
                  </a:cubicBezTo>
                  <a:cubicBezTo>
                    <a:pt x="1532" y="15819"/>
                    <a:pt x="-1326" y="26297"/>
                    <a:pt x="579" y="35822"/>
                  </a:cubicBezTo>
                  <a:cubicBezTo>
                    <a:pt x="2484" y="48204"/>
                    <a:pt x="12009" y="57729"/>
                    <a:pt x="24392" y="59634"/>
                  </a:cubicBezTo>
                  <a:close/>
                  <a:moveTo>
                    <a:pt x="14867" y="14867"/>
                  </a:moveTo>
                  <a:cubicBezTo>
                    <a:pt x="19629" y="11057"/>
                    <a:pt x="24392" y="9152"/>
                    <a:pt x="30107" y="9152"/>
                  </a:cubicBezTo>
                  <a:cubicBezTo>
                    <a:pt x="31059" y="9152"/>
                    <a:pt x="32964" y="9152"/>
                    <a:pt x="33917" y="9152"/>
                  </a:cubicBezTo>
                  <a:cubicBezTo>
                    <a:pt x="42489" y="11057"/>
                    <a:pt x="49157" y="17724"/>
                    <a:pt x="50109" y="25344"/>
                  </a:cubicBezTo>
                  <a:lnTo>
                    <a:pt x="50109" y="25344"/>
                  </a:lnTo>
                  <a:cubicBezTo>
                    <a:pt x="51062" y="32012"/>
                    <a:pt x="49157" y="39632"/>
                    <a:pt x="44394" y="44394"/>
                  </a:cubicBezTo>
                  <a:cubicBezTo>
                    <a:pt x="39632" y="49157"/>
                    <a:pt x="32964" y="51062"/>
                    <a:pt x="25344" y="50109"/>
                  </a:cubicBezTo>
                  <a:cubicBezTo>
                    <a:pt x="17724" y="49157"/>
                    <a:pt x="11057" y="42489"/>
                    <a:pt x="9152" y="33917"/>
                  </a:cubicBezTo>
                  <a:cubicBezTo>
                    <a:pt x="8199" y="27249"/>
                    <a:pt x="10104" y="20582"/>
                    <a:pt x="14867" y="14867"/>
                  </a:cubicBezTo>
                  <a:close/>
                </a:path>
              </a:pathLst>
            </a:custGeom>
            <a:solidFill>
              <a:srgbClr val="231F20"/>
            </a:solidFill>
            <a:ln w="9525" cap="flat">
              <a:noFill/>
              <a:prstDash val="solid"/>
              <a:miter/>
            </a:ln>
          </p:spPr>
          <p:txBody>
            <a:bodyPr rtlCol="0" anchor="ctr"/>
            <a:lstStyle/>
            <a:p>
              <a:endParaRPr lang="de-DE"/>
            </a:p>
          </p:txBody>
        </p:sp>
        <p:sp>
          <p:nvSpPr>
            <p:cNvPr id="2372" name="Freeform: Shape 2371">
              <a:extLst>
                <a:ext uri="{FF2B5EF4-FFF2-40B4-BE49-F238E27FC236}">
                  <a16:creationId xmlns:a16="http://schemas.microsoft.com/office/drawing/2014/main" id="{BEEAFF38-6CFD-40CD-8292-89F25FCC0C2D}"/>
                </a:ext>
              </a:extLst>
            </p:cNvPr>
            <p:cNvSpPr/>
            <p:nvPr/>
          </p:nvSpPr>
          <p:spPr>
            <a:xfrm>
              <a:off x="6155170" y="3306372"/>
              <a:ext cx="178955" cy="298258"/>
            </a:xfrm>
            <a:custGeom>
              <a:avLst/>
              <a:gdLst>
                <a:gd name="connsiteX0" fmla="*/ 96203 w 114300"/>
                <a:gd name="connsiteY0" fmla="*/ 0 h 190500"/>
                <a:gd name="connsiteX1" fmla="*/ 27622 w 114300"/>
                <a:gd name="connsiteY1" fmla="*/ 0 h 190500"/>
                <a:gd name="connsiteX2" fmla="*/ 0 w 114300"/>
                <a:gd name="connsiteY2" fmla="*/ 27622 h 190500"/>
                <a:gd name="connsiteX3" fmla="*/ 0 w 114300"/>
                <a:gd name="connsiteY3" fmla="*/ 94298 h 190500"/>
                <a:gd name="connsiteX4" fmla="*/ 14288 w 114300"/>
                <a:gd name="connsiteY4" fmla="*/ 108585 h 190500"/>
                <a:gd name="connsiteX5" fmla="*/ 22860 w 114300"/>
                <a:gd name="connsiteY5" fmla="*/ 108585 h 190500"/>
                <a:gd name="connsiteX6" fmla="*/ 22860 w 114300"/>
                <a:gd name="connsiteY6" fmla="*/ 180023 h 190500"/>
                <a:gd name="connsiteX7" fmla="*/ 38100 w 114300"/>
                <a:gd name="connsiteY7" fmla="*/ 195262 h 190500"/>
                <a:gd name="connsiteX8" fmla="*/ 85725 w 114300"/>
                <a:gd name="connsiteY8" fmla="*/ 195262 h 190500"/>
                <a:gd name="connsiteX9" fmla="*/ 100965 w 114300"/>
                <a:gd name="connsiteY9" fmla="*/ 180023 h 190500"/>
                <a:gd name="connsiteX10" fmla="*/ 100965 w 114300"/>
                <a:gd name="connsiteY10" fmla="*/ 108585 h 190500"/>
                <a:gd name="connsiteX11" fmla="*/ 108585 w 114300"/>
                <a:gd name="connsiteY11" fmla="*/ 108585 h 190500"/>
                <a:gd name="connsiteX12" fmla="*/ 122873 w 114300"/>
                <a:gd name="connsiteY12" fmla="*/ 94298 h 190500"/>
                <a:gd name="connsiteX13" fmla="*/ 122873 w 114300"/>
                <a:gd name="connsiteY13" fmla="*/ 27622 h 190500"/>
                <a:gd name="connsiteX14" fmla="*/ 96203 w 114300"/>
                <a:gd name="connsiteY14" fmla="*/ 0 h 190500"/>
                <a:gd name="connsiteX15" fmla="*/ 114300 w 114300"/>
                <a:gd name="connsiteY15" fmla="*/ 93345 h 190500"/>
                <a:gd name="connsiteX16" fmla="*/ 109538 w 114300"/>
                <a:gd name="connsiteY16" fmla="*/ 98108 h 190500"/>
                <a:gd name="connsiteX17" fmla="*/ 101918 w 114300"/>
                <a:gd name="connsiteY17" fmla="*/ 98108 h 190500"/>
                <a:gd name="connsiteX18" fmla="*/ 101918 w 114300"/>
                <a:gd name="connsiteY18" fmla="*/ 40005 h 190500"/>
                <a:gd name="connsiteX19" fmla="*/ 97155 w 114300"/>
                <a:gd name="connsiteY19" fmla="*/ 35243 h 190500"/>
                <a:gd name="connsiteX20" fmla="*/ 92393 w 114300"/>
                <a:gd name="connsiteY20" fmla="*/ 40005 h 190500"/>
                <a:gd name="connsiteX21" fmla="*/ 92393 w 114300"/>
                <a:gd name="connsiteY21" fmla="*/ 179070 h 190500"/>
                <a:gd name="connsiteX22" fmla="*/ 86678 w 114300"/>
                <a:gd name="connsiteY22" fmla="*/ 184785 h 190500"/>
                <a:gd name="connsiteX23" fmla="*/ 67628 w 114300"/>
                <a:gd name="connsiteY23" fmla="*/ 184785 h 190500"/>
                <a:gd name="connsiteX24" fmla="*/ 67628 w 114300"/>
                <a:gd name="connsiteY24" fmla="*/ 106680 h 190500"/>
                <a:gd name="connsiteX25" fmla="*/ 62865 w 114300"/>
                <a:gd name="connsiteY25" fmla="*/ 101918 h 190500"/>
                <a:gd name="connsiteX26" fmla="*/ 58103 w 114300"/>
                <a:gd name="connsiteY26" fmla="*/ 106680 h 190500"/>
                <a:gd name="connsiteX27" fmla="*/ 58103 w 114300"/>
                <a:gd name="connsiteY27" fmla="*/ 184785 h 190500"/>
                <a:gd name="connsiteX28" fmla="*/ 39053 w 114300"/>
                <a:gd name="connsiteY28" fmla="*/ 184785 h 190500"/>
                <a:gd name="connsiteX29" fmla="*/ 33338 w 114300"/>
                <a:gd name="connsiteY29" fmla="*/ 179070 h 190500"/>
                <a:gd name="connsiteX30" fmla="*/ 33338 w 114300"/>
                <a:gd name="connsiteY30" fmla="*/ 40958 h 190500"/>
                <a:gd name="connsiteX31" fmla="*/ 28575 w 114300"/>
                <a:gd name="connsiteY31" fmla="*/ 36195 h 190500"/>
                <a:gd name="connsiteX32" fmla="*/ 23813 w 114300"/>
                <a:gd name="connsiteY32" fmla="*/ 40958 h 190500"/>
                <a:gd name="connsiteX33" fmla="*/ 23813 w 114300"/>
                <a:gd name="connsiteY33" fmla="*/ 99060 h 190500"/>
                <a:gd name="connsiteX34" fmla="*/ 15240 w 114300"/>
                <a:gd name="connsiteY34" fmla="*/ 99060 h 190500"/>
                <a:gd name="connsiteX35" fmla="*/ 10478 w 114300"/>
                <a:gd name="connsiteY35" fmla="*/ 94298 h 190500"/>
                <a:gd name="connsiteX36" fmla="*/ 10478 w 114300"/>
                <a:gd name="connsiteY36" fmla="*/ 27622 h 190500"/>
                <a:gd name="connsiteX37" fmla="*/ 28575 w 114300"/>
                <a:gd name="connsiteY37" fmla="*/ 9525 h 190500"/>
                <a:gd name="connsiteX38" fmla="*/ 97155 w 114300"/>
                <a:gd name="connsiteY38" fmla="*/ 9525 h 190500"/>
                <a:gd name="connsiteX39" fmla="*/ 115252 w 114300"/>
                <a:gd name="connsiteY39" fmla="*/ 27622 h 190500"/>
                <a:gd name="connsiteX40" fmla="*/ 115252 w 114300"/>
                <a:gd name="connsiteY40" fmla="*/ 9334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4300" h="190500">
                  <a:moveTo>
                    <a:pt x="96203" y="0"/>
                  </a:moveTo>
                  <a:lnTo>
                    <a:pt x="27622" y="0"/>
                  </a:lnTo>
                  <a:cubicBezTo>
                    <a:pt x="12382" y="0"/>
                    <a:pt x="0" y="12383"/>
                    <a:pt x="0" y="27622"/>
                  </a:cubicBezTo>
                  <a:lnTo>
                    <a:pt x="0" y="94298"/>
                  </a:lnTo>
                  <a:cubicBezTo>
                    <a:pt x="0" y="102870"/>
                    <a:pt x="6668" y="108585"/>
                    <a:pt x="14288" y="108585"/>
                  </a:cubicBezTo>
                  <a:lnTo>
                    <a:pt x="22860" y="108585"/>
                  </a:lnTo>
                  <a:lnTo>
                    <a:pt x="22860" y="180023"/>
                  </a:lnTo>
                  <a:cubicBezTo>
                    <a:pt x="22860" y="188595"/>
                    <a:pt x="29528" y="195262"/>
                    <a:pt x="38100" y="195262"/>
                  </a:cubicBezTo>
                  <a:lnTo>
                    <a:pt x="85725" y="195262"/>
                  </a:lnTo>
                  <a:cubicBezTo>
                    <a:pt x="94298" y="195262"/>
                    <a:pt x="100965" y="188595"/>
                    <a:pt x="100965" y="180023"/>
                  </a:cubicBezTo>
                  <a:lnTo>
                    <a:pt x="100965" y="108585"/>
                  </a:lnTo>
                  <a:lnTo>
                    <a:pt x="108585" y="108585"/>
                  </a:lnTo>
                  <a:cubicBezTo>
                    <a:pt x="117157" y="108585"/>
                    <a:pt x="122873" y="101918"/>
                    <a:pt x="122873" y="94298"/>
                  </a:cubicBezTo>
                  <a:lnTo>
                    <a:pt x="122873" y="27622"/>
                  </a:lnTo>
                  <a:cubicBezTo>
                    <a:pt x="123825" y="12383"/>
                    <a:pt x="111443" y="0"/>
                    <a:pt x="96203" y="0"/>
                  </a:cubicBezTo>
                  <a:close/>
                  <a:moveTo>
                    <a:pt x="114300" y="93345"/>
                  </a:moveTo>
                  <a:cubicBezTo>
                    <a:pt x="114300" y="96202"/>
                    <a:pt x="112395" y="98108"/>
                    <a:pt x="109538" y="98108"/>
                  </a:cubicBezTo>
                  <a:lnTo>
                    <a:pt x="101918" y="98108"/>
                  </a:lnTo>
                  <a:lnTo>
                    <a:pt x="101918" y="40005"/>
                  </a:lnTo>
                  <a:cubicBezTo>
                    <a:pt x="101918" y="37147"/>
                    <a:pt x="100013" y="35243"/>
                    <a:pt x="97155" y="35243"/>
                  </a:cubicBezTo>
                  <a:cubicBezTo>
                    <a:pt x="94298" y="35243"/>
                    <a:pt x="92393" y="37147"/>
                    <a:pt x="92393" y="40005"/>
                  </a:cubicBezTo>
                  <a:lnTo>
                    <a:pt x="92393" y="179070"/>
                  </a:lnTo>
                  <a:cubicBezTo>
                    <a:pt x="92393" y="181928"/>
                    <a:pt x="90488" y="184785"/>
                    <a:pt x="86678" y="184785"/>
                  </a:cubicBezTo>
                  <a:lnTo>
                    <a:pt x="67628" y="184785"/>
                  </a:lnTo>
                  <a:lnTo>
                    <a:pt x="67628" y="106680"/>
                  </a:lnTo>
                  <a:cubicBezTo>
                    <a:pt x="67628" y="103823"/>
                    <a:pt x="65723" y="101918"/>
                    <a:pt x="62865" y="101918"/>
                  </a:cubicBezTo>
                  <a:cubicBezTo>
                    <a:pt x="60007" y="101918"/>
                    <a:pt x="58103" y="103823"/>
                    <a:pt x="58103" y="106680"/>
                  </a:cubicBezTo>
                  <a:lnTo>
                    <a:pt x="58103" y="184785"/>
                  </a:lnTo>
                  <a:lnTo>
                    <a:pt x="39053" y="184785"/>
                  </a:lnTo>
                  <a:cubicBezTo>
                    <a:pt x="36195" y="184785"/>
                    <a:pt x="33338" y="182880"/>
                    <a:pt x="33338" y="179070"/>
                  </a:cubicBezTo>
                  <a:lnTo>
                    <a:pt x="33338" y="40958"/>
                  </a:lnTo>
                  <a:cubicBezTo>
                    <a:pt x="33338" y="38100"/>
                    <a:pt x="31432" y="36195"/>
                    <a:pt x="28575" y="36195"/>
                  </a:cubicBezTo>
                  <a:cubicBezTo>
                    <a:pt x="25718" y="36195"/>
                    <a:pt x="23813" y="38100"/>
                    <a:pt x="23813" y="40958"/>
                  </a:cubicBezTo>
                  <a:lnTo>
                    <a:pt x="23813" y="99060"/>
                  </a:lnTo>
                  <a:lnTo>
                    <a:pt x="15240" y="99060"/>
                  </a:lnTo>
                  <a:cubicBezTo>
                    <a:pt x="12382" y="99060"/>
                    <a:pt x="10478" y="97155"/>
                    <a:pt x="10478" y="94298"/>
                  </a:cubicBezTo>
                  <a:lnTo>
                    <a:pt x="10478" y="27622"/>
                  </a:lnTo>
                  <a:cubicBezTo>
                    <a:pt x="10478" y="18097"/>
                    <a:pt x="19050" y="9525"/>
                    <a:pt x="28575" y="9525"/>
                  </a:cubicBezTo>
                  <a:lnTo>
                    <a:pt x="97155" y="9525"/>
                  </a:lnTo>
                  <a:cubicBezTo>
                    <a:pt x="106680" y="9525"/>
                    <a:pt x="115252" y="17145"/>
                    <a:pt x="115252" y="27622"/>
                  </a:cubicBezTo>
                  <a:lnTo>
                    <a:pt x="115252" y="93345"/>
                  </a:lnTo>
                  <a:close/>
                </a:path>
              </a:pathLst>
            </a:custGeom>
            <a:solidFill>
              <a:srgbClr val="231F20"/>
            </a:solidFill>
            <a:ln w="9525" cap="flat">
              <a:noFill/>
              <a:prstDash val="solid"/>
              <a:miter/>
            </a:ln>
          </p:spPr>
          <p:txBody>
            <a:bodyPr rtlCol="0" anchor="ctr"/>
            <a:lstStyle/>
            <a:p>
              <a:endParaRPr lang="de-DE"/>
            </a:p>
          </p:txBody>
        </p:sp>
        <p:sp>
          <p:nvSpPr>
            <p:cNvPr id="2373" name="Freeform: Shape 2372">
              <a:extLst>
                <a:ext uri="{FF2B5EF4-FFF2-40B4-BE49-F238E27FC236}">
                  <a16:creationId xmlns:a16="http://schemas.microsoft.com/office/drawing/2014/main" id="{4FC89B16-D859-4952-8DFA-8005D7ED89DF}"/>
                </a:ext>
              </a:extLst>
            </p:cNvPr>
            <p:cNvSpPr/>
            <p:nvPr/>
          </p:nvSpPr>
          <p:spPr>
            <a:xfrm>
              <a:off x="5992621" y="3618562"/>
              <a:ext cx="193867" cy="59652"/>
            </a:xfrm>
            <a:custGeom>
              <a:avLst/>
              <a:gdLst>
                <a:gd name="connsiteX0" fmla="*/ 129540 w 123825"/>
                <a:gd name="connsiteY0" fmla="*/ 18723 h 38100"/>
                <a:gd name="connsiteX1" fmla="*/ 129540 w 123825"/>
                <a:gd name="connsiteY1" fmla="*/ 18723 h 38100"/>
                <a:gd name="connsiteX2" fmla="*/ 129540 w 123825"/>
                <a:gd name="connsiteY2" fmla="*/ 16818 h 38100"/>
                <a:gd name="connsiteX3" fmla="*/ 129540 w 123825"/>
                <a:gd name="connsiteY3" fmla="*/ 15866 h 38100"/>
                <a:gd name="connsiteX4" fmla="*/ 129540 w 123825"/>
                <a:gd name="connsiteY4" fmla="*/ 14913 h 38100"/>
                <a:gd name="connsiteX5" fmla="*/ 129540 w 123825"/>
                <a:gd name="connsiteY5" fmla="*/ 14913 h 38100"/>
                <a:gd name="connsiteX6" fmla="*/ 118110 w 123825"/>
                <a:gd name="connsiteY6" fmla="*/ 1578 h 38100"/>
                <a:gd name="connsiteX7" fmla="*/ 111442 w 123825"/>
                <a:gd name="connsiteY7" fmla="*/ 626 h 38100"/>
                <a:gd name="connsiteX8" fmla="*/ 110490 w 123825"/>
                <a:gd name="connsiteY8" fmla="*/ 7293 h 38100"/>
                <a:gd name="connsiteX9" fmla="*/ 116205 w 123825"/>
                <a:gd name="connsiteY9" fmla="*/ 13961 h 38100"/>
                <a:gd name="connsiteX10" fmla="*/ 15240 w 123825"/>
                <a:gd name="connsiteY10" fmla="*/ 13961 h 38100"/>
                <a:gd name="connsiteX11" fmla="*/ 20002 w 123825"/>
                <a:gd name="connsiteY11" fmla="*/ 8246 h 38100"/>
                <a:gd name="connsiteX12" fmla="*/ 19050 w 123825"/>
                <a:gd name="connsiteY12" fmla="*/ 1578 h 38100"/>
                <a:gd name="connsiteX13" fmla="*/ 12382 w 123825"/>
                <a:gd name="connsiteY13" fmla="*/ 2531 h 38100"/>
                <a:gd name="connsiteX14" fmla="*/ 952 w 123825"/>
                <a:gd name="connsiteY14" fmla="*/ 16818 h 38100"/>
                <a:gd name="connsiteX15" fmla="*/ 952 w 123825"/>
                <a:gd name="connsiteY15" fmla="*/ 16818 h 38100"/>
                <a:gd name="connsiteX16" fmla="*/ 0 w 123825"/>
                <a:gd name="connsiteY16" fmla="*/ 18723 h 38100"/>
                <a:gd name="connsiteX17" fmla="*/ 0 w 123825"/>
                <a:gd name="connsiteY17" fmla="*/ 18723 h 38100"/>
                <a:gd name="connsiteX18" fmla="*/ 0 w 123825"/>
                <a:gd name="connsiteY18" fmla="*/ 20628 h 38100"/>
                <a:gd name="connsiteX19" fmla="*/ 0 w 123825"/>
                <a:gd name="connsiteY19" fmla="*/ 20628 h 38100"/>
                <a:gd name="connsiteX20" fmla="*/ 0 w 123825"/>
                <a:gd name="connsiteY20" fmla="*/ 20628 h 38100"/>
                <a:gd name="connsiteX21" fmla="*/ 0 w 123825"/>
                <a:gd name="connsiteY21" fmla="*/ 21581 h 38100"/>
                <a:gd name="connsiteX22" fmla="*/ 11430 w 123825"/>
                <a:gd name="connsiteY22" fmla="*/ 36821 h 38100"/>
                <a:gd name="connsiteX23" fmla="*/ 15240 w 123825"/>
                <a:gd name="connsiteY23" fmla="*/ 38726 h 38100"/>
                <a:gd name="connsiteX24" fmla="*/ 18097 w 123825"/>
                <a:gd name="connsiteY24" fmla="*/ 37773 h 38100"/>
                <a:gd name="connsiteX25" fmla="*/ 19050 w 123825"/>
                <a:gd name="connsiteY25" fmla="*/ 31106 h 38100"/>
                <a:gd name="connsiteX26" fmla="*/ 13335 w 123825"/>
                <a:gd name="connsiteY26" fmla="*/ 24438 h 38100"/>
                <a:gd name="connsiteX27" fmla="*/ 113348 w 123825"/>
                <a:gd name="connsiteY27" fmla="*/ 24438 h 38100"/>
                <a:gd name="connsiteX28" fmla="*/ 108585 w 123825"/>
                <a:gd name="connsiteY28" fmla="*/ 31106 h 38100"/>
                <a:gd name="connsiteX29" fmla="*/ 109538 w 123825"/>
                <a:gd name="connsiteY29" fmla="*/ 37773 h 38100"/>
                <a:gd name="connsiteX30" fmla="*/ 112395 w 123825"/>
                <a:gd name="connsiteY30" fmla="*/ 38726 h 38100"/>
                <a:gd name="connsiteX31" fmla="*/ 116205 w 123825"/>
                <a:gd name="connsiteY31" fmla="*/ 36821 h 38100"/>
                <a:gd name="connsiteX32" fmla="*/ 127635 w 123825"/>
                <a:gd name="connsiteY32" fmla="*/ 21581 h 38100"/>
                <a:gd name="connsiteX33" fmla="*/ 127635 w 123825"/>
                <a:gd name="connsiteY33" fmla="*/ 21581 h 38100"/>
                <a:gd name="connsiteX34" fmla="*/ 129540 w 123825"/>
                <a:gd name="connsiteY34" fmla="*/ 18723 h 38100"/>
                <a:gd name="connsiteX35" fmla="*/ 129540 w 123825"/>
                <a:gd name="connsiteY35" fmla="*/ 1872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3825" h="38100">
                  <a:moveTo>
                    <a:pt x="129540" y="18723"/>
                  </a:moveTo>
                  <a:cubicBezTo>
                    <a:pt x="129540" y="17771"/>
                    <a:pt x="129540" y="17771"/>
                    <a:pt x="129540" y="18723"/>
                  </a:cubicBezTo>
                  <a:cubicBezTo>
                    <a:pt x="129540" y="17771"/>
                    <a:pt x="129540" y="16818"/>
                    <a:pt x="129540" y="16818"/>
                  </a:cubicBezTo>
                  <a:cubicBezTo>
                    <a:pt x="129540" y="16818"/>
                    <a:pt x="129540" y="15866"/>
                    <a:pt x="129540" y="15866"/>
                  </a:cubicBezTo>
                  <a:cubicBezTo>
                    <a:pt x="129540" y="15866"/>
                    <a:pt x="129540" y="14913"/>
                    <a:pt x="129540" y="14913"/>
                  </a:cubicBezTo>
                  <a:cubicBezTo>
                    <a:pt x="129540" y="14913"/>
                    <a:pt x="129540" y="14913"/>
                    <a:pt x="129540" y="14913"/>
                  </a:cubicBezTo>
                  <a:lnTo>
                    <a:pt x="118110" y="1578"/>
                  </a:lnTo>
                  <a:cubicBezTo>
                    <a:pt x="116205" y="-327"/>
                    <a:pt x="113348" y="-327"/>
                    <a:pt x="111442" y="626"/>
                  </a:cubicBezTo>
                  <a:cubicBezTo>
                    <a:pt x="109538" y="2531"/>
                    <a:pt x="109538" y="5388"/>
                    <a:pt x="110490" y="7293"/>
                  </a:cubicBezTo>
                  <a:lnTo>
                    <a:pt x="116205" y="13961"/>
                  </a:lnTo>
                  <a:lnTo>
                    <a:pt x="15240" y="13961"/>
                  </a:lnTo>
                  <a:lnTo>
                    <a:pt x="20002" y="8246"/>
                  </a:lnTo>
                  <a:cubicBezTo>
                    <a:pt x="21907" y="6341"/>
                    <a:pt x="20955" y="3483"/>
                    <a:pt x="19050" y="1578"/>
                  </a:cubicBezTo>
                  <a:cubicBezTo>
                    <a:pt x="17145" y="-327"/>
                    <a:pt x="14288" y="626"/>
                    <a:pt x="12382" y="2531"/>
                  </a:cubicBezTo>
                  <a:lnTo>
                    <a:pt x="952" y="16818"/>
                  </a:lnTo>
                  <a:cubicBezTo>
                    <a:pt x="952" y="16818"/>
                    <a:pt x="952" y="16818"/>
                    <a:pt x="952" y="16818"/>
                  </a:cubicBezTo>
                  <a:cubicBezTo>
                    <a:pt x="952" y="17771"/>
                    <a:pt x="0" y="17771"/>
                    <a:pt x="0" y="18723"/>
                  </a:cubicBezTo>
                  <a:cubicBezTo>
                    <a:pt x="0" y="18723"/>
                    <a:pt x="0" y="18723"/>
                    <a:pt x="0" y="18723"/>
                  </a:cubicBezTo>
                  <a:cubicBezTo>
                    <a:pt x="0" y="19676"/>
                    <a:pt x="0" y="20628"/>
                    <a:pt x="0" y="20628"/>
                  </a:cubicBezTo>
                  <a:cubicBezTo>
                    <a:pt x="0" y="20628"/>
                    <a:pt x="0" y="20628"/>
                    <a:pt x="0" y="20628"/>
                  </a:cubicBezTo>
                  <a:cubicBezTo>
                    <a:pt x="0" y="20628"/>
                    <a:pt x="0" y="20628"/>
                    <a:pt x="0" y="20628"/>
                  </a:cubicBezTo>
                  <a:cubicBezTo>
                    <a:pt x="0" y="20628"/>
                    <a:pt x="0" y="20628"/>
                    <a:pt x="0" y="21581"/>
                  </a:cubicBezTo>
                  <a:lnTo>
                    <a:pt x="11430" y="36821"/>
                  </a:lnTo>
                  <a:cubicBezTo>
                    <a:pt x="12382" y="37773"/>
                    <a:pt x="13335" y="38726"/>
                    <a:pt x="15240" y="38726"/>
                  </a:cubicBezTo>
                  <a:cubicBezTo>
                    <a:pt x="16192" y="38726"/>
                    <a:pt x="17145" y="38726"/>
                    <a:pt x="18097" y="37773"/>
                  </a:cubicBezTo>
                  <a:cubicBezTo>
                    <a:pt x="20002" y="35868"/>
                    <a:pt x="20955" y="33011"/>
                    <a:pt x="19050" y="31106"/>
                  </a:cubicBezTo>
                  <a:lnTo>
                    <a:pt x="13335" y="24438"/>
                  </a:lnTo>
                  <a:lnTo>
                    <a:pt x="113348" y="24438"/>
                  </a:lnTo>
                  <a:lnTo>
                    <a:pt x="108585" y="31106"/>
                  </a:lnTo>
                  <a:cubicBezTo>
                    <a:pt x="106680" y="33011"/>
                    <a:pt x="107632" y="35868"/>
                    <a:pt x="109538" y="37773"/>
                  </a:cubicBezTo>
                  <a:cubicBezTo>
                    <a:pt x="110490" y="38726"/>
                    <a:pt x="111442" y="38726"/>
                    <a:pt x="112395" y="38726"/>
                  </a:cubicBezTo>
                  <a:cubicBezTo>
                    <a:pt x="113348" y="38726"/>
                    <a:pt x="115253" y="37773"/>
                    <a:pt x="116205" y="36821"/>
                  </a:cubicBezTo>
                  <a:lnTo>
                    <a:pt x="127635" y="21581"/>
                  </a:lnTo>
                  <a:cubicBezTo>
                    <a:pt x="127635" y="21581"/>
                    <a:pt x="127635" y="21581"/>
                    <a:pt x="127635" y="21581"/>
                  </a:cubicBezTo>
                  <a:cubicBezTo>
                    <a:pt x="128588" y="19676"/>
                    <a:pt x="129540" y="19676"/>
                    <a:pt x="129540" y="18723"/>
                  </a:cubicBezTo>
                  <a:cubicBezTo>
                    <a:pt x="129540" y="18723"/>
                    <a:pt x="129540" y="18723"/>
                    <a:pt x="129540" y="18723"/>
                  </a:cubicBezTo>
                  <a:close/>
                </a:path>
              </a:pathLst>
            </a:custGeom>
            <a:solidFill>
              <a:srgbClr val="231F20"/>
            </a:solidFill>
            <a:ln w="9525" cap="flat">
              <a:noFill/>
              <a:prstDash val="solid"/>
              <a:miter/>
            </a:ln>
          </p:spPr>
          <p:txBody>
            <a:bodyPr rtlCol="0" anchor="ctr"/>
            <a:lstStyle/>
            <a:p>
              <a:endParaRPr lang="de-DE"/>
            </a:p>
          </p:txBody>
        </p:sp>
        <p:sp>
          <p:nvSpPr>
            <p:cNvPr id="2374" name="Freeform: Shape 2373">
              <a:extLst>
                <a:ext uri="{FF2B5EF4-FFF2-40B4-BE49-F238E27FC236}">
                  <a16:creationId xmlns:a16="http://schemas.microsoft.com/office/drawing/2014/main" id="{E4935CAE-959B-4188-B61F-5227CA6704F6}"/>
                </a:ext>
              </a:extLst>
            </p:cNvPr>
            <p:cNvSpPr/>
            <p:nvPr/>
          </p:nvSpPr>
          <p:spPr>
            <a:xfrm>
              <a:off x="6207052" y="3198091"/>
              <a:ext cx="89477" cy="89477"/>
            </a:xfrm>
            <a:custGeom>
              <a:avLst/>
              <a:gdLst>
                <a:gd name="connsiteX0" fmla="*/ 24392 w 57150"/>
                <a:gd name="connsiteY0" fmla="*/ 59634 h 57150"/>
                <a:gd name="connsiteX1" fmla="*/ 30107 w 57150"/>
                <a:gd name="connsiteY1" fmla="*/ 60587 h 57150"/>
                <a:gd name="connsiteX2" fmla="*/ 52014 w 57150"/>
                <a:gd name="connsiteY2" fmla="*/ 52014 h 57150"/>
                <a:gd name="connsiteX3" fmla="*/ 60587 w 57150"/>
                <a:gd name="connsiteY3" fmla="*/ 24392 h 57150"/>
                <a:gd name="connsiteX4" fmla="*/ 35822 w 57150"/>
                <a:gd name="connsiteY4" fmla="*/ 579 h 57150"/>
                <a:gd name="connsiteX5" fmla="*/ 8199 w 57150"/>
                <a:gd name="connsiteY5" fmla="*/ 8199 h 57150"/>
                <a:gd name="connsiteX6" fmla="*/ 579 w 57150"/>
                <a:gd name="connsiteY6" fmla="*/ 35822 h 57150"/>
                <a:gd name="connsiteX7" fmla="*/ 24392 w 57150"/>
                <a:gd name="connsiteY7" fmla="*/ 59634 h 57150"/>
                <a:gd name="connsiteX8" fmla="*/ 14867 w 57150"/>
                <a:gd name="connsiteY8" fmla="*/ 14867 h 57150"/>
                <a:gd name="connsiteX9" fmla="*/ 30107 w 57150"/>
                <a:gd name="connsiteY9" fmla="*/ 9152 h 57150"/>
                <a:gd name="connsiteX10" fmla="*/ 33917 w 57150"/>
                <a:gd name="connsiteY10" fmla="*/ 9152 h 57150"/>
                <a:gd name="connsiteX11" fmla="*/ 50109 w 57150"/>
                <a:gd name="connsiteY11" fmla="*/ 25344 h 57150"/>
                <a:gd name="connsiteX12" fmla="*/ 50109 w 57150"/>
                <a:gd name="connsiteY12" fmla="*/ 25344 h 57150"/>
                <a:gd name="connsiteX13" fmla="*/ 44394 w 57150"/>
                <a:gd name="connsiteY13" fmla="*/ 44394 h 57150"/>
                <a:gd name="connsiteX14" fmla="*/ 25344 w 57150"/>
                <a:gd name="connsiteY14" fmla="*/ 50109 h 57150"/>
                <a:gd name="connsiteX15" fmla="*/ 9152 w 57150"/>
                <a:gd name="connsiteY15" fmla="*/ 33917 h 57150"/>
                <a:gd name="connsiteX16" fmla="*/ 14867 w 57150"/>
                <a:gd name="connsiteY16" fmla="*/ 1486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57150">
                  <a:moveTo>
                    <a:pt x="24392" y="59634"/>
                  </a:moveTo>
                  <a:cubicBezTo>
                    <a:pt x="26297" y="59634"/>
                    <a:pt x="28202" y="60587"/>
                    <a:pt x="30107" y="60587"/>
                  </a:cubicBezTo>
                  <a:cubicBezTo>
                    <a:pt x="37727" y="60587"/>
                    <a:pt x="46299" y="57729"/>
                    <a:pt x="52014" y="52014"/>
                  </a:cubicBezTo>
                  <a:cubicBezTo>
                    <a:pt x="58682" y="45347"/>
                    <a:pt x="62492" y="34869"/>
                    <a:pt x="60587" y="24392"/>
                  </a:cubicBezTo>
                  <a:cubicBezTo>
                    <a:pt x="57729" y="12009"/>
                    <a:pt x="48204" y="2484"/>
                    <a:pt x="35822" y="579"/>
                  </a:cubicBezTo>
                  <a:cubicBezTo>
                    <a:pt x="26297" y="-1326"/>
                    <a:pt x="15819" y="1532"/>
                    <a:pt x="8199" y="8199"/>
                  </a:cubicBezTo>
                  <a:cubicBezTo>
                    <a:pt x="1532" y="15819"/>
                    <a:pt x="-1326" y="26297"/>
                    <a:pt x="579" y="35822"/>
                  </a:cubicBezTo>
                  <a:cubicBezTo>
                    <a:pt x="2484" y="48204"/>
                    <a:pt x="12009" y="57729"/>
                    <a:pt x="24392" y="59634"/>
                  </a:cubicBezTo>
                  <a:close/>
                  <a:moveTo>
                    <a:pt x="14867" y="14867"/>
                  </a:moveTo>
                  <a:cubicBezTo>
                    <a:pt x="19629" y="11057"/>
                    <a:pt x="24392" y="9152"/>
                    <a:pt x="30107" y="9152"/>
                  </a:cubicBezTo>
                  <a:cubicBezTo>
                    <a:pt x="31059" y="9152"/>
                    <a:pt x="32964" y="9152"/>
                    <a:pt x="33917" y="9152"/>
                  </a:cubicBezTo>
                  <a:cubicBezTo>
                    <a:pt x="42489" y="11057"/>
                    <a:pt x="49157" y="17724"/>
                    <a:pt x="50109" y="25344"/>
                  </a:cubicBezTo>
                  <a:lnTo>
                    <a:pt x="50109" y="25344"/>
                  </a:lnTo>
                  <a:cubicBezTo>
                    <a:pt x="51062" y="32012"/>
                    <a:pt x="49157" y="39632"/>
                    <a:pt x="44394" y="44394"/>
                  </a:cubicBezTo>
                  <a:cubicBezTo>
                    <a:pt x="39632" y="49157"/>
                    <a:pt x="32964" y="51062"/>
                    <a:pt x="25344" y="50109"/>
                  </a:cubicBezTo>
                  <a:cubicBezTo>
                    <a:pt x="17724" y="49157"/>
                    <a:pt x="11057" y="42489"/>
                    <a:pt x="9152" y="33917"/>
                  </a:cubicBezTo>
                  <a:cubicBezTo>
                    <a:pt x="8199" y="27249"/>
                    <a:pt x="10104" y="20582"/>
                    <a:pt x="14867" y="14867"/>
                  </a:cubicBezTo>
                  <a:close/>
                </a:path>
              </a:pathLst>
            </a:custGeom>
            <a:solidFill>
              <a:srgbClr val="231F20"/>
            </a:solidFill>
            <a:ln w="9525" cap="flat">
              <a:noFill/>
              <a:prstDash val="solid"/>
              <a:miter/>
            </a:ln>
          </p:spPr>
          <p:txBody>
            <a:bodyPr rtlCol="0" anchor="ctr"/>
            <a:lstStyle/>
            <a:p>
              <a:endParaRPr lang="de-DE"/>
            </a:p>
          </p:txBody>
        </p:sp>
      </p:grpSp>
      <p:grpSp>
        <p:nvGrpSpPr>
          <p:cNvPr id="2375" name="Graphic 3">
            <a:extLst>
              <a:ext uri="{FF2B5EF4-FFF2-40B4-BE49-F238E27FC236}">
                <a16:creationId xmlns:a16="http://schemas.microsoft.com/office/drawing/2014/main" id="{B3DCA814-8FBF-43C8-B1B7-CBB680249B60}"/>
              </a:ext>
              <a:ext uri="{C183D7F6-B498-43B3-948B-1728B52AA6E4}">
                <adec:decorative xmlns:adec="http://schemas.microsoft.com/office/drawing/2017/decorative" val="1"/>
              </a:ext>
            </a:extLst>
          </p:cNvPr>
          <p:cNvGrpSpPr>
            <a:grpSpLocks noChangeAspect="1"/>
          </p:cNvGrpSpPr>
          <p:nvPr/>
        </p:nvGrpSpPr>
        <p:grpSpPr>
          <a:xfrm>
            <a:off x="2221474" y="4504121"/>
            <a:ext cx="133797" cy="129862"/>
            <a:chOff x="5843317" y="3190997"/>
            <a:chExt cx="492125" cy="477651"/>
          </a:xfrm>
          <a:solidFill>
            <a:srgbClr val="101010"/>
          </a:solidFill>
        </p:grpSpPr>
        <p:sp>
          <p:nvSpPr>
            <p:cNvPr id="2376" name="Freeform: Shape 2375">
              <a:extLst>
                <a:ext uri="{FF2B5EF4-FFF2-40B4-BE49-F238E27FC236}">
                  <a16:creationId xmlns:a16="http://schemas.microsoft.com/office/drawing/2014/main" id="{018915D9-4A4E-4BE8-8F4C-FC176D093646}"/>
                </a:ext>
              </a:extLst>
            </p:cNvPr>
            <p:cNvSpPr/>
            <p:nvPr/>
          </p:nvSpPr>
          <p:spPr>
            <a:xfrm>
              <a:off x="6086615" y="3507621"/>
              <a:ext cx="202640" cy="173691"/>
            </a:xfrm>
            <a:custGeom>
              <a:avLst/>
              <a:gdLst>
                <a:gd name="connsiteX0" fmla="*/ 201192 w 202639"/>
                <a:gd name="connsiteY0" fmla="*/ 0 h 173691"/>
                <a:gd name="connsiteX1" fmla="*/ 7237 w 202639"/>
                <a:gd name="connsiteY1" fmla="*/ 0 h 173691"/>
                <a:gd name="connsiteX2" fmla="*/ 0 w 202639"/>
                <a:gd name="connsiteY2" fmla="*/ 7237 h 173691"/>
                <a:gd name="connsiteX3" fmla="*/ 7237 w 202639"/>
                <a:gd name="connsiteY3" fmla="*/ 14474 h 173691"/>
                <a:gd name="connsiteX4" fmla="*/ 94083 w 202639"/>
                <a:gd name="connsiteY4" fmla="*/ 14474 h 173691"/>
                <a:gd name="connsiteX5" fmla="*/ 94083 w 202639"/>
                <a:gd name="connsiteY5" fmla="*/ 166454 h 173691"/>
                <a:gd name="connsiteX6" fmla="*/ 101320 w 202639"/>
                <a:gd name="connsiteY6" fmla="*/ 173691 h 173691"/>
                <a:gd name="connsiteX7" fmla="*/ 108557 w 202639"/>
                <a:gd name="connsiteY7" fmla="*/ 166454 h 173691"/>
                <a:gd name="connsiteX8" fmla="*/ 108557 w 202639"/>
                <a:gd name="connsiteY8" fmla="*/ 14474 h 173691"/>
                <a:gd name="connsiteX9" fmla="*/ 201192 w 202639"/>
                <a:gd name="connsiteY9" fmla="*/ 14474 h 173691"/>
                <a:gd name="connsiteX10" fmla="*/ 208429 w 202639"/>
                <a:gd name="connsiteY10" fmla="*/ 7237 h 173691"/>
                <a:gd name="connsiteX11" fmla="*/ 201192 w 202639"/>
                <a:gd name="connsiteY11" fmla="*/ 0 h 173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39" h="173691">
                  <a:moveTo>
                    <a:pt x="201192" y="0"/>
                  </a:moveTo>
                  <a:lnTo>
                    <a:pt x="7237" y="0"/>
                  </a:lnTo>
                  <a:cubicBezTo>
                    <a:pt x="2895" y="0"/>
                    <a:pt x="0" y="2895"/>
                    <a:pt x="0" y="7237"/>
                  </a:cubicBezTo>
                  <a:cubicBezTo>
                    <a:pt x="0" y="11579"/>
                    <a:pt x="2895" y="14474"/>
                    <a:pt x="7237" y="14474"/>
                  </a:cubicBezTo>
                  <a:lnTo>
                    <a:pt x="94083" y="14474"/>
                  </a:lnTo>
                  <a:lnTo>
                    <a:pt x="94083" y="166454"/>
                  </a:lnTo>
                  <a:cubicBezTo>
                    <a:pt x="94083" y="170796"/>
                    <a:pt x="96978" y="173691"/>
                    <a:pt x="101320" y="173691"/>
                  </a:cubicBezTo>
                  <a:cubicBezTo>
                    <a:pt x="105662" y="173691"/>
                    <a:pt x="108557" y="170796"/>
                    <a:pt x="108557" y="166454"/>
                  </a:cubicBezTo>
                  <a:lnTo>
                    <a:pt x="108557" y="14474"/>
                  </a:lnTo>
                  <a:lnTo>
                    <a:pt x="201192" y="14474"/>
                  </a:lnTo>
                  <a:cubicBezTo>
                    <a:pt x="205535" y="14474"/>
                    <a:pt x="208429" y="11579"/>
                    <a:pt x="208429" y="7237"/>
                  </a:cubicBezTo>
                  <a:cubicBezTo>
                    <a:pt x="208429" y="2895"/>
                    <a:pt x="205535" y="0"/>
                    <a:pt x="201192" y="0"/>
                  </a:cubicBezTo>
                  <a:close/>
                </a:path>
              </a:pathLst>
            </a:custGeom>
            <a:solidFill>
              <a:srgbClr val="101010"/>
            </a:solidFill>
            <a:ln w="14288" cap="flat">
              <a:noFill/>
              <a:prstDash val="solid"/>
              <a:miter/>
            </a:ln>
          </p:spPr>
          <p:txBody>
            <a:bodyPr rtlCol="0" anchor="ctr"/>
            <a:lstStyle/>
            <a:p>
              <a:endParaRPr lang="de-DE"/>
            </a:p>
          </p:txBody>
        </p:sp>
        <p:sp>
          <p:nvSpPr>
            <p:cNvPr id="2377" name="Freeform: Shape 2376">
              <a:extLst>
                <a:ext uri="{FF2B5EF4-FFF2-40B4-BE49-F238E27FC236}">
                  <a16:creationId xmlns:a16="http://schemas.microsoft.com/office/drawing/2014/main" id="{2F7FD052-2832-413D-B687-8CF1BA9D7883}"/>
                </a:ext>
              </a:extLst>
            </p:cNvPr>
            <p:cNvSpPr/>
            <p:nvPr/>
          </p:nvSpPr>
          <p:spPr>
            <a:xfrm>
              <a:off x="5940425" y="3422223"/>
              <a:ext cx="101320" cy="260537"/>
            </a:xfrm>
            <a:custGeom>
              <a:avLst/>
              <a:gdLst>
                <a:gd name="connsiteX0" fmla="*/ 83951 w 101319"/>
                <a:gd name="connsiteY0" fmla="*/ 186718 h 260536"/>
                <a:gd name="connsiteX1" fmla="*/ 107110 w 101319"/>
                <a:gd name="connsiteY1" fmla="*/ 186718 h 260536"/>
                <a:gd name="connsiteX2" fmla="*/ 114347 w 101319"/>
                <a:gd name="connsiteY2" fmla="*/ 179481 h 260536"/>
                <a:gd name="connsiteX3" fmla="*/ 107110 w 101319"/>
                <a:gd name="connsiteY3" fmla="*/ 172244 h 260536"/>
                <a:gd name="connsiteX4" fmla="*/ 83951 w 101319"/>
                <a:gd name="connsiteY4" fmla="*/ 172244 h 260536"/>
                <a:gd name="connsiteX5" fmla="*/ 14474 w 101319"/>
                <a:gd name="connsiteY5" fmla="*/ 102767 h 260536"/>
                <a:gd name="connsiteX6" fmla="*/ 14474 w 101319"/>
                <a:gd name="connsiteY6" fmla="*/ 7237 h 260536"/>
                <a:gd name="connsiteX7" fmla="*/ 7237 w 101319"/>
                <a:gd name="connsiteY7" fmla="*/ 0 h 260536"/>
                <a:gd name="connsiteX8" fmla="*/ 0 w 101319"/>
                <a:gd name="connsiteY8" fmla="*/ 7237 h 260536"/>
                <a:gd name="connsiteX9" fmla="*/ 0 w 101319"/>
                <a:gd name="connsiteY9" fmla="*/ 102767 h 260536"/>
                <a:gd name="connsiteX10" fmla="*/ 49212 w 101319"/>
                <a:gd name="connsiteY10" fmla="*/ 179481 h 260536"/>
                <a:gd name="connsiteX11" fmla="*/ 49212 w 101319"/>
                <a:gd name="connsiteY11" fmla="*/ 246063 h 260536"/>
                <a:gd name="connsiteX12" fmla="*/ 8685 w 101319"/>
                <a:gd name="connsiteY12" fmla="*/ 246063 h 260536"/>
                <a:gd name="connsiteX13" fmla="*/ 7237 w 101319"/>
                <a:gd name="connsiteY13" fmla="*/ 246063 h 260536"/>
                <a:gd name="connsiteX14" fmla="*/ 0 w 101319"/>
                <a:gd name="connsiteY14" fmla="*/ 253300 h 260536"/>
                <a:gd name="connsiteX15" fmla="*/ 7237 w 101319"/>
                <a:gd name="connsiteY15" fmla="*/ 260537 h 260536"/>
                <a:gd name="connsiteX16" fmla="*/ 8685 w 101319"/>
                <a:gd name="connsiteY16" fmla="*/ 260537 h 260536"/>
                <a:gd name="connsiteX17" fmla="*/ 104215 w 101319"/>
                <a:gd name="connsiteY17" fmla="*/ 260537 h 260536"/>
                <a:gd name="connsiteX18" fmla="*/ 105662 w 101319"/>
                <a:gd name="connsiteY18" fmla="*/ 260537 h 260536"/>
                <a:gd name="connsiteX19" fmla="*/ 112899 w 101319"/>
                <a:gd name="connsiteY19" fmla="*/ 253300 h 260536"/>
                <a:gd name="connsiteX20" fmla="*/ 105662 w 101319"/>
                <a:gd name="connsiteY20" fmla="*/ 246063 h 260536"/>
                <a:gd name="connsiteX21" fmla="*/ 104215 w 101319"/>
                <a:gd name="connsiteY21" fmla="*/ 246063 h 260536"/>
                <a:gd name="connsiteX22" fmla="*/ 63687 w 101319"/>
                <a:gd name="connsiteY22" fmla="*/ 246063 h 260536"/>
                <a:gd name="connsiteX23" fmla="*/ 63687 w 101319"/>
                <a:gd name="connsiteY23" fmla="*/ 185271 h 260536"/>
                <a:gd name="connsiteX24" fmla="*/ 83951 w 101319"/>
                <a:gd name="connsiteY24" fmla="*/ 186718 h 26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1319" h="260536">
                  <a:moveTo>
                    <a:pt x="83951" y="186718"/>
                  </a:moveTo>
                  <a:lnTo>
                    <a:pt x="107110" y="186718"/>
                  </a:lnTo>
                  <a:cubicBezTo>
                    <a:pt x="111452" y="186718"/>
                    <a:pt x="114347" y="183823"/>
                    <a:pt x="114347" y="179481"/>
                  </a:cubicBezTo>
                  <a:cubicBezTo>
                    <a:pt x="114347" y="175139"/>
                    <a:pt x="111452" y="172244"/>
                    <a:pt x="107110" y="172244"/>
                  </a:cubicBezTo>
                  <a:lnTo>
                    <a:pt x="83951" y="172244"/>
                  </a:lnTo>
                  <a:cubicBezTo>
                    <a:pt x="46318" y="172244"/>
                    <a:pt x="14474" y="140400"/>
                    <a:pt x="14474" y="102767"/>
                  </a:cubicBezTo>
                  <a:lnTo>
                    <a:pt x="14474" y="7237"/>
                  </a:lnTo>
                  <a:cubicBezTo>
                    <a:pt x="14474" y="2895"/>
                    <a:pt x="11579" y="0"/>
                    <a:pt x="7237" y="0"/>
                  </a:cubicBezTo>
                  <a:cubicBezTo>
                    <a:pt x="2895" y="0"/>
                    <a:pt x="0" y="2895"/>
                    <a:pt x="0" y="7237"/>
                  </a:cubicBezTo>
                  <a:lnTo>
                    <a:pt x="0" y="102767"/>
                  </a:lnTo>
                  <a:cubicBezTo>
                    <a:pt x="0" y="137506"/>
                    <a:pt x="20264" y="166454"/>
                    <a:pt x="49212" y="179481"/>
                  </a:cubicBezTo>
                  <a:lnTo>
                    <a:pt x="49212" y="246063"/>
                  </a:lnTo>
                  <a:lnTo>
                    <a:pt x="8685" y="246063"/>
                  </a:lnTo>
                  <a:lnTo>
                    <a:pt x="7237" y="246063"/>
                  </a:lnTo>
                  <a:cubicBezTo>
                    <a:pt x="2895" y="246063"/>
                    <a:pt x="0" y="248957"/>
                    <a:pt x="0" y="253300"/>
                  </a:cubicBezTo>
                  <a:cubicBezTo>
                    <a:pt x="0" y="257642"/>
                    <a:pt x="2895" y="260537"/>
                    <a:pt x="7237" y="260537"/>
                  </a:cubicBezTo>
                  <a:lnTo>
                    <a:pt x="8685" y="260537"/>
                  </a:lnTo>
                  <a:lnTo>
                    <a:pt x="104215" y="260537"/>
                  </a:lnTo>
                  <a:lnTo>
                    <a:pt x="105662" y="260537"/>
                  </a:lnTo>
                  <a:cubicBezTo>
                    <a:pt x="110004" y="260537"/>
                    <a:pt x="112899" y="257642"/>
                    <a:pt x="112899" y="253300"/>
                  </a:cubicBezTo>
                  <a:cubicBezTo>
                    <a:pt x="112899" y="248957"/>
                    <a:pt x="110004" y="246063"/>
                    <a:pt x="105662" y="246063"/>
                  </a:cubicBezTo>
                  <a:lnTo>
                    <a:pt x="104215" y="246063"/>
                  </a:lnTo>
                  <a:lnTo>
                    <a:pt x="63687" y="246063"/>
                  </a:lnTo>
                  <a:lnTo>
                    <a:pt x="63687" y="185271"/>
                  </a:lnTo>
                  <a:cubicBezTo>
                    <a:pt x="69476" y="186718"/>
                    <a:pt x="76714" y="186718"/>
                    <a:pt x="83951" y="186718"/>
                  </a:cubicBezTo>
                  <a:close/>
                </a:path>
              </a:pathLst>
            </a:custGeom>
            <a:solidFill>
              <a:srgbClr val="101010"/>
            </a:solidFill>
            <a:ln w="14288" cap="flat">
              <a:noFill/>
              <a:prstDash val="solid"/>
              <a:miter/>
            </a:ln>
          </p:spPr>
          <p:txBody>
            <a:bodyPr rtlCol="0" anchor="ctr"/>
            <a:lstStyle/>
            <a:p>
              <a:endParaRPr lang="de-DE"/>
            </a:p>
          </p:txBody>
        </p:sp>
        <p:sp>
          <p:nvSpPr>
            <p:cNvPr id="2378" name="Freeform: Shape 2377">
              <a:extLst>
                <a:ext uri="{FF2B5EF4-FFF2-40B4-BE49-F238E27FC236}">
                  <a16:creationId xmlns:a16="http://schemas.microsoft.com/office/drawing/2014/main" id="{53595D7F-E5B9-4FED-B52E-327CDD247045}"/>
                </a:ext>
              </a:extLst>
            </p:cNvPr>
            <p:cNvSpPr/>
            <p:nvPr/>
          </p:nvSpPr>
          <p:spPr>
            <a:xfrm>
              <a:off x="5965031" y="3367221"/>
              <a:ext cx="303960" cy="303960"/>
            </a:xfrm>
            <a:custGeom>
              <a:avLst/>
              <a:gdLst>
                <a:gd name="connsiteX0" fmla="*/ 104215 w 303959"/>
                <a:gd name="connsiteY0" fmla="*/ 157770 h 303959"/>
                <a:gd name="connsiteX1" fmla="*/ 104215 w 303959"/>
                <a:gd name="connsiteY1" fmla="*/ 157770 h 303959"/>
                <a:gd name="connsiteX2" fmla="*/ 72371 w 303959"/>
                <a:gd name="connsiteY2" fmla="*/ 156322 h 303959"/>
                <a:gd name="connsiteX3" fmla="*/ 72371 w 303959"/>
                <a:gd name="connsiteY3" fmla="*/ 124479 h 303959"/>
                <a:gd name="connsiteX4" fmla="*/ 101320 w 303959"/>
                <a:gd name="connsiteY4" fmla="*/ 134611 h 303959"/>
                <a:gd name="connsiteX5" fmla="*/ 104215 w 303959"/>
                <a:gd name="connsiteY5" fmla="*/ 134611 h 303959"/>
                <a:gd name="connsiteX6" fmla="*/ 180928 w 303959"/>
                <a:gd name="connsiteY6" fmla="*/ 134611 h 303959"/>
                <a:gd name="connsiteX7" fmla="*/ 195403 w 303959"/>
                <a:gd name="connsiteY7" fmla="*/ 130268 h 303959"/>
                <a:gd name="connsiteX8" fmla="*/ 201192 w 303959"/>
                <a:gd name="connsiteY8" fmla="*/ 134611 h 303959"/>
                <a:gd name="connsiteX9" fmla="*/ 302512 w 303959"/>
                <a:gd name="connsiteY9" fmla="*/ 134611 h 303959"/>
                <a:gd name="connsiteX10" fmla="*/ 309749 w 303959"/>
                <a:gd name="connsiteY10" fmla="*/ 127374 h 303959"/>
                <a:gd name="connsiteX11" fmla="*/ 309749 w 303959"/>
                <a:gd name="connsiteY11" fmla="*/ 7237 h 303959"/>
                <a:gd name="connsiteX12" fmla="*/ 302512 w 303959"/>
                <a:gd name="connsiteY12" fmla="*/ 0 h 303959"/>
                <a:gd name="connsiteX13" fmla="*/ 295275 w 303959"/>
                <a:gd name="connsiteY13" fmla="*/ 7237 h 303959"/>
                <a:gd name="connsiteX14" fmla="*/ 295275 w 303959"/>
                <a:gd name="connsiteY14" fmla="*/ 120136 h 303959"/>
                <a:gd name="connsiteX15" fmla="*/ 205535 w 303959"/>
                <a:gd name="connsiteY15" fmla="*/ 120136 h 303959"/>
                <a:gd name="connsiteX16" fmla="*/ 208429 w 303959"/>
                <a:gd name="connsiteY16" fmla="*/ 107110 h 303959"/>
                <a:gd name="connsiteX17" fmla="*/ 180928 w 303959"/>
                <a:gd name="connsiteY17" fmla="*/ 79608 h 303959"/>
                <a:gd name="connsiteX18" fmla="*/ 131716 w 303959"/>
                <a:gd name="connsiteY18" fmla="*/ 79608 h 303959"/>
                <a:gd name="connsiteX19" fmla="*/ 127374 w 303959"/>
                <a:gd name="connsiteY19" fmla="*/ 79608 h 303959"/>
                <a:gd name="connsiteX20" fmla="*/ 65134 w 303959"/>
                <a:gd name="connsiteY20" fmla="*/ 59344 h 303959"/>
                <a:gd name="connsiteX21" fmla="*/ 47765 w 303959"/>
                <a:gd name="connsiteY21" fmla="*/ 56450 h 303959"/>
                <a:gd name="connsiteX22" fmla="*/ 23159 w 303959"/>
                <a:gd name="connsiteY22" fmla="*/ 56450 h 303959"/>
                <a:gd name="connsiteX23" fmla="*/ 0 w 303959"/>
                <a:gd name="connsiteY23" fmla="*/ 79608 h 303959"/>
                <a:gd name="connsiteX24" fmla="*/ 0 w 303959"/>
                <a:gd name="connsiteY24" fmla="*/ 156322 h 303959"/>
                <a:gd name="connsiteX25" fmla="*/ 59344 w 303959"/>
                <a:gd name="connsiteY25" fmla="*/ 215667 h 303959"/>
                <a:gd name="connsiteX26" fmla="*/ 83951 w 303959"/>
                <a:gd name="connsiteY26" fmla="*/ 215667 h 303959"/>
                <a:gd name="connsiteX27" fmla="*/ 96978 w 303959"/>
                <a:gd name="connsiteY27" fmla="*/ 228693 h 303959"/>
                <a:gd name="connsiteX28" fmla="*/ 96978 w 303959"/>
                <a:gd name="connsiteY28" fmla="*/ 280801 h 303959"/>
                <a:gd name="connsiteX29" fmla="*/ 128821 w 303959"/>
                <a:gd name="connsiteY29" fmla="*/ 312644 h 303959"/>
                <a:gd name="connsiteX30" fmla="*/ 160664 w 303959"/>
                <a:gd name="connsiteY30" fmla="*/ 280801 h 303959"/>
                <a:gd name="connsiteX31" fmla="*/ 160664 w 303959"/>
                <a:gd name="connsiteY31" fmla="*/ 214219 h 303959"/>
                <a:gd name="connsiteX32" fmla="*/ 104215 w 303959"/>
                <a:gd name="connsiteY32" fmla="*/ 157770 h 303959"/>
                <a:gd name="connsiteX33" fmla="*/ 146190 w 303959"/>
                <a:gd name="connsiteY33" fmla="*/ 280801 h 303959"/>
                <a:gd name="connsiteX34" fmla="*/ 128821 w 303959"/>
                <a:gd name="connsiteY34" fmla="*/ 298170 h 303959"/>
                <a:gd name="connsiteX35" fmla="*/ 111452 w 303959"/>
                <a:gd name="connsiteY35" fmla="*/ 280801 h 303959"/>
                <a:gd name="connsiteX36" fmla="*/ 111452 w 303959"/>
                <a:gd name="connsiteY36" fmla="*/ 228693 h 303959"/>
                <a:gd name="connsiteX37" fmla="*/ 83951 w 303959"/>
                <a:gd name="connsiteY37" fmla="*/ 201192 h 303959"/>
                <a:gd name="connsiteX38" fmla="*/ 59344 w 303959"/>
                <a:gd name="connsiteY38" fmla="*/ 201192 h 303959"/>
                <a:gd name="connsiteX39" fmla="*/ 14474 w 303959"/>
                <a:gd name="connsiteY39" fmla="*/ 156322 h 303959"/>
                <a:gd name="connsiteX40" fmla="*/ 14474 w 303959"/>
                <a:gd name="connsiteY40" fmla="*/ 78161 h 303959"/>
                <a:gd name="connsiteX41" fmla="*/ 23159 w 303959"/>
                <a:gd name="connsiteY41" fmla="*/ 69476 h 303959"/>
                <a:gd name="connsiteX42" fmla="*/ 47765 w 303959"/>
                <a:gd name="connsiteY42" fmla="*/ 69476 h 303959"/>
                <a:gd name="connsiteX43" fmla="*/ 60792 w 303959"/>
                <a:gd name="connsiteY43" fmla="*/ 70924 h 303959"/>
                <a:gd name="connsiteX44" fmla="*/ 123031 w 303959"/>
                <a:gd name="connsiteY44" fmla="*/ 91188 h 303959"/>
                <a:gd name="connsiteX45" fmla="*/ 131716 w 303959"/>
                <a:gd name="connsiteY45" fmla="*/ 92635 h 303959"/>
                <a:gd name="connsiteX46" fmla="*/ 180928 w 303959"/>
                <a:gd name="connsiteY46" fmla="*/ 92635 h 303959"/>
                <a:gd name="connsiteX47" fmla="*/ 193955 w 303959"/>
                <a:gd name="connsiteY47" fmla="*/ 105662 h 303959"/>
                <a:gd name="connsiteX48" fmla="*/ 180928 w 303959"/>
                <a:gd name="connsiteY48" fmla="*/ 118689 h 303959"/>
                <a:gd name="connsiteX49" fmla="*/ 105662 w 303959"/>
                <a:gd name="connsiteY49" fmla="*/ 118689 h 303959"/>
                <a:gd name="connsiteX50" fmla="*/ 57897 w 303959"/>
                <a:gd name="connsiteY50" fmla="*/ 102767 h 303959"/>
                <a:gd name="connsiteX51" fmla="*/ 49212 w 303959"/>
                <a:gd name="connsiteY51" fmla="*/ 107110 h 303959"/>
                <a:gd name="connsiteX52" fmla="*/ 53555 w 303959"/>
                <a:gd name="connsiteY52" fmla="*/ 115794 h 303959"/>
                <a:gd name="connsiteX53" fmla="*/ 57897 w 303959"/>
                <a:gd name="connsiteY53" fmla="*/ 117242 h 303959"/>
                <a:gd name="connsiteX54" fmla="*/ 57897 w 303959"/>
                <a:gd name="connsiteY54" fmla="*/ 157770 h 303959"/>
                <a:gd name="connsiteX55" fmla="*/ 57897 w 303959"/>
                <a:gd name="connsiteY55" fmla="*/ 160664 h 303959"/>
                <a:gd name="connsiteX56" fmla="*/ 104215 w 303959"/>
                <a:gd name="connsiteY56" fmla="*/ 169349 h 303959"/>
                <a:gd name="connsiteX57" fmla="*/ 144743 w 303959"/>
                <a:gd name="connsiteY57" fmla="*/ 209877 h 303959"/>
                <a:gd name="connsiteX58" fmla="*/ 144743 w 303959"/>
                <a:gd name="connsiteY58" fmla="*/ 280801 h 30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03959" h="303959">
                  <a:moveTo>
                    <a:pt x="104215" y="157770"/>
                  </a:moveTo>
                  <a:cubicBezTo>
                    <a:pt x="104215" y="157770"/>
                    <a:pt x="104215" y="157770"/>
                    <a:pt x="104215" y="157770"/>
                  </a:cubicBezTo>
                  <a:cubicBezTo>
                    <a:pt x="91188" y="159217"/>
                    <a:pt x="78161" y="157770"/>
                    <a:pt x="72371" y="156322"/>
                  </a:cubicBezTo>
                  <a:lnTo>
                    <a:pt x="72371" y="124479"/>
                  </a:lnTo>
                  <a:lnTo>
                    <a:pt x="101320" y="134611"/>
                  </a:lnTo>
                  <a:cubicBezTo>
                    <a:pt x="102767" y="134611"/>
                    <a:pt x="104215" y="134611"/>
                    <a:pt x="104215" y="134611"/>
                  </a:cubicBezTo>
                  <a:lnTo>
                    <a:pt x="180928" y="134611"/>
                  </a:lnTo>
                  <a:cubicBezTo>
                    <a:pt x="186718" y="134611"/>
                    <a:pt x="191060" y="133163"/>
                    <a:pt x="195403" y="130268"/>
                  </a:cubicBezTo>
                  <a:cubicBezTo>
                    <a:pt x="196850" y="133163"/>
                    <a:pt x="198297" y="134611"/>
                    <a:pt x="201192" y="134611"/>
                  </a:cubicBezTo>
                  <a:lnTo>
                    <a:pt x="302512" y="134611"/>
                  </a:lnTo>
                  <a:cubicBezTo>
                    <a:pt x="306854" y="134611"/>
                    <a:pt x="309749" y="131716"/>
                    <a:pt x="309749" y="127374"/>
                  </a:cubicBezTo>
                  <a:lnTo>
                    <a:pt x="309749" y="7237"/>
                  </a:lnTo>
                  <a:cubicBezTo>
                    <a:pt x="309749" y="2895"/>
                    <a:pt x="306854" y="0"/>
                    <a:pt x="302512" y="0"/>
                  </a:cubicBezTo>
                  <a:cubicBezTo>
                    <a:pt x="298170" y="0"/>
                    <a:pt x="295275" y="2895"/>
                    <a:pt x="295275" y="7237"/>
                  </a:cubicBezTo>
                  <a:lnTo>
                    <a:pt x="295275" y="120136"/>
                  </a:lnTo>
                  <a:lnTo>
                    <a:pt x="205535" y="120136"/>
                  </a:lnTo>
                  <a:cubicBezTo>
                    <a:pt x="206982" y="115794"/>
                    <a:pt x="208429" y="111452"/>
                    <a:pt x="208429" y="107110"/>
                  </a:cubicBezTo>
                  <a:cubicBezTo>
                    <a:pt x="208429" y="92635"/>
                    <a:pt x="196850" y="79608"/>
                    <a:pt x="180928" y="79608"/>
                  </a:cubicBezTo>
                  <a:lnTo>
                    <a:pt x="131716" y="79608"/>
                  </a:lnTo>
                  <a:cubicBezTo>
                    <a:pt x="130268" y="79608"/>
                    <a:pt x="128821" y="79608"/>
                    <a:pt x="127374" y="79608"/>
                  </a:cubicBezTo>
                  <a:lnTo>
                    <a:pt x="65134" y="59344"/>
                  </a:lnTo>
                  <a:cubicBezTo>
                    <a:pt x="59344" y="57897"/>
                    <a:pt x="53555" y="56450"/>
                    <a:pt x="47765" y="56450"/>
                  </a:cubicBezTo>
                  <a:lnTo>
                    <a:pt x="23159" y="56450"/>
                  </a:lnTo>
                  <a:cubicBezTo>
                    <a:pt x="10132" y="56450"/>
                    <a:pt x="0" y="66582"/>
                    <a:pt x="0" y="79608"/>
                  </a:cubicBezTo>
                  <a:lnTo>
                    <a:pt x="0" y="156322"/>
                  </a:lnTo>
                  <a:cubicBezTo>
                    <a:pt x="0" y="188165"/>
                    <a:pt x="26054" y="215667"/>
                    <a:pt x="59344" y="215667"/>
                  </a:cubicBezTo>
                  <a:lnTo>
                    <a:pt x="83951" y="215667"/>
                  </a:lnTo>
                  <a:cubicBezTo>
                    <a:pt x="91188" y="215667"/>
                    <a:pt x="96978" y="221456"/>
                    <a:pt x="96978" y="228693"/>
                  </a:cubicBezTo>
                  <a:lnTo>
                    <a:pt x="96978" y="280801"/>
                  </a:lnTo>
                  <a:cubicBezTo>
                    <a:pt x="96978" y="298170"/>
                    <a:pt x="111452" y="312644"/>
                    <a:pt x="128821" y="312644"/>
                  </a:cubicBezTo>
                  <a:cubicBezTo>
                    <a:pt x="146190" y="312644"/>
                    <a:pt x="160664" y="298170"/>
                    <a:pt x="160664" y="280801"/>
                  </a:cubicBezTo>
                  <a:lnTo>
                    <a:pt x="160664" y="214219"/>
                  </a:lnTo>
                  <a:cubicBezTo>
                    <a:pt x="160664" y="183823"/>
                    <a:pt x="134611" y="157770"/>
                    <a:pt x="104215" y="157770"/>
                  </a:cubicBezTo>
                  <a:close/>
                  <a:moveTo>
                    <a:pt x="146190" y="280801"/>
                  </a:moveTo>
                  <a:cubicBezTo>
                    <a:pt x="146190" y="289485"/>
                    <a:pt x="138953" y="298170"/>
                    <a:pt x="128821" y="298170"/>
                  </a:cubicBezTo>
                  <a:cubicBezTo>
                    <a:pt x="118689" y="298170"/>
                    <a:pt x="111452" y="290933"/>
                    <a:pt x="111452" y="280801"/>
                  </a:cubicBezTo>
                  <a:lnTo>
                    <a:pt x="111452" y="228693"/>
                  </a:lnTo>
                  <a:cubicBezTo>
                    <a:pt x="111452" y="214219"/>
                    <a:pt x="98425" y="201192"/>
                    <a:pt x="83951" y="201192"/>
                  </a:cubicBezTo>
                  <a:lnTo>
                    <a:pt x="59344" y="201192"/>
                  </a:lnTo>
                  <a:cubicBezTo>
                    <a:pt x="34738" y="201192"/>
                    <a:pt x="14474" y="180928"/>
                    <a:pt x="14474" y="156322"/>
                  </a:cubicBezTo>
                  <a:lnTo>
                    <a:pt x="14474" y="78161"/>
                  </a:lnTo>
                  <a:cubicBezTo>
                    <a:pt x="14474" y="73819"/>
                    <a:pt x="18817" y="69476"/>
                    <a:pt x="23159" y="69476"/>
                  </a:cubicBezTo>
                  <a:lnTo>
                    <a:pt x="47765" y="69476"/>
                  </a:lnTo>
                  <a:cubicBezTo>
                    <a:pt x="52107" y="69476"/>
                    <a:pt x="56450" y="69476"/>
                    <a:pt x="60792" y="70924"/>
                  </a:cubicBezTo>
                  <a:lnTo>
                    <a:pt x="123031" y="91188"/>
                  </a:lnTo>
                  <a:cubicBezTo>
                    <a:pt x="125926" y="92635"/>
                    <a:pt x="128821" y="92635"/>
                    <a:pt x="131716" y="92635"/>
                  </a:cubicBezTo>
                  <a:lnTo>
                    <a:pt x="180928" y="92635"/>
                  </a:lnTo>
                  <a:cubicBezTo>
                    <a:pt x="188165" y="92635"/>
                    <a:pt x="193955" y="98425"/>
                    <a:pt x="193955" y="105662"/>
                  </a:cubicBezTo>
                  <a:cubicBezTo>
                    <a:pt x="193955" y="112899"/>
                    <a:pt x="188165" y="118689"/>
                    <a:pt x="180928" y="118689"/>
                  </a:cubicBezTo>
                  <a:lnTo>
                    <a:pt x="105662" y="118689"/>
                  </a:lnTo>
                  <a:lnTo>
                    <a:pt x="57897" y="102767"/>
                  </a:lnTo>
                  <a:cubicBezTo>
                    <a:pt x="53555" y="101320"/>
                    <a:pt x="50660" y="104215"/>
                    <a:pt x="49212" y="107110"/>
                  </a:cubicBezTo>
                  <a:cubicBezTo>
                    <a:pt x="47765" y="111452"/>
                    <a:pt x="50660" y="114347"/>
                    <a:pt x="53555" y="115794"/>
                  </a:cubicBezTo>
                  <a:lnTo>
                    <a:pt x="57897" y="117242"/>
                  </a:lnTo>
                  <a:lnTo>
                    <a:pt x="57897" y="157770"/>
                  </a:lnTo>
                  <a:cubicBezTo>
                    <a:pt x="57897" y="159217"/>
                    <a:pt x="57897" y="159217"/>
                    <a:pt x="57897" y="160664"/>
                  </a:cubicBezTo>
                  <a:cubicBezTo>
                    <a:pt x="59344" y="163559"/>
                    <a:pt x="63687" y="172244"/>
                    <a:pt x="104215" y="169349"/>
                  </a:cubicBezTo>
                  <a:cubicBezTo>
                    <a:pt x="127374" y="169349"/>
                    <a:pt x="144743" y="188165"/>
                    <a:pt x="144743" y="209877"/>
                  </a:cubicBezTo>
                  <a:lnTo>
                    <a:pt x="144743" y="280801"/>
                  </a:lnTo>
                  <a:close/>
                </a:path>
              </a:pathLst>
            </a:custGeom>
            <a:solidFill>
              <a:srgbClr val="101010"/>
            </a:solidFill>
            <a:ln w="14288" cap="flat">
              <a:noFill/>
              <a:prstDash val="solid"/>
              <a:miter/>
            </a:ln>
          </p:spPr>
          <p:txBody>
            <a:bodyPr rtlCol="0" anchor="ctr"/>
            <a:lstStyle/>
            <a:p>
              <a:endParaRPr lang="de-DE"/>
            </a:p>
          </p:txBody>
        </p:sp>
        <p:sp>
          <p:nvSpPr>
            <p:cNvPr id="2379" name="Freeform: Shape 2378">
              <a:extLst>
                <a:ext uri="{FF2B5EF4-FFF2-40B4-BE49-F238E27FC236}">
                  <a16:creationId xmlns:a16="http://schemas.microsoft.com/office/drawing/2014/main" id="{4F3076C1-C1DE-47C2-9D3B-F26039645A9C}"/>
                </a:ext>
              </a:extLst>
            </p:cNvPr>
            <p:cNvSpPr/>
            <p:nvPr/>
          </p:nvSpPr>
          <p:spPr>
            <a:xfrm>
              <a:off x="5946215" y="3306429"/>
              <a:ext cx="101320" cy="101320"/>
            </a:xfrm>
            <a:custGeom>
              <a:avLst/>
              <a:gdLst>
                <a:gd name="connsiteX0" fmla="*/ 50660 w 101319"/>
                <a:gd name="connsiteY0" fmla="*/ 101320 h 101319"/>
                <a:gd name="connsiteX1" fmla="*/ 101320 w 101319"/>
                <a:gd name="connsiteY1" fmla="*/ 50660 h 101319"/>
                <a:gd name="connsiteX2" fmla="*/ 50660 w 101319"/>
                <a:gd name="connsiteY2" fmla="*/ 0 h 101319"/>
                <a:gd name="connsiteX3" fmla="*/ 0 w 101319"/>
                <a:gd name="connsiteY3" fmla="*/ 50660 h 101319"/>
                <a:gd name="connsiteX4" fmla="*/ 50660 w 101319"/>
                <a:gd name="connsiteY4" fmla="*/ 101320 h 101319"/>
                <a:gd name="connsiteX5" fmla="*/ 50660 w 101319"/>
                <a:gd name="connsiteY5" fmla="*/ 15922 h 101319"/>
                <a:gd name="connsiteX6" fmla="*/ 86846 w 101319"/>
                <a:gd name="connsiteY6" fmla="*/ 52107 h 101319"/>
                <a:gd name="connsiteX7" fmla="*/ 50660 w 101319"/>
                <a:gd name="connsiteY7" fmla="*/ 88293 h 101319"/>
                <a:gd name="connsiteX8" fmla="*/ 14474 w 101319"/>
                <a:gd name="connsiteY8" fmla="*/ 52107 h 101319"/>
                <a:gd name="connsiteX9" fmla="*/ 50660 w 101319"/>
                <a:gd name="connsiteY9" fmla="*/ 15922 h 10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319" h="101319">
                  <a:moveTo>
                    <a:pt x="50660" y="101320"/>
                  </a:moveTo>
                  <a:cubicBezTo>
                    <a:pt x="78161" y="101320"/>
                    <a:pt x="101320" y="78161"/>
                    <a:pt x="101320" y="50660"/>
                  </a:cubicBezTo>
                  <a:cubicBezTo>
                    <a:pt x="101320" y="23159"/>
                    <a:pt x="78161" y="0"/>
                    <a:pt x="50660" y="0"/>
                  </a:cubicBezTo>
                  <a:cubicBezTo>
                    <a:pt x="23159" y="0"/>
                    <a:pt x="0" y="23159"/>
                    <a:pt x="0" y="50660"/>
                  </a:cubicBezTo>
                  <a:cubicBezTo>
                    <a:pt x="0" y="79608"/>
                    <a:pt x="23159" y="101320"/>
                    <a:pt x="50660" y="101320"/>
                  </a:cubicBezTo>
                  <a:close/>
                  <a:moveTo>
                    <a:pt x="50660" y="15922"/>
                  </a:moveTo>
                  <a:cubicBezTo>
                    <a:pt x="70924" y="15922"/>
                    <a:pt x="86846" y="31843"/>
                    <a:pt x="86846" y="52107"/>
                  </a:cubicBezTo>
                  <a:cubicBezTo>
                    <a:pt x="86846" y="72371"/>
                    <a:pt x="70924" y="88293"/>
                    <a:pt x="50660" y="88293"/>
                  </a:cubicBezTo>
                  <a:cubicBezTo>
                    <a:pt x="30396" y="88293"/>
                    <a:pt x="14474" y="72371"/>
                    <a:pt x="14474" y="52107"/>
                  </a:cubicBezTo>
                  <a:cubicBezTo>
                    <a:pt x="14474" y="31843"/>
                    <a:pt x="30396" y="15922"/>
                    <a:pt x="50660" y="15922"/>
                  </a:cubicBezTo>
                  <a:close/>
                </a:path>
              </a:pathLst>
            </a:custGeom>
            <a:solidFill>
              <a:srgbClr val="101010"/>
            </a:solidFill>
            <a:ln w="14288" cap="flat">
              <a:noFill/>
              <a:prstDash val="solid"/>
              <a:miter/>
            </a:ln>
          </p:spPr>
          <p:txBody>
            <a:bodyPr rtlCol="0" anchor="ctr"/>
            <a:lstStyle/>
            <a:p>
              <a:endParaRPr lang="de-DE"/>
            </a:p>
          </p:txBody>
        </p:sp>
        <p:sp>
          <p:nvSpPr>
            <p:cNvPr id="2380" name="Freeform: Shape 2379">
              <a:extLst>
                <a:ext uri="{FF2B5EF4-FFF2-40B4-BE49-F238E27FC236}">
                  <a16:creationId xmlns:a16="http://schemas.microsoft.com/office/drawing/2014/main" id="{685505DB-4604-4931-926B-2A5E037D6167}"/>
                </a:ext>
              </a:extLst>
            </p:cNvPr>
            <p:cNvSpPr/>
            <p:nvPr/>
          </p:nvSpPr>
          <p:spPr>
            <a:xfrm>
              <a:off x="5843317" y="3190997"/>
              <a:ext cx="492125" cy="159217"/>
            </a:xfrm>
            <a:custGeom>
              <a:avLst/>
              <a:gdLst>
                <a:gd name="connsiteX0" fmla="*/ 489361 w 492125"/>
                <a:gd name="connsiteY0" fmla="*/ 142933 h 159216"/>
                <a:gd name="connsiteX1" fmla="*/ 412647 w 492125"/>
                <a:gd name="connsiteY1" fmla="*/ 99511 h 159216"/>
                <a:gd name="connsiteX2" fmla="*/ 412647 w 492125"/>
                <a:gd name="connsiteY2" fmla="*/ 17007 h 159216"/>
                <a:gd name="connsiteX3" fmla="*/ 405410 w 492125"/>
                <a:gd name="connsiteY3" fmla="*/ 9770 h 159216"/>
                <a:gd name="connsiteX4" fmla="*/ 361987 w 492125"/>
                <a:gd name="connsiteY4" fmla="*/ 9770 h 159216"/>
                <a:gd name="connsiteX5" fmla="*/ 354750 w 492125"/>
                <a:gd name="connsiteY5" fmla="*/ 17007 h 159216"/>
                <a:gd name="connsiteX6" fmla="*/ 354750 w 492125"/>
                <a:gd name="connsiteY6" fmla="*/ 72009 h 159216"/>
                <a:gd name="connsiteX7" fmla="*/ 227376 w 492125"/>
                <a:gd name="connsiteY7" fmla="*/ 1086 h 159216"/>
                <a:gd name="connsiteX8" fmla="*/ 220139 w 492125"/>
                <a:gd name="connsiteY8" fmla="*/ 1086 h 159216"/>
                <a:gd name="connsiteX9" fmla="*/ 3025 w 492125"/>
                <a:gd name="connsiteY9" fmla="*/ 153065 h 159216"/>
                <a:gd name="connsiteX10" fmla="*/ 1578 w 492125"/>
                <a:gd name="connsiteY10" fmla="*/ 163197 h 159216"/>
                <a:gd name="connsiteX11" fmla="*/ 7368 w 492125"/>
                <a:gd name="connsiteY11" fmla="*/ 166092 h 159216"/>
                <a:gd name="connsiteX12" fmla="*/ 11710 w 492125"/>
                <a:gd name="connsiteY12" fmla="*/ 164645 h 159216"/>
                <a:gd name="connsiteX13" fmla="*/ 223034 w 492125"/>
                <a:gd name="connsiteY13" fmla="*/ 15560 h 159216"/>
                <a:gd name="connsiteX14" fmla="*/ 357645 w 492125"/>
                <a:gd name="connsiteY14" fmla="*/ 90826 h 159216"/>
                <a:gd name="connsiteX15" fmla="*/ 367777 w 492125"/>
                <a:gd name="connsiteY15" fmla="*/ 87931 h 159216"/>
                <a:gd name="connsiteX16" fmla="*/ 367777 w 492125"/>
                <a:gd name="connsiteY16" fmla="*/ 82141 h 159216"/>
                <a:gd name="connsiteX17" fmla="*/ 367777 w 492125"/>
                <a:gd name="connsiteY17" fmla="*/ 82141 h 159216"/>
                <a:gd name="connsiteX18" fmla="*/ 367777 w 492125"/>
                <a:gd name="connsiteY18" fmla="*/ 24244 h 159216"/>
                <a:gd name="connsiteX19" fmla="*/ 396725 w 492125"/>
                <a:gd name="connsiteY19" fmla="*/ 24244 h 159216"/>
                <a:gd name="connsiteX20" fmla="*/ 396725 w 492125"/>
                <a:gd name="connsiteY20" fmla="*/ 105300 h 159216"/>
                <a:gd name="connsiteX21" fmla="*/ 399620 w 492125"/>
                <a:gd name="connsiteY21" fmla="*/ 111090 h 159216"/>
                <a:gd name="connsiteX22" fmla="*/ 402515 w 492125"/>
                <a:gd name="connsiteY22" fmla="*/ 112537 h 159216"/>
                <a:gd name="connsiteX23" fmla="*/ 482124 w 492125"/>
                <a:gd name="connsiteY23" fmla="*/ 157408 h 159216"/>
                <a:gd name="connsiteX24" fmla="*/ 485018 w 492125"/>
                <a:gd name="connsiteY24" fmla="*/ 158855 h 159216"/>
                <a:gd name="connsiteX25" fmla="*/ 490808 w 492125"/>
                <a:gd name="connsiteY25" fmla="*/ 154513 h 159216"/>
                <a:gd name="connsiteX26" fmla="*/ 489361 w 492125"/>
                <a:gd name="connsiteY26" fmla="*/ 142933 h 15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2125" h="159216">
                  <a:moveTo>
                    <a:pt x="489361" y="142933"/>
                  </a:moveTo>
                  <a:lnTo>
                    <a:pt x="412647" y="99511"/>
                  </a:lnTo>
                  <a:lnTo>
                    <a:pt x="412647" y="17007"/>
                  </a:lnTo>
                  <a:cubicBezTo>
                    <a:pt x="412647" y="12665"/>
                    <a:pt x="409752" y="9770"/>
                    <a:pt x="405410" y="9770"/>
                  </a:cubicBezTo>
                  <a:lnTo>
                    <a:pt x="361987" y="9770"/>
                  </a:lnTo>
                  <a:cubicBezTo>
                    <a:pt x="357645" y="9770"/>
                    <a:pt x="354750" y="12665"/>
                    <a:pt x="354750" y="17007"/>
                  </a:cubicBezTo>
                  <a:lnTo>
                    <a:pt x="354750" y="72009"/>
                  </a:lnTo>
                  <a:lnTo>
                    <a:pt x="227376" y="1086"/>
                  </a:lnTo>
                  <a:cubicBezTo>
                    <a:pt x="224482" y="-362"/>
                    <a:pt x="221587" y="-362"/>
                    <a:pt x="220139" y="1086"/>
                  </a:cubicBezTo>
                  <a:lnTo>
                    <a:pt x="3025" y="153065"/>
                  </a:lnTo>
                  <a:cubicBezTo>
                    <a:pt x="131" y="155960"/>
                    <a:pt x="-1317" y="160302"/>
                    <a:pt x="1578" y="163197"/>
                  </a:cubicBezTo>
                  <a:cubicBezTo>
                    <a:pt x="3025" y="164645"/>
                    <a:pt x="5920" y="166092"/>
                    <a:pt x="7368" y="166092"/>
                  </a:cubicBezTo>
                  <a:cubicBezTo>
                    <a:pt x="8815" y="166092"/>
                    <a:pt x="10263" y="166092"/>
                    <a:pt x="11710" y="164645"/>
                  </a:cubicBezTo>
                  <a:lnTo>
                    <a:pt x="223034" y="15560"/>
                  </a:lnTo>
                  <a:lnTo>
                    <a:pt x="357645" y="90826"/>
                  </a:lnTo>
                  <a:cubicBezTo>
                    <a:pt x="360540" y="92273"/>
                    <a:pt x="364882" y="90826"/>
                    <a:pt x="367777" y="87931"/>
                  </a:cubicBezTo>
                  <a:cubicBezTo>
                    <a:pt x="369224" y="86484"/>
                    <a:pt x="369224" y="83589"/>
                    <a:pt x="367777" y="82141"/>
                  </a:cubicBezTo>
                  <a:cubicBezTo>
                    <a:pt x="367777" y="82141"/>
                    <a:pt x="367777" y="82141"/>
                    <a:pt x="367777" y="82141"/>
                  </a:cubicBezTo>
                  <a:lnTo>
                    <a:pt x="367777" y="24244"/>
                  </a:lnTo>
                  <a:lnTo>
                    <a:pt x="396725" y="24244"/>
                  </a:lnTo>
                  <a:lnTo>
                    <a:pt x="396725" y="105300"/>
                  </a:lnTo>
                  <a:cubicBezTo>
                    <a:pt x="396725" y="106748"/>
                    <a:pt x="398173" y="109643"/>
                    <a:pt x="399620" y="111090"/>
                  </a:cubicBezTo>
                  <a:cubicBezTo>
                    <a:pt x="399620" y="112537"/>
                    <a:pt x="401068" y="112537"/>
                    <a:pt x="402515" y="112537"/>
                  </a:cubicBezTo>
                  <a:lnTo>
                    <a:pt x="482124" y="157408"/>
                  </a:lnTo>
                  <a:cubicBezTo>
                    <a:pt x="483571" y="157408"/>
                    <a:pt x="485018" y="158855"/>
                    <a:pt x="485018" y="158855"/>
                  </a:cubicBezTo>
                  <a:cubicBezTo>
                    <a:pt x="487913" y="158855"/>
                    <a:pt x="489361" y="157408"/>
                    <a:pt x="490808" y="154513"/>
                  </a:cubicBezTo>
                  <a:cubicBezTo>
                    <a:pt x="493703" y="150170"/>
                    <a:pt x="493703" y="145828"/>
                    <a:pt x="489361" y="142933"/>
                  </a:cubicBezTo>
                  <a:close/>
                </a:path>
              </a:pathLst>
            </a:custGeom>
            <a:solidFill>
              <a:srgbClr val="101010"/>
            </a:solidFill>
            <a:ln w="14288" cap="flat">
              <a:noFill/>
              <a:prstDash val="solid"/>
              <a:miter/>
            </a:ln>
          </p:spPr>
          <p:txBody>
            <a:bodyPr rtlCol="0" anchor="ctr"/>
            <a:lstStyle/>
            <a:p>
              <a:endParaRPr lang="de-DE"/>
            </a:p>
          </p:txBody>
        </p:sp>
      </p:grpSp>
      <p:grpSp>
        <p:nvGrpSpPr>
          <p:cNvPr id="2381" name="Graphic 3">
            <a:extLst>
              <a:ext uri="{FF2B5EF4-FFF2-40B4-BE49-F238E27FC236}">
                <a16:creationId xmlns:a16="http://schemas.microsoft.com/office/drawing/2014/main" id="{7E7BE4C0-AA7A-42E0-BAF3-5A15759B37AC}"/>
              </a:ext>
              <a:ext uri="{C183D7F6-B498-43B3-948B-1728B52AA6E4}">
                <adec:decorative xmlns:adec="http://schemas.microsoft.com/office/drawing/2017/decorative" val="1"/>
              </a:ext>
            </a:extLst>
          </p:cNvPr>
          <p:cNvGrpSpPr>
            <a:grpSpLocks noChangeAspect="1"/>
          </p:cNvGrpSpPr>
          <p:nvPr/>
        </p:nvGrpSpPr>
        <p:grpSpPr>
          <a:xfrm>
            <a:off x="2492855" y="4528477"/>
            <a:ext cx="129104" cy="81151"/>
            <a:chOff x="5842000" y="3279491"/>
            <a:chExt cx="478455" cy="300743"/>
          </a:xfrm>
          <a:solidFill>
            <a:srgbClr val="231F20"/>
          </a:solidFill>
        </p:grpSpPr>
        <p:sp>
          <p:nvSpPr>
            <p:cNvPr id="2382" name="Freeform: Shape 2381">
              <a:extLst>
                <a:ext uri="{FF2B5EF4-FFF2-40B4-BE49-F238E27FC236}">
                  <a16:creationId xmlns:a16="http://schemas.microsoft.com/office/drawing/2014/main" id="{7E3344DF-2E7D-4156-BF2B-8B2F898EFA17}"/>
                </a:ext>
              </a:extLst>
            </p:cNvPr>
            <p:cNvSpPr/>
            <p:nvPr/>
          </p:nvSpPr>
          <p:spPr>
            <a:xfrm>
              <a:off x="5842000" y="3279491"/>
              <a:ext cx="478455" cy="300743"/>
            </a:xfrm>
            <a:custGeom>
              <a:avLst/>
              <a:gdLst>
                <a:gd name="connsiteX0" fmla="*/ 478455 w 478454"/>
                <a:gd name="connsiteY0" fmla="*/ 256998 h 300742"/>
                <a:gd name="connsiteX1" fmla="*/ 442913 w 478454"/>
                <a:gd name="connsiteY1" fmla="*/ 256998 h 300742"/>
                <a:gd name="connsiteX2" fmla="*/ 442913 w 478454"/>
                <a:gd name="connsiteY2" fmla="*/ 49212 h 300742"/>
                <a:gd name="connsiteX3" fmla="*/ 393700 w 478454"/>
                <a:gd name="connsiteY3" fmla="*/ 0 h 300742"/>
                <a:gd name="connsiteX4" fmla="*/ 92957 w 478454"/>
                <a:gd name="connsiteY4" fmla="*/ 0 h 300742"/>
                <a:gd name="connsiteX5" fmla="*/ 43744 w 478454"/>
                <a:gd name="connsiteY5" fmla="*/ 49212 h 300742"/>
                <a:gd name="connsiteX6" fmla="*/ 43744 w 478454"/>
                <a:gd name="connsiteY6" fmla="*/ 256998 h 300742"/>
                <a:gd name="connsiteX7" fmla="*/ 6835 w 478454"/>
                <a:gd name="connsiteY7" fmla="*/ 256998 h 300742"/>
                <a:gd name="connsiteX8" fmla="*/ 0 w 478454"/>
                <a:gd name="connsiteY8" fmla="*/ 263834 h 300742"/>
                <a:gd name="connsiteX9" fmla="*/ 49213 w 478454"/>
                <a:gd name="connsiteY9" fmla="*/ 313046 h 300742"/>
                <a:gd name="connsiteX10" fmla="*/ 434710 w 478454"/>
                <a:gd name="connsiteY10" fmla="*/ 313046 h 300742"/>
                <a:gd name="connsiteX11" fmla="*/ 483923 w 478454"/>
                <a:gd name="connsiteY11" fmla="*/ 263834 h 300742"/>
                <a:gd name="connsiteX12" fmla="*/ 483923 w 478454"/>
                <a:gd name="connsiteY12" fmla="*/ 263834 h 300742"/>
                <a:gd name="connsiteX13" fmla="*/ 478455 w 478454"/>
                <a:gd name="connsiteY13" fmla="*/ 256998 h 300742"/>
                <a:gd name="connsiteX14" fmla="*/ 56048 w 478454"/>
                <a:gd name="connsiteY14" fmla="*/ 49212 h 300742"/>
                <a:gd name="connsiteX15" fmla="*/ 92957 w 478454"/>
                <a:gd name="connsiteY15" fmla="*/ 13670 h 300742"/>
                <a:gd name="connsiteX16" fmla="*/ 392333 w 478454"/>
                <a:gd name="connsiteY16" fmla="*/ 13670 h 300742"/>
                <a:gd name="connsiteX17" fmla="*/ 427875 w 478454"/>
                <a:gd name="connsiteY17" fmla="*/ 49212 h 300742"/>
                <a:gd name="connsiteX18" fmla="*/ 427875 w 478454"/>
                <a:gd name="connsiteY18" fmla="*/ 256998 h 300742"/>
                <a:gd name="connsiteX19" fmla="*/ 56048 w 478454"/>
                <a:gd name="connsiteY19" fmla="*/ 256998 h 300742"/>
                <a:gd name="connsiteX20" fmla="*/ 56048 w 478454"/>
                <a:gd name="connsiteY20" fmla="*/ 49212 h 300742"/>
                <a:gd name="connsiteX21" fmla="*/ 442913 w 478454"/>
                <a:gd name="connsiteY21" fmla="*/ 299376 h 300742"/>
                <a:gd name="connsiteX22" fmla="*/ 442913 w 478454"/>
                <a:gd name="connsiteY22" fmla="*/ 282972 h 300742"/>
                <a:gd name="connsiteX23" fmla="*/ 429242 w 478454"/>
                <a:gd name="connsiteY23" fmla="*/ 282972 h 300742"/>
                <a:gd name="connsiteX24" fmla="*/ 429242 w 478454"/>
                <a:gd name="connsiteY24" fmla="*/ 300743 h 300742"/>
                <a:gd name="connsiteX25" fmla="*/ 400535 w 478454"/>
                <a:gd name="connsiteY25" fmla="*/ 300743 h 300742"/>
                <a:gd name="connsiteX26" fmla="*/ 400535 w 478454"/>
                <a:gd name="connsiteY26" fmla="*/ 284339 h 300742"/>
                <a:gd name="connsiteX27" fmla="*/ 386865 w 478454"/>
                <a:gd name="connsiteY27" fmla="*/ 284339 h 300742"/>
                <a:gd name="connsiteX28" fmla="*/ 386865 w 478454"/>
                <a:gd name="connsiteY28" fmla="*/ 300743 h 300742"/>
                <a:gd name="connsiteX29" fmla="*/ 358158 w 478454"/>
                <a:gd name="connsiteY29" fmla="*/ 300743 h 300742"/>
                <a:gd name="connsiteX30" fmla="*/ 358158 w 478454"/>
                <a:gd name="connsiteY30" fmla="*/ 284339 h 300742"/>
                <a:gd name="connsiteX31" fmla="*/ 344488 w 478454"/>
                <a:gd name="connsiteY31" fmla="*/ 284339 h 300742"/>
                <a:gd name="connsiteX32" fmla="*/ 344488 w 478454"/>
                <a:gd name="connsiteY32" fmla="*/ 300743 h 300742"/>
                <a:gd name="connsiteX33" fmla="*/ 49213 w 478454"/>
                <a:gd name="connsiteY33" fmla="*/ 300743 h 300742"/>
                <a:gd name="connsiteX34" fmla="*/ 13670 w 478454"/>
                <a:gd name="connsiteY34" fmla="*/ 270669 h 300742"/>
                <a:gd name="connsiteX35" fmla="*/ 470253 w 478454"/>
                <a:gd name="connsiteY35" fmla="*/ 270669 h 300742"/>
                <a:gd name="connsiteX36" fmla="*/ 442913 w 478454"/>
                <a:gd name="connsiteY36" fmla="*/ 299376 h 300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78454" h="300742">
                  <a:moveTo>
                    <a:pt x="478455" y="256998"/>
                  </a:moveTo>
                  <a:lnTo>
                    <a:pt x="442913" y="256998"/>
                  </a:lnTo>
                  <a:lnTo>
                    <a:pt x="442913" y="49212"/>
                  </a:lnTo>
                  <a:cubicBezTo>
                    <a:pt x="442913" y="21872"/>
                    <a:pt x="421040" y="0"/>
                    <a:pt x="393700" y="0"/>
                  </a:cubicBezTo>
                  <a:lnTo>
                    <a:pt x="92957" y="0"/>
                  </a:lnTo>
                  <a:cubicBezTo>
                    <a:pt x="65617" y="0"/>
                    <a:pt x="43744" y="21872"/>
                    <a:pt x="43744" y="49212"/>
                  </a:cubicBezTo>
                  <a:lnTo>
                    <a:pt x="43744" y="256998"/>
                  </a:lnTo>
                  <a:lnTo>
                    <a:pt x="6835" y="256998"/>
                  </a:lnTo>
                  <a:cubicBezTo>
                    <a:pt x="2734" y="256998"/>
                    <a:pt x="0" y="259732"/>
                    <a:pt x="0" y="263834"/>
                  </a:cubicBezTo>
                  <a:cubicBezTo>
                    <a:pt x="0" y="291174"/>
                    <a:pt x="21872" y="313046"/>
                    <a:pt x="49213" y="313046"/>
                  </a:cubicBezTo>
                  <a:lnTo>
                    <a:pt x="434710" y="313046"/>
                  </a:lnTo>
                  <a:cubicBezTo>
                    <a:pt x="462051" y="313046"/>
                    <a:pt x="483923" y="291174"/>
                    <a:pt x="483923" y="263834"/>
                  </a:cubicBezTo>
                  <a:lnTo>
                    <a:pt x="483923" y="263834"/>
                  </a:lnTo>
                  <a:cubicBezTo>
                    <a:pt x="485290" y="259732"/>
                    <a:pt x="482556" y="256998"/>
                    <a:pt x="478455" y="256998"/>
                  </a:cubicBezTo>
                  <a:close/>
                  <a:moveTo>
                    <a:pt x="56048" y="49212"/>
                  </a:moveTo>
                  <a:cubicBezTo>
                    <a:pt x="56048" y="30074"/>
                    <a:pt x="72452" y="13670"/>
                    <a:pt x="92957" y="13670"/>
                  </a:cubicBezTo>
                  <a:lnTo>
                    <a:pt x="392333" y="13670"/>
                  </a:lnTo>
                  <a:cubicBezTo>
                    <a:pt x="412838" y="13670"/>
                    <a:pt x="427875" y="30074"/>
                    <a:pt x="427875" y="49212"/>
                  </a:cubicBezTo>
                  <a:lnTo>
                    <a:pt x="427875" y="256998"/>
                  </a:lnTo>
                  <a:lnTo>
                    <a:pt x="56048" y="256998"/>
                  </a:lnTo>
                  <a:lnTo>
                    <a:pt x="56048" y="49212"/>
                  </a:lnTo>
                  <a:close/>
                  <a:moveTo>
                    <a:pt x="442913" y="299376"/>
                  </a:moveTo>
                  <a:lnTo>
                    <a:pt x="442913" y="282972"/>
                  </a:lnTo>
                  <a:lnTo>
                    <a:pt x="429242" y="282972"/>
                  </a:lnTo>
                  <a:lnTo>
                    <a:pt x="429242" y="300743"/>
                  </a:lnTo>
                  <a:lnTo>
                    <a:pt x="400535" y="300743"/>
                  </a:lnTo>
                  <a:lnTo>
                    <a:pt x="400535" y="284339"/>
                  </a:lnTo>
                  <a:lnTo>
                    <a:pt x="386865" y="284339"/>
                  </a:lnTo>
                  <a:lnTo>
                    <a:pt x="386865" y="300743"/>
                  </a:lnTo>
                  <a:lnTo>
                    <a:pt x="358158" y="300743"/>
                  </a:lnTo>
                  <a:lnTo>
                    <a:pt x="358158" y="284339"/>
                  </a:lnTo>
                  <a:lnTo>
                    <a:pt x="344488" y="284339"/>
                  </a:lnTo>
                  <a:lnTo>
                    <a:pt x="344488" y="300743"/>
                  </a:lnTo>
                  <a:lnTo>
                    <a:pt x="49213" y="300743"/>
                  </a:lnTo>
                  <a:cubicBezTo>
                    <a:pt x="32808" y="300743"/>
                    <a:pt x="17771" y="287073"/>
                    <a:pt x="13670" y="270669"/>
                  </a:cubicBezTo>
                  <a:lnTo>
                    <a:pt x="470253" y="270669"/>
                  </a:lnTo>
                  <a:cubicBezTo>
                    <a:pt x="468886" y="285706"/>
                    <a:pt x="456583" y="296642"/>
                    <a:pt x="442913" y="299376"/>
                  </a:cubicBezTo>
                  <a:close/>
                </a:path>
              </a:pathLst>
            </a:custGeom>
            <a:solidFill>
              <a:srgbClr val="231F20"/>
            </a:solidFill>
            <a:ln w="13494" cap="flat">
              <a:noFill/>
              <a:prstDash val="solid"/>
              <a:miter/>
            </a:ln>
          </p:spPr>
          <p:txBody>
            <a:bodyPr rtlCol="0" anchor="ctr"/>
            <a:lstStyle/>
            <a:p>
              <a:endParaRPr lang="de-DE"/>
            </a:p>
          </p:txBody>
        </p:sp>
        <p:sp>
          <p:nvSpPr>
            <p:cNvPr id="2383" name="Freeform: Shape 2382">
              <a:extLst>
                <a:ext uri="{FF2B5EF4-FFF2-40B4-BE49-F238E27FC236}">
                  <a16:creationId xmlns:a16="http://schemas.microsoft.com/office/drawing/2014/main" id="{BE034E7D-36C5-4CC0-9775-D63053AA6285}"/>
                </a:ext>
              </a:extLst>
            </p:cNvPr>
            <p:cNvSpPr/>
            <p:nvPr/>
          </p:nvSpPr>
          <p:spPr>
            <a:xfrm>
              <a:off x="6078493" y="3325969"/>
              <a:ext cx="13670" cy="177712"/>
            </a:xfrm>
            <a:custGeom>
              <a:avLst/>
              <a:gdLst>
                <a:gd name="connsiteX0" fmla="*/ 6835 w 13670"/>
                <a:gd name="connsiteY0" fmla="*/ 0 h 177711"/>
                <a:gd name="connsiteX1" fmla="*/ 0 w 13670"/>
                <a:gd name="connsiteY1" fmla="*/ 6835 h 177711"/>
                <a:gd name="connsiteX2" fmla="*/ 0 w 13670"/>
                <a:gd name="connsiteY2" fmla="*/ 181813 h 177711"/>
                <a:gd name="connsiteX3" fmla="*/ 6835 w 13670"/>
                <a:gd name="connsiteY3" fmla="*/ 188648 h 177711"/>
                <a:gd name="connsiteX4" fmla="*/ 13670 w 13670"/>
                <a:gd name="connsiteY4" fmla="*/ 181813 h 177711"/>
                <a:gd name="connsiteX5" fmla="*/ 13670 w 13670"/>
                <a:gd name="connsiteY5" fmla="*/ 6835 h 177711"/>
                <a:gd name="connsiteX6" fmla="*/ 6835 w 13670"/>
                <a:gd name="connsiteY6" fmla="*/ 0 h 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0" h="177711">
                  <a:moveTo>
                    <a:pt x="6835" y="0"/>
                  </a:moveTo>
                  <a:cubicBezTo>
                    <a:pt x="2734" y="0"/>
                    <a:pt x="0" y="2734"/>
                    <a:pt x="0" y="6835"/>
                  </a:cubicBezTo>
                  <a:lnTo>
                    <a:pt x="0" y="181813"/>
                  </a:lnTo>
                  <a:cubicBezTo>
                    <a:pt x="0" y="185914"/>
                    <a:pt x="2734" y="188648"/>
                    <a:pt x="6835" y="188648"/>
                  </a:cubicBezTo>
                  <a:cubicBezTo>
                    <a:pt x="10936" y="188648"/>
                    <a:pt x="13670" y="185914"/>
                    <a:pt x="13670" y="181813"/>
                  </a:cubicBezTo>
                  <a:lnTo>
                    <a:pt x="13670" y="6835"/>
                  </a:lnTo>
                  <a:cubicBezTo>
                    <a:pt x="13670" y="2734"/>
                    <a:pt x="10936" y="0"/>
                    <a:pt x="6835" y="0"/>
                  </a:cubicBezTo>
                  <a:close/>
                </a:path>
              </a:pathLst>
            </a:custGeom>
            <a:solidFill>
              <a:srgbClr val="231F20"/>
            </a:solidFill>
            <a:ln w="13494" cap="flat">
              <a:noFill/>
              <a:prstDash val="solid"/>
              <a:miter/>
            </a:ln>
          </p:spPr>
          <p:txBody>
            <a:bodyPr rtlCol="0" anchor="ctr"/>
            <a:lstStyle/>
            <a:p>
              <a:endParaRPr lang="de-DE"/>
            </a:p>
          </p:txBody>
        </p:sp>
        <p:sp>
          <p:nvSpPr>
            <p:cNvPr id="2384" name="Freeform: Shape 2383">
              <a:extLst>
                <a:ext uri="{FF2B5EF4-FFF2-40B4-BE49-F238E27FC236}">
                  <a16:creationId xmlns:a16="http://schemas.microsoft.com/office/drawing/2014/main" id="{7D56BE03-2362-47FE-ABBD-41C40B7B2E1D}"/>
                </a:ext>
              </a:extLst>
            </p:cNvPr>
            <p:cNvSpPr/>
            <p:nvPr/>
          </p:nvSpPr>
          <p:spPr>
            <a:xfrm>
              <a:off x="6120871" y="3356044"/>
              <a:ext cx="109361" cy="136701"/>
            </a:xfrm>
            <a:custGeom>
              <a:avLst/>
              <a:gdLst>
                <a:gd name="connsiteX0" fmla="*/ 69718 w 109361"/>
                <a:gd name="connsiteY0" fmla="*/ 68351 h 136701"/>
                <a:gd name="connsiteX1" fmla="*/ 64250 w 109361"/>
                <a:gd name="connsiteY1" fmla="*/ 68351 h 136701"/>
                <a:gd name="connsiteX2" fmla="*/ 94324 w 109361"/>
                <a:gd name="connsiteY2" fmla="*/ 34175 h 136701"/>
                <a:gd name="connsiteX3" fmla="*/ 60149 w 109361"/>
                <a:gd name="connsiteY3" fmla="*/ 0 h 136701"/>
                <a:gd name="connsiteX4" fmla="*/ 25973 w 109361"/>
                <a:gd name="connsiteY4" fmla="*/ 34175 h 136701"/>
                <a:gd name="connsiteX5" fmla="*/ 56048 w 109361"/>
                <a:gd name="connsiteY5" fmla="*/ 68351 h 136701"/>
                <a:gd name="connsiteX6" fmla="*/ 50580 w 109361"/>
                <a:gd name="connsiteY6" fmla="*/ 68351 h 136701"/>
                <a:gd name="connsiteX7" fmla="*/ 0 w 109361"/>
                <a:gd name="connsiteY7" fmla="*/ 118930 h 136701"/>
                <a:gd name="connsiteX8" fmla="*/ 0 w 109361"/>
                <a:gd name="connsiteY8" fmla="*/ 121664 h 136701"/>
                <a:gd name="connsiteX9" fmla="*/ 20505 w 109361"/>
                <a:gd name="connsiteY9" fmla="*/ 142169 h 136701"/>
                <a:gd name="connsiteX10" fmla="*/ 101159 w 109361"/>
                <a:gd name="connsiteY10" fmla="*/ 142169 h 136701"/>
                <a:gd name="connsiteX11" fmla="*/ 121664 w 109361"/>
                <a:gd name="connsiteY11" fmla="*/ 121664 h 136701"/>
                <a:gd name="connsiteX12" fmla="*/ 121664 w 109361"/>
                <a:gd name="connsiteY12" fmla="*/ 118930 h 136701"/>
                <a:gd name="connsiteX13" fmla="*/ 69718 w 109361"/>
                <a:gd name="connsiteY13" fmla="*/ 68351 h 136701"/>
                <a:gd name="connsiteX14" fmla="*/ 39643 w 109361"/>
                <a:gd name="connsiteY14" fmla="*/ 34175 h 136701"/>
                <a:gd name="connsiteX15" fmla="*/ 60149 w 109361"/>
                <a:gd name="connsiteY15" fmla="*/ 13670 h 136701"/>
                <a:gd name="connsiteX16" fmla="*/ 80654 w 109361"/>
                <a:gd name="connsiteY16" fmla="*/ 34175 h 136701"/>
                <a:gd name="connsiteX17" fmla="*/ 60149 w 109361"/>
                <a:gd name="connsiteY17" fmla="*/ 54681 h 136701"/>
                <a:gd name="connsiteX18" fmla="*/ 39643 w 109361"/>
                <a:gd name="connsiteY18" fmla="*/ 34175 h 136701"/>
                <a:gd name="connsiteX19" fmla="*/ 107994 w 109361"/>
                <a:gd name="connsiteY19" fmla="*/ 123031 h 136701"/>
                <a:gd name="connsiteX20" fmla="*/ 101159 w 109361"/>
                <a:gd name="connsiteY20" fmla="*/ 129866 h 136701"/>
                <a:gd name="connsiteX21" fmla="*/ 20505 w 109361"/>
                <a:gd name="connsiteY21" fmla="*/ 129866 h 136701"/>
                <a:gd name="connsiteX22" fmla="*/ 13670 w 109361"/>
                <a:gd name="connsiteY22" fmla="*/ 123031 h 136701"/>
                <a:gd name="connsiteX23" fmla="*/ 13670 w 109361"/>
                <a:gd name="connsiteY23" fmla="*/ 120297 h 136701"/>
                <a:gd name="connsiteX24" fmla="*/ 50580 w 109361"/>
                <a:gd name="connsiteY24" fmla="*/ 83388 h 136701"/>
                <a:gd name="connsiteX25" fmla="*/ 68351 w 109361"/>
                <a:gd name="connsiteY25" fmla="*/ 83388 h 136701"/>
                <a:gd name="connsiteX26" fmla="*/ 105260 w 109361"/>
                <a:gd name="connsiteY26" fmla="*/ 120297 h 136701"/>
                <a:gd name="connsiteX27" fmla="*/ 105260 w 109361"/>
                <a:gd name="connsiteY27" fmla="*/ 123031 h 136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361" h="136701">
                  <a:moveTo>
                    <a:pt x="69718" y="68351"/>
                  </a:moveTo>
                  <a:lnTo>
                    <a:pt x="64250" y="68351"/>
                  </a:lnTo>
                  <a:cubicBezTo>
                    <a:pt x="80654" y="65617"/>
                    <a:pt x="94324" y="51946"/>
                    <a:pt x="94324" y="34175"/>
                  </a:cubicBezTo>
                  <a:cubicBezTo>
                    <a:pt x="94324" y="15037"/>
                    <a:pt x="79287" y="0"/>
                    <a:pt x="60149" y="0"/>
                  </a:cubicBezTo>
                  <a:cubicBezTo>
                    <a:pt x="41010" y="0"/>
                    <a:pt x="25973" y="15037"/>
                    <a:pt x="25973" y="34175"/>
                  </a:cubicBezTo>
                  <a:cubicBezTo>
                    <a:pt x="25973" y="51946"/>
                    <a:pt x="39643" y="65617"/>
                    <a:pt x="56048" y="68351"/>
                  </a:cubicBezTo>
                  <a:lnTo>
                    <a:pt x="50580" y="68351"/>
                  </a:lnTo>
                  <a:cubicBezTo>
                    <a:pt x="21872" y="68351"/>
                    <a:pt x="0" y="91590"/>
                    <a:pt x="0" y="118930"/>
                  </a:cubicBezTo>
                  <a:lnTo>
                    <a:pt x="0" y="121664"/>
                  </a:lnTo>
                  <a:cubicBezTo>
                    <a:pt x="0" y="132600"/>
                    <a:pt x="9569" y="142169"/>
                    <a:pt x="20505" y="142169"/>
                  </a:cubicBezTo>
                  <a:lnTo>
                    <a:pt x="101159" y="142169"/>
                  </a:lnTo>
                  <a:cubicBezTo>
                    <a:pt x="112095" y="142169"/>
                    <a:pt x="121664" y="132600"/>
                    <a:pt x="121664" y="121664"/>
                  </a:cubicBezTo>
                  <a:lnTo>
                    <a:pt x="121664" y="118930"/>
                  </a:lnTo>
                  <a:cubicBezTo>
                    <a:pt x="121664" y="90223"/>
                    <a:pt x="98425" y="68351"/>
                    <a:pt x="69718" y="68351"/>
                  </a:cubicBezTo>
                  <a:close/>
                  <a:moveTo>
                    <a:pt x="39643" y="34175"/>
                  </a:moveTo>
                  <a:cubicBezTo>
                    <a:pt x="39643" y="23239"/>
                    <a:pt x="49213" y="13670"/>
                    <a:pt x="60149" y="13670"/>
                  </a:cubicBezTo>
                  <a:cubicBezTo>
                    <a:pt x="71085" y="13670"/>
                    <a:pt x="80654" y="23239"/>
                    <a:pt x="80654" y="34175"/>
                  </a:cubicBezTo>
                  <a:cubicBezTo>
                    <a:pt x="80654" y="45111"/>
                    <a:pt x="71085" y="54681"/>
                    <a:pt x="60149" y="54681"/>
                  </a:cubicBezTo>
                  <a:cubicBezTo>
                    <a:pt x="49213" y="54681"/>
                    <a:pt x="39643" y="45111"/>
                    <a:pt x="39643" y="34175"/>
                  </a:cubicBezTo>
                  <a:close/>
                  <a:moveTo>
                    <a:pt x="107994" y="123031"/>
                  </a:moveTo>
                  <a:cubicBezTo>
                    <a:pt x="107994" y="127132"/>
                    <a:pt x="105260" y="129866"/>
                    <a:pt x="101159" y="129866"/>
                  </a:cubicBezTo>
                  <a:lnTo>
                    <a:pt x="20505" y="129866"/>
                  </a:lnTo>
                  <a:cubicBezTo>
                    <a:pt x="16404" y="129866"/>
                    <a:pt x="13670" y="127132"/>
                    <a:pt x="13670" y="123031"/>
                  </a:cubicBezTo>
                  <a:lnTo>
                    <a:pt x="13670" y="120297"/>
                  </a:lnTo>
                  <a:cubicBezTo>
                    <a:pt x="13670" y="99792"/>
                    <a:pt x="30074" y="83388"/>
                    <a:pt x="50580" y="83388"/>
                  </a:cubicBezTo>
                  <a:lnTo>
                    <a:pt x="68351" y="83388"/>
                  </a:lnTo>
                  <a:cubicBezTo>
                    <a:pt x="88856" y="83388"/>
                    <a:pt x="105260" y="99792"/>
                    <a:pt x="105260" y="120297"/>
                  </a:cubicBezTo>
                  <a:lnTo>
                    <a:pt x="105260" y="123031"/>
                  </a:lnTo>
                  <a:close/>
                </a:path>
              </a:pathLst>
            </a:custGeom>
            <a:solidFill>
              <a:srgbClr val="231F20"/>
            </a:solidFill>
            <a:ln w="13494" cap="flat">
              <a:noFill/>
              <a:prstDash val="solid"/>
              <a:miter/>
            </a:ln>
          </p:spPr>
          <p:txBody>
            <a:bodyPr rtlCol="0" anchor="ctr"/>
            <a:lstStyle/>
            <a:p>
              <a:endParaRPr lang="de-DE"/>
            </a:p>
          </p:txBody>
        </p:sp>
        <p:sp>
          <p:nvSpPr>
            <p:cNvPr id="2385" name="Freeform: Shape 2384">
              <a:extLst>
                <a:ext uri="{FF2B5EF4-FFF2-40B4-BE49-F238E27FC236}">
                  <a16:creationId xmlns:a16="http://schemas.microsoft.com/office/drawing/2014/main" id="{D1C8A035-ED5A-469E-8851-102BC36F826E}"/>
                </a:ext>
              </a:extLst>
            </p:cNvPr>
            <p:cNvSpPr/>
            <p:nvPr/>
          </p:nvSpPr>
          <p:spPr>
            <a:xfrm>
              <a:off x="5922654" y="3356044"/>
              <a:ext cx="109361" cy="136701"/>
            </a:xfrm>
            <a:custGeom>
              <a:avLst/>
              <a:gdLst>
                <a:gd name="connsiteX0" fmla="*/ 68351 w 109361"/>
                <a:gd name="connsiteY0" fmla="*/ 68351 h 136701"/>
                <a:gd name="connsiteX1" fmla="*/ 62883 w 109361"/>
                <a:gd name="connsiteY1" fmla="*/ 68351 h 136701"/>
                <a:gd name="connsiteX2" fmla="*/ 92957 w 109361"/>
                <a:gd name="connsiteY2" fmla="*/ 34175 h 136701"/>
                <a:gd name="connsiteX3" fmla="*/ 58782 w 109361"/>
                <a:gd name="connsiteY3" fmla="*/ 0 h 136701"/>
                <a:gd name="connsiteX4" fmla="*/ 24606 w 109361"/>
                <a:gd name="connsiteY4" fmla="*/ 34175 h 136701"/>
                <a:gd name="connsiteX5" fmla="*/ 54681 w 109361"/>
                <a:gd name="connsiteY5" fmla="*/ 68351 h 136701"/>
                <a:gd name="connsiteX6" fmla="*/ 50580 w 109361"/>
                <a:gd name="connsiteY6" fmla="*/ 68351 h 136701"/>
                <a:gd name="connsiteX7" fmla="*/ 0 w 109361"/>
                <a:gd name="connsiteY7" fmla="*/ 118930 h 136701"/>
                <a:gd name="connsiteX8" fmla="*/ 0 w 109361"/>
                <a:gd name="connsiteY8" fmla="*/ 121664 h 136701"/>
                <a:gd name="connsiteX9" fmla="*/ 20505 w 109361"/>
                <a:gd name="connsiteY9" fmla="*/ 142169 h 136701"/>
                <a:gd name="connsiteX10" fmla="*/ 101159 w 109361"/>
                <a:gd name="connsiteY10" fmla="*/ 142169 h 136701"/>
                <a:gd name="connsiteX11" fmla="*/ 121664 w 109361"/>
                <a:gd name="connsiteY11" fmla="*/ 121664 h 136701"/>
                <a:gd name="connsiteX12" fmla="*/ 121664 w 109361"/>
                <a:gd name="connsiteY12" fmla="*/ 118930 h 136701"/>
                <a:gd name="connsiteX13" fmla="*/ 68351 w 109361"/>
                <a:gd name="connsiteY13" fmla="*/ 68351 h 136701"/>
                <a:gd name="connsiteX14" fmla="*/ 38276 w 109361"/>
                <a:gd name="connsiteY14" fmla="*/ 34175 h 136701"/>
                <a:gd name="connsiteX15" fmla="*/ 58782 w 109361"/>
                <a:gd name="connsiteY15" fmla="*/ 13670 h 136701"/>
                <a:gd name="connsiteX16" fmla="*/ 79287 w 109361"/>
                <a:gd name="connsiteY16" fmla="*/ 34175 h 136701"/>
                <a:gd name="connsiteX17" fmla="*/ 58782 w 109361"/>
                <a:gd name="connsiteY17" fmla="*/ 54681 h 136701"/>
                <a:gd name="connsiteX18" fmla="*/ 38276 w 109361"/>
                <a:gd name="connsiteY18" fmla="*/ 34175 h 136701"/>
                <a:gd name="connsiteX19" fmla="*/ 105260 w 109361"/>
                <a:gd name="connsiteY19" fmla="*/ 123031 h 136701"/>
                <a:gd name="connsiteX20" fmla="*/ 98425 w 109361"/>
                <a:gd name="connsiteY20" fmla="*/ 129866 h 136701"/>
                <a:gd name="connsiteX21" fmla="*/ 19138 w 109361"/>
                <a:gd name="connsiteY21" fmla="*/ 129866 h 136701"/>
                <a:gd name="connsiteX22" fmla="*/ 12303 w 109361"/>
                <a:gd name="connsiteY22" fmla="*/ 123031 h 136701"/>
                <a:gd name="connsiteX23" fmla="*/ 12303 w 109361"/>
                <a:gd name="connsiteY23" fmla="*/ 120297 h 136701"/>
                <a:gd name="connsiteX24" fmla="*/ 49213 w 109361"/>
                <a:gd name="connsiteY24" fmla="*/ 83388 h 136701"/>
                <a:gd name="connsiteX25" fmla="*/ 66984 w 109361"/>
                <a:gd name="connsiteY25" fmla="*/ 83388 h 136701"/>
                <a:gd name="connsiteX26" fmla="*/ 103893 w 109361"/>
                <a:gd name="connsiteY26" fmla="*/ 120297 h 136701"/>
                <a:gd name="connsiteX27" fmla="*/ 103893 w 109361"/>
                <a:gd name="connsiteY27" fmla="*/ 123031 h 136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361" h="136701">
                  <a:moveTo>
                    <a:pt x="68351" y="68351"/>
                  </a:moveTo>
                  <a:lnTo>
                    <a:pt x="62883" y="68351"/>
                  </a:lnTo>
                  <a:cubicBezTo>
                    <a:pt x="79287" y="65617"/>
                    <a:pt x="92957" y="51946"/>
                    <a:pt x="92957" y="34175"/>
                  </a:cubicBezTo>
                  <a:cubicBezTo>
                    <a:pt x="92957" y="15037"/>
                    <a:pt x="77920" y="0"/>
                    <a:pt x="58782" y="0"/>
                  </a:cubicBezTo>
                  <a:cubicBezTo>
                    <a:pt x="39643" y="0"/>
                    <a:pt x="24606" y="15037"/>
                    <a:pt x="24606" y="34175"/>
                  </a:cubicBezTo>
                  <a:cubicBezTo>
                    <a:pt x="24606" y="51946"/>
                    <a:pt x="38276" y="65617"/>
                    <a:pt x="54681" y="68351"/>
                  </a:cubicBezTo>
                  <a:lnTo>
                    <a:pt x="50580" y="68351"/>
                  </a:lnTo>
                  <a:cubicBezTo>
                    <a:pt x="21872" y="68351"/>
                    <a:pt x="0" y="91590"/>
                    <a:pt x="0" y="118930"/>
                  </a:cubicBezTo>
                  <a:lnTo>
                    <a:pt x="0" y="121664"/>
                  </a:lnTo>
                  <a:cubicBezTo>
                    <a:pt x="0" y="132600"/>
                    <a:pt x="9569" y="142169"/>
                    <a:pt x="20505" y="142169"/>
                  </a:cubicBezTo>
                  <a:lnTo>
                    <a:pt x="101159" y="142169"/>
                  </a:lnTo>
                  <a:cubicBezTo>
                    <a:pt x="112095" y="142169"/>
                    <a:pt x="121664" y="132600"/>
                    <a:pt x="121664" y="121664"/>
                  </a:cubicBezTo>
                  <a:lnTo>
                    <a:pt x="121664" y="118930"/>
                  </a:lnTo>
                  <a:cubicBezTo>
                    <a:pt x="118930" y="90223"/>
                    <a:pt x="97058" y="68351"/>
                    <a:pt x="68351" y="68351"/>
                  </a:cubicBezTo>
                  <a:close/>
                  <a:moveTo>
                    <a:pt x="38276" y="34175"/>
                  </a:moveTo>
                  <a:cubicBezTo>
                    <a:pt x="38276" y="23239"/>
                    <a:pt x="47845" y="13670"/>
                    <a:pt x="58782" y="13670"/>
                  </a:cubicBezTo>
                  <a:cubicBezTo>
                    <a:pt x="69718" y="13670"/>
                    <a:pt x="79287" y="23239"/>
                    <a:pt x="79287" y="34175"/>
                  </a:cubicBezTo>
                  <a:cubicBezTo>
                    <a:pt x="79287" y="45111"/>
                    <a:pt x="69718" y="54681"/>
                    <a:pt x="58782" y="54681"/>
                  </a:cubicBezTo>
                  <a:cubicBezTo>
                    <a:pt x="47845" y="54681"/>
                    <a:pt x="38276" y="45111"/>
                    <a:pt x="38276" y="34175"/>
                  </a:cubicBezTo>
                  <a:close/>
                  <a:moveTo>
                    <a:pt x="105260" y="123031"/>
                  </a:moveTo>
                  <a:cubicBezTo>
                    <a:pt x="105260" y="127132"/>
                    <a:pt x="102526" y="129866"/>
                    <a:pt x="98425" y="129866"/>
                  </a:cubicBezTo>
                  <a:lnTo>
                    <a:pt x="19138" y="129866"/>
                  </a:lnTo>
                  <a:cubicBezTo>
                    <a:pt x="15037" y="129866"/>
                    <a:pt x="12303" y="127132"/>
                    <a:pt x="12303" y="123031"/>
                  </a:cubicBezTo>
                  <a:lnTo>
                    <a:pt x="12303" y="120297"/>
                  </a:lnTo>
                  <a:cubicBezTo>
                    <a:pt x="12303" y="99792"/>
                    <a:pt x="28707" y="83388"/>
                    <a:pt x="49213" y="83388"/>
                  </a:cubicBezTo>
                  <a:lnTo>
                    <a:pt x="66984" y="83388"/>
                  </a:lnTo>
                  <a:cubicBezTo>
                    <a:pt x="87489" y="83388"/>
                    <a:pt x="103893" y="99792"/>
                    <a:pt x="103893" y="120297"/>
                  </a:cubicBezTo>
                  <a:lnTo>
                    <a:pt x="103893" y="123031"/>
                  </a:lnTo>
                  <a:close/>
                </a:path>
              </a:pathLst>
            </a:custGeom>
            <a:solidFill>
              <a:srgbClr val="231F20"/>
            </a:solidFill>
            <a:ln w="13494" cap="flat">
              <a:noFill/>
              <a:prstDash val="solid"/>
              <a:miter/>
            </a:ln>
          </p:spPr>
          <p:txBody>
            <a:bodyPr rtlCol="0" anchor="ctr"/>
            <a:lstStyle/>
            <a:p>
              <a:endParaRPr lang="de-DE"/>
            </a:p>
          </p:txBody>
        </p:sp>
      </p:grpSp>
      <p:grpSp>
        <p:nvGrpSpPr>
          <p:cNvPr id="2386" name="Graphic 3">
            <a:extLst>
              <a:ext uri="{FF2B5EF4-FFF2-40B4-BE49-F238E27FC236}">
                <a16:creationId xmlns:a16="http://schemas.microsoft.com/office/drawing/2014/main" id="{AAFBDE25-85F4-4DFF-93CD-0048D1F66424}"/>
              </a:ext>
              <a:ext uri="{C183D7F6-B498-43B3-948B-1728B52AA6E4}">
                <adec:decorative xmlns:adec="http://schemas.microsoft.com/office/drawing/2017/decorative" val="1"/>
              </a:ext>
            </a:extLst>
          </p:cNvPr>
          <p:cNvGrpSpPr>
            <a:grpSpLocks noChangeAspect="1"/>
          </p:cNvGrpSpPr>
          <p:nvPr/>
        </p:nvGrpSpPr>
        <p:grpSpPr>
          <a:xfrm>
            <a:off x="2774073" y="4504121"/>
            <a:ext cx="125533" cy="129862"/>
            <a:chOff x="5953598" y="3281362"/>
            <a:chExt cx="276225" cy="285750"/>
          </a:xfrm>
          <a:solidFill>
            <a:srgbClr val="000000"/>
          </a:solidFill>
        </p:grpSpPr>
        <p:sp>
          <p:nvSpPr>
            <p:cNvPr id="2387" name="Freeform: Shape 2386">
              <a:extLst>
                <a:ext uri="{FF2B5EF4-FFF2-40B4-BE49-F238E27FC236}">
                  <a16:creationId xmlns:a16="http://schemas.microsoft.com/office/drawing/2014/main" id="{325F2DEF-751C-409D-8A4F-48B5845EE3B6}"/>
                </a:ext>
              </a:extLst>
            </p:cNvPr>
            <p:cNvSpPr/>
            <p:nvPr/>
          </p:nvSpPr>
          <p:spPr>
            <a:xfrm>
              <a:off x="5953598" y="3354347"/>
              <a:ext cx="238125" cy="219075"/>
            </a:xfrm>
            <a:custGeom>
              <a:avLst/>
              <a:gdLst>
                <a:gd name="connsiteX0" fmla="*/ 234794 w 238125"/>
                <a:gd name="connsiteY0" fmla="*/ 64175 h 219075"/>
                <a:gd name="connsiteX1" fmla="*/ 228127 w 238125"/>
                <a:gd name="connsiteY1" fmla="*/ 62270 h 219075"/>
                <a:gd name="connsiteX2" fmla="*/ 230032 w 238125"/>
                <a:gd name="connsiteY2" fmla="*/ 58460 h 219075"/>
                <a:gd name="connsiteX3" fmla="*/ 231937 w 238125"/>
                <a:gd name="connsiteY3" fmla="*/ 46077 h 219075"/>
                <a:gd name="connsiteX4" fmla="*/ 224317 w 238125"/>
                <a:gd name="connsiteY4" fmla="*/ 36552 h 219075"/>
                <a:gd name="connsiteX5" fmla="*/ 217649 w 238125"/>
                <a:gd name="connsiteY5" fmla="*/ 34647 h 219075"/>
                <a:gd name="connsiteX6" fmla="*/ 218602 w 238125"/>
                <a:gd name="connsiteY6" fmla="*/ 23217 h 219075"/>
                <a:gd name="connsiteX7" fmla="*/ 210982 w 238125"/>
                <a:gd name="connsiteY7" fmla="*/ 13692 h 219075"/>
                <a:gd name="connsiteX8" fmla="*/ 198599 w 238125"/>
                <a:gd name="connsiteY8" fmla="*/ 11787 h 219075"/>
                <a:gd name="connsiteX9" fmla="*/ 189074 w 238125"/>
                <a:gd name="connsiteY9" fmla="*/ 19407 h 219075"/>
                <a:gd name="connsiteX10" fmla="*/ 187169 w 238125"/>
                <a:gd name="connsiteY10" fmla="*/ 23217 h 219075"/>
                <a:gd name="connsiteX11" fmla="*/ 182407 w 238125"/>
                <a:gd name="connsiteY11" fmla="*/ 18455 h 219075"/>
                <a:gd name="connsiteX12" fmla="*/ 160499 w 238125"/>
                <a:gd name="connsiteY12" fmla="*/ 24170 h 219075"/>
                <a:gd name="connsiteX13" fmla="*/ 158594 w 238125"/>
                <a:gd name="connsiteY13" fmla="*/ 27027 h 219075"/>
                <a:gd name="connsiteX14" fmla="*/ 78584 w 238125"/>
                <a:gd name="connsiteY14" fmla="*/ 50840 h 219075"/>
                <a:gd name="connsiteX15" fmla="*/ 76679 w 238125"/>
                <a:gd name="connsiteY15" fmla="*/ 51792 h 219075"/>
                <a:gd name="connsiteX16" fmla="*/ 80489 w 238125"/>
                <a:gd name="connsiteY16" fmla="*/ 42267 h 219075"/>
                <a:gd name="connsiteX17" fmla="*/ 103349 w 238125"/>
                <a:gd name="connsiteY17" fmla="*/ 22265 h 219075"/>
                <a:gd name="connsiteX18" fmla="*/ 107159 w 238125"/>
                <a:gd name="connsiteY18" fmla="*/ 7025 h 219075"/>
                <a:gd name="connsiteX19" fmla="*/ 97634 w 238125"/>
                <a:gd name="connsiteY19" fmla="*/ 357 h 219075"/>
                <a:gd name="connsiteX20" fmla="*/ 86204 w 238125"/>
                <a:gd name="connsiteY20" fmla="*/ 3215 h 219075"/>
                <a:gd name="connsiteX21" fmla="*/ 21434 w 238125"/>
                <a:gd name="connsiteY21" fmla="*/ 59412 h 219075"/>
                <a:gd name="connsiteX22" fmla="*/ 2384 w 238125"/>
                <a:gd name="connsiteY22" fmla="*/ 120372 h 219075"/>
                <a:gd name="connsiteX23" fmla="*/ 56677 w 238125"/>
                <a:gd name="connsiteY23" fmla="*/ 161330 h 219075"/>
                <a:gd name="connsiteX24" fmla="*/ 73822 w 238125"/>
                <a:gd name="connsiteY24" fmla="*/ 159425 h 219075"/>
                <a:gd name="connsiteX25" fmla="*/ 71917 w 238125"/>
                <a:gd name="connsiteY25" fmla="*/ 149900 h 219075"/>
                <a:gd name="connsiteX26" fmla="*/ 11909 w 238125"/>
                <a:gd name="connsiteY26" fmla="*/ 117515 h 219075"/>
                <a:gd name="connsiteX27" fmla="*/ 28102 w 238125"/>
                <a:gd name="connsiteY27" fmla="*/ 67032 h 219075"/>
                <a:gd name="connsiteX28" fmla="*/ 92872 w 238125"/>
                <a:gd name="connsiteY28" fmla="*/ 10835 h 219075"/>
                <a:gd name="connsiteX29" fmla="*/ 94777 w 238125"/>
                <a:gd name="connsiteY29" fmla="*/ 9882 h 219075"/>
                <a:gd name="connsiteX30" fmla="*/ 97634 w 238125"/>
                <a:gd name="connsiteY30" fmla="*/ 11787 h 219075"/>
                <a:gd name="connsiteX31" fmla="*/ 96682 w 238125"/>
                <a:gd name="connsiteY31" fmla="*/ 15597 h 219075"/>
                <a:gd name="connsiteX32" fmla="*/ 73822 w 238125"/>
                <a:gd name="connsiteY32" fmla="*/ 35600 h 219075"/>
                <a:gd name="connsiteX33" fmla="*/ 70012 w 238125"/>
                <a:gd name="connsiteY33" fmla="*/ 60365 h 219075"/>
                <a:gd name="connsiteX34" fmla="*/ 70012 w 238125"/>
                <a:gd name="connsiteY34" fmla="*/ 61317 h 219075"/>
                <a:gd name="connsiteX35" fmla="*/ 70012 w 238125"/>
                <a:gd name="connsiteY35" fmla="*/ 68937 h 219075"/>
                <a:gd name="connsiteX36" fmla="*/ 61439 w 238125"/>
                <a:gd name="connsiteY36" fmla="*/ 93702 h 219075"/>
                <a:gd name="connsiteX37" fmla="*/ 38579 w 238125"/>
                <a:gd name="connsiteY37" fmla="*/ 99417 h 219075"/>
                <a:gd name="connsiteX38" fmla="*/ 36674 w 238125"/>
                <a:gd name="connsiteY38" fmla="*/ 108942 h 219075"/>
                <a:gd name="connsiteX39" fmla="*/ 68107 w 238125"/>
                <a:gd name="connsiteY39" fmla="*/ 101322 h 219075"/>
                <a:gd name="connsiteX40" fmla="*/ 79537 w 238125"/>
                <a:gd name="connsiteY40" fmla="*/ 67985 h 219075"/>
                <a:gd name="connsiteX41" fmla="*/ 79537 w 238125"/>
                <a:gd name="connsiteY41" fmla="*/ 63222 h 219075"/>
                <a:gd name="connsiteX42" fmla="*/ 82394 w 238125"/>
                <a:gd name="connsiteY42" fmla="*/ 60365 h 219075"/>
                <a:gd name="connsiteX43" fmla="*/ 153832 w 238125"/>
                <a:gd name="connsiteY43" fmla="*/ 39410 h 219075"/>
                <a:gd name="connsiteX44" fmla="*/ 118589 w 238125"/>
                <a:gd name="connsiteY44" fmla="*/ 102275 h 219075"/>
                <a:gd name="connsiteX45" fmla="*/ 107159 w 238125"/>
                <a:gd name="connsiteY45" fmla="*/ 121325 h 219075"/>
                <a:gd name="connsiteX46" fmla="*/ 111922 w 238125"/>
                <a:gd name="connsiteY46" fmla="*/ 73700 h 219075"/>
                <a:gd name="connsiteX47" fmla="*/ 104302 w 238125"/>
                <a:gd name="connsiteY47" fmla="*/ 59412 h 219075"/>
                <a:gd name="connsiteX48" fmla="*/ 92872 w 238125"/>
                <a:gd name="connsiteY48" fmla="*/ 60365 h 219075"/>
                <a:gd name="connsiteX49" fmla="*/ 87157 w 238125"/>
                <a:gd name="connsiteY49" fmla="*/ 69890 h 219075"/>
                <a:gd name="connsiteX50" fmla="*/ 76679 w 238125"/>
                <a:gd name="connsiteY50" fmla="*/ 155615 h 219075"/>
                <a:gd name="connsiteX51" fmla="*/ 76679 w 238125"/>
                <a:gd name="connsiteY51" fmla="*/ 156567 h 219075"/>
                <a:gd name="connsiteX52" fmla="*/ 104302 w 238125"/>
                <a:gd name="connsiteY52" fmla="*/ 213717 h 219075"/>
                <a:gd name="connsiteX53" fmla="*/ 132877 w 238125"/>
                <a:gd name="connsiteY53" fmla="*/ 221337 h 219075"/>
                <a:gd name="connsiteX54" fmla="*/ 147164 w 238125"/>
                <a:gd name="connsiteY54" fmla="*/ 219432 h 219075"/>
                <a:gd name="connsiteX55" fmla="*/ 182407 w 238125"/>
                <a:gd name="connsiteY55" fmla="*/ 192762 h 219075"/>
                <a:gd name="connsiteX56" fmla="*/ 241462 w 238125"/>
                <a:gd name="connsiteY56" fmla="*/ 85130 h 219075"/>
                <a:gd name="connsiteX57" fmla="*/ 243367 w 238125"/>
                <a:gd name="connsiteY57" fmla="*/ 72747 h 219075"/>
                <a:gd name="connsiteX58" fmla="*/ 234794 w 238125"/>
                <a:gd name="connsiteY58" fmla="*/ 64175 h 219075"/>
                <a:gd name="connsiteX59" fmla="*/ 232889 w 238125"/>
                <a:gd name="connsiteY59" fmla="*/ 81320 h 219075"/>
                <a:gd name="connsiteX60" fmla="*/ 173834 w 238125"/>
                <a:gd name="connsiteY60" fmla="*/ 188952 h 219075"/>
                <a:gd name="connsiteX61" fmla="*/ 144307 w 238125"/>
                <a:gd name="connsiteY61" fmla="*/ 210860 h 219075"/>
                <a:gd name="connsiteX62" fmla="*/ 108112 w 238125"/>
                <a:gd name="connsiteY62" fmla="*/ 206097 h 219075"/>
                <a:gd name="connsiteX63" fmla="*/ 85252 w 238125"/>
                <a:gd name="connsiteY63" fmla="*/ 158472 h 219075"/>
                <a:gd name="connsiteX64" fmla="*/ 85252 w 238125"/>
                <a:gd name="connsiteY64" fmla="*/ 157520 h 219075"/>
                <a:gd name="connsiteX65" fmla="*/ 85252 w 238125"/>
                <a:gd name="connsiteY65" fmla="*/ 157520 h 219075"/>
                <a:gd name="connsiteX66" fmla="*/ 93824 w 238125"/>
                <a:gd name="connsiteY66" fmla="*/ 72747 h 219075"/>
                <a:gd name="connsiteX67" fmla="*/ 95729 w 238125"/>
                <a:gd name="connsiteY67" fmla="*/ 69890 h 219075"/>
                <a:gd name="connsiteX68" fmla="*/ 98587 w 238125"/>
                <a:gd name="connsiteY68" fmla="*/ 69890 h 219075"/>
                <a:gd name="connsiteX69" fmla="*/ 100492 w 238125"/>
                <a:gd name="connsiteY69" fmla="*/ 73700 h 219075"/>
                <a:gd name="connsiteX70" fmla="*/ 95729 w 238125"/>
                <a:gd name="connsiteY70" fmla="*/ 123230 h 219075"/>
                <a:gd name="connsiteX71" fmla="*/ 95729 w 238125"/>
                <a:gd name="connsiteY71" fmla="*/ 124182 h 219075"/>
                <a:gd name="connsiteX72" fmla="*/ 95729 w 238125"/>
                <a:gd name="connsiteY72" fmla="*/ 126087 h 219075"/>
                <a:gd name="connsiteX73" fmla="*/ 97634 w 238125"/>
                <a:gd name="connsiteY73" fmla="*/ 128945 h 219075"/>
                <a:gd name="connsiteX74" fmla="*/ 98587 w 238125"/>
                <a:gd name="connsiteY74" fmla="*/ 129897 h 219075"/>
                <a:gd name="connsiteX75" fmla="*/ 99539 w 238125"/>
                <a:gd name="connsiteY75" fmla="*/ 130850 h 219075"/>
                <a:gd name="connsiteX76" fmla="*/ 101444 w 238125"/>
                <a:gd name="connsiteY76" fmla="*/ 131802 h 219075"/>
                <a:gd name="connsiteX77" fmla="*/ 103349 w 238125"/>
                <a:gd name="connsiteY77" fmla="*/ 132755 h 219075"/>
                <a:gd name="connsiteX78" fmla="*/ 103349 w 238125"/>
                <a:gd name="connsiteY78" fmla="*/ 132755 h 219075"/>
                <a:gd name="connsiteX79" fmla="*/ 106207 w 238125"/>
                <a:gd name="connsiteY79" fmla="*/ 132755 h 219075"/>
                <a:gd name="connsiteX80" fmla="*/ 109064 w 238125"/>
                <a:gd name="connsiteY80" fmla="*/ 131802 h 219075"/>
                <a:gd name="connsiteX81" fmla="*/ 110017 w 238125"/>
                <a:gd name="connsiteY81" fmla="*/ 130850 h 219075"/>
                <a:gd name="connsiteX82" fmla="*/ 111922 w 238125"/>
                <a:gd name="connsiteY82" fmla="*/ 128945 h 219075"/>
                <a:gd name="connsiteX83" fmla="*/ 124304 w 238125"/>
                <a:gd name="connsiteY83" fmla="*/ 107990 h 219075"/>
                <a:gd name="connsiteX84" fmla="*/ 167167 w 238125"/>
                <a:gd name="connsiteY84" fmla="*/ 29885 h 219075"/>
                <a:gd name="connsiteX85" fmla="*/ 175739 w 238125"/>
                <a:gd name="connsiteY85" fmla="*/ 27027 h 219075"/>
                <a:gd name="connsiteX86" fmla="*/ 178597 w 238125"/>
                <a:gd name="connsiteY86" fmla="*/ 30837 h 219075"/>
                <a:gd name="connsiteX87" fmla="*/ 177644 w 238125"/>
                <a:gd name="connsiteY87" fmla="*/ 35600 h 219075"/>
                <a:gd name="connsiteX88" fmla="*/ 177644 w 238125"/>
                <a:gd name="connsiteY88" fmla="*/ 35600 h 219075"/>
                <a:gd name="connsiteX89" fmla="*/ 146212 w 238125"/>
                <a:gd name="connsiteY89" fmla="*/ 98465 h 219075"/>
                <a:gd name="connsiteX90" fmla="*/ 154784 w 238125"/>
                <a:gd name="connsiteY90" fmla="*/ 103227 h 219075"/>
                <a:gd name="connsiteX91" fmla="*/ 198599 w 238125"/>
                <a:gd name="connsiteY91" fmla="*/ 24170 h 219075"/>
                <a:gd name="connsiteX92" fmla="*/ 202409 w 238125"/>
                <a:gd name="connsiteY92" fmla="*/ 21312 h 219075"/>
                <a:gd name="connsiteX93" fmla="*/ 207172 w 238125"/>
                <a:gd name="connsiteY93" fmla="*/ 22265 h 219075"/>
                <a:gd name="connsiteX94" fmla="*/ 210029 w 238125"/>
                <a:gd name="connsiteY94" fmla="*/ 26075 h 219075"/>
                <a:gd name="connsiteX95" fmla="*/ 209077 w 238125"/>
                <a:gd name="connsiteY95" fmla="*/ 30837 h 219075"/>
                <a:gd name="connsiteX96" fmla="*/ 203362 w 238125"/>
                <a:gd name="connsiteY96" fmla="*/ 41315 h 219075"/>
                <a:gd name="connsiteX97" fmla="*/ 203362 w 238125"/>
                <a:gd name="connsiteY97" fmla="*/ 42267 h 219075"/>
                <a:gd name="connsiteX98" fmla="*/ 166214 w 238125"/>
                <a:gd name="connsiteY98" fmla="*/ 108942 h 219075"/>
                <a:gd name="connsiteX99" fmla="*/ 166214 w 238125"/>
                <a:gd name="connsiteY99" fmla="*/ 108942 h 219075"/>
                <a:gd name="connsiteX100" fmla="*/ 166214 w 238125"/>
                <a:gd name="connsiteY100" fmla="*/ 108942 h 219075"/>
                <a:gd name="connsiteX101" fmla="*/ 166214 w 238125"/>
                <a:gd name="connsiteY101" fmla="*/ 108942 h 219075"/>
                <a:gd name="connsiteX102" fmla="*/ 170024 w 238125"/>
                <a:gd name="connsiteY102" fmla="*/ 110847 h 219075"/>
                <a:gd name="connsiteX103" fmla="*/ 173834 w 238125"/>
                <a:gd name="connsiteY103" fmla="*/ 112752 h 219075"/>
                <a:gd name="connsiteX104" fmla="*/ 210982 w 238125"/>
                <a:gd name="connsiteY104" fmla="*/ 45125 h 219075"/>
                <a:gd name="connsiteX105" fmla="*/ 214792 w 238125"/>
                <a:gd name="connsiteY105" fmla="*/ 42267 h 219075"/>
                <a:gd name="connsiteX106" fmla="*/ 219554 w 238125"/>
                <a:gd name="connsiteY106" fmla="*/ 43220 h 219075"/>
                <a:gd name="connsiteX107" fmla="*/ 222412 w 238125"/>
                <a:gd name="connsiteY107" fmla="*/ 47030 h 219075"/>
                <a:gd name="connsiteX108" fmla="*/ 221459 w 238125"/>
                <a:gd name="connsiteY108" fmla="*/ 51792 h 219075"/>
                <a:gd name="connsiteX109" fmla="*/ 211934 w 238125"/>
                <a:gd name="connsiteY109" fmla="*/ 67985 h 219075"/>
                <a:gd name="connsiteX110" fmla="*/ 210982 w 238125"/>
                <a:gd name="connsiteY110" fmla="*/ 68937 h 219075"/>
                <a:gd name="connsiteX111" fmla="*/ 183359 w 238125"/>
                <a:gd name="connsiteY111" fmla="*/ 119420 h 219075"/>
                <a:gd name="connsiteX112" fmla="*/ 191932 w 238125"/>
                <a:gd name="connsiteY112" fmla="*/ 124182 h 219075"/>
                <a:gd name="connsiteX113" fmla="*/ 219554 w 238125"/>
                <a:gd name="connsiteY113" fmla="*/ 73700 h 219075"/>
                <a:gd name="connsiteX114" fmla="*/ 228127 w 238125"/>
                <a:gd name="connsiteY114" fmla="*/ 71795 h 219075"/>
                <a:gd name="connsiteX115" fmla="*/ 230984 w 238125"/>
                <a:gd name="connsiteY115" fmla="*/ 75605 h 219075"/>
                <a:gd name="connsiteX116" fmla="*/ 232889 w 238125"/>
                <a:gd name="connsiteY116" fmla="*/ 8132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38125" h="219075">
                  <a:moveTo>
                    <a:pt x="234794" y="64175"/>
                  </a:moveTo>
                  <a:cubicBezTo>
                    <a:pt x="232889" y="63222"/>
                    <a:pt x="230984" y="62270"/>
                    <a:pt x="228127" y="62270"/>
                  </a:cubicBezTo>
                  <a:lnTo>
                    <a:pt x="230032" y="58460"/>
                  </a:lnTo>
                  <a:cubicBezTo>
                    <a:pt x="231937" y="54650"/>
                    <a:pt x="232889" y="50840"/>
                    <a:pt x="231937" y="46077"/>
                  </a:cubicBezTo>
                  <a:cubicBezTo>
                    <a:pt x="230984" y="42267"/>
                    <a:pt x="228127" y="38457"/>
                    <a:pt x="224317" y="36552"/>
                  </a:cubicBezTo>
                  <a:cubicBezTo>
                    <a:pt x="222412" y="35600"/>
                    <a:pt x="220507" y="34647"/>
                    <a:pt x="217649" y="34647"/>
                  </a:cubicBezTo>
                  <a:cubicBezTo>
                    <a:pt x="219554" y="30837"/>
                    <a:pt x="219554" y="27027"/>
                    <a:pt x="218602" y="23217"/>
                  </a:cubicBezTo>
                  <a:cubicBezTo>
                    <a:pt x="217649" y="19407"/>
                    <a:pt x="214792" y="15597"/>
                    <a:pt x="210982" y="13692"/>
                  </a:cubicBezTo>
                  <a:cubicBezTo>
                    <a:pt x="207172" y="11787"/>
                    <a:pt x="202409" y="10835"/>
                    <a:pt x="198599" y="11787"/>
                  </a:cubicBezTo>
                  <a:cubicBezTo>
                    <a:pt x="194789" y="12740"/>
                    <a:pt x="190979" y="15597"/>
                    <a:pt x="189074" y="19407"/>
                  </a:cubicBezTo>
                  <a:lnTo>
                    <a:pt x="187169" y="23217"/>
                  </a:lnTo>
                  <a:cubicBezTo>
                    <a:pt x="186217" y="21312"/>
                    <a:pt x="184312" y="19407"/>
                    <a:pt x="182407" y="18455"/>
                  </a:cubicBezTo>
                  <a:cubicBezTo>
                    <a:pt x="174787" y="13692"/>
                    <a:pt x="165262" y="16550"/>
                    <a:pt x="160499" y="24170"/>
                  </a:cubicBezTo>
                  <a:lnTo>
                    <a:pt x="158594" y="27027"/>
                  </a:lnTo>
                  <a:lnTo>
                    <a:pt x="78584" y="50840"/>
                  </a:lnTo>
                  <a:cubicBezTo>
                    <a:pt x="77632" y="50840"/>
                    <a:pt x="77632" y="50840"/>
                    <a:pt x="76679" y="51792"/>
                  </a:cubicBezTo>
                  <a:cubicBezTo>
                    <a:pt x="76679" y="48935"/>
                    <a:pt x="77632" y="45125"/>
                    <a:pt x="80489" y="42267"/>
                  </a:cubicBezTo>
                  <a:lnTo>
                    <a:pt x="103349" y="22265"/>
                  </a:lnTo>
                  <a:cubicBezTo>
                    <a:pt x="108112" y="18455"/>
                    <a:pt x="109064" y="11787"/>
                    <a:pt x="107159" y="7025"/>
                  </a:cubicBezTo>
                  <a:cubicBezTo>
                    <a:pt x="105254" y="3215"/>
                    <a:pt x="102397" y="357"/>
                    <a:pt x="97634" y="357"/>
                  </a:cubicBezTo>
                  <a:cubicBezTo>
                    <a:pt x="92872" y="-595"/>
                    <a:pt x="89062" y="357"/>
                    <a:pt x="86204" y="3215"/>
                  </a:cubicBezTo>
                  <a:lnTo>
                    <a:pt x="21434" y="59412"/>
                  </a:lnTo>
                  <a:cubicBezTo>
                    <a:pt x="3337" y="73700"/>
                    <a:pt x="-4283" y="97512"/>
                    <a:pt x="2384" y="120372"/>
                  </a:cubicBezTo>
                  <a:cubicBezTo>
                    <a:pt x="10004" y="146090"/>
                    <a:pt x="30959" y="161330"/>
                    <a:pt x="56677" y="161330"/>
                  </a:cubicBezTo>
                  <a:cubicBezTo>
                    <a:pt x="62392" y="161330"/>
                    <a:pt x="68107" y="160377"/>
                    <a:pt x="73822" y="159425"/>
                  </a:cubicBezTo>
                  <a:lnTo>
                    <a:pt x="71917" y="149900"/>
                  </a:lnTo>
                  <a:cubicBezTo>
                    <a:pt x="43342" y="156567"/>
                    <a:pt x="19529" y="144185"/>
                    <a:pt x="11909" y="117515"/>
                  </a:cubicBezTo>
                  <a:cubicBezTo>
                    <a:pt x="6194" y="98465"/>
                    <a:pt x="12862" y="78462"/>
                    <a:pt x="28102" y="67032"/>
                  </a:cubicBezTo>
                  <a:lnTo>
                    <a:pt x="92872" y="10835"/>
                  </a:lnTo>
                  <a:cubicBezTo>
                    <a:pt x="92872" y="9882"/>
                    <a:pt x="93824" y="9882"/>
                    <a:pt x="94777" y="9882"/>
                  </a:cubicBezTo>
                  <a:cubicBezTo>
                    <a:pt x="95729" y="9882"/>
                    <a:pt x="96682" y="10835"/>
                    <a:pt x="97634" y="11787"/>
                  </a:cubicBezTo>
                  <a:cubicBezTo>
                    <a:pt x="98587" y="12740"/>
                    <a:pt x="97634" y="14645"/>
                    <a:pt x="96682" y="15597"/>
                  </a:cubicBezTo>
                  <a:lnTo>
                    <a:pt x="73822" y="35600"/>
                  </a:lnTo>
                  <a:cubicBezTo>
                    <a:pt x="65249" y="43220"/>
                    <a:pt x="66202" y="54650"/>
                    <a:pt x="70012" y="60365"/>
                  </a:cubicBezTo>
                  <a:cubicBezTo>
                    <a:pt x="70012" y="60365"/>
                    <a:pt x="70012" y="60365"/>
                    <a:pt x="70012" y="61317"/>
                  </a:cubicBezTo>
                  <a:cubicBezTo>
                    <a:pt x="70012" y="64175"/>
                    <a:pt x="70012" y="66080"/>
                    <a:pt x="70012" y="68937"/>
                  </a:cubicBezTo>
                  <a:cubicBezTo>
                    <a:pt x="71917" y="77510"/>
                    <a:pt x="68107" y="87035"/>
                    <a:pt x="61439" y="93702"/>
                  </a:cubicBezTo>
                  <a:cubicBezTo>
                    <a:pt x="54772" y="99417"/>
                    <a:pt x="46199" y="101322"/>
                    <a:pt x="38579" y="99417"/>
                  </a:cubicBezTo>
                  <a:lnTo>
                    <a:pt x="36674" y="108942"/>
                  </a:lnTo>
                  <a:cubicBezTo>
                    <a:pt x="47152" y="111800"/>
                    <a:pt x="59534" y="107990"/>
                    <a:pt x="68107" y="101322"/>
                  </a:cubicBezTo>
                  <a:cubicBezTo>
                    <a:pt x="77632" y="92750"/>
                    <a:pt x="82394" y="80367"/>
                    <a:pt x="79537" y="67985"/>
                  </a:cubicBezTo>
                  <a:cubicBezTo>
                    <a:pt x="79537" y="66080"/>
                    <a:pt x="79537" y="65127"/>
                    <a:pt x="79537" y="63222"/>
                  </a:cubicBezTo>
                  <a:cubicBezTo>
                    <a:pt x="79537" y="62270"/>
                    <a:pt x="80489" y="61317"/>
                    <a:pt x="82394" y="60365"/>
                  </a:cubicBezTo>
                  <a:lnTo>
                    <a:pt x="153832" y="39410"/>
                  </a:lnTo>
                  <a:lnTo>
                    <a:pt x="118589" y="102275"/>
                  </a:lnTo>
                  <a:lnTo>
                    <a:pt x="107159" y="121325"/>
                  </a:lnTo>
                  <a:lnTo>
                    <a:pt x="111922" y="73700"/>
                  </a:lnTo>
                  <a:cubicBezTo>
                    <a:pt x="112874" y="67985"/>
                    <a:pt x="109064" y="62270"/>
                    <a:pt x="104302" y="59412"/>
                  </a:cubicBezTo>
                  <a:cubicBezTo>
                    <a:pt x="100492" y="57507"/>
                    <a:pt x="96682" y="58460"/>
                    <a:pt x="92872" y="60365"/>
                  </a:cubicBezTo>
                  <a:cubicBezTo>
                    <a:pt x="89062" y="62270"/>
                    <a:pt x="87157" y="66080"/>
                    <a:pt x="87157" y="69890"/>
                  </a:cubicBezTo>
                  <a:lnTo>
                    <a:pt x="76679" y="155615"/>
                  </a:lnTo>
                  <a:lnTo>
                    <a:pt x="76679" y="156567"/>
                  </a:lnTo>
                  <a:cubicBezTo>
                    <a:pt x="73822" y="179427"/>
                    <a:pt x="84299" y="202287"/>
                    <a:pt x="104302" y="213717"/>
                  </a:cubicBezTo>
                  <a:cubicBezTo>
                    <a:pt x="112874" y="218480"/>
                    <a:pt x="123352" y="221337"/>
                    <a:pt x="132877" y="221337"/>
                  </a:cubicBezTo>
                  <a:cubicBezTo>
                    <a:pt x="137639" y="221337"/>
                    <a:pt x="142402" y="220385"/>
                    <a:pt x="147164" y="219432"/>
                  </a:cubicBezTo>
                  <a:cubicBezTo>
                    <a:pt x="162404" y="215622"/>
                    <a:pt x="174787" y="206097"/>
                    <a:pt x="182407" y="192762"/>
                  </a:cubicBezTo>
                  <a:lnTo>
                    <a:pt x="241462" y="85130"/>
                  </a:lnTo>
                  <a:cubicBezTo>
                    <a:pt x="243367" y="81320"/>
                    <a:pt x="244319" y="77510"/>
                    <a:pt x="243367" y="72747"/>
                  </a:cubicBezTo>
                  <a:cubicBezTo>
                    <a:pt x="241462" y="69890"/>
                    <a:pt x="238604" y="66080"/>
                    <a:pt x="234794" y="64175"/>
                  </a:cubicBezTo>
                  <a:close/>
                  <a:moveTo>
                    <a:pt x="232889" y="81320"/>
                  </a:moveTo>
                  <a:lnTo>
                    <a:pt x="173834" y="188952"/>
                  </a:lnTo>
                  <a:cubicBezTo>
                    <a:pt x="167167" y="200382"/>
                    <a:pt x="156689" y="208002"/>
                    <a:pt x="144307" y="210860"/>
                  </a:cubicBezTo>
                  <a:cubicBezTo>
                    <a:pt x="131924" y="213717"/>
                    <a:pt x="119542" y="212765"/>
                    <a:pt x="108112" y="206097"/>
                  </a:cubicBezTo>
                  <a:cubicBezTo>
                    <a:pt x="90967" y="196572"/>
                    <a:pt x="82394" y="177522"/>
                    <a:pt x="85252" y="158472"/>
                  </a:cubicBezTo>
                  <a:lnTo>
                    <a:pt x="85252" y="157520"/>
                  </a:lnTo>
                  <a:lnTo>
                    <a:pt x="85252" y="157520"/>
                  </a:lnTo>
                  <a:lnTo>
                    <a:pt x="93824" y="72747"/>
                  </a:lnTo>
                  <a:cubicBezTo>
                    <a:pt x="93824" y="71795"/>
                    <a:pt x="94777" y="70842"/>
                    <a:pt x="95729" y="69890"/>
                  </a:cubicBezTo>
                  <a:cubicBezTo>
                    <a:pt x="96682" y="68937"/>
                    <a:pt x="97634" y="68937"/>
                    <a:pt x="98587" y="69890"/>
                  </a:cubicBezTo>
                  <a:cubicBezTo>
                    <a:pt x="99539" y="69890"/>
                    <a:pt x="100492" y="71795"/>
                    <a:pt x="100492" y="73700"/>
                  </a:cubicBezTo>
                  <a:lnTo>
                    <a:pt x="95729" y="123230"/>
                  </a:lnTo>
                  <a:lnTo>
                    <a:pt x="95729" y="124182"/>
                  </a:lnTo>
                  <a:cubicBezTo>
                    <a:pt x="95729" y="124182"/>
                    <a:pt x="95729" y="125135"/>
                    <a:pt x="95729" y="126087"/>
                  </a:cubicBezTo>
                  <a:lnTo>
                    <a:pt x="97634" y="128945"/>
                  </a:lnTo>
                  <a:cubicBezTo>
                    <a:pt x="98587" y="129897"/>
                    <a:pt x="98587" y="129897"/>
                    <a:pt x="98587" y="129897"/>
                  </a:cubicBezTo>
                  <a:lnTo>
                    <a:pt x="99539" y="130850"/>
                  </a:lnTo>
                  <a:lnTo>
                    <a:pt x="101444" y="131802"/>
                  </a:lnTo>
                  <a:cubicBezTo>
                    <a:pt x="102397" y="131802"/>
                    <a:pt x="102397" y="132755"/>
                    <a:pt x="103349" y="132755"/>
                  </a:cubicBezTo>
                  <a:lnTo>
                    <a:pt x="103349" y="132755"/>
                  </a:lnTo>
                  <a:lnTo>
                    <a:pt x="106207" y="132755"/>
                  </a:lnTo>
                  <a:cubicBezTo>
                    <a:pt x="107159" y="132755"/>
                    <a:pt x="108112" y="132755"/>
                    <a:pt x="109064" y="131802"/>
                  </a:cubicBezTo>
                  <a:lnTo>
                    <a:pt x="110017" y="130850"/>
                  </a:lnTo>
                  <a:cubicBezTo>
                    <a:pt x="110969" y="129897"/>
                    <a:pt x="111922" y="129897"/>
                    <a:pt x="111922" y="128945"/>
                  </a:cubicBezTo>
                  <a:lnTo>
                    <a:pt x="124304" y="107990"/>
                  </a:lnTo>
                  <a:lnTo>
                    <a:pt x="167167" y="29885"/>
                  </a:lnTo>
                  <a:cubicBezTo>
                    <a:pt x="169072" y="27027"/>
                    <a:pt x="172882" y="26075"/>
                    <a:pt x="175739" y="27027"/>
                  </a:cubicBezTo>
                  <a:cubicBezTo>
                    <a:pt x="177644" y="27980"/>
                    <a:pt x="178597" y="28932"/>
                    <a:pt x="178597" y="30837"/>
                  </a:cubicBezTo>
                  <a:cubicBezTo>
                    <a:pt x="178597" y="32742"/>
                    <a:pt x="178597" y="34647"/>
                    <a:pt x="177644" y="35600"/>
                  </a:cubicBezTo>
                  <a:lnTo>
                    <a:pt x="177644" y="35600"/>
                  </a:lnTo>
                  <a:lnTo>
                    <a:pt x="146212" y="98465"/>
                  </a:lnTo>
                  <a:lnTo>
                    <a:pt x="154784" y="103227"/>
                  </a:lnTo>
                  <a:lnTo>
                    <a:pt x="198599" y="24170"/>
                  </a:lnTo>
                  <a:cubicBezTo>
                    <a:pt x="199552" y="22265"/>
                    <a:pt x="200504" y="21312"/>
                    <a:pt x="202409" y="21312"/>
                  </a:cubicBezTo>
                  <a:cubicBezTo>
                    <a:pt x="204314" y="21312"/>
                    <a:pt x="206219" y="21312"/>
                    <a:pt x="207172" y="22265"/>
                  </a:cubicBezTo>
                  <a:cubicBezTo>
                    <a:pt x="209077" y="23217"/>
                    <a:pt x="210029" y="24170"/>
                    <a:pt x="210029" y="26075"/>
                  </a:cubicBezTo>
                  <a:cubicBezTo>
                    <a:pt x="210982" y="27980"/>
                    <a:pt x="210029" y="29885"/>
                    <a:pt x="209077" y="30837"/>
                  </a:cubicBezTo>
                  <a:lnTo>
                    <a:pt x="203362" y="41315"/>
                  </a:lnTo>
                  <a:cubicBezTo>
                    <a:pt x="203362" y="41315"/>
                    <a:pt x="203362" y="41315"/>
                    <a:pt x="203362" y="42267"/>
                  </a:cubicBezTo>
                  <a:lnTo>
                    <a:pt x="166214" y="108942"/>
                  </a:lnTo>
                  <a:lnTo>
                    <a:pt x="166214" y="108942"/>
                  </a:lnTo>
                  <a:lnTo>
                    <a:pt x="166214" y="108942"/>
                  </a:lnTo>
                  <a:lnTo>
                    <a:pt x="166214" y="108942"/>
                  </a:lnTo>
                  <a:lnTo>
                    <a:pt x="170024" y="110847"/>
                  </a:lnTo>
                  <a:lnTo>
                    <a:pt x="173834" y="112752"/>
                  </a:lnTo>
                  <a:lnTo>
                    <a:pt x="210982" y="45125"/>
                  </a:lnTo>
                  <a:cubicBezTo>
                    <a:pt x="211934" y="44172"/>
                    <a:pt x="212887" y="43220"/>
                    <a:pt x="214792" y="42267"/>
                  </a:cubicBezTo>
                  <a:cubicBezTo>
                    <a:pt x="216697" y="42267"/>
                    <a:pt x="218602" y="42267"/>
                    <a:pt x="219554" y="43220"/>
                  </a:cubicBezTo>
                  <a:cubicBezTo>
                    <a:pt x="221459" y="44172"/>
                    <a:pt x="222412" y="45125"/>
                    <a:pt x="222412" y="47030"/>
                  </a:cubicBezTo>
                  <a:cubicBezTo>
                    <a:pt x="222412" y="48935"/>
                    <a:pt x="222412" y="50840"/>
                    <a:pt x="221459" y="51792"/>
                  </a:cubicBezTo>
                  <a:lnTo>
                    <a:pt x="211934" y="67985"/>
                  </a:lnTo>
                  <a:cubicBezTo>
                    <a:pt x="211934" y="67985"/>
                    <a:pt x="211934" y="68937"/>
                    <a:pt x="210982" y="68937"/>
                  </a:cubicBezTo>
                  <a:lnTo>
                    <a:pt x="183359" y="119420"/>
                  </a:lnTo>
                  <a:lnTo>
                    <a:pt x="191932" y="124182"/>
                  </a:lnTo>
                  <a:lnTo>
                    <a:pt x="219554" y="73700"/>
                  </a:lnTo>
                  <a:cubicBezTo>
                    <a:pt x="221459" y="70842"/>
                    <a:pt x="225269" y="69890"/>
                    <a:pt x="228127" y="71795"/>
                  </a:cubicBezTo>
                  <a:cubicBezTo>
                    <a:pt x="230032" y="72747"/>
                    <a:pt x="230984" y="73700"/>
                    <a:pt x="230984" y="75605"/>
                  </a:cubicBezTo>
                  <a:cubicBezTo>
                    <a:pt x="233842" y="78462"/>
                    <a:pt x="233842" y="80367"/>
                    <a:pt x="232889" y="81320"/>
                  </a:cubicBezTo>
                  <a:close/>
                </a:path>
              </a:pathLst>
            </a:custGeom>
            <a:solidFill>
              <a:srgbClr val="000000"/>
            </a:solidFill>
            <a:ln w="9525" cap="flat">
              <a:noFill/>
              <a:prstDash val="solid"/>
              <a:miter/>
            </a:ln>
          </p:spPr>
          <p:txBody>
            <a:bodyPr rtlCol="0" anchor="ctr"/>
            <a:lstStyle/>
            <a:p>
              <a:endParaRPr lang="de-DE"/>
            </a:p>
          </p:txBody>
        </p:sp>
        <p:sp>
          <p:nvSpPr>
            <p:cNvPr id="2388" name="Freeform: Shape 2387">
              <a:extLst>
                <a:ext uri="{FF2B5EF4-FFF2-40B4-BE49-F238E27FC236}">
                  <a16:creationId xmlns:a16="http://schemas.microsoft.com/office/drawing/2014/main" id="{310519D7-45EC-437D-B449-F938CC92B424}"/>
                </a:ext>
              </a:extLst>
            </p:cNvPr>
            <p:cNvSpPr/>
            <p:nvPr/>
          </p:nvSpPr>
          <p:spPr>
            <a:xfrm>
              <a:off x="6199822" y="3418522"/>
              <a:ext cx="28575" cy="28575"/>
            </a:xfrm>
            <a:custGeom>
              <a:avLst/>
              <a:gdLst>
                <a:gd name="connsiteX0" fmla="*/ 18097 w 28575"/>
                <a:gd name="connsiteY0" fmla="*/ 0 h 28575"/>
                <a:gd name="connsiteX1" fmla="*/ 0 w 28575"/>
                <a:gd name="connsiteY1" fmla="*/ 18097 h 28575"/>
                <a:gd name="connsiteX2" fmla="*/ 18097 w 28575"/>
                <a:gd name="connsiteY2" fmla="*/ 36195 h 28575"/>
                <a:gd name="connsiteX3" fmla="*/ 36195 w 28575"/>
                <a:gd name="connsiteY3" fmla="*/ 18097 h 28575"/>
                <a:gd name="connsiteX4" fmla="*/ 18097 w 28575"/>
                <a:gd name="connsiteY4" fmla="*/ 0 h 28575"/>
                <a:gd name="connsiteX5" fmla="*/ 18097 w 28575"/>
                <a:gd name="connsiteY5" fmla="*/ 25718 h 28575"/>
                <a:gd name="connsiteX6" fmla="*/ 9525 w 28575"/>
                <a:gd name="connsiteY6" fmla="*/ 17145 h 28575"/>
                <a:gd name="connsiteX7" fmla="*/ 18097 w 28575"/>
                <a:gd name="connsiteY7" fmla="*/ 8573 h 28575"/>
                <a:gd name="connsiteX8" fmla="*/ 26670 w 28575"/>
                <a:gd name="connsiteY8" fmla="*/ 17145 h 28575"/>
                <a:gd name="connsiteX9" fmla="*/ 18097 w 28575"/>
                <a:gd name="connsiteY9" fmla="*/ 2571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28575">
                  <a:moveTo>
                    <a:pt x="18097" y="0"/>
                  </a:moveTo>
                  <a:cubicBezTo>
                    <a:pt x="8572" y="0"/>
                    <a:pt x="0" y="7620"/>
                    <a:pt x="0" y="18097"/>
                  </a:cubicBezTo>
                  <a:cubicBezTo>
                    <a:pt x="0" y="28575"/>
                    <a:pt x="7620" y="36195"/>
                    <a:pt x="18097" y="36195"/>
                  </a:cubicBezTo>
                  <a:cubicBezTo>
                    <a:pt x="27622" y="36195"/>
                    <a:pt x="36195" y="28575"/>
                    <a:pt x="36195" y="18097"/>
                  </a:cubicBezTo>
                  <a:cubicBezTo>
                    <a:pt x="36195" y="7620"/>
                    <a:pt x="27622" y="0"/>
                    <a:pt x="18097" y="0"/>
                  </a:cubicBezTo>
                  <a:close/>
                  <a:moveTo>
                    <a:pt x="18097" y="25718"/>
                  </a:moveTo>
                  <a:cubicBezTo>
                    <a:pt x="13335" y="25718"/>
                    <a:pt x="9525" y="21908"/>
                    <a:pt x="9525" y="17145"/>
                  </a:cubicBezTo>
                  <a:cubicBezTo>
                    <a:pt x="9525" y="12383"/>
                    <a:pt x="13335" y="8573"/>
                    <a:pt x="18097" y="8573"/>
                  </a:cubicBezTo>
                  <a:cubicBezTo>
                    <a:pt x="22860" y="8573"/>
                    <a:pt x="26670" y="12383"/>
                    <a:pt x="26670" y="17145"/>
                  </a:cubicBezTo>
                  <a:cubicBezTo>
                    <a:pt x="25718" y="21908"/>
                    <a:pt x="21908" y="25718"/>
                    <a:pt x="18097" y="25718"/>
                  </a:cubicBezTo>
                  <a:close/>
                </a:path>
              </a:pathLst>
            </a:custGeom>
            <a:solidFill>
              <a:srgbClr val="000000"/>
            </a:solidFill>
            <a:ln w="9525" cap="flat">
              <a:noFill/>
              <a:prstDash val="solid"/>
              <a:miter/>
            </a:ln>
          </p:spPr>
          <p:txBody>
            <a:bodyPr rtlCol="0" anchor="ctr"/>
            <a:lstStyle/>
            <a:p>
              <a:endParaRPr lang="de-DE"/>
            </a:p>
          </p:txBody>
        </p:sp>
        <p:sp>
          <p:nvSpPr>
            <p:cNvPr id="2389" name="Freeform: Shape 2388">
              <a:extLst>
                <a:ext uri="{FF2B5EF4-FFF2-40B4-BE49-F238E27FC236}">
                  <a16:creationId xmlns:a16="http://schemas.microsoft.com/office/drawing/2014/main" id="{389C4E2E-791B-4D3E-AB8D-E091059D86A7}"/>
                </a:ext>
              </a:extLst>
            </p:cNvPr>
            <p:cNvSpPr/>
            <p:nvPr/>
          </p:nvSpPr>
          <p:spPr>
            <a:xfrm>
              <a:off x="6078855" y="3308985"/>
              <a:ext cx="47625" cy="47625"/>
            </a:xfrm>
            <a:custGeom>
              <a:avLst/>
              <a:gdLst>
                <a:gd name="connsiteX0" fmla="*/ 24765 w 47625"/>
                <a:gd name="connsiteY0" fmla="*/ 49530 h 47625"/>
                <a:gd name="connsiteX1" fmla="*/ 49530 w 47625"/>
                <a:gd name="connsiteY1" fmla="*/ 24765 h 47625"/>
                <a:gd name="connsiteX2" fmla="*/ 24765 w 47625"/>
                <a:gd name="connsiteY2" fmla="*/ 0 h 47625"/>
                <a:gd name="connsiteX3" fmla="*/ 0 w 47625"/>
                <a:gd name="connsiteY3" fmla="*/ 24765 h 47625"/>
                <a:gd name="connsiteX4" fmla="*/ 24765 w 47625"/>
                <a:gd name="connsiteY4" fmla="*/ 49530 h 47625"/>
                <a:gd name="connsiteX5" fmla="*/ 24765 w 47625"/>
                <a:gd name="connsiteY5" fmla="*/ 9525 h 47625"/>
                <a:gd name="connsiteX6" fmla="*/ 40005 w 47625"/>
                <a:gd name="connsiteY6" fmla="*/ 24765 h 47625"/>
                <a:gd name="connsiteX7" fmla="*/ 24765 w 47625"/>
                <a:gd name="connsiteY7" fmla="*/ 40005 h 47625"/>
                <a:gd name="connsiteX8" fmla="*/ 9525 w 47625"/>
                <a:gd name="connsiteY8" fmla="*/ 24765 h 47625"/>
                <a:gd name="connsiteX9" fmla="*/ 24765 w 47625"/>
                <a:gd name="connsiteY9" fmla="*/ 95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4765" y="49530"/>
                  </a:moveTo>
                  <a:cubicBezTo>
                    <a:pt x="38100" y="49530"/>
                    <a:pt x="49530" y="38100"/>
                    <a:pt x="49530" y="24765"/>
                  </a:cubicBezTo>
                  <a:cubicBezTo>
                    <a:pt x="49530" y="11430"/>
                    <a:pt x="38100" y="0"/>
                    <a:pt x="24765" y="0"/>
                  </a:cubicBezTo>
                  <a:cubicBezTo>
                    <a:pt x="11430" y="0"/>
                    <a:pt x="0" y="11430"/>
                    <a:pt x="0" y="24765"/>
                  </a:cubicBezTo>
                  <a:cubicBezTo>
                    <a:pt x="0" y="38100"/>
                    <a:pt x="11430" y="49530"/>
                    <a:pt x="24765" y="49530"/>
                  </a:cubicBezTo>
                  <a:close/>
                  <a:moveTo>
                    <a:pt x="24765" y="9525"/>
                  </a:moveTo>
                  <a:cubicBezTo>
                    <a:pt x="33338" y="9525"/>
                    <a:pt x="40005" y="16192"/>
                    <a:pt x="40005" y="24765"/>
                  </a:cubicBezTo>
                  <a:cubicBezTo>
                    <a:pt x="40005" y="33338"/>
                    <a:pt x="33338" y="40005"/>
                    <a:pt x="24765" y="40005"/>
                  </a:cubicBezTo>
                  <a:cubicBezTo>
                    <a:pt x="16192" y="40005"/>
                    <a:pt x="9525" y="33338"/>
                    <a:pt x="9525" y="24765"/>
                  </a:cubicBezTo>
                  <a:cubicBezTo>
                    <a:pt x="9525" y="16192"/>
                    <a:pt x="17145" y="9525"/>
                    <a:pt x="24765" y="9525"/>
                  </a:cubicBezTo>
                  <a:close/>
                </a:path>
              </a:pathLst>
            </a:custGeom>
            <a:solidFill>
              <a:srgbClr val="000000"/>
            </a:solidFill>
            <a:ln w="9525" cap="flat">
              <a:noFill/>
              <a:prstDash val="solid"/>
              <a:miter/>
            </a:ln>
          </p:spPr>
          <p:txBody>
            <a:bodyPr rtlCol="0" anchor="ctr"/>
            <a:lstStyle/>
            <a:p>
              <a:endParaRPr lang="de-DE"/>
            </a:p>
          </p:txBody>
        </p:sp>
        <p:sp>
          <p:nvSpPr>
            <p:cNvPr id="2390" name="Freeform: Shape 2389">
              <a:extLst>
                <a:ext uri="{FF2B5EF4-FFF2-40B4-BE49-F238E27FC236}">
                  <a16:creationId xmlns:a16="http://schemas.microsoft.com/office/drawing/2014/main" id="{2ED15C63-A120-4DEA-9EC8-F494E34CA23D}"/>
                </a:ext>
              </a:extLst>
            </p:cNvPr>
            <p:cNvSpPr/>
            <p:nvPr/>
          </p:nvSpPr>
          <p:spPr>
            <a:xfrm>
              <a:off x="6157913" y="3281362"/>
              <a:ext cx="28575" cy="28575"/>
            </a:xfrm>
            <a:custGeom>
              <a:avLst/>
              <a:gdLst>
                <a:gd name="connsiteX0" fmla="*/ 18097 w 28575"/>
                <a:gd name="connsiteY0" fmla="*/ 35243 h 28575"/>
                <a:gd name="connsiteX1" fmla="*/ 36195 w 28575"/>
                <a:gd name="connsiteY1" fmla="*/ 17145 h 28575"/>
                <a:gd name="connsiteX2" fmla="*/ 18097 w 28575"/>
                <a:gd name="connsiteY2" fmla="*/ 0 h 28575"/>
                <a:gd name="connsiteX3" fmla="*/ 0 w 28575"/>
                <a:gd name="connsiteY3" fmla="*/ 18098 h 28575"/>
                <a:gd name="connsiteX4" fmla="*/ 18097 w 28575"/>
                <a:gd name="connsiteY4" fmla="*/ 35243 h 28575"/>
                <a:gd name="connsiteX5" fmla="*/ 18097 w 28575"/>
                <a:gd name="connsiteY5" fmla="*/ 9525 h 28575"/>
                <a:gd name="connsiteX6" fmla="*/ 26670 w 28575"/>
                <a:gd name="connsiteY6" fmla="*/ 18098 h 28575"/>
                <a:gd name="connsiteX7" fmla="*/ 18097 w 28575"/>
                <a:gd name="connsiteY7" fmla="*/ 26670 h 28575"/>
                <a:gd name="connsiteX8" fmla="*/ 9525 w 28575"/>
                <a:gd name="connsiteY8" fmla="*/ 18098 h 28575"/>
                <a:gd name="connsiteX9" fmla="*/ 18097 w 28575"/>
                <a:gd name="connsiteY9" fmla="*/ 952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28575">
                  <a:moveTo>
                    <a:pt x="18097" y="35243"/>
                  </a:moveTo>
                  <a:cubicBezTo>
                    <a:pt x="27622" y="35243"/>
                    <a:pt x="36195" y="27623"/>
                    <a:pt x="36195" y="17145"/>
                  </a:cubicBezTo>
                  <a:cubicBezTo>
                    <a:pt x="36195" y="6668"/>
                    <a:pt x="27622" y="0"/>
                    <a:pt x="18097" y="0"/>
                  </a:cubicBezTo>
                  <a:cubicBezTo>
                    <a:pt x="8572" y="0"/>
                    <a:pt x="0" y="7620"/>
                    <a:pt x="0" y="18098"/>
                  </a:cubicBezTo>
                  <a:cubicBezTo>
                    <a:pt x="0" y="28575"/>
                    <a:pt x="8572" y="35243"/>
                    <a:pt x="18097" y="35243"/>
                  </a:cubicBezTo>
                  <a:close/>
                  <a:moveTo>
                    <a:pt x="18097" y="9525"/>
                  </a:moveTo>
                  <a:cubicBezTo>
                    <a:pt x="22860" y="9525"/>
                    <a:pt x="26670" y="13335"/>
                    <a:pt x="26670" y="18098"/>
                  </a:cubicBezTo>
                  <a:cubicBezTo>
                    <a:pt x="26670" y="22860"/>
                    <a:pt x="22860" y="26670"/>
                    <a:pt x="18097" y="26670"/>
                  </a:cubicBezTo>
                  <a:cubicBezTo>
                    <a:pt x="13335" y="26670"/>
                    <a:pt x="9525" y="22860"/>
                    <a:pt x="9525" y="18098"/>
                  </a:cubicBezTo>
                  <a:cubicBezTo>
                    <a:pt x="9525" y="13335"/>
                    <a:pt x="13335" y="9525"/>
                    <a:pt x="18097" y="9525"/>
                  </a:cubicBezTo>
                  <a:close/>
                </a:path>
              </a:pathLst>
            </a:custGeom>
            <a:solidFill>
              <a:srgbClr val="000000"/>
            </a:solidFill>
            <a:ln w="9525" cap="flat">
              <a:noFill/>
              <a:prstDash val="solid"/>
              <a:miter/>
            </a:ln>
          </p:spPr>
          <p:txBody>
            <a:bodyPr rtlCol="0" anchor="ctr"/>
            <a:lstStyle/>
            <a:p>
              <a:endParaRPr lang="de-DE"/>
            </a:p>
          </p:txBody>
        </p:sp>
        <p:sp>
          <p:nvSpPr>
            <p:cNvPr id="2391" name="Freeform: Shape 2390">
              <a:extLst>
                <a:ext uri="{FF2B5EF4-FFF2-40B4-BE49-F238E27FC236}">
                  <a16:creationId xmlns:a16="http://schemas.microsoft.com/office/drawing/2014/main" id="{B324319C-46F8-419E-9276-C7156A2EC6F0}"/>
                </a:ext>
              </a:extLst>
            </p:cNvPr>
            <p:cNvSpPr/>
            <p:nvPr/>
          </p:nvSpPr>
          <p:spPr>
            <a:xfrm>
              <a:off x="6177915" y="3339464"/>
              <a:ext cx="38100" cy="38100"/>
            </a:xfrm>
            <a:custGeom>
              <a:avLst/>
              <a:gdLst>
                <a:gd name="connsiteX0" fmla="*/ 40005 w 38100"/>
                <a:gd name="connsiteY0" fmla="*/ 20003 h 38100"/>
                <a:gd name="connsiteX1" fmla="*/ 20003 w 38100"/>
                <a:gd name="connsiteY1" fmla="*/ 0 h 38100"/>
                <a:gd name="connsiteX2" fmla="*/ 0 w 38100"/>
                <a:gd name="connsiteY2" fmla="*/ 20003 h 38100"/>
                <a:gd name="connsiteX3" fmla="*/ 20003 w 38100"/>
                <a:gd name="connsiteY3" fmla="*/ 40005 h 38100"/>
                <a:gd name="connsiteX4" fmla="*/ 40005 w 38100"/>
                <a:gd name="connsiteY4" fmla="*/ 20003 h 38100"/>
                <a:gd name="connsiteX5" fmla="*/ 20003 w 38100"/>
                <a:gd name="connsiteY5" fmla="*/ 30480 h 38100"/>
                <a:gd name="connsiteX6" fmla="*/ 9525 w 38100"/>
                <a:gd name="connsiteY6" fmla="*/ 20003 h 38100"/>
                <a:gd name="connsiteX7" fmla="*/ 20003 w 38100"/>
                <a:gd name="connsiteY7" fmla="*/ 9525 h 38100"/>
                <a:gd name="connsiteX8" fmla="*/ 30480 w 38100"/>
                <a:gd name="connsiteY8" fmla="*/ 20003 h 38100"/>
                <a:gd name="connsiteX9" fmla="*/ 20003 w 38100"/>
                <a:gd name="connsiteY9" fmla="*/ 304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40005" y="20003"/>
                  </a:moveTo>
                  <a:cubicBezTo>
                    <a:pt x="40005" y="8573"/>
                    <a:pt x="31432" y="0"/>
                    <a:pt x="20003" y="0"/>
                  </a:cubicBezTo>
                  <a:cubicBezTo>
                    <a:pt x="8572" y="0"/>
                    <a:pt x="0" y="8573"/>
                    <a:pt x="0" y="20003"/>
                  </a:cubicBezTo>
                  <a:cubicBezTo>
                    <a:pt x="0" y="31432"/>
                    <a:pt x="8572" y="40005"/>
                    <a:pt x="20003" y="40005"/>
                  </a:cubicBezTo>
                  <a:cubicBezTo>
                    <a:pt x="31432" y="40005"/>
                    <a:pt x="40005" y="30480"/>
                    <a:pt x="40005" y="20003"/>
                  </a:cubicBezTo>
                  <a:close/>
                  <a:moveTo>
                    <a:pt x="20003" y="30480"/>
                  </a:moveTo>
                  <a:cubicBezTo>
                    <a:pt x="14288" y="30480"/>
                    <a:pt x="9525" y="25718"/>
                    <a:pt x="9525" y="20003"/>
                  </a:cubicBezTo>
                  <a:cubicBezTo>
                    <a:pt x="9525" y="14288"/>
                    <a:pt x="14288" y="9525"/>
                    <a:pt x="20003" y="9525"/>
                  </a:cubicBezTo>
                  <a:cubicBezTo>
                    <a:pt x="25717" y="9525"/>
                    <a:pt x="30480" y="14288"/>
                    <a:pt x="30480" y="20003"/>
                  </a:cubicBezTo>
                  <a:cubicBezTo>
                    <a:pt x="30480" y="25718"/>
                    <a:pt x="25717" y="30480"/>
                    <a:pt x="20003" y="30480"/>
                  </a:cubicBezTo>
                  <a:close/>
                </a:path>
              </a:pathLst>
            </a:custGeom>
            <a:solidFill>
              <a:srgbClr val="000000"/>
            </a:solidFill>
            <a:ln w="9525" cap="flat">
              <a:noFill/>
              <a:prstDash val="solid"/>
              <a:miter/>
            </a:ln>
          </p:spPr>
          <p:txBody>
            <a:bodyPr rtlCol="0" anchor="ctr"/>
            <a:lstStyle/>
            <a:p>
              <a:endParaRPr lang="de-DE"/>
            </a:p>
          </p:txBody>
        </p:sp>
        <p:sp>
          <p:nvSpPr>
            <p:cNvPr id="2392" name="Freeform: Shape 2391">
              <a:extLst>
                <a:ext uri="{FF2B5EF4-FFF2-40B4-BE49-F238E27FC236}">
                  <a16:creationId xmlns:a16="http://schemas.microsoft.com/office/drawing/2014/main" id="{0C5B925E-F5A1-4660-98D0-A21DB2D3A364}"/>
                </a:ext>
              </a:extLst>
            </p:cNvPr>
            <p:cNvSpPr/>
            <p:nvPr/>
          </p:nvSpPr>
          <p:spPr>
            <a:xfrm>
              <a:off x="6020752" y="3298507"/>
              <a:ext cx="38100" cy="38100"/>
            </a:xfrm>
            <a:custGeom>
              <a:avLst/>
              <a:gdLst>
                <a:gd name="connsiteX0" fmla="*/ 19050 w 38100"/>
                <a:gd name="connsiteY0" fmla="*/ 40005 h 38100"/>
                <a:gd name="connsiteX1" fmla="*/ 39053 w 38100"/>
                <a:gd name="connsiteY1" fmla="*/ 20003 h 38100"/>
                <a:gd name="connsiteX2" fmla="*/ 19050 w 38100"/>
                <a:gd name="connsiteY2" fmla="*/ 0 h 38100"/>
                <a:gd name="connsiteX3" fmla="*/ 0 w 38100"/>
                <a:gd name="connsiteY3" fmla="*/ 20003 h 38100"/>
                <a:gd name="connsiteX4" fmla="*/ 19050 w 38100"/>
                <a:gd name="connsiteY4" fmla="*/ 40005 h 38100"/>
                <a:gd name="connsiteX5" fmla="*/ 19050 w 38100"/>
                <a:gd name="connsiteY5" fmla="*/ 9525 h 38100"/>
                <a:gd name="connsiteX6" fmla="*/ 29528 w 38100"/>
                <a:gd name="connsiteY6" fmla="*/ 20003 h 38100"/>
                <a:gd name="connsiteX7" fmla="*/ 19050 w 38100"/>
                <a:gd name="connsiteY7" fmla="*/ 30480 h 38100"/>
                <a:gd name="connsiteX8" fmla="*/ 9525 w 38100"/>
                <a:gd name="connsiteY8" fmla="*/ 20003 h 38100"/>
                <a:gd name="connsiteX9" fmla="*/ 19050 w 38100"/>
                <a:gd name="connsiteY9" fmla="*/ 952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19050" y="40005"/>
                  </a:moveTo>
                  <a:cubicBezTo>
                    <a:pt x="30480" y="40005"/>
                    <a:pt x="39053" y="31433"/>
                    <a:pt x="39053" y="20003"/>
                  </a:cubicBezTo>
                  <a:cubicBezTo>
                    <a:pt x="39053" y="8573"/>
                    <a:pt x="30480" y="0"/>
                    <a:pt x="19050" y="0"/>
                  </a:cubicBezTo>
                  <a:cubicBezTo>
                    <a:pt x="8573" y="0"/>
                    <a:pt x="0" y="8573"/>
                    <a:pt x="0" y="20003"/>
                  </a:cubicBezTo>
                  <a:cubicBezTo>
                    <a:pt x="0" y="30480"/>
                    <a:pt x="8573" y="40005"/>
                    <a:pt x="19050" y="40005"/>
                  </a:cubicBezTo>
                  <a:close/>
                  <a:moveTo>
                    <a:pt x="19050" y="9525"/>
                  </a:moveTo>
                  <a:cubicBezTo>
                    <a:pt x="24765" y="9525"/>
                    <a:pt x="29528" y="14288"/>
                    <a:pt x="29528" y="20003"/>
                  </a:cubicBezTo>
                  <a:cubicBezTo>
                    <a:pt x="29528" y="25718"/>
                    <a:pt x="24765" y="30480"/>
                    <a:pt x="19050" y="30480"/>
                  </a:cubicBezTo>
                  <a:cubicBezTo>
                    <a:pt x="13335" y="30480"/>
                    <a:pt x="9525" y="25718"/>
                    <a:pt x="9525" y="20003"/>
                  </a:cubicBezTo>
                  <a:cubicBezTo>
                    <a:pt x="9525" y="14288"/>
                    <a:pt x="13335" y="9525"/>
                    <a:pt x="19050" y="9525"/>
                  </a:cubicBezTo>
                  <a:close/>
                </a:path>
              </a:pathLst>
            </a:custGeom>
            <a:solidFill>
              <a:srgbClr val="000000"/>
            </a:solidFill>
            <a:ln w="9525" cap="flat">
              <a:noFill/>
              <a:prstDash val="solid"/>
              <a:miter/>
            </a:ln>
          </p:spPr>
          <p:txBody>
            <a:bodyPr rtlCol="0" anchor="ctr"/>
            <a:lstStyle/>
            <a:p>
              <a:endParaRPr lang="de-DE"/>
            </a:p>
          </p:txBody>
        </p:sp>
      </p:grpSp>
      <p:grpSp>
        <p:nvGrpSpPr>
          <p:cNvPr id="2393" name="Graphic 3">
            <a:extLst>
              <a:ext uri="{FF2B5EF4-FFF2-40B4-BE49-F238E27FC236}">
                <a16:creationId xmlns:a16="http://schemas.microsoft.com/office/drawing/2014/main" id="{4B3EC8E2-CCC1-4D7B-85D1-EB961F19E4EA}"/>
              </a:ext>
              <a:ext uri="{C183D7F6-B498-43B3-948B-1728B52AA6E4}">
                <adec:decorative xmlns:adec="http://schemas.microsoft.com/office/drawing/2017/decorative" val="1"/>
              </a:ext>
            </a:extLst>
          </p:cNvPr>
          <p:cNvGrpSpPr>
            <a:grpSpLocks noChangeAspect="1"/>
          </p:cNvGrpSpPr>
          <p:nvPr/>
        </p:nvGrpSpPr>
        <p:grpSpPr>
          <a:xfrm>
            <a:off x="3038815" y="4502153"/>
            <a:ext cx="133797" cy="133797"/>
            <a:chOff x="5953125" y="3287078"/>
            <a:chExt cx="285750" cy="285750"/>
          </a:xfrm>
          <a:solidFill>
            <a:srgbClr val="231F20"/>
          </a:solidFill>
        </p:grpSpPr>
        <p:sp>
          <p:nvSpPr>
            <p:cNvPr id="2394" name="Freeform: Shape 2393">
              <a:extLst>
                <a:ext uri="{FF2B5EF4-FFF2-40B4-BE49-F238E27FC236}">
                  <a16:creationId xmlns:a16="http://schemas.microsoft.com/office/drawing/2014/main" id="{CE4A24DD-83A4-4653-B41A-E6E9895CEE12}"/>
                </a:ext>
              </a:extLst>
            </p:cNvPr>
            <p:cNvSpPr/>
            <p:nvPr/>
          </p:nvSpPr>
          <p:spPr>
            <a:xfrm>
              <a:off x="5993130" y="3406523"/>
              <a:ext cx="219075" cy="104775"/>
            </a:xfrm>
            <a:custGeom>
              <a:avLst/>
              <a:gdLst>
                <a:gd name="connsiteX0" fmla="*/ 210503 w 219075"/>
                <a:gd name="connsiteY0" fmla="*/ 570 h 104775"/>
                <a:gd name="connsiteX1" fmla="*/ 203835 w 219075"/>
                <a:gd name="connsiteY1" fmla="*/ 2475 h 104775"/>
                <a:gd name="connsiteX2" fmla="*/ 205740 w 219075"/>
                <a:gd name="connsiteY2" fmla="*/ 9142 h 104775"/>
                <a:gd name="connsiteX3" fmla="*/ 212408 w 219075"/>
                <a:gd name="connsiteY3" fmla="*/ 17715 h 104775"/>
                <a:gd name="connsiteX4" fmla="*/ 209550 w 219075"/>
                <a:gd name="connsiteY4" fmla="*/ 25335 h 104775"/>
                <a:gd name="connsiteX5" fmla="*/ 97155 w 219075"/>
                <a:gd name="connsiteY5" fmla="*/ 96772 h 104775"/>
                <a:gd name="connsiteX6" fmla="*/ 65723 w 219075"/>
                <a:gd name="connsiteY6" fmla="*/ 98677 h 104775"/>
                <a:gd name="connsiteX7" fmla="*/ 62865 w 219075"/>
                <a:gd name="connsiteY7" fmla="*/ 97725 h 104775"/>
                <a:gd name="connsiteX8" fmla="*/ 14288 w 219075"/>
                <a:gd name="connsiteY8" fmla="*/ 72960 h 104775"/>
                <a:gd name="connsiteX9" fmla="*/ 9525 w 219075"/>
                <a:gd name="connsiteY9" fmla="*/ 61530 h 104775"/>
                <a:gd name="connsiteX10" fmla="*/ 4763 w 219075"/>
                <a:gd name="connsiteY10" fmla="*/ 56767 h 104775"/>
                <a:gd name="connsiteX11" fmla="*/ 0 w 219075"/>
                <a:gd name="connsiteY11" fmla="*/ 61530 h 104775"/>
                <a:gd name="connsiteX12" fmla="*/ 10478 w 219075"/>
                <a:gd name="connsiteY12" fmla="*/ 80580 h 104775"/>
                <a:gd name="connsiteX13" fmla="*/ 59055 w 219075"/>
                <a:gd name="connsiteY13" fmla="*/ 105345 h 104775"/>
                <a:gd name="connsiteX14" fmla="*/ 63818 w 219075"/>
                <a:gd name="connsiteY14" fmla="*/ 107250 h 104775"/>
                <a:gd name="connsiteX15" fmla="*/ 80963 w 219075"/>
                <a:gd name="connsiteY15" fmla="*/ 109155 h 104775"/>
                <a:gd name="connsiteX16" fmla="*/ 101918 w 219075"/>
                <a:gd name="connsiteY16" fmla="*/ 103440 h 104775"/>
                <a:gd name="connsiteX17" fmla="*/ 214313 w 219075"/>
                <a:gd name="connsiteY17" fmla="*/ 31050 h 104775"/>
                <a:gd name="connsiteX18" fmla="*/ 220980 w 219075"/>
                <a:gd name="connsiteY18" fmla="*/ 14857 h 104775"/>
                <a:gd name="connsiteX19" fmla="*/ 210503 w 219075"/>
                <a:gd name="connsiteY19" fmla="*/ 57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9075" h="104775">
                  <a:moveTo>
                    <a:pt x="210503" y="570"/>
                  </a:moveTo>
                  <a:cubicBezTo>
                    <a:pt x="208598" y="-383"/>
                    <a:pt x="205740" y="-383"/>
                    <a:pt x="203835" y="2475"/>
                  </a:cubicBezTo>
                  <a:cubicBezTo>
                    <a:pt x="201930" y="5332"/>
                    <a:pt x="202883" y="7237"/>
                    <a:pt x="205740" y="9142"/>
                  </a:cubicBezTo>
                  <a:cubicBezTo>
                    <a:pt x="209550" y="12000"/>
                    <a:pt x="212408" y="14857"/>
                    <a:pt x="212408" y="17715"/>
                  </a:cubicBezTo>
                  <a:cubicBezTo>
                    <a:pt x="212408" y="21525"/>
                    <a:pt x="209550" y="25335"/>
                    <a:pt x="209550" y="25335"/>
                  </a:cubicBezTo>
                  <a:cubicBezTo>
                    <a:pt x="208598" y="26287"/>
                    <a:pt x="110490" y="88200"/>
                    <a:pt x="97155" y="96772"/>
                  </a:cubicBezTo>
                  <a:cubicBezTo>
                    <a:pt x="89535" y="101535"/>
                    <a:pt x="76200" y="100582"/>
                    <a:pt x="65723" y="98677"/>
                  </a:cubicBezTo>
                  <a:cubicBezTo>
                    <a:pt x="64770" y="98677"/>
                    <a:pt x="63818" y="97725"/>
                    <a:pt x="62865" y="97725"/>
                  </a:cubicBezTo>
                  <a:cubicBezTo>
                    <a:pt x="43815" y="88200"/>
                    <a:pt x="19050" y="75817"/>
                    <a:pt x="14288" y="72960"/>
                  </a:cubicBezTo>
                  <a:cubicBezTo>
                    <a:pt x="11430" y="71055"/>
                    <a:pt x="9525" y="64387"/>
                    <a:pt x="9525" y="61530"/>
                  </a:cubicBezTo>
                  <a:cubicBezTo>
                    <a:pt x="9525" y="58672"/>
                    <a:pt x="6668" y="56767"/>
                    <a:pt x="4763" y="56767"/>
                  </a:cubicBezTo>
                  <a:cubicBezTo>
                    <a:pt x="1905" y="56767"/>
                    <a:pt x="0" y="59625"/>
                    <a:pt x="0" y="61530"/>
                  </a:cubicBezTo>
                  <a:cubicBezTo>
                    <a:pt x="0" y="63435"/>
                    <a:pt x="1905" y="75817"/>
                    <a:pt x="10478" y="80580"/>
                  </a:cubicBezTo>
                  <a:cubicBezTo>
                    <a:pt x="16193" y="83437"/>
                    <a:pt x="52388" y="101535"/>
                    <a:pt x="59055" y="105345"/>
                  </a:cubicBezTo>
                  <a:cubicBezTo>
                    <a:pt x="60960" y="106297"/>
                    <a:pt x="61913" y="106297"/>
                    <a:pt x="63818" y="107250"/>
                  </a:cubicBezTo>
                  <a:cubicBezTo>
                    <a:pt x="67628" y="108202"/>
                    <a:pt x="74295" y="109155"/>
                    <a:pt x="80963" y="109155"/>
                  </a:cubicBezTo>
                  <a:cubicBezTo>
                    <a:pt x="88583" y="109155"/>
                    <a:pt x="96203" y="108202"/>
                    <a:pt x="101918" y="103440"/>
                  </a:cubicBezTo>
                  <a:cubicBezTo>
                    <a:pt x="114300" y="94867"/>
                    <a:pt x="212408" y="32002"/>
                    <a:pt x="214313" y="31050"/>
                  </a:cubicBezTo>
                  <a:cubicBezTo>
                    <a:pt x="215265" y="30097"/>
                    <a:pt x="221933" y="23430"/>
                    <a:pt x="220980" y="14857"/>
                  </a:cubicBezTo>
                  <a:cubicBezTo>
                    <a:pt x="221933" y="10095"/>
                    <a:pt x="218123" y="5332"/>
                    <a:pt x="210503" y="570"/>
                  </a:cubicBezTo>
                  <a:close/>
                </a:path>
              </a:pathLst>
            </a:custGeom>
            <a:solidFill>
              <a:srgbClr val="231F20"/>
            </a:solidFill>
            <a:ln w="9525" cap="flat">
              <a:noFill/>
              <a:prstDash val="solid"/>
              <a:miter/>
            </a:ln>
          </p:spPr>
          <p:txBody>
            <a:bodyPr rtlCol="0" anchor="ctr"/>
            <a:lstStyle/>
            <a:p>
              <a:endParaRPr lang="de-DE"/>
            </a:p>
          </p:txBody>
        </p:sp>
        <p:sp>
          <p:nvSpPr>
            <p:cNvPr id="2395" name="Freeform: Shape 2394">
              <a:extLst>
                <a:ext uri="{FF2B5EF4-FFF2-40B4-BE49-F238E27FC236}">
                  <a16:creationId xmlns:a16="http://schemas.microsoft.com/office/drawing/2014/main" id="{B4DEB71B-5E74-49BC-BF7A-38DA468F12B3}"/>
                </a:ext>
              </a:extLst>
            </p:cNvPr>
            <p:cNvSpPr/>
            <p:nvPr/>
          </p:nvSpPr>
          <p:spPr>
            <a:xfrm>
              <a:off x="5970270" y="3361887"/>
              <a:ext cx="266700" cy="209550"/>
            </a:xfrm>
            <a:custGeom>
              <a:avLst/>
              <a:gdLst>
                <a:gd name="connsiteX0" fmla="*/ 268605 w 266700"/>
                <a:gd name="connsiteY0" fmla="*/ 57588 h 209550"/>
                <a:gd name="connsiteX1" fmla="*/ 268605 w 266700"/>
                <a:gd name="connsiteY1" fmla="*/ 57588 h 209550"/>
                <a:gd name="connsiteX2" fmla="*/ 254318 w 266700"/>
                <a:gd name="connsiteY2" fmla="*/ 32823 h 209550"/>
                <a:gd name="connsiteX3" fmla="*/ 193358 w 266700"/>
                <a:gd name="connsiteY3" fmla="*/ 3296 h 209550"/>
                <a:gd name="connsiteX4" fmla="*/ 145733 w 266700"/>
                <a:gd name="connsiteY4" fmla="*/ 7106 h 209550"/>
                <a:gd name="connsiteX5" fmla="*/ 108585 w 266700"/>
                <a:gd name="connsiteY5" fmla="*/ 29013 h 209550"/>
                <a:gd name="connsiteX6" fmla="*/ 83820 w 266700"/>
                <a:gd name="connsiteY6" fmla="*/ 19488 h 209550"/>
                <a:gd name="connsiteX7" fmla="*/ 45720 w 266700"/>
                <a:gd name="connsiteY7" fmla="*/ 57588 h 209550"/>
                <a:gd name="connsiteX8" fmla="*/ 46673 w 266700"/>
                <a:gd name="connsiteY8" fmla="*/ 67113 h 209550"/>
                <a:gd name="connsiteX9" fmla="*/ 12383 w 266700"/>
                <a:gd name="connsiteY9" fmla="*/ 88068 h 209550"/>
                <a:gd name="connsiteX10" fmla="*/ 0 w 266700"/>
                <a:gd name="connsiteY10" fmla="*/ 109023 h 209550"/>
                <a:gd name="connsiteX11" fmla="*/ 0 w 266700"/>
                <a:gd name="connsiteY11" fmla="*/ 155696 h 209550"/>
                <a:gd name="connsiteX12" fmla="*/ 16193 w 266700"/>
                <a:gd name="connsiteY12" fmla="*/ 178556 h 209550"/>
                <a:gd name="connsiteX13" fmla="*/ 102870 w 266700"/>
                <a:gd name="connsiteY13" fmla="*/ 213798 h 209550"/>
                <a:gd name="connsiteX14" fmla="*/ 106680 w 266700"/>
                <a:gd name="connsiteY14" fmla="*/ 213798 h 209550"/>
                <a:gd name="connsiteX15" fmla="*/ 248603 w 266700"/>
                <a:gd name="connsiteY15" fmla="*/ 129978 h 209550"/>
                <a:gd name="connsiteX16" fmla="*/ 266700 w 266700"/>
                <a:gd name="connsiteY16" fmla="*/ 94736 h 209550"/>
                <a:gd name="connsiteX17" fmla="*/ 268605 w 266700"/>
                <a:gd name="connsiteY17" fmla="*/ 57588 h 209550"/>
                <a:gd name="connsiteX18" fmla="*/ 83820 w 266700"/>
                <a:gd name="connsiteY18" fmla="*/ 29013 h 209550"/>
                <a:gd name="connsiteX19" fmla="*/ 112395 w 266700"/>
                <a:gd name="connsiteY19" fmla="*/ 57588 h 209550"/>
                <a:gd name="connsiteX20" fmla="*/ 83820 w 266700"/>
                <a:gd name="connsiteY20" fmla="*/ 86163 h 209550"/>
                <a:gd name="connsiteX21" fmla="*/ 55245 w 266700"/>
                <a:gd name="connsiteY21" fmla="*/ 57588 h 209550"/>
                <a:gd name="connsiteX22" fmla="*/ 83820 w 266700"/>
                <a:gd name="connsiteY22" fmla="*/ 29013 h 209550"/>
                <a:gd name="connsiteX23" fmla="*/ 259080 w 266700"/>
                <a:gd name="connsiteY23" fmla="*/ 56636 h 209550"/>
                <a:gd name="connsiteX24" fmla="*/ 259080 w 266700"/>
                <a:gd name="connsiteY24" fmla="*/ 95688 h 209550"/>
                <a:gd name="connsiteX25" fmla="*/ 244793 w 266700"/>
                <a:gd name="connsiteY25" fmla="*/ 122358 h 209550"/>
                <a:gd name="connsiteX26" fmla="*/ 106680 w 266700"/>
                <a:gd name="connsiteY26" fmla="*/ 205226 h 209550"/>
                <a:gd name="connsiteX27" fmla="*/ 21908 w 266700"/>
                <a:gd name="connsiteY27" fmla="*/ 171888 h 209550"/>
                <a:gd name="connsiteX28" fmla="*/ 9525 w 266700"/>
                <a:gd name="connsiteY28" fmla="*/ 155696 h 209550"/>
                <a:gd name="connsiteX29" fmla="*/ 9525 w 266700"/>
                <a:gd name="connsiteY29" fmla="*/ 109976 h 209550"/>
                <a:gd name="connsiteX30" fmla="*/ 17145 w 266700"/>
                <a:gd name="connsiteY30" fmla="*/ 97593 h 209550"/>
                <a:gd name="connsiteX31" fmla="*/ 50483 w 266700"/>
                <a:gd name="connsiteY31" fmla="*/ 76638 h 209550"/>
                <a:gd name="connsiteX32" fmla="*/ 82868 w 266700"/>
                <a:gd name="connsiteY32" fmla="*/ 95688 h 209550"/>
                <a:gd name="connsiteX33" fmla="*/ 120968 w 266700"/>
                <a:gd name="connsiteY33" fmla="*/ 57588 h 209550"/>
                <a:gd name="connsiteX34" fmla="*/ 114300 w 266700"/>
                <a:gd name="connsiteY34" fmla="*/ 36633 h 209550"/>
                <a:gd name="connsiteX35" fmla="*/ 149543 w 266700"/>
                <a:gd name="connsiteY35" fmla="*/ 14726 h 209550"/>
                <a:gd name="connsiteX36" fmla="*/ 188595 w 266700"/>
                <a:gd name="connsiteY36" fmla="*/ 11868 h 209550"/>
                <a:gd name="connsiteX37" fmla="*/ 188595 w 266700"/>
                <a:gd name="connsiteY37" fmla="*/ 11868 h 209550"/>
                <a:gd name="connsiteX38" fmla="*/ 248603 w 266700"/>
                <a:gd name="connsiteY38" fmla="*/ 41396 h 209550"/>
                <a:gd name="connsiteX39" fmla="*/ 259080 w 266700"/>
                <a:gd name="connsiteY39" fmla="*/ 56636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6700" h="209550">
                  <a:moveTo>
                    <a:pt x="268605" y="57588"/>
                  </a:moveTo>
                  <a:cubicBezTo>
                    <a:pt x="268605" y="57588"/>
                    <a:pt x="268605" y="57588"/>
                    <a:pt x="268605" y="57588"/>
                  </a:cubicBezTo>
                  <a:cubicBezTo>
                    <a:pt x="269558" y="51873"/>
                    <a:pt x="267653" y="38538"/>
                    <a:pt x="254318" y="32823"/>
                  </a:cubicBezTo>
                  <a:cubicBezTo>
                    <a:pt x="240983" y="27108"/>
                    <a:pt x="194310" y="4248"/>
                    <a:pt x="193358" y="3296"/>
                  </a:cubicBezTo>
                  <a:cubicBezTo>
                    <a:pt x="192405" y="3296"/>
                    <a:pt x="165735" y="-6229"/>
                    <a:pt x="145733" y="7106"/>
                  </a:cubicBezTo>
                  <a:lnTo>
                    <a:pt x="108585" y="29013"/>
                  </a:lnTo>
                  <a:cubicBezTo>
                    <a:pt x="101918" y="23298"/>
                    <a:pt x="93345" y="19488"/>
                    <a:pt x="83820" y="19488"/>
                  </a:cubicBezTo>
                  <a:cubicBezTo>
                    <a:pt x="62865" y="19488"/>
                    <a:pt x="45720" y="36633"/>
                    <a:pt x="45720" y="57588"/>
                  </a:cubicBezTo>
                  <a:cubicBezTo>
                    <a:pt x="45720" y="60446"/>
                    <a:pt x="46673" y="64256"/>
                    <a:pt x="46673" y="67113"/>
                  </a:cubicBezTo>
                  <a:lnTo>
                    <a:pt x="12383" y="88068"/>
                  </a:lnTo>
                  <a:cubicBezTo>
                    <a:pt x="11430" y="88068"/>
                    <a:pt x="0" y="94736"/>
                    <a:pt x="0" y="109023"/>
                  </a:cubicBezTo>
                  <a:lnTo>
                    <a:pt x="0" y="155696"/>
                  </a:lnTo>
                  <a:cubicBezTo>
                    <a:pt x="0" y="156648"/>
                    <a:pt x="2857" y="169983"/>
                    <a:pt x="16193" y="178556"/>
                  </a:cubicBezTo>
                  <a:cubicBezTo>
                    <a:pt x="33338" y="189033"/>
                    <a:pt x="74295" y="213798"/>
                    <a:pt x="102870" y="213798"/>
                  </a:cubicBezTo>
                  <a:cubicBezTo>
                    <a:pt x="103823" y="213798"/>
                    <a:pt x="105728" y="213798"/>
                    <a:pt x="106680" y="213798"/>
                  </a:cubicBezTo>
                  <a:cubicBezTo>
                    <a:pt x="137160" y="210941"/>
                    <a:pt x="244793" y="132836"/>
                    <a:pt x="248603" y="129978"/>
                  </a:cubicBezTo>
                  <a:cubicBezTo>
                    <a:pt x="249555" y="129026"/>
                    <a:pt x="267653" y="117596"/>
                    <a:pt x="266700" y="94736"/>
                  </a:cubicBezTo>
                  <a:cubicBezTo>
                    <a:pt x="267653" y="75686"/>
                    <a:pt x="268605" y="57588"/>
                    <a:pt x="268605" y="57588"/>
                  </a:cubicBezTo>
                  <a:close/>
                  <a:moveTo>
                    <a:pt x="83820" y="29013"/>
                  </a:moveTo>
                  <a:cubicBezTo>
                    <a:pt x="99060" y="29013"/>
                    <a:pt x="112395" y="41396"/>
                    <a:pt x="112395" y="57588"/>
                  </a:cubicBezTo>
                  <a:cubicBezTo>
                    <a:pt x="112395" y="72828"/>
                    <a:pt x="100013" y="86163"/>
                    <a:pt x="83820" y="86163"/>
                  </a:cubicBezTo>
                  <a:cubicBezTo>
                    <a:pt x="68580" y="86163"/>
                    <a:pt x="55245" y="73781"/>
                    <a:pt x="55245" y="57588"/>
                  </a:cubicBezTo>
                  <a:cubicBezTo>
                    <a:pt x="56198" y="41396"/>
                    <a:pt x="68580" y="29013"/>
                    <a:pt x="83820" y="29013"/>
                  </a:cubicBezTo>
                  <a:close/>
                  <a:moveTo>
                    <a:pt x="259080" y="56636"/>
                  </a:moveTo>
                  <a:cubicBezTo>
                    <a:pt x="259080" y="57588"/>
                    <a:pt x="258128" y="74733"/>
                    <a:pt x="259080" y="95688"/>
                  </a:cubicBezTo>
                  <a:cubicBezTo>
                    <a:pt x="260033" y="112833"/>
                    <a:pt x="245745" y="121406"/>
                    <a:pt x="244793" y="122358"/>
                  </a:cubicBezTo>
                  <a:cubicBezTo>
                    <a:pt x="214313" y="144266"/>
                    <a:pt x="130493" y="203321"/>
                    <a:pt x="106680" y="205226"/>
                  </a:cubicBezTo>
                  <a:cubicBezTo>
                    <a:pt x="79058" y="207131"/>
                    <a:pt x="34290" y="180461"/>
                    <a:pt x="21908" y="171888"/>
                  </a:cubicBezTo>
                  <a:cubicBezTo>
                    <a:pt x="11430" y="165221"/>
                    <a:pt x="9525" y="155696"/>
                    <a:pt x="9525" y="155696"/>
                  </a:cubicBezTo>
                  <a:lnTo>
                    <a:pt x="9525" y="109976"/>
                  </a:lnTo>
                  <a:cubicBezTo>
                    <a:pt x="9525" y="101403"/>
                    <a:pt x="17145" y="97593"/>
                    <a:pt x="17145" y="97593"/>
                  </a:cubicBezTo>
                  <a:lnTo>
                    <a:pt x="50483" y="76638"/>
                  </a:lnTo>
                  <a:cubicBezTo>
                    <a:pt x="57150" y="88068"/>
                    <a:pt x="69533" y="95688"/>
                    <a:pt x="82868" y="95688"/>
                  </a:cubicBezTo>
                  <a:cubicBezTo>
                    <a:pt x="103823" y="95688"/>
                    <a:pt x="120968" y="78543"/>
                    <a:pt x="120968" y="57588"/>
                  </a:cubicBezTo>
                  <a:cubicBezTo>
                    <a:pt x="120968" y="49968"/>
                    <a:pt x="118110" y="42348"/>
                    <a:pt x="114300" y="36633"/>
                  </a:cubicBezTo>
                  <a:lnTo>
                    <a:pt x="149543" y="14726"/>
                  </a:lnTo>
                  <a:cubicBezTo>
                    <a:pt x="165735" y="4248"/>
                    <a:pt x="188595" y="11868"/>
                    <a:pt x="188595" y="11868"/>
                  </a:cubicBezTo>
                  <a:cubicBezTo>
                    <a:pt x="188595" y="11868"/>
                    <a:pt x="188595" y="11868"/>
                    <a:pt x="188595" y="11868"/>
                  </a:cubicBezTo>
                  <a:cubicBezTo>
                    <a:pt x="189548" y="11868"/>
                    <a:pt x="236220" y="34728"/>
                    <a:pt x="248603" y="41396"/>
                  </a:cubicBezTo>
                  <a:cubicBezTo>
                    <a:pt x="260033" y="46158"/>
                    <a:pt x="259080" y="54731"/>
                    <a:pt x="259080" y="56636"/>
                  </a:cubicBezTo>
                  <a:close/>
                </a:path>
              </a:pathLst>
            </a:custGeom>
            <a:solidFill>
              <a:srgbClr val="231F20"/>
            </a:solidFill>
            <a:ln w="9525" cap="flat">
              <a:noFill/>
              <a:prstDash val="solid"/>
              <a:miter/>
            </a:ln>
          </p:spPr>
          <p:txBody>
            <a:bodyPr rtlCol="0" anchor="ctr"/>
            <a:lstStyle/>
            <a:p>
              <a:endParaRPr lang="de-DE"/>
            </a:p>
          </p:txBody>
        </p:sp>
        <p:sp>
          <p:nvSpPr>
            <p:cNvPr id="2396" name="Freeform: Shape 2395">
              <a:extLst>
                <a:ext uri="{FF2B5EF4-FFF2-40B4-BE49-F238E27FC236}">
                  <a16:creationId xmlns:a16="http://schemas.microsoft.com/office/drawing/2014/main" id="{77D536FB-04CB-452C-B439-29E6631F2E7F}"/>
                </a:ext>
              </a:extLst>
            </p:cNvPr>
            <p:cNvSpPr/>
            <p:nvPr/>
          </p:nvSpPr>
          <p:spPr>
            <a:xfrm>
              <a:off x="6024563" y="3287078"/>
              <a:ext cx="76200" cy="76200"/>
            </a:xfrm>
            <a:custGeom>
              <a:avLst/>
              <a:gdLst>
                <a:gd name="connsiteX0" fmla="*/ 40958 w 76200"/>
                <a:gd name="connsiteY0" fmla="*/ 81915 h 76200"/>
                <a:gd name="connsiteX1" fmla="*/ 81915 w 76200"/>
                <a:gd name="connsiteY1" fmla="*/ 40958 h 76200"/>
                <a:gd name="connsiteX2" fmla="*/ 40958 w 76200"/>
                <a:gd name="connsiteY2" fmla="*/ 0 h 76200"/>
                <a:gd name="connsiteX3" fmla="*/ 0 w 76200"/>
                <a:gd name="connsiteY3" fmla="*/ 40005 h 76200"/>
                <a:gd name="connsiteX4" fmla="*/ 40958 w 76200"/>
                <a:gd name="connsiteY4" fmla="*/ 81915 h 76200"/>
                <a:gd name="connsiteX5" fmla="*/ 40958 w 76200"/>
                <a:gd name="connsiteY5" fmla="*/ 8573 h 76200"/>
                <a:gd name="connsiteX6" fmla="*/ 72390 w 76200"/>
                <a:gd name="connsiteY6" fmla="*/ 40005 h 76200"/>
                <a:gd name="connsiteX7" fmla="*/ 40958 w 76200"/>
                <a:gd name="connsiteY7" fmla="*/ 71438 h 76200"/>
                <a:gd name="connsiteX8" fmla="*/ 9525 w 76200"/>
                <a:gd name="connsiteY8" fmla="*/ 40005 h 76200"/>
                <a:gd name="connsiteX9" fmla="*/ 40958 w 76200"/>
                <a:gd name="connsiteY9" fmla="*/ 857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40958" y="81915"/>
                  </a:moveTo>
                  <a:cubicBezTo>
                    <a:pt x="63818" y="81915"/>
                    <a:pt x="81915" y="63818"/>
                    <a:pt x="81915" y="40958"/>
                  </a:cubicBezTo>
                  <a:cubicBezTo>
                    <a:pt x="81915" y="18098"/>
                    <a:pt x="63818" y="0"/>
                    <a:pt x="40958" y="0"/>
                  </a:cubicBezTo>
                  <a:cubicBezTo>
                    <a:pt x="18097" y="0"/>
                    <a:pt x="0" y="17145"/>
                    <a:pt x="0" y="40005"/>
                  </a:cubicBezTo>
                  <a:cubicBezTo>
                    <a:pt x="0" y="62865"/>
                    <a:pt x="18097" y="81915"/>
                    <a:pt x="40958" y="81915"/>
                  </a:cubicBezTo>
                  <a:close/>
                  <a:moveTo>
                    <a:pt x="40958" y="8573"/>
                  </a:moveTo>
                  <a:cubicBezTo>
                    <a:pt x="58103" y="8573"/>
                    <a:pt x="72390" y="22860"/>
                    <a:pt x="72390" y="40005"/>
                  </a:cubicBezTo>
                  <a:cubicBezTo>
                    <a:pt x="72390" y="57150"/>
                    <a:pt x="58103" y="71438"/>
                    <a:pt x="40958" y="71438"/>
                  </a:cubicBezTo>
                  <a:cubicBezTo>
                    <a:pt x="23813" y="71438"/>
                    <a:pt x="9525" y="58103"/>
                    <a:pt x="9525" y="40005"/>
                  </a:cubicBezTo>
                  <a:cubicBezTo>
                    <a:pt x="9525" y="21908"/>
                    <a:pt x="23813" y="8573"/>
                    <a:pt x="40958" y="8573"/>
                  </a:cubicBezTo>
                  <a:close/>
                </a:path>
              </a:pathLst>
            </a:custGeom>
            <a:solidFill>
              <a:srgbClr val="231F20"/>
            </a:solidFill>
            <a:ln w="9525" cap="flat">
              <a:noFill/>
              <a:prstDash val="solid"/>
              <a:miter/>
            </a:ln>
          </p:spPr>
          <p:txBody>
            <a:bodyPr rtlCol="0" anchor="ctr"/>
            <a:lstStyle/>
            <a:p>
              <a:endParaRPr lang="de-DE"/>
            </a:p>
          </p:txBody>
        </p:sp>
        <p:sp>
          <p:nvSpPr>
            <p:cNvPr id="2397" name="Freeform: Shape 2396">
              <a:extLst>
                <a:ext uri="{FF2B5EF4-FFF2-40B4-BE49-F238E27FC236}">
                  <a16:creationId xmlns:a16="http://schemas.microsoft.com/office/drawing/2014/main" id="{A3C6F465-8574-4C58-A80E-98C04AB733B1}"/>
                </a:ext>
              </a:extLst>
            </p:cNvPr>
            <p:cNvSpPr/>
            <p:nvPr/>
          </p:nvSpPr>
          <p:spPr>
            <a:xfrm>
              <a:off x="5953125" y="3340417"/>
              <a:ext cx="57150" cy="57150"/>
            </a:xfrm>
            <a:custGeom>
              <a:avLst/>
              <a:gdLst>
                <a:gd name="connsiteX0" fmla="*/ 58103 w 57150"/>
                <a:gd name="connsiteY0" fmla="*/ 28575 h 57150"/>
                <a:gd name="connsiteX1" fmla="*/ 29528 w 57150"/>
                <a:gd name="connsiteY1" fmla="*/ 0 h 57150"/>
                <a:gd name="connsiteX2" fmla="*/ 0 w 57150"/>
                <a:gd name="connsiteY2" fmla="*/ 28575 h 57150"/>
                <a:gd name="connsiteX3" fmla="*/ 28575 w 57150"/>
                <a:gd name="connsiteY3" fmla="*/ 57150 h 57150"/>
                <a:gd name="connsiteX4" fmla="*/ 58103 w 57150"/>
                <a:gd name="connsiteY4" fmla="*/ 28575 h 57150"/>
                <a:gd name="connsiteX5" fmla="*/ 9525 w 57150"/>
                <a:gd name="connsiteY5" fmla="*/ 28575 h 57150"/>
                <a:gd name="connsiteX6" fmla="*/ 28575 w 57150"/>
                <a:gd name="connsiteY6" fmla="*/ 9525 h 57150"/>
                <a:gd name="connsiteX7" fmla="*/ 47625 w 57150"/>
                <a:gd name="connsiteY7" fmla="*/ 28575 h 57150"/>
                <a:gd name="connsiteX8" fmla="*/ 28575 w 57150"/>
                <a:gd name="connsiteY8" fmla="*/ 47625 h 57150"/>
                <a:gd name="connsiteX9" fmla="*/ 9525 w 57150"/>
                <a:gd name="connsiteY9" fmla="*/ 2857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58103" y="28575"/>
                  </a:moveTo>
                  <a:cubicBezTo>
                    <a:pt x="58103" y="12383"/>
                    <a:pt x="44768" y="0"/>
                    <a:pt x="29528" y="0"/>
                  </a:cubicBezTo>
                  <a:cubicBezTo>
                    <a:pt x="14288" y="0"/>
                    <a:pt x="0" y="12383"/>
                    <a:pt x="0" y="28575"/>
                  </a:cubicBezTo>
                  <a:cubicBezTo>
                    <a:pt x="0" y="44768"/>
                    <a:pt x="13335" y="57150"/>
                    <a:pt x="28575" y="57150"/>
                  </a:cubicBezTo>
                  <a:cubicBezTo>
                    <a:pt x="43815" y="57150"/>
                    <a:pt x="58103" y="44768"/>
                    <a:pt x="58103" y="28575"/>
                  </a:cubicBezTo>
                  <a:close/>
                  <a:moveTo>
                    <a:pt x="9525" y="28575"/>
                  </a:moveTo>
                  <a:cubicBezTo>
                    <a:pt x="9525" y="18098"/>
                    <a:pt x="18098" y="9525"/>
                    <a:pt x="28575" y="9525"/>
                  </a:cubicBezTo>
                  <a:cubicBezTo>
                    <a:pt x="39053" y="9525"/>
                    <a:pt x="47625" y="18098"/>
                    <a:pt x="47625" y="28575"/>
                  </a:cubicBezTo>
                  <a:cubicBezTo>
                    <a:pt x="47625" y="39053"/>
                    <a:pt x="39053" y="47625"/>
                    <a:pt x="28575" y="47625"/>
                  </a:cubicBezTo>
                  <a:cubicBezTo>
                    <a:pt x="18098" y="47625"/>
                    <a:pt x="9525" y="39053"/>
                    <a:pt x="9525" y="28575"/>
                  </a:cubicBezTo>
                  <a:close/>
                </a:path>
              </a:pathLst>
            </a:custGeom>
            <a:solidFill>
              <a:srgbClr val="231F20"/>
            </a:solidFill>
            <a:ln w="9525" cap="flat">
              <a:noFill/>
              <a:prstDash val="solid"/>
              <a:miter/>
            </a:ln>
          </p:spPr>
          <p:txBody>
            <a:bodyPr rtlCol="0" anchor="ctr"/>
            <a:lstStyle/>
            <a:p>
              <a:endParaRPr lang="de-DE"/>
            </a:p>
          </p:txBody>
        </p:sp>
      </p:grpSp>
      <p:grpSp>
        <p:nvGrpSpPr>
          <p:cNvPr id="2398" name="Graphic 3">
            <a:extLst>
              <a:ext uri="{FF2B5EF4-FFF2-40B4-BE49-F238E27FC236}">
                <a16:creationId xmlns:a16="http://schemas.microsoft.com/office/drawing/2014/main" id="{816D214E-2A8C-4283-B1C5-15494B182BA5}"/>
              </a:ext>
              <a:ext uri="{C183D7F6-B498-43B3-948B-1728B52AA6E4}">
                <adec:decorative xmlns:adec="http://schemas.microsoft.com/office/drawing/2017/decorative" val="1"/>
              </a:ext>
            </a:extLst>
          </p:cNvPr>
          <p:cNvGrpSpPr>
            <a:grpSpLocks noChangeAspect="1"/>
          </p:cNvGrpSpPr>
          <p:nvPr/>
        </p:nvGrpSpPr>
        <p:grpSpPr>
          <a:xfrm>
            <a:off x="3313977" y="4504121"/>
            <a:ext cx="81164" cy="129862"/>
            <a:chOff x="5931477" y="3183731"/>
            <a:chExt cx="307232" cy="491572"/>
          </a:xfrm>
          <a:solidFill>
            <a:srgbClr val="231F20"/>
          </a:solidFill>
        </p:grpSpPr>
        <p:sp>
          <p:nvSpPr>
            <p:cNvPr id="2399" name="Freeform: Shape 2398">
              <a:extLst>
                <a:ext uri="{FF2B5EF4-FFF2-40B4-BE49-F238E27FC236}">
                  <a16:creationId xmlns:a16="http://schemas.microsoft.com/office/drawing/2014/main" id="{FF5C76D4-1B3D-45E0-9031-CA7BA2234CDA}"/>
                </a:ext>
              </a:extLst>
            </p:cNvPr>
            <p:cNvSpPr/>
            <p:nvPr/>
          </p:nvSpPr>
          <p:spPr>
            <a:xfrm>
              <a:off x="5994460" y="3431053"/>
              <a:ext cx="153616" cy="153616"/>
            </a:xfrm>
            <a:custGeom>
              <a:avLst/>
              <a:gdLst>
                <a:gd name="connsiteX0" fmla="*/ 107531 w 153616"/>
                <a:gd name="connsiteY0" fmla="*/ 7681 h 153616"/>
                <a:gd name="connsiteX1" fmla="*/ 99851 w 153616"/>
                <a:gd name="connsiteY1" fmla="*/ 0 h 153616"/>
                <a:gd name="connsiteX2" fmla="*/ 61446 w 153616"/>
                <a:gd name="connsiteY2" fmla="*/ 0 h 153616"/>
                <a:gd name="connsiteX3" fmla="*/ 53766 w 153616"/>
                <a:gd name="connsiteY3" fmla="*/ 7681 h 153616"/>
                <a:gd name="connsiteX4" fmla="*/ 53766 w 153616"/>
                <a:gd name="connsiteY4" fmla="*/ 52230 h 153616"/>
                <a:gd name="connsiteX5" fmla="*/ 7681 w 153616"/>
                <a:gd name="connsiteY5" fmla="*/ 52230 h 153616"/>
                <a:gd name="connsiteX6" fmla="*/ 0 w 153616"/>
                <a:gd name="connsiteY6" fmla="*/ 59910 h 153616"/>
                <a:gd name="connsiteX7" fmla="*/ 0 w 153616"/>
                <a:gd name="connsiteY7" fmla="*/ 99851 h 153616"/>
                <a:gd name="connsiteX8" fmla="*/ 7681 w 153616"/>
                <a:gd name="connsiteY8" fmla="*/ 107531 h 153616"/>
                <a:gd name="connsiteX9" fmla="*/ 52230 w 153616"/>
                <a:gd name="connsiteY9" fmla="*/ 107531 h 153616"/>
                <a:gd name="connsiteX10" fmla="*/ 52230 w 153616"/>
                <a:gd name="connsiteY10" fmla="*/ 152080 h 153616"/>
                <a:gd name="connsiteX11" fmla="*/ 59910 w 153616"/>
                <a:gd name="connsiteY11" fmla="*/ 159761 h 153616"/>
                <a:gd name="connsiteX12" fmla="*/ 99851 w 153616"/>
                <a:gd name="connsiteY12" fmla="*/ 159761 h 153616"/>
                <a:gd name="connsiteX13" fmla="*/ 107531 w 153616"/>
                <a:gd name="connsiteY13" fmla="*/ 152080 h 153616"/>
                <a:gd name="connsiteX14" fmla="*/ 107531 w 153616"/>
                <a:gd name="connsiteY14" fmla="*/ 107531 h 153616"/>
                <a:gd name="connsiteX15" fmla="*/ 152080 w 153616"/>
                <a:gd name="connsiteY15" fmla="*/ 107531 h 153616"/>
                <a:gd name="connsiteX16" fmla="*/ 159761 w 153616"/>
                <a:gd name="connsiteY16" fmla="*/ 99851 h 153616"/>
                <a:gd name="connsiteX17" fmla="*/ 159761 w 153616"/>
                <a:gd name="connsiteY17" fmla="*/ 59910 h 153616"/>
                <a:gd name="connsiteX18" fmla="*/ 152080 w 153616"/>
                <a:gd name="connsiteY18" fmla="*/ 52230 h 153616"/>
                <a:gd name="connsiteX19" fmla="*/ 107531 w 153616"/>
                <a:gd name="connsiteY19" fmla="*/ 52230 h 153616"/>
                <a:gd name="connsiteX20" fmla="*/ 107531 w 153616"/>
                <a:gd name="connsiteY20" fmla="*/ 7681 h 153616"/>
                <a:gd name="connsiteX21" fmla="*/ 145935 w 153616"/>
                <a:gd name="connsiteY21" fmla="*/ 92170 h 153616"/>
                <a:gd name="connsiteX22" fmla="*/ 101387 w 153616"/>
                <a:gd name="connsiteY22" fmla="*/ 92170 h 153616"/>
                <a:gd name="connsiteX23" fmla="*/ 93706 w 153616"/>
                <a:gd name="connsiteY23" fmla="*/ 99851 h 153616"/>
                <a:gd name="connsiteX24" fmla="*/ 93706 w 153616"/>
                <a:gd name="connsiteY24" fmla="*/ 144399 h 153616"/>
                <a:gd name="connsiteX25" fmla="*/ 69127 w 153616"/>
                <a:gd name="connsiteY25" fmla="*/ 144399 h 153616"/>
                <a:gd name="connsiteX26" fmla="*/ 69127 w 153616"/>
                <a:gd name="connsiteY26" fmla="*/ 99851 h 153616"/>
                <a:gd name="connsiteX27" fmla="*/ 61446 w 153616"/>
                <a:gd name="connsiteY27" fmla="*/ 92170 h 153616"/>
                <a:gd name="connsiteX28" fmla="*/ 15362 w 153616"/>
                <a:gd name="connsiteY28" fmla="*/ 92170 h 153616"/>
                <a:gd name="connsiteX29" fmla="*/ 15362 w 153616"/>
                <a:gd name="connsiteY29" fmla="*/ 67591 h 153616"/>
                <a:gd name="connsiteX30" fmla="*/ 56838 w 153616"/>
                <a:gd name="connsiteY30" fmla="*/ 67591 h 153616"/>
                <a:gd name="connsiteX31" fmla="*/ 59910 w 153616"/>
                <a:gd name="connsiteY31" fmla="*/ 69127 h 153616"/>
                <a:gd name="connsiteX32" fmla="*/ 67591 w 153616"/>
                <a:gd name="connsiteY32" fmla="*/ 61447 h 153616"/>
                <a:gd name="connsiteX33" fmla="*/ 67591 w 153616"/>
                <a:gd name="connsiteY33" fmla="*/ 15362 h 153616"/>
                <a:gd name="connsiteX34" fmla="*/ 92170 w 153616"/>
                <a:gd name="connsiteY34" fmla="*/ 15362 h 153616"/>
                <a:gd name="connsiteX35" fmla="*/ 92170 w 153616"/>
                <a:gd name="connsiteY35" fmla="*/ 59910 h 153616"/>
                <a:gd name="connsiteX36" fmla="*/ 99851 w 153616"/>
                <a:gd name="connsiteY36" fmla="*/ 67591 h 153616"/>
                <a:gd name="connsiteX37" fmla="*/ 144399 w 153616"/>
                <a:gd name="connsiteY37" fmla="*/ 67591 h 153616"/>
                <a:gd name="connsiteX38" fmla="*/ 144399 w 153616"/>
                <a:gd name="connsiteY38" fmla="*/ 92170 h 15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616" h="153616">
                  <a:moveTo>
                    <a:pt x="107531" y="7681"/>
                  </a:moveTo>
                  <a:cubicBezTo>
                    <a:pt x="107531" y="3072"/>
                    <a:pt x="104459" y="0"/>
                    <a:pt x="99851" y="0"/>
                  </a:cubicBezTo>
                  <a:lnTo>
                    <a:pt x="61446" y="0"/>
                  </a:lnTo>
                  <a:cubicBezTo>
                    <a:pt x="56838" y="0"/>
                    <a:pt x="53766" y="3072"/>
                    <a:pt x="53766" y="7681"/>
                  </a:cubicBezTo>
                  <a:lnTo>
                    <a:pt x="53766" y="52230"/>
                  </a:lnTo>
                  <a:lnTo>
                    <a:pt x="7681" y="52230"/>
                  </a:lnTo>
                  <a:cubicBezTo>
                    <a:pt x="3072" y="52230"/>
                    <a:pt x="0" y="55302"/>
                    <a:pt x="0" y="59910"/>
                  </a:cubicBezTo>
                  <a:lnTo>
                    <a:pt x="0" y="99851"/>
                  </a:lnTo>
                  <a:cubicBezTo>
                    <a:pt x="0" y="104459"/>
                    <a:pt x="3072" y="107531"/>
                    <a:pt x="7681" y="107531"/>
                  </a:cubicBezTo>
                  <a:lnTo>
                    <a:pt x="52230" y="107531"/>
                  </a:lnTo>
                  <a:lnTo>
                    <a:pt x="52230" y="152080"/>
                  </a:lnTo>
                  <a:cubicBezTo>
                    <a:pt x="52230" y="156689"/>
                    <a:pt x="55302" y="159761"/>
                    <a:pt x="59910" y="159761"/>
                  </a:cubicBezTo>
                  <a:lnTo>
                    <a:pt x="99851" y="159761"/>
                  </a:lnTo>
                  <a:cubicBezTo>
                    <a:pt x="104459" y="159761"/>
                    <a:pt x="107531" y="156689"/>
                    <a:pt x="107531" y="152080"/>
                  </a:cubicBezTo>
                  <a:lnTo>
                    <a:pt x="107531" y="107531"/>
                  </a:lnTo>
                  <a:lnTo>
                    <a:pt x="152080" y="107531"/>
                  </a:lnTo>
                  <a:cubicBezTo>
                    <a:pt x="156689" y="107531"/>
                    <a:pt x="159761" y="104459"/>
                    <a:pt x="159761" y="99851"/>
                  </a:cubicBezTo>
                  <a:lnTo>
                    <a:pt x="159761" y="59910"/>
                  </a:lnTo>
                  <a:cubicBezTo>
                    <a:pt x="159761" y="55302"/>
                    <a:pt x="156689" y="52230"/>
                    <a:pt x="152080" y="52230"/>
                  </a:cubicBezTo>
                  <a:lnTo>
                    <a:pt x="107531" y="52230"/>
                  </a:lnTo>
                  <a:lnTo>
                    <a:pt x="107531" y="7681"/>
                  </a:lnTo>
                  <a:close/>
                  <a:moveTo>
                    <a:pt x="145935" y="92170"/>
                  </a:moveTo>
                  <a:lnTo>
                    <a:pt x="101387" y="92170"/>
                  </a:lnTo>
                  <a:cubicBezTo>
                    <a:pt x="96778" y="92170"/>
                    <a:pt x="93706" y="95242"/>
                    <a:pt x="93706" y="99851"/>
                  </a:cubicBezTo>
                  <a:lnTo>
                    <a:pt x="93706" y="144399"/>
                  </a:lnTo>
                  <a:lnTo>
                    <a:pt x="69127" y="144399"/>
                  </a:lnTo>
                  <a:lnTo>
                    <a:pt x="69127" y="99851"/>
                  </a:lnTo>
                  <a:cubicBezTo>
                    <a:pt x="69127" y="95242"/>
                    <a:pt x="66055" y="92170"/>
                    <a:pt x="61446" y="92170"/>
                  </a:cubicBezTo>
                  <a:lnTo>
                    <a:pt x="15362" y="92170"/>
                  </a:lnTo>
                  <a:lnTo>
                    <a:pt x="15362" y="67591"/>
                  </a:lnTo>
                  <a:lnTo>
                    <a:pt x="56838" y="67591"/>
                  </a:lnTo>
                  <a:cubicBezTo>
                    <a:pt x="58374" y="67591"/>
                    <a:pt x="58374" y="69127"/>
                    <a:pt x="59910" y="69127"/>
                  </a:cubicBezTo>
                  <a:cubicBezTo>
                    <a:pt x="64519" y="69127"/>
                    <a:pt x="67591" y="66055"/>
                    <a:pt x="67591" y="61447"/>
                  </a:cubicBezTo>
                  <a:lnTo>
                    <a:pt x="67591" y="15362"/>
                  </a:lnTo>
                  <a:lnTo>
                    <a:pt x="92170" y="15362"/>
                  </a:lnTo>
                  <a:lnTo>
                    <a:pt x="92170" y="59910"/>
                  </a:lnTo>
                  <a:cubicBezTo>
                    <a:pt x="92170" y="64519"/>
                    <a:pt x="95242" y="67591"/>
                    <a:pt x="99851" y="67591"/>
                  </a:cubicBezTo>
                  <a:lnTo>
                    <a:pt x="144399" y="67591"/>
                  </a:lnTo>
                  <a:lnTo>
                    <a:pt x="144399" y="92170"/>
                  </a:lnTo>
                  <a:close/>
                </a:path>
              </a:pathLst>
            </a:custGeom>
            <a:solidFill>
              <a:srgbClr val="231F20"/>
            </a:solidFill>
            <a:ln w="14968" cap="flat">
              <a:noFill/>
              <a:prstDash val="solid"/>
              <a:miter/>
            </a:ln>
          </p:spPr>
          <p:txBody>
            <a:bodyPr rtlCol="0" anchor="ctr"/>
            <a:lstStyle/>
            <a:p>
              <a:endParaRPr lang="de-DE"/>
            </a:p>
          </p:txBody>
        </p:sp>
        <p:sp>
          <p:nvSpPr>
            <p:cNvPr id="2400" name="Freeform: Shape 2399">
              <a:extLst>
                <a:ext uri="{FF2B5EF4-FFF2-40B4-BE49-F238E27FC236}">
                  <a16:creationId xmlns:a16="http://schemas.microsoft.com/office/drawing/2014/main" id="{B646C267-352C-42C2-8107-3CFE9B71AF9B}"/>
                </a:ext>
              </a:extLst>
            </p:cNvPr>
            <p:cNvSpPr/>
            <p:nvPr/>
          </p:nvSpPr>
          <p:spPr>
            <a:xfrm>
              <a:off x="5931477" y="3183731"/>
              <a:ext cx="307232" cy="491572"/>
            </a:xfrm>
            <a:custGeom>
              <a:avLst/>
              <a:gdLst>
                <a:gd name="connsiteX0" fmla="*/ 231960 w 307232"/>
                <a:gd name="connsiteY0" fmla="*/ 87561 h 491572"/>
                <a:gd name="connsiteX1" fmla="*/ 273437 w 307232"/>
                <a:gd name="connsiteY1" fmla="*/ 129038 h 491572"/>
                <a:gd name="connsiteX2" fmla="*/ 314913 w 307232"/>
                <a:gd name="connsiteY2" fmla="*/ 87561 h 491572"/>
                <a:gd name="connsiteX3" fmla="*/ 308769 w 307232"/>
                <a:gd name="connsiteY3" fmla="*/ 66055 h 491572"/>
                <a:gd name="connsiteX4" fmla="*/ 281118 w 307232"/>
                <a:gd name="connsiteY4" fmla="*/ 29187 h 491572"/>
                <a:gd name="connsiteX5" fmla="*/ 281118 w 307232"/>
                <a:gd name="connsiteY5" fmla="*/ 29187 h 491572"/>
                <a:gd name="connsiteX6" fmla="*/ 279581 w 307232"/>
                <a:gd name="connsiteY6" fmla="*/ 18434 h 491572"/>
                <a:gd name="connsiteX7" fmla="*/ 253467 w 307232"/>
                <a:gd name="connsiteY7" fmla="*/ 1536 h 491572"/>
                <a:gd name="connsiteX8" fmla="*/ 248858 w 307232"/>
                <a:gd name="connsiteY8" fmla="*/ 0 h 491572"/>
                <a:gd name="connsiteX9" fmla="*/ 167442 w 307232"/>
                <a:gd name="connsiteY9" fmla="*/ 0 h 491572"/>
                <a:gd name="connsiteX10" fmla="*/ 119821 w 307232"/>
                <a:gd name="connsiteY10" fmla="*/ 0 h 491572"/>
                <a:gd name="connsiteX11" fmla="*/ 82953 w 307232"/>
                <a:gd name="connsiteY11" fmla="*/ 0 h 491572"/>
                <a:gd name="connsiteX12" fmla="*/ 75272 w 307232"/>
                <a:gd name="connsiteY12" fmla="*/ 7681 h 491572"/>
                <a:gd name="connsiteX13" fmla="*/ 82953 w 307232"/>
                <a:gd name="connsiteY13" fmla="*/ 15362 h 491572"/>
                <a:gd name="connsiteX14" fmla="*/ 112140 w 307232"/>
                <a:gd name="connsiteY14" fmla="*/ 15362 h 491572"/>
                <a:gd name="connsiteX15" fmla="*/ 112140 w 307232"/>
                <a:gd name="connsiteY15" fmla="*/ 67591 h 491572"/>
                <a:gd name="connsiteX16" fmla="*/ 105995 w 307232"/>
                <a:gd name="connsiteY16" fmla="*/ 67591 h 491572"/>
                <a:gd name="connsiteX17" fmla="*/ 87561 w 307232"/>
                <a:gd name="connsiteY17" fmla="*/ 86025 h 491572"/>
                <a:gd name="connsiteX18" fmla="*/ 87561 w 307232"/>
                <a:gd name="connsiteY18" fmla="*/ 133646 h 491572"/>
                <a:gd name="connsiteX19" fmla="*/ 87561 w 307232"/>
                <a:gd name="connsiteY19" fmla="*/ 136718 h 491572"/>
                <a:gd name="connsiteX20" fmla="*/ 0 w 307232"/>
                <a:gd name="connsiteY20" fmla="*/ 228888 h 491572"/>
                <a:gd name="connsiteX21" fmla="*/ 0 w 307232"/>
                <a:gd name="connsiteY21" fmla="*/ 463921 h 491572"/>
                <a:gd name="connsiteX22" fmla="*/ 32259 w 307232"/>
                <a:gd name="connsiteY22" fmla="*/ 496180 h 491572"/>
                <a:gd name="connsiteX23" fmla="*/ 256539 w 307232"/>
                <a:gd name="connsiteY23" fmla="*/ 496180 h 491572"/>
                <a:gd name="connsiteX24" fmla="*/ 288798 w 307232"/>
                <a:gd name="connsiteY24" fmla="*/ 463921 h 491572"/>
                <a:gd name="connsiteX25" fmla="*/ 288798 w 307232"/>
                <a:gd name="connsiteY25" fmla="*/ 228888 h 491572"/>
                <a:gd name="connsiteX26" fmla="*/ 199701 w 307232"/>
                <a:gd name="connsiteY26" fmla="*/ 138255 h 491572"/>
                <a:gd name="connsiteX27" fmla="*/ 199701 w 307232"/>
                <a:gd name="connsiteY27" fmla="*/ 135182 h 491572"/>
                <a:gd name="connsiteX28" fmla="*/ 199701 w 307232"/>
                <a:gd name="connsiteY28" fmla="*/ 86025 h 491572"/>
                <a:gd name="connsiteX29" fmla="*/ 181267 w 307232"/>
                <a:gd name="connsiteY29" fmla="*/ 67591 h 491572"/>
                <a:gd name="connsiteX30" fmla="*/ 173586 w 307232"/>
                <a:gd name="connsiteY30" fmla="*/ 67591 h 491572"/>
                <a:gd name="connsiteX31" fmla="*/ 173586 w 307232"/>
                <a:gd name="connsiteY31" fmla="*/ 15362 h 491572"/>
                <a:gd name="connsiteX32" fmla="*/ 245786 w 307232"/>
                <a:gd name="connsiteY32" fmla="*/ 15362 h 491572"/>
                <a:gd name="connsiteX33" fmla="*/ 265756 w 307232"/>
                <a:gd name="connsiteY33" fmla="*/ 27651 h 491572"/>
                <a:gd name="connsiteX34" fmla="*/ 238105 w 307232"/>
                <a:gd name="connsiteY34" fmla="*/ 64519 h 491572"/>
                <a:gd name="connsiteX35" fmla="*/ 231960 w 307232"/>
                <a:gd name="connsiteY35" fmla="*/ 87561 h 491572"/>
                <a:gd name="connsiteX36" fmla="*/ 274973 w 307232"/>
                <a:gd name="connsiteY36" fmla="*/ 228888 h 491572"/>
                <a:gd name="connsiteX37" fmla="*/ 274973 w 307232"/>
                <a:gd name="connsiteY37" fmla="*/ 463921 h 491572"/>
                <a:gd name="connsiteX38" fmla="*/ 258075 w 307232"/>
                <a:gd name="connsiteY38" fmla="*/ 480819 h 491572"/>
                <a:gd name="connsiteX39" fmla="*/ 32259 w 307232"/>
                <a:gd name="connsiteY39" fmla="*/ 480819 h 491572"/>
                <a:gd name="connsiteX40" fmla="*/ 15362 w 307232"/>
                <a:gd name="connsiteY40" fmla="*/ 463921 h 491572"/>
                <a:gd name="connsiteX41" fmla="*/ 15362 w 307232"/>
                <a:gd name="connsiteY41" fmla="*/ 228888 h 491572"/>
                <a:gd name="connsiteX42" fmla="*/ 90634 w 307232"/>
                <a:gd name="connsiteY42" fmla="*/ 153616 h 491572"/>
                <a:gd name="connsiteX43" fmla="*/ 105995 w 307232"/>
                <a:gd name="connsiteY43" fmla="*/ 153616 h 491572"/>
                <a:gd name="connsiteX44" fmla="*/ 181267 w 307232"/>
                <a:gd name="connsiteY44" fmla="*/ 153616 h 491572"/>
                <a:gd name="connsiteX45" fmla="*/ 199701 w 307232"/>
                <a:gd name="connsiteY45" fmla="*/ 153616 h 491572"/>
                <a:gd name="connsiteX46" fmla="*/ 274973 w 307232"/>
                <a:gd name="connsiteY46" fmla="*/ 228888 h 491572"/>
                <a:gd name="connsiteX47" fmla="*/ 185876 w 307232"/>
                <a:gd name="connsiteY47" fmla="*/ 86025 h 491572"/>
                <a:gd name="connsiteX48" fmla="*/ 185876 w 307232"/>
                <a:gd name="connsiteY48" fmla="*/ 133646 h 491572"/>
                <a:gd name="connsiteX49" fmla="*/ 182803 w 307232"/>
                <a:gd name="connsiteY49" fmla="*/ 138255 h 491572"/>
                <a:gd name="connsiteX50" fmla="*/ 105995 w 307232"/>
                <a:gd name="connsiteY50" fmla="*/ 138255 h 491572"/>
                <a:gd name="connsiteX51" fmla="*/ 102923 w 307232"/>
                <a:gd name="connsiteY51" fmla="*/ 135182 h 491572"/>
                <a:gd name="connsiteX52" fmla="*/ 102923 w 307232"/>
                <a:gd name="connsiteY52" fmla="*/ 86025 h 491572"/>
                <a:gd name="connsiteX53" fmla="*/ 105995 w 307232"/>
                <a:gd name="connsiteY53" fmla="*/ 82953 h 491572"/>
                <a:gd name="connsiteX54" fmla="*/ 119821 w 307232"/>
                <a:gd name="connsiteY54" fmla="*/ 82953 h 491572"/>
                <a:gd name="connsiteX55" fmla="*/ 167442 w 307232"/>
                <a:gd name="connsiteY55" fmla="*/ 82953 h 491572"/>
                <a:gd name="connsiteX56" fmla="*/ 182803 w 307232"/>
                <a:gd name="connsiteY56" fmla="*/ 82953 h 491572"/>
                <a:gd name="connsiteX57" fmla="*/ 185876 w 307232"/>
                <a:gd name="connsiteY57" fmla="*/ 86025 h 491572"/>
                <a:gd name="connsiteX58" fmla="*/ 159761 w 307232"/>
                <a:gd name="connsiteY58" fmla="*/ 67591 h 491572"/>
                <a:gd name="connsiteX59" fmla="*/ 127501 w 307232"/>
                <a:gd name="connsiteY59" fmla="*/ 67591 h 491572"/>
                <a:gd name="connsiteX60" fmla="*/ 127501 w 307232"/>
                <a:gd name="connsiteY60" fmla="*/ 15362 h 491572"/>
                <a:gd name="connsiteX61" fmla="*/ 159761 w 307232"/>
                <a:gd name="connsiteY61" fmla="*/ 15362 h 491572"/>
                <a:gd name="connsiteX62" fmla="*/ 159761 w 307232"/>
                <a:gd name="connsiteY62" fmla="*/ 67591 h 491572"/>
                <a:gd name="connsiteX63" fmla="*/ 251931 w 307232"/>
                <a:gd name="connsiteY63" fmla="*/ 73736 h 491572"/>
                <a:gd name="connsiteX64" fmla="*/ 273437 w 307232"/>
                <a:gd name="connsiteY64" fmla="*/ 44549 h 491572"/>
                <a:gd name="connsiteX65" fmla="*/ 296479 w 307232"/>
                <a:gd name="connsiteY65" fmla="*/ 75272 h 491572"/>
                <a:gd name="connsiteX66" fmla="*/ 299552 w 307232"/>
                <a:gd name="connsiteY66" fmla="*/ 89097 h 491572"/>
                <a:gd name="connsiteX67" fmla="*/ 273437 w 307232"/>
                <a:gd name="connsiteY67" fmla="*/ 115212 h 491572"/>
                <a:gd name="connsiteX68" fmla="*/ 247322 w 307232"/>
                <a:gd name="connsiteY68" fmla="*/ 89097 h 491572"/>
                <a:gd name="connsiteX69" fmla="*/ 251931 w 307232"/>
                <a:gd name="connsiteY69" fmla="*/ 73736 h 49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07232" h="491572">
                  <a:moveTo>
                    <a:pt x="231960" y="87561"/>
                  </a:moveTo>
                  <a:cubicBezTo>
                    <a:pt x="231960" y="110604"/>
                    <a:pt x="250394" y="129038"/>
                    <a:pt x="273437" y="129038"/>
                  </a:cubicBezTo>
                  <a:cubicBezTo>
                    <a:pt x="296479" y="129038"/>
                    <a:pt x="314913" y="110604"/>
                    <a:pt x="314913" y="87561"/>
                  </a:cubicBezTo>
                  <a:cubicBezTo>
                    <a:pt x="314913" y="79880"/>
                    <a:pt x="313377" y="72200"/>
                    <a:pt x="308769" y="66055"/>
                  </a:cubicBezTo>
                  <a:lnTo>
                    <a:pt x="281118" y="29187"/>
                  </a:lnTo>
                  <a:cubicBezTo>
                    <a:pt x="281118" y="29187"/>
                    <a:pt x="281118" y="29187"/>
                    <a:pt x="281118" y="29187"/>
                  </a:cubicBezTo>
                  <a:cubicBezTo>
                    <a:pt x="284190" y="26115"/>
                    <a:pt x="282654" y="21506"/>
                    <a:pt x="279581" y="18434"/>
                  </a:cubicBezTo>
                  <a:lnTo>
                    <a:pt x="253467" y="1536"/>
                  </a:lnTo>
                  <a:cubicBezTo>
                    <a:pt x="251931" y="0"/>
                    <a:pt x="250394" y="0"/>
                    <a:pt x="248858" y="0"/>
                  </a:cubicBezTo>
                  <a:lnTo>
                    <a:pt x="167442" y="0"/>
                  </a:lnTo>
                  <a:lnTo>
                    <a:pt x="119821" y="0"/>
                  </a:lnTo>
                  <a:lnTo>
                    <a:pt x="82953" y="0"/>
                  </a:lnTo>
                  <a:cubicBezTo>
                    <a:pt x="79880" y="0"/>
                    <a:pt x="75272" y="3072"/>
                    <a:pt x="75272" y="7681"/>
                  </a:cubicBezTo>
                  <a:cubicBezTo>
                    <a:pt x="75272" y="12289"/>
                    <a:pt x="79880" y="15362"/>
                    <a:pt x="82953" y="15362"/>
                  </a:cubicBezTo>
                  <a:lnTo>
                    <a:pt x="112140" y="15362"/>
                  </a:lnTo>
                  <a:lnTo>
                    <a:pt x="112140" y="67591"/>
                  </a:lnTo>
                  <a:lnTo>
                    <a:pt x="105995" y="67591"/>
                  </a:lnTo>
                  <a:cubicBezTo>
                    <a:pt x="96778" y="67591"/>
                    <a:pt x="87561" y="76808"/>
                    <a:pt x="87561" y="86025"/>
                  </a:cubicBezTo>
                  <a:lnTo>
                    <a:pt x="87561" y="133646"/>
                  </a:lnTo>
                  <a:cubicBezTo>
                    <a:pt x="87561" y="135182"/>
                    <a:pt x="87561" y="136718"/>
                    <a:pt x="87561" y="136718"/>
                  </a:cubicBezTo>
                  <a:cubicBezTo>
                    <a:pt x="39940" y="139791"/>
                    <a:pt x="0" y="179731"/>
                    <a:pt x="0" y="228888"/>
                  </a:cubicBezTo>
                  <a:lnTo>
                    <a:pt x="0" y="463921"/>
                  </a:lnTo>
                  <a:cubicBezTo>
                    <a:pt x="0" y="482355"/>
                    <a:pt x="15362" y="496180"/>
                    <a:pt x="32259" y="496180"/>
                  </a:cubicBezTo>
                  <a:lnTo>
                    <a:pt x="256539" y="496180"/>
                  </a:lnTo>
                  <a:cubicBezTo>
                    <a:pt x="274973" y="496180"/>
                    <a:pt x="288798" y="480819"/>
                    <a:pt x="288798" y="463921"/>
                  </a:cubicBezTo>
                  <a:lnTo>
                    <a:pt x="288798" y="228888"/>
                  </a:lnTo>
                  <a:cubicBezTo>
                    <a:pt x="288798" y="179731"/>
                    <a:pt x="248858" y="139791"/>
                    <a:pt x="199701" y="138255"/>
                  </a:cubicBezTo>
                  <a:cubicBezTo>
                    <a:pt x="199701" y="136718"/>
                    <a:pt x="199701" y="135182"/>
                    <a:pt x="199701" y="135182"/>
                  </a:cubicBezTo>
                  <a:lnTo>
                    <a:pt x="199701" y="86025"/>
                  </a:lnTo>
                  <a:cubicBezTo>
                    <a:pt x="199701" y="75272"/>
                    <a:pt x="190484" y="67591"/>
                    <a:pt x="181267" y="67591"/>
                  </a:cubicBezTo>
                  <a:lnTo>
                    <a:pt x="173586" y="67591"/>
                  </a:lnTo>
                  <a:lnTo>
                    <a:pt x="173586" y="15362"/>
                  </a:lnTo>
                  <a:lnTo>
                    <a:pt x="245786" y="15362"/>
                  </a:lnTo>
                  <a:lnTo>
                    <a:pt x="265756" y="27651"/>
                  </a:lnTo>
                  <a:lnTo>
                    <a:pt x="238105" y="64519"/>
                  </a:lnTo>
                  <a:cubicBezTo>
                    <a:pt x="235033" y="72200"/>
                    <a:pt x="231960" y="79880"/>
                    <a:pt x="231960" y="87561"/>
                  </a:cubicBezTo>
                  <a:close/>
                  <a:moveTo>
                    <a:pt x="274973" y="228888"/>
                  </a:moveTo>
                  <a:lnTo>
                    <a:pt x="274973" y="463921"/>
                  </a:lnTo>
                  <a:cubicBezTo>
                    <a:pt x="274973" y="473138"/>
                    <a:pt x="267292" y="480819"/>
                    <a:pt x="258075" y="480819"/>
                  </a:cubicBezTo>
                  <a:lnTo>
                    <a:pt x="32259" y="480819"/>
                  </a:lnTo>
                  <a:cubicBezTo>
                    <a:pt x="23042" y="480819"/>
                    <a:pt x="15362" y="473138"/>
                    <a:pt x="15362" y="463921"/>
                  </a:cubicBezTo>
                  <a:lnTo>
                    <a:pt x="15362" y="228888"/>
                  </a:lnTo>
                  <a:cubicBezTo>
                    <a:pt x="15362" y="187412"/>
                    <a:pt x="49157" y="153616"/>
                    <a:pt x="90634" y="153616"/>
                  </a:cubicBezTo>
                  <a:lnTo>
                    <a:pt x="105995" y="153616"/>
                  </a:lnTo>
                  <a:lnTo>
                    <a:pt x="181267" y="153616"/>
                  </a:lnTo>
                  <a:lnTo>
                    <a:pt x="199701" y="153616"/>
                  </a:lnTo>
                  <a:cubicBezTo>
                    <a:pt x="241177" y="153616"/>
                    <a:pt x="274973" y="187412"/>
                    <a:pt x="274973" y="228888"/>
                  </a:cubicBezTo>
                  <a:close/>
                  <a:moveTo>
                    <a:pt x="185876" y="86025"/>
                  </a:moveTo>
                  <a:lnTo>
                    <a:pt x="185876" y="133646"/>
                  </a:lnTo>
                  <a:cubicBezTo>
                    <a:pt x="185876" y="136718"/>
                    <a:pt x="184339" y="138255"/>
                    <a:pt x="182803" y="138255"/>
                  </a:cubicBezTo>
                  <a:lnTo>
                    <a:pt x="105995" y="138255"/>
                  </a:lnTo>
                  <a:cubicBezTo>
                    <a:pt x="104459" y="138255"/>
                    <a:pt x="102923" y="136718"/>
                    <a:pt x="102923" y="135182"/>
                  </a:cubicBezTo>
                  <a:lnTo>
                    <a:pt x="102923" y="86025"/>
                  </a:lnTo>
                  <a:cubicBezTo>
                    <a:pt x="102923" y="84489"/>
                    <a:pt x="104459" y="82953"/>
                    <a:pt x="105995" y="82953"/>
                  </a:cubicBezTo>
                  <a:lnTo>
                    <a:pt x="119821" y="82953"/>
                  </a:lnTo>
                  <a:lnTo>
                    <a:pt x="167442" y="82953"/>
                  </a:lnTo>
                  <a:lnTo>
                    <a:pt x="182803" y="82953"/>
                  </a:lnTo>
                  <a:cubicBezTo>
                    <a:pt x="184339" y="82953"/>
                    <a:pt x="185876" y="84489"/>
                    <a:pt x="185876" y="86025"/>
                  </a:cubicBezTo>
                  <a:close/>
                  <a:moveTo>
                    <a:pt x="159761" y="67591"/>
                  </a:moveTo>
                  <a:lnTo>
                    <a:pt x="127501" y="67591"/>
                  </a:lnTo>
                  <a:lnTo>
                    <a:pt x="127501" y="15362"/>
                  </a:lnTo>
                  <a:lnTo>
                    <a:pt x="159761" y="15362"/>
                  </a:lnTo>
                  <a:lnTo>
                    <a:pt x="159761" y="67591"/>
                  </a:lnTo>
                  <a:close/>
                  <a:moveTo>
                    <a:pt x="251931" y="73736"/>
                  </a:moveTo>
                  <a:lnTo>
                    <a:pt x="273437" y="44549"/>
                  </a:lnTo>
                  <a:lnTo>
                    <a:pt x="296479" y="75272"/>
                  </a:lnTo>
                  <a:cubicBezTo>
                    <a:pt x="299552" y="79880"/>
                    <a:pt x="299552" y="84489"/>
                    <a:pt x="299552" y="89097"/>
                  </a:cubicBezTo>
                  <a:cubicBezTo>
                    <a:pt x="299552" y="102923"/>
                    <a:pt x="287262" y="115212"/>
                    <a:pt x="273437" y="115212"/>
                  </a:cubicBezTo>
                  <a:cubicBezTo>
                    <a:pt x="259611" y="115212"/>
                    <a:pt x="247322" y="102923"/>
                    <a:pt x="247322" y="89097"/>
                  </a:cubicBezTo>
                  <a:cubicBezTo>
                    <a:pt x="247322" y="82953"/>
                    <a:pt x="248858" y="78344"/>
                    <a:pt x="251931" y="73736"/>
                  </a:cubicBezTo>
                  <a:close/>
                </a:path>
              </a:pathLst>
            </a:custGeom>
            <a:solidFill>
              <a:srgbClr val="231F20"/>
            </a:solidFill>
            <a:ln w="14968" cap="flat">
              <a:noFill/>
              <a:prstDash val="solid"/>
              <a:miter/>
            </a:ln>
          </p:spPr>
          <p:txBody>
            <a:bodyPr rtlCol="0" anchor="ctr"/>
            <a:lstStyle/>
            <a:p>
              <a:endParaRPr lang="de-DE"/>
            </a:p>
          </p:txBody>
        </p:sp>
      </p:grpSp>
      <p:grpSp>
        <p:nvGrpSpPr>
          <p:cNvPr id="2401" name="Graphic 3">
            <a:extLst>
              <a:ext uri="{FF2B5EF4-FFF2-40B4-BE49-F238E27FC236}">
                <a16:creationId xmlns:a16="http://schemas.microsoft.com/office/drawing/2014/main" id="{E48E31F0-8190-450A-8152-5AC846565791}"/>
              </a:ext>
              <a:ext uri="{C183D7F6-B498-43B3-948B-1728B52AA6E4}">
                <adec:decorative xmlns:adec="http://schemas.microsoft.com/office/drawing/2017/decorative" val="1"/>
              </a:ext>
            </a:extLst>
          </p:cNvPr>
          <p:cNvGrpSpPr>
            <a:grpSpLocks noChangeAspect="1"/>
          </p:cNvGrpSpPr>
          <p:nvPr/>
        </p:nvGrpSpPr>
        <p:grpSpPr>
          <a:xfrm>
            <a:off x="3547390" y="4504121"/>
            <a:ext cx="116428" cy="129862"/>
            <a:chOff x="5873317" y="3198091"/>
            <a:chExt cx="413584" cy="461305"/>
          </a:xfrm>
          <a:solidFill>
            <a:srgbClr val="231F20"/>
          </a:solidFill>
        </p:grpSpPr>
        <p:sp>
          <p:nvSpPr>
            <p:cNvPr id="2402" name="Freeform: Shape 2401">
              <a:extLst>
                <a:ext uri="{FF2B5EF4-FFF2-40B4-BE49-F238E27FC236}">
                  <a16:creationId xmlns:a16="http://schemas.microsoft.com/office/drawing/2014/main" id="{6C915A5E-5EB7-4417-9535-1A15D5101A29}"/>
                </a:ext>
              </a:extLst>
            </p:cNvPr>
            <p:cNvSpPr/>
            <p:nvPr/>
          </p:nvSpPr>
          <p:spPr>
            <a:xfrm>
              <a:off x="5873317" y="3198091"/>
              <a:ext cx="413584" cy="397677"/>
            </a:xfrm>
            <a:custGeom>
              <a:avLst/>
              <a:gdLst>
                <a:gd name="connsiteX0" fmla="*/ 418356 w 413583"/>
                <a:gd name="connsiteY0" fmla="*/ 163843 h 397676"/>
                <a:gd name="connsiteX1" fmla="*/ 407221 w 413583"/>
                <a:gd name="connsiteY1" fmla="*/ 157480 h 397676"/>
                <a:gd name="connsiteX2" fmla="*/ 407221 w 413583"/>
                <a:gd name="connsiteY2" fmla="*/ 125666 h 397676"/>
                <a:gd name="connsiteX3" fmla="*/ 399268 w 413583"/>
                <a:gd name="connsiteY3" fmla="*/ 117712 h 397676"/>
                <a:gd name="connsiteX4" fmla="*/ 346774 w 413583"/>
                <a:gd name="connsiteY4" fmla="*/ 117712 h 397676"/>
                <a:gd name="connsiteX5" fmla="*/ 346774 w 413583"/>
                <a:gd name="connsiteY5" fmla="*/ 85898 h 397676"/>
                <a:gd name="connsiteX6" fmla="*/ 338821 w 413583"/>
                <a:gd name="connsiteY6" fmla="*/ 77945 h 397676"/>
                <a:gd name="connsiteX7" fmla="*/ 314960 w 413583"/>
                <a:gd name="connsiteY7" fmla="*/ 77945 h 397676"/>
                <a:gd name="connsiteX8" fmla="*/ 314960 w 413583"/>
                <a:gd name="connsiteY8" fmla="*/ 54084 h 397676"/>
                <a:gd name="connsiteX9" fmla="*/ 307007 w 413583"/>
                <a:gd name="connsiteY9" fmla="*/ 46130 h 397676"/>
                <a:gd name="connsiteX10" fmla="*/ 289509 w 413583"/>
                <a:gd name="connsiteY10" fmla="*/ 46130 h 397676"/>
                <a:gd name="connsiteX11" fmla="*/ 289509 w 413583"/>
                <a:gd name="connsiteY11" fmla="*/ 7954 h 397676"/>
                <a:gd name="connsiteX12" fmla="*/ 281555 w 413583"/>
                <a:gd name="connsiteY12" fmla="*/ 0 h 397676"/>
                <a:gd name="connsiteX13" fmla="*/ 195657 w 413583"/>
                <a:gd name="connsiteY13" fmla="*/ 0 h 397676"/>
                <a:gd name="connsiteX14" fmla="*/ 187703 w 413583"/>
                <a:gd name="connsiteY14" fmla="*/ 7954 h 397676"/>
                <a:gd name="connsiteX15" fmla="*/ 187703 w 413583"/>
                <a:gd name="connsiteY15" fmla="*/ 46130 h 397676"/>
                <a:gd name="connsiteX16" fmla="*/ 179750 w 413583"/>
                <a:gd name="connsiteY16" fmla="*/ 46130 h 397676"/>
                <a:gd name="connsiteX17" fmla="*/ 171796 w 413583"/>
                <a:gd name="connsiteY17" fmla="*/ 54084 h 397676"/>
                <a:gd name="connsiteX18" fmla="*/ 171796 w 413583"/>
                <a:gd name="connsiteY18" fmla="*/ 117712 h 397676"/>
                <a:gd name="connsiteX19" fmla="*/ 147936 w 413583"/>
                <a:gd name="connsiteY19" fmla="*/ 117712 h 397676"/>
                <a:gd name="connsiteX20" fmla="*/ 139982 w 413583"/>
                <a:gd name="connsiteY20" fmla="*/ 124075 h 397676"/>
                <a:gd name="connsiteX21" fmla="*/ 139982 w 413583"/>
                <a:gd name="connsiteY21" fmla="*/ 155889 h 397676"/>
                <a:gd name="connsiteX22" fmla="*/ 106577 w 413583"/>
                <a:gd name="connsiteY22" fmla="*/ 155889 h 397676"/>
                <a:gd name="connsiteX23" fmla="*/ 103396 w 413583"/>
                <a:gd name="connsiteY23" fmla="*/ 157480 h 397676"/>
                <a:gd name="connsiteX24" fmla="*/ 97033 w 413583"/>
                <a:gd name="connsiteY24" fmla="*/ 139982 h 397676"/>
                <a:gd name="connsiteX25" fmla="*/ 73173 w 413583"/>
                <a:gd name="connsiteY25" fmla="*/ 120894 h 397676"/>
                <a:gd name="connsiteX26" fmla="*/ 7954 w 413583"/>
                <a:gd name="connsiteY26" fmla="*/ 120894 h 397676"/>
                <a:gd name="connsiteX27" fmla="*/ 0 w 413583"/>
                <a:gd name="connsiteY27" fmla="*/ 128847 h 397676"/>
                <a:gd name="connsiteX28" fmla="*/ 7954 w 413583"/>
                <a:gd name="connsiteY28" fmla="*/ 136801 h 397676"/>
                <a:gd name="connsiteX29" fmla="*/ 73173 w 413583"/>
                <a:gd name="connsiteY29" fmla="*/ 136801 h 397676"/>
                <a:gd name="connsiteX30" fmla="*/ 82717 w 413583"/>
                <a:gd name="connsiteY30" fmla="*/ 143164 h 397676"/>
                <a:gd name="connsiteX31" fmla="*/ 154299 w 413583"/>
                <a:gd name="connsiteY31" fmla="*/ 381770 h 397676"/>
                <a:gd name="connsiteX32" fmla="*/ 178159 w 413583"/>
                <a:gd name="connsiteY32" fmla="*/ 399267 h 397676"/>
                <a:gd name="connsiteX33" fmla="*/ 365863 w 413583"/>
                <a:gd name="connsiteY33" fmla="*/ 399267 h 397676"/>
                <a:gd name="connsiteX34" fmla="*/ 373816 w 413583"/>
                <a:gd name="connsiteY34" fmla="*/ 391314 h 397676"/>
                <a:gd name="connsiteX35" fmla="*/ 365863 w 413583"/>
                <a:gd name="connsiteY35" fmla="*/ 383360 h 397676"/>
                <a:gd name="connsiteX36" fmla="*/ 178159 w 413583"/>
                <a:gd name="connsiteY36" fmla="*/ 383360 h 397676"/>
                <a:gd name="connsiteX37" fmla="*/ 168615 w 413583"/>
                <a:gd name="connsiteY37" fmla="*/ 376998 h 397676"/>
                <a:gd name="connsiteX38" fmla="*/ 157480 w 413583"/>
                <a:gd name="connsiteY38" fmla="*/ 338821 h 397676"/>
                <a:gd name="connsiteX39" fmla="*/ 353137 w 413583"/>
                <a:gd name="connsiteY39" fmla="*/ 338821 h 397676"/>
                <a:gd name="connsiteX40" fmla="*/ 376998 w 413583"/>
                <a:gd name="connsiteY40" fmla="*/ 321323 h 397676"/>
                <a:gd name="connsiteX41" fmla="*/ 419947 w 413583"/>
                <a:gd name="connsiteY41" fmla="*/ 179750 h 397676"/>
                <a:gd name="connsiteX42" fmla="*/ 418356 w 413583"/>
                <a:gd name="connsiteY42" fmla="*/ 163843 h 397676"/>
                <a:gd name="connsiteX43" fmla="*/ 203611 w 413583"/>
                <a:gd name="connsiteY43" fmla="*/ 15907 h 397676"/>
                <a:gd name="connsiteX44" fmla="*/ 273602 w 413583"/>
                <a:gd name="connsiteY44" fmla="*/ 15907 h 397676"/>
                <a:gd name="connsiteX45" fmla="*/ 273602 w 413583"/>
                <a:gd name="connsiteY45" fmla="*/ 46130 h 397676"/>
                <a:gd name="connsiteX46" fmla="*/ 203611 w 413583"/>
                <a:gd name="connsiteY46" fmla="*/ 46130 h 397676"/>
                <a:gd name="connsiteX47" fmla="*/ 203611 w 413583"/>
                <a:gd name="connsiteY47" fmla="*/ 15907 h 397676"/>
                <a:gd name="connsiteX48" fmla="*/ 187703 w 413583"/>
                <a:gd name="connsiteY48" fmla="*/ 62038 h 397676"/>
                <a:gd name="connsiteX49" fmla="*/ 195657 w 413583"/>
                <a:gd name="connsiteY49" fmla="*/ 62038 h 397676"/>
                <a:gd name="connsiteX50" fmla="*/ 281555 w 413583"/>
                <a:gd name="connsiteY50" fmla="*/ 62038 h 397676"/>
                <a:gd name="connsiteX51" fmla="*/ 299053 w 413583"/>
                <a:gd name="connsiteY51" fmla="*/ 62038 h 397676"/>
                <a:gd name="connsiteX52" fmla="*/ 299053 w 413583"/>
                <a:gd name="connsiteY52" fmla="*/ 77945 h 397676"/>
                <a:gd name="connsiteX53" fmla="*/ 227471 w 413583"/>
                <a:gd name="connsiteY53" fmla="*/ 77945 h 397676"/>
                <a:gd name="connsiteX54" fmla="*/ 219518 w 413583"/>
                <a:gd name="connsiteY54" fmla="*/ 85898 h 397676"/>
                <a:gd name="connsiteX55" fmla="*/ 219518 w 413583"/>
                <a:gd name="connsiteY55" fmla="*/ 117712 h 397676"/>
                <a:gd name="connsiteX56" fmla="*/ 187703 w 413583"/>
                <a:gd name="connsiteY56" fmla="*/ 117712 h 397676"/>
                <a:gd name="connsiteX57" fmla="*/ 187703 w 413583"/>
                <a:gd name="connsiteY57" fmla="*/ 62038 h 397676"/>
                <a:gd name="connsiteX58" fmla="*/ 155889 w 413583"/>
                <a:gd name="connsiteY58" fmla="*/ 132029 h 397676"/>
                <a:gd name="connsiteX59" fmla="*/ 221108 w 413583"/>
                <a:gd name="connsiteY59" fmla="*/ 132029 h 397676"/>
                <a:gd name="connsiteX60" fmla="*/ 224290 w 413583"/>
                <a:gd name="connsiteY60" fmla="*/ 130438 h 397676"/>
                <a:gd name="connsiteX61" fmla="*/ 227471 w 413583"/>
                <a:gd name="connsiteY61" fmla="*/ 132029 h 397676"/>
                <a:gd name="connsiteX62" fmla="*/ 235425 w 413583"/>
                <a:gd name="connsiteY62" fmla="*/ 124075 h 397676"/>
                <a:gd name="connsiteX63" fmla="*/ 235425 w 413583"/>
                <a:gd name="connsiteY63" fmla="*/ 92261 h 397676"/>
                <a:gd name="connsiteX64" fmla="*/ 330867 w 413583"/>
                <a:gd name="connsiteY64" fmla="*/ 92261 h 397676"/>
                <a:gd name="connsiteX65" fmla="*/ 330867 w 413583"/>
                <a:gd name="connsiteY65" fmla="*/ 155889 h 397676"/>
                <a:gd name="connsiteX66" fmla="*/ 155889 w 413583"/>
                <a:gd name="connsiteY66" fmla="*/ 155889 h 397676"/>
                <a:gd name="connsiteX67" fmla="*/ 155889 w 413583"/>
                <a:gd name="connsiteY67" fmla="*/ 132029 h 397676"/>
                <a:gd name="connsiteX68" fmla="*/ 361091 w 413583"/>
                <a:gd name="connsiteY68" fmla="*/ 314960 h 397676"/>
                <a:gd name="connsiteX69" fmla="*/ 351546 w 413583"/>
                <a:gd name="connsiteY69" fmla="*/ 321323 h 397676"/>
                <a:gd name="connsiteX70" fmla="*/ 152708 w 413583"/>
                <a:gd name="connsiteY70" fmla="*/ 321323 h 397676"/>
                <a:gd name="connsiteX71" fmla="*/ 108168 w 413583"/>
                <a:gd name="connsiteY71" fmla="*/ 171796 h 397676"/>
                <a:gd name="connsiteX72" fmla="*/ 340411 w 413583"/>
                <a:gd name="connsiteY72" fmla="*/ 171796 h 397676"/>
                <a:gd name="connsiteX73" fmla="*/ 348365 w 413583"/>
                <a:gd name="connsiteY73" fmla="*/ 163843 h 397676"/>
                <a:gd name="connsiteX74" fmla="*/ 346774 w 413583"/>
                <a:gd name="connsiteY74" fmla="*/ 159071 h 397676"/>
                <a:gd name="connsiteX75" fmla="*/ 346774 w 413583"/>
                <a:gd name="connsiteY75" fmla="*/ 155889 h 397676"/>
                <a:gd name="connsiteX76" fmla="*/ 346774 w 413583"/>
                <a:gd name="connsiteY76" fmla="*/ 132029 h 397676"/>
                <a:gd name="connsiteX77" fmla="*/ 391314 w 413583"/>
                <a:gd name="connsiteY77" fmla="*/ 132029 h 397676"/>
                <a:gd name="connsiteX78" fmla="*/ 391314 w 413583"/>
                <a:gd name="connsiteY78" fmla="*/ 155889 h 397676"/>
                <a:gd name="connsiteX79" fmla="*/ 356318 w 413583"/>
                <a:gd name="connsiteY79" fmla="*/ 155889 h 397676"/>
                <a:gd name="connsiteX80" fmla="*/ 348365 w 413583"/>
                <a:gd name="connsiteY80" fmla="*/ 163843 h 397676"/>
                <a:gd name="connsiteX81" fmla="*/ 356318 w 413583"/>
                <a:gd name="connsiteY81" fmla="*/ 171796 h 397676"/>
                <a:gd name="connsiteX82" fmla="*/ 404040 w 413583"/>
                <a:gd name="connsiteY82" fmla="*/ 173387 h 397676"/>
                <a:gd name="connsiteX83" fmla="*/ 361091 w 413583"/>
                <a:gd name="connsiteY83" fmla="*/ 314960 h 39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13583" h="397676">
                  <a:moveTo>
                    <a:pt x="418356" y="163843"/>
                  </a:moveTo>
                  <a:cubicBezTo>
                    <a:pt x="415175" y="160661"/>
                    <a:pt x="411993" y="157480"/>
                    <a:pt x="407221" y="157480"/>
                  </a:cubicBezTo>
                  <a:lnTo>
                    <a:pt x="407221" y="125666"/>
                  </a:lnTo>
                  <a:cubicBezTo>
                    <a:pt x="407221" y="120894"/>
                    <a:pt x="404040" y="117712"/>
                    <a:pt x="399268" y="117712"/>
                  </a:cubicBezTo>
                  <a:lnTo>
                    <a:pt x="346774" y="117712"/>
                  </a:lnTo>
                  <a:lnTo>
                    <a:pt x="346774" y="85898"/>
                  </a:lnTo>
                  <a:cubicBezTo>
                    <a:pt x="346774" y="81126"/>
                    <a:pt x="343593" y="77945"/>
                    <a:pt x="338821" y="77945"/>
                  </a:cubicBezTo>
                  <a:lnTo>
                    <a:pt x="314960" y="77945"/>
                  </a:lnTo>
                  <a:lnTo>
                    <a:pt x="314960" y="54084"/>
                  </a:lnTo>
                  <a:cubicBezTo>
                    <a:pt x="314960" y="49312"/>
                    <a:pt x="311779" y="46130"/>
                    <a:pt x="307007" y="46130"/>
                  </a:cubicBezTo>
                  <a:lnTo>
                    <a:pt x="289509" y="46130"/>
                  </a:lnTo>
                  <a:lnTo>
                    <a:pt x="289509" y="7954"/>
                  </a:lnTo>
                  <a:cubicBezTo>
                    <a:pt x="289509" y="3181"/>
                    <a:pt x="286327" y="0"/>
                    <a:pt x="281555" y="0"/>
                  </a:cubicBezTo>
                  <a:lnTo>
                    <a:pt x="195657" y="0"/>
                  </a:lnTo>
                  <a:cubicBezTo>
                    <a:pt x="190885" y="0"/>
                    <a:pt x="187703" y="3181"/>
                    <a:pt x="187703" y="7954"/>
                  </a:cubicBezTo>
                  <a:lnTo>
                    <a:pt x="187703" y="46130"/>
                  </a:lnTo>
                  <a:lnTo>
                    <a:pt x="179750" y="46130"/>
                  </a:lnTo>
                  <a:cubicBezTo>
                    <a:pt x="174978" y="46130"/>
                    <a:pt x="171796" y="49312"/>
                    <a:pt x="171796" y="54084"/>
                  </a:cubicBezTo>
                  <a:lnTo>
                    <a:pt x="171796" y="117712"/>
                  </a:lnTo>
                  <a:lnTo>
                    <a:pt x="147936" y="117712"/>
                  </a:lnTo>
                  <a:cubicBezTo>
                    <a:pt x="143164" y="116122"/>
                    <a:pt x="139982" y="120894"/>
                    <a:pt x="139982" y="124075"/>
                  </a:cubicBezTo>
                  <a:lnTo>
                    <a:pt x="139982" y="155889"/>
                  </a:lnTo>
                  <a:lnTo>
                    <a:pt x="106577" y="155889"/>
                  </a:lnTo>
                  <a:cubicBezTo>
                    <a:pt x="104987" y="155889"/>
                    <a:pt x="103396" y="155889"/>
                    <a:pt x="103396" y="157480"/>
                  </a:cubicBezTo>
                  <a:lnTo>
                    <a:pt x="97033" y="139982"/>
                  </a:lnTo>
                  <a:cubicBezTo>
                    <a:pt x="93852" y="128847"/>
                    <a:pt x="84307" y="120894"/>
                    <a:pt x="73173" y="120894"/>
                  </a:cubicBezTo>
                  <a:lnTo>
                    <a:pt x="7954" y="120894"/>
                  </a:lnTo>
                  <a:cubicBezTo>
                    <a:pt x="3181" y="120894"/>
                    <a:pt x="0" y="125666"/>
                    <a:pt x="0" y="128847"/>
                  </a:cubicBezTo>
                  <a:cubicBezTo>
                    <a:pt x="0" y="132029"/>
                    <a:pt x="3181" y="136801"/>
                    <a:pt x="7954" y="136801"/>
                  </a:cubicBezTo>
                  <a:lnTo>
                    <a:pt x="73173" y="136801"/>
                  </a:lnTo>
                  <a:cubicBezTo>
                    <a:pt x="77945" y="136801"/>
                    <a:pt x="81126" y="139982"/>
                    <a:pt x="82717" y="143164"/>
                  </a:cubicBezTo>
                  <a:lnTo>
                    <a:pt x="154299" y="381770"/>
                  </a:lnTo>
                  <a:cubicBezTo>
                    <a:pt x="157480" y="392905"/>
                    <a:pt x="167024" y="399267"/>
                    <a:pt x="178159" y="399267"/>
                  </a:cubicBezTo>
                  <a:lnTo>
                    <a:pt x="365863" y="399267"/>
                  </a:lnTo>
                  <a:cubicBezTo>
                    <a:pt x="370635" y="399267"/>
                    <a:pt x="373816" y="396086"/>
                    <a:pt x="373816" y="391314"/>
                  </a:cubicBezTo>
                  <a:cubicBezTo>
                    <a:pt x="373816" y="386542"/>
                    <a:pt x="370635" y="383360"/>
                    <a:pt x="365863" y="383360"/>
                  </a:cubicBezTo>
                  <a:lnTo>
                    <a:pt x="178159" y="383360"/>
                  </a:lnTo>
                  <a:cubicBezTo>
                    <a:pt x="173387" y="383360"/>
                    <a:pt x="170206" y="380179"/>
                    <a:pt x="168615" y="376998"/>
                  </a:cubicBezTo>
                  <a:lnTo>
                    <a:pt x="157480" y="338821"/>
                  </a:lnTo>
                  <a:lnTo>
                    <a:pt x="353137" y="338821"/>
                  </a:lnTo>
                  <a:cubicBezTo>
                    <a:pt x="364272" y="338821"/>
                    <a:pt x="373816" y="330867"/>
                    <a:pt x="376998" y="321323"/>
                  </a:cubicBezTo>
                  <a:lnTo>
                    <a:pt x="419947" y="179750"/>
                  </a:lnTo>
                  <a:cubicBezTo>
                    <a:pt x="421537" y="173387"/>
                    <a:pt x="421537" y="167024"/>
                    <a:pt x="418356" y="163843"/>
                  </a:cubicBezTo>
                  <a:close/>
                  <a:moveTo>
                    <a:pt x="203611" y="15907"/>
                  </a:moveTo>
                  <a:lnTo>
                    <a:pt x="273602" y="15907"/>
                  </a:lnTo>
                  <a:lnTo>
                    <a:pt x="273602" y="46130"/>
                  </a:lnTo>
                  <a:lnTo>
                    <a:pt x="203611" y="46130"/>
                  </a:lnTo>
                  <a:lnTo>
                    <a:pt x="203611" y="15907"/>
                  </a:lnTo>
                  <a:close/>
                  <a:moveTo>
                    <a:pt x="187703" y="62038"/>
                  </a:moveTo>
                  <a:lnTo>
                    <a:pt x="195657" y="62038"/>
                  </a:lnTo>
                  <a:lnTo>
                    <a:pt x="281555" y="62038"/>
                  </a:lnTo>
                  <a:lnTo>
                    <a:pt x="299053" y="62038"/>
                  </a:lnTo>
                  <a:lnTo>
                    <a:pt x="299053" y="77945"/>
                  </a:lnTo>
                  <a:lnTo>
                    <a:pt x="227471" y="77945"/>
                  </a:lnTo>
                  <a:cubicBezTo>
                    <a:pt x="222699" y="77945"/>
                    <a:pt x="219518" y="81126"/>
                    <a:pt x="219518" y="85898"/>
                  </a:cubicBezTo>
                  <a:lnTo>
                    <a:pt x="219518" y="117712"/>
                  </a:lnTo>
                  <a:lnTo>
                    <a:pt x="187703" y="117712"/>
                  </a:lnTo>
                  <a:lnTo>
                    <a:pt x="187703" y="62038"/>
                  </a:lnTo>
                  <a:close/>
                  <a:moveTo>
                    <a:pt x="155889" y="132029"/>
                  </a:moveTo>
                  <a:lnTo>
                    <a:pt x="221108" y="132029"/>
                  </a:lnTo>
                  <a:cubicBezTo>
                    <a:pt x="222699" y="132029"/>
                    <a:pt x="224290" y="132029"/>
                    <a:pt x="224290" y="130438"/>
                  </a:cubicBezTo>
                  <a:cubicBezTo>
                    <a:pt x="225880" y="130438"/>
                    <a:pt x="225880" y="132029"/>
                    <a:pt x="227471" y="132029"/>
                  </a:cubicBezTo>
                  <a:cubicBezTo>
                    <a:pt x="232243" y="132029"/>
                    <a:pt x="235425" y="128847"/>
                    <a:pt x="235425" y="124075"/>
                  </a:cubicBezTo>
                  <a:lnTo>
                    <a:pt x="235425" y="92261"/>
                  </a:lnTo>
                  <a:lnTo>
                    <a:pt x="330867" y="92261"/>
                  </a:lnTo>
                  <a:lnTo>
                    <a:pt x="330867" y="155889"/>
                  </a:lnTo>
                  <a:lnTo>
                    <a:pt x="155889" y="155889"/>
                  </a:lnTo>
                  <a:lnTo>
                    <a:pt x="155889" y="132029"/>
                  </a:lnTo>
                  <a:close/>
                  <a:moveTo>
                    <a:pt x="361091" y="314960"/>
                  </a:moveTo>
                  <a:cubicBezTo>
                    <a:pt x="359500" y="319732"/>
                    <a:pt x="356318" y="321323"/>
                    <a:pt x="351546" y="321323"/>
                  </a:cubicBezTo>
                  <a:lnTo>
                    <a:pt x="152708" y="321323"/>
                  </a:lnTo>
                  <a:lnTo>
                    <a:pt x="108168" y="171796"/>
                  </a:lnTo>
                  <a:lnTo>
                    <a:pt x="340411" y="171796"/>
                  </a:lnTo>
                  <a:cubicBezTo>
                    <a:pt x="345184" y="171796"/>
                    <a:pt x="348365" y="168615"/>
                    <a:pt x="348365" y="163843"/>
                  </a:cubicBezTo>
                  <a:cubicBezTo>
                    <a:pt x="348365" y="162252"/>
                    <a:pt x="348365" y="160661"/>
                    <a:pt x="346774" y="159071"/>
                  </a:cubicBezTo>
                  <a:cubicBezTo>
                    <a:pt x="346774" y="157480"/>
                    <a:pt x="346774" y="157480"/>
                    <a:pt x="346774" y="155889"/>
                  </a:cubicBezTo>
                  <a:lnTo>
                    <a:pt x="346774" y="132029"/>
                  </a:lnTo>
                  <a:lnTo>
                    <a:pt x="391314" y="132029"/>
                  </a:lnTo>
                  <a:lnTo>
                    <a:pt x="391314" y="155889"/>
                  </a:lnTo>
                  <a:lnTo>
                    <a:pt x="356318" y="155889"/>
                  </a:lnTo>
                  <a:cubicBezTo>
                    <a:pt x="351546" y="155889"/>
                    <a:pt x="348365" y="159071"/>
                    <a:pt x="348365" y="163843"/>
                  </a:cubicBezTo>
                  <a:cubicBezTo>
                    <a:pt x="348365" y="168615"/>
                    <a:pt x="351546" y="171796"/>
                    <a:pt x="356318" y="171796"/>
                  </a:cubicBezTo>
                  <a:lnTo>
                    <a:pt x="404040" y="173387"/>
                  </a:lnTo>
                  <a:lnTo>
                    <a:pt x="361091" y="314960"/>
                  </a:lnTo>
                  <a:close/>
                </a:path>
              </a:pathLst>
            </a:custGeom>
            <a:solidFill>
              <a:srgbClr val="231F20"/>
            </a:solidFill>
            <a:ln w="15875" cap="flat">
              <a:noFill/>
              <a:prstDash val="solid"/>
              <a:miter/>
            </a:ln>
          </p:spPr>
          <p:txBody>
            <a:bodyPr rtlCol="0" anchor="ctr"/>
            <a:lstStyle/>
            <a:p>
              <a:endParaRPr lang="de-DE"/>
            </a:p>
          </p:txBody>
        </p:sp>
        <p:sp>
          <p:nvSpPr>
            <p:cNvPr id="2403" name="Freeform: Shape 2402">
              <a:extLst>
                <a:ext uri="{FF2B5EF4-FFF2-40B4-BE49-F238E27FC236}">
                  <a16:creationId xmlns:a16="http://schemas.microsoft.com/office/drawing/2014/main" id="{F1E5DFC9-D8A1-4CDA-95BB-7096CAF10CC1}"/>
                </a:ext>
              </a:extLst>
            </p:cNvPr>
            <p:cNvSpPr/>
            <p:nvPr/>
          </p:nvSpPr>
          <p:spPr>
            <a:xfrm>
              <a:off x="6005346" y="3606903"/>
              <a:ext cx="63628" cy="63628"/>
            </a:xfrm>
            <a:custGeom>
              <a:avLst/>
              <a:gdLst>
                <a:gd name="connsiteX0" fmla="*/ 33405 w 63628"/>
                <a:gd name="connsiteY0" fmla="*/ 0 h 63628"/>
                <a:gd name="connsiteX1" fmla="*/ 0 w 63628"/>
                <a:gd name="connsiteY1" fmla="*/ 33405 h 63628"/>
                <a:gd name="connsiteX2" fmla="*/ 33405 w 63628"/>
                <a:gd name="connsiteY2" fmla="*/ 66810 h 63628"/>
                <a:gd name="connsiteX3" fmla="*/ 66810 w 63628"/>
                <a:gd name="connsiteY3" fmla="*/ 33405 h 63628"/>
                <a:gd name="connsiteX4" fmla="*/ 33405 w 63628"/>
                <a:gd name="connsiteY4" fmla="*/ 0 h 63628"/>
                <a:gd name="connsiteX5" fmla="*/ 33405 w 63628"/>
                <a:gd name="connsiteY5" fmla="*/ 52493 h 63628"/>
                <a:gd name="connsiteX6" fmla="*/ 15907 w 63628"/>
                <a:gd name="connsiteY6" fmla="*/ 34996 h 63628"/>
                <a:gd name="connsiteX7" fmla="*/ 33405 w 63628"/>
                <a:gd name="connsiteY7" fmla="*/ 17498 h 63628"/>
                <a:gd name="connsiteX8" fmla="*/ 50903 w 63628"/>
                <a:gd name="connsiteY8" fmla="*/ 34996 h 63628"/>
                <a:gd name="connsiteX9" fmla="*/ 33405 w 63628"/>
                <a:gd name="connsiteY9" fmla="*/ 52493 h 6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28" h="63628">
                  <a:moveTo>
                    <a:pt x="33405" y="0"/>
                  </a:moveTo>
                  <a:cubicBezTo>
                    <a:pt x="14316" y="0"/>
                    <a:pt x="0" y="15907"/>
                    <a:pt x="0" y="33405"/>
                  </a:cubicBezTo>
                  <a:cubicBezTo>
                    <a:pt x="0" y="52493"/>
                    <a:pt x="15907" y="66810"/>
                    <a:pt x="33405" y="66810"/>
                  </a:cubicBezTo>
                  <a:cubicBezTo>
                    <a:pt x="50903" y="66810"/>
                    <a:pt x="66810" y="50903"/>
                    <a:pt x="66810" y="33405"/>
                  </a:cubicBezTo>
                  <a:cubicBezTo>
                    <a:pt x="66810" y="15907"/>
                    <a:pt x="50903" y="0"/>
                    <a:pt x="33405" y="0"/>
                  </a:cubicBezTo>
                  <a:close/>
                  <a:moveTo>
                    <a:pt x="33405" y="52493"/>
                  </a:moveTo>
                  <a:cubicBezTo>
                    <a:pt x="23861" y="52493"/>
                    <a:pt x="15907" y="44540"/>
                    <a:pt x="15907" y="34996"/>
                  </a:cubicBezTo>
                  <a:cubicBezTo>
                    <a:pt x="15907" y="25451"/>
                    <a:pt x="23861" y="17498"/>
                    <a:pt x="33405" y="17498"/>
                  </a:cubicBezTo>
                  <a:cubicBezTo>
                    <a:pt x="42949" y="17498"/>
                    <a:pt x="50903" y="25451"/>
                    <a:pt x="50903" y="34996"/>
                  </a:cubicBezTo>
                  <a:cubicBezTo>
                    <a:pt x="50903" y="44540"/>
                    <a:pt x="42949" y="52493"/>
                    <a:pt x="33405" y="52493"/>
                  </a:cubicBezTo>
                  <a:close/>
                </a:path>
              </a:pathLst>
            </a:custGeom>
            <a:solidFill>
              <a:srgbClr val="231F20"/>
            </a:solidFill>
            <a:ln w="15875" cap="flat">
              <a:noFill/>
              <a:prstDash val="solid"/>
              <a:miter/>
            </a:ln>
          </p:spPr>
          <p:txBody>
            <a:bodyPr rtlCol="0" anchor="ctr"/>
            <a:lstStyle/>
            <a:p>
              <a:endParaRPr lang="de-DE"/>
            </a:p>
          </p:txBody>
        </p:sp>
        <p:sp>
          <p:nvSpPr>
            <p:cNvPr id="2404" name="Freeform: Shape 2403">
              <a:extLst>
                <a:ext uri="{FF2B5EF4-FFF2-40B4-BE49-F238E27FC236}">
                  <a16:creationId xmlns:a16="http://schemas.microsoft.com/office/drawing/2014/main" id="{321CEA5C-9F25-4C1B-B8C7-1F61DD9FE130}"/>
                </a:ext>
              </a:extLst>
            </p:cNvPr>
            <p:cNvSpPr/>
            <p:nvPr/>
          </p:nvSpPr>
          <p:spPr>
            <a:xfrm>
              <a:off x="6178733" y="3606903"/>
              <a:ext cx="63628" cy="63628"/>
            </a:xfrm>
            <a:custGeom>
              <a:avLst/>
              <a:gdLst>
                <a:gd name="connsiteX0" fmla="*/ 33405 w 63628"/>
                <a:gd name="connsiteY0" fmla="*/ 0 h 63628"/>
                <a:gd name="connsiteX1" fmla="*/ 0 w 63628"/>
                <a:gd name="connsiteY1" fmla="*/ 33405 h 63628"/>
                <a:gd name="connsiteX2" fmla="*/ 33405 w 63628"/>
                <a:gd name="connsiteY2" fmla="*/ 66810 h 63628"/>
                <a:gd name="connsiteX3" fmla="*/ 66810 w 63628"/>
                <a:gd name="connsiteY3" fmla="*/ 33405 h 63628"/>
                <a:gd name="connsiteX4" fmla="*/ 33405 w 63628"/>
                <a:gd name="connsiteY4" fmla="*/ 0 h 63628"/>
                <a:gd name="connsiteX5" fmla="*/ 33405 w 63628"/>
                <a:gd name="connsiteY5" fmla="*/ 52493 h 63628"/>
                <a:gd name="connsiteX6" fmla="*/ 15907 w 63628"/>
                <a:gd name="connsiteY6" fmla="*/ 34996 h 63628"/>
                <a:gd name="connsiteX7" fmla="*/ 33405 w 63628"/>
                <a:gd name="connsiteY7" fmla="*/ 17498 h 63628"/>
                <a:gd name="connsiteX8" fmla="*/ 50903 w 63628"/>
                <a:gd name="connsiteY8" fmla="*/ 34996 h 63628"/>
                <a:gd name="connsiteX9" fmla="*/ 33405 w 63628"/>
                <a:gd name="connsiteY9" fmla="*/ 52493 h 6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28" h="63628">
                  <a:moveTo>
                    <a:pt x="33405" y="0"/>
                  </a:moveTo>
                  <a:cubicBezTo>
                    <a:pt x="14316" y="0"/>
                    <a:pt x="0" y="15907"/>
                    <a:pt x="0" y="33405"/>
                  </a:cubicBezTo>
                  <a:cubicBezTo>
                    <a:pt x="0" y="52493"/>
                    <a:pt x="15907" y="66810"/>
                    <a:pt x="33405" y="66810"/>
                  </a:cubicBezTo>
                  <a:cubicBezTo>
                    <a:pt x="50903" y="66810"/>
                    <a:pt x="66810" y="50903"/>
                    <a:pt x="66810" y="33405"/>
                  </a:cubicBezTo>
                  <a:cubicBezTo>
                    <a:pt x="68400" y="15907"/>
                    <a:pt x="52493" y="0"/>
                    <a:pt x="33405" y="0"/>
                  </a:cubicBezTo>
                  <a:close/>
                  <a:moveTo>
                    <a:pt x="33405" y="52493"/>
                  </a:moveTo>
                  <a:cubicBezTo>
                    <a:pt x="23861" y="52493"/>
                    <a:pt x="15907" y="44540"/>
                    <a:pt x="15907" y="34996"/>
                  </a:cubicBezTo>
                  <a:cubicBezTo>
                    <a:pt x="15907" y="25451"/>
                    <a:pt x="23861" y="17498"/>
                    <a:pt x="33405" y="17498"/>
                  </a:cubicBezTo>
                  <a:cubicBezTo>
                    <a:pt x="42949" y="17498"/>
                    <a:pt x="50903" y="25451"/>
                    <a:pt x="50903" y="34996"/>
                  </a:cubicBezTo>
                  <a:cubicBezTo>
                    <a:pt x="52493" y="44540"/>
                    <a:pt x="44540" y="52493"/>
                    <a:pt x="33405" y="52493"/>
                  </a:cubicBezTo>
                  <a:close/>
                </a:path>
              </a:pathLst>
            </a:custGeom>
            <a:solidFill>
              <a:srgbClr val="231F20"/>
            </a:solidFill>
            <a:ln w="15875" cap="flat">
              <a:noFill/>
              <a:prstDash val="solid"/>
              <a:miter/>
            </a:ln>
          </p:spPr>
          <p:txBody>
            <a:bodyPr rtlCol="0" anchor="ctr"/>
            <a:lstStyle/>
            <a:p>
              <a:endParaRPr lang="de-DE"/>
            </a:p>
          </p:txBody>
        </p:sp>
      </p:grpSp>
      <p:grpSp>
        <p:nvGrpSpPr>
          <p:cNvPr id="2405" name="Graphic 3">
            <a:extLst>
              <a:ext uri="{FF2B5EF4-FFF2-40B4-BE49-F238E27FC236}">
                <a16:creationId xmlns:a16="http://schemas.microsoft.com/office/drawing/2014/main" id="{8C76D571-42BE-4A7B-981F-EFD2651DBBDD}"/>
              </a:ext>
              <a:ext uri="{C183D7F6-B498-43B3-948B-1728B52AA6E4}">
                <adec:decorative xmlns:adec="http://schemas.microsoft.com/office/drawing/2017/decorative" val="1"/>
              </a:ext>
            </a:extLst>
          </p:cNvPr>
          <p:cNvGrpSpPr>
            <a:grpSpLocks noChangeAspect="1"/>
          </p:cNvGrpSpPr>
          <p:nvPr/>
        </p:nvGrpSpPr>
        <p:grpSpPr>
          <a:xfrm>
            <a:off x="3789507" y="4510826"/>
            <a:ext cx="116454" cy="116452"/>
            <a:chOff x="5888830" y="3221721"/>
            <a:chExt cx="414340" cy="414336"/>
          </a:xfrm>
          <a:solidFill>
            <a:srgbClr val="231F20"/>
          </a:solidFill>
        </p:grpSpPr>
        <p:sp>
          <p:nvSpPr>
            <p:cNvPr id="2406" name="Freeform: Shape 2405">
              <a:extLst>
                <a:ext uri="{FF2B5EF4-FFF2-40B4-BE49-F238E27FC236}">
                  <a16:creationId xmlns:a16="http://schemas.microsoft.com/office/drawing/2014/main" id="{6D724735-C8E4-4BD8-8BAE-5EBD11755728}"/>
                </a:ext>
              </a:extLst>
            </p:cNvPr>
            <p:cNvSpPr/>
            <p:nvPr/>
          </p:nvSpPr>
          <p:spPr>
            <a:xfrm>
              <a:off x="5888830" y="3221721"/>
              <a:ext cx="414340" cy="414336"/>
            </a:xfrm>
            <a:custGeom>
              <a:avLst/>
              <a:gdLst>
                <a:gd name="connsiteX0" fmla="*/ 309988 w 414340"/>
                <a:gd name="connsiteY0" fmla="*/ 111 h 414336"/>
                <a:gd name="connsiteX1" fmla="*/ 305384 w 414340"/>
                <a:gd name="connsiteY1" fmla="*/ 111 h 414336"/>
                <a:gd name="connsiteX2" fmla="*/ 303849 w 414340"/>
                <a:gd name="connsiteY2" fmla="*/ 111 h 414336"/>
                <a:gd name="connsiteX3" fmla="*/ 119698 w 414340"/>
                <a:gd name="connsiteY3" fmla="*/ 111 h 414336"/>
                <a:gd name="connsiteX4" fmla="*/ 49107 w 414340"/>
                <a:gd name="connsiteY4" fmla="*/ 23130 h 414336"/>
                <a:gd name="connsiteX5" fmla="*/ 0 w 414340"/>
                <a:gd name="connsiteY5" fmla="*/ 136689 h 414336"/>
                <a:gd name="connsiteX6" fmla="*/ 0 w 414340"/>
                <a:gd name="connsiteY6" fmla="*/ 411378 h 414336"/>
                <a:gd name="connsiteX7" fmla="*/ 7673 w 414340"/>
                <a:gd name="connsiteY7" fmla="*/ 419051 h 414336"/>
                <a:gd name="connsiteX8" fmla="*/ 214843 w 414340"/>
                <a:gd name="connsiteY8" fmla="*/ 419051 h 414336"/>
                <a:gd name="connsiteX9" fmla="*/ 222516 w 414340"/>
                <a:gd name="connsiteY9" fmla="*/ 411378 h 414336"/>
                <a:gd name="connsiteX10" fmla="*/ 222516 w 414340"/>
                <a:gd name="connsiteY10" fmla="*/ 308562 h 414336"/>
                <a:gd name="connsiteX11" fmla="*/ 309988 w 414340"/>
                <a:gd name="connsiteY11" fmla="*/ 308562 h 414336"/>
                <a:gd name="connsiteX12" fmla="*/ 417409 w 414340"/>
                <a:gd name="connsiteY12" fmla="*/ 155104 h 414336"/>
                <a:gd name="connsiteX13" fmla="*/ 309988 w 414340"/>
                <a:gd name="connsiteY13" fmla="*/ 111 h 414336"/>
                <a:gd name="connsiteX14" fmla="*/ 207170 w 414340"/>
                <a:gd name="connsiteY14" fmla="*/ 403705 h 414336"/>
                <a:gd name="connsiteX15" fmla="*/ 15346 w 414340"/>
                <a:gd name="connsiteY15" fmla="*/ 403705 h 414336"/>
                <a:gd name="connsiteX16" fmla="*/ 15346 w 414340"/>
                <a:gd name="connsiteY16" fmla="*/ 161242 h 414336"/>
                <a:gd name="connsiteX17" fmla="*/ 19950 w 414340"/>
                <a:gd name="connsiteY17" fmla="*/ 162777 h 414336"/>
                <a:gd name="connsiteX18" fmla="*/ 42969 w 414340"/>
                <a:gd name="connsiteY18" fmla="*/ 162777 h 414336"/>
                <a:gd name="connsiteX19" fmla="*/ 50642 w 414340"/>
                <a:gd name="connsiteY19" fmla="*/ 155104 h 414336"/>
                <a:gd name="connsiteX20" fmla="*/ 42969 w 414340"/>
                <a:gd name="connsiteY20" fmla="*/ 147431 h 414336"/>
                <a:gd name="connsiteX21" fmla="*/ 19950 w 414340"/>
                <a:gd name="connsiteY21" fmla="*/ 147431 h 414336"/>
                <a:gd name="connsiteX22" fmla="*/ 15346 w 414340"/>
                <a:gd name="connsiteY22" fmla="*/ 150500 h 414336"/>
                <a:gd name="connsiteX23" fmla="*/ 15346 w 414340"/>
                <a:gd name="connsiteY23" fmla="*/ 138223 h 414336"/>
                <a:gd name="connsiteX24" fmla="*/ 58315 w 414340"/>
                <a:gd name="connsiteY24" fmla="*/ 35407 h 414336"/>
                <a:gd name="connsiteX25" fmla="*/ 119698 w 414340"/>
                <a:gd name="connsiteY25" fmla="*/ 15457 h 414336"/>
                <a:gd name="connsiteX26" fmla="*/ 263950 w 414340"/>
                <a:gd name="connsiteY26" fmla="*/ 15457 h 414336"/>
                <a:gd name="connsiteX27" fmla="*/ 202566 w 414340"/>
                <a:gd name="connsiteY27" fmla="*/ 152035 h 414336"/>
                <a:gd name="connsiteX28" fmla="*/ 196428 w 414340"/>
                <a:gd name="connsiteY28" fmla="*/ 147431 h 414336"/>
                <a:gd name="connsiteX29" fmla="*/ 173409 w 414340"/>
                <a:gd name="connsiteY29" fmla="*/ 147431 h 414336"/>
                <a:gd name="connsiteX30" fmla="*/ 165736 w 414340"/>
                <a:gd name="connsiteY30" fmla="*/ 155104 h 414336"/>
                <a:gd name="connsiteX31" fmla="*/ 173409 w 414340"/>
                <a:gd name="connsiteY31" fmla="*/ 162777 h 414336"/>
                <a:gd name="connsiteX32" fmla="*/ 196428 w 414340"/>
                <a:gd name="connsiteY32" fmla="*/ 162777 h 414336"/>
                <a:gd name="connsiteX33" fmla="*/ 202566 w 414340"/>
                <a:gd name="connsiteY33" fmla="*/ 158173 h 414336"/>
                <a:gd name="connsiteX34" fmla="*/ 207170 w 414340"/>
                <a:gd name="connsiteY34" fmla="*/ 198072 h 414336"/>
                <a:gd name="connsiteX35" fmla="*/ 207170 w 414340"/>
                <a:gd name="connsiteY35" fmla="*/ 198072 h 414336"/>
                <a:gd name="connsiteX36" fmla="*/ 207170 w 414340"/>
                <a:gd name="connsiteY36" fmla="*/ 403705 h 414336"/>
                <a:gd name="connsiteX37" fmla="*/ 222516 w 414340"/>
                <a:gd name="connsiteY37" fmla="*/ 293216 h 414336"/>
                <a:gd name="connsiteX38" fmla="*/ 222516 w 414340"/>
                <a:gd name="connsiteY38" fmla="*/ 244109 h 414336"/>
                <a:gd name="connsiteX39" fmla="*/ 263950 w 414340"/>
                <a:gd name="connsiteY39" fmla="*/ 293216 h 414336"/>
                <a:gd name="connsiteX40" fmla="*/ 222516 w 414340"/>
                <a:gd name="connsiteY40" fmla="*/ 293216 h 414336"/>
                <a:gd name="connsiteX41" fmla="*/ 309988 w 414340"/>
                <a:gd name="connsiteY41" fmla="*/ 293216 h 414336"/>
                <a:gd name="connsiteX42" fmla="*/ 217912 w 414340"/>
                <a:gd name="connsiteY42" fmla="*/ 155104 h 414336"/>
                <a:gd name="connsiteX43" fmla="*/ 309988 w 414340"/>
                <a:gd name="connsiteY43" fmla="*/ 16992 h 414336"/>
                <a:gd name="connsiteX44" fmla="*/ 402063 w 414340"/>
                <a:gd name="connsiteY44" fmla="*/ 155104 h 414336"/>
                <a:gd name="connsiteX45" fmla="*/ 309988 w 414340"/>
                <a:gd name="connsiteY45" fmla="*/ 293216 h 41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14340" h="414336">
                  <a:moveTo>
                    <a:pt x="309988" y="111"/>
                  </a:moveTo>
                  <a:cubicBezTo>
                    <a:pt x="308453" y="111"/>
                    <a:pt x="306919" y="111"/>
                    <a:pt x="305384" y="111"/>
                  </a:cubicBezTo>
                  <a:cubicBezTo>
                    <a:pt x="305384" y="111"/>
                    <a:pt x="303849" y="111"/>
                    <a:pt x="303849" y="111"/>
                  </a:cubicBezTo>
                  <a:lnTo>
                    <a:pt x="119698" y="111"/>
                  </a:lnTo>
                  <a:cubicBezTo>
                    <a:pt x="118164" y="111"/>
                    <a:pt x="82868" y="-2958"/>
                    <a:pt x="49107" y="23130"/>
                  </a:cubicBezTo>
                  <a:cubicBezTo>
                    <a:pt x="21484" y="46149"/>
                    <a:pt x="4604" y="84513"/>
                    <a:pt x="0" y="136689"/>
                  </a:cubicBezTo>
                  <a:lnTo>
                    <a:pt x="0" y="411378"/>
                  </a:lnTo>
                  <a:cubicBezTo>
                    <a:pt x="0" y="415982"/>
                    <a:pt x="3069" y="419051"/>
                    <a:pt x="7673" y="419051"/>
                  </a:cubicBezTo>
                  <a:lnTo>
                    <a:pt x="214843" y="419051"/>
                  </a:lnTo>
                  <a:cubicBezTo>
                    <a:pt x="219447" y="419051"/>
                    <a:pt x="222516" y="415982"/>
                    <a:pt x="222516" y="411378"/>
                  </a:cubicBezTo>
                  <a:lnTo>
                    <a:pt x="222516" y="308562"/>
                  </a:lnTo>
                  <a:lnTo>
                    <a:pt x="309988" y="308562"/>
                  </a:lnTo>
                  <a:cubicBezTo>
                    <a:pt x="369837" y="308562"/>
                    <a:pt x="417409" y="239505"/>
                    <a:pt x="417409" y="155104"/>
                  </a:cubicBezTo>
                  <a:cubicBezTo>
                    <a:pt x="417409" y="69167"/>
                    <a:pt x="369837" y="111"/>
                    <a:pt x="309988" y="111"/>
                  </a:cubicBezTo>
                  <a:close/>
                  <a:moveTo>
                    <a:pt x="207170" y="403705"/>
                  </a:moveTo>
                  <a:lnTo>
                    <a:pt x="15346" y="403705"/>
                  </a:lnTo>
                  <a:lnTo>
                    <a:pt x="15346" y="161242"/>
                  </a:lnTo>
                  <a:cubicBezTo>
                    <a:pt x="16881" y="162777"/>
                    <a:pt x="18415" y="162777"/>
                    <a:pt x="19950" y="162777"/>
                  </a:cubicBezTo>
                  <a:lnTo>
                    <a:pt x="42969" y="162777"/>
                  </a:lnTo>
                  <a:cubicBezTo>
                    <a:pt x="47572" y="162777"/>
                    <a:pt x="50642" y="159707"/>
                    <a:pt x="50642" y="155104"/>
                  </a:cubicBezTo>
                  <a:cubicBezTo>
                    <a:pt x="50642" y="150500"/>
                    <a:pt x="47572" y="147431"/>
                    <a:pt x="42969" y="147431"/>
                  </a:cubicBezTo>
                  <a:lnTo>
                    <a:pt x="19950" y="147431"/>
                  </a:lnTo>
                  <a:cubicBezTo>
                    <a:pt x="18415" y="148965"/>
                    <a:pt x="16881" y="148965"/>
                    <a:pt x="15346" y="150500"/>
                  </a:cubicBezTo>
                  <a:lnTo>
                    <a:pt x="15346" y="138223"/>
                  </a:lnTo>
                  <a:cubicBezTo>
                    <a:pt x="19950" y="90651"/>
                    <a:pt x="33761" y="56891"/>
                    <a:pt x="58315" y="35407"/>
                  </a:cubicBezTo>
                  <a:cubicBezTo>
                    <a:pt x="85937" y="12388"/>
                    <a:pt x="118164" y="15457"/>
                    <a:pt x="119698" y="15457"/>
                  </a:cubicBezTo>
                  <a:lnTo>
                    <a:pt x="263950" y="15457"/>
                  </a:lnTo>
                  <a:cubicBezTo>
                    <a:pt x="228654" y="40010"/>
                    <a:pt x="202566" y="92186"/>
                    <a:pt x="202566" y="152035"/>
                  </a:cubicBezTo>
                  <a:cubicBezTo>
                    <a:pt x="201032" y="150500"/>
                    <a:pt x="199497" y="147431"/>
                    <a:pt x="196428" y="147431"/>
                  </a:cubicBezTo>
                  <a:lnTo>
                    <a:pt x="173409" y="147431"/>
                  </a:lnTo>
                  <a:cubicBezTo>
                    <a:pt x="168805" y="147431"/>
                    <a:pt x="165736" y="150500"/>
                    <a:pt x="165736" y="155104"/>
                  </a:cubicBezTo>
                  <a:cubicBezTo>
                    <a:pt x="165736" y="159707"/>
                    <a:pt x="168805" y="162777"/>
                    <a:pt x="173409" y="162777"/>
                  </a:cubicBezTo>
                  <a:lnTo>
                    <a:pt x="196428" y="162777"/>
                  </a:lnTo>
                  <a:cubicBezTo>
                    <a:pt x="199497" y="162777"/>
                    <a:pt x="202566" y="161242"/>
                    <a:pt x="202566" y="158173"/>
                  </a:cubicBezTo>
                  <a:cubicBezTo>
                    <a:pt x="202566" y="171984"/>
                    <a:pt x="204101" y="185795"/>
                    <a:pt x="207170" y="198072"/>
                  </a:cubicBezTo>
                  <a:cubicBezTo>
                    <a:pt x="207170" y="198072"/>
                    <a:pt x="207170" y="198072"/>
                    <a:pt x="207170" y="198072"/>
                  </a:cubicBezTo>
                  <a:lnTo>
                    <a:pt x="207170" y="403705"/>
                  </a:lnTo>
                  <a:close/>
                  <a:moveTo>
                    <a:pt x="222516" y="293216"/>
                  </a:moveTo>
                  <a:lnTo>
                    <a:pt x="222516" y="244109"/>
                  </a:lnTo>
                  <a:cubicBezTo>
                    <a:pt x="233258" y="265593"/>
                    <a:pt x="247069" y="282474"/>
                    <a:pt x="263950" y="293216"/>
                  </a:cubicBezTo>
                  <a:lnTo>
                    <a:pt x="222516" y="293216"/>
                  </a:lnTo>
                  <a:close/>
                  <a:moveTo>
                    <a:pt x="309988" y="293216"/>
                  </a:moveTo>
                  <a:cubicBezTo>
                    <a:pt x="259346" y="293216"/>
                    <a:pt x="217912" y="230298"/>
                    <a:pt x="217912" y="155104"/>
                  </a:cubicBezTo>
                  <a:cubicBezTo>
                    <a:pt x="217912" y="78375"/>
                    <a:pt x="259346" y="16992"/>
                    <a:pt x="309988" y="16992"/>
                  </a:cubicBezTo>
                  <a:cubicBezTo>
                    <a:pt x="360629" y="16992"/>
                    <a:pt x="402063" y="79909"/>
                    <a:pt x="402063" y="155104"/>
                  </a:cubicBezTo>
                  <a:cubicBezTo>
                    <a:pt x="402063" y="230298"/>
                    <a:pt x="360629" y="293216"/>
                    <a:pt x="309988" y="293216"/>
                  </a:cubicBezTo>
                  <a:close/>
                </a:path>
              </a:pathLst>
            </a:custGeom>
            <a:solidFill>
              <a:srgbClr val="231F20"/>
            </a:solidFill>
            <a:ln w="15169" cap="flat">
              <a:noFill/>
              <a:prstDash val="solid"/>
              <a:miter/>
            </a:ln>
          </p:spPr>
          <p:txBody>
            <a:bodyPr rtlCol="0" anchor="ctr"/>
            <a:lstStyle/>
            <a:p>
              <a:endParaRPr lang="de-DE"/>
            </a:p>
          </p:txBody>
        </p:sp>
        <p:sp>
          <p:nvSpPr>
            <p:cNvPr id="2407" name="Freeform: Shape 2406">
              <a:extLst>
                <a:ext uri="{FF2B5EF4-FFF2-40B4-BE49-F238E27FC236}">
                  <a16:creationId xmlns:a16="http://schemas.microsoft.com/office/drawing/2014/main" id="{177DFBA0-83BA-4A2C-AD27-BDEE7509D869}"/>
                </a:ext>
              </a:extLst>
            </p:cNvPr>
            <p:cNvSpPr/>
            <p:nvPr/>
          </p:nvSpPr>
          <p:spPr>
            <a:xfrm>
              <a:off x="6152780" y="3306234"/>
              <a:ext cx="92076" cy="138112"/>
            </a:xfrm>
            <a:custGeom>
              <a:avLst/>
              <a:gdLst>
                <a:gd name="connsiteX0" fmla="*/ 50642 w 92075"/>
                <a:gd name="connsiteY0" fmla="*/ 0 h 138112"/>
                <a:gd name="connsiteX1" fmla="*/ 0 w 92075"/>
                <a:gd name="connsiteY1" fmla="*/ 70591 h 138112"/>
                <a:gd name="connsiteX2" fmla="*/ 50642 w 92075"/>
                <a:gd name="connsiteY2" fmla="*/ 141181 h 138112"/>
                <a:gd name="connsiteX3" fmla="*/ 101283 w 92075"/>
                <a:gd name="connsiteY3" fmla="*/ 70591 h 138112"/>
                <a:gd name="connsiteX4" fmla="*/ 50642 w 92075"/>
                <a:gd name="connsiteY4" fmla="*/ 0 h 138112"/>
                <a:gd name="connsiteX5" fmla="*/ 50642 w 92075"/>
                <a:gd name="connsiteY5" fmla="*/ 124301 h 138112"/>
                <a:gd name="connsiteX6" fmla="*/ 15346 w 92075"/>
                <a:gd name="connsiteY6" fmla="*/ 69056 h 138112"/>
                <a:gd name="connsiteX7" fmla="*/ 50642 w 92075"/>
                <a:gd name="connsiteY7" fmla="*/ 13811 h 138112"/>
                <a:gd name="connsiteX8" fmla="*/ 85937 w 92075"/>
                <a:gd name="connsiteY8" fmla="*/ 69056 h 138112"/>
                <a:gd name="connsiteX9" fmla="*/ 50642 w 92075"/>
                <a:gd name="connsiteY9" fmla="*/ 124301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75" h="138112">
                  <a:moveTo>
                    <a:pt x="50642" y="0"/>
                  </a:moveTo>
                  <a:cubicBezTo>
                    <a:pt x="23019" y="0"/>
                    <a:pt x="0" y="30692"/>
                    <a:pt x="0" y="70591"/>
                  </a:cubicBezTo>
                  <a:cubicBezTo>
                    <a:pt x="0" y="110490"/>
                    <a:pt x="21484" y="141181"/>
                    <a:pt x="50642" y="141181"/>
                  </a:cubicBezTo>
                  <a:cubicBezTo>
                    <a:pt x="79799" y="141181"/>
                    <a:pt x="101283" y="110490"/>
                    <a:pt x="101283" y="70591"/>
                  </a:cubicBezTo>
                  <a:cubicBezTo>
                    <a:pt x="101283" y="30692"/>
                    <a:pt x="78264" y="0"/>
                    <a:pt x="50642" y="0"/>
                  </a:cubicBezTo>
                  <a:close/>
                  <a:moveTo>
                    <a:pt x="50642" y="124301"/>
                  </a:moveTo>
                  <a:cubicBezTo>
                    <a:pt x="32226" y="124301"/>
                    <a:pt x="15346" y="99748"/>
                    <a:pt x="15346" y="69056"/>
                  </a:cubicBezTo>
                  <a:cubicBezTo>
                    <a:pt x="15346" y="39899"/>
                    <a:pt x="30692" y="13811"/>
                    <a:pt x="50642" y="13811"/>
                  </a:cubicBezTo>
                  <a:cubicBezTo>
                    <a:pt x="70591" y="13811"/>
                    <a:pt x="85937" y="38364"/>
                    <a:pt x="85937" y="69056"/>
                  </a:cubicBezTo>
                  <a:cubicBezTo>
                    <a:pt x="85937" y="99748"/>
                    <a:pt x="69057" y="124301"/>
                    <a:pt x="50642" y="124301"/>
                  </a:cubicBezTo>
                  <a:close/>
                </a:path>
              </a:pathLst>
            </a:custGeom>
            <a:solidFill>
              <a:srgbClr val="231F20"/>
            </a:solidFill>
            <a:ln w="15169" cap="flat">
              <a:noFill/>
              <a:prstDash val="solid"/>
              <a:miter/>
            </a:ln>
          </p:spPr>
          <p:txBody>
            <a:bodyPr rtlCol="0" anchor="ctr"/>
            <a:lstStyle/>
            <a:p>
              <a:endParaRPr lang="de-DE"/>
            </a:p>
          </p:txBody>
        </p:sp>
        <p:sp>
          <p:nvSpPr>
            <p:cNvPr id="2408" name="Freeform: Shape 2407">
              <a:extLst>
                <a:ext uri="{FF2B5EF4-FFF2-40B4-BE49-F238E27FC236}">
                  <a16:creationId xmlns:a16="http://schemas.microsoft.com/office/drawing/2014/main" id="{8E65DFED-4F20-455E-9CF8-99CB1479EA9B}"/>
                </a:ext>
              </a:extLst>
            </p:cNvPr>
            <p:cNvSpPr/>
            <p:nvPr/>
          </p:nvSpPr>
          <p:spPr>
            <a:xfrm>
              <a:off x="5954817" y="3370686"/>
              <a:ext cx="30692" cy="15346"/>
            </a:xfrm>
            <a:custGeom>
              <a:avLst/>
              <a:gdLst>
                <a:gd name="connsiteX0" fmla="*/ 30692 w 30691"/>
                <a:gd name="connsiteY0" fmla="*/ 0 h 15345"/>
                <a:gd name="connsiteX1" fmla="*/ 7673 w 30691"/>
                <a:gd name="connsiteY1" fmla="*/ 0 h 15345"/>
                <a:gd name="connsiteX2" fmla="*/ 0 w 30691"/>
                <a:gd name="connsiteY2" fmla="*/ 7673 h 15345"/>
                <a:gd name="connsiteX3" fmla="*/ 7673 w 30691"/>
                <a:gd name="connsiteY3" fmla="*/ 15346 h 15345"/>
                <a:gd name="connsiteX4" fmla="*/ 30692 w 30691"/>
                <a:gd name="connsiteY4" fmla="*/ 15346 h 15345"/>
                <a:gd name="connsiteX5" fmla="*/ 38365 w 30691"/>
                <a:gd name="connsiteY5" fmla="*/ 7673 h 15345"/>
                <a:gd name="connsiteX6" fmla="*/ 30692 w 30691"/>
                <a:gd name="connsiteY6" fmla="*/ 0 h 1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91" h="15345">
                  <a:moveTo>
                    <a:pt x="30692" y="0"/>
                  </a:moveTo>
                  <a:lnTo>
                    <a:pt x="7673" y="0"/>
                  </a:lnTo>
                  <a:cubicBezTo>
                    <a:pt x="3069" y="0"/>
                    <a:pt x="0" y="3069"/>
                    <a:pt x="0" y="7673"/>
                  </a:cubicBezTo>
                  <a:cubicBezTo>
                    <a:pt x="0" y="12277"/>
                    <a:pt x="3069" y="15346"/>
                    <a:pt x="7673" y="15346"/>
                  </a:cubicBezTo>
                  <a:lnTo>
                    <a:pt x="30692" y="15346"/>
                  </a:lnTo>
                  <a:cubicBezTo>
                    <a:pt x="35296" y="15346"/>
                    <a:pt x="38365" y="12277"/>
                    <a:pt x="38365" y="7673"/>
                  </a:cubicBezTo>
                  <a:cubicBezTo>
                    <a:pt x="38365" y="3069"/>
                    <a:pt x="35296" y="0"/>
                    <a:pt x="30692" y="0"/>
                  </a:cubicBezTo>
                  <a:close/>
                </a:path>
              </a:pathLst>
            </a:custGeom>
            <a:solidFill>
              <a:srgbClr val="231F20"/>
            </a:solidFill>
            <a:ln w="15169" cap="flat">
              <a:noFill/>
              <a:prstDash val="solid"/>
              <a:miter/>
            </a:ln>
          </p:spPr>
          <p:txBody>
            <a:bodyPr rtlCol="0" anchor="ctr"/>
            <a:lstStyle/>
            <a:p>
              <a:endParaRPr lang="de-DE"/>
            </a:p>
          </p:txBody>
        </p:sp>
        <p:sp>
          <p:nvSpPr>
            <p:cNvPr id="2409" name="Freeform: Shape 2408">
              <a:extLst>
                <a:ext uri="{FF2B5EF4-FFF2-40B4-BE49-F238E27FC236}">
                  <a16:creationId xmlns:a16="http://schemas.microsoft.com/office/drawing/2014/main" id="{06B45543-EB5E-44A9-B7C6-A182E9F6D3F8}"/>
                </a:ext>
              </a:extLst>
            </p:cNvPr>
            <p:cNvSpPr/>
            <p:nvPr/>
          </p:nvSpPr>
          <p:spPr>
            <a:xfrm>
              <a:off x="6003924" y="3370686"/>
              <a:ext cx="30692" cy="15346"/>
            </a:xfrm>
            <a:custGeom>
              <a:avLst/>
              <a:gdLst>
                <a:gd name="connsiteX0" fmla="*/ 30692 w 30691"/>
                <a:gd name="connsiteY0" fmla="*/ 0 h 15345"/>
                <a:gd name="connsiteX1" fmla="*/ 7673 w 30691"/>
                <a:gd name="connsiteY1" fmla="*/ 0 h 15345"/>
                <a:gd name="connsiteX2" fmla="*/ 0 w 30691"/>
                <a:gd name="connsiteY2" fmla="*/ 7673 h 15345"/>
                <a:gd name="connsiteX3" fmla="*/ 7673 w 30691"/>
                <a:gd name="connsiteY3" fmla="*/ 15346 h 15345"/>
                <a:gd name="connsiteX4" fmla="*/ 30692 w 30691"/>
                <a:gd name="connsiteY4" fmla="*/ 15346 h 15345"/>
                <a:gd name="connsiteX5" fmla="*/ 38365 w 30691"/>
                <a:gd name="connsiteY5" fmla="*/ 7673 h 15345"/>
                <a:gd name="connsiteX6" fmla="*/ 30692 w 30691"/>
                <a:gd name="connsiteY6" fmla="*/ 0 h 1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91" h="15345">
                  <a:moveTo>
                    <a:pt x="30692" y="0"/>
                  </a:moveTo>
                  <a:lnTo>
                    <a:pt x="7673" y="0"/>
                  </a:lnTo>
                  <a:cubicBezTo>
                    <a:pt x="3069" y="0"/>
                    <a:pt x="0" y="3069"/>
                    <a:pt x="0" y="7673"/>
                  </a:cubicBezTo>
                  <a:cubicBezTo>
                    <a:pt x="0" y="12277"/>
                    <a:pt x="3069" y="15346"/>
                    <a:pt x="7673" y="15346"/>
                  </a:cubicBezTo>
                  <a:lnTo>
                    <a:pt x="30692" y="15346"/>
                  </a:lnTo>
                  <a:cubicBezTo>
                    <a:pt x="35296" y="15346"/>
                    <a:pt x="38365" y="12277"/>
                    <a:pt x="38365" y="7673"/>
                  </a:cubicBezTo>
                  <a:cubicBezTo>
                    <a:pt x="38365" y="3069"/>
                    <a:pt x="35296" y="0"/>
                    <a:pt x="30692" y="0"/>
                  </a:cubicBezTo>
                  <a:close/>
                </a:path>
              </a:pathLst>
            </a:custGeom>
            <a:solidFill>
              <a:srgbClr val="231F20"/>
            </a:solidFill>
            <a:ln w="15169" cap="flat">
              <a:noFill/>
              <a:prstDash val="solid"/>
              <a:miter/>
            </a:ln>
          </p:spPr>
          <p:txBody>
            <a:bodyPr rtlCol="0" anchor="ctr"/>
            <a:lstStyle/>
            <a:p>
              <a:endParaRPr lang="de-DE"/>
            </a:p>
          </p:txBody>
        </p:sp>
      </p:grpSp>
      <p:grpSp>
        <p:nvGrpSpPr>
          <p:cNvPr id="2410" name="Graphic 3">
            <a:extLst>
              <a:ext uri="{FF2B5EF4-FFF2-40B4-BE49-F238E27FC236}">
                <a16:creationId xmlns:a16="http://schemas.microsoft.com/office/drawing/2014/main" id="{988151D5-A35D-4E18-A599-B48A863646B0}"/>
              </a:ext>
              <a:ext uri="{C183D7F6-B498-43B3-948B-1728B52AA6E4}">
                <adec:decorative xmlns:adec="http://schemas.microsoft.com/office/drawing/2017/decorative" val="1"/>
              </a:ext>
            </a:extLst>
          </p:cNvPr>
          <p:cNvGrpSpPr>
            <a:grpSpLocks noChangeAspect="1"/>
          </p:cNvGrpSpPr>
          <p:nvPr/>
        </p:nvGrpSpPr>
        <p:grpSpPr>
          <a:xfrm>
            <a:off x="3996062" y="4504121"/>
            <a:ext cx="147774" cy="129862"/>
            <a:chOff x="5832721" y="3212306"/>
            <a:chExt cx="510682" cy="448782"/>
          </a:xfrm>
          <a:solidFill>
            <a:srgbClr val="231F20"/>
          </a:solidFill>
        </p:grpSpPr>
        <p:sp>
          <p:nvSpPr>
            <p:cNvPr id="2411" name="Freeform: Shape 2410">
              <a:extLst>
                <a:ext uri="{FF2B5EF4-FFF2-40B4-BE49-F238E27FC236}">
                  <a16:creationId xmlns:a16="http://schemas.microsoft.com/office/drawing/2014/main" id="{6757F5BF-6F5B-48BE-8942-45FEC5E18653}"/>
                </a:ext>
              </a:extLst>
            </p:cNvPr>
            <p:cNvSpPr/>
            <p:nvPr/>
          </p:nvSpPr>
          <p:spPr>
            <a:xfrm>
              <a:off x="5832721" y="3212306"/>
              <a:ext cx="510682" cy="448782"/>
            </a:xfrm>
            <a:custGeom>
              <a:avLst/>
              <a:gdLst>
                <a:gd name="connsiteX0" fmla="*/ 509135 w 510682"/>
                <a:gd name="connsiteY0" fmla="*/ 0 h 448782"/>
                <a:gd name="connsiteX1" fmla="*/ 258436 w 510682"/>
                <a:gd name="connsiteY1" fmla="*/ 0 h 448782"/>
                <a:gd name="connsiteX2" fmla="*/ 250698 w 510682"/>
                <a:gd name="connsiteY2" fmla="*/ 7738 h 448782"/>
                <a:gd name="connsiteX3" fmla="*/ 250698 w 510682"/>
                <a:gd name="connsiteY3" fmla="*/ 60353 h 448782"/>
                <a:gd name="connsiteX4" fmla="*/ 258436 w 510682"/>
                <a:gd name="connsiteY4" fmla="*/ 68091 h 448782"/>
                <a:gd name="connsiteX5" fmla="*/ 270816 w 510682"/>
                <a:gd name="connsiteY5" fmla="*/ 68091 h 448782"/>
                <a:gd name="connsiteX6" fmla="*/ 270816 w 510682"/>
                <a:gd name="connsiteY6" fmla="*/ 259984 h 448782"/>
                <a:gd name="connsiteX7" fmla="*/ 32498 w 510682"/>
                <a:gd name="connsiteY7" fmla="*/ 259984 h 448782"/>
                <a:gd name="connsiteX8" fmla="*/ 0 w 510682"/>
                <a:gd name="connsiteY8" fmla="*/ 292482 h 448782"/>
                <a:gd name="connsiteX9" fmla="*/ 34045 w 510682"/>
                <a:gd name="connsiteY9" fmla="*/ 324980 h 448782"/>
                <a:gd name="connsiteX10" fmla="*/ 270816 w 510682"/>
                <a:gd name="connsiteY10" fmla="*/ 324980 h 448782"/>
                <a:gd name="connsiteX11" fmla="*/ 270816 w 510682"/>
                <a:gd name="connsiteY11" fmla="*/ 441044 h 448782"/>
                <a:gd name="connsiteX12" fmla="*/ 278554 w 510682"/>
                <a:gd name="connsiteY12" fmla="*/ 448782 h 448782"/>
                <a:gd name="connsiteX13" fmla="*/ 493659 w 510682"/>
                <a:gd name="connsiteY13" fmla="*/ 448782 h 448782"/>
                <a:gd name="connsiteX14" fmla="*/ 501397 w 510682"/>
                <a:gd name="connsiteY14" fmla="*/ 441044 h 448782"/>
                <a:gd name="connsiteX15" fmla="*/ 501397 w 510682"/>
                <a:gd name="connsiteY15" fmla="*/ 68091 h 448782"/>
                <a:gd name="connsiteX16" fmla="*/ 510682 w 510682"/>
                <a:gd name="connsiteY16" fmla="*/ 68091 h 448782"/>
                <a:gd name="connsiteX17" fmla="*/ 518420 w 510682"/>
                <a:gd name="connsiteY17" fmla="*/ 60353 h 448782"/>
                <a:gd name="connsiteX18" fmla="*/ 518420 w 510682"/>
                <a:gd name="connsiteY18" fmla="*/ 7738 h 448782"/>
                <a:gd name="connsiteX19" fmla="*/ 509135 w 510682"/>
                <a:gd name="connsiteY19" fmla="*/ 0 h 448782"/>
                <a:gd name="connsiteX20" fmla="*/ 140824 w 510682"/>
                <a:gd name="connsiteY20" fmla="*/ 309505 h 448782"/>
                <a:gd name="connsiteX21" fmla="*/ 162490 w 510682"/>
                <a:gd name="connsiteY21" fmla="*/ 275459 h 448782"/>
                <a:gd name="connsiteX22" fmla="*/ 216653 w 510682"/>
                <a:gd name="connsiteY22" fmla="*/ 275459 h 448782"/>
                <a:gd name="connsiteX23" fmla="*/ 194988 w 510682"/>
                <a:gd name="connsiteY23" fmla="*/ 309505 h 448782"/>
                <a:gd name="connsiteX24" fmla="*/ 140824 w 510682"/>
                <a:gd name="connsiteY24" fmla="*/ 309505 h 448782"/>
                <a:gd name="connsiteX25" fmla="*/ 66543 w 510682"/>
                <a:gd name="connsiteY25" fmla="*/ 309505 h 448782"/>
                <a:gd name="connsiteX26" fmla="*/ 88209 w 510682"/>
                <a:gd name="connsiteY26" fmla="*/ 275459 h 448782"/>
                <a:gd name="connsiteX27" fmla="*/ 143919 w 510682"/>
                <a:gd name="connsiteY27" fmla="*/ 275459 h 448782"/>
                <a:gd name="connsiteX28" fmla="*/ 122254 w 510682"/>
                <a:gd name="connsiteY28" fmla="*/ 309505 h 448782"/>
                <a:gd name="connsiteX29" fmla="*/ 66543 w 510682"/>
                <a:gd name="connsiteY29" fmla="*/ 309505 h 448782"/>
                <a:gd name="connsiteX30" fmla="*/ 15475 w 510682"/>
                <a:gd name="connsiteY30" fmla="*/ 292482 h 448782"/>
                <a:gd name="connsiteX31" fmla="*/ 32498 w 510682"/>
                <a:gd name="connsiteY31" fmla="*/ 275459 h 448782"/>
                <a:gd name="connsiteX32" fmla="*/ 71186 w 510682"/>
                <a:gd name="connsiteY32" fmla="*/ 275459 h 448782"/>
                <a:gd name="connsiteX33" fmla="*/ 47973 w 510682"/>
                <a:gd name="connsiteY33" fmla="*/ 309505 h 448782"/>
                <a:gd name="connsiteX34" fmla="*/ 34045 w 510682"/>
                <a:gd name="connsiteY34" fmla="*/ 309505 h 448782"/>
                <a:gd name="connsiteX35" fmla="*/ 15475 w 510682"/>
                <a:gd name="connsiteY35" fmla="*/ 292482 h 448782"/>
                <a:gd name="connsiteX36" fmla="*/ 213558 w 510682"/>
                <a:gd name="connsiteY36" fmla="*/ 309505 h 448782"/>
                <a:gd name="connsiteX37" fmla="*/ 235223 w 510682"/>
                <a:gd name="connsiteY37" fmla="*/ 275459 h 448782"/>
                <a:gd name="connsiteX38" fmla="*/ 270816 w 510682"/>
                <a:gd name="connsiteY38" fmla="*/ 275459 h 448782"/>
                <a:gd name="connsiteX39" fmla="*/ 270816 w 510682"/>
                <a:gd name="connsiteY39" fmla="*/ 309505 h 448782"/>
                <a:gd name="connsiteX40" fmla="*/ 213558 w 510682"/>
                <a:gd name="connsiteY40" fmla="*/ 309505 h 448782"/>
                <a:gd name="connsiteX41" fmla="*/ 484374 w 510682"/>
                <a:gd name="connsiteY41" fmla="*/ 434854 h 448782"/>
                <a:gd name="connsiteX42" fmla="*/ 286291 w 510682"/>
                <a:gd name="connsiteY42" fmla="*/ 434854 h 448782"/>
                <a:gd name="connsiteX43" fmla="*/ 286291 w 510682"/>
                <a:gd name="connsiteY43" fmla="*/ 318790 h 448782"/>
                <a:gd name="connsiteX44" fmla="*/ 286291 w 510682"/>
                <a:gd name="connsiteY44" fmla="*/ 269269 h 448782"/>
                <a:gd name="connsiteX45" fmla="*/ 286291 w 510682"/>
                <a:gd name="connsiteY45" fmla="*/ 68091 h 448782"/>
                <a:gd name="connsiteX46" fmla="*/ 485922 w 510682"/>
                <a:gd name="connsiteY46" fmla="*/ 68091 h 448782"/>
                <a:gd name="connsiteX47" fmla="*/ 485922 w 510682"/>
                <a:gd name="connsiteY47" fmla="*/ 434854 h 448782"/>
                <a:gd name="connsiteX48" fmla="*/ 501397 w 510682"/>
                <a:gd name="connsiteY48" fmla="*/ 52616 h 448782"/>
                <a:gd name="connsiteX49" fmla="*/ 492112 w 510682"/>
                <a:gd name="connsiteY49" fmla="*/ 52616 h 448782"/>
                <a:gd name="connsiteX50" fmla="*/ 278554 w 510682"/>
                <a:gd name="connsiteY50" fmla="*/ 52616 h 448782"/>
                <a:gd name="connsiteX51" fmla="*/ 266174 w 510682"/>
                <a:gd name="connsiteY51" fmla="*/ 52616 h 448782"/>
                <a:gd name="connsiteX52" fmla="*/ 266174 w 510682"/>
                <a:gd name="connsiteY52" fmla="*/ 15475 h 448782"/>
                <a:gd name="connsiteX53" fmla="*/ 501397 w 510682"/>
                <a:gd name="connsiteY53" fmla="*/ 15475 h 448782"/>
                <a:gd name="connsiteX54" fmla="*/ 501397 w 510682"/>
                <a:gd name="connsiteY54" fmla="*/ 52616 h 44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10682" h="448782">
                  <a:moveTo>
                    <a:pt x="509135" y="0"/>
                  </a:moveTo>
                  <a:lnTo>
                    <a:pt x="258436" y="0"/>
                  </a:lnTo>
                  <a:cubicBezTo>
                    <a:pt x="253793" y="0"/>
                    <a:pt x="250698" y="3095"/>
                    <a:pt x="250698" y="7738"/>
                  </a:cubicBezTo>
                  <a:lnTo>
                    <a:pt x="250698" y="60353"/>
                  </a:lnTo>
                  <a:cubicBezTo>
                    <a:pt x="250698" y="64996"/>
                    <a:pt x="253793" y="68091"/>
                    <a:pt x="258436" y="68091"/>
                  </a:cubicBezTo>
                  <a:lnTo>
                    <a:pt x="270816" y="68091"/>
                  </a:lnTo>
                  <a:lnTo>
                    <a:pt x="270816" y="259984"/>
                  </a:lnTo>
                  <a:lnTo>
                    <a:pt x="32498" y="259984"/>
                  </a:lnTo>
                  <a:cubicBezTo>
                    <a:pt x="20118" y="261532"/>
                    <a:pt x="0" y="269269"/>
                    <a:pt x="0" y="292482"/>
                  </a:cubicBezTo>
                  <a:cubicBezTo>
                    <a:pt x="0" y="317242"/>
                    <a:pt x="21665" y="324980"/>
                    <a:pt x="34045" y="324980"/>
                  </a:cubicBezTo>
                  <a:lnTo>
                    <a:pt x="270816" y="324980"/>
                  </a:lnTo>
                  <a:lnTo>
                    <a:pt x="270816" y="441044"/>
                  </a:lnTo>
                  <a:cubicBezTo>
                    <a:pt x="270816" y="445687"/>
                    <a:pt x="273911" y="448782"/>
                    <a:pt x="278554" y="448782"/>
                  </a:cubicBezTo>
                  <a:lnTo>
                    <a:pt x="493659" y="448782"/>
                  </a:lnTo>
                  <a:cubicBezTo>
                    <a:pt x="498302" y="448782"/>
                    <a:pt x="501397" y="445687"/>
                    <a:pt x="501397" y="441044"/>
                  </a:cubicBezTo>
                  <a:lnTo>
                    <a:pt x="501397" y="68091"/>
                  </a:lnTo>
                  <a:lnTo>
                    <a:pt x="510682" y="68091"/>
                  </a:lnTo>
                  <a:cubicBezTo>
                    <a:pt x="515325" y="68091"/>
                    <a:pt x="518420" y="64996"/>
                    <a:pt x="518420" y="60353"/>
                  </a:cubicBezTo>
                  <a:lnTo>
                    <a:pt x="518420" y="7738"/>
                  </a:lnTo>
                  <a:cubicBezTo>
                    <a:pt x="516872" y="3095"/>
                    <a:pt x="513777" y="0"/>
                    <a:pt x="509135" y="0"/>
                  </a:cubicBezTo>
                  <a:close/>
                  <a:moveTo>
                    <a:pt x="140824" y="309505"/>
                  </a:moveTo>
                  <a:lnTo>
                    <a:pt x="162490" y="275459"/>
                  </a:lnTo>
                  <a:lnTo>
                    <a:pt x="216653" y="275459"/>
                  </a:lnTo>
                  <a:lnTo>
                    <a:pt x="194988" y="309505"/>
                  </a:lnTo>
                  <a:lnTo>
                    <a:pt x="140824" y="309505"/>
                  </a:lnTo>
                  <a:close/>
                  <a:moveTo>
                    <a:pt x="66543" y="309505"/>
                  </a:moveTo>
                  <a:lnTo>
                    <a:pt x="88209" y="275459"/>
                  </a:lnTo>
                  <a:lnTo>
                    <a:pt x="143919" y="275459"/>
                  </a:lnTo>
                  <a:lnTo>
                    <a:pt x="122254" y="309505"/>
                  </a:lnTo>
                  <a:lnTo>
                    <a:pt x="66543" y="309505"/>
                  </a:lnTo>
                  <a:close/>
                  <a:moveTo>
                    <a:pt x="15475" y="292482"/>
                  </a:moveTo>
                  <a:cubicBezTo>
                    <a:pt x="15475" y="278554"/>
                    <a:pt x="32498" y="275459"/>
                    <a:pt x="32498" y="275459"/>
                  </a:cubicBezTo>
                  <a:lnTo>
                    <a:pt x="71186" y="275459"/>
                  </a:lnTo>
                  <a:lnTo>
                    <a:pt x="47973" y="309505"/>
                  </a:lnTo>
                  <a:lnTo>
                    <a:pt x="34045" y="309505"/>
                  </a:lnTo>
                  <a:cubicBezTo>
                    <a:pt x="32498" y="309505"/>
                    <a:pt x="15475" y="307957"/>
                    <a:pt x="15475" y="292482"/>
                  </a:cubicBezTo>
                  <a:close/>
                  <a:moveTo>
                    <a:pt x="213558" y="309505"/>
                  </a:moveTo>
                  <a:lnTo>
                    <a:pt x="235223" y="275459"/>
                  </a:lnTo>
                  <a:lnTo>
                    <a:pt x="270816" y="275459"/>
                  </a:lnTo>
                  <a:lnTo>
                    <a:pt x="270816" y="309505"/>
                  </a:lnTo>
                  <a:lnTo>
                    <a:pt x="213558" y="309505"/>
                  </a:lnTo>
                  <a:close/>
                  <a:moveTo>
                    <a:pt x="484374" y="434854"/>
                  </a:moveTo>
                  <a:lnTo>
                    <a:pt x="286291" y="434854"/>
                  </a:lnTo>
                  <a:lnTo>
                    <a:pt x="286291" y="318790"/>
                  </a:lnTo>
                  <a:lnTo>
                    <a:pt x="286291" y="269269"/>
                  </a:lnTo>
                  <a:lnTo>
                    <a:pt x="286291" y="68091"/>
                  </a:lnTo>
                  <a:lnTo>
                    <a:pt x="485922" y="68091"/>
                  </a:lnTo>
                  <a:lnTo>
                    <a:pt x="485922" y="434854"/>
                  </a:lnTo>
                  <a:close/>
                  <a:moveTo>
                    <a:pt x="501397" y="52616"/>
                  </a:moveTo>
                  <a:lnTo>
                    <a:pt x="492112" y="52616"/>
                  </a:lnTo>
                  <a:lnTo>
                    <a:pt x="278554" y="52616"/>
                  </a:lnTo>
                  <a:lnTo>
                    <a:pt x="266174" y="52616"/>
                  </a:lnTo>
                  <a:lnTo>
                    <a:pt x="266174" y="15475"/>
                  </a:lnTo>
                  <a:lnTo>
                    <a:pt x="501397" y="15475"/>
                  </a:lnTo>
                  <a:lnTo>
                    <a:pt x="501397" y="52616"/>
                  </a:lnTo>
                  <a:close/>
                </a:path>
              </a:pathLst>
            </a:custGeom>
            <a:solidFill>
              <a:srgbClr val="231F20"/>
            </a:solidFill>
            <a:ln w="15298" cap="flat">
              <a:noFill/>
              <a:prstDash val="solid"/>
              <a:miter/>
            </a:ln>
          </p:spPr>
          <p:txBody>
            <a:bodyPr rtlCol="0" anchor="ctr"/>
            <a:lstStyle/>
            <a:p>
              <a:endParaRPr lang="de-DE"/>
            </a:p>
          </p:txBody>
        </p:sp>
        <p:sp>
          <p:nvSpPr>
            <p:cNvPr id="2412" name="Freeform: Shape 2411">
              <a:extLst>
                <a:ext uri="{FF2B5EF4-FFF2-40B4-BE49-F238E27FC236}">
                  <a16:creationId xmlns:a16="http://schemas.microsoft.com/office/drawing/2014/main" id="{B6B53719-F39B-4BCC-BB5A-EAB86FEC30C9}"/>
                </a:ext>
              </a:extLst>
            </p:cNvPr>
            <p:cNvSpPr/>
            <p:nvPr/>
          </p:nvSpPr>
          <p:spPr>
            <a:xfrm>
              <a:off x="6132940" y="3294325"/>
              <a:ext cx="154752" cy="216653"/>
            </a:xfrm>
            <a:custGeom>
              <a:avLst/>
              <a:gdLst>
                <a:gd name="connsiteX0" fmla="*/ 32498 w 154752"/>
                <a:gd name="connsiteY0" fmla="*/ 225939 h 216653"/>
                <a:gd name="connsiteX1" fmla="*/ 133087 w 154752"/>
                <a:gd name="connsiteY1" fmla="*/ 225939 h 216653"/>
                <a:gd name="connsiteX2" fmla="*/ 165585 w 154752"/>
                <a:gd name="connsiteY2" fmla="*/ 193441 h 216653"/>
                <a:gd name="connsiteX3" fmla="*/ 165585 w 154752"/>
                <a:gd name="connsiteY3" fmla="*/ 32498 h 216653"/>
                <a:gd name="connsiteX4" fmla="*/ 133087 w 154752"/>
                <a:gd name="connsiteY4" fmla="*/ 0 h 216653"/>
                <a:gd name="connsiteX5" fmla="*/ 32498 w 154752"/>
                <a:gd name="connsiteY5" fmla="*/ 0 h 216653"/>
                <a:gd name="connsiteX6" fmla="*/ 0 w 154752"/>
                <a:gd name="connsiteY6" fmla="*/ 32498 h 216653"/>
                <a:gd name="connsiteX7" fmla="*/ 0 w 154752"/>
                <a:gd name="connsiteY7" fmla="*/ 194988 h 216653"/>
                <a:gd name="connsiteX8" fmla="*/ 32498 w 154752"/>
                <a:gd name="connsiteY8" fmla="*/ 225939 h 216653"/>
                <a:gd name="connsiteX9" fmla="*/ 15475 w 154752"/>
                <a:gd name="connsiteY9" fmla="*/ 32498 h 216653"/>
                <a:gd name="connsiteX10" fmla="*/ 32498 w 154752"/>
                <a:gd name="connsiteY10" fmla="*/ 15475 h 216653"/>
                <a:gd name="connsiteX11" fmla="*/ 133087 w 154752"/>
                <a:gd name="connsiteY11" fmla="*/ 15475 h 216653"/>
                <a:gd name="connsiteX12" fmla="*/ 150110 w 154752"/>
                <a:gd name="connsiteY12" fmla="*/ 32498 h 216653"/>
                <a:gd name="connsiteX13" fmla="*/ 150110 w 154752"/>
                <a:gd name="connsiteY13" fmla="*/ 194988 h 216653"/>
                <a:gd name="connsiteX14" fmla="*/ 133087 w 154752"/>
                <a:gd name="connsiteY14" fmla="*/ 212011 h 216653"/>
                <a:gd name="connsiteX15" fmla="*/ 32498 w 154752"/>
                <a:gd name="connsiteY15" fmla="*/ 212011 h 216653"/>
                <a:gd name="connsiteX16" fmla="*/ 15475 w 154752"/>
                <a:gd name="connsiteY16" fmla="*/ 194988 h 216653"/>
                <a:gd name="connsiteX17" fmla="*/ 15475 w 154752"/>
                <a:gd name="connsiteY17" fmla="*/ 32498 h 21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752" h="216653">
                  <a:moveTo>
                    <a:pt x="32498" y="225939"/>
                  </a:moveTo>
                  <a:lnTo>
                    <a:pt x="133087" y="225939"/>
                  </a:lnTo>
                  <a:cubicBezTo>
                    <a:pt x="151657" y="225939"/>
                    <a:pt x="165585" y="212011"/>
                    <a:pt x="165585" y="193441"/>
                  </a:cubicBezTo>
                  <a:lnTo>
                    <a:pt x="165585" y="32498"/>
                  </a:lnTo>
                  <a:cubicBezTo>
                    <a:pt x="165585" y="13928"/>
                    <a:pt x="151657" y="0"/>
                    <a:pt x="133087" y="0"/>
                  </a:cubicBezTo>
                  <a:lnTo>
                    <a:pt x="32498" y="0"/>
                  </a:lnTo>
                  <a:cubicBezTo>
                    <a:pt x="13928" y="0"/>
                    <a:pt x="0" y="13928"/>
                    <a:pt x="0" y="32498"/>
                  </a:cubicBezTo>
                  <a:lnTo>
                    <a:pt x="0" y="194988"/>
                  </a:lnTo>
                  <a:cubicBezTo>
                    <a:pt x="0" y="212011"/>
                    <a:pt x="15475" y="225939"/>
                    <a:pt x="32498" y="225939"/>
                  </a:cubicBezTo>
                  <a:close/>
                  <a:moveTo>
                    <a:pt x="15475" y="32498"/>
                  </a:moveTo>
                  <a:cubicBezTo>
                    <a:pt x="15475" y="23213"/>
                    <a:pt x="23213" y="15475"/>
                    <a:pt x="32498" y="15475"/>
                  </a:cubicBezTo>
                  <a:lnTo>
                    <a:pt x="133087" y="15475"/>
                  </a:lnTo>
                  <a:cubicBezTo>
                    <a:pt x="142372" y="15475"/>
                    <a:pt x="150110" y="23213"/>
                    <a:pt x="150110" y="32498"/>
                  </a:cubicBezTo>
                  <a:lnTo>
                    <a:pt x="150110" y="194988"/>
                  </a:lnTo>
                  <a:cubicBezTo>
                    <a:pt x="150110" y="204273"/>
                    <a:pt x="142372" y="212011"/>
                    <a:pt x="133087" y="212011"/>
                  </a:cubicBezTo>
                  <a:lnTo>
                    <a:pt x="32498" y="212011"/>
                  </a:lnTo>
                  <a:cubicBezTo>
                    <a:pt x="23213" y="212011"/>
                    <a:pt x="15475" y="204273"/>
                    <a:pt x="15475" y="194988"/>
                  </a:cubicBezTo>
                  <a:lnTo>
                    <a:pt x="15475" y="32498"/>
                  </a:lnTo>
                  <a:close/>
                </a:path>
              </a:pathLst>
            </a:custGeom>
            <a:solidFill>
              <a:srgbClr val="231F20"/>
            </a:solidFill>
            <a:ln w="15298" cap="flat">
              <a:noFill/>
              <a:prstDash val="solid"/>
              <a:miter/>
            </a:ln>
          </p:spPr>
          <p:txBody>
            <a:bodyPr rtlCol="0" anchor="ctr"/>
            <a:lstStyle/>
            <a:p>
              <a:endParaRPr lang="de-DE"/>
            </a:p>
          </p:txBody>
        </p:sp>
      </p:grpSp>
      <p:grpSp>
        <p:nvGrpSpPr>
          <p:cNvPr id="2413" name="Graphic 3">
            <a:extLst>
              <a:ext uri="{FF2B5EF4-FFF2-40B4-BE49-F238E27FC236}">
                <a16:creationId xmlns:a16="http://schemas.microsoft.com/office/drawing/2014/main" id="{0B853FCA-B015-40DC-9FC9-074345652C6D}"/>
              </a:ext>
              <a:ext uri="{C183D7F6-B498-43B3-948B-1728B52AA6E4}">
                <adec:decorative xmlns:adec="http://schemas.microsoft.com/office/drawing/2017/decorative" val="1"/>
              </a:ext>
            </a:extLst>
          </p:cNvPr>
          <p:cNvGrpSpPr>
            <a:grpSpLocks noChangeAspect="1"/>
          </p:cNvGrpSpPr>
          <p:nvPr/>
        </p:nvGrpSpPr>
        <p:grpSpPr>
          <a:xfrm>
            <a:off x="4302104" y="4504121"/>
            <a:ext cx="157689" cy="129862"/>
            <a:chOff x="5842000" y="3234058"/>
            <a:chExt cx="492125" cy="405279"/>
          </a:xfrm>
          <a:solidFill>
            <a:srgbClr val="000000"/>
          </a:solidFill>
        </p:grpSpPr>
        <p:sp>
          <p:nvSpPr>
            <p:cNvPr id="2414" name="Freeform: Shape 2413">
              <a:extLst>
                <a:ext uri="{FF2B5EF4-FFF2-40B4-BE49-F238E27FC236}">
                  <a16:creationId xmlns:a16="http://schemas.microsoft.com/office/drawing/2014/main" id="{4CC69E04-36C5-4595-9269-3840E04FAB7C}"/>
                </a:ext>
              </a:extLst>
            </p:cNvPr>
            <p:cNvSpPr/>
            <p:nvPr/>
          </p:nvSpPr>
          <p:spPr>
            <a:xfrm>
              <a:off x="5842000" y="3234058"/>
              <a:ext cx="492125" cy="405279"/>
            </a:xfrm>
            <a:custGeom>
              <a:avLst/>
              <a:gdLst>
                <a:gd name="connsiteX0" fmla="*/ 481993 w 492125"/>
                <a:gd name="connsiteY0" fmla="*/ 243167 h 405279"/>
                <a:gd name="connsiteX1" fmla="*/ 453044 w 492125"/>
                <a:gd name="connsiteY1" fmla="*/ 243167 h 405279"/>
                <a:gd name="connsiteX2" fmla="*/ 454492 w 492125"/>
                <a:gd name="connsiteY2" fmla="*/ 233035 h 405279"/>
                <a:gd name="connsiteX3" fmla="*/ 431333 w 492125"/>
                <a:gd name="connsiteY3" fmla="*/ 208429 h 405279"/>
                <a:gd name="connsiteX4" fmla="*/ 377778 w 492125"/>
                <a:gd name="connsiteY4" fmla="*/ 205534 h 405279"/>
                <a:gd name="connsiteX5" fmla="*/ 330013 w 492125"/>
                <a:gd name="connsiteY5" fmla="*/ 204087 h 405279"/>
                <a:gd name="connsiteX6" fmla="*/ 286590 w 492125"/>
                <a:gd name="connsiteY6" fmla="*/ 202640 h 405279"/>
                <a:gd name="connsiteX7" fmla="*/ 270669 w 492125"/>
                <a:gd name="connsiteY7" fmla="*/ 202640 h 405279"/>
                <a:gd name="connsiteX8" fmla="*/ 270669 w 492125"/>
                <a:gd name="connsiteY8" fmla="*/ 201192 h 405279"/>
                <a:gd name="connsiteX9" fmla="*/ 270669 w 492125"/>
                <a:gd name="connsiteY9" fmla="*/ 27501 h 405279"/>
                <a:gd name="connsiteX10" fmla="*/ 299617 w 492125"/>
                <a:gd name="connsiteY10" fmla="*/ 27501 h 405279"/>
                <a:gd name="connsiteX11" fmla="*/ 306854 w 492125"/>
                <a:gd name="connsiteY11" fmla="*/ 20264 h 405279"/>
                <a:gd name="connsiteX12" fmla="*/ 299617 w 492125"/>
                <a:gd name="connsiteY12" fmla="*/ 13027 h 405279"/>
                <a:gd name="connsiteX13" fmla="*/ 227246 w 492125"/>
                <a:gd name="connsiteY13" fmla="*/ 13027 h 405279"/>
                <a:gd name="connsiteX14" fmla="*/ 220009 w 492125"/>
                <a:gd name="connsiteY14" fmla="*/ 20264 h 405279"/>
                <a:gd name="connsiteX15" fmla="*/ 221456 w 492125"/>
                <a:gd name="connsiteY15" fmla="*/ 24606 h 405279"/>
                <a:gd name="connsiteX16" fmla="*/ 221456 w 492125"/>
                <a:gd name="connsiteY16" fmla="*/ 50660 h 405279"/>
                <a:gd name="connsiteX17" fmla="*/ 212772 w 492125"/>
                <a:gd name="connsiteY17" fmla="*/ 50660 h 405279"/>
                <a:gd name="connsiteX18" fmla="*/ 205535 w 492125"/>
                <a:gd name="connsiteY18" fmla="*/ 57897 h 405279"/>
                <a:gd name="connsiteX19" fmla="*/ 205535 w 492125"/>
                <a:gd name="connsiteY19" fmla="*/ 105662 h 405279"/>
                <a:gd name="connsiteX20" fmla="*/ 218561 w 492125"/>
                <a:gd name="connsiteY20" fmla="*/ 118689 h 405279"/>
                <a:gd name="connsiteX21" fmla="*/ 221456 w 492125"/>
                <a:gd name="connsiteY21" fmla="*/ 118689 h 405279"/>
                <a:gd name="connsiteX22" fmla="*/ 221456 w 492125"/>
                <a:gd name="connsiteY22" fmla="*/ 121584 h 405279"/>
                <a:gd name="connsiteX23" fmla="*/ 233036 w 492125"/>
                <a:gd name="connsiteY23" fmla="*/ 176586 h 405279"/>
                <a:gd name="connsiteX24" fmla="*/ 227246 w 492125"/>
                <a:gd name="connsiteY24" fmla="*/ 198297 h 405279"/>
                <a:gd name="connsiteX25" fmla="*/ 225799 w 492125"/>
                <a:gd name="connsiteY25" fmla="*/ 199745 h 405279"/>
                <a:gd name="connsiteX26" fmla="*/ 173691 w 492125"/>
                <a:gd name="connsiteY26" fmla="*/ 193955 h 405279"/>
                <a:gd name="connsiteX27" fmla="*/ 124479 w 492125"/>
                <a:gd name="connsiteY27" fmla="*/ 191060 h 405279"/>
                <a:gd name="connsiteX28" fmla="*/ 124479 w 492125"/>
                <a:gd name="connsiteY28" fmla="*/ 136058 h 405279"/>
                <a:gd name="connsiteX29" fmla="*/ 185271 w 492125"/>
                <a:gd name="connsiteY29" fmla="*/ 136058 h 405279"/>
                <a:gd name="connsiteX30" fmla="*/ 192508 w 492125"/>
                <a:gd name="connsiteY30" fmla="*/ 128821 h 405279"/>
                <a:gd name="connsiteX31" fmla="*/ 192508 w 492125"/>
                <a:gd name="connsiteY31" fmla="*/ 7237 h 405279"/>
                <a:gd name="connsiteX32" fmla="*/ 185271 w 492125"/>
                <a:gd name="connsiteY32" fmla="*/ 0 h 405279"/>
                <a:gd name="connsiteX33" fmla="*/ 53555 w 492125"/>
                <a:gd name="connsiteY33" fmla="*/ 0 h 405279"/>
                <a:gd name="connsiteX34" fmla="*/ 46318 w 492125"/>
                <a:gd name="connsiteY34" fmla="*/ 7237 h 405279"/>
                <a:gd name="connsiteX35" fmla="*/ 46318 w 492125"/>
                <a:gd name="connsiteY35" fmla="*/ 128821 h 405279"/>
                <a:gd name="connsiteX36" fmla="*/ 53555 w 492125"/>
                <a:gd name="connsiteY36" fmla="*/ 136058 h 405279"/>
                <a:gd name="connsiteX37" fmla="*/ 111452 w 492125"/>
                <a:gd name="connsiteY37" fmla="*/ 136058 h 405279"/>
                <a:gd name="connsiteX38" fmla="*/ 111452 w 492125"/>
                <a:gd name="connsiteY38" fmla="*/ 201192 h 405279"/>
                <a:gd name="connsiteX39" fmla="*/ 108557 w 492125"/>
                <a:gd name="connsiteY39" fmla="*/ 238825 h 405279"/>
                <a:gd name="connsiteX40" fmla="*/ 114347 w 492125"/>
                <a:gd name="connsiteY40" fmla="*/ 244615 h 405279"/>
                <a:gd name="connsiteX41" fmla="*/ 105662 w 492125"/>
                <a:gd name="connsiteY41" fmla="*/ 244615 h 405279"/>
                <a:gd name="connsiteX42" fmla="*/ 94083 w 492125"/>
                <a:gd name="connsiteY42" fmla="*/ 228693 h 405279"/>
                <a:gd name="connsiteX43" fmla="*/ 105662 w 492125"/>
                <a:gd name="connsiteY43" fmla="*/ 205534 h 405279"/>
                <a:gd name="connsiteX44" fmla="*/ 105662 w 492125"/>
                <a:gd name="connsiteY44" fmla="*/ 205534 h 405279"/>
                <a:gd name="connsiteX45" fmla="*/ 72371 w 492125"/>
                <a:gd name="connsiteY45" fmla="*/ 163559 h 405279"/>
                <a:gd name="connsiteX46" fmla="*/ 44870 w 492125"/>
                <a:gd name="connsiteY46" fmla="*/ 172244 h 405279"/>
                <a:gd name="connsiteX47" fmla="*/ 31843 w 492125"/>
                <a:gd name="connsiteY47" fmla="*/ 198297 h 405279"/>
                <a:gd name="connsiteX48" fmla="*/ 40528 w 492125"/>
                <a:gd name="connsiteY48" fmla="*/ 225798 h 405279"/>
                <a:gd name="connsiteX49" fmla="*/ 18817 w 492125"/>
                <a:gd name="connsiteY49" fmla="*/ 244615 h 405279"/>
                <a:gd name="connsiteX50" fmla="*/ 13027 w 492125"/>
                <a:gd name="connsiteY50" fmla="*/ 244615 h 405279"/>
                <a:gd name="connsiteX51" fmla="*/ 0 w 492125"/>
                <a:gd name="connsiteY51" fmla="*/ 257642 h 405279"/>
                <a:gd name="connsiteX52" fmla="*/ 0 w 492125"/>
                <a:gd name="connsiteY52" fmla="*/ 305407 h 405279"/>
                <a:gd name="connsiteX53" fmla="*/ 13027 w 492125"/>
                <a:gd name="connsiteY53" fmla="*/ 318434 h 405279"/>
                <a:gd name="connsiteX54" fmla="*/ 43423 w 492125"/>
                <a:gd name="connsiteY54" fmla="*/ 318434 h 405279"/>
                <a:gd name="connsiteX55" fmla="*/ 43423 w 492125"/>
                <a:gd name="connsiteY55" fmla="*/ 398042 h 405279"/>
                <a:gd name="connsiteX56" fmla="*/ 50660 w 492125"/>
                <a:gd name="connsiteY56" fmla="*/ 405279 h 405279"/>
                <a:gd name="connsiteX57" fmla="*/ 57897 w 492125"/>
                <a:gd name="connsiteY57" fmla="*/ 398042 h 405279"/>
                <a:gd name="connsiteX58" fmla="*/ 57897 w 492125"/>
                <a:gd name="connsiteY58" fmla="*/ 318434 h 405279"/>
                <a:gd name="connsiteX59" fmla="*/ 428438 w 492125"/>
                <a:gd name="connsiteY59" fmla="*/ 318434 h 405279"/>
                <a:gd name="connsiteX60" fmla="*/ 428438 w 492125"/>
                <a:gd name="connsiteY60" fmla="*/ 398042 h 405279"/>
                <a:gd name="connsiteX61" fmla="*/ 435675 w 492125"/>
                <a:gd name="connsiteY61" fmla="*/ 405279 h 405279"/>
                <a:gd name="connsiteX62" fmla="*/ 442913 w 492125"/>
                <a:gd name="connsiteY62" fmla="*/ 398042 h 405279"/>
                <a:gd name="connsiteX63" fmla="*/ 442913 w 492125"/>
                <a:gd name="connsiteY63" fmla="*/ 318434 h 405279"/>
                <a:gd name="connsiteX64" fmla="*/ 481993 w 492125"/>
                <a:gd name="connsiteY64" fmla="*/ 318434 h 405279"/>
                <a:gd name="connsiteX65" fmla="*/ 497915 w 492125"/>
                <a:gd name="connsiteY65" fmla="*/ 302512 h 405279"/>
                <a:gd name="connsiteX66" fmla="*/ 497915 w 492125"/>
                <a:gd name="connsiteY66" fmla="*/ 259089 h 405279"/>
                <a:gd name="connsiteX67" fmla="*/ 481993 w 492125"/>
                <a:gd name="connsiteY67" fmla="*/ 243167 h 405279"/>
                <a:gd name="connsiteX68" fmla="*/ 179481 w 492125"/>
                <a:gd name="connsiteY68" fmla="*/ 14474 h 405279"/>
                <a:gd name="connsiteX69" fmla="*/ 179481 w 492125"/>
                <a:gd name="connsiteY69" fmla="*/ 92635 h 405279"/>
                <a:gd name="connsiteX70" fmla="*/ 60792 w 492125"/>
                <a:gd name="connsiteY70" fmla="*/ 92635 h 405279"/>
                <a:gd name="connsiteX71" fmla="*/ 60792 w 492125"/>
                <a:gd name="connsiteY71" fmla="*/ 14474 h 405279"/>
                <a:gd name="connsiteX72" fmla="*/ 179481 w 492125"/>
                <a:gd name="connsiteY72" fmla="*/ 14474 h 405279"/>
                <a:gd name="connsiteX73" fmla="*/ 60792 w 492125"/>
                <a:gd name="connsiteY73" fmla="*/ 107109 h 405279"/>
                <a:gd name="connsiteX74" fmla="*/ 179481 w 492125"/>
                <a:gd name="connsiteY74" fmla="*/ 107109 h 405279"/>
                <a:gd name="connsiteX75" fmla="*/ 179481 w 492125"/>
                <a:gd name="connsiteY75" fmla="*/ 121584 h 405279"/>
                <a:gd name="connsiteX76" fmla="*/ 60792 w 492125"/>
                <a:gd name="connsiteY76" fmla="*/ 121584 h 405279"/>
                <a:gd name="connsiteX77" fmla="*/ 60792 w 492125"/>
                <a:gd name="connsiteY77" fmla="*/ 107109 h 405279"/>
                <a:gd name="connsiteX78" fmla="*/ 222904 w 492125"/>
                <a:gd name="connsiteY78" fmla="*/ 65134 h 405279"/>
                <a:gd name="connsiteX79" fmla="*/ 240273 w 492125"/>
                <a:gd name="connsiteY79" fmla="*/ 65134 h 405279"/>
                <a:gd name="connsiteX80" fmla="*/ 240273 w 492125"/>
                <a:gd name="connsiteY80" fmla="*/ 104215 h 405279"/>
                <a:gd name="connsiteX81" fmla="*/ 222904 w 492125"/>
                <a:gd name="connsiteY81" fmla="*/ 104215 h 405279"/>
                <a:gd name="connsiteX82" fmla="*/ 222904 w 492125"/>
                <a:gd name="connsiteY82" fmla="*/ 65134 h 405279"/>
                <a:gd name="connsiteX83" fmla="*/ 244615 w 492125"/>
                <a:gd name="connsiteY83" fmla="*/ 165006 h 405279"/>
                <a:gd name="connsiteX84" fmla="*/ 235931 w 492125"/>
                <a:gd name="connsiteY84" fmla="*/ 123031 h 405279"/>
                <a:gd name="connsiteX85" fmla="*/ 237378 w 492125"/>
                <a:gd name="connsiteY85" fmla="*/ 117241 h 405279"/>
                <a:gd name="connsiteX86" fmla="*/ 241720 w 492125"/>
                <a:gd name="connsiteY86" fmla="*/ 117241 h 405279"/>
                <a:gd name="connsiteX87" fmla="*/ 254747 w 492125"/>
                <a:gd name="connsiteY87" fmla="*/ 104215 h 405279"/>
                <a:gd name="connsiteX88" fmla="*/ 254747 w 492125"/>
                <a:gd name="connsiteY88" fmla="*/ 57897 h 405279"/>
                <a:gd name="connsiteX89" fmla="*/ 247510 w 492125"/>
                <a:gd name="connsiteY89" fmla="*/ 50660 h 405279"/>
                <a:gd name="connsiteX90" fmla="*/ 238825 w 492125"/>
                <a:gd name="connsiteY90" fmla="*/ 50660 h 405279"/>
                <a:gd name="connsiteX91" fmla="*/ 238825 w 492125"/>
                <a:gd name="connsiteY91" fmla="*/ 26054 h 405279"/>
                <a:gd name="connsiteX92" fmla="*/ 257642 w 492125"/>
                <a:gd name="connsiteY92" fmla="*/ 26054 h 405279"/>
                <a:gd name="connsiteX93" fmla="*/ 257642 w 492125"/>
                <a:gd name="connsiteY93" fmla="*/ 199745 h 405279"/>
                <a:gd name="connsiteX94" fmla="*/ 257642 w 492125"/>
                <a:gd name="connsiteY94" fmla="*/ 201192 h 405279"/>
                <a:gd name="connsiteX95" fmla="*/ 243168 w 492125"/>
                <a:gd name="connsiteY95" fmla="*/ 199745 h 405279"/>
                <a:gd name="connsiteX96" fmla="*/ 244615 w 492125"/>
                <a:gd name="connsiteY96" fmla="*/ 165006 h 405279"/>
                <a:gd name="connsiteX97" fmla="*/ 185271 w 492125"/>
                <a:gd name="connsiteY97" fmla="*/ 243167 h 405279"/>
                <a:gd name="connsiteX98" fmla="*/ 133163 w 492125"/>
                <a:gd name="connsiteY98" fmla="*/ 235930 h 405279"/>
                <a:gd name="connsiteX99" fmla="*/ 120136 w 492125"/>
                <a:gd name="connsiteY99" fmla="*/ 228693 h 405279"/>
                <a:gd name="connsiteX100" fmla="*/ 121584 w 492125"/>
                <a:gd name="connsiteY100" fmla="*/ 209877 h 405279"/>
                <a:gd name="connsiteX101" fmla="*/ 124479 w 492125"/>
                <a:gd name="connsiteY101" fmla="*/ 206982 h 405279"/>
                <a:gd name="connsiteX102" fmla="*/ 170796 w 492125"/>
                <a:gd name="connsiteY102" fmla="*/ 205534 h 405279"/>
                <a:gd name="connsiteX103" fmla="*/ 285143 w 492125"/>
                <a:gd name="connsiteY103" fmla="*/ 215666 h 405279"/>
                <a:gd name="connsiteX104" fmla="*/ 327118 w 492125"/>
                <a:gd name="connsiteY104" fmla="*/ 218561 h 405279"/>
                <a:gd name="connsiteX105" fmla="*/ 374883 w 492125"/>
                <a:gd name="connsiteY105" fmla="*/ 220009 h 405279"/>
                <a:gd name="connsiteX106" fmla="*/ 428438 w 492125"/>
                <a:gd name="connsiteY106" fmla="*/ 222903 h 405279"/>
                <a:gd name="connsiteX107" fmla="*/ 438570 w 492125"/>
                <a:gd name="connsiteY107" fmla="*/ 233035 h 405279"/>
                <a:gd name="connsiteX108" fmla="*/ 428438 w 492125"/>
                <a:gd name="connsiteY108" fmla="*/ 243167 h 405279"/>
                <a:gd name="connsiteX109" fmla="*/ 400937 w 492125"/>
                <a:gd name="connsiteY109" fmla="*/ 243167 h 405279"/>
                <a:gd name="connsiteX110" fmla="*/ 282248 w 492125"/>
                <a:gd name="connsiteY110" fmla="*/ 243167 h 405279"/>
                <a:gd name="connsiteX111" fmla="*/ 283696 w 492125"/>
                <a:gd name="connsiteY111" fmla="*/ 237378 h 405279"/>
                <a:gd name="connsiteX112" fmla="*/ 261984 w 492125"/>
                <a:gd name="connsiteY112" fmla="*/ 215666 h 405279"/>
                <a:gd name="connsiteX113" fmla="*/ 193955 w 492125"/>
                <a:gd name="connsiteY113" fmla="*/ 215666 h 405279"/>
                <a:gd name="connsiteX114" fmla="*/ 170796 w 492125"/>
                <a:gd name="connsiteY114" fmla="*/ 208429 h 405279"/>
                <a:gd name="connsiteX115" fmla="*/ 162112 w 492125"/>
                <a:gd name="connsiteY115" fmla="*/ 212771 h 405279"/>
                <a:gd name="connsiteX116" fmla="*/ 166454 w 492125"/>
                <a:gd name="connsiteY116" fmla="*/ 221456 h 405279"/>
                <a:gd name="connsiteX117" fmla="*/ 191060 w 492125"/>
                <a:gd name="connsiteY117" fmla="*/ 228693 h 405279"/>
                <a:gd name="connsiteX118" fmla="*/ 192508 w 492125"/>
                <a:gd name="connsiteY118" fmla="*/ 228693 h 405279"/>
                <a:gd name="connsiteX119" fmla="*/ 261984 w 492125"/>
                <a:gd name="connsiteY119" fmla="*/ 228693 h 405279"/>
                <a:gd name="connsiteX120" fmla="*/ 269221 w 492125"/>
                <a:gd name="connsiteY120" fmla="*/ 235930 h 405279"/>
                <a:gd name="connsiteX121" fmla="*/ 261984 w 492125"/>
                <a:gd name="connsiteY121" fmla="*/ 241720 h 405279"/>
                <a:gd name="connsiteX122" fmla="*/ 185271 w 492125"/>
                <a:gd name="connsiteY122" fmla="*/ 243167 h 405279"/>
                <a:gd name="connsiteX123" fmla="*/ 185271 w 492125"/>
                <a:gd name="connsiteY123" fmla="*/ 243167 h 405279"/>
                <a:gd name="connsiteX124" fmla="*/ 44870 w 492125"/>
                <a:gd name="connsiteY124" fmla="*/ 198297 h 405279"/>
                <a:gd name="connsiteX125" fmla="*/ 53555 w 492125"/>
                <a:gd name="connsiteY125" fmla="*/ 182376 h 405279"/>
                <a:gd name="connsiteX126" fmla="*/ 68029 w 492125"/>
                <a:gd name="connsiteY126" fmla="*/ 176586 h 405279"/>
                <a:gd name="connsiteX127" fmla="*/ 70924 w 492125"/>
                <a:gd name="connsiteY127" fmla="*/ 176586 h 405279"/>
                <a:gd name="connsiteX128" fmla="*/ 91188 w 492125"/>
                <a:gd name="connsiteY128" fmla="*/ 202640 h 405279"/>
                <a:gd name="connsiteX129" fmla="*/ 65134 w 492125"/>
                <a:gd name="connsiteY129" fmla="*/ 222903 h 405279"/>
                <a:gd name="connsiteX130" fmla="*/ 49213 w 492125"/>
                <a:gd name="connsiteY130" fmla="*/ 214219 h 405279"/>
                <a:gd name="connsiteX131" fmla="*/ 44870 w 492125"/>
                <a:gd name="connsiteY131" fmla="*/ 198297 h 405279"/>
                <a:gd name="connsiteX132" fmla="*/ 40528 w 492125"/>
                <a:gd name="connsiteY132" fmla="*/ 238825 h 405279"/>
                <a:gd name="connsiteX133" fmla="*/ 81056 w 492125"/>
                <a:gd name="connsiteY133" fmla="*/ 238825 h 405279"/>
                <a:gd name="connsiteX134" fmla="*/ 89740 w 492125"/>
                <a:gd name="connsiteY134" fmla="*/ 243167 h 405279"/>
                <a:gd name="connsiteX135" fmla="*/ 31843 w 492125"/>
                <a:gd name="connsiteY135" fmla="*/ 243167 h 405279"/>
                <a:gd name="connsiteX136" fmla="*/ 40528 w 492125"/>
                <a:gd name="connsiteY136" fmla="*/ 238825 h 405279"/>
                <a:gd name="connsiteX137" fmla="*/ 481993 w 492125"/>
                <a:gd name="connsiteY137" fmla="*/ 302512 h 405279"/>
                <a:gd name="connsiteX138" fmla="*/ 481993 w 492125"/>
                <a:gd name="connsiteY138" fmla="*/ 302512 h 405279"/>
                <a:gd name="connsiteX139" fmla="*/ 14474 w 492125"/>
                <a:gd name="connsiteY139" fmla="*/ 303959 h 405279"/>
                <a:gd name="connsiteX140" fmla="*/ 14474 w 492125"/>
                <a:gd name="connsiteY140" fmla="*/ 259089 h 405279"/>
                <a:gd name="connsiteX141" fmla="*/ 261984 w 492125"/>
                <a:gd name="connsiteY141" fmla="*/ 259089 h 405279"/>
                <a:gd name="connsiteX142" fmla="*/ 261984 w 492125"/>
                <a:gd name="connsiteY142" fmla="*/ 259089 h 405279"/>
                <a:gd name="connsiteX143" fmla="*/ 261984 w 492125"/>
                <a:gd name="connsiteY143" fmla="*/ 259089 h 405279"/>
                <a:gd name="connsiteX144" fmla="*/ 261984 w 492125"/>
                <a:gd name="connsiteY144" fmla="*/ 259089 h 405279"/>
                <a:gd name="connsiteX145" fmla="*/ 402385 w 492125"/>
                <a:gd name="connsiteY145" fmla="*/ 259089 h 405279"/>
                <a:gd name="connsiteX146" fmla="*/ 429886 w 492125"/>
                <a:gd name="connsiteY146" fmla="*/ 259089 h 405279"/>
                <a:gd name="connsiteX147" fmla="*/ 480546 w 492125"/>
                <a:gd name="connsiteY147" fmla="*/ 259089 h 405279"/>
                <a:gd name="connsiteX148" fmla="*/ 481993 w 492125"/>
                <a:gd name="connsiteY148" fmla="*/ 260537 h 405279"/>
                <a:gd name="connsiteX149" fmla="*/ 481993 w 492125"/>
                <a:gd name="connsiteY149" fmla="*/ 302512 h 40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92125" h="405279">
                  <a:moveTo>
                    <a:pt x="481993" y="243167"/>
                  </a:moveTo>
                  <a:lnTo>
                    <a:pt x="453044" y="243167"/>
                  </a:lnTo>
                  <a:cubicBezTo>
                    <a:pt x="454492" y="240273"/>
                    <a:pt x="454492" y="237378"/>
                    <a:pt x="454492" y="233035"/>
                  </a:cubicBezTo>
                  <a:cubicBezTo>
                    <a:pt x="454492" y="220009"/>
                    <a:pt x="444360" y="209877"/>
                    <a:pt x="431333" y="208429"/>
                  </a:cubicBezTo>
                  <a:lnTo>
                    <a:pt x="377778" y="205534"/>
                  </a:lnTo>
                  <a:lnTo>
                    <a:pt x="330013" y="204087"/>
                  </a:lnTo>
                  <a:lnTo>
                    <a:pt x="286590" y="202640"/>
                  </a:lnTo>
                  <a:cubicBezTo>
                    <a:pt x="286590" y="202640"/>
                    <a:pt x="280801" y="202640"/>
                    <a:pt x="270669" y="202640"/>
                  </a:cubicBezTo>
                  <a:cubicBezTo>
                    <a:pt x="270669" y="202640"/>
                    <a:pt x="270669" y="201192"/>
                    <a:pt x="270669" y="201192"/>
                  </a:cubicBezTo>
                  <a:lnTo>
                    <a:pt x="270669" y="27501"/>
                  </a:lnTo>
                  <a:lnTo>
                    <a:pt x="299617" y="27501"/>
                  </a:lnTo>
                  <a:cubicBezTo>
                    <a:pt x="303960" y="27501"/>
                    <a:pt x="306854" y="24606"/>
                    <a:pt x="306854" y="20264"/>
                  </a:cubicBezTo>
                  <a:cubicBezTo>
                    <a:pt x="306854" y="15922"/>
                    <a:pt x="303960" y="13027"/>
                    <a:pt x="299617" y="13027"/>
                  </a:cubicBezTo>
                  <a:lnTo>
                    <a:pt x="227246" y="13027"/>
                  </a:lnTo>
                  <a:cubicBezTo>
                    <a:pt x="222904" y="13027"/>
                    <a:pt x="220009" y="15922"/>
                    <a:pt x="220009" y="20264"/>
                  </a:cubicBezTo>
                  <a:cubicBezTo>
                    <a:pt x="220009" y="21711"/>
                    <a:pt x="221456" y="24606"/>
                    <a:pt x="221456" y="24606"/>
                  </a:cubicBezTo>
                  <a:lnTo>
                    <a:pt x="221456" y="50660"/>
                  </a:lnTo>
                  <a:lnTo>
                    <a:pt x="212772" y="50660"/>
                  </a:lnTo>
                  <a:cubicBezTo>
                    <a:pt x="208429" y="50660"/>
                    <a:pt x="205535" y="53555"/>
                    <a:pt x="205535" y="57897"/>
                  </a:cubicBezTo>
                  <a:lnTo>
                    <a:pt x="205535" y="105662"/>
                  </a:lnTo>
                  <a:cubicBezTo>
                    <a:pt x="205535" y="112899"/>
                    <a:pt x="211324" y="118689"/>
                    <a:pt x="218561" y="118689"/>
                  </a:cubicBezTo>
                  <a:lnTo>
                    <a:pt x="221456" y="118689"/>
                  </a:lnTo>
                  <a:cubicBezTo>
                    <a:pt x="221456" y="120136"/>
                    <a:pt x="221456" y="121584"/>
                    <a:pt x="221456" y="121584"/>
                  </a:cubicBezTo>
                  <a:cubicBezTo>
                    <a:pt x="218561" y="134611"/>
                    <a:pt x="214219" y="156322"/>
                    <a:pt x="233036" y="176586"/>
                  </a:cubicBezTo>
                  <a:cubicBezTo>
                    <a:pt x="234483" y="179481"/>
                    <a:pt x="230141" y="195402"/>
                    <a:pt x="227246" y="198297"/>
                  </a:cubicBezTo>
                  <a:cubicBezTo>
                    <a:pt x="227246" y="198297"/>
                    <a:pt x="227246" y="199745"/>
                    <a:pt x="225799" y="199745"/>
                  </a:cubicBezTo>
                  <a:cubicBezTo>
                    <a:pt x="206982" y="198297"/>
                    <a:pt x="188165" y="196850"/>
                    <a:pt x="173691" y="193955"/>
                  </a:cubicBezTo>
                  <a:cubicBezTo>
                    <a:pt x="147638" y="188165"/>
                    <a:pt x="136058" y="186718"/>
                    <a:pt x="124479" y="191060"/>
                  </a:cubicBezTo>
                  <a:lnTo>
                    <a:pt x="124479" y="136058"/>
                  </a:lnTo>
                  <a:lnTo>
                    <a:pt x="185271" y="136058"/>
                  </a:lnTo>
                  <a:cubicBezTo>
                    <a:pt x="189613" y="136058"/>
                    <a:pt x="192508" y="133163"/>
                    <a:pt x="192508" y="128821"/>
                  </a:cubicBezTo>
                  <a:lnTo>
                    <a:pt x="192508" y="7237"/>
                  </a:lnTo>
                  <a:cubicBezTo>
                    <a:pt x="192508" y="2895"/>
                    <a:pt x="189613" y="0"/>
                    <a:pt x="185271" y="0"/>
                  </a:cubicBezTo>
                  <a:lnTo>
                    <a:pt x="53555" y="0"/>
                  </a:lnTo>
                  <a:cubicBezTo>
                    <a:pt x="49213" y="0"/>
                    <a:pt x="46318" y="2895"/>
                    <a:pt x="46318" y="7237"/>
                  </a:cubicBezTo>
                  <a:lnTo>
                    <a:pt x="46318" y="128821"/>
                  </a:lnTo>
                  <a:cubicBezTo>
                    <a:pt x="46318" y="133163"/>
                    <a:pt x="49213" y="136058"/>
                    <a:pt x="53555" y="136058"/>
                  </a:cubicBezTo>
                  <a:lnTo>
                    <a:pt x="111452" y="136058"/>
                  </a:lnTo>
                  <a:lnTo>
                    <a:pt x="111452" y="201192"/>
                  </a:lnTo>
                  <a:cubicBezTo>
                    <a:pt x="101320" y="211324"/>
                    <a:pt x="99872" y="228693"/>
                    <a:pt x="108557" y="238825"/>
                  </a:cubicBezTo>
                  <a:cubicBezTo>
                    <a:pt x="110004" y="240273"/>
                    <a:pt x="112899" y="243167"/>
                    <a:pt x="114347" y="244615"/>
                  </a:cubicBezTo>
                  <a:lnTo>
                    <a:pt x="105662" y="244615"/>
                  </a:lnTo>
                  <a:cubicBezTo>
                    <a:pt x="104215" y="238825"/>
                    <a:pt x="99872" y="233035"/>
                    <a:pt x="94083" y="228693"/>
                  </a:cubicBezTo>
                  <a:cubicBezTo>
                    <a:pt x="99872" y="222903"/>
                    <a:pt x="104215" y="214219"/>
                    <a:pt x="105662" y="205534"/>
                  </a:cubicBezTo>
                  <a:lnTo>
                    <a:pt x="105662" y="205534"/>
                  </a:lnTo>
                  <a:cubicBezTo>
                    <a:pt x="107110" y="185270"/>
                    <a:pt x="92635" y="166454"/>
                    <a:pt x="72371" y="163559"/>
                  </a:cubicBezTo>
                  <a:cubicBezTo>
                    <a:pt x="62239" y="162112"/>
                    <a:pt x="52107" y="165006"/>
                    <a:pt x="44870" y="172244"/>
                  </a:cubicBezTo>
                  <a:cubicBezTo>
                    <a:pt x="37633" y="178033"/>
                    <a:pt x="31843" y="188165"/>
                    <a:pt x="31843" y="198297"/>
                  </a:cubicBezTo>
                  <a:cubicBezTo>
                    <a:pt x="30396" y="208429"/>
                    <a:pt x="33291" y="218561"/>
                    <a:pt x="40528" y="225798"/>
                  </a:cubicBezTo>
                  <a:cubicBezTo>
                    <a:pt x="28949" y="227246"/>
                    <a:pt x="20264" y="234483"/>
                    <a:pt x="18817" y="244615"/>
                  </a:cubicBezTo>
                  <a:lnTo>
                    <a:pt x="13027" y="244615"/>
                  </a:lnTo>
                  <a:cubicBezTo>
                    <a:pt x="5790" y="244615"/>
                    <a:pt x="0" y="250405"/>
                    <a:pt x="0" y="257642"/>
                  </a:cubicBezTo>
                  <a:lnTo>
                    <a:pt x="0" y="305407"/>
                  </a:lnTo>
                  <a:cubicBezTo>
                    <a:pt x="0" y="312644"/>
                    <a:pt x="5790" y="318434"/>
                    <a:pt x="13027" y="318434"/>
                  </a:cubicBezTo>
                  <a:lnTo>
                    <a:pt x="43423" y="318434"/>
                  </a:lnTo>
                  <a:lnTo>
                    <a:pt x="43423" y="398042"/>
                  </a:lnTo>
                  <a:cubicBezTo>
                    <a:pt x="43423" y="400937"/>
                    <a:pt x="46318" y="405279"/>
                    <a:pt x="50660" y="405279"/>
                  </a:cubicBezTo>
                  <a:cubicBezTo>
                    <a:pt x="55002" y="405279"/>
                    <a:pt x="57897" y="400937"/>
                    <a:pt x="57897" y="398042"/>
                  </a:cubicBezTo>
                  <a:lnTo>
                    <a:pt x="57897" y="318434"/>
                  </a:lnTo>
                  <a:lnTo>
                    <a:pt x="428438" y="318434"/>
                  </a:lnTo>
                  <a:lnTo>
                    <a:pt x="428438" y="398042"/>
                  </a:lnTo>
                  <a:cubicBezTo>
                    <a:pt x="428438" y="402384"/>
                    <a:pt x="431333" y="405279"/>
                    <a:pt x="435675" y="405279"/>
                  </a:cubicBezTo>
                  <a:cubicBezTo>
                    <a:pt x="440018" y="405279"/>
                    <a:pt x="442913" y="402384"/>
                    <a:pt x="442913" y="398042"/>
                  </a:cubicBezTo>
                  <a:lnTo>
                    <a:pt x="442913" y="318434"/>
                  </a:lnTo>
                  <a:lnTo>
                    <a:pt x="481993" y="318434"/>
                  </a:lnTo>
                  <a:cubicBezTo>
                    <a:pt x="490678" y="318434"/>
                    <a:pt x="497915" y="311196"/>
                    <a:pt x="497915" y="302512"/>
                  </a:cubicBezTo>
                  <a:lnTo>
                    <a:pt x="497915" y="259089"/>
                  </a:lnTo>
                  <a:cubicBezTo>
                    <a:pt x="496467" y="250405"/>
                    <a:pt x="489230" y="243167"/>
                    <a:pt x="481993" y="243167"/>
                  </a:cubicBezTo>
                  <a:close/>
                  <a:moveTo>
                    <a:pt x="179481" y="14474"/>
                  </a:moveTo>
                  <a:lnTo>
                    <a:pt x="179481" y="92635"/>
                  </a:lnTo>
                  <a:lnTo>
                    <a:pt x="60792" y="92635"/>
                  </a:lnTo>
                  <a:lnTo>
                    <a:pt x="60792" y="14474"/>
                  </a:lnTo>
                  <a:lnTo>
                    <a:pt x="179481" y="14474"/>
                  </a:lnTo>
                  <a:close/>
                  <a:moveTo>
                    <a:pt x="60792" y="107109"/>
                  </a:moveTo>
                  <a:lnTo>
                    <a:pt x="179481" y="107109"/>
                  </a:lnTo>
                  <a:lnTo>
                    <a:pt x="179481" y="121584"/>
                  </a:lnTo>
                  <a:lnTo>
                    <a:pt x="60792" y="121584"/>
                  </a:lnTo>
                  <a:lnTo>
                    <a:pt x="60792" y="107109"/>
                  </a:lnTo>
                  <a:close/>
                  <a:moveTo>
                    <a:pt x="222904" y="65134"/>
                  </a:moveTo>
                  <a:lnTo>
                    <a:pt x="240273" y="65134"/>
                  </a:lnTo>
                  <a:lnTo>
                    <a:pt x="240273" y="104215"/>
                  </a:lnTo>
                  <a:lnTo>
                    <a:pt x="222904" y="104215"/>
                  </a:lnTo>
                  <a:lnTo>
                    <a:pt x="222904" y="65134"/>
                  </a:lnTo>
                  <a:close/>
                  <a:moveTo>
                    <a:pt x="244615" y="165006"/>
                  </a:moveTo>
                  <a:cubicBezTo>
                    <a:pt x="230141" y="150532"/>
                    <a:pt x="233036" y="136058"/>
                    <a:pt x="235931" y="123031"/>
                  </a:cubicBezTo>
                  <a:cubicBezTo>
                    <a:pt x="235931" y="120136"/>
                    <a:pt x="237378" y="118689"/>
                    <a:pt x="237378" y="117241"/>
                  </a:cubicBezTo>
                  <a:lnTo>
                    <a:pt x="241720" y="117241"/>
                  </a:lnTo>
                  <a:cubicBezTo>
                    <a:pt x="248957" y="117241"/>
                    <a:pt x="254747" y="111452"/>
                    <a:pt x="254747" y="104215"/>
                  </a:cubicBezTo>
                  <a:lnTo>
                    <a:pt x="254747" y="57897"/>
                  </a:lnTo>
                  <a:cubicBezTo>
                    <a:pt x="254747" y="53555"/>
                    <a:pt x="251852" y="50660"/>
                    <a:pt x="247510" y="50660"/>
                  </a:cubicBezTo>
                  <a:lnTo>
                    <a:pt x="238825" y="50660"/>
                  </a:lnTo>
                  <a:lnTo>
                    <a:pt x="238825" y="26054"/>
                  </a:lnTo>
                  <a:lnTo>
                    <a:pt x="257642" y="26054"/>
                  </a:lnTo>
                  <a:lnTo>
                    <a:pt x="257642" y="199745"/>
                  </a:lnTo>
                  <a:cubicBezTo>
                    <a:pt x="257642" y="199745"/>
                    <a:pt x="257642" y="201192"/>
                    <a:pt x="257642" y="201192"/>
                  </a:cubicBezTo>
                  <a:cubicBezTo>
                    <a:pt x="253300" y="201192"/>
                    <a:pt x="248957" y="201192"/>
                    <a:pt x="243168" y="199745"/>
                  </a:cubicBezTo>
                  <a:cubicBezTo>
                    <a:pt x="248957" y="191060"/>
                    <a:pt x="253300" y="173691"/>
                    <a:pt x="244615" y="165006"/>
                  </a:cubicBezTo>
                  <a:close/>
                  <a:moveTo>
                    <a:pt x="185271" y="243167"/>
                  </a:moveTo>
                  <a:cubicBezTo>
                    <a:pt x="167901" y="241720"/>
                    <a:pt x="149085" y="238825"/>
                    <a:pt x="133163" y="235930"/>
                  </a:cubicBezTo>
                  <a:cubicBezTo>
                    <a:pt x="128821" y="234483"/>
                    <a:pt x="123031" y="231588"/>
                    <a:pt x="120136" y="228693"/>
                  </a:cubicBezTo>
                  <a:cubicBezTo>
                    <a:pt x="115794" y="222903"/>
                    <a:pt x="117242" y="214219"/>
                    <a:pt x="121584" y="209877"/>
                  </a:cubicBezTo>
                  <a:cubicBezTo>
                    <a:pt x="123031" y="209877"/>
                    <a:pt x="124479" y="208429"/>
                    <a:pt x="124479" y="206982"/>
                  </a:cubicBezTo>
                  <a:cubicBezTo>
                    <a:pt x="131716" y="199745"/>
                    <a:pt x="137506" y="199745"/>
                    <a:pt x="170796" y="205534"/>
                  </a:cubicBezTo>
                  <a:cubicBezTo>
                    <a:pt x="208429" y="212771"/>
                    <a:pt x="282248" y="215666"/>
                    <a:pt x="285143" y="215666"/>
                  </a:cubicBezTo>
                  <a:lnTo>
                    <a:pt x="327118" y="218561"/>
                  </a:lnTo>
                  <a:lnTo>
                    <a:pt x="374883" y="220009"/>
                  </a:lnTo>
                  <a:lnTo>
                    <a:pt x="428438" y="222903"/>
                  </a:lnTo>
                  <a:cubicBezTo>
                    <a:pt x="434228" y="222903"/>
                    <a:pt x="438570" y="227246"/>
                    <a:pt x="438570" y="233035"/>
                  </a:cubicBezTo>
                  <a:cubicBezTo>
                    <a:pt x="438570" y="238825"/>
                    <a:pt x="434228" y="243167"/>
                    <a:pt x="428438" y="243167"/>
                  </a:cubicBezTo>
                  <a:lnTo>
                    <a:pt x="400937" y="243167"/>
                  </a:lnTo>
                  <a:lnTo>
                    <a:pt x="282248" y="243167"/>
                  </a:lnTo>
                  <a:cubicBezTo>
                    <a:pt x="282248" y="241720"/>
                    <a:pt x="283696" y="238825"/>
                    <a:pt x="283696" y="237378"/>
                  </a:cubicBezTo>
                  <a:cubicBezTo>
                    <a:pt x="283696" y="225798"/>
                    <a:pt x="273564" y="215666"/>
                    <a:pt x="261984" y="215666"/>
                  </a:cubicBezTo>
                  <a:lnTo>
                    <a:pt x="193955" y="215666"/>
                  </a:lnTo>
                  <a:lnTo>
                    <a:pt x="170796" y="208429"/>
                  </a:lnTo>
                  <a:cubicBezTo>
                    <a:pt x="166454" y="206982"/>
                    <a:pt x="163559" y="209877"/>
                    <a:pt x="162112" y="212771"/>
                  </a:cubicBezTo>
                  <a:cubicBezTo>
                    <a:pt x="160664" y="217114"/>
                    <a:pt x="163559" y="220009"/>
                    <a:pt x="166454" y="221456"/>
                  </a:cubicBezTo>
                  <a:lnTo>
                    <a:pt x="191060" y="228693"/>
                  </a:lnTo>
                  <a:cubicBezTo>
                    <a:pt x="191060" y="228693"/>
                    <a:pt x="192508" y="228693"/>
                    <a:pt x="192508" y="228693"/>
                  </a:cubicBezTo>
                  <a:lnTo>
                    <a:pt x="261984" y="228693"/>
                  </a:lnTo>
                  <a:cubicBezTo>
                    <a:pt x="266326" y="228693"/>
                    <a:pt x="269221" y="230141"/>
                    <a:pt x="269221" y="235930"/>
                  </a:cubicBezTo>
                  <a:cubicBezTo>
                    <a:pt x="269221" y="240273"/>
                    <a:pt x="266326" y="241720"/>
                    <a:pt x="261984" y="241720"/>
                  </a:cubicBezTo>
                  <a:lnTo>
                    <a:pt x="185271" y="243167"/>
                  </a:lnTo>
                  <a:cubicBezTo>
                    <a:pt x="186718" y="243167"/>
                    <a:pt x="186718" y="243167"/>
                    <a:pt x="185271" y="243167"/>
                  </a:cubicBezTo>
                  <a:close/>
                  <a:moveTo>
                    <a:pt x="44870" y="198297"/>
                  </a:moveTo>
                  <a:cubicBezTo>
                    <a:pt x="44870" y="192508"/>
                    <a:pt x="49213" y="186718"/>
                    <a:pt x="53555" y="182376"/>
                  </a:cubicBezTo>
                  <a:cubicBezTo>
                    <a:pt x="57897" y="179481"/>
                    <a:pt x="62239" y="176586"/>
                    <a:pt x="68029" y="176586"/>
                  </a:cubicBezTo>
                  <a:cubicBezTo>
                    <a:pt x="69476" y="176586"/>
                    <a:pt x="69476" y="176586"/>
                    <a:pt x="70924" y="176586"/>
                  </a:cubicBezTo>
                  <a:cubicBezTo>
                    <a:pt x="83951" y="178033"/>
                    <a:pt x="92635" y="189613"/>
                    <a:pt x="91188" y="202640"/>
                  </a:cubicBezTo>
                  <a:cubicBezTo>
                    <a:pt x="89740" y="215666"/>
                    <a:pt x="78161" y="224351"/>
                    <a:pt x="65134" y="222903"/>
                  </a:cubicBezTo>
                  <a:cubicBezTo>
                    <a:pt x="59344" y="222903"/>
                    <a:pt x="53555" y="218561"/>
                    <a:pt x="49213" y="214219"/>
                  </a:cubicBezTo>
                  <a:cubicBezTo>
                    <a:pt x="46318" y="211324"/>
                    <a:pt x="44870" y="205534"/>
                    <a:pt x="44870" y="198297"/>
                  </a:cubicBezTo>
                  <a:close/>
                  <a:moveTo>
                    <a:pt x="40528" y="238825"/>
                  </a:moveTo>
                  <a:lnTo>
                    <a:pt x="81056" y="238825"/>
                  </a:lnTo>
                  <a:cubicBezTo>
                    <a:pt x="83951" y="238825"/>
                    <a:pt x="86846" y="240273"/>
                    <a:pt x="89740" y="243167"/>
                  </a:cubicBezTo>
                  <a:lnTo>
                    <a:pt x="31843" y="243167"/>
                  </a:lnTo>
                  <a:cubicBezTo>
                    <a:pt x="34738" y="240273"/>
                    <a:pt x="37633" y="238825"/>
                    <a:pt x="40528" y="238825"/>
                  </a:cubicBezTo>
                  <a:close/>
                  <a:moveTo>
                    <a:pt x="481993" y="302512"/>
                  </a:moveTo>
                  <a:cubicBezTo>
                    <a:pt x="481993" y="302512"/>
                    <a:pt x="481993" y="303959"/>
                    <a:pt x="481993" y="302512"/>
                  </a:cubicBezTo>
                  <a:lnTo>
                    <a:pt x="14474" y="303959"/>
                  </a:lnTo>
                  <a:lnTo>
                    <a:pt x="14474" y="259089"/>
                  </a:lnTo>
                  <a:lnTo>
                    <a:pt x="261984" y="259089"/>
                  </a:lnTo>
                  <a:cubicBezTo>
                    <a:pt x="261984" y="259089"/>
                    <a:pt x="261984" y="259089"/>
                    <a:pt x="261984" y="259089"/>
                  </a:cubicBezTo>
                  <a:cubicBezTo>
                    <a:pt x="261984" y="259089"/>
                    <a:pt x="261984" y="259089"/>
                    <a:pt x="261984" y="259089"/>
                  </a:cubicBezTo>
                  <a:cubicBezTo>
                    <a:pt x="261984" y="259089"/>
                    <a:pt x="261984" y="259089"/>
                    <a:pt x="261984" y="259089"/>
                  </a:cubicBezTo>
                  <a:lnTo>
                    <a:pt x="402385" y="259089"/>
                  </a:lnTo>
                  <a:lnTo>
                    <a:pt x="429886" y="259089"/>
                  </a:lnTo>
                  <a:lnTo>
                    <a:pt x="480546" y="259089"/>
                  </a:lnTo>
                  <a:cubicBezTo>
                    <a:pt x="480546" y="259089"/>
                    <a:pt x="481993" y="259089"/>
                    <a:pt x="481993" y="260537"/>
                  </a:cubicBezTo>
                  <a:lnTo>
                    <a:pt x="481993" y="302512"/>
                  </a:lnTo>
                  <a:close/>
                </a:path>
              </a:pathLst>
            </a:custGeom>
            <a:solidFill>
              <a:srgbClr val="000000"/>
            </a:solidFill>
            <a:ln w="14288" cap="flat">
              <a:noFill/>
              <a:prstDash val="solid"/>
              <a:miter/>
            </a:ln>
          </p:spPr>
          <p:txBody>
            <a:bodyPr rtlCol="0" anchor="ctr"/>
            <a:lstStyle/>
            <a:p>
              <a:endParaRPr lang="de-DE"/>
            </a:p>
          </p:txBody>
        </p:sp>
        <p:sp>
          <p:nvSpPr>
            <p:cNvPr id="2415" name="Freeform: Shape 2414">
              <a:extLst>
                <a:ext uri="{FF2B5EF4-FFF2-40B4-BE49-F238E27FC236}">
                  <a16:creationId xmlns:a16="http://schemas.microsoft.com/office/drawing/2014/main" id="{DA2E2057-4D17-42B3-B5EC-DE1A8B125B51}"/>
                </a:ext>
              </a:extLst>
            </p:cNvPr>
            <p:cNvSpPr/>
            <p:nvPr/>
          </p:nvSpPr>
          <p:spPr>
            <a:xfrm>
              <a:off x="5907134" y="3257217"/>
              <a:ext cx="101320" cy="43423"/>
            </a:xfrm>
            <a:custGeom>
              <a:avLst/>
              <a:gdLst>
                <a:gd name="connsiteX0" fmla="*/ 7237 w 101319"/>
                <a:gd name="connsiteY0" fmla="*/ 27501 h 43422"/>
                <a:gd name="connsiteX1" fmla="*/ 33291 w 101319"/>
                <a:gd name="connsiteY1" fmla="*/ 27501 h 43422"/>
                <a:gd name="connsiteX2" fmla="*/ 39081 w 101319"/>
                <a:gd name="connsiteY2" fmla="*/ 26054 h 43422"/>
                <a:gd name="connsiteX3" fmla="*/ 41975 w 101319"/>
                <a:gd name="connsiteY3" fmla="*/ 23159 h 43422"/>
                <a:gd name="connsiteX4" fmla="*/ 49213 w 101319"/>
                <a:gd name="connsiteY4" fmla="*/ 41975 h 43422"/>
                <a:gd name="connsiteX5" fmla="*/ 56450 w 101319"/>
                <a:gd name="connsiteY5" fmla="*/ 46318 h 43422"/>
                <a:gd name="connsiteX6" fmla="*/ 56450 w 101319"/>
                <a:gd name="connsiteY6" fmla="*/ 46318 h 43422"/>
                <a:gd name="connsiteX7" fmla="*/ 63687 w 101319"/>
                <a:gd name="connsiteY7" fmla="*/ 41975 h 43422"/>
                <a:gd name="connsiteX8" fmla="*/ 69476 w 101319"/>
                <a:gd name="connsiteY8" fmla="*/ 24606 h 43422"/>
                <a:gd name="connsiteX9" fmla="*/ 70924 w 101319"/>
                <a:gd name="connsiteY9" fmla="*/ 27501 h 43422"/>
                <a:gd name="connsiteX10" fmla="*/ 76714 w 101319"/>
                <a:gd name="connsiteY10" fmla="*/ 30396 h 43422"/>
                <a:gd name="connsiteX11" fmla="*/ 98425 w 101319"/>
                <a:gd name="connsiteY11" fmla="*/ 30396 h 43422"/>
                <a:gd name="connsiteX12" fmla="*/ 105662 w 101319"/>
                <a:gd name="connsiteY12" fmla="*/ 23159 h 43422"/>
                <a:gd name="connsiteX13" fmla="*/ 98425 w 101319"/>
                <a:gd name="connsiteY13" fmla="*/ 15922 h 43422"/>
                <a:gd name="connsiteX14" fmla="*/ 81056 w 101319"/>
                <a:gd name="connsiteY14" fmla="*/ 15922 h 43422"/>
                <a:gd name="connsiteX15" fmla="*/ 72371 w 101319"/>
                <a:gd name="connsiteY15" fmla="*/ 2895 h 43422"/>
                <a:gd name="connsiteX16" fmla="*/ 65134 w 101319"/>
                <a:gd name="connsiteY16" fmla="*/ 0 h 43422"/>
                <a:gd name="connsiteX17" fmla="*/ 59344 w 101319"/>
                <a:gd name="connsiteY17" fmla="*/ 4342 h 43422"/>
                <a:gd name="connsiteX18" fmla="*/ 55002 w 101319"/>
                <a:gd name="connsiteY18" fmla="*/ 18817 h 43422"/>
                <a:gd name="connsiteX19" fmla="*/ 50660 w 101319"/>
                <a:gd name="connsiteY19" fmla="*/ 7237 h 43422"/>
                <a:gd name="connsiteX20" fmla="*/ 44870 w 101319"/>
                <a:gd name="connsiteY20" fmla="*/ 2895 h 43422"/>
                <a:gd name="connsiteX21" fmla="*/ 37633 w 101319"/>
                <a:gd name="connsiteY21" fmla="*/ 4342 h 43422"/>
                <a:gd name="connsiteX22" fmla="*/ 30396 w 101319"/>
                <a:gd name="connsiteY22" fmla="*/ 13027 h 43422"/>
                <a:gd name="connsiteX23" fmla="*/ 7237 w 101319"/>
                <a:gd name="connsiteY23" fmla="*/ 13027 h 43422"/>
                <a:gd name="connsiteX24" fmla="*/ 0 w 101319"/>
                <a:gd name="connsiteY24" fmla="*/ 20264 h 43422"/>
                <a:gd name="connsiteX25" fmla="*/ 7237 w 101319"/>
                <a:gd name="connsiteY25" fmla="*/ 27501 h 4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319" h="43422">
                  <a:moveTo>
                    <a:pt x="7237" y="27501"/>
                  </a:moveTo>
                  <a:lnTo>
                    <a:pt x="33291" y="27501"/>
                  </a:lnTo>
                  <a:cubicBezTo>
                    <a:pt x="34738" y="27501"/>
                    <a:pt x="37633" y="26054"/>
                    <a:pt x="39081" y="26054"/>
                  </a:cubicBezTo>
                  <a:lnTo>
                    <a:pt x="41975" y="23159"/>
                  </a:lnTo>
                  <a:lnTo>
                    <a:pt x="49213" y="41975"/>
                  </a:lnTo>
                  <a:cubicBezTo>
                    <a:pt x="50660" y="44870"/>
                    <a:pt x="53555" y="46318"/>
                    <a:pt x="56450" y="46318"/>
                  </a:cubicBezTo>
                  <a:cubicBezTo>
                    <a:pt x="56450" y="46318"/>
                    <a:pt x="56450" y="46318"/>
                    <a:pt x="56450" y="46318"/>
                  </a:cubicBezTo>
                  <a:cubicBezTo>
                    <a:pt x="59344" y="46318"/>
                    <a:pt x="62239" y="44870"/>
                    <a:pt x="63687" y="41975"/>
                  </a:cubicBezTo>
                  <a:lnTo>
                    <a:pt x="69476" y="24606"/>
                  </a:lnTo>
                  <a:lnTo>
                    <a:pt x="70924" y="27501"/>
                  </a:lnTo>
                  <a:cubicBezTo>
                    <a:pt x="72371" y="28948"/>
                    <a:pt x="75266" y="30396"/>
                    <a:pt x="76714" y="30396"/>
                  </a:cubicBezTo>
                  <a:lnTo>
                    <a:pt x="98425" y="30396"/>
                  </a:lnTo>
                  <a:cubicBezTo>
                    <a:pt x="102767" y="30396"/>
                    <a:pt x="105662" y="27501"/>
                    <a:pt x="105662" y="23159"/>
                  </a:cubicBezTo>
                  <a:cubicBezTo>
                    <a:pt x="105662" y="18817"/>
                    <a:pt x="102767" y="15922"/>
                    <a:pt x="98425" y="15922"/>
                  </a:cubicBezTo>
                  <a:lnTo>
                    <a:pt x="81056" y="15922"/>
                  </a:lnTo>
                  <a:lnTo>
                    <a:pt x="72371" y="2895"/>
                  </a:lnTo>
                  <a:cubicBezTo>
                    <a:pt x="70924" y="1447"/>
                    <a:pt x="68029" y="0"/>
                    <a:pt x="65134" y="0"/>
                  </a:cubicBezTo>
                  <a:cubicBezTo>
                    <a:pt x="62239" y="0"/>
                    <a:pt x="59344" y="1447"/>
                    <a:pt x="59344" y="4342"/>
                  </a:cubicBezTo>
                  <a:lnTo>
                    <a:pt x="55002" y="18817"/>
                  </a:lnTo>
                  <a:lnTo>
                    <a:pt x="50660" y="7237"/>
                  </a:lnTo>
                  <a:cubicBezTo>
                    <a:pt x="49213" y="4342"/>
                    <a:pt x="47765" y="2895"/>
                    <a:pt x="44870" y="2895"/>
                  </a:cubicBezTo>
                  <a:cubicBezTo>
                    <a:pt x="41975" y="2895"/>
                    <a:pt x="40528" y="2895"/>
                    <a:pt x="37633" y="4342"/>
                  </a:cubicBezTo>
                  <a:lnTo>
                    <a:pt x="30396" y="13027"/>
                  </a:lnTo>
                  <a:lnTo>
                    <a:pt x="7237" y="13027"/>
                  </a:lnTo>
                  <a:cubicBezTo>
                    <a:pt x="2895" y="13027"/>
                    <a:pt x="0" y="15922"/>
                    <a:pt x="0" y="20264"/>
                  </a:cubicBezTo>
                  <a:cubicBezTo>
                    <a:pt x="0" y="24606"/>
                    <a:pt x="2895" y="27501"/>
                    <a:pt x="7237" y="27501"/>
                  </a:cubicBezTo>
                  <a:close/>
                </a:path>
              </a:pathLst>
            </a:custGeom>
            <a:solidFill>
              <a:srgbClr val="000000"/>
            </a:solidFill>
            <a:ln w="14288" cap="flat">
              <a:noFill/>
              <a:prstDash val="solid"/>
              <a:miter/>
            </a:ln>
          </p:spPr>
          <p:txBody>
            <a:bodyPr rtlCol="0" anchor="ctr"/>
            <a:lstStyle/>
            <a:p>
              <a:endParaRPr lang="de-DE"/>
            </a:p>
          </p:txBody>
        </p:sp>
      </p:grpSp>
      <p:sp>
        <p:nvSpPr>
          <p:cNvPr id="2416" name="Graphic 3">
            <a:extLst>
              <a:ext uri="{FF2B5EF4-FFF2-40B4-BE49-F238E27FC236}">
                <a16:creationId xmlns:a16="http://schemas.microsoft.com/office/drawing/2014/main" id="{56AB7D6F-C9E1-492C-BFCA-2467F2B53F3D}"/>
              </a:ext>
              <a:ext uri="{C183D7F6-B498-43B3-948B-1728B52AA6E4}">
                <adec:decorative xmlns:adec="http://schemas.microsoft.com/office/drawing/2017/decorative" val="1"/>
              </a:ext>
            </a:extLst>
          </p:cNvPr>
          <p:cNvSpPr>
            <a:spLocks noChangeAspect="1"/>
          </p:cNvSpPr>
          <p:nvPr/>
        </p:nvSpPr>
        <p:spPr>
          <a:xfrm>
            <a:off x="4583771" y="4504121"/>
            <a:ext cx="91667" cy="129862"/>
          </a:xfrm>
          <a:custGeom>
            <a:avLst/>
            <a:gdLst>
              <a:gd name="connsiteX0" fmla="*/ 358617 w 346992"/>
              <a:gd name="connsiteY0" fmla="*/ 243462 h 491572"/>
              <a:gd name="connsiteX1" fmla="*/ 348496 w 346992"/>
              <a:gd name="connsiteY1" fmla="*/ 227558 h 491572"/>
              <a:gd name="connsiteX2" fmla="*/ 332593 w 346992"/>
              <a:gd name="connsiteY2" fmla="*/ 223220 h 491572"/>
              <a:gd name="connsiteX3" fmla="*/ 342713 w 346992"/>
              <a:gd name="connsiteY3" fmla="*/ 208762 h 491572"/>
              <a:gd name="connsiteX4" fmla="*/ 347051 w 346992"/>
              <a:gd name="connsiteY4" fmla="*/ 189967 h 491572"/>
              <a:gd name="connsiteX5" fmla="*/ 336930 w 346992"/>
              <a:gd name="connsiteY5" fmla="*/ 174063 h 491572"/>
              <a:gd name="connsiteX6" fmla="*/ 321026 w 346992"/>
              <a:gd name="connsiteY6" fmla="*/ 169726 h 491572"/>
              <a:gd name="connsiteX7" fmla="*/ 322472 w 346992"/>
              <a:gd name="connsiteY7" fmla="*/ 166834 h 491572"/>
              <a:gd name="connsiteX8" fmla="*/ 326809 w 346992"/>
              <a:gd name="connsiteY8" fmla="*/ 148039 h 491572"/>
              <a:gd name="connsiteX9" fmla="*/ 316689 w 346992"/>
              <a:gd name="connsiteY9" fmla="*/ 132135 h 491572"/>
              <a:gd name="connsiteX10" fmla="*/ 297893 w 346992"/>
              <a:gd name="connsiteY10" fmla="*/ 127798 h 491572"/>
              <a:gd name="connsiteX11" fmla="*/ 281990 w 346992"/>
              <a:gd name="connsiteY11" fmla="*/ 137918 h 491572"/>
              <a:gd name="connsiteX12" fmla="*/ 279098 w 346992"/>
              <a:gd name="connsiteY12" fmla="*/ 142256 h 491572"/>
              <a:gd name="connsiteX13" fmla="*/ 273315 w 346992"/>
              <a:gd name="connsiteY13" fmla="*/ 132135 h 491572"/>
              <a:gd name="connsiteX14" fmla="*/ 255965 w 346992"/>
              <a:gd name="connsiteY14" fmla="*/ 124906 h 491572"/>
              <a:gd name="connsiteX15" fmla="*/ 254519 w 346992"/>
              <a:gd name="connsiteY15" fmla="*/ 124906 h 491572"/>
              <a:gd name="connsiteX16" fmla="*/ 241507 w 346992"/>
              <a:gd name="connsiteY16" fmla="*/ 129243 h 491572"/>
              <a:gd name="connsiteX17" fmla="*/ 247290 w 346992"/>
              <a:gd name="connsiteY17" fmla="*/ 104665 h 491572"/>
              <a:gd name="connsiteX18" fmla="*/ 244399 w 346992"/>
              <a:gd name="connsiteY18" fmla="*/ 85869 h 491572"/>
              <a:gd name="connsiteX19" fmla="*/ 228495 w 346992"/>
              <a:gd name="connsiteY19" fmla="*/ 75749 h 491572"/>
              <a:gd name="connsiteX20" fmla="*/ 212591 w 346992"/>
              <a:gd name="connsiteY20" fmla="*/ 77195 h 491572"/>
              <a:gd name="connsiteX21" fmla="*/ 216929 w 346992"/>
              <a:gd name="connsiteY21" fmla="*/ 59845 h 491572"/>
              <a:gd name="connsiteX22" fmla="*/ 214037 w 346992"/>
              <a:gd name="connsiteY22" fmla="*/ 41050 h 491572"/>
              <a:gd name="connsiteX23" fmla="*/ 198133 w 346992"/>
              <a:gd name="connsiteY23" fmla="*/ 29483 h 491572"/>
              <a:gd name="connsiteX24" fmla="*/ 182229 w 346992"/>
              <a:gd name="connsiteY24" fmla="*/ 32375 h 491572"/>
              <a:gd name="connsiteX25" fmla="*/ 182229 w 346992"/>
              <a:gd name="connsiteY25" fmla="*/ 29483 h 491572"/>
              <a:gd name="connsiteX26" fmla="*/ 179338 w 346992"/>
              <a:gd name="connsiteY26" fmla="*/ 10688 h 491572"/>
              <a:gd name="connsiteX27" fmla="*/ 163434 w 346992"/>
              <a:gd name="connsiteY27" fmla="*/ 567 h 491572"/>
              <a:gd name="connsiteX28" fmla="*/ 144639 w 346992"/>
              <a:gd name="connsiteY28" fmla="*/ 3459 h 491572"/>
              <a:gd name="connsiteX29" fmla="*/ 134518 w 346992"/>
              <a:gd name="connsiteY29" fmla="*/ 20808 h 491572"/>
              <a:gd name="connsiteX30" fmla="*/ 135964 w 346992"/>
              <a:gd name="connsiteY30" fmla="*/ 20808 h 491572"/>
              <a:gd name="connsiteX31" fmla="*/ 134518 w 346992"/>
              <a:gd name="connsiteY31" fmla="*/ 26592 h 491572"/>
              <a:gd name="connsiteX32" fmla="*/ 124397 w 346992"/>
              <a:gd name="connsiteY32" fmla="*/ 17917 h 491572"/>
              <a:gd name="connsiteX33" fmla="*/ 102710 w 346992"/>
              <a:gd name="connsiteY33" fmla="*/ 19363 h 491572"/>
              <a:gd name="connsiteX34" fmla="*/ 91144 w 346992"/>
              <a:gd name="connsiteY34" fmla="*/ 35266 h 491572"/>
              <a:gd name="connsiteX35" fmla="*/ 62228 w 346992"/>
              <a:gd name="connsiteY35" fmla="*/ 169726 h 491572"/>
              <a:gd name="connsiteX36" fmla="*/ 59336 w 346992"/>
              <a:gd name="connsiteY36" fmla="*/ 172617 h 491572"/>
              <a:gd name="connsiteX37" fmla="*/ 56445 w 346992"/>
              <a:gd name="connsiteY37" fmla="*/ 171172 h 491572"/>
              <a:gd name="connsiteX38" fmla="*/ 47770 w 346992"/>
              <a:gd name="connsiteY38" fmla="*/ 133581 h 491572"/>
              <a:gd name="connsiteX39" fmla="*/ 21746 w 346992"/>
              <a:gd name="connsiteY39" fmla="*/ 116231 h 491572"/>
              <a:gd name="connsiteX40" fmla="*/ 4396 w 346992"/>
              <a:gd name="connsiteY40" fmla="*/ 127798 h 491572"/>
              <a:gd name="connsiteX41" fmla="*/ 1504 w 346992"/>
              <a:gd name="connsiteY41" fmla="*/ 148039 h 491572"/>
              <a:gd name="connsiteX42" fmla="*/ 7288 w 346992"/>
              <a:gd name="connsiteY42" fmla="*/ 226112 h 491572"/>
              <a:gd name="connsiteX43" fmla="*/ 13071 w 346992"/>
              <a:gd name="connsiteY43" fmla="*/ 243462 h 491572"/>
              <a:gd name="connsiteX44" fmla="*/ 27529 w 346992"/>
              <a:gd name="connsiteY44" fmla="*/ 314306 h 491572"/>
              <a:gd name="connsiteX45" fmla="*/ 27529 w 346992"/>
              <a:gd name="connsiteY45" fmla="*/ 317197 h 491572"/>
              <a:gd name="connsiteX46" fmla="*/ 27529 w 346992"/>
              <a:gd name="connsiteY46" fmla="*/ 318643 h 491572"/>
              <a:gd name="connsiteX47" fmla="*/ 18854 w 346992"/>
              <a:gd name="connsiteY47" fmla="*/ 357680 h 491572"/>
              <a:gd name="connsiteX48" fmla="*/ 20300 w 346992"/>
              <a:gd name="connsiteY48" fmla="*/ 363463 h 491572"/>
              <a:gd name="connsiteX49" fmla="*/ 24637 w 346992"/>
              <a:gd name="connsiteY49" fmla="*/ 366355 h 491572"/>
              <a:gd name="connsiteX50" fmla="*/ 63674 w 346992"/>
              <a:gd name="connsiteY50" fmla="*/ 375029 h 491572"/>
              <a:gd name="connsiteX51" fmla="*/ 43433 w 346992"/>
              <a:gd name="connsiteY51" fmla="*/ 402500 h 491572"/>
              <a:gd name="connsiteX52" fmla="*/ 43433 w 346992"/>
              <a:gd name="connsiteY52" fmla="*/ 412620 h 491572"/>
              <a:gd name="connsiteX53" fmla="*/ 154759 w 346992"/>
              <a:gd name="connsiteY53" fmla="*/ 493585 h 491572"/>
              <a:gd name="connsiteX54" fmla="*/ 159097 w 346992"/>
              <a:gd name="connsiteY54" fmla="*/ 495031 h 491572"/>
              <a:gd name="connsiteX55" fmla="*/ 160542 w 346992"/>
              <a:gd name="connsiteY55" fmla="*/ 495031 h 491572"/>
              <a:gd name="connsiteX56" fmla="*/ 164880 w 346992"/>
              <a:gd name="connsiteY56" fmla="*/ 492139 h 491572"/>
              <a:gd name="connsiteX57" fmla="*/ 186567 w 346992"/>
              <a:gd name="connsiteY57" fmla="*/ 463223 h 491572"/>
              <a:gd name="connsiteX58" fmla="*/ 186567 w 346992"/>
              <a:gd name="connsiteY58" fmla="*/ 463223 h 491572"/>
              <a:gd name="connsiteX59" fmla="*/ 189458 w 346992"/>
              <a:gd name="connsiteY59" fmla="*/ 463223 h 491572"/>
              <a:gd name="connsiteX60" fmla="*/ 238616 w 346992"/>
              <a:gd name="connsiteY60" fmla="*/ 422741 h 491572"/>
              <a:gd name="connsiteX61" fmla="*/ 247290 w 346992"/>
              <a:gd name="connsiteY61" fmla="*/ 409729 h 491572"/>
              <a:gd name="connsiteX62" fmla="*/ 251628 w 346992"/>
              <a:gd name="connsiteY62" fmla="*/ 405391 h 491572"/>
              <a:gd name="connsiteX63" fmla="*/ 300785 w 346992"/>
              <a:gd name="connsiteY63" fmla="*/ 337439 h 491572"/>
              <a:gd name="connsiteX64" fmla="*/ 300785 w 346992"/>
              <a:gd name="connsiteY64" fmla="*/ 337439 h 491572"/>
              <a:gd name="connsiteX65" fmla="*/ 302231 w 346992"/>
              <a:gd name="connsiteY65" fmla="*/ 335993 h 491572"/>
              <a:gd name="connsiteX66" fmla="*/ 355725 w 346992"/>
              <a:gd name="connsiteY66" fmla="*/ 262257 h 491572"/>
              <a:gd name="connsiteX67" fmla="*/ 358617 w 346992"/>
              <a:gd name="connsiteY67" fmla="*/ 243462 h 491572"/>
              <a:gd name="connsiteX68" fmla="*/ 24637 w 346992"/>
              <a:gd name="connsiteY68" fmla="*/ 236233 h 491572"/>
              <a:gd name="connsiteX69" fmla="*/ 20300 w 346992"/>
              <a:gd name="connsiteY69" fmla="*/ 223220 h 491572"/>
              <a:gd name="connsiteX70" fmla="*/ 15962 w 346992"/>
              <a:gd name="connsiteY70" fmla="*/ 145147 h 491572"/>
              <a:gd name="connsiteX71" fmla="*/ 15962 w 346992"/>
              <a:gd name="connsiteY71" fmla="*/ 143701 h 491572"/>
              <a:gd name="connsiteX72" fmla="*/ 15962 w 346992"/>
              <a:gd name="connsiteY72" fmla="*/ 135027 h 491572"/>
              <a:gd name="connsiteX73" fmla="*/ 24637 w 346992"/>
              <a:gd name="connsiteY73" fmla="*/ 130689 h 491572"/>
              <a:gd name="connsiteX74" fmla="*/ 34758 w 346992"/>
              <a:gd name="connsiteY74" fmla="*/ 137918 h 491572"/>
              <a:gd name="connsiteX75" fmla="*/ 43433 w 346992"/>
              <a:gd name="connsiteY75" fmla="*/ 175509 h 491572"/>
              <a:gd name="connsiteX76" fmla="*/ 60782 w 346992"/>
              <a:gd name="connsiteY76" fmla="*/ 187075 h 491572"/>
              <a:gd name="connsiteX77" fmla="*/ 76686 w 346992"/>
              <a:gd name="connsiteY77" fmla="*/ 174063 h 491572"/>
              <a:gd name="connsiteX78" fmla="*/ 105602 w 346992"/>
              <a:gd name="connsiteY78" fmla="*/ 39604 h 491572"/>
              <a:gd name="connsiteX79" fmla="*/ 111385 w 346992"/>
              <a:gd name="connsiteY79" fmla="*/ 32375 h 491572"/>
              <a:gd name="connsiteX80" fmla="*/ 120060 w 346992"/>
              <a:gd name="connsiteY80" fmla="*/ 32375 h 491572"/>
              <a:gd name="connsiteX81" fmla="*/ 124397 w 346992"/>
              <a:gd name="connsiteY81" fmla="*/ 43941 h 491572"/>
              <a:gd name="connsiteX82" fmla="*/ 105602 w 346992"/>
              <a:gd name="connsiteY82" fmla="*/ 129243 h 491572"/>
              <a:gd name="connsiteX83" fmla="*/ 105602 w 346992"/>
              <a:gd name="connsiteY83" fmla="*/ 130689 h 491572"/>
              <a:gd name="connsiteX84" fmla="*/ 104156 w 346992"/>
              <a:gd name="connsiteY84" fmla="*/ 139364 h 491572"/>
              <a:gd name="connsiteX85" fmla="*/ 105602 w 346992"/>
              <a:gd name="connsiteY85" fmla="*/ 146593 h 491572"/>
              <a:gd name="connsiteX86" fmla="*/ 114277 w 346992"/>
              <a:gd name="connsiteY86" fmla="*/ 150930 h 491572"/>
              <a:gd name="connsiteX87" fmla="*/ 124397 w 346992"/>
              <a:gd name="connsiteY87" fmla="*/ 143701 h 491572"/>
              <a:gd name="connsiteX88" fmla="*/ 150422 w 346992"/>
              <a:gd name="connsiteY88" fmla="*/ 23700 h 491572"/>
              <a:gd name="connsiteX89" fmla="*/ 154759 w 346992"/>
              <a:gd name="connsiteY89" fmla="*/ 17917 h 491572"/>
              <a:gd name="connsiteX90" fmla="*/ 160542 w 346992"/>
              <a:gd name="connsiteY90" fmla="*/ 15025 h 491572"/>
              <a:gd name="connsiteX91" fmla="*/ 166326 w 346992"/>
              <a:gd name="connsiteY91" fmla="*/ 19363 h 491572"/>
              <a:gd name="connsiteX92" fmla="*/ 167771 w 346992"/>
              <a:gd name="connsiteY92" fmla="*/ 26592 h 491572"/>
              <a:gd name="connsiteX93" fmla="*/ 141747 w 346992"/>
              <a:gd name="connsiteY93" fmla="*/ 146593 h 491572"/>
              <a:gd name="connsiteX94" fmla="*/ 143193 w 346992"/>
              <a:gd name="connsiteY94" fmla="*/ 153822 h 491572"/>
              <a:gd name="connsiteX95" fmla="*/ 150422 w 346992"/>
              <a:gd name="connsiteY95" fmla="*/ 158159 h 491572"/>
              <a:gd name="connsiteX96" fmla="*/ 153313 w 346992"/>
              <a:gd name="connsiteY96" fmla="*/ 158159 h 491572"/>
              <a:gd name="connsiteX97" fmla="*/ 156205 w 346992"/>
              <a:gd name="connsiteY97" fmla="*/ 158159 h 491572"/>
              <a:gd name="connsiteX98" fmla="*/ 161988 w 346992"/>
              <a:gd name="connsiteY98" fmla="*/ 150930 h 491572"/>
              <a:gd name="connsiteX99" fmla="*/ 177892 w 346992"/>
              <a:gd name="connsiteY99" fmla="*/ 75749 h 491572"/>
              <a:gd name="connsiteX100" fmla="*/ 182229 w 346992"/>
              <a:gd name="connsiteY100" fmla="*/ 52616 h 491572"/>
              <a:gd name="connsiteX101" fmla="*/ 186567 w 346992"/>
              <a:gd name="connsiteY101" fmla="*/ 45387 h 491572"/>
              <a:gd name="connsiteX102" fmla="*/ 193796 w 346992"/>
              <a:gd name="connsiteY102" fmla="*/ 43941 h 491572"/>
              <a:gd name="connsiteX103" fmla="*/ 199579 w 346992"/>
              <a:gd name="connsiteY103" fmla="*/ 48279 h 491572"/>
              <a:gd name="connsiteX104" fmla="*/ 201025 w 346992"/>
              <a:gd name="connsiteY104" fmla="*/ 56953 h 491572"/>
              <a:gd name="connsiteX105" fmla="*/ 180784 w 346992"/>
              <a:gd name="connsiteY105" fmla="*/ 155268 h 491572"/>
              <a:gd name="connsiteX106" fmla="*/ 185121 w 346992"/>
              <a:gd name="connsiteY106" fmla="*/ 165388 h 491572"/>
              <a:gd name="connsiteX107" fmla="*/ 186567 w 346992"/>
              <a:gd name="connsiteY107" fmla="*/ 166834 h 491572"/>
              <a:gd name="connsiteX108" fmla="*/ 190904 w 346992"/>
              <a:gd name="connsiteY108" fmla="*/ 166834 h 491572"/>
              <a:gd name="connsiteX109" fmla="*/ 193796 w 346992"/>
              <a:gd name="connsiteY109" fmla="*/ 165388 h 491572"/>
              <a:gd name="connsiteX110" fmla="*/ 195242 w 346992"/>
              <a:gd name="connsiteY110" fmla="*/ 163943 h 491572"/>
              <a:gd name="connsiteX111" fmla="*/ 198133 w 346992"/>
              <a:gd name="connsiteY111" fmla="*/ 159605 h 491572"/>
              <a:gd name="connsiteX112" fmla="*/ 211145 w 346992"/>
              <a:gd name="connsiteY112" fmla="*/ 97436 h 491572"/>
              <a:gd name="connsiteX113" fmla="*/ 215483 w 346992"/>
              <a:gd name="connsiteY113" fmla="*/ 91653 h 491572"/>
              <a:gd name="connsiteX114" fmla="*/ 222712 w 346992"/>
              <a:gd name="connsiteY114" fmla="*/ 90207 h 491572"/>
              <a:gd name="connsiteX115" fmla="*/ 228495 w 346992"/>
              <a:gd name="connsiteY115" fmla="*/ 94544 h 491572"/>
              <a:gd name="connsiteX116" fmla="*/ 229941 w 346992"/>
              <a:gd name="connsiteY116" fmla="*/ 101773 h 491572"/>
              <a:gd name="connsiteX117" fmla="*/ 218374 w 346992"/>
              <a:gd name="connsiteY117" fmla="*/ 153822 h 491572"/>
              <a:gd name="connsiteX118" fmla="*/ 218374 w 346992"/>
              <a:gd name="connsiteY118" fmla="*/ 155268 h 491572"/>
              <a:gd name="connsiteX119" fmla="*/ 156205 w 346992"/>
              <a:gd name="connsiteY119" fmla="*/ 246353 h 491572"/>
              <a:gd name="connsiteX120" fmla="*/ 153313 w 346992"/>
              <a:gd name="connsiteY120" fmla="*/ 247799 h 491572"/>
              <a:gd name="connsiteX121" fmla="*/ 151868 w 346992"/>
              <a:gd name="connsiteY121" fmla="*/ 244907 h 491572"/>
              <a:gd name="connsiteX122" fmla="*/ 159097 w 346992"/>
              <a:gd name="connsiteY122" fmla="*/ 207317 h 491572"/>
              <a:gd name="connsiteX123" fmla="*/ 141747 w 346992"/>
              <a:gd name="connsiteY123" fmla="*/ 181292 h 491572"/>
              <a:gd name="connsiteX124" fmla="*/ 120060 w 346992"/>
              <a:gd name="connsiteY124" fmla="*/ 184184 h 491572"/>
              <a:gd name="connsiteX125" fmla="*/ 108494 w 346992"/>
              <a:gd name="connsiteY125" fmla="*/ 201533 h 491572"/>
              <a:gd name="connsiteX126" fmla="*/ 83915 w 346992"/>
              <a:gd name="connsiteY126" fmla="*/ 275269 h 491572"/>
              <a:gd name="connsiteX127" fmla="*/ 82469 w 346992"/>
              <a:gd name="connsiteY127" fmla="*/ 292619 h 491572"/>
              <a:gd name="connsiteX128" fmla="*/ 79578 w 346992"/>
              <a:gd name="connsiteY128" fmla="*/ 322981 h 491572"/>
              <a:gd name="connsiteX129" fmla="*/ 40541 w 346992"/>
              <a:gd name="connsiteY129" fmla="*/ 314306 h 491572"/>
              <a:gd name="connsiteX130" fmla="*/ 24637 w 346992"/>
              <a:gd name="connsiteY130" fmla="*/ 236233 h 491572"/>
              <a:gd name="connsiteX131" fmla="*/ 31866 w 346992"/>
              <a:gd name="connsiteY131" fmla="*/ 353342 h 491572"/>
              <a:gd name="connsiteX132" fmla="*/ 37649 w 346992"/>
              <a:gd name="connsiteY132" fmla="*/ 328764 h 491572"/>
              <a:gd name="connsiteX133" fmla="*/ 76686 w 346992"/>
              <a:gd name="connsiteY133" fmla="*/ 337439 h 491572"/>
              <a:gd name="connsiteX134" fmla="*/ 68011 w 346992"/>
              <a:gd name="connsiteY134" fmla="*/ 360571 h 491572"/>
              <a:gd name="connsiteX135" fmla="*/ 68011 w 346992"/>
              <a:gd name="connsiteY135" fmla="*/ 360571 h 491572"/>
              <a:gd name="connsiteX136" fmla="*/ 31866 w 346992"/>
              <a:gd name="connsiteY136" fmla="*/ 353342 h 491572"/>
              <a:gd name="connsiteX137" fmla="*/ 157651 w 346992"/>
              <a:gd name="connsiteY137" fmla="*/ 477681 h 491572"/>
              <a:gd name="connsiteX138" fmla="*/ 57891 w 346992"/>
              <a:gd name="connsiteY138" fmla="*/ 405391 h 491572"/>
              <a:gd name="connsiteX139" fmla="*/ 72349 w 346992"/>
              <a:gd name="connsiteY139" fmla="*/ 383704 h 491572"/>
              <a:gd name="connsiteX140" fmla="*/ 172109 w 346992"/>
              <a:gd name="connsiteY140" fmla="*/ 455994 h 491572"/>
              <a:gd name="connsiteX141" fmla="*/ 157651 w 346992"/>
              <a:gd name="connsiteY141" fmla="*/ 477681 h 491572"/>
              <a:gd name="connsiteX142" fmla="*/ 342713 w 346992"/>
              <a:gd name="connsiteY142" fmla="*/ 253582 h 491572"/>
              <a:gd name="connsiteX143" fmla="*/ 289219 w 346992"/>
              <a:gd name="connsiteY143" fmla="*/ 327318 h 491572"/>
              <a:gd name="connsiteX144" fmla="*/ 287773 w 346992"/>
              <a:gd name="connsiteY144" fmla="*/ 328764 h 491572"/>
              <a:gd name="connsiteX145" fmla="*/ 238616 w 346992"/>
              <a:gd name="connsiteY145" fmla="*/ 396716 h 491572"/>
              <a:gd name="connsiteX146" fmla="*/ 235724 w 346992"/>
              <a:gd name="connsiteY146" fmla="*/ 399608 h 491572"/>
              <a:gd name="connsiteX147" fmla="*/ 225603 w 346992"/>
              <a:gd name="connsiteY147" fmla="*/ 412620 h 491572"/>
              <a:gd name="connsiteX148" fmla="*/ 185121 w 346992"/>
              <a:gd name="connsiteY148" fmla="*/ 447319 h 491572"/>
              <a:gd name="connsiteX149" fmla="*/ 76686 w 346992"/>
              <a:gd name="connsiteY149" fmla="*/ 369246 h 491572"/>
              <a:gd name="connsiteX150" fmla="*/ 94036 w 346992"/>
              <a:gd name="connsiteY150" fmla="*/ 292619 h 491572"/>
              <a:gd name="connsiteX151" fmla="*/ 95481 w 346992"/>
              <a:gd name="connsiteY151" fmla="*/ 279607 h 491572"/>
              <a:gd name="connsiteX152" fmla="*/ 121506 w 346992"/>
              <a:gd name="connsiteY152" fmla="*/ 204425 h 491572"/>
              <a:gd name="connsiteX153" fmla="*/ 121506 w 346992"/>
              <a:gd name="connsiteY153" fmla="*/ 202979 h 491572"/>
              <a:gd name="connsiteX154" fmla="*/ 125843 w 346992"/>
              <a:gd name="connsiteY154" fmla="*/ 195750 h 491572"/>
              <a:gd name="connsiteX155" fmla="*/ 134518 w 346992"/>
              <a:gd name="connsiteY155" fmla="*/ 194304 h 491572"/>
              <a:gd name="connsiteX156" fmla="*/ 141747 w 346992"/>
              <a:gd name="connsiteY156" fmla="*/ 204425 h 491572"/>
              <a:gd name="connsiteX157" fmla="*/ 134518 w 346992"/>
              <a:gd name="connsiteY157" fmla="*/ 242016 h 491572"/>
              <a:gd name="connsiteX158" fmla="*/ 146084 w 346992"/>
              <a:gd name="connsiteY158" fmla="*/ 259365 h 491572"/>
              <a:gd name="connsiteX159" fmla="*/ 166326 w 346992"/>
              <a:gd name="connsiteY159" fmla="*/ 253582 h 491572"/>
              <a:gd name="connsiteX160" fmla="*/ 247290 w 346992"/>
              <a:gd name="connsiteY160" fmla="*/ 142256 h 491572"/>
              <a:gd name="connsiteX161" fmla="*/ 255965 w 346992"/>
              <a:gd name="connsiteY161" fmla="*/ 137918 h 491572"/>
              <a:gd name="connsiteX162" fmla="*/ 263194 w 346992"/>
              <a:gd name="connsiteY162" fmla="*/ 140810 h 491572"/>
              <a:gd name="connsiteX163" fmla="*/ 263194 w 346992"/>
              <a:gd name="connsiteY163" fmla="*/ 155268 h 491572"/>
              <a:gd name="connsiteX164" fmla="*/ 212591 w 346992"/>
              <a:gd name="connsiteY164" fmla="*/ 224666 h 491572"/>
              <a:gd name="connsiteX165" fmla="*/ 211145 w 346992"/>
              <a:gd name="connsiteY165" fmla="*/ 226112 h 491572"/>
              <a:gd name="connsiteX166" fmla="*/ 205362 w 346992"/>
              <a:gd name="connsiteY166" fmla="*/ 233341 h 491572"/>
              <a:gd name="connsiteX167" fmla="*/ 203916 w 346992"/>
              <a:gd name="connsiteY167" fmla="*/ 240570 h 491572"/>
              <a:gd name="connsiteX168" fmla="*/ 208254 w 346992"/>
              <a:gd name="connsiteY168" fmla="*/ 246353 h 491572"/>
              <a:gd name="connsiteX169" fmla="*/ 222712 w 346992"/>
              <a:gd name="connsiteY169" fmla="*/ 243462 h 491572"/>
              <a:gd name="connsiteX170" fmla="*/ 295002 w 346992"/>
              <a:gd name="connsiteY170" fmla="*/ 143701 h 491572"/>
              <a:gd name="connsiteX171" fmla="*/ 302231 w 346992"/>
              <a:gd name="connsiteY171" fmla="*/ 139364 h 491572"/>
              <a:gd name="connsiteX172" fmla="*/ 309460 w 346992"/>
              <a:gd name="connsiteY172" fmla="*/ 140810 h 491572"/>
              <a:gd name="connsiteX173" fmla="*/ 313797 w 346992"/>
              <a:gd name="connsiteY173" fmla="*/ 148039 h 491572"/>
              <a:gd name="connsiteX174" fmla="*/ 312351 w 346992"/>
              <a:gd name="connsiteY174" fmla="*/ 155268 h 491572"/>
              <a:gd name="connsiteX175" fmla="*/ 240061 w 346992"/>
              <a:gd name="connsiteY175" fmla="*/ 255028 h 491572"/>
              <a:gd name="connsiteX176" fmla="*/ 238616 w 346992"/>
              <a:gd name="connsiteY176" fmla="*/ 262257 h 491572"/>
              <a:gd name="connsiteX177" fmla="*/ 242953 w 346992"/>
              <a:gd name="connsiteY177" fmla="*/ 268040 h 491572"/>
              <a:gd name="connsiteX178" fmla="*/ 248736 w 346992"/>
              <a:gd name="connsiteY178" fmla="*/ 269486 h 491572"/>
              <a:gd name="connsiteX179" fmla="*/ 257411 w 346992"/>
              <a:gd name="connsiteY179" fmla="*/ 265149 h 491572"/>
              <a:gd name="connsiteX180" fmla="*/ 316689 w 346992"/>
              <a:gd name="connsiteY180" fmla="*/ 184184 h 491572"/>
              <a:gd name="connsiteX181" fmla="*/ 323918 w 346992"/>
              <a:gd name="connsiteY181" fmla="*/ 179846 h 491572"/>
              <a:gd name="connsiteX182" fmla="*/ 331147 w 346992"/>
              <a:gd name="connsiteY182" fmla="*/ 181292 h 491572"/>
              <a:gd name="connsiteX183" fmla="*/ 335484 w 346992"/>
              <a:gd name="connsiteY183" fmla="*/ 188521 h 491572"/>
              <a:gd name="connsiteX184" fmla="*/ 334038 w 346992"/>
              <a:gd name="connsiteY184" fmla="*/ 197196 h 491572"/>
              <a:gd name="connsiteX185" fmla="*/ 274761 w 346992"/>
              <a:gd name="connsiteY185" fmla="*/ 279607 h 491572"/>
              <a:gd name="connsiteX186" fmla="*/ 273315 w 346992"/>
              <a:gd name="connsiteY186" fmla="*/ 286836 h 491572"/>
              <a:gd name="connsiteX187" fmla="*/ 277652 w 346992"/>
              <a:gd name="connsiteY187" fmla="*/ 292619 h 491572"/>
              <a:gd name="connsiteX188" fmla="*/ 283435 w 346992"/>
              <a:gd name="connsiteY188" fmla="*/ 294065 h 491572"/>
              <a:gd name="connsiteX189" fmla="*/ 292110 w 346992"/>
              <a:gd name="connsiteY189" fmla="*/ 289727 h 491572"/>
              <a:gd name="connsiteX190" fmla="*/ 329701 w 346992"/>
              <a:gd name="connsiteY190" fmla="*/ 237678 h 491572"/>
              <a:gd name="connsiteX191" fmla="*/ 344159 w 346992"/>
              <a:gd name="connsiteY191" fmla="*/ 234787 h 491572"/>
              <a:gd name="connsiteX192" fmla="*/ 348496 w 346992"/>
              <a:gd name="connsiteY192" fmla="*/ 242016 h 491572"/>
              <a:gd name="connsiteX193" fmla="*/ 342713 w 346992"/>
              <a:gd name="connsiteY193" fmla="*/ 253582 h 49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46992" h="491572">
                <a:moveTo>
                  <a:pt x="358617" y="243462"/>
                </a:moveTo>
                <a:cubicBezTo>
                  <a:pt x="357171" y="237678"/>
                  <a:pt x="354280" y="231895"/>
                  <a:pt x="348496" y="227558"/>
                </a:cubicBezTo>
                <a:cubicBezTo>
                  <a:pt x="344159" y="224666"/>
                  <a:pt x="338376" y="223220"/>
                  <a:pt x="332593" y="223220"/>
                </a:cubicBezTo>
                <a:lnTo>
                  <a:pt x="342713" y="208762"/>
                </a:lnTo>
                <a:cubicBezTo>
                  <a:pt x="347051" y="202979"/>
                  <a:pt x="348496" y="197196"/>
                  <a:pt x="347051" y="189967"/>
                </a:cubicBezTo>
                <a:cubicBezTo>
                  <a:pt x="345605" y="182738"/>
                  <a:pt x="342713" y="176955"/>
                  <a:pt x="336930" y="174063"/>
                </a:cubicBezTo>
                <a:cubicBezTo>
                  <a:pt x="332593" y="171172"/>
                  <a:pt x="326809" y="169726"/>
                  <a:pt x="321026" y="169726"/>
                </a:cubicBezTo>
                <a:lnTo>
                  <a:pt x="322472" y="166834"/>
                </a:lnTo>
                <a:cubicBezTo>
                  <a:pt x="326809" y="161051"/>
                  <a:pt x="328255" y="155268"/>
                  <a:pt x="326809" y="148039"/>
                </a:cubicBezTo>
                <a:cubicBezTo>
                  <a:pt x="325364" y="142256"/>
                  <a:pt x="322472" y="136472"/>
                  <a:pt x="316689" y="132135"/>
                </a:cubicBezTo>
                <a:cubicBezTo>
                  <a:pt x="310906" y="127798"/>
                  <a:pt x="305122" y="126352"/>
                  <a:pt x="297893" y="127798"/>
                </a:cubicBezTo>
                <a:cubicBezTo>
                  <a:pt x="292110" y="129243"/>
                  <a:pt x="286327" y="132135"/>
                  <a:pt x="281990" y="137918"/>
                </a:cubicBezTo>
                <a:lnTo>
                  <a:pt x="279098" y="142256"/>
                </a:lnTo>
                <a:cubicBezTo>
                  <a:pt x="277652" y="137918"/>
                  <a:pt x="276206" y="135027"/>
                  <a:pt x="273315" y="132135"/>
                </a:cubicBezTo>
                <a:cubicBezTo>
                  <a:pt x="268977" y="127798"/>
                  <a:pt x="261748" y="124906"/>
                  <a:pt x="255965" y="124906"/>
                </a:cubicBezTo>
                <a:cubicBezTo>
                  <a:pt x="255965" y="124906"/>
                  <a:pt x="254519" y="124906"/>
                  <a:pt x="254519" y="124906"/>
                </a:cubicBezTo>
                <a:cubicBezTo>
                  <a:pt x="250182" y="124906"/>
                  <a:pt x="245845" y="126352"/>
                  <a:pt x="241507" y="129243"/>
                </a:cubicBezTo>
                <a:lnTo>
                  <a:pt x="247290" y="104665"/>
                </a:lnTo>
                <a:cubicBezTo>
                  <a:pt x="248736" y="98882"/>
                  <a:pt x="247290" y="91653"/>
                  <a:pt x="244399" y="85869"/>
                </a:cubicBezTo>
                <a:cubicBezTo>
                  <a:pt x="241507" y="80086"/>
                  <a:pt x="235724" y="77195"/>
                  <a:pt x="228495" y="75749"/>
                </a:cubicBezTo>
                <a:cubicBezTo>
                  <a:pt x="222712" y="74303"/>
                  <a:pt x="216929" y="75749"/>
                  <a:pt x="212591" y="77195"/>
                </a:cubicBezTo>
                <a:lnTo>
                  <a:pt x="216929" y="59845"/>
                </a:lnTo>
                <a:cubicBezTo>
                  <a:pt x="218374" y="52616"/>
                  <a:pt x="216929" y="46833"/>
                  <a:pt x="214037" y="41050"/>
                </a:cubicBezTo>
                <a:cubicBezTo>
                  <a:pt x="209700" y="35266"/>
                  <a:pt x="205362" y="30929"/>
                  <a:pt x="198133" y="29483"/>
                </a:cubicBezTo>
                <a:cubicBezTo>
                  <a:pt x="192350" y="28037"/>
                  <a:pt x="186567" y="29483"/>
                  <a:pt x="182229" y="32375"/>
                </a:cubicBezTo>
                <a:lnTo>
                  <a:pt x="182229" y="29483"/>
                </a:lnTo>
                <a:cubicBezTo>
                  <a:pt x="183675" y="23700"/>
                  <a:pt x="182229" y="16471"/>
                  <a:pt x="179338" y="10688"/>
                </a:cubicBezTo>
                <a:cubicBezTo>
                  <a:pt x="176446" y="4905"/>
                  <a:pt x="170663" y="2013"/>
                  <a:pt x="163434" y="567"/>
                </a:cubicBezTo>
                <a:cubicBezTo>
                  <a:pt x="157651" y="-879"/>
                  <a:pt x="150422" y="567"/>
                  <a:pt x="144639" y="3459"/>
                </a:cubicBezTo>
                <a:cubicBezTo>
                  <a:pt x="140301" y="7796"/>
                  <a:pt x="135964" y="13579"/>
                  <a:pt x="134518" y="20808"/>
                </a:cubicBezTo>
                <a:lnTo>
                  <a:pt x="135964" y="20808"/>
                </a:lnTo>
                <a:cubicBezTo>
                  <a:pt x="135964" y="22254"/>
                  <a:pt x="134518" y="23700"/>
                  <a:pt x="134518" y="26592"/>
                </a:cubicBezTo>
                <a:cubicBezTo>
                  <a:pt x="131626" y="22254"/>
                  <a:pt x="128735" y="19363"/>
                  <a:pt x="124397" y="17917"/>
                </a:cubicBezTo>
                <a:cubicBezTo>
                  <a:pt x="117168" y="15025"/>
                  <a:pt x="109939" y="16471"/>
                  <a:pt x="102710" y="19363"/>
                </a:cubicBezTo>
                <a:cubicBezTo>
                  <a:pt x="96927" y="22254"/>
                  <a:pt x="92590" y="28037"/>
                  <a:pt x="91144" y="35266"/>
                </a:cubicBezTo>
                <a:lnTo>
                  <a:pt x="62228" y="169726"/>
                </a:lnTo>
                <a:cubicBezTo>
                  <a:pt x="62228" y="171172"/>
                  <a:pt x="60782" y="171172"/>
                  <a:pt x="59336" y="172617"/>
                </a:cubicBezTo>
                <a:cubicBezTo>
                  <a:pt x="56445" y="172617"/>
                  <a:pt x="56445" y="171172"/>
                  <a:pt x="56445" y="171172"/>
                </a:cubicBezTo>
                <a:lnTo>
                  <a:pt x="47770" y="133581"/>
                </a:lnTo>
                <a:cubicBezTo>
                  <a:pt x="44878" y="122014"/>
                  <a:pt x="33312" y="114785"/>
                  <a:pt x="21746" y="116231"/>
                </a:cubicBezTo>
                <a:cubicBezTo>
                  <a:pt x="14517" y="117677"/>
                  <a:pt x="8733" y="120569"/>
                  <a:pt x="4396" y="127798"/>
                </a:cubicBezTo>
                <a:cubicBezTo>
                  <a:pt x="59" y="133581"/>
                  <a:pt x="-1387" y="140810"/>
                  <a:pt x="1504" y="148039"/>
                </a:cubicBezTo>
                <a:lnTo>
                  <a:pt x="7288" y="226112"/>
                </a:lnTo>
                <a:cubicBezTo>
                  <a:pt x="8733" y="231895"/>
                  <a:pt x="10179" y="237678"/>
                  <a:pt x="13071" y="243462"/>
                </a:cubicBezTo>
                <a:cubicBezTo>
                  <a:pt x="24637" y="266594"/>
                  <a:pt x="28975" y="291173"/>
                  <a:pt x="27529" y="314306"/>
                </a:cubicBezTo>
                <a:cubicBezTo>
                  <a:pt x="27529" y="315752"/>
                  <a:pt x="27529" y="315752"/>
                  <a:pt x="27529" y="317197"/>
                </a:cubicBezTo>
                <a:cubicBezTo>
                  <a:pt x="27529" y="317197"/>
                  <a:pt x="27529" y="318643"/>
                  <a:pt x="27529" y="318643"/>
                </a:cubicBezTo>
                <a:lnTo>
                  <a:pt x="18854" y="357680"/>
                </a:lnTo>
                <a:cubicBezTo>
                  <a:pt x="18854" y="359126"/>
                  <a:pt x="18854" y="362017"/>
                  <a:pt x="20300" y="363463"/>
                </a:cubicBezTo>
                <a:cubicBezTo>
                  <a:pt x="21746" y="364909"/>
                  <a:pt x="23191" y="366355"/>
                  <a:pt x="24637" y="366355"/>
                </a:cubicBezTo>
                <a:lnTo>
                  <a:pt x="63674" y="375029"/>
                </a:lnTo>
                <a:lnTo>
                  <a:pt x="43433" y="402500"/>
                </a:lnTo>
                <a:cubicBezTo>
                  <a:pt x="39095" y="405391"/>
                  <a:pt x="40541" y="409729"/>
                  <a:pt x="43433" y="412620"/>
                </a:cubicBezTo>
                <a:lnTo>
                  <a:pt x="154759" y="493585"/>
                </a:lnTo>
                <a:cubicBezTo>
                  <a:pt x="156205" y="495031"/>
                  <a:pt x="157651" y="495031"/>
                  <a:pt x="159097" y="495031"/>
                </a:cubicBezTo>
                <a:cubicBezTo>
                  <a:pt x="159097" y="495031"/>
                  <a:pt x="160542" y="495031"/>
                  <a:pt x="160542" y="495031"/>
                </a:cubicBezTo>
                <a:cubicBezTo>
                  <a:pt x="161988" y="495031"/>
                  <a:pt x="163434" y="493585"/>
                  <a:pt x="164880" y="492139"/>
                </a:cubicBezTo>
                <a:lnTo>
                  <a:pt x="186567" y="463223"/>
                </a:lnTo>
                <a:lnTo>
                  <a:pt x="186567" y="463223"/>
                </a:lnTo>
                <a:cubicBezTo>
                  <a:pt x="188013" y="463223"/>
                  <a:pt x="188013" y="463223"/>
                  <a:pt x="189458" y="463223"/>
                </a:cubicBezTo>
                <a:cubicBezTo>
                  <a:pt x="209700" y="453103"/>
                  <a:pt x="225603" y="440090"/>
                  <a:pt x="238616" y="422741"/>
                </a:cubicBezTo>
                <a:lnTo>
                  <a:pt x="247290" y="409729"/>
                </a:lnTo>
                <a:cubicBezTo>
                  <a:pt x="248736" y="408283"/>
                  <a:pt x="250182" y="406837"/>
                  <a:pt x="251628" y="405391"/>
                </a:cubicBezTo>
                <a:cubicBezTo>
                  <a:pt x="287773" y="356234"/>
                  <a:pt x="297893" y="341776"/>
                  <a:pt x="300785" y="337439"/>
                </a:cubicBezTo>
                <a:lnTo>
                  <a:pt x="300785" y="337439"/>
                </a:lnTo>
                <a:cubicBezTo>
                  <a:pt x="300785" y="337439"/>
                  <a:pt x="302231" y="335993"/>
                  <a:pt x="302231" y="335993"/>
                </a:cubicBezTo>
                <a:lnTo>
                  <a:pt x="355725" y="262257"/>
                </a:lnTo>
                <a:cubicBezTo>
                  <a:pt x="358617" y="256474"/>
                  <a:pt x="360063" y="249245"/>
                  <a:pt x="358617" y="243462"/>
                </a:cubicBezTo>
                <a:close/>
                <a:moveTo>
                  <a:pt x="24637" y="236233"/>
                </a:moveTo>
                <a:cubicBezTo>
                  <a:pt x="23191" y="231895"/>
                  <a:pt x="21746" y="227558"/>
                  <a:pt x="20300" y="223220"/>
                </a:cubicBezTo>
                <a:lnTo>
                  <a:pt x="15962" y="145147"/>
                </a:lnTo>
                <a:cubicBezTo>
                  <a:pt x="15962" y="145147"/>
                  <a:pt x="15962" y="143701"/>
                  <a:pt x="15962" y="143701"/>
                </a:cubicBezTo>
                <a:cubicBezTo>
                  <a:pt x="14517" y="140810"/>
                  <a:pt x="14517" y="137918"/>
                  <a:pt x="15962" y="135027"/>
                </a:cubicBezTo>
                <a:cubicBezTo>
                  <a:pt x="17408" y="132135"/>
                  <a:pt x="20300" y="130689"/>
                  <a:pt x="24637" y="130689"/>
                </a:cubicBezTo>
                <a:cubicBezTo>
                  <a:pt x="28975" y="130689"/>
                  <a:pt x="33312" y="133581"/>
                  <a:pt x="34758" y="137918"/>
                </a:cubicBezTo>
                <a:lnTo>
                  <a:pt x="43433" y="175509"/>
                </a:lnTo>
                <a:cubicBezTo>
                  <a:pt x="46324" y="182738"/>
                  <a:pt x="52107" y="188521"/>
                  <a:pt x="60782" y="187075"/>
                </a:cubicBezTo>
                <a:cubicBezTo>
                  <a:pt x="68011" y="187075"/>
                  <a:pt x="75240" y="181292"/>
                  <a:pt x="76686" y="174063"/>
                </a:cubicBezTo>
                <a:lnTo>
                  <a:pt x="105602" y="39604"/>
                </a:lnTo>
                <a:cubicBezTo>
                  <a:pt x="105602" y="36712"/>
                  <a:pt x="108494" y="33821"/>
                  <a:pt x="111385" y="32375"/>
                </a:cubicBezTo>
                <a:cubicBezTo>
                  <a:pt x="114277" y="30929"/>
                  <a:pt x="117168" y="30929"/>
                  <a:pt x="120060" y="32375"/>
                </a:cubicBezTo>
                <a:cubicBezTo>
                  <a:pt x="122952" y="33821"/>
                  <a:pt x="125843" y="39604"/>
                  <a:pt x="124397" y="43941"/>
                </a:cubicBezTo>
                <a:lnTo>
                  <a:pt x="105602" y="129243"/>
                </a:lnTo>
                <a:cubicBezTo>
                  <a:pt x="105602" y="129243"/>
                  <a:pt x="105602" y="130689"/>
                  <a:pt x="105602" y="130689"/>
                </a:cubicBezTo>
                <a:lnTo>
                  <a:pt x="104156" y="139364"/>
                </a:lnTo>
                <a:cubicBezTo>
                  <a:pt x="104156" y="142256"/>
                  <a:pt x="104156" y="145147"/>
                  <a:pt x="105602" y="146593"/>
                </a:cubicBezTo>
                <a:cubicBezTo>
                  <a:pt x="107048" y="149485"/>
                  <a:pt x="109939" y="150930"/>
                  <a:pt x="114277" y="150930"/>
                </a:cubicBezTo>
                <a:cubicBezTo>
                  <a:pt x="118614" y="150930"/>
                  <a:pt x="122952" y="148039"/>
                  <a:pt x="124397" y="143701"/>
                </a:cubicBezTo>
                <a:cubicBezTo>
                  <a:pt x="124397" y="143701"/>
                  <a:pt x="150422" y="23700"/>
                  <a:pt x="150422" y="23700"/>
                </a:cubicBezTo>
                <a:cubicBezTo>
                  <a:pt x="150422" y="20808"/>
                  <a:pt x="151868" y="19363"/>
                  <a:pt x="154759" y="17917"/>
                </a:cubicBezTo>
                <a:cubicBezTo>
                  <a:pt x="156205" y="15025"/>
                  <a:pt x="157651" y="15025"/>
                  <a:pt x="160542" y="15025"/>
                </a:cubicBezTo>
                <a:cubicBezTo>
                  <a:pt x="163434" y="15025"/>
                  <a:pt x="164880" y="16471"/>
                  <a:pt x="166326" y="19363"/>
                </a:cubicBezTo>
                <a:cubicBezTo>
                  <a:pt x="167771" y="22254"/>
                  <a:pt x="167771" y="23700"/>
                  <a:pt x="167771" y="26592"/>
                </a:cubicBezTo>
                <a:lnTo>
                  <a:pt x="141747" y="146593"/>
                </a:lnTo>
                <a:cubicBezTo>
                  <a:pt x="141747" y="149485"/>
                  <a:pt x="141747" y="152376"/>
                  <a:pt x="143193" y="153822"/>
                </a:cubicBezTo>
                <a:cubicBezTo>
                  <a:pt x="144639" y="156714"/>
                  <a:pt x="147530" y="158159"/>
                  <a:pt x="150422" y="158159"/>
                </a:cubicBezTo>
                <a:cubicBezTo>
                  <a:pt x="151868" y="158159"/>
                  <a:pt x="151868" y="158159"/>
                  <a:pt x="153313" y="158159"/>
                </a:cubicBezTo>
                <a:cubicBezTo>
                  <a:pt x="153313" y="158159"/>
                  <a:pt x="154759" y="158159"/>
                  <a:pt x="156205" y="158159"/>
                </a:cubicBezTo>
                <a:cubicBezTo>
                  <a:pt x="159097" y="156714"/>
                  <a:pt x="161988" y="153822"/>
                  <a:pt x="161988" y="150930"/>
                </a:cubicBezTo>
                <a:cubicBezTo>
                  <a:pt x="161988" y="150930"/>
                  <a:pt x="172109" y="104665"/>
                  <a:pt x="177892" y="75749"/>
                </a:cubicBezTo>
                <a:lnTo>
                  <a:pt x="182229" y="52616"/>
                </a:lnTo>
                <a:cubicBezTo>
                  <a:pt x="182229" y="49724"/>
                  <a:pt x="185121" y="46833"/>
                  <a:pt x="186567" y="45387"/>
                </a:cubicBezTo>
                <a:cubicBezTo>
                  <a:pt x="189458" y="43941"/>
                  <a:pt x="192350" y="43941"/>
                  <a:pt x="193796" y="43941"/>
                </a:cubicBezTo>
                <a:cubicBezTo>
                  <a:pt x="196687" y="43941"/>
                  <a:pt x="198133" y="45387"/>
                  <a:pt x="199579" y="48279"/>
                </a:cubicBezTo>
                <a:cubicBezTo>
                  <a:pt x="201025" y="51170"/>
                  <a:pt x="201025" y="54062"/>
                  <a:pt x="201025" y="56953"/>
                </a:cubicBezTo>
                <a:lnTo>
                  <a:pt x="180784" y="155268"/>
                </a:lnTo>
                <a:cubicBezTo>
                  <a:pt x="179338" y="159605"/>
                  <a:pt x="182229" y="163943"/>
                  <a:pt x="185121" y="165388"/>
                </a:cubicBezTo>
                <a:cubicBezTo>
                  <a:pt x="185121" y="165388"/>
                  <a:pt x="186567" y="166834"/>
                  <a:pt x="186567" y="166834"/>
                </a:cubicBezTo>
                <a:cubicBezTo>
                  <a:pt x="188013" y="166834"/>
                  <a:pt x="189458" y="166834"/>
                  <a:pt x="190904" y="166834"/>
                </a:cubicBezTo>
                <a:cubicBezTo>
                  <a:pt x="192350" y="166834"/>
                  <a:pt x="193796" y="165388"/>
                  <a:pt x="193796" y="165388"/>
                </a:cubicBezTo>
                <a:cubicBezTo>
                  <a:pt x="193796" y="165388"/>
                  <a:pt x="195242" y="163943"/>
                  <a:pt x="195242" y="163943"/>
                </a:cubicBezTo>
                <a:cubicBezTo>
                  <a:pt x="196687" y="162497"/>
                  <a:pt x="198133" y="161051"/>
                  <a:pt x="198133" y="159605"/>
                </a:cubicBezTo>
                <a:lnTo>
                  <a:pt x="211145" y="97436"/>
                </a:lnTo>
                <a:cubicBezTo>
                  <a:pt x="211145" y="94544"/>
                  <a:pt x="212591" y="93098"/>
                  <a:pt x="215483" y="91653"/>
                </a:cubicBezTo>
                <a:cubicBezTo>
                  <a:pt x="218374" y="90207"/>
                  <a:pt x="219820" y="90207"/>
                  <a:pt x="222712" y="90207"/>
                </a:cubicBezTo>
                <a:cubicBezTo>
                  <a:pt x="225603" y="90207"/>
                  <a:pt x="227049" y="91653"/>
                  <a:pt x="228495" y="94544"/>
                </a:cubicBezTo>
                <a:cubicBezTo>
                  <a:pt x="229941" y="97436"/>
                  <a:pt x="229941" y="98882"/>
                  <a:pt x="229941" y="101773"/>
                </a:cubicBezTo>
                <a:lnTo>
                  <a:pt x="218374" y="153822"/>
                </a:lnTo>
                <a:cubicBezTo>
                  <a:pt x="218374" y="153822"/>
                  <a:pt x="218374" y="155268"/>
                  <a:pt x="218374" y="155268"/>
                </a:cubicBezTo>
                <a:lnTo>
                  <a:pt x="156205" y="246353"/>
                </a:lnTo>
                <a:cubicBezTo>
                  <a:pt x="156205" y="246353"/>
                  <a:pt x="154759" y="247799"/>
                  <a:pt x="153313" y="247799"/>
                </a:cubicBezTo>
                <a:cubicBezTo>
                  <a:pt x="151868" y="247799"/>
                  <a:pt x="151868" y="246353"/>
                  <a:pt x="151868" y="244907"/>
                </a:cubicBezTo>
                <a:lnTo>
                  <a:pt x="159097" y="207317"/>
                </a:lnTo>
                <a:cubicBezTo>
                  <a:pt x="160542" y="195750"/>
                  <a:pt x="153313" y="184184"/>
                  <a:pt x="141747" y="181292"/>
                </a:cubicBezTo>
                <a:cubicBezTo>
                  <a:pt x="134518" y="178401"/>
                  <a:pt x="127289" y="179846"/>
                  <a:pt x="120060" y="184184"/>
                </a:cubicBezTo>
                <a:cubicBezTo>
                  <a:pt x="114277" y="188521"/>
                  <a:pt x="109939" y="194304"/>
                  <a:pt x="108494" y="201533"/>
                </a:cubicBezTo>
                <a:lnTo>
                  <a:pt x="83915" y="275269"/>
                </a:lnTo>
                <a:cubicBezTo>
                  <a:pt x="82469" y="281052"/>
                  <a:pt x="82469" y="286836"/>
                  <a:pt x="82469" y="292619"/>
                </a:cubicBezTo>
                <a:cubicBezTo>
                  <a:pt x="82469" y="302739"/>
                  <a:pt x="82469" y="312860"/>
                  <a:pt x="79578" y="322981"/>
                </a:cubicBezTo>
                <a:lnTo>
                  <a:pt x="40541" y="314306"/>
                </a:lnTo>
                <a:cubicBezTo>
                  <a:pt x="41987" y="288281"/>
                  <a:pt x="36204" y="262257"/>
                  <a:pt x="24637" y="236233"/>
                </a:cubicBezTo>
                <a:close/>
                <a:moveTo>
                  <a:pt x="31866" y="353342"/>
                </a:moveTo>
                <a:lnTo>
                  <a:pt x="37649" y="328764"/>
                </a:lnTo>
                <a:lnTo>
                  <a:pt x="76686" y="337439"/>
                </a:lnTo>
                <a:cubicBezTo>
                  <a:pt x="73794" y="346113"/>
                  <a:pt x="70903" y="353342"/>
                  <a:pt x="68011" y="360571"/>
                </a:cubicBezTo>
                <a:cubicBezTo>
                  <a:pt x="68011" y="360571"/>
                  <a:pt x="68011" y="360571"/>
                  <a:pt x="68011" y="360571"/>
                </a:cubicBezTo>
                <a:lnTo>
                  <a:pt x="31866" y="353342"/>
                </a:lnTo>
                <a:close/>
                <a:moveTo>
                  <a:pt x="157651" y="477681"/>
                </a:moveTo>
                <a:lnTo>
                  <a:pt x="57891" y="405391"/>
                </a:lnTo>
                <a:lnTo>
                  <a:pt x="72349" y="383704"/>
                </a:lnTo>
                <a:lnTo>
                  <a:pt x="172109" y="455994"/>
                </a:lnTo>
                <a:lnTo>
                  <a:pt x="157651" y="477681"/>
                </a:lnTo>
                <a:close/>
                <a:moveTo>
                  <a:pt x="342713" y="253582"/>
                </a:moveTo>
                <a:lnTo>
                  <a:pt x="289219" y="327318"/>
                </a:lnTo>
                <a:cubicBezTo>
                  <a:pt x="289219" y="327318"/>
                  <a:pt x="289219" y="328764"/>
                  <a:pt x="287773" y="328764"/>
                </a:cubicBezTo>
                <a:cubicBezTo>
                  <a:pt x="286327" y="330210"/>
                  <a:pt x="277652" y="341776"/>
                  <a:pt x="238616" y="396716"/>
                </a:cubicBezTo>
                <a:cubicBezTo>
                  <a:pt x="238616" y="396716"/>
                  <a:pt x="237170" y="398162"/>
                  <a:pt x="235724" y="399608"/>
                </a:cubicBezTo>
                <a:lnTo>
                  <a:pt x="225603" y="412620"/>
                </a:lnTo>
                <a:cubicBezTo>
                  <a:pt x="215483" y="427078"/>
                  <a:pt x="201025" y="438645"/>
                  <a:pt x="185121" y="447319"/>
                </a:cubicBezTo>
                <a:lnTo>
                  <a:pt x="76686" y="369246"/>
                </a:lnTo>
                <a:cubicBezTo>
                  <a:pt x="88252" y="346113"/>
                  <a:pt x="94036" y="320089"/>
                  <a:pt x="94036" y="292619"/>
                </a:cubicBezTo>
                <a:cubicBezTo>
                  <a:pt x="94036" y="288281"/>
                  <a:pt x="94036" y="283944"/>
                  <a:pt x="95481" y="279607"/>
                </a:cubicBezTo>
                <a:lnTo>
                  <a:pt x="121506" y="204425"/>
                </a:lnTo>
                <a:cubicBezTo>
                  <a:pt x="121506" y="204425"/>
                  <a:pt x="121506" y="202979"/>
                  <a:pt x="121506" y="202979"/>
                </a:cubicBezTo>
                <a:cubicBezTo>
                  <a:pt x="121506" y="200088"/>
                  <a:pt x="122952" y="197196"/>
                  <a:pt x="125843" y="195750"/>
                </a:cubicBezTo>
                <a:cubicBezTo>
                  <a:pt x="128735" y="194304"/>
                  <a:pt x="131626" y="194304"/>
                  <a:pt x="134518" y="194304"/>
                </a:cubicBezTo>
                <a:cubicBezTo>
                  <a:pt x="138855" y="195750"/>
                  <a:pt x="141747" y="200088"/>
                  <a:pt x="141747" y="204425"/>
                </a:cubicBezTo>
                <a:lnTo>
                  <a:pt x="134518" y="242016"/>
                </a:lnTo>
                <a:cubicBezTo>
                  <a:pt x="133072" y="249245"/>
                  <a:pt x="137410" y="256474"/>
                  <a:pt x="146084" y="259365"/>
                </a:cubicBezTo>
                <a:cubicBezTo>
                  <a:pt x="153313" y="262257"/>
                  <a:pt x="161988" y="259365"/>
                  <a:pt x="166326" y="253582"/>
                </a:cubicBezTo>
                <a:lnTo>
                  <a:pt x="247290" y="142256"/>
                </a:lnTo>
                <a:cubicBezTo>
                  <a:pt x="248736" y="139364"/>
                  <a:pt x="251628" y="137918"/>
                  <a:pt x="255965" y="137918"/>
                </a:cubicBezTo>
                <a:cubicBezTo>
                  <a:pt x="258857" y="137918"/>
                  <a:pt x="261748" y="139364"/>
                  <a:pt x="263194" y="140810"/>
                </a:cubicBezTo>
                <a:cubicBezTo>
                  <a:pt x="266086" y="143701"/>
                  <a:pt x="266086" y="149485"/>
                  <a:pt x="263194" y="155268"/>
                </a:cubicBezTo>
                <a:lnTo>
                  <a:pt x="212591" y="224666"/>
                </a:lnTo>
                <a:cubicBezTo>
                  <a:pt x="212591" y="224666"/>
                  <a:pt x="212591" y="226112"/>
                  <a:pt x="211145" y="226112"/>
                </a:cubicBezTo>
                <a:lnTo>
                  <a:pt x="205362" y="233341"/>
                </a:lnTo>
                <a:cubicBezTo>
                  <a:pt x="203916" y="234787"/>
                  <a:pt x="203916" y="237678"/>
                  <a:pt x="203916" y="240570"/>
                </a:cubicBezTo>
                <a:cubicBezTo>
                  <a:pt x="203916" y="243462"/>
                  <a:pt x="205362" y="244907"/>
                  <a:pt x="208254" y="246353"/>
                </a:cubicBezTo>
                <a:cubicBezTo>
                  <a:pt x="212591" y="249245"/>
                  <a:pt x="218374" y="247799"/>
                  <a:pt x="222712" y="243462"/>
                </a:cubicBezTo>
                <a:lnTo>
                  <a:pt x="295002" y="143701"/>
                </a:lnTo>
                <a:cubicBezTo>
                  <a:pt x="296448" y="140810"/>
                  <a:pt x="299339" y="139364"/>
                  <a:pt x="302231" y="139364"/>
                </a:cubicBezTo>
                <a:cubicBezTo>
                  <a:pt x="305122" y="139364"/>
                  <a:pt x="308014" y="139364"/>
                  <a:pt x="309460" y="140810"/>
                </a:cubicBezTo>
                <a:cubicBezTo>
                  <a:pt x="312351" y="142256"/>
                  <a:pt x="313797" y="145147"/>
                  <a:pt x="313797" y="148039"/>
                </a:cubicBezTo>
                <a:cubicBezTo>
                  <a:pt x="313797" y="150930"/>
                  <a:pt x="313797" y="153822"/>
                  <a:pt x="312351" y="155268"/>
                </a:cubicBezTo>
                <a:lnTo>
                  <a:pt x="240061" y="255028"/>
                </a:lnTo>
                <a:cubicBezTo>
                  <a:pt x="238616" y="256474"/>
                  <a:pt x="238616" y="259365"/>
                  <a:pt x="238616" y="262257"/>
                </a:cubicBezTo>
                <a:cubicBezTo>
                  <a:pt x="238616" y="265149"/>
                  <a:pt x="240061" y="266594"/>
                  <a:pt x="242953" y="268040"/>
                </a:cubicBezTo>
                <a:cubicBezTo>
                  <a:pt x="244399" y="269486"/>
                  <a:pt x="245845" y="269486"/>
                  <a:pt x="248736" y="269486"/>
                </a:cubicBezTo>
                <a:cubicBezTo>
                  <a:pt x="251628" y="269486"/>
                  <a:pt x="254519" y="268040"/>
                  <a:pt x="257411" y="265149"/>
                </a:cubicBezTo>
                <a:lnTo>
                  <a:pt x="316689" y="184184"/>
                </a:lnTo>
                <a:cubicBezTo>
                  <a:pt x="318135" y="181292"/>
                  <a:pt x="321026" y="179846"/>
                  <a:pt x="323918" y="179846"/>
                </a:cubicBezTo>
                <a:cubicBezTo>
                  <a:pt x="326809" y="179846"/>
                  <a:pt x="329701" y="179846"/>
                  <a:pt x="331147" y="181292"/>
                </a:cubicBezTo>
                <a:cubicBezTo>
                  <a:pt x="334038" y="182738"/>
                  <a:pt x="335484" y="185630"/>
                  <a:pt x="335484" y="188521"/>
                </a:cubicBezTo>
                <a:cubicBezTo>
                  <a:pt x="335484" y="191413"/>
                  <a:pt x="335484" y="194304"/>
                  <a:pt x="334038" y="197196"/>
                </a:cubicBezTo>
                <a:lnTo>
                  <a:pt x="274761" y="279607"/>
                </a:lnTo>
                <a:cubicBezTo>
                  <a:pt x="273315" y="281052"/>
                  <a:pt x="271869" y="283944"/>
                  <a:pt x="273315" y="286836"/>
                </a:cubicBezTo>
                <a:cubicBezTo>
                  <a:pt x="273315" y="289727"/>
                  <a:pt x="274761" y="291173"/>
                  <a:pt x="277652" y="292619"/>
                </a:cubicBezTo>
                <a:cubicBezTo>
                  <a:pt x="279098" y="294065"/>
                  <a:pt x="281990" y="294065"/>
                  <a:pt x="283435" y="294065"/>
                </a:cubicBezTo>
                <a:cubicBezTo>
                  <a:pt x="287773" y="294065"/>
                  <a:pt x="290664" y="291173"/>
                  <a:pt x="292110" y="289727"/>
                </a:cubicBezTo>
                <a:lnTo>
                  <a:pt x="329701" y="237678"/>
                </a:lnTo>
                <a:cubicBezTo>
                  <a:pt x="332593" y="233341"/>
                  <a:pt x="339822" y="231895"/>
                  <a:pt x="344159" y="234787"/>
                </a:cubicBezTo>
                <a:cubicBezTo>
                  <a:pt x="347051" y="236233"/>
                  <a:pt x="348496" y="239124"/>
                  <a:pt x="348496" y="242016"/>
                </a:cubicBezTo>
                <a:cubicBezTo>
                  <a:pt x="345605" y="247799"/>
                  <a:pt x="344159" y="250691"/>
                  <a:pt x="342713" y="253582"/>
                </a:cubicBezTo>
                <a:close/>
              </a:path>
            </a:pathLst>
          </a:custGeom>
          <a:solidFill>
            <a:srgbClr val="231F20"/>
          </a:solidFill>
          <a:ln w="14097" cap="flat">
            <a:noFill/>
            <a:prstDash val="solid"/>
            <a:miter/>
          </a:ln>
        </p:spPr>
        <p:txBody>
          <a:bodyPr rtlCol="0" anchor="ctr"/>
          <a:lstStyle/>
          <a:p>
            <a:endParaRPr lang="de-DE"/>
          </a:p>
        </p:txBody>
      </p:sp>
      <p:grpSp>
        <p:nvGrpSpPr>
          <p:cNvPr id="2417" name="Graphic 3">
            <a:extLst>
              <a:ext uri="{FF2B5EF4-FFF2-40B4-BE49-F238E27FC236}">
                <a16:creationId xmlns:a16="http://schemas.microsoft.com/office/drawing/2014/main" id="{9FF3ED63-EB08-4268-B77C-D70B445FEF51}"/>
              </a:ext>
              <a:ext uri="{C183D7F6-B498-43B3-948B-1728B52AA6E4}">
                <adec:decorative xmlns:adec="http://schemas.microsoft.com/office/drawing/2017/decorative" val="1"/>
              </a:ext>
            </a:extLst>
          </p:cNvPr>
          <p:cNvGrpSpPr>
            <a:grpSpLocks noChangeAspect="1"/>
          </p:cNvGrpSpPr>
          <p:nvPr/>
        </p:nvGrpSpPr>
        <p:grpSpPr>
          <a:xfrm>
            <a:off x="5177846" y="4504121"/>
            <a:ext cx="177959" cy="129862"/>
            <a:chOff x="5842000" y="3251878"/>
            <a:chExt cx="483812" cy="353052"/>
          </a:xfrm>
          <a:solidFill>
            <a:srgbClr val="231F20"/>
          </a:solidFill>
        </p:grpSpPr>
        <p:sp>
          <p:nvSpPr>
            <p:cNvPr id="2418" name="Freeform: Shape 2417">
              <a:extLst>
                <a:ext uri="{FF2B5EF4-FFF2-40B4-BE49-F238E27FC236}">
                  <a16:creationId xmlns:a16="http://schemas.microsoft.com/office/drawing/2014/main" id="{58441DAC-21BC-48AC-B3E5-D81BC58C996C}"/>
                </a:ext>
              </a:extLst>
            </p:cNvPr>
            <p:cNvSpPr/>
            <p:nvPr/>
          </p:nvSpPr>
          <p:spPr>
            <a:xfrm>
              <a:off x="5842000" y="3260541"/>
              <a:ext cx="483812" cy="353052"/>
            </a:xfrm>
            <a:custGeom>
              <a:avLst/>
              <a:gdLst>
                <a:gd name="connsiteX0" fmla="*/ 453737 w 483812"/>
                <a:gd name="connsiteY0" fmla="*/ 86792 h 353052"/>
                <a:gd name="connsiteX1" fmla="*/ 360898 w 483812"/>
                <a:gd name="connsiteY1" fmla="*/ 86792 h 353052"/>
                <a:gd name="connsiteX2" fmla="*/ 300748 w 483812"/>
                <a:gd name="connsiteY2" fmla="*/ 75024 h 353052"/>
                <a:gd name="connsiteX3" fmla="*/ 326900 w 483812"/>
                <a:gd name="connsiteY3" fmla="*/ 41026 h 353052"/>
                <a:gd name="connsiteX4" fmla="*/ 336053 w 483812"/>
                <a:gd name="connsiteY4" fmla="*/ 18797 h 353052"/>
                <a:gd name="connsiteX5" fmla="*/ 328208 w 483812"/>
                <a:gd name="connsiteY5" fmla="*/ 4413 h 353052"/>
                <a:gd name="connsiteX6" fmla="*/ 313824 w 483812"/>
                <a:gd name="connsiteY6" fmla="*/ 490 h 353052"/>
                <a:gd name="connsiteX7" fmla="*/ 291595 w 483812"/>
                <a:gd name="connsiteY7" fmla="*/ 16182 h 353052"/>
                <a:gd name="connsiteX8" fmla="*/ 247136 w 483812"/>
                <a:gd name="connsiteY8" fmla="*/ 81562 h 353052"/>
                <a:gd name="connsiteX9" fmla="*/ 247136 w 483812"/>
                <a:gd name="connsiteY9" fmla="*/ 81562 h 353052"/>
                <a:gd name="connsiteX10" fmla="*/ 247136 w 483812"/>
                <a:gd name="connsiteY10" fmla="*/ 80254 h 353052"/>
                <a:gd name="connsiteX11" fmla="*/ 247136 w 483812"/>
                <a:gd name="connsiteY11" fmla="*/ 80254 h 353052"/>
                <a:gd name="connsiteX12" fmla="*/ 201370 w 483812"/>
                <a:gd name="connsiteY12" fmla="*/ 17489 h 353052"/>
                <a:gd name="connsiteX13" fmla="*/ 179141 w 483812"/>
                <a:gd name="connsiteY13" fmla="*/ 490 h 353052"/>
                <a:gd name="connsiteX14" fmla="*/ 164758 w 483812"/>
                <a:gd name="connsiteY14" fmla="*/ 4413 h 353052"/>
                <a:gd name="connsiteX15" fmla="*/ 156912 w 483812"/>
                <a:gd name="connsiteY15" fmla="*/ 18797 h 353052"/>
                <a:gd name="connsiteX16" fmla="*/ 166065 w 483812"/>
                <a:gd name="connsiteY16" fmla="*/ 41026 h 353052"/>
                <a:gd name="connsiteX17" fmla="*/ 192217 w 483812"/>
                <a:gd name="connsiteY17" fmla="*/ 75024 h 353052"/>
                <a:gd name="connsiteX18" fmla="*/ 132068 w 483812"/>
                <a:gd name="connsiteY18" fmla="*/ 85484 h 353052"/>
                <a:gd name="connsiteX19" fmla="*/ 37920 w 483812"/>
                <a:gd name="connsiteY19" fmla="*/ 85484 h 353052"/>
                <a:gd name="connsiteX20" fmla="*/ 0 w 483812"/>
                <a:gd name="connsiteY20" fmla="*/ 124712 h 353052"/>
                <a:gd name="connsiteX21" fmla="*/ 0 w 483812"/>
                <a:gd name="connsiteY21" fmla="*/ 221475 h 353052"/>
                <a:gd name="connsiteX22" fmla="*/ 16999 w 483812"/>
                <a:gd name="connsiteY22" fmla="*/ 239781 h 353052"/>
                <a:gd name="connsiteX23" fmla="*/ 31382 w 483812"/>
                <a:gd name="connsiteY23" fmla="*/ 239781 h 353052"/>
                <a:gd name="connsiteX24" fmla="*/ 31382 w 483812"/>
                <a:gd name="connsiteY24" fmla="*/ 336544 h 353052"/>
                <a:gd name="connsiteX25" fmla="*/ 48381 w 483812"/>
                <a:gd name="connsiteY25" fmla="*/ 353542 h 353052"/>
                <a:gd name="connsiteX26" fmla="*/ 121607 w 483812"/>
                <a:gd name="connsiteY26" fmla="*/ 353542 h 353052"/>
                <a:gd name="connsiteX27" fmla="*/ 138606 w 483812"/>
                <a:gd name="connsiteY27" fmla="*/ 336544 h 353052"/>
                <a:gd name="connsiteX28" fmla="*/ 138606 w 483812"/>
                <a:gd name="connsiteY28" fmla="*/ 133866 h 353052"/>
                <a:gd name="connsiteX29" fmla="*/ 227522 w 483812"/>
                <a:gd name="connsiteY29" fmla="*/ 119482 h 353052"/>
                <a:gd name="connsiteX30" fmla="*/ 245829 w 483812"/>
                <a:gd name="connsiteY30" fmla="*/ 110329 h 353052"/>
                <a:gd name="connsiteX31" fmla="*/ 264135 w 483812"/>
                <a:gd name="connsiteY31" fmla="*/ 119482 h 353052"/>
                <a:gd name="connsiteX32" fmla="*/ 353052 w 483812"/>
                <a:gd name="connsiteY32" fmla="*/ 133866 h 353052"/>
                <a:gd name="connsiteX33" fmla="*/ 353052 w 483812"/>
                <a:gd name="connsiteY33" fmla="*/ 336544 h 353052"/>
                <a:gd name="connsiteX34" fmla="*/ 370051 w 483812"/>
                <a:gd name="connsiteY34" fmla="*/ 353542 h 353052"/>
                <a:gd name="connsiteX35" fmla="*/ 444584 w 483812"/>
                <a:gd name="connsiteY35" fmla="*/ 353542 h 353052"/>
                <a:gd name="connsiteX36" fmla="*/ 461583 w 483812"/>
                <a:gd name="connsiteY36" fmla="*/ 336544 h 353052"/>
                <a:gd name="connsiteX37" fmla="*/ 461583 w 483812"/>
                <a:gd name="connsiteY37" fmla="*/ 239781 h 353052"/>
                <a:gd name="connsiteX38" fmla="*/ 475966 w 483812"/>
                <a:gd name="connsiteY38" fmla="*/ 239781 h 353052"/>
                <a:gd name="connsiteX39" fmla="*/ 492965 w 483812"/>
                <a:gd name="connsiteY39" fmla="*/ 222782 h 353052"/>
                <a:gd name="connsiteX40" fmla="*/ 492965 w 483812"/>
                <a:gd name="connsiteY40" fmla="*/ 126020 h 353052"/>
                <a:gd name="connsiteX41" fmla="*/ 453737 w 483812"/>
                <a:gd name="connsiteY41" fmla="*/ 86792 h 353052"/>
                <a:gd name="connsiteX42" fmla="*/ 237983 w 483812"/>
                <a:gd name="connsiteY42" fmla="*/ 99868 h 353052"/>
                <a:gd name="connsiteX43" fmla="*/ 226215 w 483812"/>
                <a:gd name="connsiteY43" fmla="*/ 106406 h 353052"/>
                <a:gd name="connsiteX44" fmla="*/ 130760 w 483812"/>
                <a:gd name="connsiteY44" fmla="*/ 122097 h 353052"/>
                <a:gd name="connsiteX45" fmla="*/ 125530 w 483812"/>
                <a:gd name="connsiteY45" fmla="*/ 128635 h 353052"/>
                <a:gd name="connsiteX46" fmla="*/ 125530 w 483812"/>
                <a:gd name="connsiteY46" fmla="*/ 336544 h 353052"/>
                <a:gd name="connsiteX47" fmla="*/ 121607 w 483812"/>
                <a:gd name="connsiteY47" fmla="*/ 340466 h 353052"/>
                <a:gd name="connsiteX48" fmla="*/ 91532 w 483812"/>
                <a:gd name="connsiteY48" fmla="*/ 340466 h 353052"/>
                <a:gd name="connsiteX49" fmla="*/ 91532 w 483812"/>
                <a:gd name="connsiteY49" fmla="*/ 233243 h 353052"/>
                <a:gd name="connsiteX50" fmla="*/ 84994 w 483812"/>
                <a:gd name="connsiteY50" fmla="*/ 226705 h 353052"/>
                <a:gd name="connsiteX51" fmla="*/ 78456 w 483812"/>
                <a:gd name="connsiteY51" fmla="*/ 233243 h 353052"/>
                <a:gd name="connsiteX52" fmla="*/ 78456 w 483812"/>
                <a:gd name="connsiteY52" fmla="*/ 340466 h 353052"/>
                <a:gd name="connsiteX53" fmla="*/ 48381 w 483812"/>
                <a:gd name="connsiteY53" fmla="*/ 340466 h 353052"/>
                <a:gd name="connsiteX54" fmla="*/ 44458 w 483812"/>
                <a:gd name="connsiteY54" fmla="*/ 336544 h 353052"/>
                <a:gd name="connsiteX55" fmla="*/ 44458 w 483812"/>
                <a:gd name="connsiteY55" fmla="*/ 234551 h 353052"/>
                <a:gd name="connsiteX56" fmla="*/ 44458 w 483812"/>
                <a:gd name="connsiteY56" fmla="*/ 233243 h 353052"/>
                <a:gd name="connsiteX57" fmla="*/ 44458 w 483812"/>
                <a:gd name="connsiteY57" fmla="*/ 231936 h 353052"/>
                <a:gd name="connsiteX58" fmla="*/ 44458 w 483812"/>
                <a:gd name="connsiteY58" fmla="*/ 141711 h 353052"/>
                <a:gd name="connsiteX59" fmla="*/ 37920 w 483812"/>
                <a:gd name="connsiteY59" fmla="*/ 135173 h 353052"/>
                <a:gd name="connsiteX60" fmla="*/ 31382 w 483812"/>
                <a:gd name="connsiteY60" fmla="*/ 141711 h 353052"/>
                <a:gd name="connsiteX61" fmla="*/ 31382 w 483812"/>
                <a:gd name="connsiteY61" fmla="*/ 226705 h 353052"/>
                <a:gd name="connsiteX62" fmla="*/ 16999 w 483812"/>
                <a:gd name="connsiteY62" fmla="*/ 226705 h 353052"/>
                <a:gd name="connsiteX63" fmla="*/ 13076 w 483812"/>
                <a:gd name="connsiteY63" fmla="*/ 221475 h 353052"/>
                <a:gd name="connsiteX64" fmla="*/ 13076 w 483812"/>
                <a:gd name="connsiteY64" fmla="*/ 124712 h 353052"/>
                <a:gd name="connsiteX65" fmla="*/ 37920 w 483812"/>
                <a:gd name="connsiteY65" fmla="*/ 98560 h 353052"/>
                <a:gd name="connsiteX66" fmla="*/ 133375 w 483812"/>
                <a:gd name="connsiteY66" fmla="*/ 98560 h 353052"/>
                <a:gd name="connsiteX67" fmla="*/ 205293 w 483812"/>
                <a:gd name="connsiteY67" fmla="*/ 85484 h 353052"/>
                <a:gd name="connsiteX68" fmla="*/ 210524 w 483812"/>
                <a:gd name="connsiteY68" fmla="*/ 81562 h 353052"/>
                <a:gd name="connsiteX69" fmla="*/ 209216 w 483812"/>
                <a:gd name="connsiteY69" fmla="*/ 75024 h 353052"/>
                <a:gd name="connsiteX70" fmla="*/ 175218 w 483812"/>
                <a:gd name="connsiteY70" fmla="*/ 31873 h 353052"/>
                <a:gd name="connsiteX71" fmla="*/ 168680 w 483812"/>
                <a:gd name="connsiteY71" fmla="*/ 18797 h 353052"/>
                <a:gd name="connsiteX72" fmla="*/ 171296 w 483812"/>
                <a:gd name="connsiteY72" fmla="*/ 13566 h 353052"/>
                <a:gd name="connsiteX73" fmla="*/ 176526 w 483812"/>
                <a:gd name="connsiteY73" fmla="*/ 12259 h 353052"/>
                <a:gd name="connsiteX74" fmla="*/ 189602 w 483812"/>
                <a:gd name="connsiteY74" fmla="*/ 24027 h 353052"/>
                <a:gd name="connsiteX75" fmla="*/ 234060 w 483812"/>
                <a:gd name="connsiteY75" fmla="*/ 88100 h 353052"/>
                <a:gd name="connsiteX76" fmla="*/ 234060 w 483812"/>
                <a:gd name="connsiteY76" fmla="*/ 89407 h 353052"/>
                <a:gd name="connsiteX77" fmla="*/ 234060 w 483812"/>
                <a:gd name="connsiteY77" fmla="*/ 89407 h 353052"/>
                <a:gd name="connsiteX78" fmla="*/ 237983 w 483812"/>
                <a:gd name="connsiteY78" fmla="*/ 99868 h 353052"/>
                <a:gd name="connsiteX79" fmla="*/ 479889 w 483812"/>
                <a:gd name="connsiteY79" fmla="*/ 221475 h 353052"/>
                <a:gd name="connsiteX80" fmla="*/ 475966 w 483812"/>
                <a:gd name="connsiteY80" fmla="*/ 225398 h 353052"/>
                <a:gd name="connsiteX81" fmla="*/ 461583 w 483812"/>
                <a:gd name="connsiteY81" fmla="*/ 225398 h 353052"/>
                <a:gd name="connsiteX82" fmla="*/ 461583 w 483812"/>
                <a:gd name="connsiteY82" fmla="*/ 140404 h 353052"/>
                <a:gd name="connsiteX83" fmla="*/ 455045 w 483812"/>
                <a:gd name="connsiteY83" fmla="*/ 133866 h 353052"/>
                <a:gd name="connsiteX84" fmla="*/ 448507 w 483812"/>
                <a:gd name="connsiteY84" fmla="*/ 140404 h 353052"/>
                <a:gd name="connsiteX85" fmla="*/ 448507 w 483812"/>
                <a:gd name="connsiteY85" fmla="*/ 230628 h 353052"/>
                <a:gd name="connsiteX86" fmla="*/ 448507 w 483812"/>
                <a:gd name="connsiteY86" fmla="*/ 231936 h 353052"/>
                <a:gd name="connsiteX87" fmla="*/ 448507 w 483812"/>
                <a:gd name="connsiteY87" fmla="*/ 233243 h 353052"/>
                <a:gd name="connsiteX88" fmla="*/ 448507 w 483812"/>
                <a:gd name="connsiteY88" fmla="*/ 335236 h 353052"/>
                <a:gd name="connsiteX89" fmla="*/ 444584 w 483812"/>
                <a:gd name="connsiteY89" fmla="*/ 339159 h 353052"/>
                <a:gd name="connsiteX90" fmla="*/ 414509 w 483812"/>
                <a:gd name="connsiteY90" fmla="*/ 339159 h 353052"/>
                <a:gd name="connsiteX91" fmla="*/ 414509 w 483812"/>
                <a:gd name="connsiteY91" fmla="*/ 231936 h 353052"/>
                <a:gd name="connsiteX92" fmla="*/ 407971 w 483812"/>
                <a:gd name="connsiteY92" fmla="*/ 225398 h 353052"/>
                <a:gd name="connsiteX93" fmla="*/ 401433 w 483812"/>
                <a:gd name="connsiteY93" fmla="*/ 231936 h 353052"/>
                <a:gd name="connsiteX94" fmla="*/ 401433 w 483812"/>
                <a:gd name="connsiteY94" fmla="*/ 339159 h 353052"/>
                <a:gd name="connsiteX95" fmla="*/ 371358 w 483812"/>
                <a:gd name="connsiteY95" fmla="*/ 339159 h 353052"/>
                <a:gd name="connsiteX96" fmla="*/ 367436 w 483812"/>
                <a:gd name="connsiteY96" fmla="*/ 335236 h 353052"/>
                <a:gd name="connsiteX97" fmla="*/ 367436 w 483812"/>
                <a:gd name="connsiteY97" fmla="*/ 128635 h 353052"/>
                <a:gd name="connsiteX98" fmla="*/ 362205 w 483812"/>
                <a:gd name="connsiteY98" fmla="*/ 122097 h 353052"/>
                <a:gd name="connsiteX99" fmla="*/ 268058 w 483812"/>
                <a:gd name="connsiteY99" fmla="*/ 106406 h 353052"/>
                <a:gd name="connsiteX100" fmla="*/ 254982 w 483812"/>
                <a:gd name="connsiteY100" fmla="*/ 99868 h 353052"/>
                <a:gd name="connsiteX101" fmla="*/ 257597 w 483812"/>
                <a:gd name="connsiteY101" fmla="*/ 89407 h 353052"/>
                <a:gd name="connsiteX102" fmla="*/ 257597 w 483812"/>
                <a:gd name="connsiteY102" fmla="*/ 89407 h 353052"/>
                <a:gd name="connsiteX103" fmla="*/ 257597 w 483812"/>
                <a:gd name="connsiteY103" fmla="*/ 88100 h 353052"/>
                <a:gd name="connsiteX104" fmla="*/ 302056 w 483812"/>
                <a:gd name="connsiteY104" fmla="*/ 24027 h 353052"/>
                <a:gd name="connsiteX105" fmla="*/ 315132 w 483812"/>
                <a:gd name="connsiteY105" fmla="*/ 13566 h 353052"/>
                <a:gd name="connsiteX106" fmla="*/ 320362 w 483812"/>
                <a:gd name="connsiteY106" fmla="*/ 14874 h 353052"/>
                <a:gd name="connsiteX107" fmla="*/ 322977 w 483812"/>
                <a:gd name="connsiteY107" fmla="*/ 20104 h 353052"/>
                <a:gd name="connsiteX108" fmla="*/ 316439 w 483812"/>
                <a:gd name="connsiteY108" fmla="*/ 33180 h 353052"/>
                <a:gd name="connsiteX109" fmla="*/ 283749 w 483812"/>
                <a:gd name="connsiteY109" fmla="*/ 76331 h 353052"/>
                <a:gd name="connsiteX110" fmla="*/ 282442 w 483812"/>
                <a:gd name="connsiteY110" fmla="*/ 82869 h 353052"/>
                <a:gd name="connsiteX111" fmla="*/ 287672 w 483812"/>
                <a:gd name="connsiteY111" fmla="*/ 86792 h 353052"/>
                <a:gd name="connsiteX112" fmla="*/ 360898 w 483812"/>
                <a:gd name="connsiteY112" fmla="*/ 99868 h 353052"/>
                <a:gd name="connsiteX113" fmla="*/ 455045 w 483812"/>
                <a:gd name="connsiteY113" fmla="*/ 99868 h 353052"/>
                <a:gd name="connsiteX114" fmla="*/ 479889 w 483812"/>
                <a:gd name="connsiteY114" fmla="*/ 126020 h 353052"/>
                <a:gd name="connsiteX115" fmla="*/ 479889 w 483812"/>
                <a:gd name="connsiteY115" fmla="*/ 221475 h 35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83812" h="353052">
                  <a:moveTo>
                    <a:pt x="453737" y="86792"/>
                  </a:moveTo>
                  <a:lnTo>
                    <a:pt x="360898" y="86792"/>
                  </a:lnTo>
                  <a:lnTo>
                    <a:pt x="300748" y="75024"/>
                  </a:lnTo>
                  <a:lnTo>
                    <a:pt x="326900" y="41026"/>
                  </a:lnTo>
                  <a:cubicBezTo>
                    <a:pt x="326900" y="41026"/>
                    <a:pt x="336053" y="30565"/>
                    <a:pt x="336053" y="18797"/>
                  </a:cubicBezTo>
                  <a:cubicBezTo>
                    <a:pt x="336053" y="13566"/>
                    <a:pt x="333438" y="8336"/>
                    <a:pt x="328208" y="4413"/>
                  </a:cubicBezTo>
                  <a:cubicBezTo>
                    <a:pt x="324285" y="490"/>
                    <a:pt x="319054" y="-817"/>
                    <a:pt x="313824" y="490"/>
                  </a:cubicBezTo>
                  <a:cubicBezTo>
                    <a:pt x="302056" y="1798"/>
                    <a:pt x="292902" y="16182"/>
                    <a:pt x="291595" y="16182"/>
                  </a:cubicBezTo>
                  <a:cubicBezTo>
                    <a:pt x="279826" y="30565"/>
                    <a:pt x="261520" y="59332"/>
                    <a:pt x="247136" y="81562"/>
                  </a:cubicBezTo>
                  <a:cubicBezTo>
                    <a:pt x="247136" y="81562"/>
                    <a:pt x="247136" y="81562"/>
                    <a:pt x="247136" y="81562"/>
                  </a:cubicBezTo>
                  <a:cubicBezTo>
                    <a:pt x="247136" y="81562"/>
                    <a:pt x="247136" y="80254"/>
                    <a:pt x="247136" y="80254"/>
                  </a:cubicBezTo>
                  <a:lnTo>
                    <a:pt x="247136" y="80254"/>
                  </a:lnTo>
                  <a:cubicBezTo>
                    <a:pt x="231445" y="59332"/>
                    <a:pt x="211831" y="30565"/>
                    <a:pt x="201370" y="17489"/>
                  </a:cubicBezTo>
                  <a:cubicBezTo>
                    <a:pt x="200063" y="16182"/>
                    <a:pt x="190910" y="3106"/>
                    <a:pt x="179141" y="490"/>
                  </a:cubicBezTo>
                  <a:cubicBezTo>
                    <a:pt x="173911" y="-817"/>
                    <a:pt x="168680" y="490"/>
                    <a:pt x="164758" y="4413"/>
                  </a:cubicBezTo>
                  <a:cubicBezTo>
                    <a:pt x="159527" y="8336"/>
                    <a:pt x="156912" y="13566"/>
                    <a:pt x="156912" y="18797"/>
                  </a:cubicBezTo>
                  <a:cubicBezTo>
                    <a:pt x="155604" y="30565"/>
                    <a:pt x="166065" y="41026"/>
                    <a:pt x="166065" y="41026"/>
                  </a:cubicBezTo>
                  <a:lnTo>
                    <a:pt x="192217" y="75024"/>
                  </a:lnTo>
                  <a:lnTo>
                    <a:pt x="132068" y="85484"/>
                  </a:lnTo>
                  <a:lnTo>
                    <a:pt x="37920" y="85484"/>
                  </a:lnTo>
                  <a:cubicBezTo>
                    <a:pt x="16999" y="85484"/>
                    <a:pt x="0" y="102483"/>
                    <a:pt x="0" y="124712"/>
                  </a:cubicBezTo>
                  <a:lnTo>
                    <a:pt x="0" y="221475"/>
                  </a:lnTo>
                  <a:cubicBezTo>
                    <a:pt x="0" y="231936"/>
                    <a:pt x="7846" y="239781"/>
                    <a:pt x="16999" y="239781"/>
                  </a:cubicBezTo>
                  <a:lnTo>
                    <a:pt x="31382" y="239781"/>
                  </a:lnTo>
                  <a:lnTo>
                    <a:pt x="31382" y="336544"/>
                  </a:lnTo>
                  <a:cubicBezTo>
                    <a:pt x="31382" y="345697"/>
                    <a:pt x="39228" y="353542"/>
                    <a:pt x="48381" y="353542"/>
                  </a:cubicBezTo>
                  <a:lnTo>
                    <a:pt x="121607" y="353542"/>
                  </a:lnTo>
                  <a:cubicBezTo>
                    <a:pt x="130760" y="353542"/>
                    <a:pt x="138606" y="345697"/>
                    <a:pt x="138606" y="336544"/>
                  </a:cubicBezTo>
                  <a:lnTo>
                    <a:pt x="138606" y="133866"/>
                  </a:lnTo>
                  <a:lnTo>
                    <a:pt x="227522" y="119482"/>
                  </a:lnTo>
                  <a:cubicBezTo>
                    <a:pt x="235368" y="118174"/>
                    <a:pt x="241906" y="114252"/>
                    <a:pt x="245829" y="110329"/>
                  </a:cubicBezTo>
                  <a:cubicBezTo>
                    <a:pt x="249752" y="114252"/>
                    <a:pt x="256290" y="116867"/>
                    <a:pt x="264135" y="119482"/>
                  </a:cubicBezTo>
                  <a:lnTo>
                    <a:pt x="353052" y="133866"/>
                  </a:lnTo>
                  <a:lnTo>
                    <a:pt x="353052" y="336544"/>
                  </a:lnTo>
                  <a:cubicBezTo>
                    <a:pt x="353052" y="345697"/>
                    <a:pt x="360898" y="353542"/>
                    <a:pt x="370051" y="353542"/>
                  </a:cubicBezTo>
                  <a:lnTo>
                    <a:pt x="444584" y="353542"/>
                  </a:lnTo>
                  <a:cubicBezTo>
                    <a:pt x="453737" y="353542"/>
                    <a:pt x="461583" y="345697"/>
                    <a:pt x="461583" y="336544"/>
                  </a:cubicBezTo>
                  <a:lnTo>
                    <a:pt x="461583" y="239781"/>
                  </a:lnTo>
                  <a:lnTo>
                    <a:pt x="475966" y="239781"/>
                  </a:lnTo>
                  <a:cubicBezTo>
                    <a:pt x="485120" y="239781"/>
                    <a:pt x="492965" y="231936"/>
                    <a:pt x="492965" y="222782"/>
                  </a:cubicBezTo>
                  <a:lnTo>
                    <a:pt x="492965" y="126020"/>
                  </a:lnTo>
                  <a:cubicBezTo>
                    <a:pt x="492965" y="103791"/>
                    <a:pt x="474659" y="86792"/>
                    <a:pt x="453737" y="86792"/>
                  </a:cubicBezTo>
                  <a:close/>
                  <a:moveTo>
                    <a:pt x="237983" y="99868"/>
                  </a:moveTo>
                  <a:cubicBezTo>
                    <a:pt x="236676" y="102483"/>
                    <a:pt x="232753" y="105098"/>
                    <a:pt x="226215" y="106406"/>
                  </a:cubicBezTo>
                  <a:lnTo>
                    <a:pt x="130760" y="122097"/>
                  </a:lnTo>
                  <a:cubicBezTo>
                    <a:pt x="128145" y="122097"/>
                    <a:pt x="125530" y="124712"/>
                    <a:pt x="125530" y="128635"/>
                  </a:cubicBezTo>
                  <a:lnTo>
                    <a:pt x="125530" y="336544"/>
                  </a:lnTo>
                  <a:cubicBezTo>
                    <a:pt x="125530" y="339159"/>
                    <a:pt x="124222" y="340466"/>
                    <a:pt x="121607" y="340466"/>
                  </a:cubicBezTo>
                  <a:lnTo>
                    <a:pt x="91532" y="340466"/>
                  </a:lnTo>
                  <a:lnTo>
                    <a:pt x="91532" y="233243"/>
                  </a:lnTo>
                  <a:cubicBezTo>
                    <a:pt x="91532" y="229320"/>
                    <a:pt x="88917" y="226705"/>
                    <a:pt x="84994" y="226705"/>
                  </a:cubicBezTo>
                  <a:cubicBezTo>
                    <a:pt x="81071" y="226705"/>
                    <a:pt x="78456" y="229320"/>
                    <a:pt x="78456" y="233243"/>
                  </a:cubicBezTo>
                  <a:lnTo>
                    <a:pt x="78456" y="340466"/>
                  </a:lnTo>
                  <a:lnTo>
                    <a:pt x="48381" y="340466"/>
                  </a:lnTo>
                  <a:cubicBezTo>
                    <a:pt x="45766" y="340466"/>
                    <a:pt x="44458" y="339159"/>
                    <a:pt x="44458" y="336544"/>
                  </a:cubicBezTo>
                  <a:lnTo>
                    <a:pt x="44458" y="234551"/>
                  </a:lnTo>
                  <a:cubicBezTo>
                    <a:pt x="44458" y="234551"/>
                    <a:pt x="44458" y="233243"/>
                    <a:pt x="44458" y="233243"/>
                  </a:cubicBezTo>
                  <a:cubicBezTo>
                    <a:pt x="44458" y="233243"/>
                    <a:pt x="44458" y="231936"/>
                    <a:pt x="44458" y="231936"/>
                  </a:cubicBezTo>
                  <a:lnTo>
                    <a:pt x="44458" y="141711"/>
                  </a:lnTo>
                  <a:cubicBezTo>
                    <a:pt x="44458" y="137788"/>
                    <a:pt x="41843" y="135173"/>
                    <a:pt x="37920" y="135173"/>
                  </a:cubicBezTo>
                  <a:cubicBezTo>
                    <a:pt x="33998" y="135173"/>
                    <a:pt x="31382" y="137788"/>
                    <a:pt x="31382" y="141711"/>
                  </a:cubicBezTo>
                  <a:lnTo>
                    <a:pt x="31382" y="226705"/>
                  </a:lnTo>
                  <a:lnTo>
                    <a:pt x="16999" y="226705"/>
                  </a:lnTo>
                  <a:cubicBezTo>
                    <a:pt x="14384" y="226705"/>
                    <a:pt x="13076" y="224090"/>
                    <a:pt x="13076" y="221475"/>
                  </a:cubicBezTo>
                  <a:lnTo>
                    <a:pt x="13076" y="124712"/>
                  </a:lnTo>
                  <a:cubicBezTo>
                    <a:pt x="13076" y="110329"/>
                    <a:pt x="24844" y="98560"/>
                    <a:pt x="37920" y="98560"/>
                  </a:cubicBezTo>
                  <a:lnTo>
                    <a:pt x="133375" y="98560"/>
                  </a:lnTo>
                  <a:lnTo>
                    <a:pt x="205293" y="85484"/>
                  </a:lnTo>
                  <a:cubicBezTo>
                    <a:pt x="207908" y="85484"/>
                    <a:pt x="209216" y="84177"/>
                    <a:pt x="210524" y="81562"/>
                  </a:cubicBezTo>
                  <a:cubicBezTo>
                    <a:pt x="211831" y="78946"/>
                    <a:pt x="210524" y="77639"/>
                    <a:pt x="209216" y="75024"/>
                  </a:cubicBezTo>
                  <a:lnTo>
                    <a:pt x="175218" y="31873"/>
                  </a:lnTo>
                  <a:cubicBezTo>
                    <a:pt x="173911" y="30565"/>
                    <a:pt x="168680" y="24027"/>
                    <a:pt x="168680" y="18797"/>
                  </a:cubicBezTo>
                  <a:cubicBezTo>
                    <a:pt x="168680" y="17489"/>
                    <a:pt x="168680" y="16182"/>
                    <a:pt x="171296" y="13566"/>
                  </a:cubicBezTo>
                  <a:cubicBezTo>
                    <a:pt x="173911" y="12259"/>
                    <a:pt x="175218" y="12259"/>
                    <a:pt x="176526" y="12259"/>
                  </a:cubicBezTo>
                  <a:cubicBezTo>
                    <a:pt x="181756" y="13566"/>
                    <a:pt x="188294" y="20104"/>
                    <a:pt x="189602" y="24027"/>
                  </a:cubicBezTo>
                  <a:cubicBezTo>
                    <a:pt x="201370" y="38411"/>
                    <a:pt x="222292" y="69793"/>
                    <a:pt x="234060" y="88100"/>
                  </a:cubicBezTo>
                  <a:cubicBezTo>
                    <a:pt x="234060" y="88100"/>
                    <a:pt x="234060" y="88100"/>
                    <a:pt x="234060" y="89407"/>
                  </a:cubicBezTo>
                  <a:lnTo>
                    <a:pt x="234060" y="89407"/>
                  </a:lnTo>
                  <a:cubicBezTo>
                    <a:pt x="237983" y="92022"/>
                    <a:pt x="239291" y="97253"/>
                    <a:pt x="237983" y="99868"/>
                  </a:cubicBezTo>
                  <a:close/>
                  <a:moveTo>
                    <a:pt x="479889" y="221475"/>
                  </a:moveTo>
                  <a:cubicBezTo>
                    <a:pt x="479889" y="224090"/>
                    <a:pt x="478582" y="225398"/>
                    <a:pt x="475966" y="225398"/>
                  </a:cubicBezTo>
                  <a:lnTo>
                    <a:pt x="461583" y="225398"/>
                  </a:lnTo>
                  <a:lnTo>
                    <a:pt x="461583" y="140404"/>
                  </a:lnTo>
                  <a:cubicBezTo>
                    <a:pt x="461583" y="136481"/>
                    <a:pt x="458968" y="133866"/>
                    <a:pt x="455045" y="133866"/>
                  </a:cubicBezTo>
                  <a:cubicBezTo>
                    <a:pt x="451122" y="133866"/>
                    <a:pt x="448507" y="136481"/>
                    <a:pt x="448507" y="140404"/>
                  </a:cubicBezTo>
                  <a:lnTo>
                    <a:pt x="448507" y="230628"/>
                  </a:lnTo>
                  <a:cubicBezTo>
                    <a:pt x="448507" y="230628"/>
                    <a:pt x="448507" y="231936"/>
                    <a:pt x="448507" y="231936"/>
                  </a:cubicBezTo>
                  <a:cubicBezTo>
                    <a:pt x="448507" y="231936"/>
                    <a:pt x="448507" y="233243"/>
                    <a:pt x="448507" y="233243"/>
                  </a:cubicBezTo>
                  <a:lnTo>
                    <a:pt x="448507" y="335236"/>
                  </a:lnTo>
                  <a:cubicBezTo>
                    <a:pt x="448507" y="337851"/>
                    <a:pt x="447199" y="339159"/>
                    <a:pt x="444584" y="339159"/>
                  </a:cubicBezTo>
                  <a:lnTo>
                    <a:pt x="414509" y="339159"/>
                  </a:lnTo>
                  <a:lnTo>
                    <a:pt x="414509" y="231936"/>
                  </a:lnTo>
                  <a:cubicBezTo>
                    <a:pt x="414509" y="228013"/>
                    <a:pt x="411894" y="225398"/>
                    <a:pt x="407971" y="225398"/>
                  </a:cubicBezTo>
                  <a:cubicBezTo>
                    <a:pt x="404048" y="225398"/>
                    <a:pt x="401433" y="228013"/>
                    <a:pt x="401433" y="231936"/>
                  </a:cubicBezTo>
                  <a:lnTo>
                    <a:pt x="401433" y="339159"/>
                  </a:lnTo>
                  <a:lnTo>
                    <a:pt x="371358" y="339159"/>
                  </a:lnTo>
                  <a:cubicBezTo>
                    <a:pt x="368743" y="339159"/>
                    <a:pt x="367436" y="337851"/>
                    <a:pt x="367436" y="335236"/>
                  </a:cubicBezTo>
                  <a:lnTo>
                    <a:pt x="367436" y="128635"/>
                  </a:lnTo>
                  <a:cubicBezTo>
                    <a:pt x="367436" y="126020"/>
                    <a:pt x="364820" y="122097"/>
                    <a:pt x="362205" y="122097"/>
                  </a:cubicBezTo>
                  <a:lnTo>
                    <a:pt x="268058" y="106406"/>
                  </a:lnTo>
                  <a:cubicBezTo>
                    <a:pt x="261520" y="105098"/>
                    <a:pt x="256290" y="102483"/>
                    <a:pt x="254982" y="99868"/>
                  </a:cubicBezTo>
                  <a:cubicBezTo>
                    <a:pt x="253674" y="97253"/>
                    <a:pt x="256290" y="92022"/>
                    <a:pt x="257597" y="89407"/>
                  </a:cubicBezTo>
                  <a:lnTo>
                    <a:pt x="257597" y="89407"/>
                  </a:lnTo>
                  <a:cubicBezTo>
                    <a:pt x="257597" y="89407"/>
                    <a:pt x="257597" y="89407"/>
                    <a:pt x="257597" y="88100"/>
                  </a:cubicBezTo>
                  <a:cubicBezTo>
                    <a:pt x="269366" y="69793"/>
                    <a:pt x="290287" y="38411"/>
                    <a:pt x="302056" y="24027"/>
                  </a:cubicBezTo>
                  <a:cubicBezTo>
                    <a:pt x="303363" y="21412"/>
                    <a:pt x="309901" y="13566"/>
                    <a:pt x="315132" y="13566"/>
                  </a:cubicBezTo>
                  <a:cubicBezTo>
                    <a:pt x="316439" y="13566"/>
                    <a:pt x="317747" y="13566"/>
                    <a:pt x="320362" y="14874"/>
                  </a:cubicBezTo>
                  <a:cubicBezTo>
                    <a:pt x="322977" y="17489"/>
                    <a:pt x="322977" y="18797"/>
                    <a:pt x="322977" y="20104"/>
                  </a:cubicBezTo>
                  <a:cubicBezTo>
                    <a:pt x="322977" y="25335"/>
                    <a:pt x="319054" y="31873"/>
                    <a:pt x="316439" y="33180"/>
                  </a:cubicBezTo>
                  <a:lnTo>
                    <a:pt x="283749" y="76331"/>
                  </a:lnTo>
                  <a:cubicBezTo>
                    <a:pt x="282442" y="77639"/>
                    <a:pt x="282442" y="80254"/>
                    <a:pt x="282442" y="82869"/>
                  </a:cubicBezTo>
                  <a:cubicBezTo>
                    <a:pt x="283749" y="85484"/>
                    <a:pt x="285057" y="86792"/>
                    <a:pt x="287672" y="86792"/>
                  </a:cubicBezTo>
                  <a:lnTo>
                    <a:pt x="360898" y="99868"/>
                  </a:lnTo>
                  <a:lnTo>
                    <a:pt x="455045" y="99868"/>
                  </a:lnTo>
                  <a:cubicBezTo>
                    <a:pt x="469428" y="99868"/>
                    <a:pt x="479889" y="111636"/>
                    <a:pt x="479889" y="126020"/>
                  </a:cubicBezTo>
                  <a:lnTo>
                    <a:pt x="479889" y="221475"/>
                  </a:lnTo>
                  <a:close/>
                </a:path>
              </a:pathLst>
            </a:custGeom>
            <a:solidFill>
              <a:srgbClr val="231F20"/>
            </a:solidFill>
            <a:ln w="13034" cap="flat">
              <a:noFill/>
              <a:prstDash val="solid"/>
              <a:miter/>
            </a:ln>
          </p:spPr>
          <p:txBody>
            <a:bodyPr rtlCol="0" anchor="ctr"/>
            <a:lstStyle/>
            <a:p>
              <a:endParaRPr lang="de-DE"/>
            </a:p>
          </p:txBody>
        </p:sp>
        <p:sp>
          <p:nvSpPr>
            <p:cNvPr id="2419" name="Freeform: Shape 2418">
              <a:extLst>
                <a:ext uri="{FF2B5EF4-FFF2-40B4-BE49-F238E27FC236}">
                  <a16:creationId xmlns:a16="http://schemas.microsoft.com/office/drawing/2014/main" id="{5B0B0095-2538-436C-8C53-49A05039FECE}"/>
                </a:ext>
              </a:extLst>
            </p:cNvPr>
            <p:cNvSpPr/>
            <p:nvPr/>
          </p:nvSpPr>
          <p:spPr>
            <a:xfrm>
              <a:off x="6208128" y="3251878"/>
              <a:ext cx="78456" cy="78456"/>
            </a:xfrm>
            <a:custGeom>
              <a:avLst/>
              <a:gdLst>
                <a:gd name="connsiteX0" fmla="*/ 41843 w 78456"/>
                <a:gd name="connsiteY0" fmla="*/ 83686 h 78456"/>
                <a:gd name="connsiteX1" fmla="*/ 83686 w 78456"/>
                <a:gd name="connsiteY1" fmla="*/ 41843 h 78456"/>
                <a:gd name="connsiteX2" fmla="*/ 41843 w 78456"/>
                <a:gd name="connsiteY2" fmla="*/ 0 h 78456"/>
                <a:gd name="connsiteX3" fmla="*/ 0 w 78456"/>
                <a:gd name="connsiteY3" fmla="*/ 41843 h 78456"/>
                <a:gd name="connsiteX4" fmla="*/ 41843 w 78456"/>
                <a:gd name="connsiteY4" fmla="*/ 83686 h 78456"/>
                <a:gd name="connsiteX5" fmla="*/ 41843 w 78456"/>
                <a:gd name="connsiteY5" fmla="*/ 13076 h 78456"/>
                <a:gd name="connsiteX6" fmla="*/ 70610 w 78456"/>
                <a:gd name="connsiteY6" fmla="*/ 41843 h 78456"/>
                <a:gd name="connsiteX7" fmla="*/ 41843 w 78456"/>
                <a:gd name="connsiteY7" fmla="*/ 70610 h 78456"/>
                <a:gd name="connsiteX8" fmla="*/ 13076 w 78456"/>
                <a:gd name="connsiteY8" fmla="*/ 41843 h 78456"/>
                <a:gd name="connsiteX9" fmla="*/ 41843 w 78456"/>
                <a:gd name="connsiteY9" fmla="*/ 13076 h 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456" h="78456">
                  <a:moveTo>
                    <a:pt x="41843" y="83686"/>
                  </a:moveTo>
                  <a:cubicBezTo>
                    <a:pt x="65380" y="83686"/>
                    <a:pt x="83686" y="65380"/>
                    <a:pt x="83686" y="41843"/>
                  </a:cubicBezTo>
                  <a:cubicBezTo>
                    <a:pt x="83686" y="18306"/>
                    <a:pt x="64072" y="0"/>
                    <a:pt x="41843" y="0"/>
                  </a:cubicBezTo>
                  <a:cubicBezTo>
                    <a:pt x="19614" y="0"/>
                    <a:pt x="0" y="18306"/>
                    <a:pt x="0" y="41843"/>
                  </a:cubicBezTo>
                  <a:cubicBezTo>
                    <a:pt x="0" y="65380"/>
                    <a:pt x="18306" y="83686"/>
                    <a:pt x="41843" y="83686"/>
                  </a:cubicBezTo>
                  <a:close/>
                  <a:moveTo>
                    <a:pt x="41843" y="13076"/>
                  </a:moveTo>
                  <a:cubicBezTo>
                    <a:pt x="57534" y="13076"/>
                    <a:pt x="70610" y="26152"/>
                    <a:pt x="70610" y="41843"/>
                  </a:cubicBezTo>
                  <a:cubicBezTo>
                    <a:pt x="70610" y="57534"/>
                    <a:pt x="57534" y="70610"/>
                    <a:pt x="41843" y="70610"/>
                  </a:cubicBezTo>
                  <a:cubicBezTo>
                    <a:pt x="26152" y="70610"/>
                    <a:pt x="13076" y="57534"/>
                    <a:pt x="13076" y="41843"/>
                  </a:cubicBezTo>
                  <a:cubicBezTo>
                    <a:pt x="13076" y="26152"/>
                    <a:pt x="24844" y="13076"/>
                    <a:pt x="41843" y="13076"/>
                  </a:cubicBezTo>
                  <a:close/>
                </a:path>
              </a:pathLst>
            </a:custGeom>
            <a:solidFill>
              <a:srgbClr val="231F20"/>
            </a:solidFill>
            <a:ln w="13034" cap="flat">
              <a:noFill/>
              <a:prstDash val="solid"/>
              <a:miter/>
            </a:ln>
          </p:spPr>
          <p:txBody>
            <a:bodyPr rtlCol="0" anchor="ctr"/>
            <a:lstStyle/>
            <a:p>
              <a:endParaRPr lang="de-DE"/>
            </a:p>
          </p:txBody>
        </p:sp>
        <p:sp>
          <p:nvSpPr>
            <p:cNvPr id="2420" name="Freeform: Shape 2419">
              <a:extLst>
                <a:ext uri="{FF2B5EF4-FFF2-40B4-BE49-F238E27FC236}">
                  <a16:creationId xmlns:a16="http://schemas.microsoft.com/office/drawing/2014/main" id="{F07485F3-6597-4AF5-A453-1AB02829C3E6}"/>
                </a:ext>
              </a:extLst>
            </p:cNvPr>
            <p:cNvSpPr/>
            <p:nvPr/>
          </p:nvSpPr>
          <p:spPr>
            <a:xfrm>
              <a:off x="5885151" y="3251878"/>
              <a:ext cx="78456" cy="78456"/>
            </a:xfrm>
            <a:custGeom>
              <a:avLst/>
              <a:gdLst>
                <a:gd name="connsiteX0" fmla="*/ 41843 w 78456"/>
                <a:gd name="connsiteY0" fmla="*/ 83686 h 78456"/>
                <a:gd name="connsiteX1" fmla="*/ 83686 w 78456"/>
                <a:gd name="connsiteY1" fmla="*/ 41843 h 78456"/>
                <a:gd name="connsiteX2" fmla="*/ 41843 w 78456"/>
                <a:gd name="connsiteY2" fmla="*/ 0 h 78456"/>
                <a:gd name="connsiteX3" fmla="*/ 0 w 78456"/>
                <a:gd name="connsiteY3" fmla="*/ 41843 h 78456"/>
                <a:gd name="connsiteX4" fmla="*/ 41843 w 78456"/>
                <a:gd name="connsiteY4" fmla="*/ 83686 h 78456"/>
                <a:gd name="connsiteX5" fmla="*/ 41843 w 78456"/>
                <a:gd name="connsiteY5" fmla="*/ 13076 h 78456"/>
                <a:gd name="connsiteX6" fmla="*/ 70610 w 78456"/>
                <a:gd name="connsiteY6" fmla="*/ 41843 h 78456"/>
                <a:gd name="connsiteX7" fmla="*/ 41843 w 78456"/>
                <a:gd name="connsiteY7" fmla="*/ 70610 h 78456"/>
                <a:gd name="connsiteX8" fmla="*/ 13076 w 78456"/>
                <a:gd name="connsiteY8" fmla="*/ 41843 h 78456"/>
                <a:gd name="connsiteX9" fmla="*/ 41843 w 78456"/>
                <a:gd name="connsiteY9" fmla="*/ 13076 h 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456" h="78456">
                  <a:moveTo>
                    <a:pt x="41843" y="83686"/>
                  </a:moveTo>
                  <a:cubicBezTo>
                    <a:pt x="65380" y="83686"/>
                    <a:pt x="83686" y="65380"/>
                    <a:pt x="83686" y="41843"/>
                  </a:cubicBezTo>
                  <a:cubicBezTo>
                    <a:pt x="83686" y="18306"/>
                    <a:pt x="65380" y="0"/>
                    <a:pt x="41843" y="0"/>
                  </a:cubicBezTo>
                  <a:cubicBezTo>
                    <a:pt x="18306" y="0"/>
                    <a:pt x="0" y="18306"/>
                    <a:pt x="0" y="41843"/>
                  </a:cubicBezTo>
                  <a:cubicBezTo>
                    <a:pt x="0" y="65380"/>
                    <a:pt x="18306" y="83686"/>
                    <a:pt x="41843" y="83686"/>
                  </a:cubicBezTo>
                  <a:close/>
                  <a:moveTo>
                    <a:pt x="41843" y="13076"/>
                  </a:moveTo>
                  <a:cubicBezTo>
                    <a:pt x="57534" y="13076"/>
                    <a:pt x="70610" y="26152"/>
                    <a:pt x="70610" y="41843"/>
                  </a:cubicBezTo>
                  <a:cubicBezTo>
                    <a:pt x="70610" y="57534"/>
                    <a:pt x="57534" y="70610"/>
                    <a:pt x="41843" y="70610"/>
                  </a:cubicBezTo>
                  <a:cubicBezTo>
                    <a:pt x="26152" y="70610"/>
                    <a:pt x="13076" y="57534"/>
                    <a:pt x="13076" y="41843"/>
                  </a:cubicBezTo>
                  <a:cubicBezTo>
                    <a:pt x="13076" y="26152"/>
                    <a:pt x="26152" y="13076"/>
                    <a:pt x="41843" y="13076"/>
                  </a:cubicBezTo>
                  <a:close/>
                </a:path>
              </a:pathLst>
            </a:custGeom>
            <a:solidFill>
              <a:srgbClr val="231F20"/>
            </a:solidFill>
            <a:ln w="13034" cap="flat">
              <a:noFill/>
              <a:prstDash val="solid"/>
              <a:miter/>
            </a:ln>
          </p:spPr>
          <p:txBody>
            <a:bodyPr rtlCol="0" anchor="ctr"/>
            <a:lstStyle/>
            <a:p>
              <a:endParaRPr lang="de-DE"/>
            </a:p>
          </p:txBody>
        </p:sp>
      </p:grpSp>
      <p:grpSp>
        <p:nvGrpSpPr>
          <p:cNvPr id="2421" name="Graphic 3">
            <a:extLst>
              <a:ext uri="{FF2B5EF4-FFF2-40B4-BE49-F238E27FC236}">
                <a16:creationId xmlns:a16="http://schemas.microsoft.com/office/drawing/2014/main" id="{EF3F2622-C1D5-4D1B-A3A4-5CEDD6A4E758}"/>
              </a:ext>
              <a:ext uri="{C183D7F6-B498-43B3-948B-1728B52AA6E4}">
                <adec:decorative xmlns:adec="http://schemas.microsoft.com/office/drawing/2017/decorative" val="1"/>
              </a:ext>
            </a:extLst>
          </p:cNvPr>
          <p:cNvGrpSpPr>
            <a:grpSpLocks noChangeAspect="1"/>
          </p:cNvGrpSpPr>
          <p:nvPr/>
        </p:nvGrpSpPr>
        <p:grpSpPr>
          <a:xfrm>
            <a:off x="4851046" y="4523058"/>
            <a:ext cx="129862" cy="129862"/>
            <a:chOff x="5953125" y="3286125"/>
            <a:chExt cx="276225" cy="276225"/>
          </a:xfrm>
          <a:solidFill>
            <a:srgbClr val="231F20"/>
          </a:solidFill>
        </p:grpSpPr>
        <p:sp>
          <p:nvSpPr>
            <p:cNvPr id="2422" name="Freeform: Shape 2421">
              <a:extLst>
                <a:ext uri="{FF2B5EF4-FFF2-40B4-BE49-F238E27FC236}">
                  <a16:creationId xmlns:a16="http://schemas.microsoft.com/office/drawing/2014/main" id="{0B5FA7E5-928B-47F5-8813-8B50B1F14A4C}"/>
                </a:ext>
              </a:extLst>
            </p:cNvPr>
            <p:cNvSpPr/>
            <p:nvPr/>
          </p:nvSpPr>
          <p:spPr>
            <a:xfrm>
              <a:off x="5953125" y="3286125"/>
              <a:ext cx="276225" cy="276225"/>
            </a:xfrm>
            <a:custGeom>
              <a:avLst/>
              <a:gdLst>
                <a:gd name="connsiteX0" fmla="*/ 266700 w 276225"/>
                <a:gd name="connsiteY0" fmla="*/ 13335 h 276225"/>
                <a:gd name="connsiteX1" fmla="*/ 233363 w 276225"/>
                <a:gd name="connsiteY1" fmla="*/ 0 h 276225"/>
                <a:gd name="connsiteX2" fmla="*/ 200025 w 276225"/>
                <a:gd name="connsiteY2" fmla="*/ 13335 h 276225"/>
                <a:gd name="connsiteX3" fmla="*/ 98108 w 276225"/>
                <a:gd name="connsiteY3" fmla="*/ 116205 h 276225"/>
                <a:gd name="connsiteX4" fmla="*/ 87630 w 276225"/>
                <a:gd name="connsiteY4" fmla="*/ 133350 h 276225"/>
                <a:gd name="connsiteX5" fmla="*/ 73343 w 276225"/>
                <a:gd name="connsiteY5" fmla="*/ 175260 h 276225"/>
                <a:gd name="connsiteX6" fmla="*/ 64770 w 276225"/>
                <a:gd name="connsiteY6" fmla="*/ 189548 h 276225"/>
                <a:gd name="connsiteX7" fmla="*/ 5715 w 276225"/>
                <a:gd name="connsiteY7" fmla="*/ 248603 h 276225"/>
                <a:gd name="connsiteX8" fmla="*/ 5715 w 276225"/>
                <a:gd name="connsiteY8" fmla="*/ 274320 h 276225"/>
                <a:gd name="connsiteX9" fmla="*/ 5715 w 276225"/>
                <a:gd name="connsiteY9" fmla="*/ 274320 h 276225"/>
                <a:gd name="connsiteX10" fmla="*/ 6668 w 276225"/>
                <a:gd name="connsiteY10" fmla="*/ 275273 h 276225"/>
                <a:gd name="connsiteX11" fmla="*/ 19050 w 276225"/>
                <a:gd name="connsiteY11" fmla="*/ 280988 h 276225"/>
                <a:gd name="connsiteX12" fmla="*/ 32385 w 276225"/>
                <a:gd name="connsiteY12" fmla="*/ 275273 h 276225"/>
                <a:gd name="connsiteX13" fmla="*/ 48578 w 276225"/>
                <a:gd name="connsiteY13" fmla="*/ 259080 h 276225"/>
                <a:gd name="connsiteX14" fmla="*/ 48578 w 276225"/>
                <a:gd name="connsiteY14" fmla="*/ 259080 h 276225"/>
                <a:gd name="connsiteX15" fmla="*/ 48578 w 276225"/>
                <a:gd name="connsiteY15" fmla="*/ 259080 h 276225"/>
                <a:gd name="connsiteX16" fmla="*/ 91440 w 276225"/>
                <a:gd name="connsiteY16" fmla="*/ 216218 h 276225"/>
                <a:gd name="connsiteX17" fmla="*/ 105728 w 276225"/>
                <a:gd name="connsiteY17" fmla="*/ 207645 h 276225"/>
                <a:gd name="connsiteX18" fmla="*/ 147638 w 276225"/>
                <a:gd name="connsiteY18" fmla="*/ 193358 h 276225"/>
                <a:gd name="connsiteX19" fmla="*/ 164783 w 276225"/>
                <a:gd name="connsiteY19" fmla="*/ 182880 h 276225"/>
                <a:gd name="connsiteX20" fmla="*/ 266700 w 276225"/>
                <a:gd name="connsiteY20" fmla="*/ 80010 h 276225"/>
                <a:gd name="connsiteX21" fmla="*/ 280035 w 276225"/>
                <a:gd name="connsiteY21" fmla="*/ 46673 h 276225"/>
                <a:gd name="connsiteX22" fmla="*/ 266700 w 276225"/>
                <a:gd name="connsiteY22" fmla="*/ 13335 h 276225"/>
                <a:gd name="connsiteX23" fmla="*/ 25718 w 276225"/>
                <a:gd name="connsiteY23" fmla="*/ 268605 h 276225"/>
                <a:gd name="connsiteX24" fmla="*/ 13335 w 276225"/>
                <a:gd name="connsiteY24" fmla="*/ 268605 h 276225"/>
                <a:gd name="connsiteX25" fmla="*/ 12382 w 276225"/>
                <a:gd name="connsiteY25" fmla="*/ 267653 h 276225"/>
                <a:gd name="connsiteX26" fmla="*/ 12382 w 276225"/>
                <a:gd name="connsiteY26" fmla="*/ 255270 h 276225"/>
                <a:gd name="connsiteX27" fmla="*/ 24765 w 276225"/>
                <a:gd name="connsiteY27" fmla="*/ 242888 h 276225"/>
                <a:gd name="connsiteX28" fmla="*/ 38100 w 276225"/>
                <a:gd name="connsiteY28" fmla="*/ 255270 h 276225"/>
                <a:gd name="connsiteX29" fmla="*/ 25718 w 276225"/>
                <a:gd name="connsiteY29" fmla="*/ 268605 h 276225"/>
                <a:gd name="connsiteX30" fmla="*/ 260033 w 276225"/>
                <a:gd name="connsiteY30" fmla="*/ 73343 h 276225"/>
                <a:gd name="connsiteX31" fmla="*/ 157163 w 276225"/>
                <a:gd name="connsiteY31" fmla="*/ 176213 h 276225"/>
                <a:gd name="connsiteX32" fmla="*/ 142875 w 276225"/>
                <a:gd name="connsiteY32" fmla="*/ 184785 h 276225"/>
                <a:gd name="connsiteX33" fmla="*/ 100965 w 276225"/>
                <a:gd name="connsiteY33" fmla="*/ 199073 h 276225"/>
                <a:gd name="connsiteX34" fmla="*/ 84773 w 276225"/>
                <a:gd name="connsiteY34" fmla="*/ 209550 h 276225"/>
                <a:gd name="connsiteX35" fmla="*/ 44768 w 276225"/>
                <a:gd name="connsiteY35" fmla="*/ 249555 h 276225"/>
                <a:gd name="connsiteX36" fmla="*/ 31433 w 276225"/>
                <a:gd name="connsiteY36" fmla="*/ 236220 h 276225"/>
                <a:gd name="connsiteX37" fmla="*/ 71438 w 276225"/>
                <a:gd name="connsiteY37" fmla="*/ 196215 h 276225"/>
                <a:gd name="connsiteX38" fmla="*/ 81915 w 276225"/>
                <a:gd name="connsiteY38" fmla="*/ 179070 h 276225"/>
                <a:gd name="connsiteX39" fmla="*/ 96203 w 276225"/>
                <a:gd name="connsiteY39" fmla="*/ 137160 h 276225"/>
                <a:gd name="connsiteX40" fmla="*/ 104775 w 276225"/>
                <a:gd name="connsiteY40" fmla="*/ 122873 h 276225"/>
                <a:gd name="connsiteX41" fmla="*/ 207645 w 276225"/>
                <a:gd name="connsiteY41" fmla="*/ 20003 h 276225"/>
                <a:gd name="connsiteX42" fmla="*/ 260985 w 276225"/>
                <a:gd name="connsiteY42" fmla="*/ 20003 h 276225"/>
                <a:gd name="connsiteX43" fmla="*/ 271463 w 276225"/>
                <a:gd name="connsiteY43" fmla="*/ 46673 h 276225"/>
                <a:gd name="connsiteX44" fmla="*/ 260033 w 276225"/>
                <a:gd name="connsiteY44" fmla="*/ 733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76225" h="276225">
                  <a:moveTo>
                    <a:pt x="266700" y="13335"/>
                  </a:moveTo>
                  <a:cubicBezTo>
                    <a:pt x="258128" y="4763"/>
                    <a:pt x="245745" y="0"/>
                    <a:pt x="233363" y="0"/>
                  </a:cubicBezTo>
                  <a:cubicBezTo>
                    <a:pt x="220980" y="0"/>
                    <a:pt x="209550" y="4763"/>
                    <a:pt x="200025" y="13335"/>
                  </a:cubicBezTo>
                  <a:lnTo>
                    <a:pt x="98108" y="116205"/>
                  </a:lnTo>
                  <a:cubicBezTo>
                    <a:pt x="93345" y="120968"/>
                    <a:pt x="89535" y="127635"/>
                    <a:pt x="87630" y="133350"/>
                  </a:cubicBezTo>
                  <a:lnTo>
                    <a:pt x="73343" y="175260"/>
                  </a:lnTo>
                  <a:cubicBezTo>
                    <a:pt x="71438" y="180023"/>
                    <a:pt x="68580" y="184785"/>
                    <a:pt x="64770" y="189548"/>
                  </a:cubicBezTo>
                  <a:lnTo>
                    <a:pt x="5715" y="248603"/>
                  </a:lnTo>
                  <a:cubicBezTo>
                    <a:pt x="-1905" y="256223"/>
                    <a:pt x="-1905" y="267653"/>
                    <a:pt x="5715" y="274320"/>
                  </a:cubicBezTo>
                  <a:cubicBezTo>
                    <a:pt x="5715" y="274320"/>
                    <a:pt x="5715" y="274320"/>
                    <a:pt x="5715" y="274320"/>
                  </a:cubicBezTo>
                  <a:lnTo>
                    <a:pt x="6668" y="275273"/>
                  </a:lnTo>
                  <a:cubicBezTo>
                    <a:pt x="9525" y="279083"/>
                    <a:pt x="14288" y="280988"/>
                    <a:pt x="19050" y="280988"/>
                  </a:cubicBezTo>
                  <a:cubicBezTo>
                    <a:pt x="23813" y="280988"/>
                    <a:pt x="28575" y="279083"/>
                    <a:pt x="32385" y="275273"/>
                  </a:cubicBezTo>
                  <a:lnTo>
                    <a:pt x="48578" y="259080"/>
                  </a:lnTo>
                  <a:cubicBezTo>
                    <a:pt x="48578" y="259080"/>
                    <a:pt x="48578" y="259080"/>
                    <a:pt x="48578" y="259080"/>
                  </a:cubicBezTo>
                  <a:cubicBezTo>
                    <a:pt x="48578" y="259080"/>
                    <a:pt x="48578" y="259080"/>
                    <a:pt x="48578" y="259080"/>
                  </a:cubicBezTo>
                  <a:lnTo>
                    <a:pt x="91440" y="216218"/>
                  </a:lnTo>
                  <a:cubicBezTo>
                    <a:pt x="95250" y="212408"/>
                    <a:pt x="100013" y="209550"/>
                    <a:pt x="105728" y="207645"/>
                  </a:cubicBezTo>
                  <a:lnTo>
                    <a:pt x="147638" y="193358"/>
                  </a:lnTo>
                  <a:cubicBezTo>
                    <a:pt x="154305" y="191453"/>
                    <a:pt x="160020" y="187643"/>
                    <a:pt x="164783" y="182880"/>
                  </a:cubicBezTo>
                  <a:lnTo>
                    <a:pt x="266700" y="80010"/>
                  </a:lnTo>
                  <a:cubicBezTo>
                    <a:pt x="275273" y="71438"/>
                    <a:pt x="280035" y="59055"/>
                    <a:pt x="280035" y="46673"/>
                  </a:cubicBezTo>
                  <a:cubicBezTo>
                    <a:pt x="280988" y="34290"/>
                    <a:pt x="276225" y="22860"/>
                    <a:pt x="266700" y="13335"/>
                  </a:cubicBezTo>
                  <a:close/>
                  <a:moveTo>
                    <a:pt x="25718" y="268605"/>
                  </a:moveTo>
                  <a:cubicBezTo>
                    <a:pt x="22860" y="271463"/>
                    <a:pt x="16193" y="272415"/>
                    <a:pt x="13335" y="268605"/>
                  </a:cubicBezTo>
                  <a:lnTo>
                    <a:pt x="12382" y="267653"/>
                  </a:lnTo>
                  <a:cubicBezTo>
                    <a:pt x="8573" y="263843"/>
                    <a:pt x="8573" y="259080"/>
                    <a:pt x="12382" y="255270"/>
                  </a:cubicBezTo>
                  <a:lnTo>
                    <a:pt x="24765" y="242888"/>
                  </a:lnTo>
                  <a:lnTo>
                    <a:pt x="38100" y="255270"/>
                  </a:lnTo>
                  <a:lnTo>
                    <a:pt x="25718" y="268605"/>
                  </a:lnTo>
                  <a:close/>
                  <a:moveTo>
                    <a:pt x="260033" y="73343"/>
                  </a:moveTo>
                  <a:lnTo>
                    <a:pt x="157163" y="176213"/>
                  </a:lnTo>
                  <a:cubicBezTo>
                    <a:pt x="153353" y="180023"/>
                    <a:pt x="148590" y="182880"/>
                    <a:pt x="142875" y="184785"/>
                  </a:cubicBezTo>
                  <a:lnTo>
                    <a:pt x="100965" y="199073"/>
                  </a:lnTo>
                  <a:cubicBezTo>
                    <a:pt x="95250" y="200978"/>
                    <a:pt x="89535" y="204788"/>
                    <a:pt x="84773" y="209550"/>
                  </a:cubicBezTo>
                  <a:lnTo>
                    <a:pt x="44768" y="249555"/>
                  </a:lnTo>
                  <a:lnTo>
                    <a:pt x="31433" y="236220"/>
                  </a:lnTo>
                  <a:lnTo>
                    <a:pt x="71438" y="196215"/>
                  </a:lnTo>
                  <a:cubicBezTo>
                    <a:pt x="76200" y="191453"/>
                    <a:pt x="80010" y="184785"/>
                    <a:pt x="81915" y="179070"/>
                  </a:cubicBezTo>
                  <a:lnTo>
                    <a:pt x="96203" y="137160"/>
                  </a:lnTo>
                  <a:cubicBezTo>
                    <a:pt x="98108" y="132398"/>
                    <a:pt x="100965" y="127635"/>
                    <a:pt x="104775" y="122873"/>
                  </a:cubicBezTo>
                  <a:lnTo>
                    <a:pt x="207645" y="20003"/>
                  </a:lnTo>
                  <a:cubicBezTo>
                    <a:pt x="221933" y="5715"/>
                    <a:pt x="245745" y="5715"/>
                    <a:pt x="260985" y="20003"/>
                  </a:cubicBezTo>
                  <a:cubicBezTo>
                    <a:pt x="267653" y="26670"/>
                    <a:pt x="271463" y="36195"/>
                    <a:pt x="271463" y="46673"/>
                  </a:cubicBezTo>
                  <a:cubicBezTo>
                    <a:pt x="271463" y="57150"/>
                    <a:pt x="267653" y="66675"/>
                    <a:pt x="260033" y="73343"/>
                  </a:cubicBezTo>
                  <a:close/>
                </a:path>
              </a:pathLst>
            </a:custGeom>
            <a:solidFill>
              <a:srgbClr val="231F20"/>
            </a:solidFill>
            <a:ln w="9525" cap="flat">
              <a:noFill/>
              <a:prstDash val="solid"/>
              <a:miter/>
            </a:ln>
          </p:spPr>
          <p:txBody>
            <a:bodyPr rtlCol="0" anchor="ctr"/>
            <a:lstStyle/>
            <a:p>
              <a:endParaRPr lang="de-DE"/>
            </a:p>
          </p:txBody>
        </p:sp>
        <p:sp>
          <p:nvSpPr>
            <p:cNvPr id="2423" name="Freeform: Shape 2422">
              <a:extLst>
                <a:ext uri="{FF2B5EF4-FFF2-40B4-BE49-F238E27FC236}">
                  <a16:creationId xmlns:a16="http://schemas.microsoft.com/office/drawing/2014/main" id="{88E8F99B-0B41-4644-8588-411970D277E7}"/>
                </a:ext>
              </a:extLst>
            </p:cNvPr>
            <p:cNvSpPr/>
            <p:nvPr/>
          </p:nvSpPr>
          <p:spPr>
            <a:xfrm>
              <a:off x="6072902" y="3367088"/>
              <a:ext cx="76200" cy="76200"/>
            </a:xfrm>
            <a:custGeom>
              <a:avLst/>
              <a:gdLst>
                <a:gd name="connsiteX0" fmla="*/ 53578 w 76200"/>
                <a:gd name="connsiteY0" fmla="*/ 0 h 76200"/>
                <a:gd name="connsiteX1" fmla="*/ 53578 w 76200"/>
                <a:gd name="connsiteY1" fmla="*/ 0 h 76200"/>
                <a:gd name="connsiteX2" fmla="*/ 34528 w 76200"/>
                <a:gd name="connsiteY2" fmla="*/ 7620 h 76200"/>
                <a:gd name="connsiteX3" fmla="*/ 7858 w 76200"/>
                <a:gd name="connsiteY3" fmla="*/ 34290 h 76200"/>
                <a:gd name="connsiteX4" fmla="*/ 7858 w 76200"/>
                <a:gd name="connsiteY4" fmla="*/ 72390 h 76200"/>
                <a:gd name="connsiteX5" fmla="*/ 26908 w 76200"/>
                <a:gd name="connsiteY5" fmla="*/ 80010 h 76200"/>
                <a:gd name="connsiteX6" fmla="*/ 45958 w 76200"/>
                <a:gd name="connsiteY6" fmla="*/ 72390 h 76200"/>
                <a:gd name="connsiteX7" fmla="*/ 72628 w 76200"/>
                <a:gd name="connsiteY7" fmla="*/ 45720 h 76200"/>
                <a:gd name="connsiteX8" fmla="*/ 72628 w 76200"/>
                <a:gd name="connsiteY8" fmla="*/ 7620 h 76200"/>
                <a:gd name="connsiteX9" fmla="*/ 53578 w 76200"/>
                <a:gd name="connsiteY9" fmla="*/ 0 h 76200"/>
                <a:gd name="connsiteX10" fmla="*/ 65008 w 76200"/>
                <a:gd name="connsiteY10" fmla="*/ 39053 h 76200"/>
                <a:gd name="connsiteX11" fmla="*/ 38338 w 76200"/>
                <a:gd name="connsiteY11" fmla="*/ 65723 h 76200"/>
                <a:gd name="connsiteX12" fmla="*/ 13573 w 76200"/>
                <a:gd name="connsiteY12" fmla="*/ 65723 h 76200"/>
                <a:gd name="connsiteX13" fmla="*/ 13573 w 76200"/>
                <a:gd name="connsiteY13" fmla="*/ 40958 h 76200"/>
                <a:gd name="connsiteX14" fmla="*/ 40243 w 76200"/>
                <a:gd name="connsiteY14" fmla="*/ 14288 h 76200"/>
                <a:gd name="connsiteX15" fmla="*/ 52626 w 76200"/>
                <a:gd name="connsiteY15" fmla="*/ 9525 h 76200"/>
                <a:gd name="connsiteX16" fmla="*/ 65008 w 76200"/>
                <a:gd name="connsiteY16" fmla="*/ 14288 h 76200"/>
                <a:gd name="connsiteX17" fmla="*/ 65008 w 76200"/>
                <a:gd name="connsiteY17" fmla="*/ 3905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200" h="76200">
                  <a:moveTo>
                    <a:pt x="53578" y="0"/>
                  </a:moveTo>
                  <a:cubicBezTo>
                    <a:pt x="53578" y="0"/>
                    <a:pt x="53578" y="0"/>
                    <a:pt x="53578" y="0"/>
                  </a:cubicBezTo>
                  <a:cubicBezTo>
                    <a:pt x="45958" y="0"/>
                    <a:pt x="39291" y="2858"/>
                    <a:pt x="34528" y="7620"/>
                  </a:cubicBezTo>
                  <a:lnTo>
                    <a:pt x="7858" y="34290"/>
                  </a:lnTo>
                  <a:cubicBezTo>
                    <a:pt x="-2619" y="44768"/>
                    <a:pt x="-2619" y="61913"/>
                    <a:pt x="7858" y="72390"/>
                  </a:cubicBezTo>
                  <a:cubicBezTo>
                    <a:pt x="12621" y="77153"/>
                    <a:pt x="20241" y="80010"/>
                    <a:pt x="26908" y="80010"/>
                  </a:cubicBezTo>
                  <a:cubicBezTo>
                    <a:pt x="33576" y="80010"/>
                    <a:pt x="40243" y="77153"/>
                    <a:pt x="45958" y="72390"/>
                  </a:cubicBezTo>
                  <a:lnTo>
                    <a:pt x="72628" y="45720"/>
                  </a:lnTo>
                  <a:cubicBezTo>
                    <a:pt x="83106" y="35243"/>
                    <a:pt x="83106" y="18097"/>
                    <a:pt x="72628" y="7620"/>
                  </a:cubicBezTo>
                  <a:cubicBezTo>
                    <a:pt x="66913" y="2858"/>
                    <a:pt x="60246" y="0"/>
                    <a:pt x="53578" y="0"/>
                  </a:cubicBezTo>
                  <a:close/>
                  <a:moveTo>
                    <a:pt x="65008" y="39053"/>
                  </a:moveTo>
                  <a:lnTo>
                    <a:pt x="38338" y="65723"/>
                  </a:lnTo>
                  <a:cubicBezTo>
                    <a:pt x="31671" y="72390"/>
                    <a:pt x="20241" y="72390"/>
                    <a:pt x="13573" y="65723"/>
                  </a:cubicBezTo>
                  <a:cubicBezTo>
                    <a:pt x="6906" y="59055"/>
                    <a:pt x="6906" y="47625"/>
                    <a:pt x="13573" y="40958"/>
                  </a:cubicBezTo>
                  <a:lnTo>
                    <a:pt x="40243" y="14288"/>
                  </a:lnTo>
                  <a:cubicBezTo>
                    <a:pt x="43101" y="11430"/>
                    <a:pt x="47863" y="9525"/>
                    <a:pt x="52626" y="9525"/>
                  </a:cubicBezTo>
                  <a:cubicBezTo>
                    <a:pt x="57388" y="9525"/>
                    <a:pt x="61198" y="11430"/>
                    <a:pt x="65008" y="14288"/>
                  </a:cubicBezTo>
                  <a:cubicBezTo>
                    <a:pt x="72628" y="20955"/>
                    <a:pt x="72628" y="32385"/>
                    <a:pt x="65008" y="39053"/>
                  </a:cubicBezTo>
                  <a:close/>
                </a:path>
              </a:pathLst>
            </a:custGeom>
            <a:solidFill>
              <a:srgbClr val="231F20"/>
            </a:solidFill>
            <a:ln w="9525" cap="flat">
              <a:noFill/>
              <a:prstDash val="solid"/>
              <a:miter/>
            </a:ln>
          </p:spPr>
          <p:txBody>
            <a:bodyPr rtlCol="0" anchor="ctr"/>
            <a:lstStyle/>
            <a:p>
              <a:endParaRPr lang="de-DE"/>
            </a:p>
          </p:txBody>
        </p:sp>
        <p:sp>
          <p:nvSpPr>
            <p:cNvPr id="2424" name="Freeform: Shape 2423">
              <a:extLst>
                <a:ext uri="{FF2B5EF4-FFF2-40B4-BE49-F238E27FC236}">
                  <a16:creationId xmlns:a16="http://schemas.microsoft.com/office/drawing/2014/main" id="{EFB0BA22-087C-4F47-8021-00378C42AC31}"/>
                </a:ext>
              </a:extLst>
            </p:cNvPr>
            <p:cNvSpPr/>
            <p:nvPr/>
          </p:nvSpPr>
          <p:spPr>
            <a:xfrm>
              <a:off x="6163628" y="3306127"/>
              <a:ext cx="47625" cy="38100"/>
            </a:xfrm>
            <a:custGeom>
              <a:avLst/>
              <a:gdLst>
                <a:gd name="connsiteX0" fmla="*/ 23813 w 47625"/>
                <a:gd name="connsiteY0" fmla="*/ 0 h 38100"/>
                <a:gd name="connsiteX1" fmla="*/ 0 w 47625"/>
                <a:gd name="connsiteY1" fmla="*/ 23813 h 38100"/>
                <a:gd name="connsiteX2" fmla="*/ 23813 w 47625"/>
                <a:gd name="connsiteY2" fmla="*/ 46673 h 38100"/>
                <a:gd name="connsiteX3" fmla="*/ 47625 w 47625"/>
                <a:gd name="connsiteY3" fmla="*/ 22860 h 38100"/>
                <a:gd name="connsiteX4" fmla="*/ 23813 w 47625"/>
                <a:gd name="connsiteY4" fmla="*/ 0 h 38100"/>
                <a:gd name="connsiteX5" fmla="*/ 23813 w 47625"/>
                <a:gd name="connsiteY5" fmla="*/ 37148 h 38100"/>
                <a:gd name="connsiteX6" fmla="*/ 9525 w 47625"/>
                <a:gd name="connsiteY6" fmla="*/ 22860 h 38100"/>
                <a:gd name="connsiteX7" fmla="*/ 23813 w 47625"/>
                <a:gd name="connsiteY7" fmla="*/ 8573 h 38100"/>
                <a:gd name="connsiteX8" fmla="*/ 38100 w 47625"/>
                <a:gd name="connsiteY8" fmla="*/ 22860 h 38100"/>
                <a:gd name="connsiteX9" fmla="*/ 23813 w 47625"/>
                <a:gd name="connsiteY9" fmla="*/ 3714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38100">
                  <a:moveTo>
                    <a:pt x="23813" y="0"/>
                  </a:moveTo>
                  <a:cubicBezTo>
                    <a:pt x="10478" y="0"/>
                    <a:pt x="0" y="10478"/>
                    <a:pt x="0" y="23813"/>
                  </a:cubicBezTo>
                  <a:cubicBezTo>
                    <a:pt x="0" y="37148"/>
                    <a:pt x="11430" y="46673"/>
                    <a:pt x="23813" y="46673"/>
                  </a:cubicBezTo>
                  <a:cubicBezTo>
                    <a:pt x="36195" y="46673"/>
                    <a:pt x="47625" y="36195"/>
                    <a:pt x="47625" y="22860"/>
                  </a:cubicBezTo>
                  <a:cubicBezTo>
                    <a:pt x="47625" y="9525"/>
                    <a:pt x="37147" y="0"/>
                    <a:pt x="23813" y="0"/>
                  </a:cubicBezTo>
                  <a:close/>
                  <a:moveTo>
                    <a:pt x="23813" y="37148"/>
                  </a:moveTo>
                  <a:cubicBezTo>
                    <a:pt x="16192" y="37148"/>
                    <a:pt x="9525" y="30480"/>
                    <a:pt x="9525" y="22860"/>
                  </a:cubicBezTo>
                  <a:cubicBezTo>
                    <a:pt x="9525" y="15240"/>
                    <a:pt x="16192" y="8573"/>
                    <a:pt x="23813" y="8573"/>
                  </a:cubicBezTo>
                  <a:cubicBezTo>
                    <a:pt x="31432" y="8573"/>
                    <a:pt x="38100" y="15240"/>
                    <a:pt x="38100" y="22860"/>
                  </a:cubicBezTo>
                  <a:cubicBezTo>
                    <a:pt x="38100" y="30480"/>
                    <a:pt x="32385" y="37148"/>
                    <a:pt x="23813" y="37148"/>
                  </a:cubicBezTo>
                  <a:close/>
                </a:path>
              </a:pathLst>
            </a:custGeom>
            <a:solidFill>
              <a:srgbClr val="231F20"/>
            </a:solidFill>
            <a:ln w="9525" cap="flat">
              <a:noFill/>
              <a:prstDash val="solid"/>
              <a:miter/>
            </a:ln>
          </p:spPr>
          <p:txBody>
            <a:bodyPr rtlCol="0" anchor="ctr"/>
            <a:lstStyle/>
            <a:p>
              <a:endParaRPr lang="de-DE"/>
            </a:p>
          </p:txBody>
        </p:sp>
      </p:grpSp>
      <p:grpSp>
        <p:nvGrpSpPr>
          <p:cNvPr id="2425" name="Graphic 4">
            <a:extLst>
              <a:ext uri="{FF2B5EF4-FFF2-40B4-BE49-F238E27FC236}">
                <a16:creationId xmlns:a16="http://schemas.microsoft.com/office/drawing/2014/main" id="{0A3200B3-6646-4099-B1BE-901B81143621}"/>
              </a:ext>
              <a:ext uri="{C183D7F6-B498-43B3-948B-1728B52AA6E4}">
                <adec:decorative xmlns:adec="http://schemas.microsoft.com/office/drawing/2017/decorative" val="1"/>
              </a:ext>
            </a:extLst>
          </p:cNvPr>
          <p:cNvGrpSpPr>
            <a:grpSpLocks noChangeAspect="1"/>
          </p:cNvGrpSpPr>
          <p:nvPr/>
        </p:nvGrpSpPr>
        <p:grpSpPr>
          <a:xfrm>
            <a:off x="5689553" y="4504121"/>
            <a:ext cx="118056" cy="129862"/>
            <a:chOff x="5948362" y="3271837"/>
            <a:chExt cx="285750" cy="314325"/>
          </a:xfrm>
          <a:solidFill>
            <a:srgbClr val="000000"/>
          </a:solidFill>
        </p:grpSpPr>
        <p:sp>
          <p:nvSpPr>
            <p:cNvPr id="2426" name="Freeform: Shape 2425">
              <a:extLst>
                <a:ext uri="{FF2B5EF4-FFF2-40B4-BE49-F238E27FC236}">
                  <a16:creationId xmlns:a16="http://schemas.microsoft.com/office/drawing/2014/main" id="{088BE086-264A-4128-9D0D-C911D7C6FB54}"/>
                </a:ext>
              </a:extLst>
            </p:cNvPr>
            <p:cNvSpPr/>
            <p:nvPr/>
          </p:nvSpPr>
          <p:spPr>
            <a:xfrm>
              <a:off x="6071234" y="3271837"/>
              <a:ext cx="66675" cy="66675"/>
            </a:xfrm>
            <a:custGeom>
              <a:avLst/>
              <a:gdLst>
                <a:gd name="connsiteX0" fmla="*/ 35243 w 66675"/>
                <a:gd name="connsiteY0" fmla="*/ 71438 h 66675"/>
                <a:gd name="connsiteX1" fmla="*/ 70485 w 66675"/>
                <a:gd name="connsiteY1" fmla="*/ 36195 h 66675"/>
                <a:gd name="connsiteX2" fmla="*/ 35243 w 66675"/>
                <a:gd name="connsiteY2" fmla="*/ 0 h 66675"/>
                <a:gd name="connsiteX3" fmla="*/ 0 w 66675"/>
                <a:gd name="connsiteY3" fmla="*/ 35243 h 66675"/>
                <a:gd name="connsiteX4" fmla="*/ 35243 w 66675"/>
                <a:gd name="connsiteY4" fmla="*/ 71438 h 66675"/>
                <a:gd name="connsiteX5" fmla="*/ 35243 w 66675"/>
                <a:gd name="connsiteY5" fmla="*/ 9525 h 66675"/>
                <a:gd name="connsiteX6" fmla="*/ 60960 w 66675"/>
                <a:gd name="connsiteY6" fmla="*/ 35243 h 66675"/>
                <a:gd name="connsiteX7" fmla="*/ 35243 w 66675"/>
                <a:gd name="connsiteY7" fmla="*/ 60960 h 66675"/>
                <a:gd name="connsiteX8" fmla="*/ 9525 w 66675"/>
                <a:gd name="connsiteY8" fmla="*/ 35243 h 66675"/>
                <a:gd name="connsiteX9" fmla="*/ 35243 w 6667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5243" y="71438"/>
                  </a:moveTo>
                  <a:cubicBezTo>
                    <a:pt x="55245" y="71438"/>
                    <a:pt x="70485" y="55245"/>
                    <a:pt x="70485" y="36195"/>
                  </a:cubicBezTo>
                  <a:cubicBezTo>
                    <a:pt x="70485" y="17145"/>
                    <a:pt x="54293" y="0"/>
                    <a:pt x="35243" y="0"/>
                  </a:cubicBezTo>
                  <a:cubicBezTo>
                    <a:pt x="16193" y="0"/>
                    <a:pt x="0" y="16193"/>
                    <a:pt x="0" y="35243"/>
                  </a:cubicBezTo>
                  <a:cubicBezTo>
                    <a:pt x="0" y="54293"/>
                    <a:pt x="15240" y="71438"/>
                    <a:pt x="35243" y="71438"/>
                  </a:cubicBezTo>
                  <a:close/>
                  <a:moveTo>
                    <a:pt x="35243" y="9525"/>
                  </a:moveTo>
                  <a:cubicBezTo>
                    <a:pt x="49530" y="9525"/>
                    <a:pt x="60960" y="20955"/>
                    <a:pt x="60960" y="35243"/>
                  </a:cubicBezTo>
                  <a:cubicBezTo>
                    <a:pt x="60960" y="49530"/>
                    <a:pt x="49530" y="60960"/>
                    <a:pt x="35243" y="60960"/>
                  </a:cubicBezTo>
                  <a:cubicBezTo>
                    <a:pt x="20955" y="60960"/>
                    <a:pt x="9525" y="49530"/>
                    <a:pt x="9525" y="35243"/>
                  </a:cubicBezTo>
                  <a:cubicBezTo>
                    <a:pt x="9525" y="20955"/>
                    <a:pt x="20955" y="9525"/>
                    <a:pt x="35243" y="9525"/>
                  </a:cubicBezTo>
                  <a:close/>
                </a:path>
              </a:pathLst>
            </a:custGeom>
            <a:solidFill>
              <a:srgbClr val="000000"/>
            </a:solidFill>
            <a:ln w="9525" cap="flat">
              <a:noFill/>
              <a:prstDash val="solid"/>
              <a:miter/>
            </a:ln>
          </p:spPr>
          <p:txBody>
            <a:bodyPr rtlCol="0" anchor="ctr"/>
            <a:lstStyle/>
            <a:p>
              <a:endParaRPr lang="de-DE"/>
            </a:p>
          </p:txBody>
        </p:sp>
        <p:sp>
          <p:nvSpPr>
            <p:cNvPr id="2427" name="Freeform: Shape 2426">
              <a:extLst>
                <a:ext uri="{FF2B5EF4-FFF2-40B4-BE49-F238E27FC236}">
                  <a16:creationId xmlns:a16="http://schemas.microsoft.com/office/drawing/2014/main" id="{2FA45448-62D0-4C47-841A-2B3610A846A3}"/>
                </a:ext>
              </a:extLst>
            </p:cNvPr>
            <p:cNvSpPr/>
            <p:nvPr/>
          </p:nvSpPr>
          <p:spPr>
            <a:xfrm>
              <a:off x="5948362" y="3343275"/>
              <a:ext cx="285750" cy="238125"/>
            </a:xfrm>
            <a:custGeom>
              <a:avLst/>
              <a:gdLst>
                <a:gd name="connsiteX0" fmla="*/ 268605 w 285750"/>
                <a:gd name="connsiteY0" fmla="*/ 4763 h 238125"/>
                <a:gd name="connsiteX1" fmla="*/ 149543 w 285750"/>
                <a:gd name="connsiteY1" fmla="*/ 4763 h 238125"/>
                <a:gd name="connsiteX2" fmla="*/ 34290 w 285750"/>
                <a:gd name="connsiteY2" fmla="*/ 0 h 238125"/>
                <a:gd name="connsiteX3" fmla="*/ 9525 w 285750"/>
                <a:gd name="connsiteY3" fmla="*/ 23813 h 238125"/>
                <a:gd name="connsiteX4" fmla="*/ 33338 w 285750"/>
                <a:gd name="connsiteY4" fmla="*/ 50483 h 238125"/>
                <a:gd name="connsiteX5" fmla="*/ 112395 w 285750"/>
                <a:gd name="connsiteY5" fmla="*/ 53340 h 238125"/>
                <a:gd name="connsiteX6" fmla="*/ 109538 w 285750"/>
                <a:gd name="connsiteY6" fmla="*/ 110490 h 238125"/>
                <a:gd name="connsiteX7" fmla="*/ 109538 w 285750"/>
                <a:gd name="connsiteY7" fmla="*/ 119063 h 238125"/>
                <a:gd name="connsiteX8" fmla="*/ 69533 w 285750"/>
                <a:gd name="connsiteY8" fmla="*/ 155258 h 238125"/>
                <a:gd name="connsiteX9" fmla="*/ 14288 w 285750"/>
                <a:gd name="connsiteY9" fmla="*/ 190500 h 238125"/>
                <a:gd name="connsiteX10" fmla="*/ 0 w 285750"/>
                <a:gd name="connsiteY10" fmla="*/ 216218 h 238125"/>
                <a:gd name="connsiteX11" fmla="*/ 16193 w 285750"/>
                <a:gd name="connsiteY11" fmla="*/ 240983 h 238125"/>
                <a:gd name="connsiteX12" fmla="*/ 28575 w 285750"/>
                <a:gd name="connsiteY12" fmla="*/ 243840 h 238125"/>
                <a:gd name="connsiteX13" fmla="*/ 43815 w 285750"/>
                <a:gd name="connsiteY13" fmla="*/ 239077 h 238125"/>
                <a:gd name="connsiteX14" fmla="*/ 100013 w 285750"/>
                <a:gd name="connsiteY14" fmla="*/ 203835 h 238125"/>
                <a:gd name="connsiteX15" fmla="*/ 105728 w 285750"/>
                <a:gd name="connsiteY15" fmla="*/ 200025 h 238125"/>
                <a:gd name="connsiteX16" fmla="*/ 150495 w 285750"/>
                <a:gd name="connsiteY16" fmla="*/ 160020 h 238125"/>
                <a:gd name="connsiteX17" fmla="*/ 200025 w 285750"/>
                <a:gd name="connsiteY17" fmla="*/ 165735 h 238125"/>
                <a:gd name="connsiteX18" fmla="*/ 200025 w 285750"/>
                <a:gd name="connsiteY18" fmla="*/ 216218 h 238125"/>
                <a:gd name="connsiteX19" fmla="*/ 228600 w 285750"/>
                <a:gd name="connsiteY19" fmla="*/ 243840 h 238125"/>
                <a:gd name="connsiteX20" fmla="*/ 257175 w 285750"/>
                <a:gd name="connsiteY20" fmla="*/ 215265 h 238125"/>
                <a:gd name="connsiteX21" fmla="*/ 257175 w 285750"/>
                <a:gd name="connsiteY21" fmla="*/ 146685 h 238125"/>
                <a:gd name="connsiteX22" fmla="*/ 249555 w 285750"/>
                <a:gd name="connsiteY22" fmla="*/ 123825 h 238125"/>
                <a:gd name="connsiteX23" fmla="*/ 227648 w 285750"/>
                <a:gd name="connsiteY23" fmla="*/ 110490 h 238125"/>
                <a:gd name="connsiteX24" fmla="*/ 184785 w 285750"/>
                <a:gd name="connsiteY24" fmla="*/ 105728 h 238125"/>
                <a:gd name="connsiteX25" fmla="*/ 187643 w 285750"/>
                <a:gd name="connsiteY25" fmla="*/ 55245 h 238125"/>
                <a:gd name="connsiteX26" fmla="*/ 266700 w 285750"/>
                <a:gd name="connsiteY26" fmla="*/ 55245 h 238125"/>
                <a:gd name="connsiteX27" fmla="*/ 291465 w 285750"/>
                <a:gd name="connsiteY27" fmla="*/ 29528 h 238125"/>
                <a:gd name="connsiteX28" fmla="*/ 268605 w 285750"/>
                <a:gd name="connsiteY28" fmla="*/ 4763 h 238125"/>
                <a:gd name="connsiteX29" fmla="*/ 268605 w 285750"/>
                <a:gd name="connsiteY29" fmla="*/ 45720 h 238125"/>
                <a:gd name="connsiteX30" fmla="*/ 184785 w 285750"/>
                <a:gd name="connsiteY30" fmla="*/ 45720 h 238125"/>
                <a:gd name="connsiteX31" fmla="*/ 180023 w 285750"/>
                <a:gd name="connsiteY31" fmla="*/ 50483 h 238125"/>
                <a:gd name="connsiteX32" fmla="*/ 176213 w 285750"/>
                <a:gd name="connsiteY32" fmla="*/ 108585 h 238125"/>
                <a:gd name="connsiteX33" fmla="*/ 181928 w 285750"/>
                <a:gd name="connsiteY33" fmla="*/ 115253 h 238125"/>
                <a:gd name="connsiteX34" fmla="*/ 226695 w 285750"/>
                <a:gd name="connsiteY34" fmla="*/ 120968 h 238125"/>
                <a:gd name="connsiteX35" fmla="*/ 241935 w 285750"/>
                <a:gd name="connsiteY35" fmla="*/ 130493 h 238125"/>
                <a:gd name="connsiteX36" fmla="*/ 247650 w 285750"/>
                <a:gd name="connsiteY36" fmla="*/ 147638 h 238125"/>
                <a:gd name="connsiteX37" fmla="*/ 247650 w 285750"/>
                <a:gd name="connsiteY37" fmla="*/ 216218 h 238125"/>
                <a:gd name="connsiteX38" fmla="*/ 228600 w 285750"/>
                <a:gd name="connsiteY38" fmla="*/ 235268 h 238125"/>
                <a:gd name="connsiteX39" fmla="*/ 209550 w 285750"/>
                <a:gd name="connsiteY39" fmla="*/ 217170 h 238125"/>
                <a:gd name="connsiteX40" fmla="*/ 209550 w 285750"/>
                <a:gd name="connsiteY40" fmla="*/ 163830 h 238125"/>
                <a:gd name="connsiteX41" fmla="*/ 203835 w 285750"/>
                <a:gd name="connsiteY41" fmla="*/ 157163 h 238125"/>
                <a:gd name="connsiteX42" fmla="*/ 148590 w 285750"/>
                <a:gd name="connsiteY42" fmla="*/ 150495 h 238125"/>
                <a:gd name="connsiteX43" fmla="*/ 144780 w 285750"/>
                <a:gd name="connsiteY43" fmla="*/ 151448 h 238125"/>
                <a:gd name="connsiteX44" fmla="*/ 98108 w 285750"/>
                <a:gd name="connsiteY44" fmla="*/ 193358 h 238125"/>
                <a:gd name="connsiteX45" fmla="*/ 94298 w 285750"/>
                <a:gd name="connsiteY45" fmla="*/ 196215 h 238125"/>
                <a:gd name="connsiteX46" fmla="*/ 38100 w 285750"/>
                <a:gd name="connsiteY46" fmla="*/ 232410 h 238125"/>
                <a:gd name="connsiteX47" fmla="*/ 19050 w 285750"/>
                <a:gd name="connsiteY47" fmla="*/ 233363 h 238125"/>
                <a:gd name="connsiteX48" fmla="*/ 8573 w 285750"/>
                <a:gd name="connsiteY48" fmla="*/ 217170 h 238125"/>
                <a:gd name="connsiteX49" fmla="*/ 18098 w 285750"/>
                <a:gd name="connsiteY49" fmla="*/ 200025 h 238125"/>
                <a:gd name="connsiteX50" fmla="*/ 73343 w 285750"/>
                <a:gd name="connsiteY50" fmla="*/ 164783 h 238125"/>
                <a:gd name="connsiteX51" fmla="*/ 116205 w 285750"/>
                <a:gd name="connsiteY51" fmla="*/ 126682 h 238125"/>
                <a:gd name="connsiteX52" fmla="*/ 117158 w 285750"/>
                <a:gd name="connsiteY52" fmla="*/ 121920 h 238125"/>
                <a:gd name="connsiteX53" fmla="*/ 117158 w 285750"/>
                <a:gd name="connsiteY53" fmla="*/ 113348 h 238125"/>
                <a:gd name="connsiteX54" fmla="*/ 120968 w 285750"/>
                <a:gd name="connsiteY54" fmla="*/ 50483 h 238125"/>
                <a:gd name="connsiteX55" fmla="*/ 120015 w 285750"/>
                <a:gd name="connsiteY55" fmla="*/ 46672 h 238125"/>
                <a:gd name="connsiteX56" fmla="*/ 117158 w 285750"/>
                <a:gd name="connsiteY56" fmla="*/ 44768 h 238125"/>
                <a:gd name="connsiteX57" fmla="*/ 33338 w 285750"/>
                <a:gd name="connsiteY57" fmla="*/ 40958 h 238125"/>
                <a:gd name="connsiteX58" fmla="*/ 19050 w 285750"/>
                <a:gd name="connsiteY58" fmla="*/ 24765 h 238125"/>
                <a:gd name="connsiteX59" fmla="*/ 34290 w 285750"/>
                <a:gd name="connsiteY59" fmla="*/ 9525 h 238125"/>
                <a:gd name="connsiteX60" fmla="*/ 149543 w 285750"/>
                <a:gd name="connsiteY60" fmla="*/ 14288 h 238125"/>
                <a:gd name="connsiteX61" fmla="*/ 267653 w 285750"/>
                <a:gd name="connsiteY61" fmla="*/ 14288 h 238125"/>
                <a:gd name="connsiteX62" fmla="*/ 282893 w 285750"/>
                <a:gd name="connsiteY62" fmla="*/ 30480 h 238125"/>
                <a:gd name="connsiteX63" fmla="*/ 268605 w 285750"/>
                <a:gd name="connsiteY63" fmla="*/ 4572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85750" h="238125">
                  <a:moveTo>
                    <a:pt x="268605" y="4763"/>
                  </a:moveTo>
                  <a:lnTo>
                    <a:pt x="149543" y="4763"/>
                  </a:lnTo>
                  <a:lnTo>
                    <a:pt x="34290" y="0"/>
                  </a:lnTo>
                  <a:cubicBezTo>
                    <a:pt x="20955" y="0"/>
                    <a:pt x="9525" y="10478"/>
                    <a:pt x="9525" y="23813"/>
                  </a:cubicBezTo>
                  <a:cubicBezTo>
                    <a:pt x="8573" y="38100"/>
                    <a:pt x="19050" y="49530"/>
                    <a:pt x="33338" y="50483"/>
                  </a:cubicBezTo>
                  <a:lnTo>
                    <a:pt x="112395" y="53340"/>
                  </a:lnTo>
                  <a:lnTo>
                    <a:pt x="109538" y="110490"/>
                  </a:lnTo>
                  <a:cubicBezTo>
                    <a:pt x="109538" y="113348"/>
                    <a:pt x="109538" y="116205"/>
                    <a:pt x="109538" y="119063"/>
                  </a:cubicBezTo>
                  <a:lnTo>
                    <a:pt x="69533" y="155258"/>
                  </a:lnTo>
                  <a:lnTo>
                    <a:pt x="14288" y="190500"/>
                  </a:lnTo>
                  <a:cubicBezTo>
                    <a:pt x="4763" y="196215"/>
                    <a:pt x="0" y="205740"/>
                    <a:pt x="0" y="216218"/>
                  </a:cubicBezTo>
                  <a:cubicBezTo>
                    <a:pt x="0" y="226695"/>
                    <a:pt x="6668" y="236220"/>
                    <a:pt x="16193" y="240983"/>
                  </a:cubicBezTo>
                  <a:cubicBezTo>
                    <a:pt x="20003" y="242888"/>
                    <a:pt x="24765" y="243840"/>
                    <a:pt x="28575" y="243840"/>
                  </a:cubicBezTo>
                  <a:cubicBezTo>
                    <a:pt x="34290" y="243840"/>
                    <a:pt x="39053" y="241935"/>
                    <a:pt x="43815" y="239077"/>
                  </a:cubicBezTo>
                  <a:lnTo>
                    <a:pt x="100013" y="203835"/>
                  </a:lnTo>
                  <a:cubicBezTo>
                    <a:pt x="101918" y="202883"/>
                    <a:pt x="103823" y="200978"/>
                    <a:pt x="105728" y="200025"/>
                  </a:cubicBezTo>
                  <a:lnTo>
                    <a:pt x="150495" y="160020"/>
                  </a:lnTo>
                  <a:lnTo>
                    <a:pt x="200025" y="165735"/>
                  </a:lnTo>
                  <a:lnTo>
                    <a:pt x="200025" y="216218"/>
                  </a:lnTo>
                  <a:cubicBezTo>
                    <a:pt x="200978" y="231458"/>
                    <a:pt x="213360" y="243840"/>
                    <a:pt x="228600" y="243840"/>
                  </a:cubicBezTo>
                  <a:cubicBezTo>
                    <a:pt x="243840" y="243840"/>
                    <a:pt x="257175" y="231458"/>
                    <a:pt x="257175" y="215265"/>
                  </a:cubicBezTo>
                  <a:lnTo>
                    <a:pt x="257175" y="146685"/>
                  </a:lnTo>
                  <a:cubicBezTo>
                    <a:pt x="257175" y="138113"/>
                    <a:pt x="254318" y="130493"/>
                    <a:pt x="249555" y="123825"/>
                  </a:cubicBezTo>
                  <a:cubicBezTo>
                    <a:pt x="243840" y="117157"/>
                    <a:pt x="236220" y="112395"/>
                    <a:pt x="227648" y="110490"/>
                  </a:cubicBezTo>
                  <a:lnTo>
                    <a:pt x="184785" y="105728"/>
                  </a:lnTo>
                  <a:lnTo>
                    <a:pt x="187643" y="55245"/>
                  </a:lnTo>
                  <a:lnTo>
                    <a:pt x="266700" y="55245"/>
                  </a:lnTo>
                  <a:cubicBezTo>
                    <a:pt x="280035" y="55245"/>
                    <a:pt x="291465" y="42863"/>
                    <a:pt x="291465" y="29528"/>
                  </a:cubicBezTo>
                  <a:cubicBezTo>
                    <a:pt x="293370" y="16192"/>
                    <a:pt x="282893" y="4763"/>
                    <a:pt x="268605" y="4763"/>
                  </a:cubicBezTo>
                  <a:close/>
                  <a:moveTo>
                    <a:pt x="268605" y="45720"/>
                  </a:moveTo>
                  <a:lnTo>
                    <a:pt x="184785" y="45720"/>
                  </a:lnTo>
                  <a:cubicBezTo>
                    <a:pt x="181928" y="45720"/>
                    <a:pt x="180023" y="47625"/>
                    <a:pt x="180023" y="50483"/>
                  </a:cubicBezTo>
                  <a:lnTo>
                    <a:pt x="176213" y="108585"/>
                  </a:lnTo>
                  <a:cubicBezTo>
                    <a:pt x="176213" y="112395"/>
                    <a:pt x="178118" y="115253"/>
                    <a:pt x="181928" y="115253"/>
                  </a:cubicBezTo>
                  <a:lnTo>
                    <a:pt x="226695" y="120968"/>
                  </a:lnTo>
                  <a:cubicBezTo>
                    <a:pt x="233363" y="121920"/>
                    <a:pt x="238125" y="125730"/>
                    <a:pt x="241935" y="130493"/>
                  </a:cubicBezTo>
                  <a:cubicBezTo>
                    <a:pt x="245745" y="135255"/>
                    <a:pt x="247650" y="141923"/>
                    <a:pt x="247650" y="147638"/>
                  </a:cubicBezTo>
                  <a:lnTo>
                    <a:pt x="247650" y="216218"/>
                  </a:lnTo>
                  <a:cubicBezTo>
                    <a:pt x="247650" y="226695"/>
                    <a:pt x="239078" y="235268"/>
                    <a:pt x="228600" y="235268"/>
                  </a:cubicBezTo>
                  <a:cubicBezTo>
                    <a:pt x="218123" y="235268"/>
                    <a:pt x="209550" y="226695"/>
                    <a:pt x="209550" y="217170"/>
                  </a:cubicBezTo>
                  <a:lnTo>
                    <a:pt x="209550" y="163830"/>
                  </a:lnTo>
                  <a:cubicBezTo>
                    <a:pt x="209550" y="160973"/>
                    <a:pt x="206693" y="158115"/>
                    <a:pt x="203835" y="157163"/>
                  </a:cubicBezTo>
                  <a:lnTo>
                    <a:pt x="148590" y="150495"/>
                  </a:lnTo>
                  <a:cubicBezTo>
                    <a:pt x="147638" y="150495"/>
                    <a:pt x="145733" y="150495"/>
                    <a:pt x="144780" y="151448"/>
                  </a:cubicBezTo>
                  <a:lnTo>
                    <a:pt x="98108" y="193358"/>
                  </a:lnTo>
                  <a:cubicBezTo>
                    <a:pt x="97155" y="194310"/>
                    <a:pt x="95250" y="195263"/>
                    <a:pt x="94298" y="196215"/>
                  </a:cubicBezTo>
                  <a:lnTo>
                    <a:pt x="38100" y="232410"/>
                  </a:lnTo>
                  <a:cubicBezTo>
                    <a:pt x="32385" y="236220"/>
                    <a:pt x="25718" y="236220"/>
                    <a:pt x="19050" y="233363"/>
                  </a:cubicBezTo>
                  <a:cubicBezTo>
                    <a:pt x="12383" y="230505"/>
                    <a:pt x="8573" y="223838"/>
                    <a:pt x="8573" y="217170"/>
                  </a:cubicBezTo>
                  <a:cubicBezTo>
                    <a:pt x="8573" y="210503"/>
                    <a:pt x="11430" y="203835"/>
                    <a:pt x="18098" y="200025"/>
                  </a:cubicBezTo>
                  <a:lnTo>
                    <a:pt x="73343" y="164783"/>
                  </a:lnTo>
                  <a:lnTo>
                    <a:pt x="116205" y="126682"/>
                  </a:lnTo>
                  <a:cubicBezTo>
                    <a:pt x="117158" y="125730"/>
                    <a:pt x="118110" y="122873"/>
                    <a:pt x="117158" y="121920"/>
                  </a:cubicBezTo>
                  <a:cubicBezTo>
                    <a:pt x="117158" y="119063"/>
                    <a:pt x="116205" y="116205"/>
                    <a:pt x="117158" y="113348"/>
                  </a:cubicBezTo>
                  <a:lnTo>
                    <a:pt x="120968" y="50483"/>
                  </a:lnTo>
                  <a:cubicBezTo>
                    <a:pt x="120968" y="49530"/>
                    <a:pt x="120968" y="47625"/>
                    <a:pt x="120015" y="46672"/>
                  </a:cubicBezTo>
                  <a:cubicBezTo>
                    <a:pt x="119063" y="45720"/>
                    <a:pt x="118110" y="44768"/>
                    <a:pt x="117158" y="44768"/>
                  </a:cubicBezTo>
                  <a:lnTo>
                    <a:pt x="33338" y="40958"/>
                  </a:lnTo>
                  <a:cubicBezTo>
                    <a:pt x="24765" y="40958"/>
                    <a:pt x="18098" y="33338"/>
                    <a:pt x="19050" y="24765"/>
                  </a:cubicBezTo>
                  <a:cubicBezTo>
                    <a:pt x="19050" y="16192"/>
                    <a:pt x="26670" y="9525"/>
                    <a:pt x="34290" y="9525"/>
                  </a:cubicBezTo>
                  <a:lnTo>
                    <a:pt x="149543" y="14288"/>
                  </a:lnTo>
                  <a:lnTo>
                    <a:pt x="267653" y="14288"/>
                  </a:lnTo>
                  <a:cubicBezTo>
                    <a:pt x="276225" y="14288"/>
                    <a:pt x="282893" y="21908"/>
                    <a:pt x="282893" y="30480"/>
                  </a:cubicBezTo>
                  <a:cubicBezTo>
                    <a:pt x="283845" y="38100"/>
                    <a:pt x="277178" y="45720"/>
                    <a:pt x="268605" y="45720"/>
                  </a:cubicBezTo>
                  <a:close/>
                </a:path>
              </a:pathLst>
            </a:custGeom>
            <a:solidFill>
              <a:srgbClr val="000000"/>
            </a:solidFill>
            <a:ln w="9525" cap="flat">
              <a:noFill/>
              <a:prstDash val="solid"/>
              <a:miter/>
            </a:ln>
          </p:spPr>
          <p:txBody>
            <a:bodyPr rtlCol="0" anchor="ctr"/>
            <a:lstStyle/>
            <a:p>
              <a:endParaRPr lang="de-DE"/>
            </a:p>
          </p:txBody>
        </p:sp>
      </p:grpSp>
      <p:grpSp>
        <p:nvGrpSpPr>
          <p:cNvPr id="2428" name="Graphic 3">
            <a:extLst>
              <a:ext uri="{FF2B5EF4-FFF2-40B4-BE49-F238E27FC236}">
                <a16:creationId xmlns:a16="http://schemas.microsoft.com/office/drawing/2014/main" id="{98996F8A-004D-414D-B1E2-6C2960781876}"/>
              </a:ext>
              <a:ext uri="{C183D7F6-B498-43B3-948B-1728B52AA6E4}">
                <adec:decorative xmlns:adec="http://schemas.microsoft.com/office/drawing/2017/decorative" val="1"/>
              </a:ext>
            </a:extLst>
          </p:cNvPr>
          <p:cNvGrpSpPr>
            <a:grpSpLocks noChangeAspect="1"/>
          </p:cNvGrpSpPr>
          <p:nvPr/>
        </p:nvGrpSpPr>
        <p:grpSpPr>
          <a:xfrm>
            <a:off x="5507081" y="4504121"/>
            <a:ext cx="59028" cy="129862"/>
            <a:chOff x="5972375" y="3179673"/>
            <a:chExt cx="225287" cy="495630"/>
          </a:xfrm>
          <a:solidFill>
            <a:srgbClr val="000000"/>
          </a:solidFill>
        </p:grpSpPr>
        <p:sp>
          <p:nvSpPr>
            <p:cNvPr id="2429" name="Freeform: Shape 2428">
              <a:extLst>
                <a:ext uri="{FF2B5EF4-FFF2-40B4-BE49-F238E27FC236}">
                  <a16:creationId xmlns:a16="http://schemas.microsoft.com/office/drawing/2014/main" id="{BB114E62-6984-496D-B2E8-0C0850F4681D}"/>
                </a:ext>
              </a:extLst>
            </p:cNvPr>
            <p:cNvSpPr/>
            <p:nvPr/>
          </p:nvSpPr>
          <p:spPr>
            <a:xfrm>
              <a:off x="5974771" y="3179673"/>
              <a:ext cx="225287" cy="495630"/>
            </a:xfrm>
            <a:custGeom>
              <a:avLst/>
              <a:gdLst>
                <a:gd name="connsiteX0" fmla="*/ 236408 w 225286"/>
                <a:gd name="connsiteY0" fmla="*/ 453577 h 495630"/>
                <a:gd name="connsiteX1" fmla="*/ 215381 w 225286"/>
                <a:gd name="connsiteY1" fmla="*/ 322910 h 495630"/>
                <a:gd name="connsiteX2" fmla="*/ 215381 w 225286"/>
                <a:gd name="connsiteY2" fmla="*/ 319907 h 495630"/>
                <a:gd name="connsiteX3" fmla="*/ 186845 w 225286"/>
                <a:gd name="connsiteY3" fmla="*/ 154697 h 495630"/>
                <a:gd name="connsiteX4" fmla="*/ 186845 w 225286"/>
                <a:gd name="connsiteY4" fmla="*/ 153195 h 495630"/>
                <a:gd name="connsiteX5" fmla="*/ 192852 w 225286"/>
                <a:gd name="connsiteY5" fmla="*/ 91616 h 495630"/>
                <a:gd name="connsiteX6" fmla="*/ 183841 w 225286"/>
                <a:gd name="connsiteY6" fmla="*/ 49563 h 495630"/>
                <a:gd name="connsiteX7" fmla="*/ 152301 w 225286"/>
                <a:gd name="connsiteY7" fmla="*/ 21027 h 495630"/>
                <a:gd name="connsiteX8" fmla="*/ 104240 w 225286"/>
                <a:gd name="connsiteY8" fmla="*/ 1502 h 495630"/>
                <a:gd name="connsiteX9" fmla="*/ 92224 w 225286"/>
                <a:gd name="connsiteY9" fmla="*/ 0 h 495630"/>
                <a:gd name="connsiteX10" fmla="*/ 68194 w 225286"/>
                <a:gd name="connsiteY10" fmla="*/ 10513 h 495630"/>
                <a:gd name="connsiteX11" fmla="*/ 63688 w 225286"/>
                <a:gd name="connsiteY11" fmla="*/ 31540 h 495630"/>
                <a:gd name="connsiteX12" fmla="*/ 81711 w 225286"/>
                <a:gd name="connsiteY12" fmla="*/ 55571 h 495630"/>
                <a:gd name="connsiteX13" fmla="*/ 132776 w 225286"/>
                <a:gd name="connsiteY13" fmla="*/ 82605 h 495630"/>
                <a:gd name="connsiteX14" fmla="*/ 126768 w 225286"/>
                <a:gd name="connsiteY14" fmla="*/ 138176 h 495630"/>
                <a:gd name="connsiteX15" fmla="*/ 86217 w 225286"/>
                <a:gd name="connsiteY15" fmla="*/ 148689 h 495630"/>
                <a:gd name="connsiteX16" fmla="*/ 71197 w 225286"/>
                <a:gd name="connsiteY16" fmla="*/ 156199 h 495630"/>
                <a:gd name="connsiteX17" fmla="*/ 20132 w 225286"/>
                <a:gd name="connsiteY17" fmla="*/ 196750 h 495630"/>
                <a:gd name="connsiteX18" fmla="*/ 11121 w 225286"/>
                <a:gd name="connsiteY18" fmla="*/ 271846 h 495630"/>
                <a:gd name="connsiteX19" fmla="*/ 51673 w 225286"/>
                <a:gd name="connsiteY19" fmla="*/ 324412 h 495630"/>
                <a:gd name="connsiteX20" fmla="*/ 65190 w 225286"/>
                <a:gd name="connsiteY20" fmla="*/ 334926 h 495630"/>
                <a:gd name="connsiteX21" fmla="*/ 23136 w 225286"/>
                <a:gd name="connsiteY21" fmla="*/ 446067 h 495630"/>
                <a:gd name="connsiteX22" fmla="*/ 24638 w 225286"/>
                <a:gd name="connsiteY22" fmla="*/ 477607 h 495630"/>
                <a:gd name="connsiteX23" fmla="*/ 47167 w 225286"/>
                <a:gd name="connsiteY23" fmla="*/ 498634 h 495630"/>
                <a:gd name="connsiteX24" fmla="*/ 62186 w 225286"/>
                <a:gd name="connsiteY24" fmla="*/ 501638 h 495630"/>
                <a:gd name="connsiteX25" fmla="*/ 99734 w 225286"/>
                <a:gd name="connsiteY25" fmla="*/ 476105 h 495630"/>
                <a:gd name="connsiteX26" fmla="*/ 140285 w 225286"/>
                <a:gd name="connsiteY26" fmla="*/ 366466 h 495630"/>
                <a:gd name="connsiteX27" fmla="*/ 156806 w 225286"/>
                <a:gd name="connsiteY27" fmla="*/ 468596 h 495630"/>
                <a:gd name="connsiteX28" fmla="*/ 173328 w 225286"/>
                <a:gd name="connsiteY28" fmla="*/ 494128 h 495630"/>
                <a:gd name="connsiteX29" fmla="*/ 203366 w 225286"/>
                <a:gd name="connsiteY29" fmla="*/ 501638 h 495630"/>
                <a:gd name="connsiteX30" fmla="*/ 236408 w 225286"/>
                <a:gd name="connsiteY30" fmla="*/ 453577 h 495630"/>
                <a:gd name="connsiteX31" fmla="*/ 200362 w 225286"/>
                <a:gd name="connsiteY31" fmla="*/ 485117 h 495630"/>
                <a:gd name="connsiteX32" fmla="*/ 180837 w 225286"/>
                <a:gd name="connsiteY32" fmla="*/ 480611 h 495630"/>
                <a:gd name="connsiteX33" fmla="*/ 170324 w 225286"/>
                <a:gd name="connsiteY33" fmla="*/ 464090 h 495630"/>
                <a:gd name="connsiteX34" fmla="*/ 149297 w 225286"/>
                <a:gd name="connsiteY34" fmla="*/ 333424 h 495630"/>
                <a:gd name="connsiteX35" fmla="*/ 143289 w 225286"/>
                <a:gd name="connsiteY35" fmla="*/ 327416 h 495630"/>
                <a:gd name="connsiteX36" fmla="*/ 135780 w 225286"/>
                <a:gd name="connsiteY36" fmla="*/ 331922 h 495630"/>
                <a:gd name="connsiteX37" fmla="*/ 84715 w 225286"/>
                <a:gd name="connsiteY37" fmla="*/ 468596 h 495630"/>
                <a:gd name="connsiteX38" fmla="*/ 51673 w 225286"/>
                <a:gd name="connsiteY38" fmla="*/ 483615 h 495630"/>
                <a:gd name="connsiteX39" fmla="*/ 36653 w 225286"/>
                <a:gd name="connsiteY39" fmla="*/ 470098 h 495630"/>
                <a:gd name="connsiteX40" fmla="*/ 35152 w 225286"/>
                <a:gd name="connsiteY40" fmla="*/ 450573 h 495630"/>
                <a:gd name="connsiteX41" fmla="*/ 80209 w 225286"/>
                <a:gd name="connsiteY41" fmla="*/ 331922 h 495630"/>
                <a:gd name="connsiteX42" fmla="*/ 80209 w 225286"/>
                <a:gd name="connsiteY42" fmla="*/ 325914 h 495630"/>
                <a:gd name="connsiteX43" fmla="*/ 75703 w 225286"/>
                <a:gd name="connsiteY43" fmla="*/ 321409 h 495630"/>
                <a:gd name="connsiteX44" fmla="*/ 72699 w 225286"/>
                <a:gd name="connsiteY44" fmla="*/ 321409 h 495630"/>
                <a:gd name="connsiteX45" fmla="*/ 62186 w 225286"/>
                <a:gd name="connsiteY45" fmla="*/ 313899 h 495630"/>
                <a:gd name="connsiteX46" fmla="*/ 21634 w 225286"/>
                <a:gd name="connsiteY46" fmla="*/ 261332 h 495630"/>
                <a:gd name="connsiteX47" fmla="*/ 29144 w 225286"/>
                <a:gd name="connsiteY47" fmla="*/ 207263 h 495630"/>
                <a:gd name="connsiteX48" fmla="*/ 80209 w 225286"/>
                <a:gd name="connsiteY48" fmla="*/ 166712 h 495630"/>
                <a:gd name="connsiteX49" fmla="*/ 89220 w 225286"/>
                <a:gd name="connsiteY49" fmla="*/ 162206 h 495630"/>
                <a:gd name="connsiteX50" fmla="*/ 132776 w 225286"/>
                <a:gd name="connsiteY50" fmla="*/ 151693 h 495630"/>
                <a:gd name="connsiteX51" fmla="*/ 141787 w 225286"/>
                <a:gd name="connsiteY51" fmla="*/ 141179 h 495630"/>
                <a:gd name="connsiteX52" fmla="*/ 147795 w 225286"/>
                <a:gd name="connsiteY52" fmla="*/ 81103 h 495630"/>
                <a:gd name="connsiteX53" fmla="*/ 140285 w 225286"/>
                <a:gd name="connsiteY53" fmla="*/ 69088 h 495630"/>
                <a:gd name="connsiteX54" fmla="*/ 87719 w 225286"/>
                <a:gd name="connsiteY54" fmla="*/ 42053 h 495630"/>
                <a:gd name="connsiteX55" fmla="*/ 77205 w 225286"/>
                <a:gd name="connsiteY55" fmla="*/ 30038 h 495630"/>
                <a:gd name="connsiteX56" fmla="*/ 78707 w 225286"/>
                <a:gd name="connsiteY56" fmla="*/ 21027 h 495630"/>
                <a:gd name="connsiteX57" fmla="*/ 92224 w 225286"/>
                <a:gd name="connsiteY57" fmla="*/ 15019 h 495630"/>
                <a:gd name="connsiteX58" fmla="*/ 98232 w 225286"/>
                <a:gd name="connsiteY58" fmla="*/ 15019 h 495630"/>
                <a:gd name="connsiteX59" fmla="*/ 144791 w 225286"/>
                <a:gd name="connsiteY59" fmla="*/ 34544 h 495630"/>
                <a:gd name="connsiteX60" fmla="*/ 170324 w 225286"/>
                <a:gd name="connsiteY60" fmla="*/ 57073 h 495630"/>
                <a:gd name="connsiteX61" fmla="*/ 177833 w 225286"/>
                <a:gd name="connsiteY61" fmla="*/ 90115 h 495630"/>
                <a:gd name="connsiteX62" fmla="*/ 171826 w 225286"/>
                <a:gd name="connsiteY62" fmla="*/ 148689 h 495630"/>
                <a:gd name="connsiteX63" fmla="*/ 171826 w 225286"/>
                <a:gd name="connsiteY63" fmla="*/ 156199 h 495630"/>
                <a:gd name="connsiteX64" fmla="*/ 200362 w 225286"/>
                <a:gd name="connsiteY64" fmla="*/ 318405 h 495630"/>
                <a:gd name="connsiteX65" fmla="*/ 200362 w 225286"/>
                <a:gd name="connsiteY65" fmla="*/ 322910 h 495630"/>
                <a:gd name="connsiteX66" fmla="*/ 221389 w 225286"/>
                <a:gd name="connsiteY66" fmla="*/ 453577 h 495630"/>
                <a:gd name="connsiteX67" fmla="*/ 200362 w 225286"/>
                <a:gd name="connsiteY67" fmla="*/ 485117 h 49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25286" h="495630">
                  <a:moveTo>
                    <a:pt x="236408" y="453577"/>
                  </a:moveTo>
                  <a:lnTo>
                    <a:pt x="215381" y="322910"/>
                  </a:lnTo>
                  <a:cubicBezTo>
                    <a:pt x="215381" y="321409"/>
                    <a:pt x="215381" y="321409"/>
                    <a:pt x="215381" y="319907"/>
                  </a:cubicBezTo>
                  <a:cubicBezTo>
                    <a:pt x="212377" y="264336"/>
                    <a:pt x="201864" y="208765"/>
                    <a:pt x="186845" y="154697"/>
                  </a:cubicBezTo>
                  <a:cubicBezTo>
                    <a:pt x="186845" y="154697"/>
                    <a:pt x="186845" y="154697"/>
                    <a:pt x="186845" y="153195"/>
                  </a:cubicBezTo>
                  <a:lnTo>
                    <a:pt x="192852" y="91616"/>
                  </a:lnTo>
                  <a:cubicBezTo>
                    <a:pt x="194354" y="76597"/>
                    <a:pt x="191350" y="63080"/>
                    <a:pt x="183841" y="49563"/>
                  </a:cubicBezTo>
                  <a:cubicBezTo>
                    <a:pt x="176331" y="37548"/>
                    <a:pt x="165818" y="27034"/>
                    <a:pt x="152301" y="21027"/>
                  </a:cubicBezTo>
                  <a:lnTo>
                    <a:pt x="104240" y="1502"/>
                  </a:lnTo>
                  <a:cubicBezTo>
                    <a:pt x="99734" y="0"/>
                    <a:pt x="96730" y="0"/>
                    <a:pt x="92224" y="0"/>
                  </a:cubicBezTo>
                  <a:cubicBezTo>
                    <a:pt x="87719" y="0"/>
                    <a:pt x="77205" y="0"/>
                    <a:pt x="68194" y="10513"/>
                  </a:cubicBezTo>
                  <a:cubicBezTo>
                    <a:pt x="63688" y="16521"/>
                    <a:pt x="62186" y="24031"/>
                    <a:pt x="63688" y="31540"/>
                  </a:cubicBezTo>
                  <a:cubicBezTo>
                    <a:pt x="65190" y="40552"/>
                    <a:pt x="72699" y="49563"/>
                    <a:pt x="81711" y="55571"/>
                  </a:cubicBezTo>
                  <a:lnTo>
                    <a:pt x="132776" y="82605"/>
                  </a:lnTo>
                  <a:lnTo>
                    <a:pt x="126768" y="138176"/>
                  </a:lnTo>
                  <a:lnTo>
                    <a:pt x="86217" y="148689"/>
                  </a:lnTo>
                  <a:cubicBezTo>
                    <a:pt x="80209" y="150191"/>
                    <a:pt x="75703" y="153195"/>
                    <a:pt x="71197" y="156199"/>
                  </a:cubicBezTo>
                  <a:lnTo>
                    <a:pt x="20132" y="196750"/>
                  </a:lnTo>
                  <a:cubicBezTo>
                    <a:pt x="-2396" y="214773"/>
                    <a:pt x="-6902" y="247815"/>
                    <a:pt x="11121" y="271846"/>
                  </a:cubicBezTo>
                  <a:lnTo>
                    <a:pt x="51673" y="324412"/>
                  </a:lnTo>
                  <a:cubicBezTo>
                    <a:pt x="54676" y="328918"/>
                    <a:pt x="59182" y="331922"/>
                    <a:pt x="65190" y="334926"/>
                  </a:cubicBezTo>
                  <a:lnTo>
                    <a:pt x="23136" y="446067"/>
                  </a:lnTo>
                  <a:cubicBezTo>
                    <a:pt x="20132" y="456580"/>
                    <a:pt x="20132" y="467094"/>
                    <a:pt x="24638" y="477607"/>
                  </a:cubicBezTo>
                  <a:cubicBezTo>
                    <a:pt x="29144" y="488120"/>
                    <a:pt x="36653" y="494128"/>
                    <a:pt x="47167" y="498634"/>
                  </a:cubicBezTo>
                  <a:cubicBezTo>
                    <a:pt x="51673" y="500136"/>
                    <a:pt x="56178" y="501638"/>
                    <a:pt x="62186" y="501638"/>
                  </a:cubicBezTo>
                  <a:cubicBezTo>
                    <a:pt x="78707" y="501638"/>
                    <a:pt x="93726" y="491124"/>
                    <a:pt x="99734" y="476105"/>
                  </a:cubicBezTo>
                  <a:lnTo>
                    <a:pt x="140285" y="366466"/>
                  </a:lnTo>
                  <a:lnTo>
                    <a:pt x="156806" y="468596"/>
                  </a:lnTo>
                  <a:cubicBezTo>
                    <a:pt x="158308" y="479109"/>
                    <a:pt x="164316" y="488120"/>
                    <a:pt x="173328" y="494128"/>
                  </a:cubicBezTo>
                  <a:cubicBezTo>
                    <a:pt x="182339" y="500136"/>
                    <a:pt x="192852" y="503140"/>
                    <a:pt x="203366" y="501638"/>
                  </a:cubicBezTo>
                  <a:cubicBezTo>
                    <a:pt x="224393" y="495630"/>
                    <a:pt x="239412" y="476105"/>
                    <a:pt x="236408" y="453577"/>
                  </a:cubicBezTo>
                  <a:close/>
                  <a:moveTo>
                    <a:pt x="200362" y="485117"/>
                  </a:moveTo>
                  <a:cubicBezTo>
                    <a:pt x="194354" y="486619"/>
                    <a:pt x="186845" y="485117"/>
                    <a:pt x="180837" y="480611"/>
                  </a:cubicBezTo>
                  <a:cubicBezTo>
                    <a:pt x="174829" y="476105"/>
                    <a:pt x="171826" y="471599"/>
                    <a:pt x="170324" y="464090"/>
                  </a:cubicBezTo>
                  <a:lnTo>
                    <a:pt x="149297" y="333424"/>
                  </a:lnTo>
                  <a:cubicBezTo>
                    <a:pt x="149297" y="330420"/>
                    <a:pt x="146293" y="327416"/>
                    <a:pt x="143289" y="327416"/>
                  </a:cubicBezTo>
                  <a:cubicBezTo>
                    <a:pt x="140285" y="327416"/>
                    <a:pt x="137282" y="328918"/>
                    <a:pt x="135780" y="331922"/>
                  </a:cubicBezTo>
                  <a:lnTo>
                    <a:pt x="84715" y="468596"/>
                  </a:lnTo>
                  <a:cubicBezTo>
                    <a:pt x="80209" y="482113"/>
                    <a:pt x="65190" y="488120"/>
                    <a:pt x="51673" y="483615"/>
                  </a:cubicBezTo>
                  <a:cubicBezTo>
                    <a:pt x="45665" y="480611"/>
                    <a:pt x="39657" y="476105"/>
                    <a:pt x="36653" y="470098"/>
                  </a:cubicBezTo>
                  <a:cubicBezTo>
                    <a:pt x="33650" y="464090"/>
                    <a:pt x="33650" y="456580"/>
                    <a:pt x="35152" y="450573"/>
                  </a:cubicBezTo>
                  <a:lnTo>
                    <a:pt x="80209" y="331922"/>
                  </a:lnTo>
                  <a:cubicBezTo>
                    <a:pt x="81711" y="330420"/>
                    <a:pt x="80209" y="327416"/>
                    <a:pt x="80209" y="325914"/>
                  </a:cubicBezTo>
                  <a:cubicBezTo>
                    <a:pt x="80209" y="324412"/>
                    <a:pt x="77205" y="322910"/>
                    <a:pt x="75703" y="321409"/>
                  </a:cubicBezTo>
                  <a:lnTo>
                    <a:pt x="72699" y="321409"/>
                  </a:lnTo>
                  <a:cubicBezTo>
                    <a:pt x="68194" y="319907"/>
                    <a:pt x="65190" y="318405"/>
                    <a:pt x="62186" y="313899"/>
                  </a:cubicBezTo>
                  <a:lnTo>
                    <a:pt x="21634" y="261332"/>
                  </a:lnTo>
                  <a:cubicBezTo>
                    <a:pt x="9619" y="244811"/>
                    <a:pt x="12623" y="220781"/>
                    <a:pt x="29144" y="207263"/>
                  </a:cubicBezTo>
                  <a:lnTo>
                    <a:pt x="80209" y="166712"/>
                  </a:lnTo>
                  <a:cubicBezTo>
                    <a:pt x="83213" y="165210"/>
                    <a:pt x="86217" y="163708"/>
                    <a:pt x="89220" y="162206"/>
                  </a:cubicBezTo>
                  <a:lnTo>
                    <a:pt x="132776" y="151693"/>
                  </a:lnTo>
                  <a:cubicBezTo>
                    <a:pt x="137282" y="150191"/>
                    <a:pt x="141787" y="145685"/>
                    <a:pt x="141787" y="141179"/>
                  </a:cubicBezTo>
                  <a:lnTo>
                    <a:pt x="147795" y="81103"/>
                  </a:lnTo>
                  <a:cubicBezTo>
                    <a:pt x="147795" y="75095"/>
                    <a:pt x="144791" y="70590"/>
                    <a:pt x="140285" y="69088"/>
                  </a:cubicBezTo>
                  <a:lnTo>
                    <a:pt x="87719" y="42053"/>
                  </a:lnTo>
                  <a:cubicBezTo>
                    <a:pt x="83213" y="39050"/>
                    <a:pt x="78707" y="34544"/>
                    <a:pt x="77205" y="30038"/>
                  </a:cubicBezTo>
                  <a:cubicBezTo>
                    <a:pt x="77205" y="27034"/>
                    <a:pt x="77205" y="24031"/>
                    <a:pt x="78707" y="21027"/>
                  </a:cubicBezTo>
                  <a:cubicBezTo>
                    <a:pt x="84715" y="15019"/>
                    <a:pt x="87719" y="15019"/>
                    <a:pt x="92224" y="15019"/>
                  </a:cubicBezTo>
                  <a:cubicBezTo>
                    <a:pt x="95228" y="15019"/>
                    <a:pt x="96730" y="15019"/>
                    <a:pt x="98232" y="15019"/>
                  </a:cubicBezTo>
                  <a:lnTo>
                    <a:pt x="144791" y="34544"/>
                  </a:lnTo>
                  <a:cubicBezTo>
                    <a:pt x="155305" y="39050"/>
                    <a:pt x="164316" y="46559"/>
                    <a:pt x="170324" y="57073"/>
                  </a:cubicBezTo>
                  <a:cubicBezTo>
                    <a:pt x="176331" y="67586"/>
                    <a:pt x="179335" y="78099"/>
                    <a:pt x="177833" y="90115"/>
                  </a:cubicBezTo>
                  <a:lnTo>
                    <a:pt x="171826" y="148689"/>
                  </a:lnTo>
                  <a:cubicBezTo>
                    <a:pt x="171826" y="151693"/>
                    <a:pt x="171826" y="154697"/>
                    <a:pt x="171826" y="156199"/>
                  </a:cubicBezTo>
                  <a:cubicBezTo>
                    <a:pt x="186845" y="208765"/>
                    <a:pt x="195856" y="264336"/>
                    <a:pt x="200362" y="318405"/>
                  </a:cubicBezTo>
                  <a:cubicBezTo>
                    <a:pt x="200362" y="319907"/>
                    <a:pt x="200362" y="321409"/>
                    <a:pt x="200362" y="322910"/>
                  </a:cubicBezTo>
                  <a:lnTo>
                    <a:pt x="221389" y="453577"/>
                  </a:lnTo>
                  <a:cubicBezTo>
                    <a:pt x="222891" y="470098"/>
                    <a:pt x="213879" y="482113"/>
                    <a:pt x="200362" y="485117"/>
                  </a:cubicBezTo>
                  <a:close/>
                </a:path>
              </a:pathLst>
            </a:custGeom>
            <a:solidFill>
              <a:srgbClr val="000000"/>
            </a:solidFill>
            <a:ln w="14883" cap="flat">
              <a:noFill/>
              <a:prstDash val="solid"/>
              <a:miter/>
            </a:ln>
          </p:spPr>
          <p:txBody>
            <a:bodyPr rtlCol="0" anchor="ctr"/>
            <a:lstStyle/>
            <a:p>
              <a:endParaRPr lang="de-DE"/>
            </a:p>
          </p:txBody>
        </p:sp>
        <p:sp>
          <p:nvSpPr>
            <p:cNvPr id="2430" name="Freeform: Shape 2429">
              <a:extLst>
                <a:ext uri="{FF2B5EF4-FFF2-40B4-BE49-F238E27FC236}">
                  <a16:creationId xmlns:a16="http://schemas.microsoft.com/office/drawing/2014/main" id="{58DBC966-4A9E-4B94-920D-A24A751085C7}"/>
                </a:ext>
              </a:extLst>
            </p:cNvPr>
            <p:cNvSpPr/>
            <p:nvPr/>
          </p:nvSpPr>
          <p:spPr>
            <a:xfrm>
              <a:off x="6020820" y="3383933"/>
              <a:ext cx="45057" cy="90115"/>
            </a:xfrm>
            <a:custGeom>
              <a:avLst/>
              <a:gdLst>
                <a:gd name="connsiteX0" fmla="*/ 44673 w 45057"/>
                <a:gd name="connsiteY0" fmla="*/ 4506 h 90114"/>
                <a:gd name="connsiteX1" fmla="*/ 40168 w 45057"/>
                <a:gd name="connsiteY1" fmla="*/ 0 h 90114"/>
                <a:gd name="connsiteX2" fmla="*/ 34160 w 45057"/>
                <a:gd name="connsiteY2" fmla="*/ 1502 h 90114"/>
                <a:gd name="connsiteX3" fmla="*/ 5624 w 45057"/>
                <a:gd name="connsiteY3" fmla="*/ 22529 h 90114"/>
                <a:gd name="connsiteX4" fmla="*/ 5624 w 45057"/>
                <a:gd name="connsiteY4" fmla="*/ 22529 h 90114"/>
                <a:gd name="connsiteX5" fmla="*/ 2620 w 45057"/>
                <a:gd name="connsiteY5" fmla="*/ 42053 h 90114"/>
                <a:gd name="connsiteX6" fmla="*/ 40168 w 45057"/>
                <a:gd name="connsiteY6" fmla="*/ 91616 h 90114"/>
                <a:gd name="connsiteX7" fmla="*/ 46175 w 45057"/>
                <a:gd name="connsiteY7" fmla="*/ 94620 h 90114"/>
                <a:gd name="connsiteX8" fmla="*/ 47677 w 45057"/>
                <a:gd name="connsiteY8" fmla="*/ 94620 h 90114"/>
                <a:gd name="connsiteX9" fmla="*/ 53685 w 45057"/>
                <a:gd name="connsiteY9" fmla="*/ 88613 h 90114"/>
                <a:gd name="connsiteX10" fmla="*/ 55187 w 45057"/>
                <a:gd name="connsiteY10" fmla="*/ 81103 h 90114"/>
                <a:gd name="connsiteX11" fmla="*/ 46175 w 45057"/>
                <a:gd name="connsiteY11" fmla="*/ 9011 h 90114"/>
                <a:gd name="connsiteX12" fmla="*/ 44673 w 45057"/>
                <a:gd name="connsiteY12" fmla="*/ 4506 h 90114"/>
                <a:gd name="connsiteX13" fmla="*/ 16137 w 45057"/>
                <a:gd name="connsiteY13" fmla="*/ 34544 h 90114"/>
                <a:gd name="connsiteX14" fmla="*/ 35662 w 45057"/>
                <a:gd name="connsiteY14" fmla="*/ 19525 h 90114"/>
                <a:gd name="connsiteX15" fmla="*/ 41670 w 45057"/>
                <a:gd name="connsiteY15" fmla="*/ 67586 h 90114"/>
                <a:gd name="connsiteX16" fmla="*/ 16137 w 45057"/>
                <a:gd name="connsiteY16" fmla="*/ 34544 h 9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57" h="90114">
                  <a:moveTo>
                    <a:pt x="44673" y="4506"/>
                  </a:moveTo>
                  <a:cubicBezTo>
                    <a:pt x="43171" y="3004"/>
                    <a:pt x="41670" y="0"/>
                    <a:pt x="40168" y="0"/>
                  </a:cubicBezTo>
                  <a:cubicBezTo>
                    <a:pt x="37164" y="0"/>
                    <a:pt x="35662" y="0"/>
                    <a:pt x="34160" y="1502"/>
                  </a:cubicBezTo>
                  <a:lnTo>
                    <a:pt x="5624" y="22529"/>
                  </a:lnTo>
                  <a:cubicBezTo>
                    <a:pt x="5624" y="22529"/>
                    <a:pt x="5624" y="22529"/>
                    <a:pt x="5624" y="22529"/>
                  </a:cubicBezTo>
                  <a:cubicBezTo>
                    <a:pt x="-384" y="27034"/>
                    <a:pt x="-1886" y="36046"/>
                    <a:pt x="2620" y="42053"/>
                  </a:cubicBezTo>
                  <a:lnTo>
                    <a:pt x="40168" y="91616"/>
                  </a:lnTo>
                  <a:cubicBezTo>
                    <a:pt x="41670" y="93118"/>
                    <a:pt x="43171" y="94620"/>
                    <a:pt x="46175" y="94620"/>
                  </a:cubicBezTo>
                  <a:cubicBezTo>
                    <a:pt x="46175" y="94620"/>
                    <a:pt x="47677" y="94620"/>
                    <a:pt x="47677" y="94620"/>
                  </a:cubicBezTo>
                  <a:cubicBezTo>
                    <a:pt x="50681" y="93118"/>
                    <a:pt x="52183" y="91616"/>
                    <a:pt x="53685" y="88613"/>
                  </a:cubicBezTo>
                  <a:lnTo>
                    <a:pt x="55187" y="81103"/>
                  </a:lnTo>
                  <a:cubicBezTo>
                    <a:pt x="58191" y="57073"/>
                    <a:pt x="55187" y="31540"/>
                    <a:pt x="46175" y="9011"/>
                  </a:cubicBezTo>
                  <a:lnTo>
                    <a:pt x="44673" y="4506"/>
                  </a:lnTo>
                  <a:close/>
                  <a:moveTo>
                    <a:pt x="16137" y="34544"/>
                  </a:moveTo>
                  <a:lnTo>
                    <a:pt x="35662" y="19525"/>
                  </a:lnTo>
                  <a:cubicBezTo>
                    <a:pt x="40168" y="34544"/>
                    <a:pt x="41670" y="51065"/>
                    <a:pt x="41670" y="67586"/>
                  </a:cubicBezTo>
                  <a:lnTo>
                    <a:pt x="16137" y="34544"/>
                  </a:lnTo>
                  <a:close/>
                </a:path>
              </a:pathLst>
            </a:custGeom>
            <a:solidFill>
              <a:srgbClr val="000000"/>
            </a:solidFill>
            <a:ln w="14883" cap="flat">
              <a:noFill/>
              <a:prstDash val="solid"/>
              <a:miter/>
            </a:ln>
          </p:spPr>
          <p:txBody>
            <a:bodyPr rtlCol="0" anchor="ctr"/>
            <a:lstStyle/>
            <a:p>
              <a:endParaRPr lang="de-DE"/>
            </a:p>
          </p:txBody>
        </p:sp>
        <p:sp>
          <p:nvSpPr>
            <p:cNvPr id="2431" name="Freeform: Shape 2430">
              <a:extLst>
                <a:ext uri="{FF2B5EF4-FFF2-40B4-BE49-F238E27FC236}">
                  <a16:creationId xmlns:a16="http://schemas.microsoft.com/office/drawing/2014/main" id="{767014A7-2B7A-4660-A15A-8A12F4082C1C}"/>
                </a:ext>
              </a:extLst>
            </p:cNvPr>
            <p:cNvSpPr/>
            <p:nvPr/>
          </p:nvSpPr>
          <p:spPr>
            <a:xfrm>
              <a:off x="5972375" y="3230738"/>
              <a:ext cx="105134" cy="90115"/>
            </a:xfrm>
            <a:custGeom>
              <a:avLst/>
              <a:gdLst>
                <a:gd name="connsiteX0" fmla="*/ 52567 w 105133"/>
                <a:gd name="connsiteY0" fmla="*/ 105134 h 90114"/>
                <a:gd name="connsiteX1" fmla="*/ 105134 w 105133"/>
                <a:gd name="connsiteY1" fmla="*/ 52567 h 90114"/>
                <a:gd name="connsiteX2" fmla="*/ 52567 w 105133"/>
                <a:gd name="connsiteY2" fmla="*/ 0 h 90114"/>
                <a:gd name="connsiteX3" fmla="*/ 0 w 105133"/>
                <a:gd name="connsiteY3" fmla="*/ 52567 h 90114"/>
                <a:gd name="connsiteX4" fmla="*/ 52567 w 105133"/>
                <a:gd name="connsiteY4" fmla="*/ 105134 h 90114"/>
                <a:gd name="connsiteX5" fmla="*/ 52567 w 105133"/>
                <a:gd name="connsiteY5" fmla="*/ 15019 h 90114"/>
                <a:gd name="connsiteX6" fmla="*/ 90115 w 105133"/>
                <a:gd name="connsiteY6" fmla="*/ 52567 h 90114"/>
                <a:gd name="connsiteX7" fmla="*/ 52567 w 105133"/>
                <a:gd name="connsiteY7" fmla="*/ 90115 h 90114"/>
                <a:gd name="connsiteX8" fmla="*/ 15019 w 105133"/>
                <a:gd name="connsiteY8" fmla="*/ 52567 h 90114"/>
                <a:gd name="connsiteX9" fmla="*/ 52567 w 105133"/>
                <a:gd name="connsiteY9" fmla="*/ 15019 h 9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133" h="90114">
                  <a:moveTo>
                    <a:pt x="52567" y="105134"/>
                  </a:moveTo>
                  <a:cubicBezTo>
                    <a:pt x="81103" y="105134"/>
                    <a:pt x="105134" y="81103"/>
                    <a:pt x="105134" y="52567"/>
                  </a:cubicBezTo>
                  <a:cubicBezTo>
                    <a:pt x="105134" y="24031"/>
                    <a:pt x="81103" y="0"/>
                    <a:pt x="52567" y="0"/>
                  </a:cubicBezTo>
                  <a:cubicBezTo>
                    <a:pt x="24031" y="0"/>
                    <a:pt x="0" y="24031"/>
                    <a:pt x="0" y="52567"/>
                  </a:cubicBezTo>
                  <a:cubicBezTo>
                    <a:pt x="0" y="81103"/>
                    <a:pt x="24031" y="105134"/>
                    <a:pt x="52567" y="105134"/>
                  </a:cubicBezTo>
                  <a:close/>
                  <a:moveTo>
                    <a:pt x="52567" y="15019"/>
                  </a:moveTo>
                  <a:cubicBezTo>
                    <a:pt x="72092" y="15019"/>
                    <a:pt x="90115" y="31540"/>
                    <a:pt x="90115" y="52567"/>
                  </a:cubicBezTo>
                  <a:cubicBezTo>
                    <a:pt x="90115" y="73594"/>
                    <a:pt x="72092" y="90115"/>
                    <a:pt x="52567" y="90115"/>
                  </a:cubicBezTo>
                  <a:cubicBezTo>
                    <a:pt x="33042" y="90115"/>
                    <a:pt x="15019" y="73594"/>
                    <a:pt x="15019" y="52567"/>
                  </a:cubicBezTo>
                  <a:cubicBezTo>
                    <a:pt x="15019" y="31540"/>
                    <a:pt x="31540" y="15019"/>
                    <a:pt x="52567" y="15019"/>
                  </a:cubicBezTo>
                  <a:close/>
                </a:path>
              </a:pathLst>
            </a:custGeom>
            <a:solidFill>
              <a:srgbClr val="000000"/>
            </a:solidFill>
            <a:ln w="14883" cap="flat">
              <a:noFill/>
              <a:prstDash val="solid"/>
              <a:miter/>
            </a:ln>
          </p:spPr>
          <p:txBody>
            <a:bodyPr rtlCol="0" anchor="ctr"/>
            <a:lstStyle/>
            <a:p>
              <a:endParaRPr lang="de-DE"/>
            </a:p>
          </p:txBody>
        </p:sp>
      </p:grpSp>
      <p:grpSp>
        <p:nvGrpSpPr>
          <p:cNvPr id="2434" name="Group 2433">
            <a:extLst>
              <a:ext uri="{FF2B5EF4-FFF2-40B4-BE49-F238E27FC236}">
                <a16:creationId xmlns:a16="http://schemas.microsoft.com/office/drawing/2014/main" id="{4FC05873-9BB3-4420-997A-8DD13385958B}"/>
              </a:ext>
              <a:ext uri="{C183D7F6-B498-43B3-948B-1728B52AA6E4}">
                <adec:decorative xmlns:adec="http://schemas.microsoft.com/office/drawing/2017/decorative" val="1"/>
              </a:ext>
            </a:extLst>
          </p:cNvPr>
          <p:cNvGrpSpPr>
            <a:grpSpLocks noChangeAspect="1"/>
          </p:cNvGrpSpPr>
          <p:nvPr/>
        </p:nvGrpSpPr>
        <p:grpSpPr>
          <a:xfrm>
            <a:off x="605368" y="5221886"/>
            <a:ext cx="152378" cy="152378"/>
            <a:chOff x="6480103" y="4204718"/>
            <a:chExt cx="152378" cy="152378"/>
          </a:xfrm>
        </p:grpSpPr>
        <p:sp>
          <p:nvSpPr>
            <p:cNvPr id="2630" name="Freeform: Shape 2629">
              <a:extLst>
                <a:ext uri="{FF2B5EF4-FFF2-40B4-BE49-F238E27FC236}">
                  <a16:creationId xmlns:a16="http://schemas.microsoft.com/office/drawing/2014/main" id="{3F879259-8847-44EA-B34C-649987EB8FAF}"/>
                </a:ext>
              </a:extLst>
            </p:cNvPr>
            <p:cNvSpPr/>
            <p:nvPr/>
          </p:nvSpPr>
          <p:spPr>
            <a:xfrm>
              <a:off x="6520439" y="4245053"/>
              <a:ext cx="71707" cy="107561"/>
            </a:xfrm>
            <a:custGeom>
              <a:avLst/>
              <a:gdLst>
                <a:gd name="connsiteX0" fmla="*/ 56021 w 71707"/>
                <a:gd name="connsiteY0" fmla="*/ 0 h 107560"/>
                <a:gd name="connsiteX1" fmla="*/ 15686 w 71707"/>
                <a:gd name="connsiteY1" fmla="*/ 0 h 107560"/>
                <a:gd name="connsiteX2" fmla="*/ 0 w 71707"/>
                <a:gd name="connsiteY2" fmla="*/ 15686 h 107560"/>
                <a:gd name="connsiteX3" fmla="*/ 0 w 71707"/>
                <a:gd name="connsiteY3" fmla="*/ 56470 h 107560"/>
                <a:gd name="connsiteX4" fmla="*/ 6723 w 71707"/>
                <a:gd name="connsiteY4" fmla="*/ 63192 h 107560"/>
                <a:gd name="connsiteX5" fmla="*/ 13445 w 71707"/>
                <a:gd name="connsiteY5" fmla="*/ 63192 h 107560"/>
                <a:gd name="connsiteX6" fmla="*/ 13445 w 71707"/>
                <a:gd name="connsiteY6" fmla="*/ 104872 h 107560"/>
                <a:gd name="connsiteX7" fmla="*/ 20168 w 71707"/>
                <a:gd name="connsiteY7" fmla="*/ 111595 h 107560"/>
                <a:gd name="connsiteX8" fmla="*/ 51091 w 71707"/>
                <a:gd name="connsiteY8" fmla="*/ 111595 h 107560"/>
                <a:gd name="connsiteX9" fmla="*/ 58262 w 71707"/>
                <a:gd name="connsiteY9" fmla="*/ 104872 h 107560"/>
                <a:gd name="connsiteX10" fmla="*/ 58262 w 71707"/>
                <a:gd name="connsiteY10" fmla="*/ 63192 h 107560"/>
                <a:gd name="connsiteX11" fmla="*/ 64537 w 71707"/>
                <a:gd name="connsiteY11" fmla="*/ 63192 h 107560"/>
                <a:gd name="connsiteX12" fmla="*/ 71707 w 71707"/>
                <a:gd name="connsiteY12" fmla="*/ 56470 h 107560"/>
                <a:gd name="connsiteX13" fmla="*/ 71707 w 71707"/>
                <a:gd name="connsiteY13" fmla="*/ 15686 h 107560"/>
                <a:gd name="connsiteX14" fmla="*/ 56021 w 71707"/>
                <a:gd name="connsiteY14" fmla="*/ 0 h 107560"/>
                <a:gd name="connsiteX15" fmla="*/ 67226 w 71707"/>
                <a:gd name="connsiteY15" fmla="*/ 56470 h 107560"/>
                <a:gd name="connsiteX16" fmla="*/ 64537 w 71707"/>
                <a:gd name="connsiteY16" fmla="*/ 58710 h 107560"/>
                <a:gd name="connsiteX17" fmla="*/ 58262 w 71707"/>
                <a:gd name="connsiteY17" fmla="*/ 58710 h 107560"/>
                <a:gd name="connsiteX18" fmla="*/ 58262 w 71707"/>
                <a:gd name="connsiteY18" fmla="*/ 21960 h 107560"/>
                <a:gd name="connsiteX19" fmla="*/ 56021 w 71707"/>
                <a:gd name="connsiteY19" fmla="*/ 19720 h 107560"/>
                <a:gd name="connsiteX20" fmla="*/ 53780 w 71707"/>
                <a:gd name="connsiteY20" fmla="*/ 21960 h 107560"/>
                <a:gd name="connsiteX21" fmla="*/ 53780 w 71707"/>
                <a:gd name="connsiteY21" fmla="*/ 104872 h 107560"/>
                <a:gd name="connsiteX22" fmla="*/ 51091 w 71707"/>
                <a:gd name="connsiteY22" fmla="*/ 107113 h 107560"/>
                <a:gd name="connsiteX23" fmla="*/ 38094 w 71707"/>
                <a:gd name="connsiteY23" fmla="*/ 107113 h 107560"/>
                <a:gd name="connsiteX24" fmla="*/ 38094 w 71707"/>
                <a:gd name="connsiteY24" fmla="*/ 61399 h 107560"/>
                <a:gd name="connsiteX25" fmla="*/ 35854 w 71707"/>
                <a:gd name="connsiteY25" fmla="*/ 59159 h 107560"/>
                <a:gd name="connsiteX26" fmla="*/ 33613 w 71707"/>
                <a:gd name="connsiteY26" fmla="*/ 61399 h 107560"/>
                <a:gd name="connsiteX27" fmla="*/ 33613 w 71707"/>
                <a:gd name="connsiteY27" fmla="*/ 108009 h 107560"/>
                <a:gd name="connsiteX28" fmla="*/ 20168 w 71707"/>
                <a:gd name="connsiteY28" fmla="*/ 108009 h 107560"/>
                <a:gd name="connsiteX29" fmla="*/ 17927 w 71707"/>
                <a:gd name="connsiteY29" fmla="*/ 105768 h 107560"/>
                <a:gd name="connsiteX30" fmla="*/ 17927 w 71707"/>
                <a:gd name="connsiteY30" fmla="*/ 22857 h 107560"/>
                <a:gd name="connsiteX31" fmla="*/ 15686 w 71707"/>
                <a:gd name="connsiteY31" fmla="*/ 20616 h 107560"/>
                <a:gd name="connsiteX32" fmla="*/ 13445 w 71707"/>
                <a:gd name="connsiteY32" fmla="*/ 22857 h 107560"/>
                <a:gd name="connsiteX33" fmla="*/ 13445 w 71707"/>
                <a:gd name="connsiteY33" fmla="*/ 59607 h 107560"/>
                <a:gd name="connsiteX34" fmla="*/ 6723 w 71707"/>
                <a:gd name="connsiteY34" fmla="*/ 59607 h 107560"/>
                <a:gd name="connsiteX35" fmla="*/ 4482 w 71707"/>
                <a:gd name="connsiteY35" fmla="*/ 57366 h 107560"/>
                <a:gd name="connsiteX36" fmla="*/ 4482 w 71707"/>
                <a:gd name="connsiteY36" fmla="*/ 16582 h 107560"/>
                <a:gd name="connsiteX37" fmla="*/ 15686 w 71707"/>
                <a:gd name="connsiteY37" fmla="*/ 5378 h 107560"/>
                <a:gd name="connsiteX38" fmla="*/ 56021 w 71707"/>
                <a:gd name="connsiteY38" fmla="*/ 5378 h 107560"/>
                <a:gd name="connsiteX39" fmla="*/ 67226 w 71707"/>
                <a:gd name="connsiteY39" fmla="*/ 16582 h 107560"/>
                <a:gd name="connsiteX40" fmla="*/ 67226 w 71707"/>
                <a:gd name="connsiteY40" fmla="*/ 5647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07560">
                  <a:moveTo>
                    <a:pt x="56021" y="0"/>
                  </a:moveTo>
                  <a:lnTo>
                    <a:pt x="15686" y="0"/>
                  </a:lnTo>
                  <a:cubicBezTo>
                    <a:pt x="7171" y="0"/>
                    <a:pt x="0" y="7171"/>
                    <a:pt x="0" y="15686"/>
                  </a:cubicBezTo>
                  <a:lnTo>
                    <a:pt x="0" y="56470"/>
                  </a:lnTo>
                  <a:cubicBezTo>
                    <a:pt x="0" y="60503"/>
                    <a:pt x="3137" y="63192"/>
                    <a:pt x="6723" y="63192"/>
                  </a:cubicBezTo>
                  <a:lnTo>
                    <a:pt x="13445" y="63192"/>
                  </a:lnTo>
                  <a:lnTo>
                    <a:pt x="13445" y="104872"/>
                  </a:lnTo>
                  <a:cubicBezTo>
                    <a:pt x="13445" y="108905"/>
                    <a:pt x="16582" y="111595"/>
                    <a:pt x="20168" y="111595"/>
                  </a:cubicBezTo>
                  <a:lnTo>
                    <a:pt x="51091" y="111595"/>
                  </a:lnTo>
                  <a:cubicBezTo>
                    <a:pt x="55125" y="111595"/>
                    <a:pt x="58262" y="108457"/>
                    <a:pt x="58262" y="104872"/>
                  </a:cubicBezTo>
                  <a:lnTo>
                    <a:pt x="58262" y="63192"/>
                  </a:lnTo>
                  <a:lnTo>
                    <a:pt x="64537" y="63192"/>
                  </a:lnTo>
                  <a:cubicBezTo>
                    <a:pt x="68570" y="63192"/>
                    <a:pt x="71707" y="60055"/>
                    <a:pt x="71707" y="56470"/>
                  </a:cubicBezTo>
                  <a:lnTo>
                    <a:pt x="71707" y="15686"/>
                  </a:lnTo>
                  <a:cubicBezTo>
                    <a:pt x="71707" y="7171"/>
                    <a:pt x="64537" y="0"/>
                    <a:pt x="56021" y="0"/>
                  </a:cubicBezTo>
                  <a:close/>
                  <a:moveTo>
                    <a:pt x="67226" y="56470"/>
                  </a:moveTo>
                  <a:cubicBezTo>
                    <a:pt x="67226" y="57814"/>
                    <a:pt x="66329" y="58710"/>
                    <a:pt x="64537" y="58710"/>
                  </a:cubicBezTo>
                  <a:lnTo>
                    <a:pt x="58262" y="58710"/>
                  </a:lnTo>
                  <a:lnTo>
                    <a:pt x="58262" y="21960"/>
                  </a:lnTo>
                  <a:cubicBezTo>
                    <a:pt x="58262" y="20616"/>
                    <a:pt x="57366" y="19720"/>
                    <a:pt x="56021" y="19720"/>
                  </a:cubicBezTo>
                  <a:cubicBezTo>
                    <a:pt x="54677" y="19720"/>
                    <a:pt x="53780" y="20616"/>
                    <a:pt x="53780" y="21960"/>
                  </a:cubicBezTo>
                  <a:lnTo>
                    <a:pt x="53780" y="104872"/>
                  </a:lnTo>
                  <a:cubicBezTo>
                    <a:pt x="53780" y="106216"/>
                    <a:pt x="52884" y="107113"/>
                    <a:pt x="51091" y="107113"/>
                  </a:cubicBezTo>
                  <a:lnTo>
                    <a:pt x="38094" y="107113"/>
                  </a:lnTo>
                  <a:lnTo>
                    <a:pt x="38094" y="61399"/>
                  </a:lnTo>
                  <a:cubicBezTo>
                    <a:pt x="38094" y="60055"/>
                    <a:pt x="37198" y="59159"/>
                    <a:pt x="35854" y="59159"/>
                  </a:cubicBezTo>
                  <a:cubicBezTo>
                    <a:pt x="34509" y="59159"/>
                    <a:pt x="33613" y="60055"/>
                    <a:pt x="33613" y="61399"/>
                  </a:cubicBezTo>
                  <a:lnTo>
                    <a:pt x="33613" y="108009"/>
                  </a:lnTo>
                  <a:lnTo>
                    <a:pt x="20168" y="108009"/>
                  </a:lnTo>
                  <a:cubicBezTo>
                    <a:pt x="18823" y="108009"/>
                    <a:pt x="17927" y="107113"/>
                    <a:pt x="17927" y="105768"/>
                  </a:cubicBezTo>
                  <a:lnTo>
                    <a:pt x="17927" y="22857"/>
                  </a:lnTo>
                  <a:cubicBezTo>
                    <a:pt x="17927" y="21512"/>
                    <a:pt x="17030" y="20616"/>
                    <a:pt x="15686" y="20616"/>
                  </a:cubicBezTo>
                  <a:cubicBezTo>
                    <a:pt x="14341" y="20616"/>
                    <a:pt x="13445" y="21512"/>
                    <a:pt x="13445" y="22857"/>
                  </a:cubicBezTo>
                  <a:lnTo>
                    <a:pt x="13445" y="59607"/>
                  </a:lnTo>
                  <a:lnTo>
                    <a:pt x="6723" y="59607"/>
                  </a:lnTo>
                  <a:cubicBezTo>
                    <a:pt x="5378" y="59607"/>
                    <a:pt x="4482" y="58710"/>
                    <a:pt x="4482" y="57366"/>
                  </a:cubicBezTo>
                  <a:lnTo>
                    <a:pt x="4482" y="16582"/>
                  </a:lnTo>
                  <a:cubicBezTo>
                    <a:pt x="4482" y="10308"/>
                    <a:pt x="9412" y="5378"/>
                    <a:pt x="15686" y="5378"/>
                  </a:cubicBezTo>
                  <a:lnTo>
                    <a:pt x="56021" y="5378"/>
                  </a:lnTo>
                  <a:cubicBezTo>
                    <a:pt x="62296" y="5378"/>
                    <a:pt x="67226" y="10308"/>
                    <a:pt x="67226" y="16582"/>
                  </a:cubicBezTo>
                  <a:lnTo>
                    <a:pt x="67226" y="56470"/>
                  </a:lnTo>
                  <a:close/>
                </a:path>
              </a:pathLst>
            </a:custGeom>
            <a:solidFill>
              <a:srgbClr val="231F20"/>
            </a:solidFill>
            <a:ln w="4477" cap="flat">
              <a:noFill/>
              <a:prstDash val="solid"/>
              <a:miter/>
            </a:ln>
          </p:spPr>
          <p:txBody>
            <a:bodyPr rtlCol="0" anchor="ctr"/>
            <a:lstStyle/>
            <a:p>
              <a:endParaRPr lang="en-US"/>
            </a:p>
          </p:txBody>
        </p:sp>
        <p:sp>
          <p:nvSpPr>
            <p:cNvPr id="2631" name="Freeform: Shape 2630">
              <a:extLst>
                <a:ext uri="{FF2B5EF4-FFF2-40B4-BE49-F238E27FC236}">
                  <a16:creationId xmlns:a16="http://schemas.microsoft.com/office/drawing/2014/main" id="{008F04CD-09E3-4FC8-8A04-0E2DD9F23EE6}"/>
                </a:ext>
              </a:extLst>
            </p:cNvPr>
            <p:cNvSpPr/>
            <p:nvPr/>
          </p:nvSpPr>
          <p:spPr>
            <a:xfrm>
              <a:off x="6539036" y="4205388"/>
              <a:ext cx="31372" cy="31372"/>
            </a:xfrm>
            <a:custGeom>
              <a:avLst/>
              <a:gdLst>
                <a:gd name="connsiteX0" fmla="*/ 14119 w 31371"/>
                <a:gd name="connsiteY0" fmla="*/ 33839 h 31371"/>
                <a:gd name="connsiteX1" fmla="*/ 17257 w 31371"/>
                <a:gd name="connsiteY1" fmla="*/ 34287 h 31371"/>
                <a:gd name="connsiteX2" fmla="*/ 29357 w 31371"/>
                <a:gd name="connsiteY2" fmla="*/ 29357 h 31371"/>
                <a:gd name="connsiteX3" fmla="*/ 34287 w 31371"/>
                <a:gd name="connsiteY3" fmla="*/ 13671 h 31371"/>
                <a:gd name="connsiteX4" fmla="*/ 20842 w 31371"/>
                <a:gd name="connsiteY4" fmla="*/ 226 h 31371"/>
                <a:gd name="connsiteX5" fmla="*/ 5156 w 31371"/>
                <a:gd name="connsiteY5" fmla="*/ 5156 h 31371"/>
                <a:gd name="connsiteX6" fmla="*/ 226 w 31371"/>
                <a:gd name="connsiteY6" fmla="*/ 20842 h 31371"/>
                <a:gd name="connsiteX7" fmla="*/ 14119 w 31371"/>
                <a:gd name="connsiteY7" fmla="*/ 33839 h 31371"/>
                <a:gd name="connsiteX8" fmla="*/ 8293 w 31371"/>
                <a:gd name="connsiteY8" fmla="*/ 7845 h 31371"/>
                <a:gd name="connsiteX9" fmla="*/ 17257 w 31371"/>
                <a:gd name="connsiteY9" fmla="*/ 4260 h 31371"/>
                <a:gd name="connsiteX10" fmla="*/ 19946 w 31371"/>
                <a:gd name="connsiteY10" fmla="*/ 4708 h 31371"/>
                <a:gd name="connsiteX11" fmla="*/ 29805 w 31371"/>
                <a:gd name="connsiteY11" fmla="*/ 14568 h 31371"/>
                <a:gd name="connsiteX12" fmla="*/ 26220 w 31371"/>
                <a:gd name="connsiteY12" fmla="*/ 26220 h 31371"/>
                <a:gd name="connsiteX13" fmla="*/ 14568 w 31371"/>
                <a:gd name="connsiteY13" fmla="*/ 29805 h 31371"/>
                <a:gd name="connsiteX14" fmla="*/ 4708 w 31371"/>
                <a:gd name="connsiteY14" fmla="*/ 19946 h 31371"/>
                <a:gd name="connsiteX15" fmla="*/ 8293 w 31371"/>
                <a:gd name="connsiteY15" fmla="*/ 7845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71" h="31371">
                  <a:moveTo>
                    <a:pt x="14119" y="33839"/>
                  </a:moveTo>
                  <a:cubicBezTo>
                    <a:pt x="15016" y="33839"/>
                    <a:pt x="16360" y="34287"/>
                    <a:pt x="17257" y="34287"/>
                  </a:cubicBezTo>
                  <a:cubicBezTo>
                    <a:pt x="21738" y="34287"/>
                    <a:pt x="26220" y="32495"/>
                    <a:pt x="29357" y="29357"/>
                  </a:cubicBezTo>
                  <a:cubicBezTo>
                    <a:pt x="33391" y="25324"/>
                    <a:pt x="35183" y="19497"/>
                    <a:pt x="34287" y="13671"/>
                  </a:cubicBezTo>
                  <a:cubicBezTo>
                    <a:pt x="32943" y="6949"/>
                    <a:pt x="27565" y="1123"/>
                    <a:pt x="20842" y="226"/>
                  </a:cubicBezTo>
                  <a:cubicBezTo>
                    <a:pt x="15016" y="-670"/>
                    <a:pt x="9190" y="1123"/>
                    <a:pt x="5156" y="5156"/>
                  </a:cubicBezTo>
                  <a:cubicBezTo>
                    <a:pt x="1123" y="9190"/>
                    <a:pt x="-670" y="15016"/>
                    <a:pt x="226" y="20842"/>
                  </a:cubicBezTo>
                  <a:cubicBezTo>
                    <a:pt x="1571" y="27116"/>
                    <a:pt x="6949" y="32495"/>
                    <a:pt x="14119" y="33839"/>
                  </a:cubicBezTo>
                  <a:close/>
                  <a:moveTo>
                    <a:pt x="8293" y="7845"/>
                  </a:moveTo>
                  <a:cubicBezTo>
                    <a:pt x="10534" y="5604"/>
                    <a:pt x="14119" y="4260"/>
                    <a:pt x="17257" y="4260"/>
                  </a:cubicBezTo>
                  <a:cubicBezTo>
                    <a:pt x="18153" y="4260"/>
                    <a:pt x="19049" y="4260"/>
                    <a:pt x="19946" y="4708"/>
                  </a:cubicBezTo>
                  <a:cubicBezTo>
                    <a:pt x="24876" y="5604"/>
                    <a:pt x="28909" y="9638"/>
                    <a:pt x="29805" y="14568"/>
                  </a:cubicBezTo>
                  <a:cubicBezTo>
                    <a:pt x="30702" y="19049"/>
                    <a:pt x="29357" y="23083"/>
                    <a:pt x="26220" y="26220"/>
                  </a:cubicBezTo>
                  <a:cubicBezTo>
                    <a:pt x="23083" y="29357"/>
                    <a:pt x="19049" y="30702"/>
                    <a:pt x="14568" y="29805"/>
                  </a:cubicBezTo>
                  <a:cubicBezTo>
                    <a:pt x="9638" y="28909"/>
                    <a:pt x="5604" y="24876"/>
                    <a:pt x="4708" y="19946"/>
                  </a:cubicBezTo>
                  <a:cubicBezTo>
                    <a:pt x="3812" y="15016"/>
                    <a:pt x="5156" y="10982"/>
                    <a:pt x="8293" y="7845"/>
                  </a:cubicBezTo>
                  <a:close/>
                </a:path>
              </a:pathLst>
            </a:custGeom>
            <a:solidFill>
              <a:srgbClr val="231F20"/>
            </a:solidFill>
            <a:ln w="4477" cap="flat">
              <a:noFill/>
              <a:prstDash val="solid"/>
              <a:miter/>
            </a:ln>
          </p:spPr>
          <p:txBody>
            <a:bodyPr rtlCol="0" anchor="ctr"/>
            <a:lstStyle/>
            <a:p>
              <a:endParaRPr lang="en-US"/>
            </a:p>
          </p:txBody>
        </p:sp>
        <p:sp>
          <p:nvSpPr>
            <p:cNvPr id="2632" name="Freeform: Shape 2631">
              <a:extLst>
                <a:ext uri="{FF2B5EF4-FFF2-40B4-BE49-F238E27FC236}">
                  <a16:creationId xmlns:a16="http://schemas.microsoft.com/office/drawing/2014/main" id="{7B38926C-DC7A-4697-AB24-E0DD9F326A93}"/>
                </a:ext>
              </a:extLst>
            </p:cNvPr>
            <p:cNvSpPr/>
            <p:nvPr/>
          </p:nvSpPr>
          <p:spPr>
            <a:xfrm>
              <a:off x="6480103" y="4204718"/>
              <a:ext cx="31372" cy="26890"/>
            </a:xfrm>
            <a:custGeom>
              <a:avLst/>
              <a:gdLst>
                <a:gd name="connsiteX0" fmla="*/ 31372 w 31371"/>
                <a:gd name="connsiteY0" fmla="*/ 2241 h 26890"/>
                <a:gd name="connsiteX1" fmla="*/ 29131 w 31371"/>
                <a:gd name="connsiteY1" fmla="*/ 0 h 26890"/>
                <a:gd name="connsiteX2" fmla="*/ 2241 w 31371"/>
                <a:gd name="connsiteY2" fmla="*/ 0 h 26890"/>
                <a:gd name="connsiteX3" fmla="*/ 1345 w 31371"/>
                <a:gd name="connsiteY3" fmla="*/ 0 h 26890"/>
                <a:gd name="connsiteX4" fmla="*/ 1345 w 31371"/>
                <a:gd name="connsiteY4" fmla="*/ 0 h 26890"/>
                <a:gd name="connsiteX5" fmla="*/ 1345 w 31371"/>
                <a:gd name="connsiteY5" fmla="*/ 0 h 26890"/>
                <a:gd name="connsiteX6" fmla="*/ 448 w 31371"/>
                <a:gd name="connsiteY6" fmla="*/ 896 h 26890"/>
                <a:gd name="connsiteX7" fmla="*/ 448 w 31371"/>
                <a:gd name="connsiteY7" fmla="*/ 896 h 26890"/>
                <a:gd name="connsiteX8" fmla="*/ 0 w 31371"/>
                <a:gd name="connsiteY8" fmla="*/ 1793 h 26890"/>
                <a:gd name="connsiteX9" fmla="*/ 0 w 31371"/>
                <a:gd name="connsiteY9" fmla="*/ 28683 h 26890"/>
                <a:gd name="connsiteX10" fmla="*/ 2241 w 31371"/>
                <a:gd name="connsiteY10" fmla="*/ 30924 h 26890"/>
                <a:gd name="connsiteX11" fmla="*/ 4482 w 31371"/>
                <a:gd name="connsiteY11" fmla="*/ 28683 h 26890"/>
                <a:gd name="connsiteX12" fmla="*/ 4482 w 31371"/>
                <a:gd name="connsiteY12" fmla="*/ 7171 h 26890"/>
                <a:gd name="connsiteX13" fmla="*/ 27338 w 31371"/>
                <a:gd name="connsiteY13" fmla="*/ 30027 h 26890"/>
                <a:gd name="connsiteX14" fmla="*/ 29131 w 31371"/>
                <a:gd name="connsiteY14" fmla="*/ 30476 h 26890"/>
                <a:gd name="connsiteX15" fmla="*/ 30924 w 31371"/>
                <a:gd name="connsiteY15" fmla="*/ 30027 h 26890"/>
                <a:gd name="connsiteX16" fmla="*/ 30924 w 31371"/>
                <a:gd name="connsiteY16" fmla="*/ 26890 h 26890"/>
                <a:gd name="connsiteX17" fmla="*/ 8067 w 31371"/>
                <a:gd name="connsiteY17" fmla="*/ 4034 h 26890"/>
                <a:gd name="connsiteX18" fmla="*/ 29579 w 31371"/>
                <a:gd name="connsiteY18" fmla="*/ 4034 h 26890"/>
                <a:gd name="connsiteX19" fmla="*/ 31372 w 31371"/>
                <a:gd name="connsiteY19" fmla="*/ 224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26890">
                  <a:moveTo>
                    <a:pt x="31372" y="2241"/>
                  </a:moveTo>
                  <a:cubicBezTo>
                    <a:pt x="31372" y="896"/>
                    <a:pt x="30476" y="0"/>
                    <a:pt x="29131" y="0"/>
                  </a:cubicBezTo>
                  <a:lnTo>
                    <a:pt x="2241" y="0"/>
                  </a:lnTo>
                  <a:cubicBezTo>
                    <a:pt x="1793" y="0"/>
                    <a:pt x="1793" y="0"/>
                    <a:pt x="1345" y="0"/>
                  </a:cubicBezTo>
                  <a:cubicBezTo>
                    <a:pt x="1345" y="0"/>
                    <a:pt x="1345" y="0"/>
                    <a:pt x="1345" y="0"/>
                  </a:cubicBezTo>
                  <a:cubicBezTo>
                    <a:pt x="1345" y="0"/>
                    <a:pt x="1345" y="0"/>
                    <a:pt x="1345" y="0"/>
                  </a:cubicBezTo>
                  <a:cubicBezTo>
                    <a:pt x="896" y="0"/>
                    <a:pt x="896" y="448"/>
                    <a:pt x="448" y="896"/>
                  </a:cubicBezTo>
                  <a:cubicBezTo>
                    <a:pt x="448" y="896"/>
                    <a:pt x="448" y="896"/>
                    <a:pt x="448" y="896"/>
                  </a:cubicBezTo>
                  <a:cubicBezTo>
                    <a:pt x="448" y="1344"/>
                    <a:pt x="0" y="1793"/>
                    <a:pt x="0" y="1793"/>
                  </a:cubicBezTo>
                  <a:lnTo>
                    <a:pt x="0" y="28683"/>
                  </a:lnTo>
                  <a:cubicBezTo>
                    <a:pt x="0" y="30027"/>
                    <a:pt x="896" y="30924"/>
                    <a:pt x="2241" y="30924"/>
                  </a:cubicBezTo>
                  <a:cubicBezTo>
                    <a:pt x="3585" y="30924"/>
                    <a:pt x="4482" y="30027"/>
                    <a:pt x="4482" y="28683"/>
                  </a:cubicBezTo>
                  <a:lnTo>
                    <a:pt x="4482" y="7171"/>
                  </a:lnTo>
                  <a:lnTo>
                    <a:pt x="27338" y="30027"/>
                  </a:lnTo>
                  <a:cubicBezTo>
                    <a:pt x="27787" y="30476"/>
                    <a:pt x="28235" y="30476"/>
                    <a:pt x="29131" y="30476"/>
                  </a:cubicBezTo>
                  <a:cubicBezTo>
                    <a:pt x="30027" y="30476"/>
                    <a:pt x="30476" y="30476"/>
                    <a:pt x="30924" y="30027"/>
                  </a:cubicBezTo>
                  <a:cubicBezTo>
                    <a:pt x="31820" y="29131"/>
                    <a:pt x="31820" y="27787"/>
                    <a:pt x="30924" y="26890"/>
                  </a:cubicBezTo>
                  <a:lnTo>
                    <a:pt x="8067" y="4034"/>
                  </a:lnTo>
                  <a:lnTo>
                    <a:pt x="29579" y="4034"/>
                  </a:lnTo>
                  <a:cubicBezTo>
                    <a:pt x="30476" y="4482"/>
                    <a:pt x="31372" y="3585"/>
                    <a:pt x="31372" y="2241"/>
                  </a:cubicBezTo>
                  <a:close/>
                </a:path>
              </a:pathLst>
            </a:custGeom>
            <a:solidFill>
              <a:srgbClr val="231F20"/>
            </a:solidFill>
            <a:ln w="4477" cap="flat">
              <a:noFill/>
              <a:prstDash val="solid"/>
              <a:miter/>
            </a:ln>
          </p:spPr>
          <p:txBody>
            <a:bodyPr rtlCol="0" anchor="ctr"/>
            <a:lstStyle/>
            <a:p>
              <a:endParaRPr lang="en-US"/>
            </a:p>
          </p:txBody>
        </p:sp>
        <p:sp>
          <p:nvSpPr>
            <p:cNvPr id="2633" name="Freeform: Shape 2632">
              <a:extLst>
                <a:ext uri="{FF2B5EF4-FFF2-40B4-BE49-F238E27FC236}">
                  <a16:creationId xmlns:a16="http://schemas.microsoft.com/office/drawing/2014/main" id="{6573ECD6-8645-4E28-9198-C89C30517303}"/>
                </a:ext>
              </a:extLst>
            </p:cNvPr>
            <p:cNvSpPr/>
            <p:nvPr/>
          </p:nvSpPr>
          <p:spPr>
            <a:xfrm>
              <a:off x="6480103" y="4266341"/>
              <a:ext cx="31372" cy="26890"/>
            </a:xfrm>
            <a:custGeom>
              <a:avLst/>
              <a:gdLst>
                <a:gd name="connsiteX0" fmla="*/ 29131 w 31371"/>
                <a:gd name="connsiteY0" fmla="*/ 13221 h 26890"/>
                <a:gd name="connsiteX1" fmla="*/ 7619 w 31371"/>
                <a:gd name="connsiteY1" fmla="*/ 13221 h 26890"/>
                <a:gd name="connsiteX2" fmla="*/ 17030 w 31371"/>
                <a:gd name="connsiteY2" fmla="*/ 3810 h 26890"/>
                <a:gd name="connsiteX3" fmla="*/ 17030 w 31371"/>
                <a:gd name="connsiteY3" fmla="*/ 672 h 26890"/>
                <a:gd name="connsiteX4" fmla="*/ 13893 w 31371"/>
                <a:gd name="connsiteY4" fmla="*/ 672 h 26890"/>
                <a:gd name="connsiteX5" fmla="*/ 448 w 31371"/>
                <a:gd name="connsiteY5" fmla="*/ 14117 h 26890"/>
                <a:gd name="connsiteX6" fmla="*/ 0 w 31371"/>
                <a:gd name="connsiteY6" fmla="*/ 15014 h 26890"/>
                <a:gd name="connsiteX7" fmla="*/ 0 w 31371"/>
                <a:gd name="connsiteY7" fmla="*/ 15014 h 26890"/>
                <a:gd name="connsiteX8" fmla="*/ 0 w 31371"/>
                <a:gd name="connsiteY8" fmla="*/ 15014 h 26890"/>
                <a:gd name="connsiteX9" fmla="*/ 0 w 31371"/>
                <a:gd name="connsiteY9" fmla="*/ 16358 h 26890"/>
                <a:gd name="connsiteX10" fmla="*/ 0 w 31371"/>
                <a:gd name="connsiteY10" fmla="*/ 16806 h 26890"/>
                <a:gd name="connsiteX11" fmla="*/ 448 w 31371"/>
                <a:gd name="connsiteY11" fmla="*/ 17703 h 26890"/>
                <a:gd name="connsiteX12" fmla="*/ 13893 w 31371"/>
                <a:gd name="connsiteY12" fmla="*/ 31148 h 26890"/>
                <a:gd name="connsiteX13" fmla="*/ 15686 w 31371"/>
                <a:gd name="connsiteY13" fmla="*/ 31148 h 26890"/>
                <a:gd name="connsiteX14" fmla="*/ 17479 w 31371"/>
                <a:gd name="connsiteY14" fmla="*/ 30700 h 26890"/>
                <a:gd name="connsiteX15" fmla="*/ 17479 w 31371"/>
                <a:gd name="connsiteY15" fmla="*/ 27563 h 26890"/>
                <a:gd name="connsiteX16" fmla="*/ 7619 w 31371"/>
                <a:gd name="connsiteY16" fmla="*/ 17703 h 26890"/>
                <a:gd name="connsiteX17" fmla="*/ 29131 w 31371"/>
                <a:gd name="connsiteY17" fmla="*/ 17703 h 26890"/>
                <a:gd name="connsiteX18" fmla="*/ 31372 w 31371"/>
                <a:gd name="connsiteY18" fmla="*/ 15462 h 26890"/>
                <a:gd name="connsiteX19" fmla="*/ 29131 w 31371"/>
                <a:gd name="connsiteY19" fmla="*/ 1322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26890">
                  <a:moveTo>
                    <a:pt x="29131" y="13221"/>
                  </a:moveTo>
                  <a:lnTo>
                    <a:pt x="7619" y="13221"/>
                  </a:lnTo>
                  <a:lnTo>
                    <a:pt x="17030" y="3810"/>
                  </a:lnTo>
                  <a:cubicBezTo>
                    <a:pt x="17927" y="2913"/>
                    <a:pt x="17927" y="1569"/>
                    <a:pt x="17030" y="672"/>
                  </a:cubicBezTo>
                  <a:cubicBezTo>
                    <a:pt x="16134" y="-224"/>
                    <a:pt x="14790" y="-224"/>
                    <a:pt x="13893" y="672"/>
                  </a:cubicBezTo>
                  <a:lnTo>
                    <a:pt x="448" y="14117"/>
                  </a:lnTo>
                  <a:cubicBezTo>
                    <a:pt x="448" y="14117"/>
                    <a:pt x="0" y="14565"/>
                    <a:pt x="0" y="15014"/>
                  </a:cubicBezTo>
                  <a:cubicBezTo>
                    <a:pt x="0" y="15014"/>
                    <a:pt x="0" y="15014"/>
                    <a:pt x="0" y="15014"/>
                  </a:cubicBezTo>
                  <a:cubicBezTo>
                    <a:pt x="0" y="15014"/>
                    <a:pt x="0" y="15014"/>
                    <a:pt x="0" y="15014"/>
                  </a:cubicBezTo>
                  <a:cubicBezTo>
                    <a:pt x="0" y="15462"/>
                    <a:pt x="0" y="15910"/>
                    <a:pt x="0" y="16358"/>
                  </a:cubicBezTo>
                  <a:cubicBezTo>
                    <a:pt x="0" y="16358"/>
                    <a:pt x="0" y="16358"/>
                    <a:pt x="0" y="16806"/>
                  </a:cubicBezTo>
                  <a:cubicBezTo>
                    <a:pt x="0" y="17255"/>
                    <a:pt x="448" y="17703"/>
                    <a:pt x="448" y="17703"/>
                  </a:cubicBezTo>
                  <a:lnTo>
                    <a:pt x="13893" y="31148"/>
                  </a:lnTo>
                  <a:cubicBezTo>
                    <a:pt x="14341" y="31148"/>
                    <a:pt x="15238" y="31148"/>
                    <a:pt x="15686" y="31148"/>
                  </a:cubicBezTo>
                  <a:cubicBezTo>
                    <a:pt x="16134" y="31148"/>
                    <a:pt x="17030" y="31148"/>
                    <a:pt x="17479" y="30700"/>
                  </a:cubicBezTo>
                  <a:cubicBezTo>
                    <a:pt x="18375" y="29803"/>
                    <a:pt x="18375" y="28459"/>
                    <a:pt x="17479" y="27563"/>
                  </a:cubicBezTo>
                  <a:lnTo>
                    <a:pt x="7619" y="17703"/>
                  </a:lnTo>
                  <a:lnTo>
                    <a:pt x="29131" y="17703"/>
                  </a:lnTo>
                  <a:cubicBezTo>
                    <a:pt x="30476" y="17703"/>
                    <a:pt x="31372" y="16806"/>
                    <a:pt x="31372" y="15462"/>
                  </a:cubicBezTo>
                  <a:cubicBezTo>
                    <a:pt x="31372" y="14117"/>
                    <a:pt x="30476" y="13221"/>
                    <a:pt x="29131" y="13221"/>
                  </a:cubicBezTo>
                  <a:close/>
                </a:path>
              </a:pathLst>
            </a:custGeom>
            <a:solidFill>
              <a:srgbClr val="231F20"/>
            </a:solidFill>
            <a:ln w="4477" cap="flat">
              <a:noFill/>
              <a:prstDash val="solid"/>
              <a:miter/>
            </a:ln>
          </p:spPr>
          <p:txBody>
            <a:bodyPr rtlCol="0" anchor="ctr"/>
            <a:lstStyle/>
            <a:p>
              <a:endParaRPr lang="en-US"/>
            </a:p>
          </p:txBody>
        </p:sp>
        <p:sp>
          <p:nvSpPr>
            <p:cNvPr id="2634" name="Freeform: Shape 2633">
              <a:extLst>
                <a:ext uri="{FF2B5EF4-FFF2-40B4-BE49-F238E27FC236}">
                  <a16:creationId xmlns:a16="http://schemas.microsoft.com/office/drawing/2014/main" id="{A34104ED-801E-4E31-9F26-E62395608D40}"/>
                </a:ext>
              </a:extLst>
            </p:cNvPr>
            <p:cNvSpPr/>
            <p:nvPr/>
          </p:nvSpPr>
          <p:spPr>
            <a:xfrm>
              <a:off x="6601109" y="4265445"/>
              <a:ext cx="31372" cy="26890"/>
            </a:xfrm>
            <a:custGeom>
              <a:avLst/>
              <a:gdLst>
                <a:gd name="connsiteX0" fmla="*/ 31372 w 31371"/>
                <a:gd name="connsiteY0" fmla="*/ 15014 h 26890"/>
                <a:gd name="connsiteX1" fmla="*/ 31372 w 31371"/>
                <a:gd name="connsiteY1" fmla="*/ 15014 h 26890"/>
                <a:gd name="connsiteX2" fmla="*/ 30924 w 31371"/>
                <a:gd name="connsiteY2" fmla="*/ 14117 h 26890"/>
                <a:gd name="connsiteX3" fmla="*/ 17479 w 31371"/>
                <a:gd name="connsiteY3" fmla="*/ 672 h 26890"/>
                <a:gd name="connsiteX4" fmla="*/ 14341 w 31371"/>
                <a:gd name="connsiteY4" fmla="*/ 672 h 26890"/>
                <a:gd name="connsiteX5" fmla="*/ 14341 w 31371"/>
                <a:gd name="connsiteY5" fmla="*/ 3810 h 26890"/>
                <a:gd name="connsiteX6" fmla="*/ 23753 w 31371"/>
                <a:gd name="connsiteY6" fmla="*/ 13221 h 26890"/>
                <a:gd name="connsiteX7" fmla="*/ 2241 w 31371"/>
                <a:gd name="connsiteY7" fmla="*/ 13221 h 26890"/>
                <a:gd name="connsiteX8" fmla="*/ 0 w 31371"/>
                <a:gd name="connsiteY8" fmla="*/ 15462 h 26890"/>
                <a:gd name="connsiteX9" fmla="*/ 2241 w 31371"/>
                <a:gd name="connsiteY9" fmla="*/ 17703 h 26890"/>
                <a:gd name="connsiteX10" fmla="*/ 23753 w 31371"/>
                <a:gd name="connsiteY10" fmla="*/ 17703 h 26890"/>
                <a:gd name="connsiteX11" fmla="*/ 14341 w 31371"/>
                <a:gd name="connsiteY11" fmla="*/ 27114 h 26890"/>
                <a:gd name="connsiteX12" fmla="*/ 14341 w 31371"/>
                <a:gd name="connsiteY12" fmla="*/ 30251 h 26890"/>
                <a:gd name="connsiteX13" fmla="*/ 16134 w 31371"/>
                <a:gd name="connsiteY13" fmla="*/ 30700 h 26890"/>
                <a:gd name="connsiteX14" fmla="*/ 17927 w 31371"/>
                <a:gd name="connsiteY14" fmla="*/ 30251 h 26890"/>
                <a:gd name="connsiteX15" fmla="*/ 31372 w 31371"/>
                <a:gd name="connsiteY15" fmla="*/ 16806 h 26890"/>
                <a:gd name="connsiteX16" fmla="*/ 31820 w 31371"/>
                <a:gd name="connsiteY16" fmla="*/ 15910 h 26890"/>
                <a:gd name="connsiteX17" fmla="*/ 31820 w 31371"/>
                <a:gd name="connsiteY17" fmla="*/ 15462 h 26890"/>
                <a:gd name="connsiteX18" fmla="*/ 31372 w 31371"/>
                <a:gd name="connsiteY18" fmla="*/ 15014 h 26890"/>
                <a:gd name="connsiteX19" fmla="*/ 31372 w 31371"/>
                <a:gd name="connsiteY19" fmla="*/ 15014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26890">
                  <a:moveTo>
                    <a:pt x="31372" y="15014"/>
                  </a:moveTo>
                  <a:cubicBezTo>
                    <a:pt x="31372" y="15014"/>
                    <a:pt x="31372" y="15014"/>
                    <a:pt x="31372" y="15014"/>
                  </a:cubicBezTo>
                  <a:cubicBezTo>
                    <a:pt x="31372" y="14565"/>
                    <a:pt x="30924" y="14565"/>
                    <a:pt x="30924" y="14117"/>
                  </a:cubicBezTo>
                  <a:lnTo>
                    <a:pt x="17479" y="672"/>
                  </a:lnTo>
                  <a:cubicBezTo>
                    <a:pt x="16582" y="-224"/>
                    <a:pt x="15238" y="-224"/>
                    <a:pt x="14341" y="672"/>
                  </a:cubicBezTo>
                  <a:cubicBezTo>
                    <a:pt x="13445" y="1569"/>
                    <a:pt x="13445" y="2913"/>
                    <a:pt x="14341" y="3810"/>
                  </a:cubicBezTo>
                  <a:lnTo>
                    <a:pt x="23753" y="13221"/>
                  </a:lnTo>
                  <a:lnTo>
                    <a:pt x="2241" y="13221"/>
                  </a:lnTo>
                  <a:cubicBezTo>
                    <a:pt x="896" y="13221"/>
                    <a:pt x="0" y="14117"/>
                    <a:pt x="0" y="15462"/>
                  </a:cubicBezTo>
                  <a:cubicBezTo>
                    <a:pt x="0" y="16806"/>
                    <a:pt x="896" y="17703"/>
                    <a:pt x="2241" y="17703"/>
                  </a:cubicBezTo>
                  <a:lnTo>
                    <a:pt x="23753" y="17703"/>
                  </a:lnTo>
                  <a:lnTo>
                    <a:pt x="14341" y="27114"/>
                  </a:lnTo>
                  <a:cubicBezTo>
                    <a:pt x="13445" y="28011"/>
                    <a:pt x="13445" y="29355"/>
                    <a:pt x="14341" y="30251"/>
                  </a:cubicBezTo>
                  <a:cubicBezTo>
                    <a:pt x="14790" y="30700"/>
                    <a:pt x="15238" y="30700"/>
                    <a:pt x="16134" y="30700"/>
                  </a:cubicBezTo>
                  <a:cubicBezTo>
                    <a:pt x="17030" y="30700"/>
                    <a:pt x="17479" y="30700"/>
                    <a:pt x="17927" y="30251"/>
                  </a:cubicBezTo>
                  <a:lnTo>
                    <a:pt x="31372" y="16806"/>
                  </a:lnTo>
                  <a:cubicBezTo>
                    <a:pt x="31820" y="16358"/>
                    <a:pt x="31820" y="16358"/>
                    <a:pt x="31820" y="15910"/>
                  </a:cubicBezTo>
                  <a:cubicBezTo>
                    <a:pt x="31820" y="15910"/>
                    <a:pt x="31820" y="15910"/>
                    <a:pt x="31820" y="15462"/>
                  </a:cubicBezTo>
                  <a:cubicBezTo>
                    <a:pt x="31372" y="15462"/>
                    <a:pt x="31372" y="15014"/>
                    <a:pt x="31372" y="15014"/>
                  </a:cubicBezTo>
                  <a:cubicBezTo>
                    <a:pt x="31372" y="15014"/>
                    <a:pt x="31372" y="15014"/>
                    <a:pt x="31372" y="15014"/>
                  </a:cubicBezTo>
                  <a:close/>
                </a:path>
              </a:pathLst>
            </a:custGeom>
            <a:solidFill>
              <a:srgbClr val="231F20"/>
            </a:solidFill>
            <a:ln w="4477" cap="flat">
              <a:noFill/>
              <a:prstDash val="solid"/>
              <a:miter/>
            </a:ln>
          </p:spPr>
          <p:txBody>
            <a:bodyPr rtlCol="0" anchor="ctr"/>
            <a:lstStyle/>
            <a:p>
              <a:endParaRPr lang="en-US"/>
            </a:p>
          </p:txBody>
        </p:sp>
        <p:sp>
          <p:nvSpPr>
            <p:cNvPr id="2635" name="Freeform: Shape 2634">
              <a:extLst>
                <a:ext uri="{FF2B5EF4-FFF2-40B4-BE49-F238E27FC236}">
                  <a16:creationId xmlns:a16="http://schemas.microsoft.com/office/drawing/2014/main" id="{7278889F-E3B7-434E-A456-116DF47B0D66}"/>
                </a:ext>
              </a:extLst>
            </p:cNvPr>
            <p:cNvSpPr/>
            <p:nvPr/>
          </p:nvSpPr>
          <p:spPr>
            <a:xfrm>
              <a:off x="6601109" y="4205166"/>
              <a:ext cx="31372" cy="31372"/>
            </a:xfrm>
            <a:custGeom>
              <a:avLst/>
              <a:gdLst>
                <a:gd name="connsiteX0" fmla="*/ 30924 w 31371"/>
                <a:gd name="connsiteY0" fmla="*/ 896 h 31371"/>
                <a:gd name="connsiteX1" fmla="*/ 30924 w 31371"/>
                <a:gd name="connsiteY1" fmla="*/ 896 h 31371"/>
                <a:gd name="connsiteX2" fmla="*/ 30027 w 31371"/>
                <a:gd name="connsiteY2" fmla="*/ 0 h 31371"/>
                <a:gd name="connsiteX3" fmla="*/ 30027 w 31371"/>
                <a:gd name="connsiteY3" fmla="*/ 0 h 31371"/>
                <a:gd name="connsiteX4" fmla="*/ 30027 w 31371"/>
                <a:gd name="connsiteY4" fmla="*/ 0 h 31371"/>
                <a:gd name="connsiteX5" fmla="*/ 29131 w 31371"/>
                <a:gd name="connsiteY5" fmla="*/ 0 h 31371"/>
                <a:gd name="connsiteX6" fmla="*/ 2241 w 31371"/>
                <a:gd name="connsiteY6" fmla="*/ 0 h 31371"/>
                <a:gd name="connsiteX7" fmla="*/ 0 w 31371"/>
                <a:gd name="connsiteY7" fmla="*/ 2241 h 31371"/>
                <a:gd name="connsiteX8" fmla="*/ 2241 w 31371"/>
                <a:gd name="connsiteY8" fmla="*/ 4482 h 31371"/>
                <a:gd name="connsiteX9" fmla="*/ 23753 w 31371"/>
                <a:gd name="connsiteY9" fmla="*/ 4482 h 31371"/>
                <a:gd name="connsiteX10" fmla="*/ 896 w 31371"/>
                <a:gd name="connsiteY10" fmla="*/ 27338 h 31371"/>
                <a:gd name="connsiteX11" fmla="*/ 896 w 31371"/>
                <a:gd name="connsiteY11" fmla="*/ 30476 h 31371"/>
                <a:gd name="connsiteX12" fmla="*/ 2689 w 31371"/>
                <a:gd name="connsiteY12" fmla="*/ 30924 h 31371"/>
                <a:gd name="connsiteX13" fmla="*/ 4482 w 31371"/>
                <a:gd name="connsiteY13" fmla="*/ 30476 h 31371"/>
                <a:gd name="connsiteX14" fmla="*/ 27338 w 31371"/>
                <a:gd name="connsiteY14" fmla="*/ 7619 h 31371"/>
                <a:gd name="connsiteX15" fmla="*/ 27338 w 31371"/>
                <a:gd name="connsiteY15" fmla="*/ 29131 h 31371"/>
                <a:gd name="connsiteX16" fmla="*/ 29579 w 31371"/>
                <a:gd name="connsiteY16" fmla="*/ 31372 h 31371"/>
                <a:gd name="connsiteX17" fmla="*/ 31820 w 31371"/>
                <a:gd name="connsiteY17" fmla="*/ 29131 h 31371"/>
                <a:gd name="connsiteX18" fmla="*/ 31820 w 31371"/>
                <a:gd name="connsiteY18" fmla="*/ 2241 h 31371"/>
                <a:gd name="connsiteX19" fmla="*/ 30924 w 31371"/>
                <a:gd name="connsiteY19" fmla="*/ 89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71" h="31371">
                  <a:moveTo>
                    <a:pt x="30924" y="896"/>
                  </a:moveTo>
                  <a:cubicBezTo>
                    <a:pt x="30924" y="896"/>
                    <a:pt x="30924" y="896"/>
                    <a:pt x="30924" y="896"/>
                  </a:cubicBezTo>
                  <a:cubicBezTo>
                    <a:pt x="30476" y="448"/>
                    <a:pt x="30027" y="0"/>
                    <a:pt x="30027" y="0"/>
                  </a:cubicBezTo>
                  <a:cubicBezTo>
                    <a:pt x="30027" y="0"/>
                    <a:pt x="30027" y="0"/>
                    <a:pt x="30027" y="0"/>
                  </a:cubicBezTo>
                  <a:cubicBezTo>
                    <a:pt x="30027" y="0"/>
                    <a:pt x="30027" y="0"/>
                    <a:pt x="30027" y="0"/>
                  </a:cubicBezTo>
                  <a:cubicBezTo>
                    <a:pt x="29579" y="0"/>
                    <a:pt x="29579" y="0"/>
                    <a:pt x="29131" y="0"/>
                  </a:cubicBezTo>
                  <a:lnTo>
                    <a:pt x="2241" y="0"/>
                  </a:lnTo>
                  <a:cubicBezTo>
                    <a:pt x="896" y="0"/>
                    <a:pt x="0" y="896"/>
                    <a:pt x="0" y="2241"/>
                  </a:cubicBezTo>
                  <a:cubicBezTo>
                    <a:pt x="0" y="3585"/>
                    <a:pt x="896" y="4482"/>
                    <a:pt x="2241" y="4482"/>
                  </a:cubicBezTo>
                  <a:lnTo>
                    <a:pt x="23753" y="4482"/>
                  </a:lnTo>
                  <a:lnTo>
                    <a:pt x="896" y="27338"/>
                  </a:lnTo>
                  <a:cubicBezTo>
                    <a:pt x="0" y="28235"/>
                    <a:pt x="0" y="29579"/>
                    <a:pt x="896" y="30476"/>
                  </a:cubicBezTo>
                  <a:cubicBezTo>
                    <a:pt x="1345" y="30924"/>
                    <a:pt x="1793" y="30924"/>
                    <a:pt x="2689" y="30924"/>
                  </a:cubicBezTo>
                  <a:cubicBezTo>
                    <a:pt x="3585" y="30924"/>
                    <a:pt x="4034" y="30924"/>
                    <a:pt x="4482" y="30476"/>
                  </a:cubicBezTo>
                  <a:lnTo>
                    <a:pt x="27338" y="7619"/>
                  </a:lnTo>
                  <a:lnTo>
                    <a:pt x="27338" y="29131"/>
                  </a:lnTo>
                  <a:cubicBezTo>
                    <a:pt x="27338" y="30476"/>
                    <a:pt x="28235" y="31372"/>
                    <a:pt x="29579" y="31372"/>
                  </a:cubicBezTo>
                  <a:cubicBezTo>
                    <a:pt x="30924" y="31372"/>
                    <a:pt x="31820" y="30476"/>
                    <a:pt x="31820" y="29131"/>
                  </a:cubicBezTo>
                  <a:lnTo>
                    <a:pt x="31820" y="2241"/>
                  </a:lnTo>
                  <a:cubicBezTo>
                    <a:pt x="31372" y="1793"/>
                    <a:pt x="31372" y="1344"/>
                    <a:pt x="30924" y="896"/>
                  </a:cubicBezTo>
                  <a:close/>
                </a:path>
              </a:pathLst>
            </a:custGeom>
            <a:solidFill>
              <a:srgbClr val="231F20"/>
            </a:solidFill>
            <a:ln w="4477" cap="flat">
              <a:noFill/>
              <a:prstDash val="solid"/>
              <a:miter/>
            </a:ln>
          </p:spPr>
          <p:txBody>
            <a:bodyPr rtlCol="0" anchor="ctr"/>
            <a:lstStyle/>
            <a:p>
              <a:endParaRPr lang="en-US"/>
            </a:p>
          </p:txBody>
        </p:sp>
        <p:sp>
          <p:nvSpPr>
            <p:cNvPr id="2636" name="Freeform: Shape 2635">
              <a:extLst>
                <a:ext uri="{FF2B5EF4-FFF2-40B4-BE49-F238E27FC236}">
                  <a16:creationId xmlns:a16="http://schemas.microsoft.com/office/drawing/2014/main" id="{36C15B8B-3A8C-46E5-ABAD-80DF58B0DCDF}"/>
                </a:ext>
              </a:extLst>
            </p:cNvPr>
            <p:cNvSpPr/>
            <p:nvPr/>
          </p:nvSpPr>
          <p:spPr>
            <a:xfrm>
              <a:off x="6480552" y="4325724"/>
              <a:ext cx="26890" cy="26890"/>
            </a:xfrm>
            <a:custGeom>
              <a:avLst/>
              <a:gdLst>
                <a:gd name="connsiteX0" fmla="*/ 30476 w 26890"/>
                <a:gd name="connsiteY0" fmla="*/ 896 h 26890"/>
                <a:gd name="connsiteX1" fmla="*/ 27338 w 26890"/>
                <a:gd name="connsiteY1" fmla="*/ 896 h 26890"/>
                <a:gd name="connsiteX2" fmla="*/ 4482 w 26890"/>
                <a:gd name="connsiteY2" fmla="*/ 23753 h 26890"/>
                <a:gd name="connsiteX3" fmla="*/ 4482 w 26890"/>
                <a:gd name="connsiteY3" fmla="*/ 2241 h 26890"/>
                <a:gd name="connsiteX4" fmla="*/ 2241 w 26890"/>
                <a:gd name="connsiteY4" fmla="*/ 0 h 26890"/>
                <a:gd name="connsiteX5" fmla="*/ 0 w 26890"/>
                <a:gd name="connsiteY5" fmla="*/ 2241 h 26890"/>
                <a:gd name="connsiteX6" fmla="*/ 0 w 26890"/>
                <a:gd name="connsiteY6" fmla="*/ 29131 h 26890"/>
                <a:gd name="connsiteX7" fmla="*/ 448 w 26890"/>
                <a:gd name="connsiteY7" fmla="*/ 30027 h 26890"/>
                <a:gd name="connsiteX8" fmla="*/ 448 w 26890"/>
                <a:gd name="connsiteY8" fmla="*/ 30027 h 26890"/>
                <a:gd name="connsiteX9" fmla="*/ 1345 w 26890"/>
                <a:gd name="connsiteY9" fmla="*/ 30924 h 26890"/>
                <a:gd name="connsiteX10" fmla="*/ 1345 w 26890"/>
                <a:gd name="connsiteY10" fmla="*/ 30924 h 26890"/>
                <a:gd name="connsiteX11" fmla="*/ 2241 w 26890"/>
                <a:gd name="connsiteY11" fmla="*/ 30924 h 26890"/>
                <a:gd name="connsiteX12" fmla="*/ 2241 w 26890"/>
                <a:gd name="connsiteY12" fmla="*/ 30924 h 26890"/>
                <a:gd name="connsiteX13" fmla="*/ 2241 w 26890"/>
                <a:gd name="connsiteY13" fmla="*/ 30924 h 26890"/>
                <a:gd name="connsiteX14" fmla="*/ 29131 w 26890"/>
                <a:gd name="connsiteY14" fmla="*/ 30924 h 26890"/>
                <a:gd name="connsiteX15" fmla="*/ 31372 w 26890"/>
                <a:gd name="connsiteY15" fmla="*/ 28683 h 26890"/>
                <a:gd name="connsiteX16" fmla="*/ 29131 w 26890"/>
                <a:gd name="connsiteY16" fmla="*/ 26442 h 26890"/>
                <a:gd name="connsiteX17" fmla="*/ 7171 w 26890"/>
                <a:gd name="connsiteY17" fmla="*/ 26442 h 26890"/>
                <a:gd name="connsiteX18" fmla="*/ 30027 w 26890"/>
                <a:gd name="connsiteY18" fmla="*/ 3585 h 26890"/>
                <a:gd name="connsiteX19" fmla="*/ 30476 w 26890"/>
                <a:gd name="connsiteY19" fmla="*/ 89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890" h="26890">
                  <a:moveTo>
                    <a:pt x="30476" y="896"/>
                  </a:moveTo>
                  <a:cubicBezTo>
                    <a:pt x="29579" y="0"/>
                    <a:pt x="28235" y="0"/>
                    <a:pt x="27338" y="896"/>
                  </a:cubicBezTo>
                  <a:lnTo>
                    <a:pt x="4482" y="23753"/>
                  </a:lnTo>
                  <a:lnTo>
                    <a:pt x="4482" y="2241"/>
                  </a:lnTo>
                  <a:cubicBezTo>
                    <a:pt x="4482" y="896"/>
                    <a:pt x="3585" y="0"/>
                    <a:pt x="2241" y="0"/>
                  </a:cubicBezTo>
                  <a:cubicBezTo>
                    <a:pt x="896" y="0"/>
                    <a:pt x="0" y="896"/>
                    <a:pt x="0" y="2241"/>
                  </a:cubicBezTo>
                  <a:lnTo>
                    <a:pt x="0" y="29131"/>
                  </a:lnTo>
                  <a:cubicBezTo>
                    <a:pt x="0" y="29579"/>
                    <a:pt x="0" y="30027"/>
                    <a:pt x="448" y="30027"/>
                  </a:cubicBezTo>
                  <a:cubicBezTo>
                    <a:pt x="448" y="30027"/>
                    <a:pt x="448" y="30027"/>
                    <a:pt x="448" y="30027"/>
                  </a:cubicBezTo>
                  <a:cubicBezTo>
                    <a:pt x="896" y="30476"/>
                    <a:pt x="896" y="30476"/>
                    <a:pt x="1345" y="30924"/>
                  </a:cubicBezTo>
                  <a:cubicBezTo>
                    <a:pt x="1345" y="30924"/>
                    <a:pt x="1345" y="30924"/>
                    <a:pt x="1345" y="30924"/>
                  </a:cubicBezTo>
                  <a:cubicBezTo>
                    <a:pt x="1793" y="30924"/>
                    <a:pt x="1793" y="30924"/>
                    <a:pt x="2241" y="30924"/>
                  </a:cubicBezTo>
                  <a:lnTo>
                    <a:pt x="2241" y="30924"/>
                  </a:lnTo>
                  <a:lnTo>
                    <a:pt x="2241" y="30924"/>
                  </a:lnTo>
                  <a:lnTo>
                    <a:pt x="29131" y="30924"/>
                  </a:lnTo>
                  <a:cubicBezTo>
                    <a:pt x="30476" y="30924"/>
                    <a:pt x="31372" y="30027"/>
                    <a:pt x="31372" y="28683"/>
                  </a:cubicBezTo>
                  <a:cubicBezTo>
                    <a:pt x="31372" y="27339"/>
                    <a:pt x="30476" y="26442"/>
                    <a:pt x="29131" y="26442"/>
                  </a:cubicBezTo>
                  <a:lnTo>
                    <a:pt x="7171" y="26442"/>
                  </a:lnTo>
                  <a:lnTo>
                    <a:pt x="30027" y="3585"/>
                  </a:lnTo>
                  <a:cubicBezTo>
                    <a:pt x="30924" y="3137"/>
                    <a:pt x="30924" y="1793"/>
                    <a:pt x="30476" y="896"/>
                  </a:cubicBezTo>
                  <a:close/>
                </a:path>
              </a:pathLst>
            </a:custGeom>
            <a:solidFill>
              <a:srgbClr val="231F20"/>
            </a:solidFill>
            <a:ln w="4477" cap="flat">
              <a:noFill/>
              <a:prstDash val="solid"/>
              <a:miter/>
            </a:ln>
          </p:spPr>
          <p:txBody>
            <a:bodyPr rtlCol="0" anchor="ctr"/>
            <a:lstStyle/>
            <a:p>
              <a:endParaRPr lang="en-US"/>
            </a:p>
          </p:txBody>
        </p:sp>
        <p:sp>
          <p:nvSpPr>
            <p:cNvPr id="2637" name="Freeform: Shape 2636">
              <a:extLst>
                <a:ext uri="{FF2B5EF4-FFF2-40B4-BE49-F238E27FC236}">
                  <a16:creationId xmlns:a16="http://schemas.microsoft.com/office/drawing/2014/main" id="{72FCF5CD-7278-492C-9EB9-862CF0BA601E}"/>
                </a:ext>
              </a:extLst>
            </p:cNvPr>
            <p:cNvSpPr/>
            <p:nvPr/>
          </p:nvSpPr>
          <p:spPr>
            <a:xfrm>
              <a:off x="6601109" y="4325724"/>
              <a:ext cx="26890" cy="31372"/>
            </a:xfrm>
            <a:custGeom>
              <a:avLst/>
              <a:gdLst>
                <a:gd name="connsiteX0" fmla="*/ 29131 w 26890"/>
                <a:gd name="connsiteY0" fmla="*/ 0 h 31371"/>
                <a:gd name="connsiteX1" fmla="*/ 26890 w 26890"/>
                <a:gd name="connsiteY1" fmla="*/ 2241 h 31371"/>
                <a:gd name="connsiteX2" fmla="*/ 26890 w 26890"/>
                <a:gd name="connsiteY2" fmla="*/ 23753 h 31371"/>
                <a:gd name="connsiteX3" fmla="*/ 4034 w 26890"/>
                <a:gd name="connsiteY3" fmla="*/ 896 h 31371"/>
                <a:gd name="connsiteX4" fmla="*/ 896 w 26890"/>
                <a:gd name="connsiteY4" fmla="*/ 896 h 31371"/>
                <a:gd name="connsiteX5" fmla="*/ 896 w 26890"/>
                <a:gd name="connsiteY5" fmla="*/ 4034 h 31371"/>
                <a:gd name="connsiteX6" fmla="*/ 23753 w 26890"/>
                <a:gd name="connsiteY6" fmla="*/ 26890 h 31371"/>
                <a:gd name="connsiteX7" fmla="*/ 2241 w 26890"/>
                <a:gd name="connsiteY7" fmla="*/ 26890 h 31371"/>
                <a:gd name="connsiteX8" fmla="*/ 0 w 26890"/>
                <a:gd name="connsiteY8" fmla="*/ 29131 h 31371"/>
                <a:gd name="connsiteX9" fmla="*/ 2241 w 26890"/>
                <a:gd name="connsiteY9" fmla="*/ 31372 h 31371"/>
                <a:gd name="connsiteX10" fmla="*/ 29131 w 26890"/>
                <a:gd name="connsiteY10" fmla="*/ 31372 h 31371"/>
                <a:gd name="connsiteX11" fmla="*/ 29131 w 26890"/>
                <a:gd name="connsiteY11" fmla="*/ 31372 h 31371"/>
                <a:gd name="connsiteX12" fmla="*/ 29131 w 26890"/>
                <a:gd name="connsiteY12" fmla="*/ 31372 h 31371"/>
                <a:gd name="connsiteX13" fmla="*/ 30027 w 26890"/>
                <a:gd name="connsiteY13" fmla="*/ 31372 h 31371"/>
                <a:gd name="connsiteX14" fmla="*/ 30027 w 26890"/>
                <a:gd name="connsiteY14" fmla="*/ 31372 h 31371"/>
                <a:gd name="connsiteX15" fmla="*/ 30924 w 26890"/>
                <a:gd name="connsiteY15" fmla="*/ 30476 h 31371"/>
                <a:gd name="connsiteX16" fmla="*/ 30924 w 26890"/>
                <a:gd name="connsiteY16" fmla="*/ 30476 h 31371"/>
                <a:gd name="connsiteX17" fmla="*/ 31372 w 26890"/>
                <a:gd name="connsiteY17" fmla="*/ 29579 h 31371"/>
                <a:gd name="connsiteX18" fmla="*/ 31372 w 26890"/>
                <a:gd name="connsiteY18" fmla="*/ 2689 h 31371"/>
                <a:gd name="connsiteX19" fmla="*/ 29131 w 26890"/>
                <a:gd name="connsiteY19" fmla="*/ 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890" h="31371">
                  <a:moveTo>
                    <a:pt x="29131" y="0"/>
                  </a:moveTo>
                  <a:cubicBezTo>
                    <a:pt x="27787" y="0"/>
                    <a:pt x="26890" y="896"/>
                    <a:pt x="26890" y="2241"/>
                  </a:cubicBezTo>
                  <a:lnTo>
                    <a:pt x="26890" y="23753"/>
                  </a:lnTo>
                  <a:lnTo>
                    <a:pt x="4034" y="896"/>
                  </a:lnTo>
                  <a:cubicBezTo>
                    <a:pt x="3137" y="0"/>
                    <a:pt x="1793" y="0"/>
                    <a:pt x="896" y="896"/>
                  </a:cubicBezTo>
                  <a:cubicBezTo>
                    <a:pt x="0" y="1793"/>
                    <a:pt x="0" y="3137"/>
                    <a:pt x="896" y="4034"/>
                  </a:cubicBezTo>
                  <a:lnTo>
                    <a:pt x="23753" y="26890"/>
                  </a:lnTo>
                  <a:lnTo>
                    <a:pt x="2241" y="26890"/>
                  </a:lnTo>
                  <a:cubicBezTo>
                    <a:pt x="896" y="26890"/>
                    <a:pt x="0" y="27787"/>
                    <a:pt x="0" y="29131"/>
                  </a:cubicBezTo>
                  <a:cubicBezTo>
                    <a:pt x="0" y="30476"/>
                    <a:pt x="896" y="31372"/>
                    <a:pt x="2241" y="31372"/>
                  </a:cubicBezTo>
                  <a:lnTo>
                    <a:pt x="29131" y="31372"/>
                  </a:lnTo>
                  <a:lnTo>
                    <a:pt x="29131" y="31372"/>
                  </a:lnTo>
                  <a:lnTo>
                    <a:pt x="29131" y="31372"/>
                  </a:lnTo>
                  <a:cubicBezTo>
                    <a:pt x="29579" y="31372"/>
                    <a:pt x="29579" y="31372"/>
                    <a:pt x="30027" y="31372"/>
                  </a:cubicBezTo>
                  <a:cubicBezTo>
                    <a:pt x="30027" y="31372"/>
                    <a:pt x="30027" y="31372"/>
                    <a:pt x="30027" y="31372"/>
                  </a:cubicBezTo>
                  <a:cubicBezTo>
                    <a:pt x="30476" y="31372"/>
                    <a:pt x="30476" y="30924"/>
                    <a:pt x="30924" y="30476"/>
                  </a:cubicBezTo>
                  <a:cubicBezTo>
                    <a:pt x="30924" y="30476"/>
                    <a:pt x="30924" y="30476"/>
                    <a:pt x="30924" y="30476"/>
                  </a:cubicBezTo>
                  <a:cubicBezTo>
                    <a:pt x="30924" y="30027"/>
                    <a:pt x="31372" y="29579"/>
                    <a:pt x="31372" y="29579"/>
                  </a:cubicBezTo>
                  <a:lnTo>
                    <a:pt x="31372" y="2689"/>
                  </a:lnTo>
                  <a:cubicBezTo>
                    <a:pt x="31372" y="1344"/>
                    <a:pt x="30476" y="0"/>
                    <a:pt x="29131" y="0"/>
                  </a:cubicBezTo>
                  <a:close/>
                </a:path>
              </a:pathLst>
            </a:custGeom>
            <a:solidFill>
              <a:srgbClr val="231F20"/>
            </a:solidFill>
            <a:ln w="4477" cap="flat">
              <a:noFill/>
              <a:prstDash val="solid"/>
              <a:miter/>
            </a:ln>
          </p:spPr>
          <p:txBody>
            <a:bodyPr rtlCol="0" anchor="ctr"/>
            <a:lstStyle/>
            <a:p>
              <a:endParaRPr lang="en-US"/>
            </a:p>
          </p:txBody>
        </p:sp>
      </p:grpSp>
      <p:grpSp>
        <p:nvGrpSpPr>
          <p:cNvPr id="2435" name="Group 2434">
            <a:extLst>
              <a:ext uri="{FF2B5EF4-FFF2-40B4-BE49-F238E27FC236}">
                <a16:creationId xmlns:a16="http://schemas.microsoft.com/office/drawing/2014/main" id="{F72127C8-B068-4B85-99F5-764EAAA6621E}"/>
              </a:ext>
              <a:ext uri="{C183D7F6-B498-43B3-948B-1728B52AA6E4}">
                <adec:decorative xmlns:adec="http://schemas.microsoft.com/office/drawing/2017/decorative" val="1"/>
              </a:ext>
            </a:extLst>
          </p:cNvPr>
          <p:cNvGrpSpPr>
            <a:grpSpLocks noChangeAspect="1"/>
          </p:cNvGrpSpPr>
          <p:nvPr/>
        </p:nvGrpSpPr>
        <p:grpSpPr>
          <a:xfrm>
            <a:off x="852348" y="5226199"/>
            <a:ext cx="165337" cy="134619"/>
            <a:chOff x="6727083" y="4209031"/>
            <a:chExt cx="165337" cy="134619"/>
          </a:xfrm>
        </p:grpSpPr>
        <p:sp>
          <p:nvSpPr>
            <p:cNvPr id="2627" name="Freeform: Shape 2626">
              <a:extLst>
                <a:ext uri="{FF2B5EF4-FFF2-40B4-BE49-F238E27FC236}">
                  <a16:creationId xmlns:a16="http://schemas.microsoft.com/office/drawing/2014/main" id="{96703B0A-BE4C-4EA4-B1AE-6B3EB68EBF6C}"/>
                </a:ext>
              </a:extLst>
            </p:cNvPr>
            <p:cNvSpPr/>
            <p:nvPr/>
          </p:nvSpPr>
          <p:spPr>
            <a:xfrm>
              <a:off x="6748389" y="4209031"/>
              <a:ext cx="26890" cy="26890"/>
            </a:xfrm>
            <a:custGeom>
              <a:avLst/>
              <a:gdLst>
                <a:gd name="connsiteX0" fmla="*/ 7339 w 26890"/>
                <a:gd name="connsiteY0" fmla="*/ 26610 h 26890"/>
                <a:gd name="connsiteX1" fmla="*/ 14061 w 26890"/>
                <a:gd name="connsiteY1" fmla="*/ 27955 h 26890"/>
                <a:gd name="connsiteX2" fmla="*/ 23921 w 26890"/>
                <a:gd name="connsiteY2" fmla="*/ 23921 h 26890"/>
                <a:gd name="connsiteX3" fmla="*/ 26610 w 26890"/>
                <a:gd name="connsiteY3" fmla="*/ 7339 h 26890"/>
                <a:gd name="connsiteX4" fmla="*/ 20784 w 26890"/>
                <a:gd name="connsiteY4" fmla="*/ 1512 h 26890"/>
                <a:gd name="connsiteX5" fmla="*/ 4202 w 26890"/>
                <a:gd name="connsiteY5" fmla="*/ 4202 h 26890"/>
                <a:gd name="connsiteX6" fmla="*/ 1513 w 26890"/>
                <a:gd name="connsiteY6" fmla="*/ 20784 h 26890"/>
                <a:gd name="connsiteX7" fmla="*/ 7339 w 26890"/>
                <a:gd name="connsiteY7" fmla="*/ 26610 h 26890"/>
                <a:gd name="connsiteX8" fmla="*/ 6891 w 26890"/>
                <a:gd name="connsiteY8" fmla="*/ 6891 h 26890"/>
                <a:gd name="connsiteX9" fmla="*/ 13613 w 26890"/>
                <a:gd name="connsiteY9" fmla="*/ 4202 h 26890"/>
                <a:gd name="connsiteX10" fmla="*/ 18543 w 26890"/>
                <a:gd name="connsiteY10" fmla="*/ 5546 h 26890"/>
                <a:gd name="connsiteX11" fmla="*/ 22577 w 26890"/>
                <a:gd name="connsiteY11" fmla="*/ 9580 h 26890"/>
                <a:gd name="connsiteX12" fmla="*/ 20784 w 26890"/>
                <a:gd name="connsiteY12" fmla="*/ 21232 h 26890"/>
                <a:gd name="connsiteX13" fmla="*/ 9131 w 26890"/>
                <a:gd name="connsiteY13" fmla="*/ 23025 h 26890"/>
                <a:gd name="connsiteX14" fmla="*/ 5098 w 26890"/>
                <a:gd name="connsiteY14" fmla="*/ 18991 h 26890"/>
                <a:gd name="connsiteX15" fmla="*/ 6891 w 26890"/>
                <a:gd name="connsiteY15" fmla="*/ 689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7339" y="26610"/>
                  </a:moveTo>
                  <a:cubicBezTo>
                    <a:pt x="9580" y="27507"/>
                    <a:pt x="11820" y="27955"/>
                    <a:pt x="14061" y="27955"/>
                  </a:cubicBezTo>
                  <a:cubicBezTo>
                    <a:pt x="17647" y="27955"/>
                    <a:pt x="21232" y="26610"/>
                    <a:pt x="23921" y="23921"/>
                  </a:cubicBezTo>
                  <a:cubicBezTo>
                    <a:pt x="28403" y="19439"/>
                    <a:pt x="29299" y="13165"/>
                    <a:pt x="26610" y="7339"/>
                  </a:cubicBezTo>
                  <a:cubicBezTo>
                    <a:pt x="25266" y="4650"/>
                    <a:pt x="23025" y="2409"/>
                    <a:pt x="20784" y="1512"/>
                  </a:cubicBezTo>
                  <a:cubicBezTo>
                    <a:pt x="14958" y="-1176"/>
                    <a:pt x="8235" y="-280"/>
                    <a:pt x="4202" y="4202"/>
                  </a:cubicBezTo>
                  <a:cubicBezTo>
                    <a:pt x="-280" y="8683"/>
                    <a:pt x="-1176" y="14958"/>
                    <a:pt x="1513" y="20784"/>
                  </a:cubicBezTo>
                  <a:cubicBezTo>
                    <a:pt x="2409" y="23025"/>
                    <a:pt x="4650" y="25266"/>
                    <a:pt x="7339" y="26610"/>
                  </a:cubicBezTo>
                  <a:close/>
                  <a:moveTo>
                    <a:pt x="6891" y="6891"/>
                  </a:moveTo>
                  <a:cubicBezTo>
                    <a:pt x="8683" y="5098"/>
                    <a:pt x="10924" y="4202"/>
                    <a:pt x="13613" y="4202"/>
                  </a:cubicBezTo>
                  <a:cubicBezTo>
                    <a:pt x="14958" y="4202"/>
                    <a:pt x="16750" y="4650"/>
                    <a:pt x="18543" y="5546"/>
                  </a:cubicBezTo>
                  <a:cubicBezTo>
                    <a:pt x="20336" y="6443"/>
                    <a:pt x="21680" y="7787"/>
                    <a:pt x="22577" y="9580"/>
                  </a:cubicBezTo>
                  <a:cubicBezTo>
                    <a:pt x="24817" y="14510"/>
                    <a:pt x="23025" y="18991"/>
                    <a:pt x="20784" y="21232"/>
                  </a:cubicBezTo>
                  <a:cubicBezTo>
                    <a:pt x="18543" y="23473"/>
                    <a:pt x="14061" y="25266"/>
                    <a:pt x="9131" y="23025"/>
                  </a:cubicBezTo>
                  <a:cubicBezTo>
                    <a:pt x="7339" y="22128"/>
                    <a:pt x="5994" y="20784"/>
                    <a:pt x="5098" y="18991"/>
                  </a:cubicBezTo>
                  <a:cubicBezTo>
                    <a:pt x="2857" y="13613"/>
                    <a:pt x="4650" y="9131"/>
                    <a:pt x="6891" y="6891"/>
                  </a:cubicBezTo>
                  <a:close/>
                </a:path>
              </a:pathLst>
            </a:custGeom>
            <a:solidFill>
              <a:srgbClr val="231F20"/>
            </a:solidFill>
            <a:ln w="4477" cap="flat">
              <a:noFill/>
              <a:prstDash val="solid"/>
              <a:miter/>
            </a:ln>
          </p:spPr>
          <p:txBody>
            <a:bodyPr rtlCol="0" anchor="ctr"/>
            <a:lstStyle/>
            <a:p>
              <a:endParaRPr lang="en-US"/>
            </a:p>
          </p:txBody>
        </p:sp>
        <p:sp>
          <p:nvSpPr>
            <p:cNvPr id="2628" name="Freeform: Shape 2627">
              <a:extLst>
                <a:ext uri="{FF2B5EF4-FFF2-40B4-BE49-F238E27FC236}">
                  <a16:creationId xmlns:a16="http://schemas.microsoft.com/office/drawing/2014/main" id="{AE51C979-DC96-4C95-8322-4082F4C87027}"/>
                </a:ext>
              </a:extLst>
            </p:cNvPr>
            <p:cNvSpPr/>
            <p:nvPr/>
          </p:nvSpPr>
          <p:spPr>
            <a:xfrm>
              <a:off x="6753487" y="4258498"/>
              <a:ext cx="138933" cy="85152"/>
            </a:xfrm>
            <a:custGeom>
              <a:avLst/>
              <a:gdLst>
                <a:gd name="connsiteX0" fmla="*/ 136692 w 138932"/>
                <a:gd name="connsiteY0" fmla="*/ 0 h 85152"/>
                <a:gd name="connsiteX1" fmla="*/ 112043 w 138932"/>
                <a:gd name="connsiteY1" fmla="*/ 0 h 85152"/>
                <a:gd name="connsiteX2" fmla="*/ 107561 w 138932"/>
                <a:gd name="connsiteY2" fmla="*/ 4482 h 85152"/>
                <a:gd name="connsiteX3" fmla="*/ 107561 w 138932"/>
                <a:gd name="connsiteY3" fmla="*/ 20168 h 85152"/>
                <a:gd name="connsiteX4" fmla="*/ 85152 w 138932"/>
                <a:gd name="connsiteY4" fmla="*/ 20168 h 85152"/>
                <a:gd name="connsiteX5" fmla="*/ 80671 w 138932"/>
                <a:gd name="connsiteY5" fmla="*/ 24649 h 85152"/>
                <a:gd name="connsiteX6" fmla="*/ 80671 w 138932"/>
                <a:gd name="connsiteY6" fmla="*/ 40335 h 85152"/>
                <a:gd name="connsiteX7" fmla="*/ 58262 w 138932"/>
                <a:gd name="connsiteY7" fmla="*/ 40335 h 85152"/>
                <a:gd name="connsiteX8" fmla="*/ 53780 w 138932"/>
                <a:gd name="connsiteY8" fmla="*/ 44817 h 85152"/>
                <a:gd name="connsiteX9" fmla="*/ 53780 w 138932"/>
                <a:gd name="connsiteY9" fmla="*/ 60503 h 85152"/>
                <a:gd name="connsiteX10" fmla="*/ 31372 w 138932"/>
                <a:gd name="connsiteY10" fmla="*/ 60503 h 85152"/>
                <a:gd name="connsiteX11" fmla="*/ 26890 w 138932"/>
                <a:gd name="connsiteY11" fmla="*/ 64985 h 85152"/>
                <a:gd name="connsiteX12" fmla="*/ 26890 w 138932"/>
                <a:gd name="connsiteY12" fmla="*/ 80671 h 85152"/>
                <a:gd name="connsiteX13" fmla="*/ 2241 w 138932"/>
                <a:gd name="connsiteY13" fmla="*/ 80671 h 85152"/>
                <a:gd name="connsiteX14" fmla="*/ 0 w 138932"/>
                <a:gd name="connsiteY14" fmla="*/ 82912 h 85152"/>
                <a:gd name="connsiteX15" fmla="*/ 2241 w 138932"/>
                <a:gd name="connsiteY15" fmla="*/ 85152 h 85152"/>
                <a:gd name="connsiteX16" fmla="*/ 26890 w 138932"/>
                <a:gd name="connsiteY16" fmla="*/ 85152 h 85152"/>
                <a:gd name="connsiteX17" fmla="*/ 31372 w 138932"/>
                <a:gd name="connsiteY17" fmla="*/ 80671 h 85152"/>
                <a:gd name="connsiteX18" fmla="*/ 31372 w 138932"/>
                <a:gd name="connsiteY18" fmla="*/ 64985 h 85152"/>
                <a:gd name="connsiteX19" fmla="*/ 53780 w 138932"/>
                <a:gd name="connsiteY19" fmla="*/ 64985 h 85152"/>
                <a:gd name="connsiteX20" fmla="*/ 58262 w 138932"/>
                <a:gd name="connsiteY20" fmla="*/ 60503 h 85152"/>
                <a:gd name="connsiteX21" fmla="*/ 58262 w 138932"/>
                <a:gd name="connsiteY21" fmla="*/ 44817 h 85152"/>
                <a:gd name="connsiteX22" fmla="*/ 80671 w 138932"/>
                <a:gd name="connsiteY22" fmla="*/ 44817 h 85152"/>
                <a:gd name="connsiteX23" fmla="*/ 85152 w 138932"/>
                <a:gd name="connsiteY23" fmla="*/ 40335 h 85152"/>
                <a:gd name="connsiteX24" fmla="*/ 85152 w 138932"/>
                <a:gd name="connsiteY24" fmla="*/ 24649 h 85152"/>
                <a:gd name="connsiteX25" fmla="*/ 109802 w 138932"/>
                <a:gd name="connsiteY25" fmla="*/ 24649 h 85152"/>
                <a:gd name="connsiteX26" fmla="*/ 112043 w 138932"/>
                <a:gd name="connsiteY26" fmla="*/ 22409 h 85152"/>
                <a:gd name="connsiteX27" fmla="*/ 112043 w 138932"/>
                <a:gd name="connsiteY27" fmla="*/ 4482 h 85152"/>
                <a:gd name="connsiteX28" fmla="*/ 136692 w 138932"/>
                <a:gd name="connsiteY28" fmla="*/ 4482 h 85152"/>
                <a:gd name="connsiteX29" fmla="*/ 138933 w 138932"/>
                <a:gd name="connsiteY29" fmla="*/ 2241 h 85152"/>
                <a:gd name="connsiteX30" fmla="*/ 136692 w 138932"/>
                <a:gd name="connsiteY30" fmla="*/ 0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8932" h="85152">
                  <a:moveTo>
                    <a:pt x="136692" y="0"/>
                  </a:moveTo>
                  <a:lnTo>
                    <a:pt x="112043" y="0"/>
                  </a:lnTo>
                  <a:cubicBezTo>
                    <a:pt x="109354" y="0"/>
                    <a:pt x="107561" y="1793"/>
                    <a:pt x="107561" y="4482"/>
                  </a:cubicBezTo>
                  <a:lnTo>
                    <a:pt x="107561" y="20168"/>
                  </a:lnTo>
                  <a:lnTo>
                    <a:pt x="85152" y="20168"/>
                  </a:lnTo>
                  <a:cubicBezTo>
                    <a:pt x="82463" y="20168"/>
                    <a:pt x="80671" y="21960"/>
                    <a:pt x="80671" y="24649"/>
                  </a:cubicBezTo>
                  <a:lnTo>
                    <a:pt x="80671" y="40335"/>
                  </a:lnTo>
                  <a:lnTo>
                    <a:pt x="58262" y="40335"/>
                  </a:lnTo>
                  <a:cubicBezTo>
                    <a:pt x="55573" y="40335"/>
                    <a:pt x="53780" y="42128"/>
                    <a:pt x="53780" y="44817"/>
                  </a:cubicBezTo>
                  <a:lnTo>
                    <a:pt x="53780" y="60503"/>
                  </a:lnTo>
                  <a:lnTo>
                    <a:pt x="31372" y="60503"/>
                  </a:lnTo>
                  <a:cubicBezTo>
                    <a:pt x="28683" y="60503"/>
                    <a:pt x="26890" y="62296"/>
                    <a:pt x="26890" y="64985"/>
                  </a:cubicBezTo>
                  <a:lnTo>
                    <a:pt x="26890" y="80671"/>
                  </a:lnTo>
                  <a:lnTo>
                    <a:pt x="2241" y="80671"/>
                  </a:lnTo>
                  <a:cubicBezTo>
                    <a:pt x="896" y="80671"/>
                    <a:pt x="0" y="81567"/>
                    <a:pt x="0" y="82912"/>
                  </a:cubicBezTo>
                  <a:cubicBezTo>
                    <a:pt x="0" y="84256"/>
                    <a:pt x="896" y="85152"/>
                    <a:pt x="2241" y="85152"/>
                  </a:cubicBezTo>
                  <a:lnTo>
                    <a:pt x="26890" y="85152"/>
                  </a:lnTo>
                  <a:cubicBezTo>
                    <a:pt x="29579" y="85152"/>
                    <a:pt x="31372" y="83360"/>
                    <a:pt x="31372" y="80671"/>
                  </a:cubicBezTo>
                  <a:lnTo>
                    <a:pt x="31372" y="64985"/>
                  </a:lnTo>
                  <a:lnTo>
                    <a:pt x="53780" y="64985"/>
                  </a:lnTo>
                  <a:cubicBezTo>
                    <a:pt x="56469" y="64985"/>
                    <a:pt x="58262" y="63192"/>
                    <a:pt x="58262" y="60503"/>
                  </a:cubicBezTo>
                  <a:lnTo>
                    <a:pt x="58262" y="44817"/>
                  </a:lnTo>
                  <a:lnTo>
                    <a:pt x="80671" y="44817"/>
                  </a:lnTo>
                  <a:cubicBezTo>
                    <a:pt x="83360" y="44817"/>
                    <a:pt x="85152" y="43025"/>
                    <a:pt x="85152" y="40335"/>
                  </a:cubicBezTo>
                  <a:lnTo>
                    <a:pt x="85152" y="24649"/>
                  </a:lnTo>
                  <a:lnTo>
                    <a:pt x="109802" y="24649"/>
                  </a:lnTo>
                  <a:cubicBezTo>
                    <a:pt x="111146" y="24649"/>
                    <a:pt x="112043" y="23753"/>
                    <a:pt x="112043" y="22409"/>
                  </a:cubicBezTo>
                  <a:lnTo>
                    <a:pt x="112043" y="4482"/>
                  </a:lnTo>
                  <a:lnTo>
                    <a:pt x="136692" y="4482"/>
                  </a:lnTo>
                  <a:cubicBezTo>
                    <a:pt x="138036" y="4482"/>
                    <a:pt x="138933" y="3585"/>
                    <a:pt x="138933" y="2241"/>
                  </a:cubicBezTo>
                  <a:cubicBezTo>
                    <a:pt x="138933" y="896"/>
                    <a:pt x="138036" y="0"/>
                    <a:pt x="136692" y="0"/>
                  </a:cubicBezTo>
                  <a:close/>
                </a:path>
              </a:pathLst>
            </a:custGeom>
            <a:solidFill>
              <a:srgbClr val="231F20"/>
            </a:solidFill>
            <a:ln w="4477" cap="flat">
              <a:noFill/>
              <a:prstDash val="solid"/>
              <a:miter/>
            </a:ln>
          </p:spPr>
          <p:txBody>
            <a:bodyPr rtlCol="0" anchor="ctr"/>
            <a:lstStyle/>
            <a:p>
              <a:endParaRPr lang="en-US"/>
            </a:p>
          </p:txBody>
        </p:sp>
        <p:sp>
          <p:nvSpPr>
            <p:cNvPr id="2629" name="Freeform: Shape 2628">
              <a:extLst>
                <a:ext uri="{FF2B5EF4-FFF2-40B4-BE49-F238E27FC236}">
                  <a16:creationId xmlns:a16="http://schemas.microsoft.com/office/drawing/2014/main" id="{6BD03CD7-18DC-4C5E-8143-950D139BBB7F}"/>
                </a:ext>
              </a:extLst>
            </p:cNvPr>
            <p:cNvSpPr/>
            <p:nvPr/>
          </p:nvSpPr>
          <p:spPr>
            <a:xfrm>
              <a:off x="6727083" y="4239675"/>
              <a:ext cx="80671" cy="89634"/>
            </a:xfrm>
            <a:custGeom>
              <a:avLst/>
              <a:gdLst>
                <a:gd name="connsiteX0" fmla="*/ 35367 w 80670"/>
                <a:gd name="connsiteY0" fmla="*/ 90530 h 89634"/>
                <a:gd name="connsiteX1" fmla="*/ 44331 w 80670"/>
                <a:gd name="connsiteY1" fmla="*/ 81567 h 89634"/>
                <a:gd name="connsiteX2" fmla="*/ 44331 w 80670"/>
                <a:gd name="connsiteY2" fmla="*/ 45713 h 89634"/>
                <a:gd name="connsiteX3" fmla="*/ 47916 w 80670"/>
                <a:gd name="connsiteY3" fmla="*/ 45713 h 89634"/>
                <a:gd name="connsiteX4" fmla="*/ 53294 w 80670"/>
                <a:gd name="connsiteY4" fmla="*/ 51092 h 89634"/>
                <a:gd name="connsiteX5" fmla="*/ 53294 w 80670"/>
                <a:gd name="connsiteY5" fmla="*/ 63640 h 89634"/>
                <a:gd name="connsiteX6" fmla="*/ 62258 w 80670"/>
                <a:gd name="connsiteY6" fmla="*/ 72604 h 89634"/>
                <a:gd name="connsiteX7" fmla="*/ 71221 w 80670"/>
                <a:gd name="connsiteY7" fmla="*/ 63640 h 89634"/>
                <a:gd name="connsiteX8" fmla="*/ 71221 w 80670"/>
                <a:gd name="connsiteY8" fmla="*/ 43473 h 89634"/>
                <a:gd name="connsiteX9" fmla="*/ 56880 w 80670"/>
                <a:gd name="connsiteY9" fmla="*/ 29131 h 89634"/>
                <a:gd name="connsiteX10" fmla="*/ 49261 w 80670"/>
                <a:gd name="connsiteY10" fmla="*/ 29131 h 89634"/>
                <a:gd name="connsiteX11" fmla="*/ 49261 w 80670"/>
                <a:gd name="connsiteY11" fmla="*/ 29131 h 89634"/>
                <a:gd name="connsiteX12" fmla="*/ 44331 w 80670"/>
                <a:gd name="connsiteY12" fmla="*/ 29131 h 89634"/>
                <a:gd name="connsiteX13" fmla="*/ 44331 w 80670"/>
                <a:gd name="connsiteY13" fmla="*/ 19272 h 89634"/>
                <a:gd name="connsiteX14" fmla="*/ 54191 w 80670"/>
                <a:gd name="connsiteY14" fmla="*/ 22409 h 89634"/>
                <a:gd name="connsiteX15" fmla="*/ 56431 w 80670"/>
                <a:gd name="connsiteY15" fmla="*/ 22857 h 89634"/>
                <a:gd name="connsiteX16" fmla="*/ 77047 w 80670"/>
                <a:gd name="connsiteY16" fmla="*/ 22857 h 89634"/>
                <a:gd name="connsiteX17" fmla="*/ 85114 w 80670"/>
                <a:gd name="connsiteY17" fmla="*/ 14790 h 89634"/>
                <a:gd name="connsiteX18" fmla="*/ 77047 w 80670"/>
                <a:gd name="connsiteY18" fmla="*/ 6723 h 89634"/>
                <a:gd name="connsiteX19" fmla="*/ 63602 w 80670"/>
                <a:gd name="connsiteY19" fmla="*/ 6723 h 89634"/>
                <a:gd name="connsiteX20" fmla="*/ 62258 w 80670"/>
                <a:gd name="connsiteY20" fmla="*/ 6723 h 89634"/>
                <a:gd name="connsiteX21" fmla="*/ 44779 w 80670"/>
                <a:gd name="connsiteY21" fmla="*/ 896 h 89634"/>
                <a:gd name="connsiteX22" fmla="*/ 40297 w 80670"/>
                <a:gd name="connsiteY22" fmla="*/ 0 h 89634"/>
                <a:gd name="connsiteX23" fmla="*/ 33575 w 80670"/>
                <a:gd name="connsiteY23" fmla="*/ 0 h 89634"/>
                <a:gd name="connsiteX24" fmla="*/ 28645 w 80670"/>
                <a:gd name="connsiteY24" fmla="*/ 2241 h 89634"/>
                <a:gd name="connsiteX25" fmla="*/ 28645 w 80670"/>
                <a:gd name="connsiteY25" fmla="*/ 2241 h 89634"/>
                <a:gd name="connsiteX26" fmla="*/ 3099 w 80670"/>
                <a:gd name="connsiteY26" fmla="*/ 27339 h 89634"/>
                <a:gd name="connsiteX27" fmla="*/ 3995 w 80670"/>
                <a:gd name="connsiteY27" fmla="*/ 44817 h 89634"/>
                <a:gd name="connsiteX28" fmla="*/ 6236 w 80670"/>
                <a:gd name="connsiteY28" fmla="*/ 45713 h 89634"/>
                <a:gd name="connsiteX29" fmla="*/ 6236 w 80670"/>
                <a:gd name="connsiteY29" fmla="*/ 45713 h 89634"/>
                <a:gd name="connsiteX30" fmla="*/ 8477 w 80670"/>
                <a:gd name="connsiteY30" fmla="*/ 44817 h 89634"/>
                <a:gd name="connsiteX31" fmla="*/ 26404 w 80670"/>
                <a:gd name="connsiteY31" fmla="*/ 26890 h 89634"/>
                <a:gd name="connsiteX32" fmla="*/ 26404 w 80670"/>
                <a:gd name="connsiteY32" fmla="*/ 38543 h 89634"/>
                <a:gd name="connsiteX33" fmla="*/ 26404 w 80670"/>
                <a:gd name="connsiteY33" fmla="*/ 38543 h 89634"/>
                <a:gd name="connsiteX34" fmla="*/ 26404 w 80670"/>
                <a:gd name="connsiteY34" fmla="*/ 80671 h 89634"/>
                <a:gd name="connsiteX35" fmla="*/ 35367 w 80670"/>
                <a:gd name="connsiteY35" fmla="*/ 90530 h 89634"/>
                <a:gd name="connsiteX36" fmla="*/ 39849 w 80670"/>
                <a:gd name="connsiteY36" fmla="*/ 81567 h 89634"/>
                <a:gd name="connsiteX37" fmla="*/ 35367 w 80670"/>
                <a:gd name="connsiteY37" fmla="*/ 86049 h 89634"/>
                <a:gd name="connsiteX38" fmla="*/ 30886 w 80670"/>
                <a:gd name="connsiteY38" fmla="*/ 81567 h 89634"/>
                <a:gd name="connsiteX39" fmla="*/ 30886 w 80670"/>
                <a:gd name="connsiteY39" fmla="*/ 45265 h 89634"/>
                <a:gd name="connsiteX40" fmla="*/ 33127 w 80670"/>
                <a:gd name="connsiteY40" fmla="*/ 45713 h 89634"/>
                <a:gd name="connsiteX41" fmla="*/ 39849 w 80670"/>
                <a:gd name="connsiteY41" fmla="*/ 45713 h 89634"/>
                <a:gd name="connsiteX42" fmla="*/ 39849 w 80670"/>
                <a:gd name="connsiteY42" fmla="*/ 81567 h 89634"/>
                <a:gd name="connsiteX43" fmla="*/ 40297 w 80670"/>
                <a:gd name="connsiteY43" fmla="*/ 5826 h 89634"/>
                <a:gd name="connsiteX44" fmla="*/ 43434 w 80670"/>
                <a:gd name="connsiteY44" fmla="*/ 6274 h 89634"/>
                <a:gd name="connsiteX45" fmla="*/ 60913 w 80670"/>
                <a:gd name="connsiteY45" fmla="*/ 12101 h 89634"/>
                <a:gd name="connsiteX46" fmla="*/ 63602 w 80670"/>
                <a:gd name="connsiteY46" fmla="*/ 12549 h 89634"/>
                <a:gd name="connsiteX47" fmla="*/ 77047 w 80670"/>
                <a:gd name="connsiteY47" fmla="*/ 12549 h 89634"/>
                <a:gd name="connsiteX48" fmla="*/ 80633 w 80670"/>
                <a:gd name="connsiteY48" fmla="*/ 16134 h 89634"/>
                <a:gd name="connsiteX49" fmla="*/ 77047 w 80670"/>
                <a:gd name="connsiteY49" fmla="*/ 19720 h 89634"/>
                <a:gd name="connsiteX50" fmla="*/ 56431 w 80670"/>
                <a:gd name="connsiteY50" fmla="*/ 19720 h 89634"/>
                <a:gd name="connsiteX51" fmla="*/ 55983 w 80670"/>
                <a:gd name="connsiteY51" fmla="*/ 19720 h 89634"/>
                <a:gd name="connsiteX52" fmla="*/ 42986 w 80670"/>
                <a:gd name="connsiteY52" fmla="*/ 15238 h 89634"/>
                <a:gd name="connsiteX53" fmla="*/ 40745 w 80670"/>
                <a:gd name="connsiteY53" fmla="*/ 15686 h 89634"/>
                <a:gd name="connsiteX54" fmla="*/ 39849 w 80670"/>
                <a:gd name="connsiteY54" fmla="*/ 17479 h 89634"/>
                <a:gd name="connsiteX55" fmla="*/ 39849 w 80670"/>
                <a:gd name="connsiteY55" fmla="*/ 32717 h 89634"/>
                <a:gd name="connsiteX56" fmla="*/ 40745 w 80670"/>
                <a:gd name="connsiteY56" fmla="*/ 34509 h 89634"/>
                <a:gd name="connsiteX57" fmla="*/ 42538 w 80670"/>
                <a:gd name="connsiteY57" fmla="*/ 34958 h 89634"/>
                <a:gd name="connsiteX58" fmla="*/ 57328 w 80670"/>
                <a:gd name="connsiteY58" fmla="*/ 34958 h 89634"/>
                <a:gd name="connsiteX59" fmla="*/ 67187 w 80670"/>
                <a:gd name="connsiteY59" fmla="*/ 44817 h 89634"/>
                <a:gd name="connsiteX60" fmla="*/ 67187 w 80670"/>
                <a:gd name="connsiteY60" fmla="*/ 64985 h 89634"/>
                <a:gd name="connsiteX61" fmla="*/ 62706 w 80670"/>
                <a:gd name="connsiteY61" fmla="*/ 69466 h 89634"/>
                <a:gd name="connsiteX62" fmla="*/ 58224 w 80670"/>
                <a:gd name="connsiteY62" fmla="*/ 64985 h 89634"/>
                <a:gd name="connsiteX63" fmla="*/ 58224 w 80670"/>
                <a:gd name="connsiteY63" fmla="*/ 52436 h 89634"/>
                <a:gd name="connsiteX64" fmla="*/ 48364 w 80670"/>
                <a:gd name="connsiteY64" fmla="*/ 42576 h 89634"/>
                <a:gd name="connsiteX65" fmla="*/ 32678 w 80670"/>
                <a:gd name="connsiteY65" fmla="*/ 42576 h 89634"/>
                <a:gd name="connsiteX66" fmla="*/ 30438 w 80670"/>
                <a:gd name="connsiteY66" fmla="*/ 40784 h 89634"/>
                <a:gd name="connsiteX67" fmla="*/ 30438 w 80670"/>
                <a:gd name="connsiteY67" fmla="*/ 40784 h 89634"/>
                <a:gd name="connsiteX68" fmla="*/ 30438 w 80670"/>
                <a:gd name="connsiteY68" fmla="*/ 40784 h 89634"/>
                <a:gd name="connsiteX69" fmla="*/ 30438 w 80670"/>
                <a:gd name="connsiteY69" fmla="*/ 9860 h 89634"/>
                <a:gd name="connsiteX70" fmla="*/ 33127 w 80670"/>
                <a:gd name="connsiteY70" fmla="*/ 7171 h 89634"/>
                <a:gd name="connsiteX71" fmla="*/ 40297 w 80670"/>
                <a:gd name="connsiteY71" fmla="*/ 7171 h 89634"/>
                <a:gd name="connsiteX72" fmla="*/ 5788 w 80670"/>
                <a:gd name="connsiteY72" fmla="*/ 41680 h 89634"/>
                <a:gd name="connsiteX73" fmla="*/ 3995 w 80670"/>
                <a:gd name="connsiteY73" fmla="*/ 37198 h 89634"/>
                <a:gd name="connsiteX74" fmla="*/ 5788 w 80670"/>
                <a:gd name="connsiteY74" fmla="*/ 31820 h 89634"/>
                <a:gd name="connsiteX75" fmla="*/ 26404 w 80670"/>
                <a:gd name="connsiteY75" fmla="*/ 11653 h 89634"/>
                <a:gd name="connsiteX76" fmla="*/ 26404 w 80670"/>
                <a:gd name="connsiteY76" fmla="*/ 21512 h 89634"/>
                <a:gd name="connsiteX77" fmla="*/ 5788 w 80670"/>
                <a:gd name="connsiteY77" fmla="*/ 41680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0670" h="89634">
                  <a:moveTo>
                    <a:pt x="35367" y="90530"/>
                  </a:moveTo>
                  <a:cubicBezTo>
                    <a:pt x="40297" y="90530"/>
                    <a:pt x="44331" y="85601"/>
                    <a:pt x="44331" y="81567"/>
                  </a:cubicBezTo>
                  <a:lnTo>
                    <a:pt x="44331" y="45713"/>
                  </a:lnTo>
                  <a:lnTo>
                    <a:pt x="47916" y="45713"/>
                  </a:lnTo>
                  <a:cubicBezTo>
                    <a:pt x="51053" y="45713"/>
                    <a:pt x="53294" y="47954"/>
                    <a:pt x="53294" y="51092"/>
                  </a:cubicBezTo>
                  <a:lnTo>
                    <a:pt x="53294" y="63640"/>
                  </a:lnTo>
                  <a:cubicBezTo>
                    <a:pt x="53294" y="68570"/>
                    <a:pt x="57328" y="72604"/>
                    <a:pt x="62258" y="72604"/>
                  </a:cubicBezTo>
                  <a:cubicBezTo>
                    <a:pt x="67187" y="72604"/>
                    <a:pt x="71221" y="68570"/>
                    <a:pt x="71221" y="63640"/>
                  </a:cubicBezTo>
                  <a:lnTo>
                    <a:pt x="71221" y="43473"/>
                  </a:lnTo>
                  <a:cubicBezTo>
                    <a:pt x="71221" y="35406"/>
                    <a:pt x="64947" y="29131"/>
                    <a:pt x="56880" y="29131"/>
                  </a:cubicBezTo>
                  <a:lnTo>
                    <a:pt x="49261" y="29131"/>
                  </a:lnTo>
                  <a:cubicBezTo>
                    <a:pt x="49261" y="29131"/>
                    <a:pt x="49261" y="29131"/>
                    <a:pt x="49261" y="29131"/>
                  </a:cubicBezTo>
                  <a:lnTo>
                    <a:pt x="44331" y="29131"/>
                  </a:lnTo>
                  <a:lnTo>
                    <a:pt x="44331" y="19272"/>
                  </a:lnTo>
                  <a:lnTo>
                    <a:pt x="54191" y="22409"/>
                  </a:lnTo>
                  <a:cubicBezTo>
                    <a:pt x="54639" y="22409"/>
                    <a:pt x="55535" y="22857"/>
                    <a:pt x="56431" y="22857"/>
                  </a:cubicBezTo>
                  <a:lnTo>
                    <a:pt x="77047" y="22857"/>
                  </a:lnTo>
                  <a:cubicBezTo>
                    <a:pt x="81529" y="22857"/>
                    <a:pt x="85114" y="19272"/>
                    <a:pt x="85114" y="14790"/>
                  </a:cubicBezTo>
                  <a:cubicBezTo>
                    <a:pt x="85114" y="10308"/>
                    <a:pt x="81529" y="6723"/>
                    <a:pt x="77047" y="6723"/>
                  </a:cubicBezTo>
                  <a:lnTo>
                    <a:pt x="63602" y="6723"/>
                  </a:lnTo>
                  <a:cubicBezTo>
                    <a:pt x="63154" y="6723"/>
                    <a:pt x="62706" y="6723"/>
                    <a:pt x="62258" y="6723"/>
                  </a:cubicBezTo>
                  <a:lnTo>
                    <a:pt x="44779" y="896"/>
                  </a:lnTo>
                  <a:cubicBezTo>
                    <a:pt x="43434" y="448"/>
                    <a:pt x="42090" y="0"/>
                    <a:pt x="40297" y="0"/>
                  </a:cubicBezTo>
                  <a:lnTo>
                    <a:pt x="33575" y="0"/>
                  </a:lnTo>
                  <a:cubicBezTo>
                    <a:pt x="31782" y="0"/>
                    <a:pt x="29989" y="896"/>
                    <a:pt x="28645" y="2241"/>
                  </a:cubicBezTo>
                  <a:cubicBezTo>
                    <a:pt x="28645" y="2241"/>
                    <a:pt x="28645" y="2241"/>
                    <a:pt x="28645" y="2241"/>
                  </a:cubicBezTo>
                  <a:lnTo>
                    <a:pt x="3099" y="27339"/>
                  </a:lnTo>
                  <a:cubicBezTo>
                    <a:pt x="-1383" y="32268"/>
                    <a:pt x="-934" y="40335"/>
                    <a:pt x="3995" y="44817"/>
                  </a:cubicBezTo>
                  <a:cubicBezTo>
                    <a:pt x="4444" y="45265"/>
                    <a:pt x="5340" y="45713"/>
                    <a:pt x="6236" y="45713"/>
                  </a:cubicBezTo>
                  <a:cubicBezTo>
                    <a:pt x="6236" y="45713"/>
                    <a:pt x="6236" y="45713"/>
                    <a:pt x="6236" y="45713"/>
                  </a:cubicBezTo>
                  <a:cubicBezTo>
                    <a:pt x="7133" y="45713"/>
                    <a:pt x="8029" y="45265"/>
                    <a:pt x="8477" y="44817"/>
                  </a:cubicBezTo>
                  <a:lnTo>
                    <a:pt x="26404" y="26890"/>
                  </a:lnTo>
                  <a:lnTo>
                    <a:pt x="26404" y="38543"/>
                  </a:lnTo>
                  <a:cubicBezTo>
                    <a:pt x="26404" y="38543"/>
                    <a:pt x="26404" y="38543"/>
                    <a:pt x="26404" y="38543"/>
                  </a:cubicBezTo>
                  <a:lnTo>
                    <a:pt x="26404" y="80671"/>
                  </a:lnTo>
                  <a:cubicBezTo>
                    <a:pt x="26404" y="86049"/>
                    <a:pt x="29989" y="90530"/>
                    <a:pt x="35367" y="90530"/>
                  </a:cubicBezTo>
                  <a:close/>
                  <a:moveTo>
                    <a:pt x="39849" y="81567"/>
                  </a:moveTo>
                  <a:cubicBezTo>
                    <a:pt x="39849" y="83360"/>
                    <a:pt x="37608" y="86049"/>
                    <a:pt x="35367" y="86049"/>
                  </a:cubicBezTo>
                  <a:cubicBezTo>
                    <a:pt x="33127" y="86049"/>
                    <a:pt x="30886" y="83360"/>
                    <a:pt x="30886" y="81567"/>
                  </a:cubicBezTo>
                  <a:lnTo>
                    <a:pt x="30886" y="45265"/>
                  </a:lnTo>
                  <a:cubicBezTo>
                    <a:pt x="31334" y="45265"/>
                    <a:pt x="32230" y="45713"/>
                    <a:pt x="33127" y="45713"/>
                  </a:cubicBezTo>
                  <a:lnTo>
                    <a:pt x="39849" y="45713"/>
                  </a:lnTo>
                  <a:lnTo>
                    <a:pt x="39849" y="81567"/>
                  </a:lnTo>
                  <a:close/>
                  <a:moveTo>
                    <a:pt x="40297" y="5826"/>
                  </a:moveTo>
                  <a:cubicBezTo>
                    <a:pt x="41194" y="5826"/>
                    <a:pt x="42090" y="5826"/>
                    <a:pt x="43434" y="6274"/>
                  </a:cubicBezTo>
                  <a:lnTo>
                    <a:pt x="60913" y="12101"/>
                  </a:lnTo>
                  <a:cubicBezTo>
                    <a:pt x="61809" y="12549"/>
                    <a:pt x="62706" y="12549"/>
                    <a:pt x="63602" y="12549"/>
                  </a:cubicBezTo>
                  <a:lnTo>
                    <a:pt x="77047" y="12549"/>
                  </a:lnTo>
                  <a:cubicBezTo>
                    <a:pt x="78840" y="12549"/>
                    <a:pt x="80633" y="13893"/>
                    <a:pt x="80633" y="16134"/>
                  </a:cubicBezTo>
                  <a:cubicBezTo>
                    <a:pt x="80633" y="18375"/>
                    <a:pt x="79288" y="19720"/>
                    <a:pt x="77047" y="19720"/>
                  </a:cubicBezTo>
                  <a:lnTo>
                    <a:pt x="56431" y="19720"/>
                  </a:lnTo>
                  <a:cubicBezTo>
                    <a:pt x="56431" y="19720"/>
                    <a:pt x="55983" y="19720"/>
                    <a:pt x="55983" y="19720"/>
                  </a:cubicBezTo>
                  <a:lnTo>
                    <a:pt x="42986" y="15238"/>
                  </a:lnTo>
                  <a:cubicBezTo>
                    <a:pt x="42090" y="14790"/>
                    <a:pt x="41642" y="15238"/>
                    <a:pt x="40745" y="15686"/>
                  </a:cubicBezTo>
                  <a:cubicBezTo>
                    <a:pt x="39849" y="16134"/>
                    <a:pt x="39849" y="16582"/>
                    <a:pt x="39849" y="17479"/>
                  </a:cubicBezTo>
                  <a:lnTo>
                    <a:pt x="39849" y="32717"/>
                  </a:lnTo>
                  <a:cubicBezTo>
                    <a:pt x="39849" y="33165"/>
                    <a:pt x="40297" y="34061"/>
                    <a:pt x="40745" y="34509"/>
                  </a:cubicBezTo>
                  <a:cubicBezTo>
                    <a:pt x="41194" y="34958"/>
                    <a:pt x="41642" y="34958"/>
                    <a:pt x="42538" y="34958"/>
                  </a:cubicBezTo>
                  <a:lnTo>
                    <a:pt x="57328" y="34958"/>
                  </a:lnTo>
                  <a:cubicBezTo>
                    <a:pt x="62706" y="34958"/>
                    <a:pt x="67187" y="39439"/>
                    <a:pt x="67187" y="44817"/>
                  </a:cubicBezTo>
                  <a:lnTo>
                    <a:pt x="67187" y="64985"/>
                  </a:lnTo>
                  <a:cubicBezTo>
                    <a:pt x="67187" y="67674"/>
                    <a:pt x="65395" y="69466"/>
                    <a:pt x="62706" y="69466"/>
                  </a:cubicBezTo>
                  <a:cubicBezTo>
                    <a:pt x="60017" y="69466"/>
                    <a:pt x="58224" y="67674"/>
                    <a:pt x="58224" y="64985"/>
                  </a:cubicBezTo>
                  <a:lnTo>
                    <a:pt x="58224" y="52436"/>
                  </a:lnTo>
                  <a:cubicBezTo>
                    <a:pt x="58224" y="47058"/>
                    <a:pt x="53742" y="42576"/>
                    <a:pt x="48364" y="42576"/>
                  </a:cubicBezTo>
                  <a:lnTo>
                    <a:pt x="32678" y="42576"/>
                  </a:lnTo>
                  <a:cubicBezTo>
                    <a:pt x="31782" y="42576"/>
                    <a:pt x="30886" y="41680"/>
                    <a:pt x="30438" y="40784"/>
                  </a:cubicBezTo>
                  <a:lnTo>
                    <a:pt x="30438" y="40784"/>
                  </a:lnTo>
                  <a:cubicBezTo>
                    <a:pt x="30438" y="40784"/>
                    <a:pt x="30438" y="40784"/>
                    <a:pt x="30438" y="40784"/>
                  </a:cubicBezTo>
                  <a:lnTo>
                    <a:pt x="30438" y="9860"/>
                  </a:lnTo>
                  <a:cubicBezTo>
                    <a:pt x="30438" y="8515"/>
                    <a:pt x="31782" y="7171"/>
                    <a:pt x="33127" y="7171"/>
                  </a:cubicBezTo>
                  <a:lnTo>
                    <a:pt x="40297" y="7171"/>
                  </a:lnTo>
                  <a:close/>
                  <a:moveTo>
                    <a:pt x="5788" y="41680"/>
                  </a:moveTo>
                  <a:cubicBezTo>
                    <a:pt x="4892" y="40335"/>
                    <a:pt x="3995" y="38543"/>
                    <a:pt x="3995" y="37198"/>
                  </a:cubicBezTo>
                  <a:cubicBezTo>
                    <a:pt x="3995" y="34958"/>
                    <a:pt x="4444" y="33165"/>
                    <a:pt x="5788" y="31820"/>
                  </a:cubicBezTo>
                  <a:lnTo>
                    <a:pt x="26404" y="11653"/>
                  </a:lnTo>
                  <a:lnTo>
                    <a:pt x="26404" y="21512"/>
                  </a:lnTo>
                  <a:lnTo>
                    <a:pt x="5788" y="41680"/>
                  </a:lnTo>
                  <a:close/>
                </a:path>
              </a:pathLst>
            </a:custGeom>
            <a:solidFill>
              <a:srgbClr val="231F20"/>
            </a:solidFill>
            <a:ln w="4477" cap="flat">
              <a:noFill/>
              <a:prstDash val="solid"/>
              <a:miter/>
            </a:ln>
          </p:spPr>
          <p:txBody>
            <a:bodyPr rtlCol="0" anchor="ctr"/>
            <a:lstStyle/>
            <a:p>
              <a:endParaRPr lang="en-US"/>
            </a:p>
          </p:txBody>
        </p:sp>
      </p:grpSp>
      <p:grpSp>
        <p:nvGrpSpPr>
          <p:cNvPr id="2436" name="Group 2435">
            <a:extLst>
              <a:ext uri="{FF2B5EF4-FFF2-40B4-BE49-F238E27FC236}">
                <a16:creationId xmlns:a16="http://schemas.microsoft.com/office/drawing/2014/main" id="{4872FE6A-3426-4844-A4EC-D7A0C89EBFAA}"/>
              </a:ext>
              <a:ext uri="{C183D7F6-B498-43B3-948B-1728B52AA6E4}">
                <adec:decorative xmlns:adec="http://schemas.microsoft.com/office/drawing/2017/decorative" val="1"/>
              </a:ext>
            </a:extLst>
          </p:cNvPr>
          <p:cNvGrpSpPr>
            <a:grpSpLocks noChangeAspect="1"/>
          </p:cNvGrpSpPr>
          <p:nvPr/>
        </p:nvGrpSpPr>
        <p:grpSpPr>
          <a:xfrm>
            <a:off x="1919227" y="5238587"/>
            <a:ext cx="161341" cy="135228"/>
            <a:chOff x="7793962" y="4221419"/>
            <a:chExt cx="161341" cy="135228"/>
          </a:xfrm>
        </p:grpSpPr>
        <p:sp>
          <p:nvSpPr>
            <p:cNvPr id="2621" name="Freeform: Shape 2620">
              <a:extLst>
                <a:ext uri="{FF2B5EF4-FFF2-40B4-BE49-F238E27FC236}">
                  <a16:creationId xmlns:a16="http://schemas.microsoft.com/office/drawing/2014/main" id="{B19B811F-98AC-48E0-A30B-DB35DD82A97C}"/>
                </a:ext>
              </a:extLst>
            </p:cNvPr>
            <p:cNvSpPr/>
            <p:nvPr/>
          </p:nvSpPr>
          <p:spPr>
            <a:xfrm>
              <a:off x="7863534" y="4221419"/>
              <a:ext cx="22409" cy="22409"/>
            </a:xfrm>
            <a:custGeom>
              <a:avLst/>
              <a:gdLst>
                <a:gd name="connsiteX0" fmla="*/ 9931 w 22408"/>
                <a:gd name="connsiteY0" fmla="*/ 24979 h 22408"/>
                <a:gd name="connsiteX1" fmla="*/ 13068 w 22408"/>
                <a:gd name="connsiteY1" fmla="*/ 25427 h 22408"/>
                <a:gd name="connsiteX2" fmla="*/ 22031 w 22408"/>
                <a:gd name="connsiteY2" fmla="*/ 21842 h 22408"/>
                <a:gd name="connsiteX3" fmla="*/ 25168 w 22408"/>
                <a:gd name="connsiteY3" fmla="*/ 9741 h 22408"/>
                <a:gd name="connsiteX4" fmla="*/ 15757 w 22408"/>
                <a:gd name="connsiteY4" fmla="*/ 329 h 22408"/>
                <a:gd name="connsiteX5" fmla="*/ 3656 w 22408"/>
                <a:gd name="connsiteY5" fmla="*/ 3467 h 22408"/>
                <a:gd name="connsiteX6" fmla="*/ 519 w 22408"/>
                <a:gd name="connsiteY6" fmla="*/ 15567 h 22408"/>
                <a:gd name="connsiteX7" fmla="*/ 9931 w 22408"/>
                <a:gd name="connsiteY7" fmla="*/ 24979 h 22408"/>
                <a:gd name="connsiteX8" fmla="*/ 7242 w 22408"/>
                <a:gd name="connsiteY8" fmla="*/ 7052 h 22408"/>
                <a:gd name="connsiteX9" fmla="*/ 13068 w 22408"/>
                <a:gd name="connsiteY9" fmla="*/ 4811 h 22408"/>
                <a:gd name="connsiteX10" fmla="*/ 15309 w 22408"/>
                <a:gd name="connsiteY10" fmla="*/ 5259 h 22408"/>
                <a:gd name="connsiteX11" fmla="*/ 21135 w 22408"/>
                <a:gd name="connsiteY11" fmla="*/ 11086 h 22408"/>
                <a:gd name="connsiteX12" fmla="*/ 18894 w 22408"/>
                <a:gd name="connsiteY12" fmla="*/ 19153 h 22408"/>
                <a:gd name="connsiteX13" fmla="*/ 10827 w 22408"/>
                <a:gd name="connsiteY13" fmla="*/ 21393 h 22408"/>
                <a:gd name="connsiteX14" fmla="*/ 5001 w 22408"/>
                <a:gd name="connsiteY14" fmla="*/ 15567 h 22408"/>
                <a:gd name="connsiteX15" fmla="*/ 7242 w 22408"/>
                <a:gd name="connsiteY15" fmla="*/ 705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931" y="24979"/>
                  </a:moveTo>
                  <a:cubicBezTo>
                    <a:pt x="10827" y="25427"/>
                    <a:pt x="12172" y="25427"/>
                    <a:pt x="13068" y="25427"/>
                  </a:cubicBezTo>
                  <a:cubicBezTo>
                    <a:pt x="16653" y="25427"/>
                    <a:pt x="19791" y="24083"/>
                    <a:pt x="22031" y="21842"/>
                  </a:cubicBezTo>
                  <a:cubicBezTo>
                    <a:pt x="25168" y="18704"/>
                    <a:pt x="26513" y="14223"/>
                    <a:pt x="25168" y="9741"/>
                  </a:cubicBezTo>
                  <a:cubicBezTo>
                    <a:pt x="24272" y="5259"/>
                    <a:pt x="20687" y="1674"/>
                    <a:pt x="15757" y="329"/>
                  </a:cubicBezTo>
                  <a:cubicBezTo>
                    <a:pt x="11275" y="-567"/>
                    <a:pt x="6793" y="329"/>
                    <a:pt x="3656" y="3467"/>
                  </a:cubicBezTo>
                  <a:cubicBezTo>
                    <a:pt x="519" y="6604"/>
                    <a:pt x="-825" y="11086"/>
                    <a:pt x="519" y="15567"/>
                  </a:cubicBezTo>
                  <a:cubicBezTo>
                    <a:pt x="1864" y="20497"/>
                    <a:pt x="5449" y="24083"/>
                    <a:pt x="9931" y="24979"/>
                  </a:cubicBezTo>
                  <a:close/>
                  <a:moveTo>
                    <a:pt x="7242" y="7052"/>
                  </a:moveTo>
                  <a:cubicBezTo>
                    <a:pt x="8586" y="5707"/>
                    <a:pt x="10827" y="4811"/>
                    <a:pt x="13068" y="4811"/>
                  </a:cubicBezTo>
                  <a:cubicBezTo>
                    <a:pt x="13964" y="4811"/>
                    <a:pt x="14412" y="4811"/>
                    <a:pt x="15309" y="5259"/>
                  </a:cubicBezTo>
                  <a:cubicBezTo>
                    <a:pt x="17998" y="6156"/>
                    <a:pt x="20687" y="8397"/>
                    <a:pt x="21135" y="11086"/>
                  </a:cubicBezTo>
                  <a:cubicBezTo>
                    <a:pt x="22031" y="13774"/>
                    <a:pt x="21135" y="16912"/>
                    <a:pt x="18894" y="19153"/>
                  </a:cubicBezTo>
                  <a:cubicBezTo>
                    <a:pt x="16653" y="21393"/>
                    <a:pt x="13964" y="21842"/>
                    <a:pt x="10827" y="21393"/>
                  </a:cubicBezTo>
                  <a:cubicBezTo>
                    <a:pt x="8138" y="20497"/>
                    <a:pt x="5449" y="18256"/>
                    <a:pt x="5001" y="15567"/>
                  </a:cubicBezTo>
                  <a:cubicBezTo>
                    <a:pt x="4553" y="11982"/>
                    <a:pt x="5001" y="8845"/>
                    <a:pt x="7242" y="7052"/>
                  </a:cubicBezTo>
                  <a:close/>
                </a:path>
              </a:pathLst>
            </a:custGeom>
            <a:solidFill>
              <a:srgbClr val="231F20"/>
            </a:solidFill>
            <a:ln w="4477" cap="flat">
              <a:noFill/>
              <a:prstDash val="solid"/>
              <a:miter/>
            </a:ln>
          </p:spPr>
          <p:txBody>
            <a:bodyPr rtlCol="0" anchor="ctr"/>
            <a:lstStyle/>
            <a:p>
              <a:endParaRPr lang="en-US"/>
            </a:p>
          </p:txBody>
        </p:sp>
        <p:sp>
          <p:nvSpPr>
            <p:cNvPr id="2622" name="Freeform: Shape 2621">
              <a:extLst>
                <a:ext uri="{FF2B5EF4-FFF2-40B4-BE49-F238E27FC236}">
                  <a16:creationId xmlns:a16="http://schemas.microsoft.com/office/drawing/2014/main" id="{B2FFC780-3E41-4352-8E35-E9BDC19602E0}"/>
                </a:ext>
              </a:extLst>
            </p:cNvPr>
            <p:cNvSpPr/>
            <p:nvPr/>
          </p:nvSpPr>
          <p:spPr>
            <a:xfrm>
              <a:off x="7836644" y="4302089"/>
              <a:ext cx="22409" cy="22409"/>
            </a:xfrm>
            <a:custGeom>
              <a:avLst/>
              <a:gdLst>
                <a:gd name="connsiteX0" fmla="*/ 9931 w 22408"/>
                <a:gd name="connsiteY0" fmla="*/ 24979 h 22408"/>
                <a:gd name="connsiteX1" fmla="*/ 13068 w 22408"/>
                <a:gd name="connsiteY1" fmla="*/ 25427 h 22408"/>
                <a:gd name="connsiteX2" fmla="*/ 22031 w 22408"/>
                <a:gd name="connsiteY2" fmla="*/ 21842 h 22408"/>
                <a:gd name="connsiteX3" fmla="*/ 25168 w 22408"/>
                <a:gd name="connsiteY3" fmla="*/ 9741 h 22408"/>
                <a:gd name="connsiteX4" fmla="*/ 15757 w 22408"/>
                <a:gd name="connsiteY4" fmla="*/ 329 h 22408"/>
                <a:gd name="connsiteX5" fmla="*/ 3656 w 22408"/>
                <a:gd name="connsiteY5" fmla="*/ 3467 h 22408"/>
                <a:gd name="connsiteX6" fmla="*/ 519 w 22408"/>
                <a:gd name="connsiteY6" fmla="*/ 15567 h 22408"/>
                <a:gd name="connsiteX7" fmla="*/ 9931 w 22408"/>
                <a:gd name="connsiteY7" fmla="*/ 24979 h 22408"/>
                <a:gd name="connsiteX8" fmla="*/ 7242 w 22408"/>
                <a:gd name="connsiteY8" fmla="*/ 7052 h 22408"/>
                <a:gd name="connsiteX9" fmla="*/ 13068 w 22408"/>
                <a:gd name="connsiteY9" fmla="*/ 4811 h 22408"/>
                <a:gd name="connsiteX10" fmla="*/ 15309 w 22408"/>
                <a:gd name="connsiteY10" fmla="*/ 5259 h 22408"/>
                <a:gd name="connsiteX11" fmla="*/ 21135 w 22408"/>
                <a:gd name="connsiteY11" fmla="*/ 11086 h 22408"/>
                <a:gd name="connsiteX12" fmla="*/ 18894 w 22408"/>
                <a:gd name="connsiteY12" fmla="*/ 19153 h 22408"/>
                <a:gd name="connsiteX13" fmla="*/ 10827 w 22408"/>
                <a:gd name="connsiteY13" fmla="*/ 21393 h 22408"/>
                <a:gd name="connsiteX14" fmla="*/ 5001 w 22408"/>
                <a:gd name="connsiteY14" fmla="*/ 15567 h 22408"/>
                <a:gd name="connsiteX15" fmla="*/ 7242 w 22408"/>
                <a:gd name="connsiteY15" fmla="*/ 705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931" y="24979"/>
                  </a:moveTo>
                  <a:cubicBezTo>
                    <a:pt x="10827" y="25427"/>
                    <a:pt x="12172" y="25427"/>
                    <a:pt x="13068" y="25427"/>
                  </a:cubicBezTo>
                  <a:cubicBezTo>
                    <a:pt x="16205" y="25427"/>
                    <a:pt x="19791" y="24083"/>
                    <a:pt x="22031" y="21842"/>
                  </a:cubicBezTo>
                  <a:cubicBezTo>
                    <a:pt x="25168" y="18704"/>
                    <a:pt x="26513" y="14223"/>
                    <a:pt x="25168" y="9741"/>
                  </a:cubicBezTo>
                  <a:cubicBezTo>
                    <a:pt x="24272" y="5259"/>
                    <a:pt x="20687" y="1674"/>
                    <a:pt x="15757" y="329"/>
                  </a:cubicBezTo>
                  <a:cubicBezTo>
                    <a:pt x="11275" y="-567"/>
                    <a:pt x="6793" y="329"/>
                    <a:pt x="3656" y="3467"/>
                  </a:cubicBezTo>
                  <a:cubicBezTo>
                    <a:pt x="519" y="6604"/>
                    <a:pt x="-825" y="11086"/>
                    <a:pt x="519" y="15567"/>
                  </a:cubicBezTo>
                  <a:cubicBezTo>
                    <a:pt x="1864" y="20497"/>
                    <a:pt x="5449" y="24083"/>
                    <a:pt x="9931" y="24979"/>
                  </a:cubicBezTo>
                  <a:close/>
                  <a:moveTo>
                    <a:pt x="7242" y="7052"/>
                  </a:moveTo>
                  <a:cubicBezTo>
                    <a:pt x="8586" y="5707"/>
                    <a:pt x="10827" y="4811"/>
                    <a:pt x="13068" y="4811"/>
                  </a:cubicBezTo>
                  <a:cubicBezTo>
                    <a:pt x="13964" y="4811"/>
                    <a:pt x="14412" y="4811"/>
                    <a:pt x="15309" y="5259"/>
                  </a:cubicBezTo>
                  <a:cubicBezTo>
                    <a:pt x="17998" y="6156"/>
                    <a:pt x="20687" y="8397"/>
                    <a:pt x="21135" y="11086"/>
                  </a:cubicBezTo>
                  <a:cubicBezTo>
                    <a:pt x="22031" y="13774"/>
                    <a:pt x="21135" y="16912"/>
                    <a:pt x="18894" y="19153"/>
                  </a:cubicBezTo>
                  <a:cubicBezTo>
                    <a:pt x="16653" y="21393"/>
                    <a:pt x="13964" y="21842"/>
                    <a:pt x="10827" y="21393"/>
                  </a:cubicBezTo>
                  <a:cubicBezTo>
                    <a:pt x="8138" y="20497"/>
                    <a:pt x="5449" y="18256"/>
                    <a:pt x="5001" y="15567"/>
                  </a:cubicBezTo>
                  <a:cubicBezTo>
                    <a:pt x="4553" y="11982"/>
                    <a:pt x="5001" y="8845"/>
                    <a:pt x="7242" y="7052"/>
                  </a:cubicBezTo>
                  <a:close/>
                </a:path>
              </a:pathLst>
            </a:custGeom>
            <a:solidFill>
              <a:srgbClr val="231F20"/>
            </a:solidFill>
            <a:ln w="4477" cap="flat">
              <a:noFill/>
              <a:prstDash val="solid"/>
              <a:miter/>
            </a:ln>
          </p:spPr>
          <p:txBody>
            <a:bodyPr rtlCol="0" anchor="ctr"/>
            <a:lstStyle/>
            <a:p>
              <a:endParaRPr lang="en-US"/>
            </a:p>
          </p:txBody>
        </p:sp>
        <p:sp>
          <p:nvSpPr>
            <p:cNvPr id="2623" name="Freeform: Shape 2622">
              <a:extLst>
                <a:ext uri="{FF2B5EF4-FFF2-40B4-BE49-F238E27FC236}">
                  <a16:creationId xmlns:a16="http://schemas.microsoft.com/office/drawing/2014/main" id="{39132461-5CA3-465F-96C3-F2DA9DE1618D}"/>
                </a:ext>
              </a:extLst>
            </p:cNvPr>
            <p:cNvSpPr/>
            <p:nvPr/>
          </p:nvSpPr>
          <p:spPr>
            <a:xfrm>
              <a:off x="7827303" y="4329757"/>
              <a:ext cx="44817" cy="26890"/>
            </a:xfrm>
            <a:custGeom>
              <a:avLst/>
              <a:gdLst>
                <a:gd name="connsiteX0" fmla="*/ 29131 w 44817"/>
                <a:gd name="connsiteY0" fmla="*/ 0 h 26890"/>
                <a:gd name="connsiteX1" fmla="*/ 15686 w 44817"/>
                <a:gd name="connsiteY1" fmla="*/ 0 h 26890"/>
                <a:gd name="connsiteX2" fmla="*/ 0 w 44817"/>
                <a:gd name="connsiteY2" fmla="*/ 15686 h 26890"/>
                <a:gd name="connsiteX3" fmla="*/ 0 w 44817"/>
                <a:gd name="connsiteY3" fmla="*/ 20616 h 26890"/>
                <a:gd name="connsiteX4" fmla="*/ 7171 w 44817"/>
                <a:gd name="connsiteY4" fmla="*/ 27338 h 26890"/>
                <a:gd name="connsiteX5" fmla="*/ 38094 w 44817"/>
                <a:gd name="connsiteY5" fmla="*/ 27338 h 26890"/>
                <a:gd name="connsiteX6" fmla="*/ 44817 w 44817"/>
                <a:gd name="connsiteY6" fmla="*/ 20616 h 26890"/>
                <a:gd name="connsiteX7" fmla="*/ 44817 w 44817"/>
                <a:gd name="connsiteY7" fmla="*/ 15686 h 26890"/>
                <a:gd name="connsiteX8" fmla="*/ 29131 w 44817"/>
                <a:gd name="connsiteY8" fmla="*/ 0 h 26890"/>
                <a:gd name="connsiteX9" fmla="*/ 40335 w 44817"/>
                <a:gd name="connsiteY9" fmla="*/ 20616 h 26890"/>
                <a:gd name="connsiteX10" fmla="*/ 38094 w 44817"/>
                <a:gd name="connsiteY10" fmla="*/ 22857 h 26890"/>
                <a:gd name="connsiteX11" fmla="*/ 7171 w 44817"/>
                <a:gd name="connsiteY11" fmla="*/ 22857 h 26890"/>
                <a:gd name="connsiteX12" fmla="*/ 4482 w 44817"/>
                <a:gd name="connsiteY12" fmla="*/ 20616 h 26890"/>
                <a:gd name="connsiteX13" fmla="*/ 4482 w 44817"/>
                <a:gd name="connsiteY13" fmla="*/ 15686 h 26890"/>
                <a:gd name="connsiteX14" fmla="*/ 15686 w 44817"/>
                <a:gd name="connsiteY14" fmla="*/ 4482 h 26890"/>
                <a:gd name="connsiteX15" fmla="*/ 29131 w 44817"/>
                <a:gd name="connsiteY15" fmla="*/ 4482 h 26890"/>
                <a:gd name="connsiteX16" fmla="*/ 40335 w 44817"/>
                <a:gd name="connsiteY16" fmla="*/ 15686 h 26890"/>
                <a:gd name="connsiteX17" fmla="*/ 40335 w 44817"/>
                <a:gd name="connsiteY17" fmla="*/ 2061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131" y="0"/>
                  </a:moveTo>
                  <a:lnTo>
                    <a:pt x="15686" y="0"/>
                  </a:lnTo>
                  <a:cubicBezTo>
                    <a:pt x="7171" y="0"/>
                    <a:pt x="0" y="7171"/>
                    <a:pt x="0" y="15686"/>
                  </a:cubicBezTo>
                  <a:lnTo>
                    <a:pt x="0" y="20616"/>
                  </a:lnTo>
                  <a:cubicBezTo>
                    <a:pt x="0" y="24649"/>
                    <a:pt x="3137" y="27338"/>
                    <a:pt x="7171" y="27338"/>
                  </a:cubicBezTo>
                  <a:lnTo>
                    <a:pt x="38094" y="27338"/>
                  </a:lnTo>
                  <a:cubicBezTo>
                    <a:pt x="42128" y="27338"/>
                    <a:pt x="44817" y="24201"/>
                    <a:pt x="44817" y="20616"/>
                  </a:cubicBezTo>
                  <a:lnTo>
                    <a:pt x="44817" y="15686"/>
                  </a:lnTo>
                  <a:cubicBezTo>
                    <a:pt x="44817" y="7171"/>
                    <a:pt x="37646" y="0"/>
                    <a:pt x="29131" y="0"/>
                  </a:cubicBezTo>
                  <a:close/>
                  <a:moveTo>
                    <a:pt x="40335" y="20616"/>
                  </a:moveTo>
                  <a:cubicBezTo>
                    <a:pt x="40335" y="21960"/>
                    <a:pt x="39439" y="22857"/>
                    <a:pt x="38094" y="22857"/>
                  </a:cubicBezTo>
                  <a:lnTo>
                    <a:pt x="7171" y="22857"/>
                  </a:lnTo>
                  <a:cubicBezTo>
                    <a:pt x="5826" y="22857"/>
                    <a:pt x="4482" y="21960"/>
                    <a:pt x="4482" y="20616"/>
                  </a:cubicBezTo>
                  <a:lnTo>
                    <a:pt x="4482" y="15686"/>
                  </a:lnTo>
                  <a:cubicBezTo>
                    <a:pt x="4482" y="9411"/>
                    <a:pt x="9411" y="4482"/>
                    <a:pt x="15686" y="4482"/>
                  </a:cubicBezTo>
                  <a:lnTo>
                    <a:pt x="29131" y="4482"/>
                  </a:lnTo>
                  <a:cubicBezTo>
                    <a:pt x="35405" y="4482"/>
                    <a:pt x="40335" y="9411"/>
                    <a:pt x="40335" y="15686"/>
                  </a:cubicBezTo>
                  <a:lnTo>
                    <a:pt x="40335" y="20616"/>
                  </a:lnTo>
                  <a:close/>
                </a:path>
              </a:pathLst>
            </a:custGeom>
            <a:solidFill>
              <a:srgbClr val="231F20"/>
            </a:solidFill>
            <a:ln w="4477" cap="flat">
              <a:noFill/>
              <a:prstDash val="solid"/>
              <a:miter/>
            </a:ln>
          </p:spPr>
          <p:txBody>
            <a:bodyPr rtlCol="0" anchor="ctr"/>
            <a:lstStyle/>
            <a:p>
              <a:endParaRPr lang="en-US"/>
            </a:p>
          </p:txBody>
        </p:sp>
        <p:sp>
          <p:nvSpPr>
            <p:cNvPr id="2624" name="Freeform: Shape 2623">
              <a:extLst>
                <a:ext uri="{FF2B5EF4-FFF2-40B4-BE49-F238E27FC236}">
                  <a16:creationId xmlns:a16="http://schemas.microsoft.com/office/drawing/2014/main" id="{C1E4C825-B171-408A-9B46-8C13F1FA981C}"/>
                </a:ext>
              </a:extLst>
            </p:cNvPr>
            <p:cNvSpPr/>
            <p:nvPr/>
          </p:nvSpPr>
          <p:spPr>
            <a:xfrm>
              <a:off x="7890424" y="4302089"/>
              <a:ext cx="22409" cy="22409"/>
            </a:xfrm>
            <a:custGeom>
              <a:avLst/>
              <a:gdLst>
                <a:gd name="connsiteX0" fmla="*/ 9931 w 22408"/>
                <a:gd name="connsiteY0" fmla="*/ 24979 h 22408"/>
                <a:gd name="connsiteX1" fmla="*/ 13068 w 22408"/>
                <a:gd name="connsiteY1" fmla="*/ 25427 h 22408"/>
                <a:gd name="connsiteX2" fmla="*/ 22031 w 22408"/>
                <a:gd name="connsiteY2" fmla="*/ 21842 h 22408"/>
                <a:gd name="connsiteX3" fmla="*/ 25168 w 22408"/>
                <a:gd name="connsiteY3" fmla="*/ 9741 h 22408"/>
                <a:gd name="connsiteX4" fmla="*/ 15757 w 22408"/>
                <a:gd name="connsiteY4" fmla="*/ 329 h 22408"/>
                <a:gd name="connsiteX5" fmla="*/ 3656 w 22408"/>
                <a:gd name="connsiteY5" fmla="*/ 3467 h 22408"/>
                <a:gd name="connsiteX6" fmla="*/ 519 w 22408"/>
                <a:gd name="connsiteY6" fmla="*/ 15567 h 22408"/>
                <a:gd name="connsiteX7" fmla="*/ 9931 w 22408"/>
                <a:gd name="connsiteY7" fmla="*/ 24979 h 22408"/>
                <a:gd name="connsiteX8" fmla="*/ 7242 w 22408"/>
                <a:gd name="connsiteY8" fmla="*/ 7052 h 22408"/>
                <a:gd name="connsiteX9" fmla="*/ 13068 w 22408"/>
                <a:gd name="connsiteY9" fmla="*/ 4811 h 22408"/>
                <a:gd name="connsiteX10" fmla="*/ 15309 w 22408"/>
                <a:gd name="connsiteY10" fmla="*/ 5259 h 22408"/>
                <a:gd name="connsiteX11" fmla="*/ 21135 w 22408"/>
                <a:gd name="connsiteY11" fmla="*/ 11086 h 22408"/>
                <a:gd name="connsiteX12" fmla="*/ 18894 w 22408"/>
                <a:gd name="connsiteY12" fmla="*/ 19153 h 22408"/>
                <a:gd name="connsiteX13" fmla="*/ 10827 w 22408"/>
                <a:gd name="connsiteY13" fmla="*/ 21393 h 22408"/>
                <a:gd name="connsiteX14" fmla="*/ 5001 w 22408"/>
                <a:gd name="connsiteY14" fmla="*/ 15567 h 22408"/>
                <a:gd name="connsiteX15" fmla="*/ 7242 w 22408"/>
                <a:gd name="connsiteY15" fmla="*/ 705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931" y="24979"/>
                  </a:moveTo>
                  <a:cubicBezTo>
                    <a:pt x="10827" y="25427"/>
                    <a:pt x="12172" y="25427"/>
                    <a:pt x="13068" y="25427"/>
                  </a:cubicBezTo>
                  <a:cubicBezTo>
                    <a:pt x="16205" y="25427"/>
                    <a:pt x="19791" y="24083"/>
                    <a:pt x="22031" y="21842"/>
                  </a:cubicBezTo>
                  <a:cubicBezTo>
                    <a:pt x="25168" y="18704"/>
                    <a:pt x="26513" y="14223"/>
                    <a:pt x="25168" y="9741"/>
                  </a:cubicBezTo>
                  <a:cubicBezTo>
                    <a:pt x="24272" y="5259"/>
                    <a:pt x="20687" y="1674"/>
                    <a:pt x="15757" y="329"/>
                  </a:cubicBezTo>
                  <a:cubicBezTo>
                    <a:pt x="11275" y="-567"/>
                    <a:pt x="6793" y="329"/>
                    <a:pt x="3656" y="3467"/>
                  </a:cubicBezTo>
                  <a:cubicBezTo>
                    <a:pt x="519" y="6604"/>
                    <a:pt x="-825" y="11086"/>
                    <a:pt x="519" y="15567"/>
                  </a:cubicBezTo>
                  <a:cubicBezTo>
                    <a:pt x="1864" y="20497"/>
                    <a:pt x="5449" y="24083"/>
                    <a:pt x="9931" y="24979"/>
                  </a:cubicBezTo>
                  <a:close/>
                  <a:moveTo>
                    <a:pt x="7242" y="7052"/>
                  </a:moveTo>
                  <a:cubicBezTo>
                    <a:pt x="8586" y="5707"/>
                    <a:pt x="10827" y="4811"/>
                    <a:pt x="13068" y="4811"/>
                  </a:cubicBezTo>
                  <a:cubicBezTo>
                    <a:pt x="13964" y="4811"/>
                    <a:pt x="14412" y="4811"/>
                    <a:pt x="15309" y="5259"/>
                  </a:cubicBezTo>
                  <a:cubicBezTo>
                    <a:pt x="17998" y="6156"/>
                    <a:pt x="20687" y="8397"/>
                    <a:pt x="21135" y="11086"/>
                  </a:cubicBezTo>
                  <a:cubicBezTo>
                    <a:pt x="22031" y="13774"/>
                    <a:pt x="21135" y="16912"/>
                    <a:pt x="18894" y="19153"/>
                  </a:cubicBezTo>
                  <a:cubicBezTo>
                    <a:pt x="16653" y="21393"/>
                    <a:pt x="13964" y="21842"/>
                    <a:pt x="10827" y="21393"/>
                  </a:cubicBezTo>
                  <a:cubicBezTo>
                    <a:pt x="8138" y="20497"/>
                    <a:pt x="5449" y="18256"/>
                    <a:pt x="5001" y="15567"/>
                  </a:cubicBezTo>
                  <a:cubicBezTo>
                    <a:pt x="4553" y="11982"/>
                    <a:pt x="5001" y="8845"/>
                    <a:pt x="7242" y="7052"/>
                  </a:cubicBezTo>
                  <a:close/>
                </a:path>
              </a:pathLst>
            </a:custGeom>
            <a:solidFill>
              <a:srgbClr val="231F20"/>
            </a:solidFill>
            <a:ln w="4477" cap="flat">
              <a:noFill/>
              <a:prstDash val="solid"/>
              <a:miter/>
            </a:ln>
          </p:spPr>
          <p:txBody>
            <a:bodyPr rtlCol="0" anchor="ctr"/>
            <a:lstStyle/>
            <a:p>
              <a:endParaRPr lang="en-US"/>
            </a:p>
          </p:txBody>
        </p:sp>
        <p:sp>
          <p:nvSpPr>
            <p:cNvPr id="2625" name="Freeform: Shape 2624">
              <a:extLst>
                <a:ext uri="{FF2B5EF4-FFF2-40B4-BE49-F238E27FC236}">
                  <a16:creationId xmlns:a16="http://schemas.microsoft.com/office/drawing/2014/main" id="{D10E3340-0E87-4BE5-AEF6-A6A257A0D54F}"/>
                </a:ext>
              </a:extLst>
            </p:cNvPr>
            <p:cNvSpPr/>
            <p:nvPr/>
          </p:nvSpPr>
          <p:spPr>
            <a:xfrm>
              <a:off x="7881083" y="4329757"/>
              <a:ext cx="44817" cy="26890"/>
            </a:xfrm>
            <a:custGeom>
              <a:avLst/>
              <a:gdLst>
                <a:gd name="connsiteX0" fmla="*/ 29131 w 44817"/>
                <a:gd name="connsiteY0" fmla="*/ 0 h 26890"/>
                <a:gd name="connsiteX1" fmla="*/ 15686 w 44817"/>
                <a:gd name="connsiteY1" fmla="*/ 0 h 26890"/>
                <a:gd name="connsiteX2" fmla="*/ 0 w 44817"/>
                <a:gd name="connsiteY2" fmla="*/ 15686 h 26890"/>
                <a:gd name="connsiteX3" fmla="*/ 0 w 44817"/>
                <a:gd name="connsiteY3" fmla="*/ 20616 h 26890"/>
                <a:gd name="connsiteX4" fmla="*/ 7171 w 44817"/>
                <a:gd name="connsiteY4" fmla="*/ 27338 h 26890"/>
                <a:gd name="connsiteX5" fmla="*/ 38094 w 44817"/>
                <a:gd name="connsiteY5" fmla="*/ 27338 h 26890"/>
                <a:gd name="connsiteX6" fmla="*/ 44817 w 44817"/>
                <a:gd name="connsiteY6" fmla="*/ 20616 h 26890"/>
                <a:gd name="connsiteX7" fmla="*/ 44817 w 44817"/>
                <a:gd name="connsiteY7" fmla="*/ 15686 h 26890"/>
                <a:gd name="connsiteX8" fmla="*/ 29131 w 44817"/>
                <a:gd name="connsiteY8" fmla="*/ 0 h 26890"/>
                <a:gd name="connsiteX9" fmla="*/ 40335 w 44817"/>
                <a:gd name="connsiteY9" fmla="*/ 20616 h 26890"/>
                <a:gd name="connsiteX10" fmla="*/ 38094 w 44817"/>
                <a:gd name="connsiteY10" fmla="*/ 22857 h 26890"/>
                <a:gd name="connsiteX11" fmla="*/ 7171 w 44817"/>
                <a:gd name="connsiteY11" fmla="*/ 22857 h 26890"/>
                <a:gd name="connsiteX12" fmla="*/ 4482 w 44817"/>
                <a:gd name="connsiteY12" fmla="*/ 20616 h 26890"/>
                <a:gd name="connsiteX13" fmla="*/ 4482 w 44817"/>
                <a:gd name="connsiteY13" fmla="*/ 15686 h 26890"/>
                <a:gd name="connsiteX14" fmla="*/ 15686 w 44817"/>
                <a:gd name="connsiteY14" fmla="*/ 4482 h 26890"/>
                <a:gd name="connsiteX15" fmla="*/ 29131 w 44817"/>
                <a:gd name="connsiteY15" fmla="*/ 4482 h 26890"/>
                <a:gd name="connsiteX16" fmla="*/ 40335 w 44817"/>
                <a:gd name="connsiteY16" fmla="*/ 15686 h 26890"/>
                <a:gd name="connsiteX17" fmla="*/ 40335 w 44817"/>
                <a:gd name="connsiteY17" fmla="*/ 20616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131" y="0"/>
                  </a:moveTo>
                  <a:lnTo>
                    <a:pt x="15686" y="0"/>
                  </a:lnTo>
                  <a:cubicBezTo>
                    <a:pt x="7171" y="0"/>
                    <a:pt x="0" y="7171"/>
                    <a:pt x="0" y="15686"/>
                  </a:cubicBezTo>
                  <a:lnTo>
                    <a:pt x="0" y="20616"/>
                  </a:lnTo>
                  <a:cubicBezTo>
                    <a:pt x="0" y="24649"/>
                    <a:pt x="3137" y="27338"/>
                    <a:pt x="7171" y="27338"/>
                  </a:cubicBezTo>
                  <a:lnTo>
                    <a:pt x="38094" y="27338"/>
                  </a:lnTo>
                  <a:cubicBezTo>
                    <a:pt x="42128" y="27338"/>
                    <a:pt x="44817" y="24201"/>
                    <a:pt x="44817" y="20616"/>
                  </a:cubicBezTo>
                  <a:lnTo>
                    <a:pt x="44817" y="15686"/>
                  </a:lnTo>
                  <a:cubicBezTo>
                    <a:pt x="44817" y="7171"/>
                    <a:pt x="37646" y="0"/>
                    <a:pt x="29131" y="0"/>
                  </a:cubicBezTo>
                  <a:close/>
                  <a:moveTo>
                    <a:pt x="40335" y="20616"/>
                  </a:moveTo>
                  <a:cubicBezTo>
                    <a:pt x="40335" y="21960"/>
                    <a:pt x="39439" y="22857"/>
                    <a:pt x="38094" y="22857"/>
                  </a:cubicBezTo>
                  <a:lnTo>
                    <a:pt x="7171" y="22857"/>
                  </a:lnTo>
                  <a:cubicBezTo>
                    <a:pt x="5826" y="22857"/>
                    <a:pt x="4482" y="21960"/>
                    <a:pt x="4482" y="20616"/>
                  </a:cubicBezTo>
                  <a:lnTo>
                    <a:pt x="4482" y="15686"/>
                  </a:lnTo>
                  <a:cubicBezTo>
                    <a:pt x="4482" y="9411"/>
                    <a:pt x="9411" y="4482"/>
                    <a:pt x="15686" y="4482"/>
                  </a:cubicBezTo>
                  <a:lnTo>
                    <a:pt x="29131" y="4482"/>
                  </a:lnTo>
                  <a:cubicBezTo>
                    <a:pt x="35405" y="4482"/>
                    <a:pt x="40335" y="9411"/>
                    <a:pt x="40335" y="15686"/>
                  </a:cubicBezTo>
                  <a:lnTo>
                    <a:pt x="40335" y="20616"/>
                  </a:lnTo>
                  <a:close/>
                </a:path>
              </a:pathLst>
            </a:custGeom>
            <a:solidFill>
              <a:srgbClr val="231F20"/>
            </a:solidFill>
            <a:ln w="4477" cap="flat">
              <a:noFill/>
              <a:prstDash val="solid"/>
              <a:miter/>
            </a:ln>
          </p:spPr>
          <p:txBody>
            <a:bodyPr rtlCol="0" anchor="ctr"/>
            <a:lstStyle/>
            <a:p>
              <a:endParaRPr lang="en-US"/>
            </a:p>
          </p:txBody>
        </p:sp>
        <p:sp>
          <p:nvSpPr>
            <p:cNvPr id="2626" name="Freeform: Shape 2625">
              <a:extLst>
                <a:ext uri="{FF2B5EF4-FFF2-40B4-BE49-F238E27FC236}">
                  <a16:creationId xmlns:a16="http://schemas.microsoft.com/office/drawing/2014/main" id="{475CDC30-2862-492F-96A7-FAFAF4B28E21}"/>
                </a:ext>
              </a:extLst>
            </p:cNvPr>
            <p:cNvSpPr/>
            <p:nvPr/>
          </p:nvSpPr>
          <p:spPr>
            <a:xfrm>
              <a:off x="7793962" y="4249535"/>
              <a:ext cx="161341" cy="80671"/>
            </a:xfrm>
            <a:custGeom>
              <a:avLst/>
              <a:gdLst>
                <a:gd name="connsiteX0" fmla="*/ 164655 w 161341"/>
                <a:gd name="connsiteY0" fmla="*/ 71259 h 80670"/>
                <a:gd name="connsiteX1" fmla="*/ 145384 w 161341"/>
                <a:gd name="connsiteY1" fmla="*/ 31372 h 80670"/>
                <a:gd name="connsiteX2" fmla="*/ 131939 w 161341"/>
                <a:gd name="connsiteY2" fmla="*/ 22857 h 80670"/>
                <a:gd name="connsiteX3" fmla="*/ 104600 w 161341"/>
                <a:gd name="connsiteY3" fmla="*/ 22857 h 80670"/>
                <a:gd name="connsiteX4" fmla="*/ 105048 w 161341"/>
                <a:gd name="connsiteY4" fmla="*/ 20616 h 80670"/>
                <a:gd name="connsiteX5" fmla="*/ 105048 w 161341"/>
                <a:gd name="connsiteY5" fmla="*/ 15686 h 80670"/>
                <a:gd name="connsiteX6" fmla="*/ 89362 w 161341"/>
                <a:gd name="connsiteY6" fmla="*/ 0 h 80670"/>
                <a:gd name="connsiteX7" fmla="*/ 75917 w 161341"/>
                <a:gd name="connsiteY7" fmla="*/ 0 h 80670"/>
                <a:gd name="connsiteX8" fmla="*/ 60231 w 161341"/>
                <a:gd name="connsiteY8" fmla="*/ 15686 h 80670"/>
                <a:gd name="connsiteX9" fmla="*/ 60231 w 161341"/>
                <a:gd name="connsiteY9" fmla="*/ 20616 h 80670"/>
                <a:gd name="connsiteX10" fmla="*/ 60679 w 161341"/>
                <a:gd name="connsiteY10" fmla="*/ 22857 h 80670"/>
                <a:gd name="connsiteX11" fmla="*/ 32893 w 161341"/>
                <a:gd name="connsiteY11" fmla="*/ 22857 h 80670"/>
                <a:gd name="connsiteX12" fmla="*/ 19448 w 161341"/>
                <a:gd name="connsiteY12" fmla="*/ 31372 h 80670"/>
                <a:gd name="connsiteX13" fmla="*/ 625 w 161341"/>
                <a:gd name="connsiteY13" fmla="*/ 71259 h 80670"/>
                <a:gd name="connsiteX14" fmla="*/ 1073 w 161341"/>
                <a:gd name="connsiteY14" fmla="*/ 77982 h 80670"/>
                <a:gd name="connsiteX15" fmla="*/ 6451 w 161341"/>
                <a:gd name="connsiteY15" fmla="*/ 81119 h 80670"/>
                <a:gd name="connsiteX16" fmla="*/ 35582 w 161341"/>
                <a:gd name="connsiteY16" fmla="*/ 81119 h 80670"/>
                <a:gd name="connsiteX17" fmla="*/ 35582 w 161341"/>
                <a:gd name="connsiteY17" fmla="*/ 81119 h 80670"/>
                <a:gd name="connsiteX18" fmla="*/ 37823 w 161341"/>
                <a:gd name="connsiteY18" fmla="*/ 78878 h 80670"/>
                <a:gd name="connsiteX19" fmla="*/ 35582 w 161341"/>
                <a:gd name="connsiteY19" fmla="*/ 76637 h 80670"/>
                <a:gd name="connsiteX20" fmla="*/ 6451 w 161341"/>
                <a:gd name="connsiteY20" fmla="*/ 76637 h 80670"/>
                <a:gd name="connsiteX21" fmla="*/ 6451 w 161341"/>
                <a:gd name="connsiteY21" fmla="*/ 76637 h 80670"/>
                <a:gd name="connsiteX22" fmla="*/ 4658 w 161341"/>
                <a:gd name="connsiteY22" fmla="*/ 75741 h 80670"/>
                <a:gd name="connsiteX23" fmla="*/ 4658 w 161341"/>
                <a:gd name="connsiteY23" fmla="*/ 73500 h 80670"/>
                <a:gd name="connsiteX24" fmla="*/ 23481 w 161341"/>
                <a:gd name="connsiteY24" fmla="*/ 33613 h 80670"/>
                <a:gd name="connsiteX25" fmla="*/ 32893 w 161341"/>
                <a:gd name="connsiteY25" fmla="*/ 27339 h 80670"/>
                <a:gd name="connsiteX26" fmla="*/ 67402 w 161341"/>
                <a:gd name="connsiteY26" fmla="*/ 27339 h 80670"/>
                <a:gd name="connsiteX27" fmla="*/ 98326 w 161341"/>
                <a:gd name="connsiteY27" fmla="*/ 27339 h 80670"/>
                <a:gd name="connsiteX28" fmla="*/ 132387 w 161341"/>
                <a:gd name="connsiteY28" fmla="*/ 27339 h 80670"/>
                <a:gd name="connsiteX29" fmla="*/ 141798 w 161341"/>
                <a:gd name="connsiteY29" fmla="*/ 33613 h 80670"/>
                <a:gd name="connsiteX30" fmla="*/ 161070 w 161341"/>
                <a:gd name="connsiteY30" fmla="*/ 73500 h 80670"/>
                <a:gd name="connsiteX31" fmla="*/ 161070 w 161341"/>
                <a:gd name="connsiteY31" fmla="*/ 75741 h 80670"/>
                <a:gd name="connsiteX32" fmla="*/ 159277 w 161341"/>
                <a:gd name="connsiteY32" fmla="*/ 76637 h 80670"/>
                <a:gd name="connsiteX33" fmla="*/ 129698 w 161341"/>
                <a:gd name="connsiteY33" fmla="*/ 76637 h 80670"/>
                <a:gd name="connsiteX34" fmla="*/ 127457 w 161341"/>
                <a:gd name="connsiteY34" fmla="*/ 78878 h 80670"/>
                <a:gd name="connsiteX35" fmla="*/ 129698 w 161341"/>
                <a:gd name="connsiteY35" fmla="*/ 81119 h 80670"/>
                <a:gd name="connsiteX36" fmla="*/ 129698 w 161341"/>
                <a:gd name="connsiteY36" fmla="*/ 81119 h 80670"/>
                <a:gd name="connsiteX37" fmla="*/ 159277 w 161341"/>
                <a:gd name="connsiteY37" fmla="*/ 81119 h 80670"/>
                <a:gd name="connsiteX38" fmla="*/ 164655 w 161341"/>
                <a:gd name="connsiteY38" fmla="*/ 77982 h 80670"/>
                <a:gd name="connsiteX39" fmla="*/ 164655 w 161341"/>
                <a:gd name="connsiteY39" fmla="*/ 71259 h 80670"/>
                <a:gd name="connsiteX40" fmla="*/ 67402 w 161341"/>
                <a:gd name="connsiteY40" fmla="*/ 22857 h 80670"/>
                <a:gd name="connsiteX41" fmla="*/ 64713 w 161341"/>
                <a:gd name="connsiteY41" fmla="*/ 20616 h 80670"/>
                <a:gd name="connsiteX42" fmla="*/ 64713 w 161341"/>
                <a:gd name="connsiteY42" fmla="*/ 15686 h 80670"/>
                <a:gd name="connsiteX43" fmla="*/ 75917 w 161341"/>
                <a:gd name="connsiteY43" fmla="*/ 4482 h 80670"/>
                <a:gd name="connsiteX44" fmla="*/ 89362 w 161341"/>
                <a:gd name="connsiteY44" fmla="*/ 4482 h 80670"/>
                <a:gd name="connsiteX45" fmla="*/ 100567 w 161341"/>
                <a:gd name="connsiteY45" fmla="*/ 15686 h 80670"/>
                <a:gd name="connsiteX46" fmla="*/ 100567 w 161341"/>
                <a:gd name="connsiteY46" fmla="*/ 20616 h 80670"/>
                <a:gd name="connsiteX47" fmla="*/ 98326 w 161341"/>
                <a:gd name="connsiteY47" fmla="*/ 22857 h 80670"/>
                <a:gd name="connsiteX48" fmla="*/ 67402 w 161341"/>
                <a:gd name="connsiteY48" fmla="*/ 22857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341" h="80670">
                  <a:moveTo>
                    <a:pt x="164655" y="71259"/>
                  </a:moveTo>
                  <a:lnTo>
                    <a:pt x="145384" y="31372"/>
                  </a:lnTo>
                  <a:cubicBezTo>
                    <a:pt x="142695" y="25994"/>
                    <a:pt x="137765" y="22857"/>
                    <a:pt x="131939" y="22857"/>
                  </a:cubicBezTo>
                  <a:lnTo>
                    <a:pt x="104600" y="22857"/>
                  </a:lnTo>
                  <a:cubicBezTo>
                    <a:pt x="105048" y="21960"/>
                    <a:pt x="105048" y="21064"/>
                    <a:pt x="105048" y="20616"/>
                  </a:cubicBezTo>
                  <a:lnTo>
                    <a:pt x="105048" y="15686"/>
                  </a:lnTo>
                  <a:cubicBezTo>
                    <a:pt x="105048" y="7171"/>
                    <a:pt x="97878" y="0"/>
                    <a:pt x="89362" y="0"/>
                  </a:cubicBezTo>
                  <a:lnTo>
                    <a:pt x="75917" y="0"/>
                  </a:lnTo>
                  <a:cubicBezTo>
                    <a:pt x="67402" y="0"/>
                    <a:pt x="60231" y="7171"/>
                    <a:pt x="60231" y="15686"/>
                  </a:cubicBezTo>
                  <a:lnTo>
                    <a:pt x="60231" y="20616"/>
                  </a:lnTo>
                  <a:cubicBezTo>
                    <a:pt x="60231" y="21512"/>
                    <a:pt x="60231" y="22409"/>
                    <a:pt x="60679" y="22857"/>
                  </a:cubicBezTo>
                  <a:lnTo>
                    <a:pt x="32893" y="22857"/>
                  </a:lnTo>
                  <a:cubicBezTo>
                    <a:pt x="27067" y="22857"/>
                    <a:pt x="22137" y="25994"/>
                    <a:pt x="19448" y="31372"/>
                  </a:cubicBezTo>
                  <a:lnTo>
                    <a:pt x="625" y="71259"/>
                  </a:lnTo>
                  <a:cubicBezTo>
                    <a:pt x="-272" y="73500"/>
                    <a:pt x="-272" y="75741"/>
                    <a:pt x="1073" y="77982"/>
                  </a:cubicBezTo>
                  <a:cubicBezTo>
                    <a:pt x="2417" y="79774"/>
                    <a:pt x="4210" y="81119"/>
                    <a:pt x="6451" y="81119"/>
                  </a:cubicBezTo>
                  <a:lnTo>
                    <a:pt x="35582" y="81119"/>
                  </a:lnTo>
                  <a:cubicBezTo>
                    <a:pt x="35582" y="81119"/>
                    <a:pt x="35582" y="81119"/>
                    <a:pt x="35582" y="81119"/>
                  </a:cubicBezTo>
                  <a:cubicBezTo>
                    <a:pt x="36926" y="81119"/>
                    <a:pt x="37823" y="80223"/>
                    <a:pt x="37823" y="78878"/>
                  </a:cubicBezTo>
                  <a:cubicBezTo>
                    <a:pt x="37823" y="77533"/>
                    <a:pt x="36926" y="76637"/>
                    <a:pt x="35582" y="76637"/>
                  </a:cubicBezTo>
                  <a:lnTo>
                    <a:pt x="6451" y="76637"/>
                  </a:lnTo>
                  <a:cubicBezTo>
                    <a:pt x="6451" y="76637"/>
                    <a:pt x="6451" y="76637"/>
                    <a:pt x="6451" y="76637"/>
                  </a:cubicBezTo>
                  <a:cubicBezTo>
                    <a:pt x="5555" y="76637"/>
                    <a:pt x="5106" y="76189"/>
                    <a:pt x="4658" y="75741"/>
                  </a:cubicBezTo>
                  <a:cubicBezTo>
                    <a:pt x="4210" y="74844"/>
                    <a:pt x="4210" y="73948"/>
                    <a:pt x="4658" y="73500"/>
                  </a:cubicBezTo>
                  <a:lnTo>
                    <a:pt x="23481" y="33613"/>
                  </a:lnTo>
                  <a:cubicBezTo>
                    <a:pt x="25274" y="30027"/>
                    <a:pt x="28859" y="27339"/>
                    <a:pt x="32893" y="27339"/>
                  </a:cubicBezTo>
                  <a:lnTo>
                    <a:pt x="67402" y="27339"/>
                  </a:lnTo>
                  <a:lnTo>
                    <a:pt x="98326" y="27339"/>
                  </a:lnTo>
                  <a:lnTo>
                    <a:pt x="132387" y="27339"/>
                  </a:lnTo>
                  <a:cubicBezTo>
                    <a:pt x="136420" y="27339"/>
                    <a:pt x="140006" y="29579"/>
                    <a:pt x="141798" y="33613"/>
                  </a:cubicBezTo>
                  <a:lnTo>
                    <a:pt x="161070" y="73500"/>
                  </a:lnTo>
                  <a:cubicBezTo>
                    <a:pt x="161518" y="74396"/>
                    <a:pt x="161518" y="75293"/>
                    <a:pt x="161070" y="75741"/>
                  </a:cubicBezTo>
                  <a:cubicBezTo>
                    <a:pt x="161070" y="76189"/>
                    <a:pt x="160173" y="76637"/>
                    <a:pt x="159277" y="76637"/>
                  </a:cubicBezTo>
                  <a:lnTo>
                    <a:pt x="129698" y="76637"/>
                  </a:lnTo>
                  <a:cubicBezTo>
                    <a:pt x="128353" y="76637"/>
                    <a:pt x="127457" y="77533"/>
                    <a:pt x="127457" y="78878"/>
                  </a:cubicBezTo>
                  <a:cubicBezTo>
                    <a:pt x="127457" y="80223"/>
                    <a:pt x="128353" y="81119"/>
                    <a:pt x="129698" y="81119"/>
                  </a:cubicBezTo>
                  <a:cubicBezTo>
                    <a:pt x="129698" y="81119"/>
                    <a:pt x="129698" y="81119"/>
                    <a:pt x="129698" y="81119"/>
                  </a:cubicBezTo>
                  <a:lnTo>
                    <a:pt x="159277" y="81119"/>
                  </a:lnTo>
                  <a:cubicBezTo>
                    <a:pt x="161518" y="81119"/>
                    <a:pt x="163310" y="79774"/>
                    <a:pt x="164655" y="77982"/>
                  </a:cubicBezTo>
                  <a:cubicBezTo>
                    <a:pt x="165999" y="75741"/>
                    <a:pt x="165999" y="73052"/>
                    <a:pt x="164655" y="71259"/>
                  </a:cubicBezTo>
                  <a:close/>
                  <a:moveTo>
                    <a:pt x="67402" y="22857"/>
                  </a:moveTo>
                  <a:cubicBezTo>
                    <a:pt x="66058" y="22857"/>
                    <a:pt x="64713" y="21960"/>
                    <a:pt x="64713" y="20616"/>
                  </a:cubicBezTo>
                  <a:lnTo>
                    <a:pt x="64713" y="15686"/>
                  </a:lnTo>
                  <a:cubicBezTo>
                    <a:pt x="64713" y="9412"/>
                    <a:pt x="69643" y="4482"/>
                    <a:pt x="75917" y="4482"/>
                  </a:cubicBezTo>
                  <a:lnTo>
                    <a:pt x="89362" y="4482"/>
                  </a:lnTo>
                  <a:cubicBezTo>
                    <a:pt x="95637" y="4482"/>
                    <a:pt x="100567" y="9412"/>
                    <a:pt x="100567" y="15686"/>
                  </a:cubicBezTo>
                  <a:lnTo>
                    <a:pt x="100567" y="20616"/>
                  </a:lnTo>
                  <a:cubicBezTo>
                    <a:pt x="100567" y="21960"/>
                    <a:pt x="99670" y="22857"/>
                    <a:pt x="98326" y="22857"/>
                  </a:cubicBezTo>
                  <a:lnTo>
                    <a:pt x="67402" y="22857"/>
                  </a:lnTo>
                  <a:close/>
                </a:path>
              </a:pathLst>
            </a:custGeom>
            <a:solidFill>
              <a:srgbClr val="231F20"/>
            </a:solidFill>
            <a:ln w="4477" cap="flat">
              <a:noFill/>
              <a:prstDash val="solid"/>
              <a:miter/>
            </a:ln>
          </p:spPr>
          <p:txBody>
            <a:bodyPr rtlCol="0" anchor="ctr"/>
            <a:lstStyle/>
            <a:p>
              <a:endParaRPr lang="en-US"/>
            </a:p>
          </p:txBody>
        </p:sp>
      </p:grpSp>
      <p:grpSp>
        <p:nvGrpSpPr>
          <p:cNvPr id="2437" name="Group 2436">
            <a:extLst>
              <a:ext uri="{FF2B5EF4-FFF2-40B4-BE49-F238E27FC236}">
                <a16:creationId xmlns:a16="http://schemas.microsoft.com/office/drawing/2014/main" id="{9DB10869-B84E-436F-A515-169960792C6C}"/>
              </a:ext>
              <a:ext uri="{C183D7F6-B498-43B3-948B-1728B52AA6E4}">
                <adec:decorative xmlns:adec="http://schemas.microsoft.com/office/drawing/2017/decorative" val="1"/>
              </a:ext>
            </a:extLst>
          </p:cNvPr>
          <p:cNvGrpSpPr>
            <a:grpSpLocks noChangeAspect="1"/>
          </p:cNvGrpSpPr>
          <p:nvPr/>
        </p:nvGrpSpPr>
        <p:grpSpPr>
          <a:xfrm>
            <a:off x="1665739" y="5222334"/>
            <a:ext cx="152378" cy="150585"/>
            <a:chOff x="7540474" y="4205166"/>
            <a:chExt cx="152378" cy="150585"/>
          </a:xfrm>
        </p:grpSpPr>
        <p:sp>
          <p:nvSpPr>
            <p:cNvPr id="2616" name="Freeform: Shape 2615">
              <a:extLst>
                <a:ext uri="{FF2B5EF4-FFF2-40B4-BE49-F238E27FC236}">
                  <a16:creationId xmlns:a16="http://schemas.microsoft.com/office/drawing/2014/main" id="{D7983909-2F10-4327-85C7-DAB411266611}"/>
                </a:ext>
              </a:extLst>
            </p:cNvPr>
            <p:cNvSpPr/>
            <p:nvPr/>
          </p:nvSpPr>
          <p:spPr>
            <a:xfrm>
              <a:off x="7540474" y="4266117"/>
              <a:ext cx="53780" cy="89634"/>
            </a:xfrm>
            <a:custGeom>
              <a:avLst/>
              <a:gdLst>
                <a:gd name="connsiteX0" fmla="*/ 45265 w 53780"/>
                <a:gd name="connsiteY0" fmla="*/ 0 h 89634"/>
                <a:gd name="connsiteX1" fmla="*/ 12997 w 53780"/>
                <a:gd name="connsiteY1" fmla="*/ 0 h 89634"/>
                <a:gd name="connsiteX2" fmla="*/ 0 w 53780"/>
                <a:gd name="connsiteY2" fmla="*/ 12997 h 89634"/>
                <a:gd name="connsiteX3" fmla="*/ 0 w 53780"/>
                <a:gd name="connsiteY3" fmla="*/ 44369 h 89634"/>
                <a:gd name="connsiteX4" fmla="*/ 6723 w 53780"/>
                <a:gd name="connsiteY4" fmla="*/ 51540 h 89634"/>
                <a:gd name="connsiteX5" fmla="*/ 10308 w 53780"/>
                <a:gd name="connsiteY5" fmla="*/ 51540 h 89634"/>
                <a:gd name="connsiteX6" fmla="*/ 10308 w 53780"/>
                <a:gd name="connsiteY6" fmla="*/ 85152 h 89634"/>
                <a:gd name="connsiteX7" fmla="*/ 17479 w 53780"/>
                <a:gd name="connsiteY7" fmla="*/ 91875 h 89634"/>
                <a:gd name="connsiteX8" fmla="*/ 40335 w 53780"/>
                <a:gd name="connsiteY8" fmla="*/ 91875 h 89634"/>
                <a:gd name="connsiteX9" fmla="*/ 47058 w 53780"/>
                <a:gd name="connsiteY9" fmla="*/ 85152 h 89634"/>
                <a:gd name="connsiteX10" fmla="*/ 47058 w 53780"/>
                <a:gd name="connsiteY10" fmla="*/ 51540 h 89634"/>
                <a:gd name="connsiteX11" fmla="*/ 51091 w 53780"/>
                <a:gd name="connsiteY11" fmla="*/ 51540 h 89634"/>
                <a:gd name="connsiteX12" fmla="*/ 57814 w 53780"/>
                <a:gd name="connsiteY12" fmla="*/ 44369 h 89634"/>
                <a:gd name="connsiteX13" fmla="*/ 57814 w 53780"/>
                <a:gd name="connsiteY13" fmla="*/ 12997 h 89634"/>
                <a:gd name="connsiteX14" fmla="*/ 45265 w 53780"/>
                <a:gd name="connsiteY14" fmla="*/ 0 h 89634"/>
                <a:gd name="connsiteX15" fmla="*/ 53780 w 53780"/>
                <a:gd name="connsiteY15" fmla="*/ 43921 h 89634"/>
                <a:gd name="connsiteX16" fmla="*/ 51540 w 53780"/>
                <a:gd name="connsiteY16" fmla="*/ 46610 h 89634"/>
                <a:gd name="connsiteX17" fmla="*/ 47506 w 53780"/>
                <a:gd name="connsiteY17" fmla="*/ 46610 h 89634"/>
                <a:gd name="connsiteX18" fmla="*/ 47506 w 53780"/>
                <a:gd name="connsiteY18" fmla="*/ 19271 h 89634"/>
                <a:gd name="connsiteX19" fmla="*/ 45265 w 53780"/>
                <a:gd name="connsiteY19" fmla="*/ 17030 h 89634"/>
                <a:gd name="connsiteX20" fmla="*/ 43024 w 53780"/>
                <a:gd name="connsiteY20" fmla="*/ 19271 h 89634"/>
                <a:gd name="connsiteX21" fmla="*/ 43024 w 53780"/>
                <a:gd name="connsiteY21" fmla="*/ 84704 h 89634"/>
                <a:gd name="connsiteX22" fmla="*/ 40784 w 53780"/>
                <a:gd name="connsiteY22" fmla="*/ 86945 h 89634"/>
                <a:gd name="connsiteX23" fmla="*/ 31820 w 53780"/>
                <a:gd name="connsiteY23" fmla="*/ 86945 h 89634"/>
                <a:gd name="connsiteX24" fmla="*/ 31820 w 53780"/>
                <a:gd name="connsiteY24" fmla="*/ 50195 h 89634"/>
                <a:gd name="connsiteX25" fmla="*/ 29579 w 53780"/>
                <a:gd name="connsiteY25" fmla="*/ 47954 h 89634"/>
                <a:gd name="connsiteX26" fmla="*/ 27338 w 53780"/>
                <a:gd name="connsiteY26" fmla="*/ 50195 h 89634"/>
                <a:gd name="connsiteX27" fmla="*/ 27338 w 53780"/>
                <a:gd name="connsiteY27" fmla="*/ 86945 h 89634"/>
                <a:gd name="connsiteX28" fmla="*/ 18375 w 53780"/>
                <a:gd name="connsiteY28" fmla="*/ 86945 h 89634"/>
                <a:gd name="connsiteX29" fmla="*/ 15686 w 53780"/>
                <a:gd name="connsiteY29" fmla="*/ 84704 h 89634"/>
                <a:gd name="connsiteX30" fmla="*/ 15686 w 53780"/>
                <a:gd name="connsiteY30" fmla="*/ 19271 h 89634"/>
                <a:gd name="connsiteX31" fmla="*/ 13445 w 53780"/>
                <a:gd name="connsiteY31" fmla="*/ 17030 h 89634"/>
                <a:gd name="connsiteX32" fmla="*/ 11204 w 53780"/>
                <a:gd name="connsiteY32" fmla="*/ 19271 h 89634"/>
                <a:gd name="connsiteX33" fmla="*/ 11204 w 53780"/>
                <a:gd name="connsiteY33" fmla="*/ 46610 h 89634"/>
                <a:gd name="connsiteX34" fmla="*/ 7619 w 53780"/>
                <a:gd name="connsiteY34" fmla="*/ 46610 h 89634"/>
                <a:gd name="connsiteX35" fmla="*/ 5378 w 53780"/>
                <a:gd name="connsiteY35" fmla="*/ 43921 h 89634"/>
                <a:gd name="connsiteX36" fmla="*/ 5378 w 53780"/>
                <a:gd name="connsiteY36" fmla="*/ 12549 h 89634"/>
                <a:gd name="connsiteX37" fmla="*/ 13893 w 53780"/>
                <a:gd name="connsiteY37" fmla="*/ 4034 h 89634"/>
                <a:gd name="connsiteX38" fmla="*/ 46162 w 53780"/>
                <a:gd name="connsiteY38" fmla="*/ 4034 h 89634"/>
                <a:gd name="connsiteX39" fmla="*/ 54677 w 53780"/>
                <a:gd name="connsiteY39" fmla="*/ 12549 h 89634"/>
                <a:gd name="connsiteX40" fmla="*/ 54677 w 53780"/>
                <a:gd name="connsiteY40" fmla="*/ 4392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3780" h="89634">
                  <a:moveTo>
                    <a:pt x="45265" y="0"/>
                  </a:moveTo>
                  <a:lnTo>
                    <a:pt x="12997" y="0"/>
                  </a:lnTo>
                  <a:cubicBezTo>
                    <a:pt x="5826" y="0"/>
                    <a:pt x="0" y="5826"/>
                    <a:pt x="0" y="12997"/>
                  </a:cubicBezTo>
                  <a:lnTo>
                    <a:pt x="0" y="44369"/>
                  </a:lnTo>
                  <a:cubicBezTo>
                    <a:pt x="0" y="48402"/>
                    <a:pt x="3137" y="51540"/>
                    <a:pt x="6723" y="51540"/>
                  </a:cubicBezTo>
                  <a:lnTo>
                    <a:pt x="10308" y="51540"/>
                  </a:lnTo>
                  <a:lnTo>
                    <a:pt x="10308" y="85152"/>
                  </a:lnTo>
                  <a:cubicBezTo>
                    <a:pt x="10308" y="89186"/>
                    <a:pt x="13445" y="91875"/>
                    <a:pt x="17479" y="91875"/>
                  </a:cubicBezTo>
                  <a:lnTo>
                    <a:pt x="40335" y="91875"/>
                  </a:lnTo>
                  <a:cubicBezTo>
                    <a:pt x="44369" y="91875"/>
                    <a:pt x="47058" y="88738"/>
                    <a:pt x="47058" y="85152"/>
                  </a:cubicBezTo>
                  <a:lnTo>
                    <a:pt x="47058" y="51540"/>
                  </a:lnTo>
                  <a:lnTo>
                    <a:pt x="51091" y="51540"/>
                  </a:lnTo>
                  <a:cubicBezTo>
                    <a:pt x="55125" y="51540"/>
                    <a:pt x="57814" y="48402"/>
                    <a:pt x="57814" y="44369"/>
                  </a:cubicBezTo>
                  <a:lnTo>
                    <a:pt x="57814" y="12997"/>
                  </a:lnTo>
                  <a:cubicBezTo>
                    <a:pt x="58262" y="5826"/>
                    <a:pt x="52436" y="0"/>
                    <a:pt x="45265" y="0"/>
                  </a:cubicBezTo>
                  <a:close/>
                  <a:moveTo>
                    <a:pt x="53780" y="43921"/>
                  </a:moveTo>
                  <a:cubicBezTo>
                    <a:pt x="53780" y="45265"/>
                    <a:pt x="52884" y="46610"/>
                    <a:pt x="51540" y="46610"/>
                  </a:cubicBezTo>
                  <a:lnTo>
                    <a:pt x="47506" y="46610"/>
                  </a:lnTo>
                  <a:lnTo>
                    <a:pt x="47506" y="19271"/>
                  </a:lnTo>
                  <a:cubicBezTo>
                    <a:pt x="47506" y="17927"/>
                    <a:pt x="46610" y="17030"/>
                    <a:pt x="45265" y="17030"/>
                  </a:cubicBezTo>
                  <a:cubicBezTo>
                    <a:pt x="43921" y="17030"/>
                    <a:pt x="43024" y="17927"/>
                    <a:pt x="43024" y="19271"/>
                  </a:cubicBezTo>
                  <a:lnTo>
                    <a:pt x="43024" y="84704"/>
                  </a:lnTo>
                  <a:cubicBezTo>
                    <a:pt x="43024" y="86049"/>
                    <a:pt x="42128" y="86945"/>
                    <a:pt x="40784" y="86945"/>
                  </a:cubicBezTo>
                  <a:lnTo>
                    <a:pt x="31820" y="86945"/>
                  </a:lnTo>
                  <a:lnTo>
                    <a:pt x="31820" y="50195"/>
                  </a:lnTo>
                  <a:cubicBezTo>
                    <a:pt x="31820" y="48851"/>
                    <a:pt x="30924" y="47954"/>
                    <a:pt x="29579" y="47954"/>
                  </a:cubicBezTo>
                  <a:cubicBezTo>
                    <a:pt x="28235" y="47954"/>
                    <a:pt x="27338" y="48851"/>
                    <a:pt x="27338" y="50195"/>
                  </a:cubicBezTo>
                  <a:lnTo>
                    <a:pt x="27338" y="86945"/>
                  </a:lnTo>
                  <a:lnTo>
                    <a:pt x="18375" y="86945"/>
                  </a:lnTo>
                  <a:cubicBezTo>
                    <a:pt x="17030" y="86945"/>
                    <a:pt x="15686" y="86049"/>
                    <a:pt x="15686" y="84704"/>
                  </a:cubicBezTo>
                  <a:lnTo>
                    <a:pt x="15686" y="19271"/>
                  </a:lnTo>
                  <a:cubicBezTo>
                    <a:pt x="15686" y="17927"/>
                    <a:pt x="14790" y="17030"/>
                    <a:pt x="13445" y="17030"/>
                  </a:cubicBezTo>
                  <a:cubicBezTo>
                    <a:pt x="12101" y="17030"/>
                    <a:pt x="11204" y="17927"/>
                    <a:pt x="11204" y="19271"/>
                  </a:cubicBezTo>
                  <a:lnTo>
                    <a:pt x="11204" y="46610"/>
                  </a:lnTo>
                  <a:lnTo>
                    <a:pt x="7619" y="46610"/>
                  </a:lnTo>
                  <a:cubicBezTo>
                    <a:pt x="6274" y="46610"/>
                    <a:pt x="5378" y="45713"/>
                    <a:pt x="5378" y="43921"/>
                  </a:cubicBezTo>
                  <a:lnTo>
                    <a:pt x="5378" y="12549"/>
                  </a:lnTo>
                  <a:cubicBezTo>
                    <a:pt x="5378" y="8067"/>
                    <a:pt x="9412" y="4034"/>
                    <a:pt x="13893" y="4034"/>
                  </a:cubicBezTo>
                  <a:lnTo>
                    <a:pt x="46162" y="4034"/>
                  </a:lnTo>
                  <a:cubicBezTo>
                    <a:pt x="50643" y="4034"/>
                    <a:pt x="54677" y="7619"/>
                    <a:pt x="54677" y="12549"/>
                  </a:cubicBezTo>
                  <a:lnTo>
                    <a:pt x="54677" y="43921"/>
                  </a:lnTo>
                  <a:close/>
                </a:path>
              </a:pathLst>
            </a:custGeom>
            <a:solidFill>
              <a:srgbClr val="231F20"/>
            </a:solidFill>
            <a:ln w="4477" cap="flat">
              <a:noFill/>
              <a:prstDash val="solid"/>
              <a:miter/>
            </a:ln>
          </p:spPr>
          <p:txBody>
            <a:bodyPr rtlCol="0" anchor="ctr"/>
            <a:lstStyle/>
            <a:p>
              <a:endParaRPr lang="en-US"/>
            </a:p>
          </p:txBody>
        </p:sp>
        <p:sp>
          <p:nvSpPr>
            <p:cNvPr id="2617" name="Freeform: Shape 2616">
              <a:extLst>
                <a:ext uri="{FF2B5EF4-FFF2-40B4-BE49-F238E27FC236}">
                  <a16:creationId xmlns:a16="http://schemas.microsoft.com/office/drawing/2014/main" id="{545A4C82-8EDD-46C1-80BB-5C466B1652BD}"/>
                </a:ext>
              </a:extLst>
            </p:cNvPr>
            <p:cNvSpPr/>
            <p:nvPr/>
          </p:nvSpPr>
          <p:spPr>
            <a:xfrm>
              <a:off x="7555481" y="4233580"/>
              <a:ext cx="26890" cy="26890"/>
            </a:xfrm>
            <a:custGeom>
              <a:avLst/>
              <a:gdLst>
                <a:gd name="connsiteX0" fmla="*/ 11435 w 26890"/>
                <a:gd name="connsiteY0" fmla="*/ 28056 h 26890"/>
                <a:gd name="connsiteX1" fmla="*/ 14124 w 26890"/>
                <a:gd name="connsiteY1" fmla="*/ 28504 h 26890"/>
                <a:gd name="connsiteX2" fmla="*/ 24432 w 26890"/>
                <a:gd name="connsiteY2" fmla="*/ 24470 h 26890"/>
                <a:gd name="connsiteX3" fmla="*/ 28465 w 26890"/>
                <a:gd name="connsiteY3" fmla="*/ 11473 h 26890"/>
                <a:gd name="connsiteX4" fmla="*/ 17261 w 26890"/>
                <a:gd name="connsiteY4" fmla="*/ 269 h 26890"/>
                <a:gd name="connsiteX5" fmla="*/ 4264 w 26890"/>
                <a:gd name="connsiteY5" fmla="*/ 4303 h 26890"/>
                <a:gd name="connsiteX6" fmla="*/ 231 w 26890"/>
                <a:gd name="connsiteY6" fmla="*/ 17299 h 26890"/>
                <a:gd name="connsiteX7" fmla="*/ 11435 w 26890"/>
                <a:gd name="connsiteY7" fmla="*/ 28056 h 26890"/>
                <a:gd name="connsiteX8" fmla="*/ 7401 w 26890"/>
                <a:gd name="connsiteY8" fmla="*/ 6991 h 26890"/>
                <a:gd name="connsiteX9" fmla="*/ 14572 w 26890"/>
                <a:gd name="connsiteY9" fmla="*/ 4303 h 26890"/>
                <a:gd name="connsiteX10" fmla="*/ 16365 w 26890"/>
                <a:gd name="connsiteY10" fmla="*/ 4303 h 26890"/>
                <a:gd name="connsiteX11" fmla="*/ 23984 w 26890"/>
                <a:gd name="connsiteY11" fmla="*/ 11921 h 26890"/>
                <a:gd name="connsiteX12" fmla="*/ 21295 w 26890"/>
                <a:gd name="connsiteY12" fmla="*/ 20885 h 26890"/>
                <a:gd name="connsiteX13" fmla="*/ 12331 w 26890"/>
                <a:gd name="connsiteY13" fmla="*/ 23574 h 26890"/>
                <a:gd name="connsiteX14" fmla="*/ 4712 w 26890"/>
                <a:gd name="connsiteY14" fmla="*/ 15955 h 26890"/>
                <a:gd name="connsiteX15" fmla="*/ 7401 w 26890"/>
                <a:gd name="connsiteY15" fmla="*/ 699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11435" y="28056"/>
                  </a:moveTo>
                  <a:cubicBezTo>
                    <a:pt x="12331" y="28056"/>
                    <a:pt x="13228" y="28504"/>
                    <a:pt x="14124" y="28504"/>
                  </a:cubicBezTo>
                  <a:cubicBezTo>
                    <a:pt x="17709" y="28504"/>
                    <a:pt x="21743" y="27159"/>
                    <a:pt x="24432" y="24470"/>
                  </a:cubicBezTo>
                  <a:cubicBezTo>
                    <a:pt x="27569" y="21333"/>
                    <a:pt x="29362" y="16403"/>
                    <a:pt x="28465" y="11473"/>
                  </a:cubicBezTo>
                  <a:cubicBezTo>
                    <a:pt x="27569" y="5647"/>
                    <a:pt x="22639" y="1165"/>
                    <a:pt x="17261" y="269"/>
                  </a:cubicBezTo>
                  <a:cubicBezTo>
                    <a:pt x="12331" y="-627"/>
                    <a:pt x="7850" y="717"/>
                    <a:pt x="4264" y="4303"/>
                  </a:cubicBezTo>
                  <a:cubicBezTo>
                    <a:pt x="1127" y="7440"/>
                    <a:pt x="-666" y="12370"/>
                    <a:pt x="231" y="17299"/>
                  </a:cubicBezTo>
                  <a:cubicBezTo>
                    <a:pt x="1127" y="22229"/>
                    <a:pt x="5609" y="26711"/>
                    <a:pt x="11435" y="28056"/>
                  </a:cubicBezTo>
                  <a:close/>
                  <a:moveTo>
                    <a:pt x="7401" y="6991"/>
                  </a:moveTo>
                  <a:cubicBezTo>
                    <a:pt x="9194" y="5199"/>
                    <a:pt x="11883" y="4303"/>
                    <a:pt x="14572" y="4303"/>
                  </a:cubicBezTo>
                  <a:cubicBezTo>
                    <a:pt x="15020" y="4303"/>
                    <a:pt x="15917" y="4303"/>
                    <a:pt x="16365" y="4303"/>
                  </a:cubicBezTo>
                  <a:cubicBezTo>
                    <a:pt x="20398" y="5199"/>
                    <a:pt x="23536" y="8336"/>
                    <a:pt x="23984" y="11921"/>
                  </a:cubicBezTo>
                  <a:cubicBezTo>
                    <a:pt x="24432" y="15058"/>
                    <a:pt x="23536" y="18644"/>
                    <a:pt x="21295" y="20885"/>
                  </a:cubicBezTo>
                  <a:cubicBezTo>
                    <a:pt x="19054" y="23126"/>
                    <a:pt x="15917" y="24022"/>
                    <a:pt x="12331" y="23574"/>
                  </a:cubicBezTo>
                  <a:cubicBezTo>
                    <a:pt x="8298" y="22677"/>
                    <a:pt x="5161" y="19540"/>
                    <a:pt x="4712" y="15955"/>
                  </a:cubicBezTo>
                  <a:cubicBezTo>
                    <a:pt x="3816" y="12370"/>
                    <a:pt x="4712" y="9232"/>
                    <a:pt x="7401" y="6991"/>
                  </a:cubicBezTo>
                  <a:close/>
                </a:path>
              </a:pathLst>
            </a:custGeom>
            <a:solidFill>
              <a:srgbClr val="231F20"/>
            </a:solidFill>
            <a:ln w="4477" cap="flat">
              <a:noFill/>
              <a:prstDash val="solid"/>
              <a:miter/>
            </a:ln>
          </p:spPr>
          <p:txBody>
            <a:bodyPr rtlCol="0" anchor="ctr"/>
            <a:lstStyle/>
            <a:p>
              <a:endParaRPr lang="en-US"/>
            </a:p>
          </p:txBody>
        </p:sp>
        <p:sp>
          <p:nvSpPr>
            <p:cNvPr id="2618" name="Freeform: Shape 2617">
              <a:extLst>
                <a:ext uri="{FF2B5EF4-FFF2-40B4-BE49-F238E27FC236}">
                  <a16:creationId xmlns:a16="http://schemas.microsoft.com/office/drawing/2014/main" id="{0487B787-CC11-415A-BA44-1057A7838CC9}"/>
                </a:ext>
              </a:extLst>
            </p:cNvPr>
            <p:cNvSpPr/>
            <p:nvPr/>
          </p:nvSpPr>
          <p:spPr>
            <a:xfrm>
              <a:off x="7634590" y="4266117"/>
              <a:ext cx="58262" cy="89634"/>
            </a:xfrm>
            <a:custGeom>
              <a:avLst/>
              <a:gdLst>
                <a:gd name="connsiteX0" fmla="*/ 45265 w 58262"/>
                <a:gd name="connsiteY0" fmla="*/ 0 h 89634"/>
                <a:gd name="connsiteX1" fmla="*/ 12997 w 58262"/>
                <a:gd name="connsiteY1" fmla="*/ 0 h 89634"/>
                <a:gd name="connsiteX2" fmla="*/ 0 w 58262"/>
                <a:gd name="connsiteY2" fmla="*/ 12997 h 89634"/>
                <a:gd name="connsiteX3" fmla="*/ 0 w 58262"/>
                <a:gd name="connsiteY3" fmla="*/ 44369 h 89634"/>
                <a:gd name="connsiteX4" fmla="*/ 7171 w 58262"/>
                <a:gd name="connsiteY4" fmla="*/ 51540 h 89634"/>
                <a:gd name="connsiteX5" fmla="*/ 10756 w 58262"/>
                <a:gd name="connsiteY5" fmla="*/ 51540 h 89634"/>
                <a:gd name="connsiteX6" fmla="*/ 10756 w 58262"/>
                <a:gd name="connsiteY6" fmla="*/ 85152 h 89634"/>
                <a:gd name="connsiteX7" fmla="*/ 17479 w 58262"/>
                <a:gd name="connsiteY7" fmla="*/ 91875 h 89634"/>
                <a:gd name="connsiteX8" fmla="*/ 40335 w 58262"/>
                <a:gd name="connsiteY8" fmla="*/ 91875 h 89634"/>
                <a:gd name="connsiteX9" fmla="*/ 47506 w 58262"/>
                <a:gd name="connsiteY9" fmla="*/ 85152 h 89634"/>
                <a:gd name="connsiteX10" fmla="*/ 47506 w 58262"/>
                <a:gd name="connsiteY10" fmla="*/ 51540 h 89634"/>
                <a:gd name="connsiteX11" fmla="*/ 51091 w 58262"/>
                <a:gd name="connsiteY11" fmla="*/ 51540 h 89634"/>
                <a:gd name="connsiteX12" fmla="*/ 58262 w 58262"/>
                <a:gd name="connsiteY12" fmla="*/ 44369 h 89634"/>
                <a:gd name="connsiteX13" fmla="*/ 58262 w 58262"/>
                <a:gd name="connsiteY13" fmla="*/ 12997 h 89634"/>
                <a:gd name="connsiteX14" fmla="*/ 45265 w 58262"/>
                <a:gd name="connsiteY14" fmla="*/ 0 h 89634"/>
                <a:gd name="connsiteX15" fmla="*/ 53780 w 58262"/>
                <a:gd name="connsiteY15" fmla="*/ 43921 h 89634"/>
                <a:gd name="connsiteX16" fmla="*/ 51091 w 58262"/>
                <a:gd name="connsiteY16" fmla="*/ 46610 h 89634"/>
                <a:gd name="connsiteX17" fmla="*/ 47506 w 58262"/>
                <a:gd name="connsiteY17" fmla="*/ 46610 h 89634"/>
                <a:gd name="connsiteX18" fmla="*/ 47506 w 58262"/>
                <a:gd name="connsiteY18" fmla="*/ 19271 h 89634"/>
                <a:gd name="connsiteX19" fmla="*/ 45265 w 58262"/>
                <a:gd name="connsiteY19" fmla="*/ 17030 h 89634"/>
                <a:gd name="connsiteX20" fmla="*/ 43024 w 58262"/>
                <a:gd name="connsiteY20" fmla="*/ 19271 h 89634"/>
                <a:gd name="connsiteX21" fmla="*/ 43024 w 58262"/>
                <a:gd name="connsiteY21" fmla="*/ 84704 h 89634"/>
                <a:gd name="connsiteX22" fmla="*/ 40335 w 58262"/>
                <a:gd name="connsiteY22" fmla="*/ 86945 h 89634"/>
                <a:gd name="connsiteX23" fmla="*/ 31372 w 58262"/>
                <a:gd name="connsiteY23" fmla="*/ 86945 h 89634"/>
                <a:gd name="connsiteX24" fmla="*/ 31372 w 58262"/>
                <a:gd name="connsiteY24" fmla="*/ 50195 h 89634"/>
                <a:gd name="connsiteX25" fmla="*/ 29131 w 58262"/>
                <a:gd name="connsiteY25" fmla="*/ 47954 h 89634"/>
                <a:gd name="connsiteX26" fmla="*/ 26890 w 58262"/>
                <a:gd name="connsiteY26" fmla="*/ 50195 h 89634"/>
                <a:gd name="connsiteX27" fmla="*/ 26890 w 58262"/>
                <a:gd name="connsiteY27" fmla="*/ 86945 h 89634"/>
                <a:gd name="connsiteX28" fmla="*/ 17927 w 58262"/>
                <a:gd name="connsiteY28" fmla="*/ 86945 h 89634"/>
                <a:gd name="connsiteX29" fmla="*/ 15686 w 58262"/>
                <a:gd name="connsiteY29" fmla="*/ 84704 h 89634"/>
                <a:gd name="connsiteX30" fmla="*/ 15686 w 58262"/>
                <a:gd name="connsiteY30" fmla="*/ 19271 h 89634"/>
                <a:gd name="connsiteX31" fmla="*/ 13445 w 58262"/>
                <a:gd name="connsiteY31" fmla="*/ 17030 h 89634"/>
                <a:gd name="connsiteX32" fmla="*/ 11204 w 58262"/>
                <a:gd name="connsiteY32" fmla="*/ 19271 h 89634"/>
                <a:gd name="connsiteX33" fmla="*/ 11204 w 58262"/>
                <a:gd name="connsiteY33" fmla="*/ 46610 h 89634"/>
                <a:gd name="connsiteX34" fmla="*/ 7619 w 58262"/>
                <a:gd name="connsiteY34" fmla="*/ 46610 h 89634"/>
                <a:gd name="connsiteX35" fmla="*/ 4930 w 58262"/>
                <a:gd name="connsiteY35" fmla="*/ 43921 h 89634"/>
                <a:gd name="connsiteX36" fmla="*/ 4930 w 58262"/>
                <a:gd name="connsiteY36" fmla="*/ 12549 h 89634"/>
                <a:gd name="connsiteX37" fmla="*/ 13445 w 58262"/>
                <a:gd name="connsiteY37" fmla="*/ 4034 h 89634"/>
                <a:gd name="connsiteX38" fmla="*/ 45713 w 58262"/>
                <a:gd name="connsiteY38" fmla="*/ 4034 h 89634"/>
                <a:gd name="connsiteX39" fmla="*/ 54228 w 58262"/>
                <a:gd name="connsiteY39" fmla="*/ 12549 h 89634"/>
                <a:gd name="connsiteX40" fmla="*/ 54228 w 58262"/>
                <a:gd name="connsiteY40" fmla="*/ 4392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262" h="89634">
                  <a:moveTo>
                    <a:pt x="45265" y="0"/>
                  </a:moveTo>
                  <a:lnTo>
                    <a:pt x="12997" y="0"/>
                  </a:lnTo>
                  <a:cubicBezTo>
                    <a:pt x="5826" y="0"/>
                    <a:pt x="0" y="5826"/>
                    <a:pt x="0" y="12997"/>
                  </a:cubicBezTo>
                  <a:lnTo>
                    <a:pt x="0" y="44369"/>
                  </a:lnTo>
                  <a:cubicBezTo>
                    <a:pt x="0" y="48402"/>
                    <a:pt x="3137" y="51540"/>
                    <a:pt x="7171" y="51540"/>
                  </a:cubicBezTo>
                  <a:lnTo>
                    <a:pt x="10756" y="51540"/>
                  </a:lnTo>
                  <a:lnTo>
                    <a:pt x="10756" y="85152"/>
                  </a:lnTo>
                  <a:cubicBezTo>
                    <a:pt x="10756" y="89186"/>
                    <a:pt x="13893" y="91875"/>
                    <a:pt x="17479" y="91875"/>
                  </a:cubicBezTo>
                  <a:lnTo>
                    <a:pt x="40335" y="91875"/>
                  </a:lnTo>
                  <a:cubicBezTo>
                    <a:pt x="44369" y="91875"/>
                    <a:pt x="47506" y="88738"/>
                    <a:pt x="47506" y="85152"/>
                  </a:cubicBezTo>
                  <a:lnTo>
                    <a:pt x="47506" y="51540"/>
                  </a:lnTo>
                  <a:lnTo>
                    <a:pt x="51091" y="51540"/>
                  </a:lnTo>
                  <a:cubicBezTo>
                    <a:pt x="55125" y="51540"/>
                    <a:pt x="58262" y="48402"/>
                    <a:pt x="58262" y="44369"/>
                  </a:cubicBezTo>
                  <a:lnTo>
                    <a:pt x="58262" y="12997"/>
                  </a:lnTo>
                  <a:cubicBezTo>
                    <a:pt x="58262" y="5826"/>
                    <a:pt x="52436" y="0"/>
                    <a:pt x="45265" y="0"/>
                  </a:cubicBezTo>
                  <a:close/>
                  <a:moveTo>
                    <a:pt x="53780" y="43921"/>
                  </a:moveTo>
                  <a:cubicBezTo>
                    <a:pt x="53780" y="45265"/>
                    <a:pt x="52884" y="46610"/>
                    <a:pt x="51091" y="46610"/>
                  </a:cubicBezTo>
                  <a:lnTo>
                    <a:pt x="47506" y="46610"/>
                  </a:lnTo>
                  <a:lnTo>
                    <a:pt x="47506" y="19271"/>
                  </a:lnTo>
                  <a:cubicBezTo>
                    <a:pt x="47506" y="17927"/>
                    <a:pt x="46610" y="17030"/>
                    <a:pt x="45265" y="17030"/>
                  </a:cubicBezTo>
                  <a:cubicBezTo>
                    <a:pt x="43921" y="17030"/>
                    <a:pt x="43024" y="17927"/>
                    <a:pt x="43024" y="19271"/>
                  </a:cubicBezTo>
                  <a:lnTo>
                    <a:pt x="43024" y="84704"/>
                  </a:lnTo>
                  <a:cubicBezTo>
                    <a:pt x="43024" y="86049"/>
                    <a:pt x="42128" y="86945"/>
                    <a:pt x="40335" y="86945"/>
                  </a:cubicBezTo>
                  <a:lnTo>
                    <a:pt x="31372" y="86945"/>
                  </a:lnTo>
                  <a:lnTo>
                    <a:pt x="31372" y="50195"/>
                  </a:lnTo>
                  <a:cubicBezTo>
                    <a:pt x="31372" y="48851"/>
                    <a:pt x="30476" y="47954"/>
                    <a:pt x="29131" y="47954"/>
                  </a:cubicBezTo>
                  <a:cubicBezTo>
                    <a:pt x="27786" y="47954"/>
                    <a:pt x="26890" y="48851"/>
                    <a:pt x="26890" y="50195"/>
                  </a:cubicBezTo>
                  <a:lnTo>
                    <a:pt x="26890" y="86945"/>
                  </a:lnTo>
                  <a:lnTo>
                    <a:pt x="17927" y="86945"/>
                  </a:lnTo>
                  <a:cubicBezTo>
                    <a:pt x="16582" y="86945"/>
                    <a:pt x="15686" y="86049"/>
                    <a:pt x="15686" y="84704"/>
                  </a:cubicBezTo>
                  <a:lnTo>
                    <a:pt x="15686" y="19271"/>
                  </a:lnTo>
                  <a:cubicBezTo>
                    <a:pt x="15686" y="17927"/>
                    <a:pt x="14790" y="17030"/>
                    <a:pt x="13445" y="17030"/>
                  </a:cubicBezTo>
                  <a:cubicBezTo>
                    <a:pt x="12101" y="17030"/>
                    <a:pt x="11204" y="17927"/>
                    <a:pt x="11204" y="19271"/>
                  </a:cubicBezTo>
                  <a:lnTo>
                    <a:pt x="11204" y="46610"/>
                  </a:lnTo>
                  <a:lnTo>
                    <a:pt x="7619" y="46610"/>
                  </a:lnTo>
                  <a:cubicBezTo>
                    <a:pt x="6274" y="46610"/>
                    <a:pt x="4930" y="45713"/>
                    <a:pt x="4930" y="43921"/>
                  </a:cubicBezTo>
                  <a:lnTo>
                    <a:pt x="4930" y="12549"/>
                  </a:lnTo>
                  <a:cubicBezTo>
                    <a:pt x="4930" y="8067"/>
                    <a:pt x="8963" y="4034"/>
                    <a:pt x="13445" y="4034"/>
                  </a:cubicBezTo>
                  <a:lnTo>
                    <a:pt x="45713" y="4034"/>
                  </a:lnTo>
                  <a:cubicBezTo>
                    <a:pt x="50195" y="4034"/>
                    <a:pt x="54228" y="7619"/>
                    <a:pt x="54228" y="12549"/>
                  </a:cubicBezTo>
                  <a:lnTo>
                    <a:pt x="54228" y="43921"/>
                  </a:lnTo>
                  <a:close/>
                </a:path>
              </a:pathLst>
            </a:custGeom>
            <a:solidFill>
              <a:srgbClr val="231F20"/>
            </a:solidFill>
            <a:ln w="4477" cap="flat">
              <a:noFill/>
              <a:prstDash val="solid"/>
              <a:miter/>
            </a:ln>
          </p:spPr>
          <p:txBody>
            <a:bodyPr rtlCol="0" anchor="ctr"/>
            <a:lstStyle/>
            <a:p>
              <a:endParaRPr lang="en-US"/>
            </a:p>
          </p:txBody>
        </p:sp>
        <p:sp>
          <p:nvSpPr>
            <p:cNvPr id="2619" name="Freeform: Shape 2618">
              <a:extLst>
                <a:ext uri="{FF2B5EF4-FFF2-40B4-BE49-F238E27FC236}">
                  <a16:creationId xmlns:a16="http://schemas.microsoft.com/office/drawing/2014/main" id="{8FFD0F3F-03C9-4DE5-A747-226C33F1777F}"/>
                </a:ext>
              </a:extLst>
            </p:cNvPr>
            <p:cNvSpPr/>
            <p:nvPr/>
          </p:nvSpPr>
          <p:spPr>
            <a:xfrm>
              <a:off x="7649597" y="4233580"/>
              <a:ext cx="26890" cy="26890"/>
            </a:xfrm>
            <a:custGeom>
              <a:avLst/>
              <a:gdLst>
                <a:gd name="connsiteX0" fmla="*/ 11435 w 26890"/>
                <a:gd name="connsiteY0" fmla="*/ 28056 h 26890"/>
                <a:gd name="connsiteX1" fmla="*/ 14124 w 26890"/>
                <a:gd name="connsiteY1" fmla="*/ 28504 h 26890"/>
                <a:gd name="connsiteX2" fmla="*/ 24432 w 26890"/>
                <a:gd name="connsiteY2" fmla="*/ 24470 h 26890"/>
                <a:gd name="connsiteX3" fmla="*/ 28465 w 26890"/>
                <a:gd name="connsiteY3" fmla="*/ 11473 h 26890"/>
                <a:gd name="connsiteX4" fmla="*/ 17261 w 26890"/>
                <a:gd name="connsiteY4" fmla="*/ 269 h 26890"/>
                <a:gd name="connsiteX5" fmla="*/ 4264 w 26890"/>
                <a:gd name="connsiteY5" fmla="*/ 4303 h 26890"/>
                <a:gd name="connsiteX6" fmla="*/ 231 w 26890"/>
                <a:gd name="connsiteY6" fmla="*/ 17299 h 26890"/>
                <a:gd name="connsiteX7" fmla="*/ 11435 w 26890"/>
                <a:gd name="connsiteY7" fmla="*/ 28056 h 26890"/>
                <a:gd name="connsiteX8" fmla="*/ 7402 w 26890"/>
                <a:gd name="connsiteY8" fmla="*/ 6991 h 26890"/>
                <a:gd name="connsiteX9" fmla="*/ 14572 w 26890"/>
                <a:gd name="connsiteY9" fmla="*/ 4303 h 26890"/>
                <a:gd name="connsiteX10" fmla="*/ 16365 w 26890"/>
                <a:gd name="connsiteY10" fmla="*/ 4303 h 26890"/>
                <a:gd name="connsiteX11" fmla="*/ 23984 w 26890"/>
                <a:gd name="connsiteY11" fmla="*/ 11921 h 26890"/>
                <a:gd name="connsiteX12" fmla="*/ 21295 w 26890"/>
                <a:gd name="connsiteY12" fmla="*/ 20885 h 26890"/>
                <a:gd name="connsiteX13" fmla="*/ 12331 w 26890"/>
                <a:gd name="connsiteY13" fmla="*/ 23574 h 26890"/>
                <a:gd name="connsiteX14" fmla="*/ 4712 w 26890"/>
                <a:gd name="connsiteY14" fmla="*/ 15955 h 26890"/>
                <a:gd name="connsiteX15" fmla="*/ 7402 w 26890"/>
                <a:gd name="connsiteY15" fmla="*/ 6991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90" h="26890">
                  <a:moveTo>
                    <a:pt x="11435" y="28056"/>
                  </a:moveTo>
                  <a:cubicBezTo>
                    <a:pt x="12331" y="28056"/>
                    <a:pt x="13228" y="28504"/>
                    <a:pt x="14124" y="28504"/>
                  </a:cubicBezTo>
                  <a:cubicBezTo>
                    <a:pt x="17709" y="28504"/>
                    <a:pt x="21743" y="27159"/>
                    <a:pt x="24432" y="24470"/>
                  </a:cubicBezTo>
                  <a:cubicBezTo>
                    <a:pt x="27569" y="21333"/>
                    <a:pt x="29362" y="16403"/>
                    <a:pt x="28465" y="11473"/>
                  </a:cubicBezTo>
                  <a:cubicBezTo>
                    <a:pt x="27569" y="5647"/>
                    <a:pt x="22639" y="1165"/>
                    <a:pt x="17261" y="269"/>
                  </a:cubicBezTo>
                  <a:cubicBezTo>
                    <a:pt x="12331" y="-627"/>
                    <a:pt x="7850" y="717"/>
                    <a:pt x="4264" y="4303"/>
                  </a:cubicBezTo>
                  <a:cubicBezTo>
                    <a:pt x="1127" y="7440"/>
                    <a:pt x="-666" y="12370"/>
                    <a:pt x="231" y="17299"/>
                  </a:cubicBezTo>
                  <a:cubicBezTo>
                    <a:pt x="1127" y="22229"/>
                    <a:pt x="5609" y="26711"/>
                    <a:pt x="11435" y="28056"/>
                  </a:cubicBezTo>
                  <a:close/>
                  <a:moveTo>
                    <a:pt x="7402" y="6991"/>
                  </a:moveTo>
                  <a:cubicBezTo>
                    <a:pt x="9194" y="5199"/>
                    <a:pt x="11883" y="4303"/>
                    <a:pt x="14572" y="4303"/>
                  </a:cubicBezTo>
                  <a:cubicBezTo>
                    <a:pt x="15020" y="4303"/>
                    <a:pt x="15917" y="4303"/>
                    <a:pt x="16365" y="4303"/>
                  </a:cubicBezTo>
                  <a:cubicBezTo>
                    <a:pt x="20398" y="5199"/>
                    <a:pt x="23536" y="8336"/>
                    <a:pt x="23984" y="11921"/>
                  </a:cubicBezTo>
                  <a:cubicBezTo>
                    <a:pt x="24432" y="15058"/>
                    <a:pt x="23536" y="18644"/>
                    <a:pt x="21295" y="20885"/>
                  </a:cubicBezTo>
                  <a:cubicBezTo>
                    <a:pt x="19054" y="23126"/>
                    <a:pt x="15917" y="24022"/>
                    <a:pt x="12331" y="23574"/>
                  </a:cubicBezTo>
                  <a:cubicBezTo>
                    <a:pt x="8298" y="22677"/>
                    <a:pt x="5161" y="19540"/>
                    <a:pt x="4712" y="15955"/>
                  </a:cubicBezTo>
                  <a:cubicBezTo>
                    <a:pt x="3816" y="12370"/>
                    <a:pt x="4712" y="9232"/>
                    <a:pt x="7402" y="6991"/>
                  </a:cubicBezTo>
                  <a:close/>
                </a:path>
              </a:pathLst>
            </a:custGeom>
            <a:solidFill>
              <a:srgbClr val="231F20"/>
            </a:solidFill>
            <a:ln w="4477" cap="flat">
              <a:noFill/>
              <a:prstDash val="solid"/>
              <a:miter/>
            </a:ln>
          </p:spPr>
          <p:txBody>
            <a:bodyPr rtlCol="0" anchor="ctr"/>
            <a:lstStyle/>
            <a:p>
              <a:endParaRPr lang="en-US"/>
            </a:p>
          </p:txBody>
        </p:sp>
        <p:sp>
          <p:nvSpPr>
            <p:cNvPr id="2620" name="Freeform: Shape 2619">
              <a:extLst>
                <a:ext uri="{FF2B5EF4-FFF2-40B4-BE49-F238E27FC236}">
                  <a16:creationId xmlns:a16="http://schemas.microsoft.com/office/drawing/2014/main" id="{9AAA2CCC-88B5-434D-8BAF-186160433B46}"/>
                </a:ext>
              </a:extLst>
            </p:cNvPr>
            <p:cNvSpPr/>
            <p:nvPr/>
          </p:nvSpPr>
          <p:spPr>
            <a:xfrm>
              <a:off x="7587532" y="4205166"/>
              <a:ext cx="58262" cy="53780"/>
            </a:xfrm>
            <a:custGeom>
              <a:avLst/>
              <a:gdLst>
                <a:gd name="connsiteX0" fmla="*/ 58710 w 58262"/>
                <a:gd name="connsiteY0" fmla="*/ 34509 h 53780"/>
                <a:gd name="connsiteX1" fmla="*/ 58710 w 58262"/>
                <a:gd name="connsiteY1" fmla="*/ 9860 h 53780"/>
                <a:gd name="connsiteX2" fmla="*/ 49299 w 58262"/>
                <a:gd name="connsiteY2" fmla="*/ 0 h 53780"/>
                <a:gd name="connsiteX3" fmla="*/ 9412 w 58262"/>
                <a:gd name="connsiteY3" fmla="*/ 0 h 53780"/>
                <a:gd name="connsiteX4" fmla="*/ 0 w 58262"/>
                <a:gd name="connsiteY4" fmla="*/ 9860 h 53780"/>
                <a:gd name="connsiteX5" fmla="*/ 0 w 58262"/>
                <a:gd name="connsiteY5" fmla="*/ 34509 h 53780"/>
                <a:gd name="connsiteX6" fmla="*/ 9412 w 58262"/>
                <a:gd name="connsiteY6" fmla="*/ 44817 h 53780"/>
                <a:gd name="connsiteX7" fmla="*/ 11652 w 58262"/>
                <a:gd name="connsiteY7" fmla="*/ 44817 h 53780"/>
                <a:gd name="connsiteX8" fmla="*/ 12101 w 58262"/>
                <a:gd name="connsiteY8" fmla="*/ 46161 h 53780"/>
                <a:gd name="connsiteX9" fmla="*/ 12101 w 58262"/>
                <a:gd name="connsiteY9" fmla="*/ 53780 h 53780"/>
                <a:gd name="connsiteX10" fmla="*/ 26890 w 58262"/>
                <a:gd name="connsiteY10" fmla="*/ 44817 h 53780"/>
                <a:gd name="connsiteX11" fmla="*/ 28235 w 58262"/>
                <a:gd name="connsiteY11" fmla="*/ 44369 h 53780"/>
                <a:gd name="connsiteX12" fmla="*/ 48851 w 58262"/>
                <a:gd name="connsiteY12" fmla="*/ 44369 h 53780"/>
                <a:gd name="connsiteX13" fmla="*/ 58710 w 58262"/>
                <a:gd name="connsiteY13" fmla="*/ 34509 h 53780"/>
                <a:gd name="connsiteX14" fmla="*/ 25098 w 58262"/>
                <a:gd name="connsiteY14" fmla="*/ 41231 h 53780"/>
                <a:gd name="connsiteX15" fmla="*/ 17030 w 58262"/>
                <a:gd name="connsiteY15" fmla="*/ 46161 h 53780"/>
                <a:gd name="connsiteX16" fmla="*/ 12101 w 58262"/>
                <a:gd name="connsiteY16" fmla="*/ 40335 h 53780"/>
                <a:gd name="connsiteX17" fmla="*/ 9860 w 58262"/>
                <a:gd name="connsiteY17" fmla="*/ 40335 h 53780"/>
                <a:gd name="connsiteX18" fmla="*/ 4930 w 58262"/>
                <a:gd name="connsiteY18" fmla="*/ 34509 h 53780"/>
                <a:gd name="connsiteX19" fmla="*/ 4930 w 58262"/>
                <a:gd name="connsiteY19" fmla="*/ 9860 h 53780"/>
                <a:gd name="connsiteX20" fmla="*/ 9860 w 58262"/>
                <a:gd name="connsiteY20" fmla="*/ 4482 h 53780"/>
                <a:gd name="connsiteX21" fmla="*/ 49747 w 58262"/>
                <a:gd name="connsiteY21" fmla="*/ 4482 h 53780"/>
                <a:gd name="connsiteX22" fmla="*/ 54677 w 58262"/>
                <a:gd name="connsiteY22" fmla="*/ 9860 h 53780"/>
                <a:gd name="connsiteX23" fmla="*/ 54677 w 58262"/>
                <a:gd name="connsiteY23" fmla="*/ 34509 h 53780"/>
                <a:gd name="connsiteX24" fmla="*/ 49747 w 58262"/>
                <a:gd name="connsiteY24" fmla="*/ 40335 h 53780"/>
                <a:gd name="connsiteX25" fmla="*/ 29131 w 58262"/>
                <a:gd name="connsiteY25" fmla="*/ 40335 h 53780"/>
                <a:gd name="connsiteX26" fmla="*/ 25098 w 58262"/>
                <a:gd name="connsiteY26" fmla="*/ 41231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62" h="53780">
                  <a:moveTo>
                    <a:pt x="58710" y="34509"/>
                  </a:moveTo>
                  <a:lnTo>
                    <a:pt x="58710" y="9860"/>
                  </a:lnTo>
                  <a:cubicBezTo>
                    <a:pt x="58710" y="4482"/>
                    <a:pt x="54677" y="0"/>
                    <a:pt x="49299" y="0"/>
                  </a:cubicBezTo>
                  <a:lnTo>
                    <a:pt x="9412" y="0"/>
                  </a:lnTo>
                  <a:cubicBezTo>
                    <a:pt x="4482" y="0"/>
                    <a:pt x="0" y="4482"/>
                    <a:pt x="0" y="9860"/>
                  </a:cubicBezTo>
                  <a:lnTo>
                    <a:pt x="0" y="34509"/>
                  </a:lnTo>
                  <a:cubicBezTo>
                    <a:pt x="0" y="39887"/>
                    <a:pt x="4034" y="44817"/>
                    <a:pt x="9412" y="44817"/>
                  </a:cubicBezTo>
                  <a:lnTo>
                    <a:pt x="11652" y="44817"/>
                  </a:lnTo>
                  <a:cubicBezTo>
                    <a:pt x="11652" y="44817"/>
                    <a:pt x="12101" y="45265"/>
                    <a:pt x="12101" y="46161"/>
                  </a:cubicBezTo>
                  <a:lnTo>
                    <a:pt x="12101" y="53780"/>
                  </a:lnTo>
                  <a:lnTo>
                    <a:pt x="26890" y="44817"/>
                  </a:lnTo>
                  <a:cubicBezTo>
                    <a:pt x="27338" y="44817"/>
                    <a:pt x="27787" y="44369"/>
                    <a:pt x="28235" y="44369"/>
                  </a:cubicBezTo>
                  <a:lnTo>
                    <a:pt x="48851" y="44369"/>
                  </a:lnTo>
                  <a:cubicBezTo>
                    <a:pt x="54677" y="44369"/>
                    <a:pt x="58710" y="39887"/>
                    <a:pt x="58710" y="34509"/>
                  </a:cubicBezTo>
                  <a:close/>
                  <a:moveTo>
                    <a:pt x="25098" y="41231"/>
                  </a:moveTo>
                  <a:lnTo>
                    <a:pt x="17030" y="46161"/>
                  </a:lnTo>
                  <a:cubicBezTo>
                    <a:pt x="17030" y="43024"/>
                    <a:pt x="14790" y="40335"/>
                    <a:pt x="12101" y="40335"/>
                  </a:cubicBezTo>
                  <a:lnTo>
                    <a:pt x="9860" y="40335"/>
                  </a:lnTo>
                  <a:cubicBezTo>
                    <a:pt x="7171" y="40335"/>
                    <a:pt x="4930" y="37646"/>
                    <a:pt x="4930" y="34509"/>
                  </a:cubicBezTo>
                  <a:lnTo>
                    <a:pt x="4930" y="9860"/>
                  </a:lnTo>
                  <a:cubicBezTo>
                    <a:pt x="4930" y="6723"/>
                    <a:pt x="7171" y="4482"/>
                    <a:pt x="9860" y="4482"/>
                  </a:cubicBezTo>
                  <a:lnTo>
                    <a:pt x="49747" y="4482"/>
                  </a:lnTo>
                  <a:cubicBezTo>
                    <a:pt x="52436" y="4482"/>
                    <a:pt x="54677" y="7171"/>
                    <a:pt x="54677" y="9860"/>
                  </a:cubicBezTo>
                  <a:lnTo>
                    <a:pt x="54677" y="34509"/>
                  </a:lnTo>
                  <a:cubicBezTo>
                    <a:pt x="54677" y="37646"/>
                    <a:pt x="52436" y="40335"/>
                    <a:pt x="49747" y="40335"/>
                  </a:cubicBezTo>
                  <a:lnTo>
                    <a:pt x="29131" y="40335"/>
                  </a:lnTo>
                  <a:cubicBezTo>
                    <a:pt x="27338" y="39887"/>
                    <a:pt x="25994" y="40335"/>
                    <a:pt x="25098" y="41231"/>
                  </a:cubicBezTo>
                  <a:close/>
                </a:path>
              </a:pathLst>
            </a:custGeom>
            <a:solidFill>
              <a:srgbClr val="231F20"/>
            </a:solidFill>
            <a:ln w="4477" cap="flat">
              <a:noFill/>
              <a:prstDash val="solid"/>
              <a:miter/>
            </a:ln>
          </p:spPr>
          <p:txBody>
            <a:bodyPr rtlCol="0" anchor="ctr"/>
            <a:lstStyle/>
            <a:p>
              <a:endParaRPr lang="en-US"/>
            </a:p>
          </p:txBody>
        </p:sp>
      </p:grpSp>
      <p:grpSp>
        <p:nvGrpSpPr>
          <p:cNvPr id="2438" name="Group 2437">
            <a:extLst>
              <a:ext uri="{FF2B5EF4-FFF2-40B4-BE49-F238E27FC236}">
                <a16:creationId xmlns:a16="http://schemas.microsoft.com/office/drawing/2014/main" id="{B864C272-4E09-48AF-8A6D-7DCE46A1C298}"/>
              </a:ext>
              <a:ext uri="{C183D7F6-B498-43B3-948B-1728B52AA6E4}">
                <adec:decorative xmlns:adec="http://schemas.microsoft.com/office/drawing/2017/decorative" val="1"/>
              </a:ext>
            </a:extLst>
          </p:cNvPr>
          <p:cNvGrpSpPr>
            <a:grpSpLocks noChangeAspect="1"/>
          </p:cNvGrpSpPr>
          <p:nvPr/>
        </p:nvGrpSpPr>
        <p:grpSpPr>
          <a:xfrm>
            <a:off x="1409386" y="5230071"/>
            <a:ext cx="129969" cy="140159"/>
            <a:chOff x="7284121" y="4212903"/>
            <a:chExt cx="129969" cy="140159"/>
          </a:xfrm>
        </p:grpSpPr>
        <p:sp>
          <p:nvSpPr>
            <p:cNvPr id="2614" name="Freeform: Shape 2613">
              <a:extLst>
                <a:ext uri="{FF2B5EF4-FFF2-40B4-BE49-F238E27FC236}">
                  <a16:creationId xmlns:a16="http://schemas.microsoft.com/office/drawing/2014/main" id="{D94867CD-9A28-4398-AF10-DDD195CDB528}"/>
                </a:ext>
              </a:extLst>
            </p:cNvPr>
            <p:cNvSpPr/>
            <p:nvPr/>
          </p:nvSpPr>
          <p:spPr>
            <a:xfrm>
              <a:off x="7333797" y="4212903"/>
              <a:ext cx="22409" cy="22409"/>
            </a:xfrm>
            <a:custGeom>
              <a:avLst/>
              <a:gdLst>
                <a:gd name="connsiteX0" fmla="*/ 9483 w 22408"/>
                <a:gd name="connsiteY0" fmla="*/ 24082 h 22408"/>
                <a:gd name="connsiteX1" fmla="*/ 12620 w 22408"/>
                <a:gd name="connsiteY1" fmla="*/ 24530 h 22408"/>
                <a:gd name="connsiteX2" fmla="*/ 21135 w 22408"/>
                <a:gd name="connsiteY2" fmla="*/ 20945 h 22408"/>
                <a:gd name="connsiteX3" fmla="*/ 24272 w 22408"/>
                <a:gd name="connsiteY3" fmla="*/ 9293 h 22408"/>
                <a:gd name="connsiteX4" fmla="*/ 15309 w 22408"/>
                <a:gd name="connsiteY4" fmla="*/ 329 h 22408"/>
                <a:gd name="connsiteX5" fmla="*/ 3656 w 22408"/>
                <a:gd name="connsiteY5" fmla="*/ 3467 h 22408"/>
                <a:gd name="connsiteX6" fmla="*/ 519 w 22408"/>
                <a:gd name="connsiteY6" fmla="*/ 15119 h 22408"/>
                <a:gd name="connsiteX7" fmla="*/ 9483 w 22408"/>
                <a:gd name="connsiteY7" fmla="*/ 24082 h 22408"/>
                <a:gd name="connsiteX8" fmla="*/ 7242 w 22408"/>
                <a:gd name="connsiteY8" fmla="*/ 6604 h 22408"/>
                <a:gd name="connsiteX9" fmla="*/ 12620 w 22408"/>
                <a:gd name="connsiteY9" fmla="*/ 4363 h 22408"/>
                <a:gd name="connsiteX10" fmla="*/ 14412 w 22408"/>
                <a:gd name="connsiteY10" fmla="*/ 4811 h 22408"/>
                <a:gd name="connsiteX11" fmla="*/ 20239 w 22408"/>
                <a:gd name="connsiteY11" fmla="*/ 10189 h 22408"/>
                <a:gd name="connsiteX12" fmla="*/ 17998 w 22408"/>
                <a:gd name="connsiteY12" fmla="*/ 17808 h 22408"/>
                <a:gd name="connsiteX13" fmla="*/ 10379 w 22408"/>
                <a:gd name="connsiteY13" fmla="*/ 20049 h 22408"/>
                <a:gd name="connsiteX14" fmla="*/ 5001 w 22408"/>
                <a:gd name="connsiteY14" fmla="*/ 14223 h 22408"/>
                <a:gd name="connsiteX15" fmla="*/ 7242 w 22408"/>
                <a:gd name="connsiteY15" fmla="*/ 660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9483" y="24082"/>
                  </a:moveTo>
                  <a:cubicBezTo>
                    <a:pt x="10379" y="24530"/>
                    <a:pt x="11723" y="24530"/>
                    <a:pt x="12620" y="24530"/>
                  </a:cubicBezTo>
                  <a:cubicBezTo>
                    <a:pt x="15757" y="24530"/>
                    <a:pt x="18894" y="23186"/>
                    <a:pt x="21135" y="20945"/>
                  </a:cubicBezTo>
                  <a:cubicBezTo>
                    <a:pt x="24272" y="17808"/>
                    <a:pt x="25617" y="13326"/>
                    <a:pt x="24272" y="9293"/>
                  </a:cubicBezTo>
                  <a:cubicBezTo>
                    <a:pt x="23376" y="4811"/>
                    <a:pt x="19790" y="1226"/>
                    <a:pt x="15309" y="329"/>
                  </a:cubicBezTo>
                  <a:cubicBezTo>
                    <a:pt x="10827" y="-567"/>
                    <a:pt x="6794" y="329"/>
                    <a:pt x="3656" y="3467"/>
                  </a:cubicBezTo>
                  <a:cubicBezTo>
                    <a:pt x="519" y="6604"/>
                    <a:pt x="-825" y="11085"/>
                    <a:pt x="519" y="15119"/>
                  </a:cubicBezTo>
                  <a:cubicBezTo>
                    <a:pt x="1864" y="19601"/>
                    <a:pt x="5001" y="23186"/>
                    <a:pt x="9483" y="24082"/>
                  </a:cubicBezTo>
                  <a:close/>
                  <a:moveTo>
                    <a:pt x="7242" y="6604"/>
                  </a:moveTo>
                  <a:cubicBezTo>
                    <a:pt x="8586" y="5259"/>
                    <a:pt x="10827" y="4363"/>
                    <a:pt x="12620" y="4363"/>
                  </a:cubicBezTo>
                  <a:cubicBezTo>
                    <a:pt x="13068" y="4363"/>
                    <a:pt x="13964" y="4363"/>
                    <a:pt x="14412" y="4811"/>
                  </a:cubicBezTo>
                  <a:cubicBezTo>
                    <a:pt x="17101" y="5259"/>
                    <a:pt x="19342" y="7500"/>
                    <a:pt x="20239" y="10189"/>
                  </a:cubicBezTo>
                  <a:cubicBezTo>
                    <a:pt x="20687" y="12878"/>
                    <a:pt x="20239" y="15567"/>
                    <a:pt x="17998" y="17808"/>
                  </a:cubicBezTo>
                  <a:cubicBezTo>
                    <a:pt x="16205" y="19601"/>
                    <a:pt x="13068" y="20497"/>
                    <a:pt x="10379" y="20049"/>
                  </a:cubicBezTo>
                  <a:cubicBezTo>
                    <a:pt x="7690" y="19601"/>
                    <a:pt x="5449" y="17360"/>
                    <a:pt x="5001" y="14223"/>
                  </a:cubicBezTo>
                  <a:cubicBezTo>
                    <a:pt x="4553" y="11534"/>
                    <a:pt x="5001" y="8396"/>
                    <a:pt x="7242" y="6604"/>
                  </a:cubicBezTo>
                  <a:close/>
                </a:path>
              </a:pathLst>
            </a:custGeom>
            <a:solidFill>
              <a:srgbClr val="231F20"/>
            </a:solidFill>
            <a:ln w="4477" cap="flat">
              <a:noFill/>
              <a:prstDash val="solid"/>
              <a:miter/>
            </a:ln>
          </p:spPr>
          <p:txBody>
            <a:bodyPr rtlCol="0" anchor="ctr"/>
            <a:lstStyle/>
            <a:p>
              <a:endParaRPr lang="en-US"/>
            </a:p>
          </p:txBody>
        </p:sp>
        <p:sp>
          <p:nvSpPr>
            <p:cNvPr id="2615" name="Freeform: Shape 2614">
              <a:extLst>
                <a:ext uri="{FF2B5EF4-FFF2-40B4-BE49-F238E27FC236}">
                  <a16:creationId xmlns:a16="http://schemas.microsoft.com/office/drawing/2014/main" id="{EF0DE0FF-C640-4739-AB8D-381394BBA9B6}"/>
                </a:ext>
              </a:extLst>
            </p:cNvPr>
            <p:cNvSpPr/>
            <p:nvPr/>
          </p:nvSpPr>
          <p:spPr>
            <a:xfrm>
              <a:off x="7284121" y="4214129"/>
              <a:ext cx="129969" cy="138933"/>
            </a:xfrm>
            <a:custGeom>
              <a:avLst/>
              <a:gdLst>
                <a:gd name="connsiteX0" fmla="*/ 124591 w 129969"/>
                <a:gd name="connsiteY0" fmla="*/ 111594 h 138932"/>
                <a:gd name="connsiteX1" fmla="*/ 84256 w 129969"/>
                <a:gd name="connsiteY1" fmla="*/ 111594 h 138932"/>
                <a:gd name="connsiteX2" fmla="*/ 84256 w 129969"/>
                <a:gd name="connsiteY2" fmla="*/ 107113 h 138932"/>
                <a:gd name="connsiteX3" fmla="*/ 84256 w 129969"/>
                <a:gd name="connsiteY3" fmla="*/ 104872 h 138932"/>
                <a:gd name="connsiteX4" fmla="*/ 77533 w 129969"/>
                <a:gd name="connsiteY4" fmla="*/ 98149 h 138932"/>
                <a:gd name="connsiteX5" fmla="*/ 77085 w 129969"/>
                <a:gd name="connsiteY5" fmla="*/ 98149 h 138932"/>
                <a:gd name="connsiteX6" fmla="*/ 77533 w 129969"/>
                <a:gd name="connsiteY6" fmla="*/ 95908 h 138932"/>
                <a:gd name="connsiteX7" fmla="*/ 77533 w 129969"/>
                <a:gd name="connsiteY7" fmla="*/ 48402 h 138932"/>
                <a:gd name="connsiteX8" fmla="*/ 77982 w 129969"/>
                <a:gd name="connsiteY8" fmla="*/ 47058 h 138932"/>
                <a:gd name="connsiteX9" fmla="*/ 102183 w 129969"/>
                <a:gd name="connsiteY9" fmla="*/ 11204 h 138932"/>
                <a:gd name="connsiteX10" fmla="*/ 101286 w 129969"/>
                <a:gd name="connsiteY10" fmla="*/ 2241 h 138932"/>
                <a:gd name="connsiteX11" fmla="*/ 95908 w 129969"/>
                <a:gd name="connsiteY11" fmla="*/ 0 h 138932"/>
                <a:gd name="connsiteX12" fmla="*/ 90979 w 129969"/>
                <a:gd name="connsiteY12" fmla="*/ 3137 h 138932"/>
                <a:gd name="connsiteX13" fmla="*/ 75293 w 129969"/>
                <a:gd name="connsiteY13" fmla="*/ 25097 h 138932"/>
                <a:gd name="connsiteX14" fmla="*/ 73500 w 129969"/>
                <a:gd name="connsiteY14" fmla="*/ 25994 h 138932"/>
                <a:gd name="connsiteX15" fmla="*/ 51540 w 129969"/>
                <a:gd name="connsiteY15" fmla="*/ 25994 h 138932"/>
                <a:gd name="connsiteX16" fmla="*/ 49747 w 129969"/>
                <a:gd name="connsiteY16" fmla="*/ 25097 h 138932"/>
                <a:gd name="connsiteX17" fmla="*/ 34061 w 129969"/>
                <a:gd name="connsiteY17" fmla="*/ 3137 h 138932"/>
                <a:gd name="connsiteX18" fmla="*/ 29131 w 129969"/>
                <a:gd name="connsiteY18" fmla="*/ 0 h 138932"/>
                <a:gd name="connsiteX19" fmla="*/ 23305 w 129969"/>
                <a:gd name="connsiteY19" fmla="*/ 2241 h 138932"/>
                <a:gd name="connsiteX20" fmla="*/ 22409 w 129969"/>
                <a:gd name="connsiteY20" fmla="*/ 10756 h 138932"/>
                <a:gd name="connsiteX21" fmla="*/ 46610 w 129969"/>
                <a:gd name="connsiteY21" fmla="*/ 46610 h 138932"/>
                <a:gd name="connsiteX22" fmla="*/ 47058 w 129969"/>
                <a:gd name="connsiteY22" fmla="*/ 47954 h 138932"/>
                <a:gd name="connsiteX23" fmla="*/ 47058 w 129969"/>
                <a:gd name="connsiteY23" fmla="*/ 95460 h 138932"/>
                <a:gd name="connsiteX24" fmla="*/ 47506 w 129969"/>
                <a:gd name="connsiteY24" fmla="*/ 97701 h 138932"/>
                <a:gd name="connsiteX25" fmla="*/ 47058 w 129969"/>
                <a:gd name="connsiteY25" fmla="*/ 97701 h 138932"/>
                <a:gd name="connsiteX26" fmla="*/ 40335 w 129969"/>
                <a:gd name="connsiteY26" fmla="*/ 104424 h 138932"/>
                <a:gd name="connsiteX27" fmla="*/ 40335 w 129969"/>
                <a:gd name="connsiteY27" fmla="*/ 117869 h 138932"/>
                <a:gd name="connsiteX28" fmla="*/ 40335 w 129969"/>
                <a:gd name="connsiteY28" fmla="*/ 124591 h 138932"/>
                <a:gd name="connsiteX29" fmla="*/ 6723 w 129969"/>
                <a:gd name="connsiteY29" fmla="*/ 124591 h 138932"/>
                <a:gd name="connsiteX30" fmla="*/ 0 w 129969"/>
                <a:gd name="connsiteY30" fmla="*/ 131314 h 138932"/>
                <a:gd name="connsiteX31" fmla="*/ 0 w 129969"/>
                <a:gd name="connsiteY31" fmla="*/ 137140 h 138932"/>
                <a:gd name="connsiteX32" fmla="*/ 4930 w 129969"/>
                <a:gd name="connsiteY32" fmla="*/ 142070 h 138932"/>
                <a:gd name="connsiteX33" fmla="*/ 42576 w 129969"/>
                <a:gd name="connsiteY33" fmla="*/ 142070 h 138932"/>
                <a:gd name="connsiteX34" fmla="*/ 82911 w 129969"/>
                <a:gd name="connsiteY34" fmla="*/ 142070 h 138932"/>
                <a:gd name="connsiteX35" fmla="*/ 125488 w 129969"/>
                <a:gd name="connsiteY35" fmla="*/ 142070 h 138932"/>
                <a:gd name="connsiteX36" fmla="*/ 132210 w 129969"/>
                <a:gd name="connsiteY36" fmla="*/ 135347 h 138932"/>
                <a:gd name="connsiteX37" fmla="*/ 132210 w 129969"/>
                <a:gd name="connsiteY37" fmla="*/ 117869 h 138932"/>
                <a:gd name="connsiteX38" fmla="*/ 124591 w 129969"/>
                <a:gd name="connsiteY38" fmla="*/ 111594 h 138932"/>
                <a:gd name="connsiteX39" fmla="*/ 51091 w 129969"/>
                <a:gd name="connsiteY39" fmla="*/ 95908 h 138932"/>
                <a:gd name="connsiteX40" fmla="*/ 51091 w 129969"/>
                <a:gd name="connsiteY40" fmla="*/ 48402 h 138932"/>
                <a:gd name="connsiteX41" fmla="*/ 49747 w 129969"/>
                <a:gd name="connsiteY41" fmla="*/ 44369 h 138932"/>
                <a:gd name="connsiteX42" fmla="*/ 25546 w 129969"/>
                <a:gd name="connsiteY42" fmla="*/ 8515 h 138932"/>
                <a:gd name="connsiteX43" fmla="*/ 25994 w 129969"/>
                <a:gd name="connsiteY43" fmla="*/ 5378 h 138932"/>
                <a:gd name="connsiteX44" fmla="*/ 27787 w 129969"/>
                <a:gd name="connsiteY44" fmla="*/ 4482 h 138932"/>
                <a:gd name="connsiteX45" fmla="*/ 27787 w 129969"/>
                <a:gd name="connsiteY45" fmla="*/ 4482 h 138932"/>
                <a:gd name="connsiteX46" fmla="*/ 29579 w 129969"/>
                <a:gd name="connsiteY46" fmla="*/ 5378 h 138932"/>
                <a:gd name="connsiteX47" fmla="*/ 45265 w 129969"/>
                <a:gd name="connsiteY47" fmla="*/ 27338 h 138932"/>
                <a:gd name="connsiteX48" fmla="*/ 51091 w 129969"/>
                <a:gd name="connsiteY48" fmla="*/ 30476 h 138932"/>
                <a:gd name="connsiteX49" fmla="*/ 73052 w 129969"/>
                <a:gd name="connsiteY49" fmla="*/ 30476 h 138932"/>
                <a:gd name="connsiteX50" fmla="*/ 78878 w 129969"/>
                <a:gd name="connsiteY50" fmla="*/ 27338 h 138932"/>
                <a:gd name="connsiteX51" fmla="*/ 94564 w 129969"/>
                <a:gd name="connsiteY51" fmla="*/ 5378 h 138932"/>
                <a:gd name="connsiteX52" fmla="*/ 96357 w 129969"/>
                <a:gd name="connsiteY52" fmla="*/ 4482 h 138932"/>
                <a:gd name="connsiteX53" fmla="*/ 98597 w 129969"/>
                <a:gd name="connsiteY53" fmla="*/ 5378 h 138932"/>
                <a:gd name="connsiteX54" fmla="*/ 99046 w 129969"/>
                <a:gd name="connsiteY54" fmla="*/ 8515 h 138932"/>
                <a:gd name="connsiteX55" fmla="*/ 74844 w 129969"/>
                <a:gd name="connsiteY55" fmla="*/ 44369 h 138932"/>
                <a:gd name="connsiteX56" fmla="*/ 73500 w 129969"/>
                <a:gd name="connsiteY56" fmla="*/ 48402 h 138932"/>
                <a:gd name="connsiteX57" fmla="*/ 73500 w 129969"/>
                <a:gd name="connsiteY57" fmla="*/ 95908 h 138932"/>
                <a:gd name="connsiteX58" fmla="*/ 71259 w 129969"/>
                <a:gd name="connsiteY58" fmla="*/ 98149 h 138932"/>
                <a:gd name="connsiteX59" fmla="*/ 64536 w 129969"/>
                <a:gd name="connsiteY59" fmla="*/ 98149 h 138932"/>
                <a:gd name="connsiteX60" fmla="*/ 64536 w 129969"/>
                <a:gd name="connsiteY60" fmla="*/ 68122 h 138932"/>
                <a:gd name="connsiteX61" fmla="*/ 62296 w 129969"/>
                <a:gd name="connsiteY61" fmla="*/ 65881 h 138932"/>
                <a:gd name="connsiteX62" fmla="*/ 60055 w 129969"/>
                <a:gd name="connsiteY62" fmla="*/ 68122 h 138932"/>
                <a:gd name="connsiteX63" fmla="*/ 60055 w 129969"/>
                <a:gd name="connsiteY63" fmla="*/ 98149 h 138932"/>
                <a:gd name="connsiteX64" fmla="*/ 53332 w 129969"/>
                <a:gd name="connsiteY64" fmla="*/ 98149 h 138932"/>
                <a:gd name="connsiteX65" fmla="*/ 51091 w 129969"/>
                <a:gd name="connsiteY65" fmla="*/ 95908 h 138932"/>
                <a:gd name="connsiteX66" fmla="*/ 44369 w 129969"/>
                <a:gd name="connsiteY66" fmla="*/ 105320 h 138932"/>
                <a:gd name="connsiteX67" fmla="*/ 46610 w 129969"/>
                <a:gd name="connsiteY67" fmla="*/ 103079 h 138932"/>
                <a:gd name="connsiteX68" fmla="*/ 53332 w 129969"/>
                <a:gd name="connsiteY68" fmla="*/ 103079 h 138932"/>
                <a:gd name="connsiteX69" fmla="*/ 53332 w 129969"/>
                <a:gd name="connsiteY69" fmla="*/ 103079 h 138932"/>
                <a:gd name="connsiteX70" fmla="*/ 70811 w 129969"/>
                <a:gd name="connsiteY70" fmla="*/ 103079 h 138932"/>
                <a:gd name="connsiteX71" fmla="*/ 70811 w 129969"/>
                <a:gd name="connsiteY71" fmla="*/ 103079 h 138932"/>
                <a:gd name="connsiteX72" fmla="*/ 77533 w 129969"/>
                <a:gd name="connsiteY72" fmla="*/ 103079 h 138932"/>
                <a:gd name="connsiteX73" fmla="*/ 79774 w 129969"/>
                <a:gd name="connsiteY73" fmla="*/ 105320 h 138932"/>
                <a:gd name="connsiteX74" fmla="*/ 79774 w 129969"/>
                <a:gd name="connsiteY74" fmla="*/ 107561 h 138932"/>
                <a:gd name="connsiteX75" fmla="*/ 79774 w 129969"/>
                <a:gd name="connsiteY75" fmla="*/ 114283 h 138932"/>
                <a:gd name="connsiteX76" fmla="*/ 79774 w 129969"/>
                <a:gd name="connsiteY76" fmla="*/ 138933 h 138932"/>
                <a:gd name="connsiteX77" fmla="*/ 43921 w 129969"/>
                <a:gd name="connsiteY77" fmla="*/ 138933 h 138932"/>
                <a:gd name="connsiteX78" fmla="*/ 43921 w 129969"/>
                <a:gd name="connsiteY78" fmla="*/ 127729 h 138932"/>
                <a:gd name="connsiteX79" fmla="*/ 43921 w 129969"/>
                <a:gd name="connsiteY79" fmla="*/ 118765 h 138932"/>
                <a:gd name="connsiteX80" fmla="*/ 43921 w 129969"/>
                <a:gd name="connsiteY80" fmla="*/ 105320 h 138932"/>
                <a:gd name="connsiteX81" fmla="*/ 4034 w 129969"/>
                <a:gd name="connsiteY81" fmla="*/ 138036 h 138932"/>
                <a:gd name="connsiteX82" fmla="*/ 4034 w 129969"/>
                <a:gd name="connsiteY82" fmla="*/ 132210 h 138932"/>
                <a:gd name="connsiteX83" fmla="*/ 6274 w 129969"/>
                <a:gd name="connsiteY83" fmla="*/ 129969 h 138932"/>
                <a:gd name="connsiteX84" fmla="*/ 39887 w 129969"/>
                <a:gd name="connsiteY84" fmla="*/ 129969 h 138932"/>
                <a:gd name="connsiteX85" fmla="*/ 39887 w 129969"/>
                <a:gd name="connsiteY85" fmla="*/ 138933 h 138932"/>
                <a:gd name="connsiteX86" fmla="*/ 4482 w 129969"/>
                <a:gd name="connsiteY86" fmla="*/ 138933 h 138932"/>
                <a:gd name="connsiteX87" fmla="*/ 4034 w 129969"/>
                <a:gd name="connsiteY87" fmla="*/ 138036 h 138932"/>
                <a:gd name="connsiteX88" fmla="*/ 127280 w 129969"/>
                <a:gd name="connsiteY88" fmla="*/ 136244 h 138932"/>
                <a:gd name="connsiteX89" fmla="*/ 125039 w 129969"/>
                <a:gd name="connsiteY89" fmla="*/ 138484 h 138932"/>
                <a:gd name="connsiteX90" fmla="*/ 84704 w 129969"/>
                <a:gd name="connsiteY90" fmla="*/ 138484 h 138932"/>
                <a:gd name="connsiteX91" fmla="*/ 84704 w 129969"/>
                <a:gd name="connsiteY91" fmla="*/ 116076 h 138932"/>
                <a:gd name="connsiteX92" fmla="*/ 125039 w 129969"/>
                <a:gd name="connsiteY92" fmla="*/ 116076 h 138932"/>
                <a:gd name="connsiteX93" fmla="*/ 127280 w 129969"/>
                <a:gd name="connsiteY93" fmla="*/ 118317 h 138932"/>
                <a:gd name="connsiteX94" fmla="*/ 127280 w 129969"/>
                <a:gd name="connsiteY94" fmla="*/ 136244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29969" h="138932">
                  <a:moveTo>
                    <a:pt x="124591" y="111594"/>
                  </a:moveTo>
                  <a:lnTo>
                    <a:pt x="84256" y="111594"/>
                  </a:lnTo>
                  <a:lnTo>
                    <a:pt x="84256" y="107113"/>
                  </a:lnTo>
                  <a:lnTo>
                    <a:pt x="84256" y="104872"/>
                  </a:lnTo>
                  <a:cubicBezTo>
                    <a:pt x="84256" y="100838"/>
                    <a:pt x="81119" y="98149"/>
                    <a:pt x="77533" y="98149"/>
                  </a:cubicBezTo>
                  <a:lnTo>
                    <a:pt x="77085" y="98149"/>
                  </a:lnTo>
                  <a:cubicBezTo>
                    <a:pt x="77533" y="97253"/>
                    <a:pt x="77533" y="96357"/>
                    <a:pt x="77533" y="95908"/>
                  </a:cubicBezTo>
                  <a:lnTo>
                    <a:pt x="77533" y="48402"/>
                  </a:lnTo>
                  <a:cubicBezTo>
                    <a:pt x="77533" y="47954"/>
                    <a:pt x="77533" y="47506"/>
                    <a:pt x="77982" y="47058"/>
                  </a:cubicBezTo>
                  <a:lnTo>
                    <a:pt x="102183" y="11204"/>
                  </a:lnTo>
                  <a:cubicBezTo>
                    <a:pt x="103975" y="8515"/>
                    <a:pt x="103527" y="4930"/>
                    <a:pt x="101286" y="2241"/>
                  </a:cubicBezTo>
                  <a:cubicBezTo>
                    <a:pt x="99942" y="896"/>
                    <a:pt x="97701" y="0"/>
                    <a:pt x="95908" y="0"/>
                  </a:cubicBezTo>
                  <a:cubicBezTo>
                    <a:pt x="93668" y="0"/>
                    <a:pt x="91875" y="1344"/>
                    <a:pt x="90979" y="3137"/>
                  </a:cubicBezTo>
                  <a:lnTo>
                    <a:pt x="75293" y="25097"/>
                  </a:lnTo>
                  <a:cubicBezTo>
                    <a:pt x="74844" y="25545"/>
                    <a:pt x="73948" y="25994"/>
                    <a:pt x="73500" y="25994"/>
                  </a:cubicBezTo>
                  <a:lnTo>
                    <a:pt x="51540" y="25994"/>
                  </a:lnTo>
                  <a:cubicBezTo>
                    <a:pt x="50643" y="25994"/>
                    <a:pt x="50195" y="25545"/>
                    <a:pt x="49747" y="25097"/>
                  </a:cubicBezTo>
                  <a:lnTo>
                    <a:pt x="34061" y="3137"/>
                  </a:lnTo>
                  <a:cubicBezTo>
                    <a:pt x="32716" y="1344"/>
                    <a:pt x="30924" y="448"/>
                    <a:pt x="29131" y="0"/>
                  </a:cubicBezTo>
                  <a:cubicBezTo>
                    <a:pt x="26890" y="0"/>
                    <a:pt x="25098" y="448"/>
                    <a:pt x="23305" y="2241"/>
                  </a:cubicBezTo>
                  <a:cubicBezTo>
                    <a:pt x="21064" y="4482"/>
                    <a:pt x="20616" y="8067"/>
                    <a:pt x="22409" y="10756"/>
                  </a:cubicBezTo>
                  <a:lnTo>
                    <a:pt x="46610" y="46610"/>
                  </a:lnTo>
                  <a:cubicBezTo>
                    <a:pt x="47058" y="47058"/>
                    <a:pt x="47058" y="47506"/>
                    <a:pt x="47058" y="47954"/>
                  </a:cubicBezTo>
                  <a:lnTo>
                    <a:pt x="47058" y="95460"/>
                  </a:lnTo>
                  <a:cubicBezTo>
                    <a:pt x="47058" y="96357"/>
                    <a:pt x="47058" y="97253"/>
                    <a:pt x="47506" y="97701"/>
                  </a:cubicBezTo>
                  <a:lnTo>
                    <a:pt x="47058" y="97701"/>
                  </a:lnTo>
                  <a:cubicBezTo>
                    <a:pt x="43024" y="97701"/>
                    <a:pt x="40335" y="100838"/>
                    <a:pt x="40335" y="104424"/>
                  </a:cubicBezTo>
                  <a:lnTo>
                    <a:pt x="40335" y="117869"/>
                  </a:lnTo>
                  <a:lnTo>
                    <a:pt x="40335" y="124591"/>
                  </a:lnTo>
                  <a:lnTo>
                    <a:pt x="6723" y="124591"/>
                  </a:lnTo>
                  <a:cubicBezTo>
                    <a:pt x="2689" y="124591"/>
                    <a:pt x="0" y="127729"/>
                    <a:pt x="0" y="131314"/>
                  </a:cubicBezTo>
                  <a:lnTo>
                    <a:pt x="0" y="137140"/>
                  </a:lnTo>
                  <a:cubicBezTo>
                    <a:pt x="0" y="139829"/>
                    <a:pt x="2241" y="142070"/>
                    <a:pt x="4930" y="142070"/>
                  </a:cubicBezTo>
                  <a:lnTo>
                    <a:pt x="42576" y="142070"/>
                  </a:lnTo>
                  <a:lnTo>
                    <a:pt x="82911" y="142070"/>
                  </a:lnTo>
                  <a:lnTo>
                    <a:pt x="125488" y="142070"/>
                  </a:lnTo>
                  <a:cubicBezTo>
                    <a:pt x="129521" y="142070"/>
                    <a:pt x="132210" y="138933"/>
                    <a:pt x="132210" y="135347"/>
                  </a:cubicBezTo>
                  <a:lnTo>
                    <a:pt x="132210" y="117869"/>
                  </a:lnTo>
                  <a:cubicBezTo>
                    <a:pt x="131762" y="114731"/>
                    <a:pt x="128625" y="111594"/>
                    <a:pt x="124591" y="111594"/>
                  </a:cubicBezTo>
                  <a:close/>
                  <a:moveTo>
                    <a:pt x="51091" y="95908"/>
                  </a:moveTo>
                  <a:lnTo>
                    <a:pt x="51091" y="48402"/>
                  </a:lnTo>
                  <a:cubicBezTo>
                    <a:pt x="51091" y="47058"/>
                    <a:pt x="50643" y="45713"/>
                    <a:pt x="49747" y="44369"/>
                  </a:cubicBezTo>
                  <a:lnTo>
                    <a:pt x="25546" y="8515"/>
                  </a:lnTo>
                  <a:cubicBezTo>
                    <a:pt x="25098" y="7619"/>
                    <a:pt x="25098" y="6274"/>
                    <a:pt x="25994" y="5378"/>
                  </a:cubicBezTo>
                  <a:cubicBezTo>
                    <a:pt x="26442" y="4930"/>
                    <a:pt x="26890" y="4482"/>
                    <a:pt x="27787" y="4482"/>
                  </a:cubicBezTo>
                  <a:cubicBezTo>
                    <a:pt x="27787" y="4482"/>
                    <a:pt x="27787" y="4482"/>
                    <a:pt x="27787" y="4482"/>
                  </a:cubicBezTo>
                  <a:cubicBezTo>
                    <a:pt x="28683" y="4482"/>
                    <a:pt x="29131" y="4930"/>
                    <a:pt x="29579" y="5378"/>
                  </a:cubicBezTo>
                  <a:lnTo>
                    <a:pt x="45265" y="27338"/>
                  </a:lnTo>
                  <a:cubicBezTo>
                    <a:pt x="46610" y="29131"/>
                    <a:pt x="48851" y="30476"/>
                    <a:pt x="51091" y="30476"/>
                  </a:cubicBezTo>
                  <a:lnTo>
                    <a:pt x="73052" y="30476"/>
                  </a:lnTo>
                  <a:cubicBezTo>
                    <a:pt x="75293" y="30476"/>
                    <a:pt x="77533" y="29579"/>
                    <a:pt x="78878" y="27338"/>
                  </a:cubicBezTo>
                  <a:lnTo>
                    <a:pt x="94564" y="5378"/>
                  </a:lnTo>
                  <a:cubicBezTo>
                    <a:pt x="95012" y="4930"/>
                    <a:pt x="95460" y="4482"/>
                    <a:pt x="96357" y="4482"/>
                  </a:cubicBezTo>
                  <a:cubicBezTo>
                    <a:pt x="97253" y="4482"/>
                    <a:pt x="97701" y="4482"/>
                    <a:pt x="98597" y="5378"/>
                  </a:cubicBezTo>
                  <a:cubicBezTo>
                    <a:pt x="99494" y="6274"/>
                    <a:pt x="99494" y="7619"/>
                    <a:pt x="99046" y="8515"/>
                  </a:cubicBezTo>
                  <a:lnTo>
                    <a:pt x="74844" y="44369"/>
                  </a:lnTo>
                  <a:cubicBezTo>
                    <a:pt x="73948" y="45713"/>
                    <a:pt x="73500" y="47058"/>
                    <a:pt x="73500" y="48402"/>
                  </a:cubicBezTo>
                  <a:lnTo>
                    <a:pt x="73500" y="95908"/>
                  </a:lnTo>
                  <a:cubicBezTo>
                    <a:pt x="73500" y="97253"/>
                    <a:pt x="72604" y="98149"/>
                    <a:pt x="71259" y="98149"/>
                  </a:cubicBezTo>
                  <a:lnTo>
                    <a:pt x="64536" y="98149"/>
                  </a:lnTo>
                  <a:lnTo>
                    <a:pt x="64536" y="68122"/>
                  </a:lnTo>
                  <a:cubicBezTo>
                    <a:pt x="64536" y="66777"/>
                    <a:pt x="63640" y="65881"/>
                    <a:pt x="62296" y="65881"/>
                  </a:cubicBezTo>
                  <a:cubicBezTo>
                    <a:pt x="60951" y="65881"/>
                    <a:pt x="60055" y="66777"/>
                    <a:pt x="60055" y="68122"/>
                  </a:cubicBezTo>
                  <a:lnTo>
                    <a:pt x="60055" y="98149"/>
                  </a:lnTo>
                  <a:lnTo>
                    <a:pt x="53332" y="98149"/>
                  </a:lnTo>
                  <a:cubicBezTo>
                    <a:pt x="51988" y="98149"/>
                    <a:pt x="51091" y="97253"/>
                    <a:pt x="51091" y="95908"/>
                  </a:cubicBezTo>
                  <a:close/>
                  <a:moveTo>
                    <a:pt x="44369" y="105320"/>
                  </a:moveTo>
                  <a:cubicBezTo>
                    <a:pt x="44369" y="103975"/>
                    <a:pt x="45265" y="103079"/>
                    <a:pt x="46610" y="103079"/>
                  </a:cubicBezTo>
                  <a:lnTo>
                    <a:pt x="53332" y="103079"/>
                  </a:lnTo>
                  <a:cubicBezTo>
                    <a:pt x="53332" y="103079"/>
                    <a:pt x="53332" y="103079"/>
                    <a:pt x="53332" y="103079"/>
                  </a:cubicBezTo>
                  <a:lnTo>
                    <a:pt x="70811" y="103079"/>
                  </a:lnTo>
                  <a:cubicBezTo>
                    <a:pt x="70811" y="103079"/>
                    <a:pt x="70811" y="103079"/>
                    <a:pt x="70811" y="103079"/>
                  </a:cubicBezTo>
                  <a:lnTo>
                    <a:pt x="77533" y="103079"/>
                  </a:lnTo>
                  <a:cubicBezTo>
                    <a:pt x="78878" y="103079"/>
                    <a:pt x="79774" y="103975"/>
                    <a:pt x="79774" y="105320"/>
                  </a:cubicBezTo>
                  <a:lnTo>
                    <a:pt x="79774" y="107561"/>
                  </a:lnTo>
                  <a:lnTo>
                    <a:pt x="79774" y="114283"/>
                  </a:lnTo>
                  <a:lnTo>
                    <a:pt x="79774" y="138933"/>
                  </a:lnTo>
                  <a:lnTo>
                    <a:pt x="43921" y="138933"/>
                  </a:lnTo>
                  <a:lnTo>
                    <a:pt x="43921" y="127729"/>
                  </a:lnTo>
                  <a:lnTo>
                    <a:pt x="43921" y="118765"/>
                  </a:lnTo>
                  <a:lnTo>
                    <a:pt x="43921" y="105320"/>
                  </a:lnTo>
                  <a:close/>
                  <a:moveTo>
                    <a:pt x="4034" y="138036"/>
                  </a:moveTo>
                  <a:lnTo>
                    <a:pt x="4034" y="132210"/>
                  </a:lnTo>
                  <a:cubicBezTo>
                    <a:pt x="4034" y="130866"/>
                    <a:pt x="4930" y="129969"/>
                    <a:pt x="6274" y="129969"/>
                  </a:cubicBezTo>
                  <a:lnTo>
                    <a:pt x="39887" y="129969"/>
                  </a:lnTo>
                  <a:lnTo>
                    <a:pt x="39887" y="138933"/>
                  </a:lnTo>
                  <a:lnTo>
                    <a:pt x="4482" y="138933"/>
                  </a:lnTo>
                  <a:cubicBezTo>
                    <a:pt x="4034" y="138484"/>
                    <a:pt x="4034" y="138484"/>
                    <a:pt x="4034" y="138036"/>
                  </a:cubicBezTo>
                  <a:close/>
                  <a:moveTo>
                    <a:pt x="127280" y="136244"/>
                  </a:moveTo>
                  <a:cubicBezTo>
                    <a:pt x="127280" y="137588"/>
                    <a:pt x="126384" y="138484"/>
                    <a:pt x="125039" y="138484"/>
                  </a:cubicBezTo>
                  <a:lnTo>
                    <a:pt x="84704" y="138484"/>
                  </a:lnTo>
                  <a:lnTo>
                    <a:pt x="84704" y="116076"/>
                  </a:lnTo>
                  <a:lnTo>
                    <a:pt x="125039" y="116076"/>
                  </a:lnTo>
                  <a:cubicBezTo>
                    <a:pt x="126384" y="116076"/>
                    <a:pt x="127280" y="116972"/>
                    <a:pt x="127280" y="118317"/>
                  </a:cubicBezTo>
                  <a:lnTo>
                    <a:pt x="127280" y="136244"/>
                  </a:lnTo>
                  <a:close/>
                </a:path>
              </a:pathLst>
            </a:custGeom>
            <a:solidFill>
              <a:srgbClr val="231F20"/>
            </a:solidFill>
            <a:ln w="4477" cap="flat">
              <a:noFill/>
              <a:prstDash val="solid"/>
              <a:miter/>
            </a:ln>
          </p:spPr>
          <p:txBody>
            <a:bodyPr rtlCol="0" anchor="ctr"/>
            <a:lstStyle/>
            <a:p>
              <a:endParaRPr lang="en-US"/>
            </a:p>
          </p:txBody>
        </p:sp>
      </p:grpSp>
      <p:grpSp>
        <p:nvGrpSpPr>
          <p:cNvPr id="2439" name="Group 2438">
            <a:extLst>
              <a:ext uri="{FF2B5EF4-FFF2-40B4-BE49-F238E27FC236}">
                <a16:creationId xmlns:a16="http://schemas.microsoft.com/office/drawing/2014/main" id="{EB9D8A9B-90EA-48F0-A654-AAD8137431D9}"/>
              </a:ext>
              <a:ext uri="{C183D7F6-B498-43B3-948B-1728B52AA6E4}">
                <adec:decorative xmlns:adec="http://schemas.microsoft.com/office/drawing/2017/decorative" val="1"/>
              </a:ext>
            </a:extLst>
          </p:cNvPr>
          <p:cNvGrpSpPr>
            <a:grpSpLocks noChangeAspect="1"/>
          </p:cNvGrpSpPr>
          <p:nvPr/>
        </p:nvGrpSpPr>
        <p:grpSpPr>
          <a:xfrm>
            <a:off x="5336701" y="4873209"/>
            <a:ext cx="153722" cy="151034"/>
            <a:chOff x="11211436" y="3856041"/>
            <a:chExt cx="153722" cy="151034"/>
          </a:xfrm>
        </p:grpSpPr>
        <p:sp>
          <p:nvSpPr>
            <p:cNvPr id="2607" name="Freeform: Shape 2606">
              <a:extLst>
                <a:ext uri="{FF2B5EF4-FFF2-40B4-BE49-F238E27FC236}">
                  <a16:creationId xmlns:a16="http://schemas.microsoft.com/office/drawing/2014/main" id="{02542A4B-03C4-406F-AEC4-65811ED87E2B}"/>
                </a:ext>
              </a:extLst>
            </p:cNvPr>
            <p:cNvSpPr/>
            <p:nvPr/>
          </p:nvSpPr>
          <p:spPr>
            <a:xfrm>
              <a:off x="11212780" y="3856041"/>
              <a:ext cx="152378" cy="85152"/>
            </a:xfrm>
            <a:custGeom>
              <a:avLst/>
              <a:gdLst>
                <a:gd name="connsiteX0" fmla="*/ 145655 w 152377"/>
                <a:gd name="connsiteY0" fmla="*/ 0 h 85152"/>
                <a:gd name="connsiteX1" fmla="*/ 6723 w 152377"/>
                <a:gd name="connsiteY1" fmla="*/ 0 h 85152"/>
                <a:gd name="connsiteX2" fmla="*/ 0 w 152377"/>
                <a:gd name="connsiteY2" fmla="*/ 6723 h 85152"/>
                <a:gd name="connsiteX3" fmla="*/ 0 w 152377"/>
                <a:gd name="connsiteY3" fmla="*/ 78430 h 85152"/>
                <a:gd name="connsiteX4" fmla="*/ 6723 w 152377"/>
                <a:gd name="connsiteY4" fmla="*/ 85152 h 85152"/>
                <a:gd name="connsiteX5" fmla="*/ 145655 w 152377"/>
                <a:gd name="connsiteY5" fmla="*/ 85152 h 85152"/>
                <a:gd name="connsiteX6" fmla="*/ 152378 w 152377"/>
                <a:gd name="connsiteY6" fmla="*/ 78430 h 85152"/>
                <a:gd name="connsiteX7" fmla="*/ 152378 w 152377"/>
                <a:gd name="connsiteY7" fmla="*/ 6723 h 85152"/>
                <a:gd name="connsiteX8" fmla="*/ 145655 w 152377"/>
                <a:gd name="connsiteY8" fmla="*/ 0 h 85152"/>
                <a:gd name="connsiteX9" fmla="*/ 147896 w 152377"/>
                <a:gd name="connsiteY9" fmla="*/ 77982 h 85152"/>
                <a:gd name="connsiteX10" fmla="*/ 145655 w 152377"/>
                <a:gd name="connsiteY10" fmla="*/ 80223 h 85152"/>
                <a:gd name="connsiteX11" fmla="*/ 6723 w 152377"/>
                <a:gd name="connsiteY11" fmla="*/ 80223 h 85152"/>
                <a:gd name="connsiteX12" fmla="*/ 4482 w 152377"/>
                <a:gd name="connsiteY12" fmla="*/ 77982 h 85152"/>
                <a:gd name="connsiteX13" fmla="*/ 4482 w 152377"/>
                <a:gd name="connsiteY13" fmla="*/ 6274 h 85152"/>
                <a:gd name="connsiteX14" fmla="*/ 6723 w 152377"/>
                <a:gd name="connsiteY14" fmla="*/ 4034 h 85152"/>
                <a:gd name="connsiteX15" fmla="*/ 145655 w 152377"/>
                <a:gd name="connsiteY15" fmla="*/ 4034 h 85152"/>
                <a:gd name="connsiteX16" fmla="*/ 147896 w 152377"/>
                <a:gd name="connsiteY16" fmla="*/ 6274 h 85152"/>
                <a:gd name="connsiteX17" fmla="*/ 147896 w 152377"/>
                <a:gd name="connsiteY17" fmla="*/ 77982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377" h="85152">
                  <a:moveTo>
                    <a:pt x="145655" y="0"/>
                  </a:moveTo>
                  <a:lnTo>
                    <a:pt x="6723" y="0"/>
                  </a:lnTo>
                  <a:cubicBezTo>
                    <a:pt x="3138" y="0"/>
                    <a:pt x="0" y="3137"/>
                    <a:pt x="0" y="6723"/>
                  </a:cubicBezTo>
                  <a:lnTo>
                    <a:pt x="0" y="78430"/>
                  </a:lnTo>
                  <a:cubicBezTo>
                    <a:pt x="0" y="82015"/>
                    <a:pt x="3138" y="85152"/>
                    <a:pt x="6723" y="85152"/>
                  </a:cubicBezTo>
                  <a:lnTo>
                    <a:pt x="145655" y="85152"/>
                  </a:lnTo>
                  <a:cubicBezTo>
                    <a:pt x="149241" y="85152"/>
                    <a:pt x="152378" y="82015"/>
                    <a:pt x="152378" y="78430"/>
                  </a:cubicBezTo>
                  <a:lnTo>
                    <a:pt x="152378" y="6723"/>
                  </a:lnTo>
                  <a:cubicBezTo>
                    <a:pt x="152378" y="2689"/>
                    <a:pt x="149241" y="0"/>
                    <a:pt x="145655" y="0"/>
                  </a:cubicBezTo>
                  <a:close/>
                  <a:moveTo>
                    <a:pt x="147896" y="77982"/>
                  </a:moveTo>
                  <a:cubicBezTo>
                    <a:pt x="147896" y="79326"/>
                    <a:pt x="147000" y="80223"/>
                    <a:pt x="145655" y="80223"/>
                  </a:cubicBezTo>
                  <a:lnTo>
                    <a:pt x="6723" y="80223"/>
                  </a:lnTo>
                  <a:cubicBezTo>
                    <a:pt x="5378" y="80223"/>
                    <a:pt x="4482" y="79326"/>
                    <a:pt x="4482" y="77982"/>
                  </a:cubicBezTo>
                  <a:lnTo>
                    <a:pt x="4482" y="6274"/>
                  </a:lnTo>
                  <a:cubicBezTo>
                    <a:pt x="4482" y="4930"/>
                    <a:pt x="5378" y="4034"/>
                    <a:pt x="6723" y="4034"/>
                  </a:cubicBezTo>
                  <a:lnTo>
                    <a:pt x="145655" y="4034"/>
                  </a:lnTo>
                  <a:cubicBezTo>
                    <a:pt x="147000" y="4034"/>
                    <a:pt x="147896" y="4930"/>
                    <a:pt x="147896" y="6274"/>
                  </a:cubicBezTo>
                  <a:lnTo>
                    <a:pt x="147896" y="77982"/>
                  </a:lnTo>
                  <a:close/>
                </a:path>
              </a:pathLst>
            </a:custGeom>
            <a:solidFill>
              <a:srgbClr val="231F20"/>
            </a:solidFill>
            <a:ln w="4477" cap="flat">
              <a:noFill/>
              <a:prstDash val="solid"/>
              <a:miter/>
            </a:ln>
          </p:spPr>
          <p:txBody>
            <a:bodyPr rtlCol="0" anchor="ctr"/>
            <a:lstStyle/>
            <a:p>
              <a:endParaRPr lang="en-US"/>
            </a:p>
          </p:txBody>
        </p:sp>
        <p:sp>
          <p:nvSpPr>
            <p:cNvPr id="2608" name="Freeform: Shape 2607">
              <a:extLst>
                <a:ext uri="{FF2B5EF4-FFF2-40B4-BE49-F238E27FC236}">
                  <a16:creationId xmlns:a16="http://schemas.microsoft.com/office/drawing/2014/main" id="{F587432E-CB3B-426E-B97C-8821B5ABB639}"/>
                </a:ext>
              </a:extLst>
            </p:cNvPr>
            <p:cNvSpPr/>
            <p:nvPr/>
          </p:nvSpPr>
          <p:spPr>
            <a:xfrm>
              <a:off x="11223985" y="3943882"/>
              <a:ext cx="26890" cy="26890"/>
            </a:xfrm>
            <a:custGeom>
              <a:avLst/>
              <a:gdLst>
                <a:gd name="connsiteX0" fmla="*/ 30476 w 26890"/>
                <a:gd name="connsiteY0" fmla="*/ 15238 h 26890"/>
                <a:gd name="connsiteX1" fmla="*/ 15238 w 26890"/>
                <a:gd name="connsiteY1" fmla="*/ 0 h 26890"/>
                <a:gd name="connsiteX2" fmla="*/ 0 w 26890"/>
                <a:gd name="connsiteY2" fmla="*/ 15238 h 26890"/>
                <a:gd name="connsiteX3" fmla="*/ 15238 w 26890"/>
                <a:gd name="connsiteY3" fmla="*/ 30476 h 26890"/>
                <a:gd name="connsiteX4" fmla="*/ 30476 w 26890"/>
                <a:gd name="connsiteY4" fmla="*/ 15238 h 26890"/>
                <a:gd name="connsiteX5" fmla="*/ 4930 w 26890"/>
                <a:gd name="connsiteY5" fmla="*/ 15238 h 26890"/>
                <a:gd name="connsiteX6" fmla="*/ 15686 w 26890"/>
                <a:gd name="connsiteY6" fmla="*/ 4482 h 26890"/>
                <a:gd name="connsiteX7" fmla="*/ 26442 w 26890"/>
                <a:gd name="connsiteY7" fmla="*/ 15238 h 26890"/>
                <a:gd name="connsiteX8" fmla="*/ 15686 w 26890"/>
                <a:gd name="connsiteY8" fmla="*/ 25994 h 26890"/>
                <a:gd name="connsiteX9" fmla="*/ 4930 w 26890"/>
                <a:gd name="connsiteY9"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30476" y="15238"/>
                  </a:moveTo>
                  <a:cubicBezTo>
                    <a:pt x="30476" y="7171"/>
                    <a:pt x="23753" y="0"/>
                    <a:pt x="15238" y="0"/>
                  </a:cubicBezTo>
                  <a:cubicBezTo>
                    <a:pt x="6723" y="0"/>
                    <a:pt x="0" y="6723"/>
                    <a:pt x="0" y="15238"/>
                  </a:cubicBezTo>
                  <a:cubicBezTo>
                    <a:pt x="0" y="23305"/>
                    <a:pt x="6723" y="30476"/>
                    <a:pt x="15238" y="30476"/>
                  </a:cubicBezTo>
                  <a:cubicBezTo>
                    <a:pt x="23753" y="30476"/>
                    <a:pt x="30476" y="23305"/>
                    <a:pt x="30476" y="15238"/>
                  </a:cubicBezTo>
                  <a:close/>
                  <a:moveTo>
                    <a:pt x="4930" y="15238"/>
                  </a:moveTo>
                  <a:cubicBezTo>
                    <a:pt x="4930" y="9412"/>
                    <a:pt x="9860" y="4482"/>
                    <a:pt x="15686" y="4482"/>
                  </a:cubicBezTo>
                  <a:cubicBezTo>
                    <a:pt x="21512" y="4482"/>
                    <a:pt x="26442" y="9412"/>
                    <a:pt x="26442" y="15238"/>
                  </a:cubicBezTo>
                  <a:cubicBezTo>
                    <a:pt x="26442" y="21064"/>
                    <a:pt x="21512" y="25994"/>
                    <a:pt x="15686" y="25994"/>
                  </a:cubicBezTo>
                  <a:cubicBezTo>
                    <a:pt x="9860" y="25546"/>
                    <a:pt x="4930" y="21064"/>
                    <a:pt x="4930" y="15238"/>
                  </a:cubicBezTo>
                  <a:close/>
                </a:path>
              </a:pathLst>
            </a:custGeom>
            <a:solidFill>
              <a:srgbClr val="231F20"/>
            </a:solidFill>
            <a:ln w="4477" cap="flat">
              <a:noFill/>
              <a:prstDash val="solid"/>
              <a:miter/>
            </a:ln>
          </p:spPr>
          <p:txBody>
            <a:bodyPr rtlCol="0" anchor="ctr"/>
            <a:lstStyle/>
            <a:p>
              <a:endParaRPr lang="en-US"/>
            </a:p>
          </p:txBody>
        </p:sp>
        <p:sp>
          <p:nvSpPr>
            <p:cNvPr id="2609" name="Freeform: Shape 2608">
              <a:extLst>
                <a:ext uri="{FF2B5EF4-FFF2-40B4-BE49-F238E27FC236}">
                  <a16:creationId xmlns:a16="http://schemas.microsoft.com/office/drawing/2014/main" id="{286F6495-8969-4478-A7D1-187DE831487D}"/>
                </a:ext>
              </a:extLst>
            </p:cNvPr>
            <p:cNvSpPr/>
            <p:nvPr/>
          </p:nvSpPr>
          <p:spPr>
            <a:xfrm>
              <a:off x="11273283" y="3943882"/>
              <a:ext cx="26890" cy="26890"/>
            </a:xfrm>
            <a:custGeom>
              <a:avLst/>
              <a:gdLst>
                <a:gd name="connsiteX0" fmla="*/ 30476 w 26890"/>
                <a:gd name="connsiteY0" fmla="*/ 15238 h 26890"/>
                <a:gd name="connsiteX1" fmla="*/ 15238 w 26890"/>
                <a:gd name="connsiteY1" fmla="*/ 0 h 26890"/>
                <a:gd name="connsiteX2" fmla="*/ 0 w 26890"/>
                <a:gd name="connsiteY2" fmla="*/ 15238 h 26890"/>
                <a:gd name="connsiteX3" fmla="*/ 15238 w 26890"/>
                <a:gd name="connsiteY3" fmla="*/ 30476 h 26890"/>
                <a:gd name="connsiteX4" fmla="*/ 30476 w 26890"/>
                <a:gd name="connsiteY4" fmla="*/ 15238 h 26890"/>
                <a:gd name="connsiteX5" fmla="*/ 4930 w 26890"/>
                <a:gd name="connsiteY5" fmla="*/ 15238 h 26890"/>
                <a:gd name="connsiteX6" fmla="*/ 15686 w 26890"/>
                <a:gd name="connsiteY6" fmla="*/ 4482 h 26890"/>
                <a:gd name="connsiteX7" fmla="*/ 26442 w 26890"/>
                <a:gd name="connsiteY7" fmla="*/ 15238 h 26890"/>
                <a:gd name="connsiteX8" fmla="*/ 15686 w 26890"/>
                <a:gd name="connsiteY8" fmla="*/ 25994 h 26890"/>
                <a:gd name="connsiteX9" fmla="*/ 4930 w 26890"/>
                <a:gd name="connsiteY9"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30476" y="15238"/>
                  </a:moveTo>
                  <a:cubicBezTo>
                    <a:pt x="30476" y="7171"/>
                    <a:pt x="23753" y="0"/>
                    <a:pt x="15238" y="0"/>
                  </a:cubicBezTo>
                  <a:cubicBezTo>
                    <a:pt x="7171" y="0"/>
                    <a:pt x="0" y="6723"/>
                    <a:pt x="0" y="15238"/>
                  </a:cubicBezTo>
                  <a:cubicBezTo>
                    <a:pt x="0" y="23305"/>
                    <a:pt x="6723" y="30476"/>
                    <a:pt x="15238" y="30476"/>
                  </a:cubicBezTo>
                  <a:cubicBezTo>
                    <a:pt x="23753" y="30027"/>
                    <a:pt x="30476" y="23305"/>
                    <a:pt x="30476" y="15238"/>
                  </a:cubicBezTo>
                  <a:close/>
                  <a:moveTo>
                    <a:pt x="4930" y="15238"/>
                  </a:moveTo>
                  <a:cubicBezTo>
                    <a:pt x="4930" y="9412"/>
                    <a:pt x="9860" y="4482"/>
                    <a:pt x="15686" y="4482"/>
                  </a:cubicBezTo>
                  <a:cubicBezTo>
                    <a:pt x="21512" y="4482"/>
                    <a:pt x="26442" y="9412"/>
                    <a:pt x="26442" y="15238"/>
                  </a:cubicBezTo>
                  <a:cubicBezTo>
                    <a:pt x="26442" y="21064"/>
                    <a:pt x="21512" y="25994"/>
                    <a:pt x="15686" y="25994"/>
                  </a:cubicBezTo>
                  <a:cubicBezTo>
                    <a:pt x="9860" y="25994"/>
                    <a:pt x="4930" y="21064"/>
                    <a:pt x="4930" y="15238"/>
                  </a:cubicBezTo>
                  <a:close/>
                </a:path>
              </a:pathLst>
            </a:custGeom>
            <a:solidFill>
              <a:srgbClr val="231F20"/>
            </a:solidFill>
            <a:ln w="4477" cap="flat">
              <a:noFill/>
              <a:prstDash val="solid"/>
              <a:miter/>
            </a:ln>
          </p:spPr>
          <p:txBody>
            <a:bodyPr rtlCol="0" anchor="ctr"/>
            <a:lstStyle/>
            <a:p>
              <a:endParaRPr lang="en-US"/>
            </a:p>
          </p:txBody>
        </p:sp>
        <p:sp>
          <p:nvSpPr>
            <p:cNvPr id="2610" name="Freeform: Shape 2609">
              <a:extLst>
                <a:ext uri="{FF2B5EF4-FFF2-40B4-BE49-F238E27FC236}">
                  <a16:creationId xmlns:a16="http://schemas.microsoft.com/office/drawing/2014/main" id="{CA0B0ED1-0D79-4AC3-B105-B35E155D58D8}"/>
                </a:ext>
              </a:extLst>
            </p:cNvPr>
            <p:cNvSpPr/>
            <p:nvPr/>
          </p:nvSpPr>
          <p:spPr>
            <a:xfrm>
              <a:off x="11273731" y="3862764"/>
              <a:ext cx="26890" cy="26890"/>
            </a:xfrm>
            <a:custGeom>
              <a:avLst/>
              <a:gdLst>
                <a:gd name="connsiteX0" fmla="*/ 15238 w 26890"/>
                <a:gd name="connsiteY0" fmla="*/ 30476 h 26890"/>
                <a:gd name="connsiteX1" fmla="*/ 30476 w 26890"/>
                <a:gd name="connsiteY1" fmla="*/ 15238 h 26890"/>
                <a:gd name="connsiteX2" fmla="*/ 15238 w 26890"/>
                <a:gd name="connsiteY2" fmla="*/ 0 h 26890"/>
                <a:gd name="connsiteX3" fmla="*/ 0 w 26890"/>
                <a:gd name="connsiteY3" fmla="*/ 15238 h 26890"/>
                <a:gd name="connsiteX4" fmla="*/ 15238 w 26890"/>
                <a:gd name="connsiteY4" fmla="*/ 30476 h 26890"/>
                <a:gd name="connsiteX5" fmla="*/ 15238 w 26890"/>
                <a:gd name="connsiteY5" fmla="*/ 4930 h 26890"/>
                <a:gd name="connsiteX6" fmla="*/ 25994 w 26890"/>
                <a:gd name="connsiteY6" fmla="*/ 15686 h 26890"/>
                <a:gd name="connsiteX7" fmla="*/ 15238 w 26890"/>
                <a:gd name="connsiteY7" fmla="*/ 26442 h 26890"/>
                <a:gd name="connsiteX8" fmla="*/ 4482 w 26890"/>
                <a:gd name="connsiteY8" fmla="*/ 15686 h 26890"/>
                <a:gd name="connsiteX9" fmla="*/ 15238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5238" y="30476"/>
                  </a:moveTo>
                  <a:cubicBezTo>
                    <a:pt x="23305" y="30476"/>
                    <a:pt x="30476" y="23753"/>
                    <a:pt x="30476" y="15238"/>
                  </a:cubicBezTo>
                  <a:cubicBezTo>
                    <a:pt x="30476" y="7171"/>
                    <a:pt x="23753" y="0"/>
                    <a:pt x="15238" y="0"/>
                  </a:cubicBezTo>
                  <a:cubicBezTo>
                    <a:pt x="7171" y="0"/>
                    <a:pt x="0" y="6723"/>
                    <a:pt x="0" y="15238"/>
                  </a:cubicBezTo>
                  <a:cubicBezTo>
                    <a:pt x="0" y="23753"/>
                    <a:pt x="6723" y="30476"/>
                    <a:pt x="15238" y="30476"/>
                  </a:cubicBezTo>
                  <a:close/>
                  <a:moveTo>
                    <a:pt x="15238" y="4930"/>
                  </a:moveTo>
                  <a:cubicBezTo>
                    <a:pt x="21064" y="4930"/>
                    <a:pt x="25994" y="9860"/>
                    <a:pt x="25994" y="15686"/>
                  </a:cubicBezTo>
                  <a:cubicBezTo>
                    <a:pt x="25994" y="21512"/>
                    <a:pt x="21064" y="26442"/>
                    <a:pt x="15238" y="26442"/>
                  </a:cubicBezTo>
                  <a:cubicBezTo>
                    <a:pt x="9412" y="26442"/>
                    <a:pt x="4482" y="21512"/>
                    <a:pt x="4482" y="15686"/>
                  </a:cubicBezTo>
                  <a:cubicBezTo>
                    <a:pt x="4482" y="9860"/>
                    <a:pt x="9412" y="4930"/>
                    <a:pt x="15238" y="4930"/>
                  </a:cubicBezTo>
                  <a:close/>
                </a:path>
              </a:pathLst>
            </a:custGeom>
            <a:solidFill>
              <a:srgbClr val="231F20"/>
            </a:solidFill>
            <a:ln w="4477" cap="flat">
              <a:noFill/>
              <a:prstDash val="solid"/>
              <a:miter/>
            </a:ln>
          </p:spPr>
          <p:txBody>
            <a:bodyPr rtlCol="0" anchor="ctr"/>
            <a:lstStyle/>
            <a:p>
              <a:endParaRPr lang="en-US"/>
            </a:p>
          </p:txBody>
        </p:sp>
        <p:sp>
          <p:nvSpPr>
            <p:cNvPr id="2611" name="Freeform: Shape 2610">
              <a:extLst>
                <a:ext uri="{FF2B5EF4-FFF2-40B4-BE49-F238E27FC236}">
                  <a16:creationId xmlns:a16="http://schemas.microsoft.com/office/drawing/2014/main" id="{BAFD24BC-C421-4F47-B9A2-E6748BE22FE1}"/>
                </a:ext>
              </a:extLst>
            </p:cNvPr>
            <p:cNvSpPr/>
            <p:nvPr/>
          </p:nvSpPr>
          <p:spPr>
            <a:xfrm>
              <a:off x="11261631" y="3895032"/>
              <a:ext cx="49299" cy="31372"/>
            </a:xfrm>
            <a:custGeom>
              <a:avLst/>
              <a:gdLst>
                <a:gd name="connsiteX0" fmla="*/ 36302 w 49298"/>
                <a:gd name="connsiteY0" fmla="*/ 0 h 31371"/>
                <a:gd name="connsiteX1" fmla="*/ 17927 w 49298"/>
                <a:gd name="connsiteY1" fmla="*/ 0 h 31371"/>
                <a:gd name="connsiteX2" fmla="*/ 0 w 49298"/>
                <a:gd name="connsiteY2" fmla="*/ 17927 h 31371"/>
                <a:gd name="connsiteX3" fmla="*/ 0 w 49298"/>
                <a:gd name="connsiteY3" fmla="*/ 25994 h 31371"/>
                <a:gd name="connsiteX4" fmla="*/ 6723 w 49298"/>
                <a:gd name="connsiteY4" fmla="*/ 32716 h 31371"/>
                <a:gd name="connsiteX5" fmla="*/ 46610 w 49298"/>
                <a:gd name="connsiteY5" fmla="*/ 32716 h 31371"/>
                <a:gd name="connsiteX6" fmla="*/ 53332 w 49298"/>
                <a:gd name="connsiteY6" fmla="*/ 25994 h 31371"/>
                <a:gd name="connsiteX7" fmla="*/ 53332 w 49298"/>
                <a:gd name="connsiteY7" fmla="*/ 17927 h 31371"/>
                <a:gd name="connsiteX8" fmla="*/ 36302 w 49298"/>
                <a:gd name="connsiteY8" fmla="*/ 0 h 31371"/>
                <a:gd name="connsiteX9" fmla="*/ 49747 w 49298"/>
                <a:gd name="connsiteY9" fmla="*/ 25546 h 31371"/>
                <a:gd name="connsiteX10" fmla="*/ 47506 w 49298"/>
                <a:gd name="connsiteY10" fmla="*/ 27787 h 31371"/>
                <a:gd name="connsiteX11" fmla="*/ 7619 w 49298"/>
                <a:gd name="connsiteY11" fmla="*/ 27787 h 31371"/>
                <a:gd name="connsiteX12" fmla="*/ 5378 w 49298"/>
                <a:gd name="connsiteY12" fmla="*/ 25546 h 31371"/>
                <a:gd name="connsiteX13" fmla="*/ 5378 w 49298"/>
                <a:gd name="connsiteY13" fmla="*/ 17478 h 31371"/>
                <a:gd name="connsiteX14" fmla="*/ 18823 w 49298"/>
                <a:gd name="connsiteY14" fmla="*/ 4033 h 31371"/>
                <a:gd name="connsiteX15" fmla="*/ 37198 w 49298"/>
                <a:gd name="connsiteY15" fmla="*/ 4033 h 31371"/>
                <a:gd name="connsiteX16" fmla="*/ 50643 w 49298"/>
                <a:gd name="connsiteY16" fmla="*/ 17478 h 31371"/>
                <a:gd name="connsiteX17" fmla="*/ 50643 w 49298"/>
                <a:gd name="connsiteY17" fmla="*/ 2554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98" h="31371">
                  <a:moveTo>
                    <a:pt x="36302" y="0"/>
                  </a:moveTo>
                  <a:lnTo>
                    <a:pt x="17927" y="0"/>
                  </a:lnTo>
                  <a:cubicBezTo>
                    <a:pt x="8067" y="0"/>
                    <a:pt x="0" y="8067"/>
                    <a:pt x="0" y="17927"/>
                  </a:cubicBezTo>
                  <a:lnTo>
                    <a:pt x="0" y="25994"/>
                  </a:lnTo>
                  <a:cubicBezTo>
                    <a:pt x="0" y="30027"/>
                    <a:pt x="3137" y="32716"/>
                    <a:pt x="6723" y="32716"/>
                  </a:cubicBezTo>
                  <a:lnTo>
                    <a:pt x="46610" y="32716"/>
                  </a:lnTo>
                  <a:cubicBezTo>
                    <a:pt x="50643" y="32716"/>
                    <a:pt x="53332" y="29579"/>
                    <a:pt x="53332" y="25994"/>
                  </a:cubicBezTo>
                  <a:lnTo>
                    <a:pt x="53332" y="17927"/>
                  </a:lnTo>
                  <a:cubicBezTo>
                    <a:pt x="54228" y="8067"/>
                    <a:pt x="46162" y="0"/>
                    <a:pt x="36302" y="0"/>
                  </a:cubicBezTo>
                  <a:close/>
                  <a:moveTo>
                    <a:pt x="49747" y="25546"/>
                  </a:moveTo>
                  <a:cubicBezTo>
                    <a:pt x="49747" y="26890"/>
                    <a:pt x="48851" y="27787"/>
                    <a:pt x="47506" y="27787"/>
                  </a:cubicBezTo>
                  <a:lnTo>
                    <a:pt x="7619" y="27787"/>
                  </a:lnTo>
                  <a:cubicBezTo>
                    <a:pt x="6274" y="27787"/>
                    <a:pt x="5378" y="26890"/>
                    <a:pt x="5378" y="25546"/>
                  </a:cubicBezTo>
                  <a:lnTo>
                    <a:pt x="5378" y="17478"/>
                  </a:lnTo>
                  <a:cubicBezTo>
                    <a:pt x="5378" y="10308"/>
                    <a:pt x="11204" y="4033"/>
                    <a:pt x="18823" y="4033"/>
                  </a:cubicBezTo>
                  <a:lnTo>
                    <a:pt x="37198" y="4033"/>
                  </a:lnTo>
                  <a:cubicBezTo>
                    <a:pt x="44369" y="4033"/>
                    <a:pt x="50643" y="9860"/>
                    <a:pt x="50643" y="17478"/>
                  </a:cubicBezTo>
                  <a:lnTo>
                    <a:pt x="50643" y="25546"/>
                  </a:lnTo>
                  <a:close/>
                </a:path>
              </a:pathLst>
            </a:custGeom>
            <a:solidFill>
              <a:srgbClr val="231F20"/>
            </a:solidFill>
            <a:ln w="4477" cap="flat">
              <a:noFill/>
              <a:prstDash val="solid"/>
              <a:miter/>
            </a:ln>
          </p:spPr>
          <p:txBody>
            <a:bodyPr rtlCol="0" anchor="ctr"/>
            <a:lstStyle/>
            <a:p>
              <a:endParaRPr lang="en-US"/>
            </a:p>
          </p:txBody>
        </p:sp>
        <p:sp>
          <p:nvSpPr>
            <p:cNvPr id="2612" name="Freeform: Shape 2611">
              <a:extLst>
                <a:ext uri="{FF2B5EF4-FFF2-40B4-BE49-F238E27FC236}">
                  <a16:creationId xmlns:a16="http://schemas.microsoft.com/office/drawing/2014/main" id="{87A96779-3337-414E-A682-D3EA9FBA28CB}"/>
                </a:ext>
              </a:extLst>
            </p:cNvPr>
            <p:cNvSpPr/>
            <p:nvPr/>
          </p:nvSpPr>
          <p:spPr>
            <a:xfrm>
              <a:off x="11322582" y="3943882"/>
              <a:ext cx="26890" cy="26890"/>
            </a:xfrm>
            <a:custGeom>
              <a:avLst/>
              <a:gdLst>
                <a:gd name="connsiteX0" fmla="*/ 30476 w 26890"/>
                <a:gd name="connsiteY0" fmla="*/ 15238 h 26890"/>
                <a:gd name="connsiteX1" fmla="*/ 15238 w 26890"/>
                <a:gd name="connsiteY1" fmla="*/ 0 h 26890"/>
                <a:gd name="connsiteX2" fmla="*/ 0 w 26890"/>
                <a:gd name="connsiteY2" fmla="*/ 15238 h 26890"/>
                <a:gd name="connsiteX3" fmla="*/ 15238 w 26890"/>
                <a:gd name="connsiteY3" fmla="*/ 30476 h 26890"/>
                <a:gd name="connsiteX4" fmla="*/ 30476 w 26890"/>
                <a:gd name="connsiteY4" fmla="*/ 15238 h 26890"/>
                <a:gd name="connsiteX5" fmla="*/ 4930 w 26890"/>
                <a:gd name="connsiteY5" fmla="*/ 15238 h 26890"/>
                <a:gd name="connsiteX6" fmla="*/ 15686 w 26890"/>
                <a:gd name="connsiteY6" fmla="*/ 4482 h 26890"/>
                <a:gd name="connsiteX7" fmla="*/ 26442 w 26890"/>
                <a:gd name="connsiteY7" fmla="*/ 15238 h 26890"/>
                <a:gd name="connsiteX8" fmla="*/ 15686 w 26890"/>
                <a:gd name="connsiteY8" fmla="*/ 25994 h 26890"/>
                <a:gd name="connsiteX9" fmla="*/ 4930 w 26890"/>
                <a:gd name="connsiteY9"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30476" y="15238"/>
                  </a:moveTo>
                  <a:cubicBezTo>
                    <a:pt x="30476" y="7171"/>
                    <a:pt x="23753" y="0"/>
                    <a:pt x="15238" y="0"/>
                  </a:cubicBezTo>
                  <a:cubicBezTo>
                    <a:pt x="6723" y="0"/>
                    <a:pt x="0" y="6723"/>
                    <a:pt x="0" y="15238"/>
                  </a:cubicBezTo>
                  <a:cubicBezTo>
                    <a:pt x="0" y="23305"/>
                    <a:pt x="6723" y="30476"/>
                    <a:pt x="15238" y="30476"/>
                  </a:cubicBezTo>
                  <a:cubicBezTo>
                    <a:pt x="23753" y="30476"/>
                    <a:pt x="30476" y="23305"/>
                    <a:pt x="30476" y="15238"/>
                  </a:cubicBezTo>
                  <a:close/>
                  <a:moveTo>
                    <a:pt x="4930" y="15238"/>
                  </a:moveTo>
                  <a:cubicBezTo>
                    <a:pt x="4930" y="9412"/>
                    <a:pt x="9860" y="4482"/>
                    <a:pt x="15686" y="4482"/>
                  </a:cubicBezTo>
                  <a:cubicBezTo>
                    <a:pt x="21512" y="4482"/>
                    <a:pt x="26442" y="9412"/>
                    <a:pt x="26442" y="15238"/>
                  </a:cubicBezTo>
                  <a:cubicBezTo>
                    <a:pt x="26442" y="21064"/>
                    <a:pt x="21512" y="25994"/>
                    <a:pt x="15686" y="25994"/>
                  </a:cubicBezTo>
                  <a:cubicBezTo>
                    <a:pt x="9860" y="25994"/>
                    <a:pt x="4930" y="21064"/>
                    <a:pt x="4930" y="15238"/>
                  </a:cubicBezTo>
                  <a:close/>
                </a:path>
              </a:pathLst>
            </a:custGeom>
            <a:solidFill>
              <a:srgbClr val="231F20"/>
            </a:solidFill>
            <a:ln w="4477" cap="flat">
              <a:noFill/>
              <a:prstDash val="solid"/>
              <a:miter/>
            </a:ln>
          </p:spPr>
          <p:txBody>
            <a:bodyPr rtlCol="0" anchor="ctr"/>
            <a:lstStyle/>
            <a:p>
              <a:endParaRPr lang="en-US"/>
            </a:p>
          </p:txBody>
        </p:sp>
        <p:sp>
          <p:nvSpPr>
            <p:cNvPr id="2613" name="Freeform: Shape 2612">
              <a:extLst>
                <a:ext uri="{FF2B5EF4-FFF2-40B4-BE49-F238E27FC236}">
                  <a16:creationId xmlns:a16="http://schemas.microsoft.com/office/drawing/2014/main" id="{CF2959D1-AB0A-4C1E-8297-A3972CC0F96E}"/>
                </a:ext>
              </a:extLst>
            </p:cNvPr>
            <p:cNvSpPr/>
            <p:nvPr/>
          </p:nvSpPr>
          <p:spPr>
            <a:xfrm>
              <a:off x="11211436" y="3975703"/>
              <a:ext cx="152378" cy="31372"/>
            </a:xfrm>
            <a:custGeom>
              <a:avLst/>
              <a:gdLst>
                <a:gd name="connsiteX0" fmla="*/ 135795 w 152377"/>
                <a:gd name="connsiteY0" fmla="*/ 0 h 31371"/>
                <a:gd name="connsiteX1" fmla="*/ 117420 w 152377"/>
                <a:gd name="connsiteY1" fmla="*/ 0 h 31371"/>
                <a:gd name="connsiteX2" fmla="*/ 101734 w 152377"/>
                <a:gd name="connsiteY2" fmla="*/ 9411 h 31371"/>
                <a:gd name="connsiteX3" fmla="*/ 86048 w 152377"/>
                <a:gd name="connsiteY3" fmla="*/ 0 h 31371"/>
                <a:gd name="connsiteX4" fmla="*/ 67674 w 152377"/>
                <a:gd name="connsiteY4" fmla="*/ 0 h 31371"/>
                <a:gd name="connsiteX5" fmla="*/ 51988 w 152377"/>
                <a:gd name="connsiteY5" fmla="*/ 9411 h 31371"/>
                <a:gd name="connsiteX6" fmla="*/ 36302 w 152377"/>
                <a:gd name="connsiteY6" fmla="*/ 0 h 31371"/>
                <a:gd name="connsiteX7" fmla="*/ 17927 w 152377"/>
                <a:gd name="connsiteY7" fmla="*/ 0 h 31371"/>
                <a:gd name="connsiteX8" fmla="*/ 0 w 152377"/>
                <a:gd name="connsiteY8" fmla="*/ 17927 h 31371"/>
                <a:gd name="connsiteX9" fmla="*/ 0 w 152377"/>
                <a:gd name="connsiteY9" fmla="*/ 25994 h 31371"/>
                <a:gd name="connsiteX10" fmla="*/ 6723 w 152377"/>
                <a:gd name="connsiteY10" fmla="*/ 32716 h 31371"/>
                <a:gd name="connsiteX11" fmla="*/ 46609 w 152377"/>
                <a:gd name="connsiteY11" fmla="*/ 32716 h 31371"/>
                <a:gd name="connsiteX12" fmla="*/ 51540 w 152377"/>
                <a:gd name="connsiteY12" fmla="*/ 30924 h 31371"/>
                <a:gd name="connsiteX13" fmla="*/ 56469 w 152377"/>
                <a:gd name="connsiteY13" fmla="*/ 32716 h 31371"/>
                <a:gd name="connsiteX14" fmla="*/ 96357 w 152377"/>
                <a:gd name="connsiteY14" fmla="*/ 32716 h 31371"/>
                <a:gd name="connsiteX15" fmla="*/ 100838 w 152377"/>
                <a:gd name="connsiteY15" fmla="*/ 30924 h 31371"/>
                <a:gd name="connsiteX16" fmla="*/ 105768 w 152377"/>
                <a:gd name="connsiteY16" fmla="*/ 32716 h 31371"/>
                <a:gd name="connsiteX17" fmla="*/ 145655 w 152377"/>
                <a:gd name="connsiteY17" fmla="*/ 32716 h 31371"/>
                <a:gd name="connsiteX18" fmla="*/ 152378 w 152377"/>
                <a:gd name="connsiteY18" fmla="*/ 25994 h 31371"/>
                <a:gd name="connsiteX19" fmla="*/ 152378 w 152377"/>
                <a:gd name="connsiteY19" fmla="*/ 17927 h 31371"/>
                <a:gd name="connsiteX20" fmla="*/ 135795 w 152377"/>
                <a:gd name="connsiteY20" fmla="*/ 0 h 31371"/>
                <a:gd name="connsiteX21" fmla="*/ 50643 w 152377"/>
                <a:gd name="connsiteY21" fmla="*/ 25546 h 31371"/>
                <a:gd name="connsiteX22" fmla="*/ 48402 w 152377"/>
                <a:gd name="connsiteY22" fmla="*/ 27787 h 31371"/>
                <a:gd name="connsiteX23" fmla="*/ 8515 w 152377"/>
                <a:gd name="connsiteY23" fmla="*/ 27787 h 31371"/>
                <a:gd name="connsiteX24" fmla="*/ 6274 w 152377"/>
                <a:gd name="connsiteY24" fmla="*/ 25546 h 31371"/>
                <a:gd name="connsiteX25" fmla="*/ 6274 w 152377"/>
                <a:gd name="connsiteY25" fmla="*/ 17478 h 31371"/>
                <a:gd name="connsiteX26" fmla="*/ 19719 w 152377"/>
                <a:gd name="connsiteY26" fmla="*/ 4033 h 31371"/>
                <a:gd name="connsiteX27" fmla="*/ 38094 w 152377"/>
                <a:gd name="connsiteY27" fmla="*/ 4033 h 31371"/>
                <a:gd name="connsiteX28" fmla="*/ 51540 w 152377"/>
                <a:gd name="connsiteY28" fmla="*/ 17478 h 31371"/>
                <a:gd name="connsiteX29" fmla="*/ 51540 w 152377"/>
                <a:gd name="connsiteY29" fmla="*/ 25546 h 31371"/>
                <a:gd name="connsiteX30" fmla="*/ 99942 w 152377"/>
                <a:gd name="connsiteY30" fmla="*/ 25546 h 31371"/>
                <a:gd name="connsiteX31" fmla="*/ 97701 w 152377"/>
                <a:gd name="connsiteY31" fmla="*/ 27787 h 31371"/>
                <a:gd name="connsiteX32" fmla="*/ 57814 w 152377"/>
                <a:gd name="connsiteY32" fmla="*/ 27787 h 31371"/>
                <a:gd name="connsiteX33" fmla="*/ 55573 w 152377"/>
                <a:gd name="connsiteY33" fmla="*/ 25546 h 31371"/>
                <a:gd name="connsiteX34" fmla="*/ 55573 w 152377"/>
                <a:gd name="connsiteY34" fmla="*/ 17478 h 31371"/>
                <a:gd name="connsiteX35" fmla="*/ 69018 w 152377"/>
                <a:gd name="connsiteY35" fmla="*/ 4033 h 31371"/>
                <a:gd name="connsiteX36" fmla="*/ 87393 w 152377"/>
                <a:gd name="connsiteY36" fmla="*/ 4033 h 31371"/>
                <a:gd name="connsiteX37" fmla="*/ 100838 w 152377"/>
                <a:gd name="connsiteY37" fmla="*/ 17478 h 31371"/>
                <a:gd name="connsiteX38" fmla="*/ 100838 w 152377"/>
                <a:gd name="connsiteY38" fmla="*/ 25546 h 31371"/>
                <a:gd name="connsiteX39" fmla="*/ 149240 w 152377"/>
                <a:gd name="connsiteY39" fmla="*/ 25546 h 31371"/>
                <a:gd name="connsiteX40" fmla="*/ 146999 w 152377"/>
                <a:gd name="connsiteY40" fmla="*/ 27787 h 31371"/>
                <a:gd name="connsiteX41" fmla="*/ 107112 w 152377"/>
                <a:gd name="connsiteY41" fmla="*/ 27787 h 31371"/>
                <a:gd name="connsiteX42" fmla="*/ 104871 w 152377"/>
                <a:gd name="connsiteY42" fmla="*/ 25546 h 31371"/>
                <a:gd name="connsiteX43" fmla="*/ 104871 w 152377"/>
                <a:gd name="connsiteY43" fmla="*/ 17478 h 31371"/>
                <a:gd name="connsiteX44" fmla="*/ 118316 w 152377"/>
                <a:gd name="connsiteY44" fmla="*/ 4033 h 31371"/>
                <a:gd name="connsiteX45" fmla="*/ 136692 w 152377"/>
                <a:gd name="connsiteY45" fmla="*/ 4033 h 31371"/>
                <a:gd name="connsiteX46" fmla="*/ 150137 w 152377"/>
                <a:gd name="connsiteY46" fmla="*/ 17478 h 31371"/>
                <a:gd name="connsiteX47" fmla="*/ 150137 w 152377"/>
                <a:gd name="connsiteY47" fmla="*/ 25546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377" h="31371">
                  <a:moveTo>
                    <a:pt x="135795" y="0"/>
                  </a:moveTo>
                  <a:lnTo>
                    <a:pt x="117420" y="0"/>
                  </a:lnTo>
                  <a:cubicBezTo>
                    <a:pt x="110698" y="0"/>
                    <a:pt x="104871" y="3585"/>
                    <a:pt x="101734" y="9411"/>
                  </a:cubicBezTo>
                  <a:cubicBezTo>
                    <a:pt x="98597" y="4033"/>
                    <a:pt x="92771" y="0"/>
                    <a:pt x="86048" y="0"/>
                  </a:cubicBezTo>
                  <a:lnTo>
                    <a:pt x="67674" y="0"/>
                  </a:lnTo>
                  <a:cubicBezTo>
                    <a:pt x="60951" y="0"/>
                    <a:pt x="55125" y="3585"/>
                    <a:pt x="51988" y="9411"/>
                  </a:cubicBezTo>
                  <a:cubicBezTo>
                    <a:pt x="48850" y="4033"/>
                    <a:pt x="43024" y="0"/>
                    <a:pt x="36302" y="0"/>
                  </a:cubicBezTo>
                  <a:lnTo>
                    <a:pt x="17927" y="0"/>
                  </a:lnTo>
                  <a:cubicBezTo>
                    <a:pt x="8067" y="0"/>
                    <a:pt x="0" y="8067"/>
                    <a:pt x="0" y="17927"/>
                  </a:cubicBezTo>
                  <a:lnTo>
                    <a:pt x="0" y="25994"/>
                  </a:lnTo>
                  <a:cubicBezTo>
                    <a:pt x="0" y="30027"/>
                    <a:pt x="3137" y="32716"/>
                    <a:pt x="6723" y="32716"/>
                  </a:cubicBezTo>
                  <a:lnTo>
                    <a:pt x="46609" y="32716"/>
                  </a:lnTo>
                  <a:cubicBezTo>
                    <a:pt x="48402" y="32716"/>
                    <a:pt x="50195" y="31820"/>
                    <a:pt x="51540" y="30924"/>
                  </a:cubicBezTo>
                  <a:cubicBezTo>
                    <a:pt x="52884" y="32268"/>
                    <a:pt x="54228" y="32716"/>
                    <a:pt x="56469" y="32716"/>
                  </a:cubicBezTo>
                  <a:lnTo>
                    <a:pt x="96357" y="32716"/>
                  </a:lnTo>
                  <a:cubicBezTo>
                    <a:pt x="98149" y="32716"/>
                    <a:pt x="99942" y="31820"/>
                    <a:pt x="100838" y="30924"/>
                  </a:cubicBezTo>
                  <a:cubicBezTo>
                    <a:pt x="102182" y="32268"/>
                    <a:pt x="103527" y="32716"/>
                    <a:pt x="105768" y="32716"/>
                  </a:cubicBezTo>
                  <a:lnTo>
                    <a:pt x="145655" y="32716"/>
                  </a:lnTo>
                  <a:cubicBezTo>
                    <a:pt x="149688" y="32716"/>
                    <a:pt x="152378" y="29579"/>
                    <a:pt x="152378" y="25994"/>
                  </a:cubicBezTo>
                  <a:lnTo>
                    <a:pt x="152378" y="17927"/>
                  </a:lnTo>
                  <a:cubicBezTo>
                    <a:pt x="153722" y="8067"/>
                    <a:pt x="145655" y="0"/>
                    <a:pt x="135795" y="0"/>
                  </a:cubicBezTo>
                  <a:close/>
                  <a:moveTo>
                    <a:pt x="50643" y="25546"/>
                  </a:moveTo>
                  <a:cubicBezTo>
                    <a:pt x="50643" y="26890"/>
                    <a:pt x="49747" y="27787"/>
                    <a:pt x="48402" y="27787"/>
                  </a:cubicBezTo>
                  <a:lnTo>
                    <a:pt x="8515" y="27787"/>
                  </a:lnTo>
                  <a:cubicBezTo>
                    <a:pt x="7171" y="27787"/>
                    <a:pt x="6274" y="26890"/>
                    <a:pt x="6274" y="25546"/>
                  </a:cubicBezTo>
                  <a:lnTo>
                    <a:pt x="6274" y="17478"/>
                  </a:lnTo>
                  <a:cubicBezTo>
                    <a:pt x="6274" y="10308"/>
                    <a:pt x="12100" y="4033"/>
                    <a:pt x="19719" y="4033"/>
                  </a:cubicBezTo>
                  <a:lnTo>
                    <a:pt x="38094" y="4033"/>
                  </a:lnTo>
                  <a:cubicBezTo>
                    <a:pt x="45265" y="4033"/>
                    <a:pt x="51540" y="9860"/>
                    <a:pt x="51540" y="17478"/>
                  </a:cubicBezTo>
                  <a:lnTo>
                    <a:pt x="51540" y="25546"/>
                  </a:lnTo>
                  <a:close/>
                  <a:moveTo>
                    <a:pt x="99942" y="25546"/>
                  </a:moveTo>
                  <a:cubicBezTo>
                    <a:pt x="99942" y="26890"/>
                    <a:pt x="99046" y="27787"/>
                    <a:pt x="97701" y="27787"/>
                  </a:cubicBezTo>
                  <a:lnTo>
                    <a:pt x="57814" y="27787"/>
                  </a:lnTo>
                  <a:cubicBezTo>
                    <a:pt x="56469" y="27787"/>
                    <a:pt x="55573" y="26890"/>
                    <a:pt x="55573" y="25546"/>
                  </a:cubicBezTo>
                  <a:lnTo>
                    <a:pt x="55573" y="17478"/>
                  </a:lnTo>
                  <a:cubicBezTo>
                    <a:pt x="55573" y="10308"/>
                    <a:pt x="61399" y="4033"/>
                    <a:pt x="69018" y="4033"/>
                  </a:cubicBezTo>
                  <a:lnTo>
                    <a:pt x="87393" y="4033"/>
                  </a:lnTo>
                  <a:cubicBezTo>
                    <a:pt x="94564" y="4033"/>
                    <a:pt x="100838" y="9860"/>
                    <a:pt x="100838" y="17478"/>
                  </a:cubicBezTo>
                  <a:lnTo>
                    <a:pt x="100838" y="25546"/>
                  </a:lnTo>
                  <a:close/>
                  <a:moveTo>
                    <a:pt x="149240" y="25546"/>
                  </a:moveTo>
                  <a:cubicBezTo>
                    <a:pt x="149240" y="26890"/>
                    <a:pt x="148344" y="27787"/>
                    <a:pt x="146999" y="27787"/>
                  </a:cubicBezTo>
                  <a:lnTo>
                    <a:pt x="107112" y="27787"/>
                  </a:lnTo>
                  <a:cubicBezTo>
                    <a:pt x="105768" y="27787"/>
                    <a:pt x="104871" y="26890"/>
                    <a:pt x="104871" y="25546"/>
                  </a:cubicBezTo>
                  <a:lnTo>
                    <a:pt x="104871" y="17478"/>
                  </a:lnTo>
                  <a:cubicBezTo>
                    <a:pt x="104871" y="10308"/>
                    <a:pt x="110698" y="4033"/>
                    <a:pt x="118316" y="4033"/>
                  </a:cubicBezTo>
                  <a:lnTo>
                    <a:pt x="136692" y="4033"/>
                  </a:lnTo>
                  <a:cubicBezTo>
                    <a:pt x="143863" y="4033"/>
                    <a:pt x="150137" y="9860"/>
                    <a:pt x="150137" y="17478"/>
                  </a:cubicBezTo>
                  <a:lnTo>
                    <a:pt x="150137" y="25546"/>
                  </a:lnTo>
                  <a:close/>
                </a:path>
              </a:pathLst>
            </a:custGeom>
            <a:solidFill>
              <a:srgbClr val="231F20"/>
            </a:solidFill>
            <a:ln w="4477" cap="flat">
              <a:noFill/>
              <a:prstDash val="solid"/>
              <a:miter/>
            </a:ln>
          </p:spPr>
          <p:txBody>
            <a:bodyPr rtlCol="0" anchor="ctr"/>
            <a:lstStyle/>
            <a:p>
              <a:endParaRPr lang="en-US"/>
            </a:p>
          </p:txBody>
        </p:sp>
      </p:grpSp>
      <p:grpSp>
        <p:nvGrpSpPr>
          <p:cNvPr id="2440" name="Group 2439">
            <a:extLst>
              <a:ext uri="{FF2B5EF4-FFF2-40B4-BE49-F238E27FC236}">
                <a16:creationId xmlns:a16="http://schemas.microsoft.com/office/drawing/2014/main" id="{0F37A609-0557-45D9-B313-39F6BAD30FC9}"/>
              </a:ext>
              <a:ext uri="{C183D7F6-B498-43B3-948B-1728B52AA6E4}">
                <adec:decorative xmlns:adec="http://schemas.microsoft.com/office/drawing/2017/decorative" val="1"/>
              </a:ext>
            </a:extLst>
          </p:cNvPr>
          <p:cNvGrpSpPr>
            <a:grpSpLocks noChangeAspect="1"/>
          </p:cNvGrpSpPr>
          <p:nvPr/>
        </p:nvGrpSpPr>
        <p:grpSpPr>
          <a:xfrm>
            <a:off x="605368" y="4872761"/>
            <a:ext cx="147896" cy="149689"/>
            <a:chOff x="6480103" y="3855593"/>
            <a:chExt cx="147896" cy="149689"/>
          </a:xfrm>
        </p:grpSpPr>
        <p:sp>
          <p:nvSpPr>
            <p:cNvPr id="2603" name="Freeform: Shape 2602">
              <a:extLst>
                <a:ext uri="{FF2B5EF4-FFF2-40B4-BE49-F238E27FC236}">
                  <a16:creationId xmlns:a16="http://schemas.microsoft.com/office/drawing/2014/main" id="{5CAAE6DD-5A67-4905-8022-9B926A584F9C}"/>
                </a:ext>
              </a:extLst>
            </p:cNvPr>
            <p:cNvSpPr/>
            <p:nvPr/>
          </p:nvSpPr>
          <p:spPr>
            <a:xfrm>
              <a:off x="6506097" y="3876209"/>
              <a:ext cx="58262" cy="58262"/>
            </a:xfrm>
            <a:custGeom>
              <a:avLst/>
              <a:gdLst>
                <a:gd name="connsiteX0" fmla="*/ 30027 w 58262"/>
                <a:gd name="connsiteY0" fmla="*/ 60055 h 58262"/>
                <a:gd name="connsiteX1" fmla="*/ 0 w 58262"/>
                <a:gd name="connsiteY1" fmla="*/ 30027 h 58262"/>
                <a:gd name="connsiteX2" fmla="*/ 30027 w 58262"/>
                <a:gd name="connsiteY2" fmla="*/ 0 h 58262"/>
                <a:gd name="connsiteX3" fmla="*/ 60055 w 58262"/>
                <a:gd name="connsiteY3" fmla="*/ 30027 h 58262"/>
                <a:gd name="connsiteX4" fmla="*/ 30027 w 58262"/>
                <a:gd name="connsiteY4" fmla="*/ 60055 h 58262"/>
                <a:gd name="connsiteX5" fmla="*/ 30027 w 58262"/>
                <a:gd name="connsiteY5" fmla="*/ 4034 h 58262"/>
                <a:gd name="connsiteX6" fmla="*/ 4482 w 58262"/>
                <a:gd name="connsiteY6" fmla="*/ 29579 h 58262"/>
                <a:gd name="connsiteX7" fmla="*/ 30027 w 58262"/>
                <a:gd name="connsiteY7" fmla="*/ 55125 h 58262"/>
                <a:gd name="connsiteX8" fmla="*/ 55573 w 58262"/>
                <a:gd name="connsiteY8" fmla="*/ 29579 h 58262"/>
                <a:gd name="connsiteX9" fmla="*/ 30027 w 58262"/>
                <a:gd name="connsiteY9" fmla="*/ 4034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62" h="58262">
                  <a:moveTo>
                    <a:pt x="30027" y="60055"/>
                  </a:moveTo>
                  <a:cubicBezTo>
                    <a:pt x="13445" y="60055"/>
                    <a:pt x="0" y="46610"/>
                    <a:pt x="0" y="30027"/>
                  </a:cubicBezTo>
                  <a:cubicBezTo>
                    <a:pt x="0" y="13445"/>
                    <a:pt x="13445" y="0"/>
                    <a:pt x="30027" y="0"/>
                  </a:cubicBezTo>
                  <a:cubicBezTo>
                    <a:pt x="46610" y="0"/>
                    <a:pt x="60055" y="13445"/>
                    <a:pt x="60055" y="30027"/>
                  </a:cubicBezTo>
                  <a:cubicBezTo>
                    <a:pt x="60055" y="46610"/>
                    <a:pt x="46610" y="60055"/>
                    <a:pt x="30027" y="60055"/>
                  </a:cubicBezTo>
                  <a:close/>
                  <a:moveTo>
                    <a:pt x="30027" y="4034"/>
                  </a:moveTo>
                  <a:cubicBezTo>
                    <a:pt x="15686" y="4034"/>
                    <a:pt x="4482" y="15686"/>
                    <a:pt x="4482" y="29579"/>
                  </a:cubicBezTo>
                  <a:cubicBezTo>
                    <a:pt x="4482" y="43921"/>
                    <a:pt x="16134" y="55125"/>
                    <a:pt x="30027" y="55125"/>
                  </a:cubicBezTo>
                  <a:cubicBezTo>
                    <a:pt x="44369" y="55125"/>
                    <a:pt x="55573" y="43473"/>
                    <a:pt x="55573" y="29579"/>
                  </a:cubicBezTo>
                  <a:cubicBezTo>
                    <a:pt x="55573" y="15686"/>
                    <a:pt x="44369" y="4034"/>
                    <a:pt x="30027" y="4034"/>
                  </a:cubicBezTo>
                  <a:close/>
                </a:path>
              </a:pathLst>
            </a:custGeom>
            <a:solidFill>
              <a:srgbClr val="231F20"/>
            </a:solidFill>
            <a:ln w="4477" cap="flat">
              <a:noFill/>
              <a:prstDash val="solid"/>
              <a:miter/>
            </a:ln>
          </p:spPr>
          <p:txBody>
            <a:bodyPr rtlCol="0" anchor="ctr"/>
            <a:lstStyle/>
            <a:p>
              <a:endParaRPr lang="en-US"/>
            </a:p>
          </p:txBody>
        </p:sp>
        <p:sp>
          <p:nvSpPr>
            <p:cNvPr id="2604" name="Freeform: Shape 2603">
              <a:extLst>
                <a:ext uri="{FF2B5EF4-FFF2-40B4-BE49-F238E27FC236}">
                  <a16:creationId xmlns:a16="http://schemas.microsoft.com/office/drawing/2014/main" id="{CC28E4EA-58D3-43B4-AF76-620ED9792DAD}"/>
                </a:ext>
              </a:extLst>
            </p:cNvPr>
            <p:cNvSpPr/>
            <p:nvPr/>
          </p:nvSpPr>
          <p:spPr>
            <a:xfrm>
              <a:off x="6480103" y="3942538"/>
              <a:ext cx="107561" cy="62744"/>
            </a:xfrm>
            <a:custGeom>
              <a:avLst/>
              <a:gdLst>
                <a:gd name="connsiteX0" fmla="*/ 99494 w 107560"/>
                <a:gd name="connsiteY0" fmla="*/ 65881 h 62743"/>
                <a:gd name="connsiteX1" fmla="*/ 12549 w 107560"/>
                <a:gd name="connsiteY1" fmla="*/ 65881 h 62743"/>
                <a:gd name="connsiteX2" fmla="*/ 0 w 107560"/>
                <a:gd name="connsiteY2" fmla="*/ 53332 h 62743"/>
                <a:gd name="connsiteX3" fmla="*/ 0 w 107560"/>
                <a:gd name="connsiteY3" fmla="*/ 35854 h 62743"/>
                <a:gd name="connsiteX4" fmla="*/ 35854 w 107560"/>
                <a:gd name="connsiteY4" fmla="*/ 0 h 62743"/>
                <a:gd name="connsiteX5" fmla="*/ 75741 w 107560"/>
                <a:gd name="connsiteY5" fmla="*/ 0 h 62743"/>
                <a:gd name="connsiteX6" fmla="*/ 111594 w 107560"/>
                <a:gd name="connsiteY6" fmla="*/ 35854 h 62743"/>
                <a:gd name="connsiteX7" fmla="*/ 111594 w 107560"/>
                <a:gd name="connsiteY7" fmla="*/ 53332 h 62743"/>
                <a:gd name="connsiteX8" fmla="*/ 99494 w 107560"/>
                <a:gd name="connsiteY8" fmla="*/ 65881 h 62743"/>
                <a:gd name="connsiteX9" fmla="*/ 35854 w 107560"/>
                <a:gd name="connsiteY9" fmla="*/ 4034 h 62743"/>
                <a:gd name="connsiteX10" fmla="*/ 4482 w 107560"/>
                <a:gd name="connsiteY10" fmla="*/ 35406 h 62743"/>
                <a:gd name="connsiteX11" fmla="*/ 4482 w 107560"/>
                <a:gd name="connsiteY11" fmla="*/ 52884 h 62743"/>
                <a:gd name="connsiteX12" fmla="*/ 12549 w 107560"/>
                <a:gd name="connsiteY12" fmla="*/ 60951 h 62743"/>
                <a:gd name="connsiteX13" fmla="*/ 99494 w 107560"/>
                <a:gd name="connsiteY13" fmla="*/ 60951 h 62743"/>
                <a:gd name="connsiteX14" fmla="*/ 107561 w 107560"/>
                <a:gd name="connsiteY14" fmla="*/ 52884 h 62743"/>
                <a:gd name="connsiteX15" fmla="*/ 107561 w 107560"/>
                <a:gd name="connsiteY15" fmla="*/ 35406 h 62743"/>
                <a:gd name="connsiteX16" fmla="*/ 76189 w 107560"/>
                <a:gd name="connsiteY16" fmla="*/ 4034 h 62743"/>
                <a:gd name="connsiteX17" fmla="*/ 35854 w 107560"/>
                <a:gd name="connsiteY17" fmla="*/ 403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560" h="62743">
                  <a:moveTo>
                    <a:pt x="99494" y="65881"/>
                  </a:moveTo>
                  <a:lnTo>
                    <a:pt x="12549" y="65881"/>
                  </a:lnTo>
                  <a:cubicBezTo>
                    <a:pt x="5826" y="65881"/>
                    <a:pt x="0" y="60055"/>
                    <a:pt x="0" y="53332"/>
                  </a:cubicBezTo>
                  <a:lnTo>
                    <a:pt x="0" y="35854"/>
                  </a:lnTo>
                  <a:cubicBezTo>
                    <a:pt x="0" y="16134"/>
                    <a:pt x="16134" y="0"/>
                    <a:pt x="35854" y="0"/>
                  </a:cubicBezTo>
                  <a:lnTo>
                    <a:pt x="75741" y="0"/>
                  </a:lnTo>
                  <a:cubicBezTo>
                    <a:pt x="95460" y="0"/>
                    <a:pt x="111594" y="16134"/>
                    <a:pt x="111594" y="35854"/>
                  </a:cubicBezTo>
                  <a:lnTo>
                    <a:pt x="111594" y="53332"/>
                  </a:lnTo>
                  <a:cubicBezTo>
                    <a:pt x="112043" y="60055"/>
                    <a:pt x="106665" y="65881"/>
                    <a:pt x="99494" y="65881"/>
                  </a:cubicBezTo>
                  <a:close/>
                  <a:moveTo>
                    <a:pt x="35854" y="4034"/>
                  </a:moveTo>
                  <a:cubicBezTo>
                    <a:pt x="18375" y="4034"/>
                    <a:pt x="4482" y="18375"/>
                    <a:pt x="4482" y="35406"/>
                  </a:cubicBezTo>
                  <a:lnTo>
                    <a:pt x="4482" y="52884"/>
                  </a:lnTo>
                  <a:cubicBezTo>
                    <a:pt x="4482" y="57366"/>
                    <a:pt x="8067" y="60951"/>
                    <a:pt x="12549" y="60951"/>
                  </a:cubicBezTo>
                  <a:lnTo>
                    <a:pt x="99494" y="60951"/>
                  </a:lnTo>
                  <a:cubicBezTo>
                    <a:pt x="103975" y="60951"/>
                    <a:pt x="107561" y="57366"/>
                    <a:pt x="107561" y="52884"/>
                  </a:cubicBezTo>
                  <a:lnTo>
                    <a:pt x="107561" y="35406"/>
                  </a:lnTo>
                  <a:cubicBezTo>
                    <a:pt x="107561" y="17927"/>
                    <a:pt x="93219" y="4034"/>
                    <a:pt x="76189" y="4034"/>
                  </a:cubicBezTo>
                  <a:lnTo>
                    <a:pt x="35854" y="4034"/>
                  </a:lnTo>
                  <a:close/>
                </a:path>
              </a:pathLst>
            </a:custGeom>
            <a:solidFill>
              <a:srgbClr val="231F20"/>
            </a:solidFill>
            <a:ln w="4477" cap="flat">
              <a:noFill/>
              <a:prstDash val="solid"/>
              <a:miter/>
            </a:ln>
          </p:spPr>
          <p:txBody>
            <a:bodyPr rtlCol="0" anchor="ctr"/>
            <a:lstStyle/>
            <a:p>
              <a:endParaRPr lang="en-US"/>
            </a:p>
          </p:txBody>
        </p:sp>
        <p:sp>
          <p:nvSpPr>
            <p:cNvPr id="2605" name="Freeform: Shape 2604">
              <a:extLst>
                <a:ext uri="{FF2B5EF4-FFF2-40B4-BE49-F238E27FC236}">
                  <a16:creationId xmlns:a16="http://schemas.microsoft.com/office/drawing/2014/main" id="{52E28DF2-82AD-4B63-A5FA-44C86B0C468C}"/>
                </a:ext>
              </a:extLst>
            </p:cNvPr>
            <p:cNvSpPr/>
            <p:nvPr/>
          </p:nvSpPr>
          <p:spPr>
            <a:xfrm>
              <a:off x="6567945" y="3855593"/>
              <a:ext cx="44817" cy="44817"/>
            </a:xfrm>
            <a:custGeom>
              <a:avLst/>
              <a:gdLst>
                <a:gd name="connsiteX0" fmla="*/ 22857 w 44817"/>
                <a:gd name="connsiteY0" fmla="*/ 45713 h 44817"/>
                <a:gd name="connsiteX1" fmla="*/ 0 w 44817"/>
                <a:gd name="connsiteY1" fmla="*/ 22857 h 44817"/>
                <a:gd name="connsiteX2" fmla="*/ 22857 w 44817"/>
                <a:gd name="connsiteY2" fmla="*/ 0 h 44817"/>
                <a:gd name="connsiteX3" fmla="*/ 45713 w 44817"/>
                <a:gd name="connsiteY3" fmla="*/ 22857 h 44817"/>
                <a:gd name="connsiteX4" fmla="*/ 22857 w 44817"/>
                <a:gd name="connsiteY4" fmla="*/ 45713 h 44817"/>
                <a:gd name="connsiteX5" fmla="*/ 22857 w 44817"/>
                <a:gd name="connsiteY5" fmla="*/ 4930 h 44817"/>
                <a:gd name="connsiteX6" fmla="*/ 4482 w 44817"/>
                <a:gd name="connsiteY6" fmla="*/ 23305 h 44817"/>
                <a:gd name="connsiteX7" fmla="*/ 22857 w 44817"/>
                <a:gd name="connsiteY7" fmla="*/ 41680 h 44817"/>
                <a:gd name="connsiteX8" fmla="*/ 41232 w 44817"/>
                <a:gd name="connsiteY8" fmla="*/ 23305 h 44817"/>
                <a:gd name="connsiteX9" fmla="*/ 22857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2857" y="45713"/>
                  </a:moveTo>
                  <a:cubicBezTo>
                    <a:pt x="10308" y="45713"/>
                    <a:pt x="0" y="35405"/>
                    <a:pt x="0" y="22857"/>
                  </a:cubicBezTo>
                  <a:cubicBezTo>
                    <a:pt x="0" y="10308"/>
                    <a:pt x="10308" y="0"/>
                    <a:pt x="22857" y="0"/>
                  </a:cubicBezTo>
                  <a:cubicBezTo>
                    <a:pt x="35405" y="0"/>
                    <a:pt x="45713" y="10308"/>
                    <a:pt x="45713" y="22857"/>
                  </a:cubicBezTo>
                  <a:cubicBezTo>
                    <a:pt x="45713" y="35854"/>
                    <a:pt x="35405" y="45713"/>
                    <a:pt x="22857" y="45713"/>
                  </a:cubicBezTo>
                  <a:close/>
                  <a:moveTo>
                    <a:pt x="22857" y="4930"/>
                  </a:moveTo>
                  <a:cubicBezTo>
                    <a:pt x="12549" y="4930"/>
                    <a:pt x="4482" y="12997"/>
                    <a:pt x="4482" y="23305"/>
                  </a:cubicBezTo>
                  <a:cubicBezTo>
                    <a:pt x="4482" y="33613"/>
                    <a:pt x="12549" y="41680"/>
                    <a:pt x="22857" y="41680"/>
                  </a:cubicBezTo>
                  <a:cubicBezTo>
                    <a:pt x="33165" y="41680"/>
                    <a:pt x="41232" y="33613"/>
                    <a:pt x="41232" y="23305"/>
                  </a:cubicBezTo>
                  <a:cubicBezTo>
                    <a:pt x="41232" y="12997"/>
                    <a:pt x="32716" y="4930"/>
                    <a:pt x="22857" y="4930"/>
                  </a:cubicBezTo>
                  <a:close/>
                </a:path>
              </a:pathLst>
            </a:custGeom>
            <a:solidFill>
              <a:srgbClr val="231F20"/>
            </a:solidFill>
            <a:ln w="4477" cap="flat">
              <a:noFill/>
              <a:prstDash val="solid"/>
              <a:miter/>
            </a:ln>
          </p:spPr>
          <p:txBody>
            <a:bodyPr rtlCol="0" anchor="ctr"/>
            <a:lstStyle/>
            <a:p>
              <a:endParaRPr lang="en-US"/>
            </a:p>
          </p:txBody>
        </p:sp>
        <p:sp>
          <p:nvSpPr>
            <p:cNvPr id="2606" name="Freeform: Shape 2605">
              <a:extLst>
                <a:ext uri="{FF2B5EF4-FFF2-40B4-BE49-F238E27FC236}">
                  <a16:creationId xmlns:a16="http://schemas.microsoft.com/office/drawing/2014/main" id="{DE679CF7-9037-4100-AE9D-06F3FA5BEA2A}"/>
                </a:ext>
              </a:extLst>
            </p:cNvPr>
            <p:cNvSpPr/>
            <p:nvPr/>
          </p:nvSpPr>
          <p:spPr>
            <a:xfrm>
              <a:off x="6569737" y="3904892"/>
              <a:ext cx="58262" cy="49299"/>
            </a:xfrm>
            <a:custGeom>
              <a:avLst/>
              <a:gdLst>
                <a:gd name="connsiteX0" fmla="*/ 20168 w 58262"/>
                <a:gd name="connsiteY0" fmla="*/ 49747 h 49298"/>
                <a:gd name="connsiteX1" fmla="*/ 17927 w 58262"/>
                <a:gd name="connsiteY1" fmla="*/ 47506 h 49298"/>
                <a:gd name="connsiteX2" fmla="*/ 20168 w 58262"/>
                <a:gd name="connsiteY2" fmla="*/ 45265 h 49298"/>
                <a:gd name="connsiteX3" fmla="*/ 52884 w 58262"/>
                <a:gd name="connsiteY3" fmla="*/ 45265 h 49298"/>
                <a:gd name="connsiteX4" fmla="*/ 58262 w 58262"/>
                <a:gd name="connsiteY4" fmla="*/ 39887 h 49298"/>
                <a:gd name="connsiteX5" fmla="*/ 58262 w 58262"/>
                <a:gd name="connsiteY5" fmla="*/ 26890 h 49298"/>
                <a:gd name="connsiteX6" fmla="*/ 35854 w 58262"/>
                <a:gd name="connsiteY6" fmla="*/ 4482 h 49298"/>
                <a:gd name="connsiteX7" fmla="*/ 6274 w 58262"/>
                <a:gd name="connsiteY7" fmla="*/ 4482 h 49298"/>
                <a:gd name="connsiteX8" fmla="*/ 2689 w 58262"/>
                <a:gd name="connsiteY8" fmla="*/ 4930 h 49298"/>
                <a:gd name="connsiteX9" fmla="*/ 0 w 58262"/>
                <a:gd name="connsiteY9" fmla="*/ 3137 h 49298"/>
                <a:gd name="connsiteX10" fmla="*/ 1793 w 58262"/>
                <a:gd name="connsiteY10" fmla="*/ 448 h 49298"/>
                <a:gd name="connsiteX11" fmla="*/ 5826 w 58262"/>
                <a:gd name="connsiteY11" fmla="*/ 0 h 49298"/>
                <a:gd name="connsiteX12" fmla="*/ 35405 w 58262"/>
                <a:gd name="connsiteY12" fmla="*/ 0 h 49298"/>
                <a:gd name="connsiteX13" fmla="*/ 62296 w 58262"/>
                <a:gd name="connsiteY13" fmla="*/ 26890 h 49298"/>
                <a:gd name="connsiteX14" fmla="*/ 62296 w 58262"/>
                <a:gd name="connsiteY14" fmla="*/ 39887 h 49298"/>
                <a:gd name="connsiteX15" fmla="*/ 52436 w 58262"/>
                <a:gd name="connsiteY15" fmla="*/ 49747 h 49298"/>
                <a:gd name="connsiteX16" fmla="*/ 20168 w 58262"/>
                <a:gd name="connsiteY16" fmla="*/ 49747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262" h="49298">
                  <a:moveTo>
                    <a:pt x="20168" y="49747"/>
                  </a:moveTo>
                  <a:cubicBezTo>
                    <a:pt x="18823" y="49747"/>
                    <a:pt x="17927" y="48850"/>
                    <a:pt x="17927" y="47506"/>
                  </a:cubicBezTo>
                  <a:cubicBezTo>
                    <a:pt x="17927" y="46161"/>
                    <a:pt x="18823" y="45265"/>
                    <a:pt x="20168" y="45265"/>
                  </a:cubicBezTo>
                  <a:lnTo>
                    <a:pt x="52884" y="45265"/>
                  </a:lnTo>
                  <a:cubicBezTo>
                    <a:pt x="56021" y="45265"/>
                    <a:pt x="58262" y="43024"/>
                    <a:pt x="58262" y="39887"/>
                  </a:cubicBezTo>
                  <a:lnTo>
                    <a:pt x="58262" y="26890"/>
                  </a:lnTo>
                  <a:cubicBezTo>
                    <a:pt x="58262" y="14341"/>
                    <a:pt x="47954" y="4482"/>
                    <a:pt x="35854" y="4482"/>
                  </a:cubicBezTo>
                  <a:lnTo>
                    <a:pt x="6274" y="4482"/>
                  </a:lnTo>
                  <a:cubicBezTo>
                    <a:pt x="4930" y="4482"/>
                    <a:pt x="4034" y="4482"/>
                    <a:pt x="2689" y="4930"/>
                  </a:cubicBezTo>
                  <a:cubicBezTo>
                    <a:pt x="1345" y="4930"/>
                    <a:pt x="448" y="4482"/>
                    <a:pt x="0" y="3137"/>
                  </a:cubicBezTo>
                  <a:cubicBezTo>
                    <a:pt x="0" y="1793"/>
                    <a:pt x="448" y="896"/>
                    <a:pt x="1793" y="448"/>
                  </a:cubicBezTo>
                  <a:cubicBezTo>
                    <a:pt x="3137" y="448"/>
                    <a:pt x="4482" y="0"/>
                    <a:pt x="5826" y="0"/>
                  </a:cubicBezTo>
                  <a:lnTo>
                    <a:pt x="35405" y="0"/>
                  </a:lnTo>
                  <a:cubicBezTo>
                    <a:pt x="50195" y="0"/>
                    <a:pt x="62296" y="12100"/>
                    <a:pt x="62296" y="26890"/>
                  </a:cubicBezTo>
                  <a:lnTo>
                    <a:pt x="62296" y="39887"/>
                  </a:lnTo>
                  <a:cubicBezTo>
                    <a:pt x="62296" y="45265"/>
                    <a:pt x="57814" y="49747"/>
                    <a:pt x="52436" y="49747"/>
                  </a:cubicBezTo>
                  <a:lnTo>
                    <a:pt x="20168" y="49747"/>
                  </a:lnTo>
                  <a:close/>
                </a:path>
              </a:pathLst>
            </a:custGeom>
            <a:solidFill>
              <a:srgbClr val="231F20"/>
            </a:solidFill>
            <a:ln w="4477" cap="flat">
              <a:noFill/>
              <a:prstDash val="solid"/>
              <a:miter/>
            </a:ln>
          </p:spPr>
          <p:txBody>
            <a:bodyPr rtlCol="0" anchor="ctr"/>
            <a:lstStyle/>
            <a:p>
              <a:endParaRPr lang="en-US"/>
            </a:p>
          </p:txBody>
        </p:sp>
      </p:grpSp>
      <p:grpSp>
        <p:nvGrpSpPr>
          <p:cNvPr id="2441" name="Group 2440">
            <a:extLst>
              <a:ext uri="{FF2B5EF4-FFF2-40B4-BE49-F238E27FC236}">
                <a16:creationId xmlns:a16="http://schemas.microsoft.com/office/drawing/2014/main" id="{8FBCC0E2-DDA1-4972-8CFA-D03CC08CE8F2}"/>
              </a:ext>
              <a:ext uri="{C183D7F6-B498-43B3-948B-1728B52AA6E4}">
                <adec:decorative xmlns:adec="http://schemas.microsoft.com/office/drawing/2017/decorative" val="1"/>
              </a:ext>
            </a:extLst>
          </p:cNvPr>
          <p:cNvGrpSpPr>
            <a:grpSpLocks noChangeAspect="1"/>
          </p:cNvGrpSpPr>
          <p:nvPr/>
        </p:nvGrpSpPr>
        <p:grpSpPr>
          <a:xfrm>
            <a:off x="4032974" y="4893825"/>
            <a:ext cx="151930" cy="130418"/>
            <a:chOff x="9907709" y="3876657"/>
            <a:chExt cx="151930" cy="130418"/>
          </a:xfrm>
        </p:grpSpPr>
        <p:sp>
          <p:nvSpPr>
            <p:cNvPr id="2597" name="Freeform: Shape 2596">
              <a:extLst>
                <a:ext uri="{FF2B5EF4-FFF2-40B4-BE49-F238E27FC236}">
                  <a16:creationId xmlns:a16="http://schemas.microsoft.com/office/drawing/2014/main" id="{2903F2A7-BB10-4AD7-9CB8-B3F3DF0D8A35}"/>
                </a:ext>
              </a:extLst>
            </p:cNvPr>
            <p:cNvSpPr/>
            <p:nvPr/>
          </p:nvSpPr>
          <p:spPr>
            <a:xfrm>
              <a:off x="9960593" y="3907581"/>
              <a:ext cx="44817" cy="44817"/>
            </a:xfrm>
            <a:custGeom>
              <a:avLst/>
              <a:gdLst>
                <a:gd name="connsiteX0" fmla="*/ 23305 w 44817"/>
                <a:gd name="connsiteY0" fmla="*/ 46610 h 44817"/>
                <a:gd name="connsiteX1" fmla="*/ 0 w 44817"/>
                <a:gd name="connsiteY1" fmla="*/ 23305 h 44817"/>
                <a:gd name="connsiteX2" fmla="*/ 23305 w 44817"/>
                <a:gd name="connsiteY2" fmla="*/ 0 h 44817"/>
                <a:gd name="connsiteX3" fmla="*/ 46610 w 44817"/>
                <a:gd name="connsiteY3" fmla="*/ 23305 h 44817"/>
                <a:gd name="connsiteX4" fmla="*/ 23305 w 44817"/>
                <a:gd name="connsiteY4" fmla="*/ 46610 h 44817"/>
                <a:gd name="connsiteX5" fmla="*/ 23305 w 44817"/>
                <a:gd name="connsiteY5" fmla="*/ 4930 h 44817"/>
                <a:gd name="connsiteX6" fmla="*/ 4482 w 44817"/>
                <a:gd name="connsiteY6" fmla="*/ 23753 h 44817"/>
                <a:gd name="connsiteX7" fmla="*/ 23305 w 44817"/>
                <a:gd name="connsiteY7" fmla="*/ 42576 h 44817"/>
                <a:gd name="connsiteX8" fmla="*/ 42128 w 44817"/>
                <a:gd name="connsiteY8" fmla="*/ 23753 h 44817"/>
                <a:gd name="connsiteX9" fmla="*/ 23305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3305" y="46610"/>
                  </a:moveTo>
                  <a:cubicBezTo>
                    <a:pt x="10308" y="46610"/>
                    <a:pt x="0" y="36302"/>
                    <a:pt x="0" y="23305"/>
                  </a:cubicBezTo>
                  <a:cubicBezTo>
                    <a:pt x="0" y="10308"/>
                    <a:pt x="10308" y="0"/>
                    <a:pt x="23305" y="0"/>
                  </a:cubicBezTo>
                  <a:cubicBezTo>
                    <a:pt x="36302" y="0"/>
                    <a:pt x="46610" y="10308"/>
                    <a:pt x="46610" y="23305"/>
                  </a:cubicBezTo>
                  <a:cubicBezTo>
                    <a:pt x="46610" y="36302"/>
                    <a:pt x="36302" y="46610"/>
                    <a:pt x="23305" y="46610"/>
                  </a:cubicBezTo>
                  <a:close/>
                  <a:moveTo>
                    <a:pt x="23305" y="4930"/>
                  </a:moveTo>
                  <a:cubicBezTo>
                    <a:pt x="12997" y="4930"/>
                    <a:pt x="4482" y="13445"/>
                    <a:pt x="4482" y="23753"/>
                  </a:cubicBezTo>
                  <a:cubicBezTo>
                    <a:pt x="4482" y="34061"/>
                    <a:pt x="12997" y="42576"/>
                    <a:pt x="23305" y="42576"/>
                  </a:cubicBezTo>
                  <a:cubicBezTo>
                    <a:pt x="33613" y="42576"/>
                    <a:pt x="42128" y="34061"/>
                    <a:pt x="42128" y="23753"/>
                  </a:cubicBezTo>
                  <a:cubicBezTo>
                    <a:pt x="42128" y="12997"/>
                    <a:pt x="33613" y="4930"/>
                    <a:pt x="23305" y="4930"/>
                  </a:cubicBezTo>
                  <a:close/>
                </a:path>
              </a:pathLst>
            </a:custGeom>
            <a:solidFill>
              <a:srgbClr val="231F20"/>
            </a:solidFill>
            <a:ln w="4477" cap="flat">
              <a:noFill/>
              <a:prstDash val="solid"/>
              <a:miter/>
            </a:ln>
          </p:spPr>
          <p:txBody>
            <a:bodyPr rtlCol="0" anchor="ctr"/>
            <a:lstStyle/>
            <a:p>
              <a:endParaRPr lang="en-US"/>
            </a:p>
          </p:txBody>
        </p:sp>
        <p:sp>
          <p:nvSpPr>
            <p:cNvPr id="2598" name="Freeform: Shape 2597">
              <a:extLst>
                <a:ext uri="{FF2B5EF4-FFF2-40B4-BE49-F238E27FC236}">
                  <a16:creationId xmlns:a16="http://schemas.microsoft.com/office/drawing/2014/main" id="{DD4A3EB9-7A84-4043-9D38-2C040A30A9D3}"/>
                </a:ext>
              </a:extLst>
            </p:cNvPr>
            <p:cNvSpPr/>
            <p:nvPr/>
          </p:nvSpPr>
          <p:spPr>
            <a:xfrm>
              <a:off x="9941322" y="3957776"/>
              <a:ext cx="85152" cy="49299"/>
            </a:xfrm>
            <a:custGeom>
              <a:avLst/>
              <a:gdLst>
                <a:gd name="connsiteX0" fmla="*/ 75293 w 85152"/>
                <a:gd name="connsiteY0" fmla="*/ 50643 h 49298"/>
                <a:gd name="connsiteX1" fmla="*/ 9860 w 85152"/>
                <a:gd name="connsiteY1" fmla="*/ 50643 h 49298"/>
                <a:gd name="connsiteX2" fmla="*/ 0 w 85152"/>
                <a:gd name="connsiteY2" fmla="*/ 40783 h 49298"/>
                <a:gd name="connsiteX3" fmla="*/ 0 w 85152"/>
                <a:gd name="connsiteY3" fmla="*/ 27787 h 49298"/>
                <a:gd name="connsiteX4" fmla="*/ 27786 w 85152"/>
                <a:gd name="connsiteY4" fmla="*/ 0 h 49298"/>
                <a:gd name="connsiteX5" fmla="*/ 57814 w 85152"/>
                <a:gd name="connsiteY5" fmla="*/ 0 h 49298"/>
                <a:gd name="connsiteX6" fmla="*/ 85600 w 85152"/>
                <a:gd name="connsiteY6" fmla="*/ 27787 h 49298"/>
                <a:gd name="connsiteX7" fmla="*/ 85600 w 85152"/>
                <a:gd name="connsiteY7" fmla="*/ 40783 h 49298"/>
                <a:gd name="connsiteX8" fmla="*/ 75293 w 85152"/>
                <a:gd name="connsiteY8" fmla="*/ 50643 h 49298"/>
                <a:gd name="connsiteX9" fmla="*/ 27786 w 85152"/>
                <a:gd name="connsiteY9" fmla="*/ 4482 h 49298"/>
                <a:gd name="connsiteX10" fmla="*/ 4482 w 85152"/>
                <a:gd name="connsiteY10" fmla="*/ 27787 h 49298"/>
                <a:gd name="connsiteX11" fmla="*/ 4482 w 85152"/>
                <a:gd name="connsiteY11" fmla="*/ 40783 h 49298"/>
                <a:gd name="connsiteX12" fmla="*/ 9860 w 85152"/>
                <a:gd name="connsiteY12" fmla="*/ 46161 h 49298"/>
                <a:gd name="connsiteX13" fmla="*/ 75293 w 85152"/>
                <a:gd name="connsiteY13" fmla="*/ 46161 h 49298"/>
                <a:gd name="connsiteX14" fmla="*/ 80671 w 85152"/>
                <a:gd name="connsiteY14" fmla="*/ 40783 h 49298"/>
                <a:gd name="connsiteX15" fmla="*/ 80671 w 85152"/>
                <a:gd name="connsiteY15" fmla="*/ 27787 h 49298"/>
                <a:gd name="connsiteX16" fmla="*/ 57366 w 85152"/>
                <a:gd name="connsiteY16" fmla="*/ 4482 h 49298"/>
                <a:gd name="connsiteX17" fmla="*/ 27786 w 85152"/>
                <a:gd name="connsiteY17" fmla="*/ 4482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75293" y="50643"/>
                  </a:moveTo>
                  <a:lnTo>
                    <a:pt x="9860" y="50643"/>
                  </a:lnTo>
                  <a:cubicBezTo>
                    <a:pt x="4482" y="50643"/>
                    <a:pt x="0" y="46161"/>
                    <a:pt x="0" y="40783"/>
                  </a:cubicBezTo>
                  <a:lnTo>
                    <a:pt x="0" y="27787"/>
                  </a:lnTo>
                  <a:cubicBezTo>
                    <a:pt x="0" y="12549"/>
                    <a:pt x="12549" y="0"/>
                    <a:pt x="27786" y="0"/>
                  </a:cubicBezTo>
                  <a:lnTo>
                    <a:pt x="57814" y="0"/>
                  </a:lnTo>
                  <a:cubicBezTo>
                    <a:pt x="73052" y="0"/>
                    <a:pt x="85600" y="12549"/>
                    <a:pt x="85600" y="27787"/>
                  </a:cubicBezTo>
                  <a:lnTo>
                    <a:pt x="85600" y="40783"/>
                  </a:lnTo>
                  <a:cubicBezTo>
                    <a:pt x="85152" y="46161"/>
                    <a:pt x="80671" y="50643"/>
                    <a:pt x="75293" y="50643"/>
                  </a:cubicBezTo>
                  <a:close/>
                  <a:moveTo>
                    <a:pt x="27786" y="4482"/>
                  </a:moveTo>
                  <a:cubicBezTo>
                    <a:pt x="15238" y="4482"/>
                    <a:pt x="4482" y="14790"/>
                    <a:pt x="4482" y="27787"/>
                  </a:cubicBezTo>
                  <a:lnTo>
                    <a:pt x="4482" y="40783"/>
                  </a:lnTo>
                  <a:cubicBezTo>
                    <a:pt x="4482" y="43921"/>
                    <a:pt x="6723" y="46161"/>
                    <a:pt x="9860" y="46161"/>
                  </a:cubicBezTo>
                  <a:lnTo>
                    <a:pt x="75293" y="46161"/>
                  </a:lnTo>
                  <a:cubicBezTo>
                    <a:pt x="78430" y="46161"/>
                    <a:pt x="80671" y="43921"/>
                    <a:pt x="80671" y="40783"/>
                  </a:cubicBezTo>
                  <a:lnTo>
                    <a:pt x="80671" y="27787"/>
                  </a:lnTo>
                  <a:cubicBezTo>
                    <a:pt x="80671" y="15238"/>
                    <a:pt x="70363" y="4482"/>
                    <a:pt x="57366" y="4482"/>
                  </a:cubicBezTo>
                  <a:lnTo>
                    <a:pt x="27786" y="4482"/>
                  </a:lnTo>
                  <a:close/>
                </a:path>
              </a:pathLst>
            </a:custGeom>
            <a:solidFill>
              <a:srgbClr val="231F20"/>
            </a:solidFill>
            <a:ln w="4477" cap="flat">
              <a:noFill/>
              <a:prstDash val="solid"/>
              <a:miter/>
            </a:ln>
          </p:spPr>
          <p:txBody>
            <a:bodyPr rtlCol="0" anchor="ctr"/>
            <a:lstStyle/>
            <a:p>
              <a:endParaRPr lang="en-US"/>
            </a:p>
          </p:txBody>
        </p:sp>
        <p:sp>
          <p:nvSpPr>
            <p:cNvPr id="2599" name="Freeform: Shape 2598">
              <a:extLst>
                <a:ext uri="{FF2B5EF4-FFF2-40B4-BE49-F238E27FC236}">
                  <a16:creationId xmlns:a16="http://schemas.microsoft.com/office/drawing/2014/main" id="{851C95D5-E5FA-4A9F-B87F-6BC4471E8877}"/>
                </a:ext>
              </a:extLst>
            </p:cNvPr>
            <p:cNvSpPr/>
            <p:nvPr/>
          </p:nvSpPr>
          <p:spPr>
            <a:xfrm>
              <a:off x="10008547" y="3876657"/>
              <a:ext cx="35854" cy="35854"/>
            </a:xfrm>
            <a:custGeom>
              <a:avLst/>
              <a:gdLst>
                <a:gd name="connsiteX0" fmla="*/ 18375 w 35853"/>
                <a:gd name="connsiteY0" fmla="*/ 36750 h 35853"/>
                <a:gd name="connsiteX1" fmla="*/ 0 w 35853"/>
                <a:gd name="connsiteY1" fmla="*/ 18375 h 35853"/>
                <a:gd name="connsiteX2" fmla="*/ 18375 w 35853"/>
                <a:gd name="connsiteY2" fmla="*/ 0 h 35853"/>
                <a:gd name="connsiteX3" fmla="*/ 36750 w 35853"/>
                <a:gd name="connsiteY3" fmla="*/ 18375 h 35853"/>
                <a:gd name="connsiteX4" fmla="*/ 18375 w 35853"/>
                <a:gd name="connsiteY4" fmla="*/ 36750 h 35853"/>
                <a:gd name="connsiteX5" fmla="*/ 18375 w 35853"/>
                <a:gd name="connsiteY5" fmla="*/ 4930 h 35853"/>
                <a:gd name="connsiteX6" fmla="*/ 4482 w 35853"/>
                <a:gd name="connsiteY6" fmla="*/ 18823 h 35853"/>
                <a:gd name="connsiteX7" fmla="*/ 18375 w 35853"/>
                <a:gd name="connsiteY7" fmla="*/ 32717 h 35853"/>
                <a:gd name="connsiteX8" fmla="*/ 32268 w 35853"/>
                <a:gd name="connsiteY8" fmla="*/ 18823 h 35853"/>
                <a:gd name="connsiteX9" fmla="*/ 18375 w 35853"/>
                <a:gd name="connsiteY9" fmla="*/ 4930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8375" y="36750"/>
                  </a:moveTo>
                  <a:cubicBezTo>
                    <a:pt x="8515" y="36750"/>
                    <a:pt x="0" y="28683"/>
                    <a:pt x="0" y="18375"/>
                  </a:cubicBezTo>
                  <a:cubicBezTo>
                    <a:pt x="0" y="8515"/>
                    <a:pt x="8067" y="0"/>
                    <a:pt x="18375" y="0"/>
                  </a:cubicBezTo>
                  <a:cubicBezTo>
                    <a:pt x="28683" y="0"/>
                    <a:pt x="36750" y="8067"/>
                    <a:pt x="36750" y="18375"/>
                  </a:cubicBezTo>
                  <a:cubicBezTo>
                    <a:pt x="36750" y="28683"/>
                    <a:pt x="28683" y="36750"/>
                    <a:pt x="18375" y="36750"/>
                  </a:cubicBezTo>
                  <a:close/>
                  <a:moveTo>
                    <a:pt x="18375" y="4930"/>
                  </a:moveTo>
                  <a:cubicBezTo>
                    <a:pt x="10756" y="4930"/>
                    <a:pt x="4482" y="11204"/>
                    <a:pt x="4482" y="18823"/>
                  </a:cubicBezTo>
                  <a:cubicBezTo>
                    <a:pt x="4482" y="26442"/>
                    <a:pt x="10756" y="32717"/>
                    <a:pt x="18375" y="32717"/>
                  </a:cubicBezTo>
                  <a:cubicBezTo>
                    <a:pt x="25994" y="32717"/>
                    <a:pt x="32268" y="26442"/>
                    <a:pt x="32268" y="18823"/>
                  </a:cubicBezTo>
                  <a:cubicBezTo>
                    <a:pt x="32268" y="10756"/>
                    <a:pt x="25994" y="4930"/>
                    <a:pt x="18375" y="4930"/>
                  </a:cubicBezTo>
                  <a:close/>
                </a:path>
              </a:pathLst>
            </a:custGeom>
            <a:solidFill>
              <a:srgbClr val="231F20"/>
            </a:solidFill>
            <a:ln w="4477" cap="flat">
              <a:noFill/>
              <a:prstDash val="solid"/>
              <a:miter/>
            </a:ln>
          </p:spPr>
          <p:txBody>
            <a:bodyPr rtlCol="0" anchor="ctr"/>
            <a:lstStyle/>
            <a:p>
              <a:endParaRPr lang="en-US"/>
            </a:p>
          </p:txBody>
        </p:sp>
        <p:sp>
          <p:nvSpPr>
            <p:cNvPr id="2600" name="Freeform: Shape 2599">
              <a:extLst>
                <a:ext uri="{FF2B5EF4-FFF2-40B4-BE49-F238E27FC236}">
                  <a16:creationId xmlns:a16="http://schemas.microsoft.com/office/drawing/2014/main" id="{BD207838-9896-4971-A4D9-44F2D43C3EFD}"/>
                </a:ext>
              </a:extLst>
            </p:cNvPr>
            <p:cNvSpPr/>
            <p:nvPr/>
          </p:nvSpPr>
          <p:spPr>
            <a:xfrm>
              <a:off x="10010340" y="3914751"/>
              <a:ext cx="49299" cy="35854"/>
            </a:xfrm>
            <a:custGeom>
              <a:avLst/>
              <a:gdLst>
                <a:gd name="connsiteX0" fmla="*/ 20616 w 49298"/>
                <a:gd name="connsiteY0" fmla="*/ 39887 h 35853"/>
                <a:gd name="connsiteX1" fmla="*/ 7171 w 49298"/>
                <a:gd name="connsiteY1" fmla="*/ 39887 h 35853"/>
                <a:gd name="connsiteX2" fmla="*/ 4930 w 49298"/>
                <a:gd name="connsiteY2" fmla="*/ 37646 h 35853"/>
                <a:gd name="connsiteX3" fmla="*/ 7171 w 49298"/>
                <a:gd name="connsiteY3" fmla="*/ 35406 h 35853"/>
                <a:gd name="connsiteX4" fmla="*/ 41680 w 49298"/>
                <a:gd name="connsiteY4" fmla="*/ 35406 h 35853"/>
                <a:gd name="connsiteX5" fmla="*/ 45265 w 49298"/>
                <a:gd name="connsiteY5" fmla="*/ 31820 h 35853"/>
                <a:gd name="connsiteX6" fmla="*/ 45265 w 49298"/>
                <a:gd name="connsiteY6" fmla="*/ 21960 h 35853"/>
                <a:gd name="connsiteX7" fmla="*/ 28235 w 49298"/>
                <a:gd name="connsiteY7" fmla="*/ 4930 h 35853"/>
                <a:gd name="connsiteX8" fmla="*/ 5378 w 49298"/>
                <a:gd name="connsiteY8" fmla="*/ 4930 h 35853"/>
                <a:gd name="connsiteX9" fmla="*/ 2689 w 49298"/>
                <a:gd name="connsiteY9" fmla="*/ 4930 h 35853"/>
                <a:gd name="connsiteX10" fmla="*/ 0 w 49298"/>
                <a:gd name="connsiteY10" fmla="*/ 3137 h 35853"/>
                <a:gd name="connsiteX11" fmla="*/ 1793 w 49298"/>
                <a:gd name="connsiteY11" fmla="*/ 448 h 35853"/>
                <a:gd name="connsiteX12" fmla="*/ 4930 w 49298"/>
                <a:gd name="connsiteY12" fmla="*/ 0 h 35853"/>
                <a:gd name="connsiteX13" fmla="*/ 27787 w 49298"/>
                <a:gd name="connsiteY13" fmla="*/ 0 h 35853"/>
                <a:gd name="connsiteX14" fmla="*/ 49299 w 49298"/>
                <a:gd name="connsiteY14" fmla="*/ 21512 h 35853"/>
                <a:gd name="connsiteX15" fmla="*/ 49299 w 49298"/>
                <a:gd name="connsiteY15" fmla="*/ 31372 h 35853"/>
                <a:gd name="connsiteX16" fmla="*/ 41232 w 49298"/>
                <a:gd name="connsiteY16" fmla="*/ 39439 h 35853"/>
                <a:gd name="connsiteX17" fmla="*/ 20616 w 49298"/>
                <a:gd name="connsiteY17" fmla="*/ 39887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98" h="35853">
                  <a:moveTo>
                    <a:pt x="20616" y="39887"/>
                  </a:moveTo>
                  <a:lnTo>
                    <a:pt x="7171" y="39887"/>
                  </a:lnTo>
                  <a:cubicBezTo>
                    <a:pt x="5826" y="39887"/>
                    <a:pt x="4930" y="38991"/>
                    <a:pt x="4930" y="37646"/>
                  </a:cubicBezTo>
                  <a:cubicBezTo>
                    <a:pt x="4930" y="36302"/>
                    <a:pt x="5826" y="35406"/>
                    <a:pt x="7171" y="35406"/>
                  </a:cubicBezTo>
                  <a:lnTo>
                    <a:pt x="41680" y="35406"/>
                  </a:lnTo>
                  <a:cubicBezTo>
                    <a:pt x="43473" y="35406"/>
                    <a:pt x="45265" y="33613"/>
                    <a:pt x="45265" y="31820"/>
                  </a:cubicBezTo>
                  <a:lnTo>
                    <a:pt x="45265" y="21960"/>
                  </a:lnTo>
                  <a:cubicBezTo>
                    <a:pt x="45265" y="12549"/>
                    <a:pt x="37646" y="4930"/>
                    <a:pt x="28235" y="4930"/>
                  </a:cubicBezTo>
                  <a:lnTo>
                    <a:pt x="5378" y="4930"/>
                  </a:lnTo>
                  <a:cubicBezTo>
                    <a:pt x="4482" y="4930"/>
                    <a:pt x="3585" y="4930"/>
                    <a:pt x="2689" y="4930"/>
                  </a:cubicBezTo>
                  <a:cubicBezTo>
                    <a:pt x="1344" y="4930"/>
                    <a:pt x="448" y="4482"/>
                    <a:pt x="0" y="3137"/>
                  </a:cubicBezTo>
                  <a:cubicBezTo>
                    <a:pt x="0" y="1793"/>
                    <a:pt x="448" y="896"/>
                    <a:pt x="1793" y="448"/>
                  </a:cubicBezTo>
                  <a:cubicBezTo>
                    <a:pt x="2689" y="448"/>
                    <a:pt x="4034" y="0"/>
                    <a:pt x="4930" y="0"/>
                  </a:cubicBezTo>
                  <a:lnTo>
                    <a:pt x="27787" y="0"/>
                  </a:lnTo>
                  <a:cubicBezTo>
                    <a:pt x="39887" y="0"/>
                    <a:pt x="49299" y="9860"/>
                    <a:pt x="49299" y="21512"/>
                  </a:cubicBezTo>
                  <a:lnTo>
                    <a:pt x="49299" y="31372"/>
                  </a:lnTo>
                  <a:cubicBezTo>
                    <a:pt x="49299" y="35854"/>
                    <a:pt x="45713" y="39439"/>
                    <a:pt x="41232" y="39439"/>
                  </a:cubicBezTo>
                  <a:lnTo>
                    <a:pt x="20616" y="39887"/>
                  </a:lnTo>
                  <a:close/>
                </a:path>
              </a:pathLst>
            </a:custGeom>
            <a:solidFill>
              <a:srgbClr val="231F20"/>
            </a:solidFill>
            <a:ln w="4477" cap="flat">
              <a:noFill/>
              <a:prstDash val="solid"/>
              <a:miter/>
            </a:ln>
          </p:spPr>
          <p:txBody>
            <a:bodyPr rtlCol="0" anchor="ctr"/>
            <a:lstStyle/>
            <a:p>
              <a:endParaRPr lang="en-US"/>
            </a:p>
          </p:txBody>
        </p:sp>
        <p:sp>
          <p:nvSpPr>
            <p:cNvPr id="2601" name="Freeform: Shape 2600">
              <a:extLst>
                <a:ext uri="{FF2B5EF4-FFF2-40B4-BE49-F238E27FC236}">
                  <a16:creationId xmlns:a16="http://schemas.microsoft.com/office/drawing/2014/main" id="{FA79E71A-05F5-46CB-ACEC-64340F6AFAB3}"/>
                </a:ext>
              </a:extLst>
            </p:cNvPr>
            <p:cNvSpPr/>
            <p:nvPr/>
          </p:nvSpPr>
          <p:spPr>
            <a:xfrm>
              <a:off x="9922499" y="3876657"/>
              <a:ext cx="35854" cy="35854"/>
            </a:xfrm>
            <a:custGeom>
              <a:avLst/>
              <a:gdLst>
                <a:gd name="connsiteX0" fmla="*/ 18375 w 35853"/>
                <a:gd name="connsiteY0" fmla="*/ 36750 h 35853"/>
                <a:gd name="connsiteX1" fmla="*/ 0 w 35853"/>
                <a:gd name="connsiteY1" fmla="*/ 18375 h 35853"/>
                <a:gd name="connsiteX2" fmla="*/ 18375 w 35853"/>
                <a:gd name="connsiteY2" fmla="*/ 0 h 35853"/>
                <a:gd name="connsiteX3" fmla="*/ 36750 w 35853"/>
                <a:gd name="connsiteY3" fmla="*/ 18375 h 35853"/>
                <a:gd name="connsiteX4" fmla="*/ 18375 w 35853"/>
                <a:gd name="connsiteY4" fmla="*/ 36750 h 35853"/>
                <a:gd name="connsiteX5" fmla="*/ 18375 w 35853"/>
                <a:gd name="connsiteY5" fmla="*/ 4930 h 35853"/>
                <a:gd name="connsiteX6" fmla="*/ 4482 w 35853"/>
                <a:gd name="connsiteY6" fmla="*/ 18823 h 35853"/>
                <a:gd name="connsiteX7" fmla="*/ 18375 w 35853"/>
                <a:gd name="connsiteY7" fmla="*/ 32717 h 35853"/>
                <a:gd name="connsiteX8" fmla="*/ 32268 w 35853"/>
                <a:gd name="connsiteY8" fmla="*/ 18823 h 35853"/>
                <a:gd name="connsiteX9" fmla="*/ 18375 w 35853"/>
                <a:gd name="connsiteY9" fmla="*/ 4930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53" h="35853">
                  <a:moveTo>
                    <a:pt x="18375" y="36750"/>
                  </a:moveTo>
                  <a:cubicBezTo>
                    <a:pt x="8515" y="36750"/>
                    <a:pt x="0" y="28683"/>
                    <a:pt x="0" y="18375"/>
                  </a:cubicBezTo>
                  <a:cubicBezTo>
                    <a:pt x="0" y="8515"/>
                    <a:pt x="8067" y="0"/>
                    <a:pt x="18375" y="0"/>
                  </a:cubicBezTo>
                  <a:cubicBezTo>
                    <a:pt x="28235" y="0"/>
                    <a:pt x="36750" y="8067"/>
                    <a:pt x="36750" y="18375"/>
                  </a:cubicBezTo>
                  <a:cubicBezTo>
                    <a:pt x="36302" y="28683"/>
                    <a:pt x="28235" y="36750"/>
                    <a:pt x="18375" y="36750"/>
                  </a:cubicBezTo>
                  <a:close/>
                  <a:moveTo>
                    <a:pt x="18375" y="4930"/>
                  </a:moveTo>
                  <a:cubicBezTo>
                    <a:pt x="10756" y="4930"/>
                    <a:pt x="4482" y="11204"/>
                    <a:pt x="4482" y="18823"/>
                  </a:cubicBezTo>
                  <a:cubicBezTo>
                    <a:pt x="4482" y="26442"/>
                    <a:pt x="10756" y="32717"/>
                    <a:pt x="18375" y="32717"/>
                  </a:cubicBezTo>
                  <a:cubicBezTo>
                    <a:pt x="25994" y="32717"/>
                    <a:pt x="32268" y="26442"/>
                    <a:pt x="32268" y="18823"/>
                  </a:cubicBezTo>
                  <a:cubicBezTo>
                    <a:pt x="31820" y="10756"/>
                    <a:pt x="25546" y="4930"/>
                    <a:pt x="18375" y="4930"/>
                  </a:cubicBezTo>
                  <a:close/>
                </a:path>
              </a:pathLst>
            </a:custGeom>
            <a:solidFill>
              <a:srgbClr val="231F20"/>
            </a:solidFill>
            <a:ln w="4477" cap="flat">
              <a:noFill/>
              <a:prstDash val="solid"/>
              <a:miter/>
            </a:ln>
          </p:spPr>
          <p:txBody>
            <a:bodyPr rtlCol="0" anchor="ctr"/>
            <a:lstStyle/>
            <a:p>
              <a:endParaRPr lang="en-US"/>
            </a:p>
          </p:txBody>
        </p:sp>
        <p:sp>
          <p:nvSpPr>
            <p:cNvPr id="2602" name="Freeform: Shape 2601">
              <a:extLst>
                <a:ext uri="{FF2B5EF4-FFF2-40B4-BE49-F238E27FC236}">
                  <a16:creationId xmlns:a16="http://schemas.microsoft.com/office/drawing/2014/main" id="{B26F97D7-6234-47E4-A690-BD3B29933AF9}"/>
                </a:ext>
              </a:extLst>
            </p:cNvPr>
            <p:cNvSpPr/>
            <p:nvPr/>
          </p:nvSpPr>
          <p:spPr>
            <a:xfrm>
              <a:off x="9907709" y="3915200"/>
              <a:ext cx="49299" cy="35854"/>
            </a:xfrm>
            <a:custGeom>
              <a:avLst/>
              <a:gdLst>
                <a:gd name="connsiteX0" fmla="*/ 42576 w 49298"/>
                <a:gd name="connsiteY0" fmla="*/ 39439 h 35853"/>
                <a:gd name="connsiteX1" fmla="*/ 8067 w 49298"/>
                <a:gd name="connsiteY1" fmla="*/ 39439 h 35853"/>
                <a:gd name="connsiteX2" fmla="*/ 0 w 49298"/>
                <a:gd name="connsiteY2" fmla="*/ 31372 h 35853"/>
                <a:gd name="connsiteX3" fmla="*/ 0 w 49298"/>
                <a:gd name="connsiteY3" fmla="*/ 21512 h 35853"/>
                <a:gd name="connsiteX4" fmla="*/ 21512 w 49298"/>
                <a:gd name="connsiteY4" fmla="*/ 0 h 35853"/>
                <a:gd name="connsiteX5" fmla="*/ 44369 w 49298"/>
                <a:gd name="connsiteY5" fmla="*/ 0 h 35853"/>
                <a:gd name="connsiteX6" fmla="*/ 47506 w 49298"/>
                <a:gd name="connsiteY6" fmla="*/ 448 h 35853"/>
                <a:gd name="connsiteX7" fmla="*/ 49299 w 49298"/>
                <a:gd name="connsiteY7" fmla="*/ 3137 h 35853"/>
                <a:gd name="connsiteX8" fmla="*/ 46610 w 49298"/>
                <a:gd name="connsiteY8" fmla="*/ 4930 h 35853"/>
                <a:gd name="connsiteX9" fmla="*/ 43921 w 49298"/>
                <a:gd name="connsiteY9" fmla="*/ 4930 h 35853"/>
                <a:gd name="connsiteX10" fmla="*/ 21064 w 49298"/>
                <a:gd name="connsiteY10" fmla="*/ 4930 h 35853"/>
                <a:gd name="connsiteX11" fmla="*/ 4033 w 49298"/>
                <a:gd name="connsiteY11" fmla="*/ 21960 h 35853"/>
                <a:gd name="connsiteX12" fmla="*/ 4033 w 49298"/>
                <a:gd name="connsiteY12" fmla="*/ 31820 h 35853"/>
                <a:gd name="connsiteX13" fmla="*/ 7619 w 49298"/>
                <a:gd name="connsiteY13" fmla="*/ 35405 h 35853"/>
                <a:gd name="connsiteX14" fmla="*/ 42128 w 49298"/>
                <a:gd name="connsiteY14" fmla="*/ 35405 h 35853"/>
                <a:gd name="connsiteX15" fmla="*/ 44369 w 49298"/>
                <a:gd name="connsiteY15" fmla="*/ 37646 h 35853"/>
                <a:gd name="connsiteX16" fmla="*/ 42576 w 49298"/>
                <a:gd name="connsiteY16" fmla="*/ 39439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8" h="35853">
                  <a:moveTo>
                    <a:pt x="42576" y="39439"/>
                  </a:moveTo>
                  <a:lnTo>
                    <a:pt x="8067" y="39439"/>
                  </a:lnTo>
                  <a:cubicBezTo>
                    <a:pt x="3585" y="39439"/>
                    <a:pt x="0" y="35854"/>
                    <a:pt x="0" y="31372"/>
                  </a:cubicBezTo>
                  <a:lnTo>
                    <a:pt x="0" y="21512"/>
                  </a:lnTo>
                  <a:cubicBezTo>
                    <a:pt x="0" y="9411"/>
                    <a:pt x="9860" y="0"/>
                    <a:pt x="21512" y="0"/>
                  </a:cubicBezTo>
                  <a:lnTo>
                    <a:pt x="44369" y="0"/>
                  </a:lnTo>
                  <a:cubicBezTo>
                    <a:pt x="45265" y="0"/>
                    <a:pt x="46610" y="0"/>
                    <a:pt x="47506" y="448"/>
                  </a:cubicBezTo>
                  <a:cubicBezTo>
                    <a:pt x="48850" y="448"/>
                    <a:pt x="49747" y="1793"/>
                    <a:pt x="49299" y="3137"/>
                  </a:cubicBezTo>
                  <a:cubicBezTo>
                    <a:pt x="48850" y="4482"/>
                    <a:pt x="47954" y="5378"/>
                    <a:pt x="46610" y="4930"/>
                  </a:cubicBezTo>
                  <a:cubicBezTo>
                    <a:pt x="45713" y="4930"/>
                    <a:pt x="44817" y="4930"/>
                    <a:pt x="43921" y="4930"/>
                  </a:cubicBezTo>
                  <a:lnTo>
                    <a:pt x="21064" y="4930"/>
                  </a:lnTo>
                  <a:cubicBezTo>
                    <a:pt x="11652" y="4930"/>
                    <a:pt x="4033" y="12549"/>
                    <a:pt x="4033" y="21960"/>
                  </a:cubicBezTo>
                  <a:lnTo>
                    <a:pt x="4033" y="31820"/>
                  </a:lnTo>
                  <a:cubicBezTo>
                    <a:pt x="4033" y="33613"/>
                    <a:pt x="5826" y="35405"/>
                    <a:pt x="7619" y="35405"/>
                  </a:cubicBezTo>
                  <a:lnTo>
                    <a:pt x="42128" y="35405"/>
                  </a:lnTo>
                  <a:cubicBezTo>
                    <a:pt x="43472" y="35405"/>
                    <a:pt x="44369" y="36302"/>
                    <a:pt x="44369" y="37646"/>
                  </a:cubicBezTo>
                  <a:cubicBezTo>
                    <a:pt x="44369" y="38991"/>
                    <a:pt x="43921" y="39439"/>
                    <a:pt x="42576" y="39439"/>
                  </a:cubicBezTo>
                  <a:close/>
                </a:path>
              </a:pathLst>
            </a:custGeom>
            <a:solidFill>
              <a:srgbClr val="231F20"/>
            </a:solidFill>
            <a:ln w="4477" cap="flat">
              <a:noFill/>
              <a:prstDash val="solid"/>
              <a:miter/>
            </a:ln>
          </p:spPr>
          <p:txBody>
            <a:bodyPr rtlCol="0" anchor="ctr"/>
            <a:lstStyle/>
            <a:p>
              <a:endParaRPr lang="en-US"/>
            </a:p>
          </p:txBody>
        </p:sp>
      </p:grpSp>
      <p:grpSp>
        <p:nvGrpSpPr>
          <p:cNvPr id="2442" name="Group 2441">
            <a:extLst>
              <a:ext uri="{FF2B5EF4-FFF2-40B4-BE49-F238E27FC236}">
                <a16:creationId xmlns:a16="http://schemas.microsoft.com/office/drawing/2014/main" id="{3E9346E0-4D53-419F-8206-98ED66BE55AD}"/>
              </a:ext>
              <a:ext uri="{C183D7F6-B498-43B3-948B-1728B52AA6E4}">
                <adec:decorative xmlns:adec="http://schemas.microsoft.com/office/drawing/2017/decorative" val="1"/>
              </a:ext>
            </a:extLst>
          </p:cNvPr>
          <p:cNvGrpSpPr>
            <a:grpSpLocks noChangeAspect="1"/>
          </p:cNvGrpSpPr>
          <p:nvPr/>
        </p:nvGrpSpPr>
        <p:grpSpPr>
          <a:xfrm>
            <a:off x="1136002" y="5222334"/>
            <a:ext cx="152378" cy="151481"/>
            <a:chOff x="7010737" y="4205166"/>
            <a:chExt cx="152378" cy="151481"/>
          </a:xfrm>
        </p:grpSpPr>
        <p:sp>
          <p:nvSpPr>
            <p:cNvPr id="2590" name="Freeform: Shape 2589">
              <a:extLst>
                <a:ext uri="{FF2B5EF4-FFF2-40B4-BE49-F238E27FC236}">
                  <a16:creationId xmlns:a16="http://schemas.microsoft.com/office/drawing/2014/main" id="{DDAF4101-7D29-48A9-B3BE-5B2426C15236}"/>
                </a:ext>
              </a:extLst>
            </p:cNvPr>
            <p:cNvSpPr/>
            <p:nvPr/>
          </p:nvSpPr>
          <p:spPr>
            <a:xfrm>
              <a:off x="7061788" y="4269702"/>
              <a:ext cx="44817" cy="49299"/>
            </a:xfrm>
            <a:custGeom>
              <a:avLst/>
              <a:gdLst>
                <a:gd name="connsiteX0" fmla="*/ 26931 w 44817"/>
                <a:gd name="connsiteY0" fmla="*/ 29131 h 49298"/>
                <a:gd name="connsiteX1" fmla="*/ 26931 w 44817"/>
                <a:gd name="connsiteY1" fmla="*/ 2241 h 49298"/>
                <a:gd name="connsiteX2" fmla="*/ 24690 w 44817"/>
                <a:gd name="connsiteY2" fmla="*/ 0 h 49298"/>
                <a:gd name="connsiteX3" fmla="*/ 22449 w 44817"/>
                <a:gd name="connsiteY3" fmla="*/ 2241 h 49298"/>
                <a:gd name="connsiteX4" fmla="*/ 22449 w 44817"/>
                <a:gd name="connsiteY4" fmla="*/ 29131 h 49298"/>
                <a:gd name="connsiteX5" fmla="*/ 937 w 44817"/>
                <a:gd name="connsiteY5" fmla="*/ 45265 h 49298"/>
                <a:gd name="connsiteX6" fmla="*/ 489 w 44817"/>
                <a:gd name="connsiteY6" fmla="*/ 48402 h 49298"/>
                <a:gd name="connsiteX7" fmla="*/ 2281 w 44817"/>
                <a:gd name="connsiteY7" fmla="*/ 49299 h 49298"/>
                <a:gd name="connsiteX8" fmla="*/ 3626 w 44817"/>
                <a:gd name="connsiteY8" fmla="*/ 48851 h 49298"/>
                <a:gd name="connsiteX9" fmla="*/ 24242 w 44817"/>
                <a:gd name="connsiteY9" fmla="*/ 32716 h 49298"/>
                <a:gd name="connsiteX10" fmla="*/ 44857 w 44817"/>
                <a:gd name="connsiteY10" fmla="*/ 48851 h 49298"/>
                <a:gd name="connsiteX11" fmla="*/ 46202 w 44817"/>
                <a:gd name="connsiteY11" fmla="*/ 49299 h 49298"/>
                <a:gd name="connsiteX12" fmla="*/ 47995 w 44817"/>
                <a:gd name="connsiteY12" fmla="*/ 48402 h 49298"/>
                <a:gd name="connsiteX13" fmla="*/ 47546 w 44817"/>
                <a:gd name="connsiteY13" fmla="*/ 45265 h 49298"/>
                <a:gd name="connsiteX14" fmla="*/ 26931 w 44817"/>
                <a:gd name="connsiteY14" fmla="*/ 29131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17" h="49298">
                  <a:moveTo>
                    <a:pt x="26931" y="29131"/>
                  </a:moveTo>
                  <a:lnTo>
                    <a:pt x="26931" y="2241"/>
                  </a:lnTo>
                  <a:cubicBezTo>
                    <a:pt x="26931" y="896"/>
                    <a:pt x="26034" y="0"/>
                    <a:pt x="24690" y="0"/>
                  </a:cubicBezTo>
                  <a:cubicBezTo>
                    <a:pt x="23345" y="0"/>
                    <a:pt x="22449" y="896"/>
                    <a:pt x="22449" y="2241"/>
                  </a:cubicBezTo>
                  <a:lnTo>
                    <a:pt x="22449" y="29131"/>
                  </a:lnTo>
                  <a:lnTo>
                    <a:pt x="937" y="45265"/>
                  </a:lnTo>
                  <a:cubicBezTo>
                    <a:pt x="40" y="46161"/>
                    <a:pt x="-408" y="47506"/>
                    <a:pt x="489" y="48402"/>
                  </a:cubicBezTo>
                  <a:cubicBezTo>
                    <a:pt x="937" y="48851"/>
                    <a:pt x="1385" y="49299"/>
                    <a:pt x="2281" y="49299"/>
                  </a:cubicBezTo>
                  <a:cubicBezTo>
                    <a:pt x="2729" y="49299"/>
                    <a:pt x="3178" y="49299"/>
                    <a:pt x="3626" y="48851"/>
                  </a:cubicBezTo>
                  <a:lnTo>
                    <a:pt x="24242" y="32716"/>
                  </a:lnTo>
                  <a:lnTo>
                    <a:pt x="44857" y="48851"/>
                  </a:lnTo>
                  <a:cubicBezTo>
                    <a:pt x="45306" y="49299"/>
                    <a:pt x="45754" y="49299"/>
                    <a:pt x="46202" y="49299"/>
                  </a:cubicBezTo>
                  <a:cubicBezTo>
                    <a:pt x="46650" y="49299"/>
                    <a:pt x="47546" y="48851"/>
                    <a:pt x="47995" y="48402"/>
                  </a:cubicBezTo>
                  <a:cubicBezTo>
                    <a:pt x="48891" y="47506"/>
                    <a:pt x="48443" y="46161"/>
                    <a:pt x="47546" y="45265"/>
                  </a:cubicBezTo>
                  <a:lnTo>
                    <a:pt x="26931" y="29131"/>
                  </a:lnTo>
                  <a:close/>
                </a:path>
              </a:pathLst>
            </a:custGeom>
            <a:solidFill>
              <a:srgbClr val="231F20"/>
            </a:solidFill>
            <a:ln w="4477" cap="flat">
              <a:noFill/>
              <a:prstDash val="solid"/>
              <a:miter/>
            </a:ln>
          </p:spPr>
          <p:txBody>
            <a:bodyPr rtlCol="0" anchor="ctr"/>
            <a:lstStyle/>
            <a:p>
              <a:endParaRPr lang="en-US"/>
            </a:p>
          </p:txBody>
        </p:sp>
        <p:sp>
          <p:nvSpPr>
            <p:cNvPr id="2591" name="Freeform: Shape 2590">
              <a:extLst>
                <a:ext uri="{FF2B5EF4-FFF2-40B4-BE49-F238E27FC236}">
                  <a16:creationId xmlns:a16="http://schemas.microsoft.com/office/drawing/2014/main" id="{0D66F855-8E75-44A1-9D86-B9C33F088A04}"/>
                </a:ext>
              </a:extLst>
            </p:cNvPr>
            <p:cNvSpPr/>
            <p:nvPr/>
          </p:nvSpPr>
          <p:spPr>
            <a:xfrm>
              <a:off x="7073929" y="4205166"/>
              <a:ext cx="22409" cy="22409"/>
            </a:xfrm>
            <a:custGeom>
              <a:avLst/>
              <a:gdLst>
                <a:gd name="connsiteX0" fmla="*/ 12549 w 22408"/>
                <a:gd name="connsiteY0" fmla="*/ 25097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3 h 22408"/>
                <a:gd name="connsiteX6" fmla="*/ 20616 w 22408"/>
                <a:gd name="connsiteY6" fmla="*/ 12100 h 22408"/>
                <a:gd name="connsiteX7" fmla="*/ 12549 w 22408"/>
                <a:gd name="connsiteY7" fmla="*/ 20168 h 22408"/>
                <a:gd name="connsiteX8" fmla="*/ 4482 w 22408"/>
                <a:gd name="connsiteY8" fmla="*/ 12100 h 22408"/>
                <a:gd name="connsiteX9" fmla="*/ 12549 w 22408"/>
                <a:gd name="connsiteY9" fmla="*/ 40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7" y="19271"/>
                    <a:pt x="25097" y="12549"/>
                  </a:cubicBezTo>
                  <a:cubicBezTo>
                    <a:pt x="25097" y="5378"/>
                    <a:pt x="19271" y="0"/>
                    <a:pt x="12549" y="0"/>
                  </a:cubicBezTo>
                  <a:cubicBezTo>
                    <a:pt x="5826" y="0"/>
                    <a:pt x="0" y="5826"/>
                    <a:pt x="0" y="12549"/>
                  </a:cubicBezTo>
                  <a:cubicBezTo>
                    <a:pt x="0" y="19271"/>
                    <a:pt x="5378" y="25097"/>
                    <a:pt x="12549" y="25097"/>
                  </a:cubicBezTo>
                  <a:close/>
                  <a:moveTo>
                    <a:pt x="12549" y="4033"/>
                  </a:moveTo>
                  <a:cubicBezTo>
                    <a:pt x="17030" y="4033"/>
                    <a:pt x="20616" y="7619"/>
                    <a:pt x="20616" y="12100"/>
                  </a:cubicBezTo>
                  <a:cubicBezTo>
                    <a:pt x="20616" y="16582"/>
                    <a:pt x="17030" y="20168"/>
                    <a:pt x="12549" y="20168"/>
                  </a:cubicBezTo>
                  <a:cubicBezTo>
                    <a:pt x="8067" y="20168"/>
                    <a:pt x="4482" y="16582"/>
                    <a:pt x="4482" y="12100"/>
                  </a:cubicBezTo>
                  <a:cubicBezTo>
                    <a:pt x="4482" y="8067"/>
                    <a:pt x="8067" y="4033"/>
                    <a:pt x="12549" y="4033"/>
                  </a:cubicBezTo>
                  <a:close/>
                </a:path>
              </a:pathLst>
            </a:custGeom>
            <a:solidFill>
              <a:srgbClr val="231F20"/>
            </a:solidFill>
            <a:ln w="4477" cap="flat">
              <a:noFill/>
              <a:prstDash val="solid"/>
              <a:miter/>
            </a:ln>
          </p:spPr>
          <p:txBody>
            <a:bodyPr rtlCol="0" anchor="ctr"/>
            <a:lstStyle/>
            <a:p>
              <a:endParaRPr lang="en-US"/>
            </a:p>
          </p:txBody>
        </p:sp>
        <p:sp>
          <p:nvSpPr>
            <p:cNvPr id="2592" name="Freeform: Shape 2591">
              <a:extLst>
                <a:ext uri="{FF2B5EF4-FFF2-40B4-BE49-F238E27FC236}">
                  <a16:creationId xmlns:a16="http://schemas.microsoft.com/office/drawing/2014/main" id="{AD578034-AA4A-4BB0-A0C3-00EAEAAC766F}"/>
                </a:ext>
              </a:extLst>
            </p:cNvPr>
            <p:cNvSpPr/>
            <p:nvPr/>
          </p:nvSpPr>
          <p:spPr>
            <a:xfrm>
              <a:off x="7064792" y="4231608"/>
              <a:ext cx="40335" cy="26890"/>
            </a:xfrm>
            <a:custGeom>
              <a:avLst/>
              <a:gdLst>
                <a:gd name="connsiteX0" fmla="*/ 5552 w 40335"/>
                <a:gd name="connsiteY0" fmla="*/ 27787 h 26890"/>
                <a:gd name="connsiteX1" fmla="*/ 38268 w 40335"/>
                <a:gd name="connsiteY1" fmla="*/ 27787 h 26890"/>
                <a:gd name="connsiteX2" fmla="*/ 44543 w 40335"/>
                <a:gd name="connsiteY2" fmla="*/ 21512 h 26890"/>
                <a:gd name="connsiteX3" fmla="*/ 44543 w 40335"/>
                <a:gd name="connsiteY3" fmla="*/ 14790 h 26890"/>
                <a:gd name="connsiteX4" fmla="*/ 29753 w 40335"/>
                <a:gd name="connsiteY4" fmla="*/ 0 h 26890"/>
                <a:gd name="connsiteX5" fmla="*/ 14963 w 40335"/>
                <a:gd name="connsiteY5" fmla="*/ 0 h 26890"/>
                <a:gd name="connsiteX6" fmla="*/ 174 w 40335"/>
                <a:gd name="connsiteY6" fmla="*/ 14790 h 26890"/>
                <a:gd name="connsiteX7" fmla="*/ 174 w 40335"/>
                <a:gd name="connsiteY7" fmla="*/ 21512 h 26890"/>
                <a:gd name="connsiteX8" fmla="*/ 5552 w 40335"/>
                <a:gd name="connsiteY8" fmla="*/ 27787 h 26890"/>
                <a:gd name="connsiteX9" fmla="*/ 3759 w 40335"/>
                <a:gd name="connsiteY9" fmla="*/ 15238 h 26890"/>
                <a:gd name="connsiteX10" fmla="*/ 14067 w 40335"/>
                <a:gd name="connsiteY10" fmla="*/ 4930 h 26890"/>
                <a:gd name="connsiteX11" fmla="*/ 28857 w 40335"/>
                <a:gd name="connsiteY11" fmla="*/ 4930 h 26890"/>
                <a:gd name="connsiteX12" fmla="*/ 39165 w 40335"/>
                <a:gd name="connsiteY12" fmla="*/ 15238 h 26890"/>
                <a:gd name="connsiteX13" fmla="*/ 39165 w 40335"/>
                <a:gd name="connsiteY13" fmla="*/ 21960 h 26890"/>
                <a:gd name="connsiteX14" fmla="*/ 37372 w 40335"/>
                <a:gd name="connsiteY14" fmla="*/ 23753 h 26890"/>
                <a:gd name="connsiteX15" fmla="*/ 4655 w 40335"/>
                <a:gd name="connsiteY15" fmla="*/ 23753 h 26890"/>
                <a:gd name="connsiteX16" fmla="*/ 2863 w 40335"/>
                <a:gd name="connsiteY16" fmla="*/ 21960 h 26890"/>
                <a:gd name="connsiteX17" fmla="*/ 2863 w 40335"/>
                <a:gd name="connsiteY17"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335" h="26890">
                  <a:moveTo>
                    <a:pt x="5552" y="27787"/>
                  </a:moveTo>
                  <a:lnTo>
                    <a:pt x="38268" y="27787"/>
                  </a:lnTo>
                  <a:cubicBezTo>
                    <a:pt x="41405" y="27787"/>
                    <a:pt x="44543" y="25098"/>
                    <a:pt x="44543" y="21512"/>
                  </a:cubicBezTo>
                  <a:lnTo>
                    <a:pt x="44543" y="14790"/>
                  </a:lnTo>
                  <a:cubicBezTo>
                    <a:pt x="44543" y="6723"/>
                    <a:pt x="37820" y="0"/>
                    <a:pt x="29753" y="0"/>
                  </a:cubicBezTo>
                  <a:lnTo>
                    <a:pt x="14963" y="0"/>
                  </a:lnTo>
                  <a:cubicBezTo>
                    <a:pt x="6896" y="0"/>
                    <a:pt x="174" y="6723"/>
                    <a:pt x="174" y="14790"/>
                  </a:cubicBezTo>
                  <a:lnTo>
                    <a:pt x="174" y="21512"/>
                  </a:lnTo>
                  <a:cubicBezTo>
                    <a:pt x="-723" y="25098"/>
                    <a:pt x="1966" y="27787"/>
                    <a:pt x="5552" y="27787"/>
                  </a:cubicBezTo>
                  <a:close/>
                  <a:moveTo>
                    <a:pt x="3759" y="15238"/>
                  </a:moveTo>
                  <a:cubicBezTo>
                    <a:pt x="3759" y="9412"/>
                    <a:pt x="8241" y="4930"/>
                    <a:pt x="14067" y="4930"/>
                  </a:cubicBezTo>
                  <a:lnTo>
                    <a:pt x="28857" y="4930"/>
                  </a:lnTo>
                  <a:cubicBezTo>
                    <a:pt x="34683" y="4930"/>
                    <a:pt x="39165" y="9412"/>
                    <a:pt x="39165" y="15238"/>
                  </a:cubicBezTo>
                  <a:lnTo>
                    <a:pt x="39165" y="21960"/>
                  </a:lnTo>
                  <a:cubicBezTo>
                    <a:pt x="39165" y="22857"/>
                    <a:pt x="38268" y="23753"/>
                    <a:pt x="37372" y="23753"/>
                  </a:cubicBezTo>
                  <a:lnTo>
                    <a:pt x="4655" y="23753"/>
                  </a:lnTo>
                  <a:cubicBezTo>
                    <a:pt x="3759" y="23753"/>
                    <a:pt x="2863" y="22857"/>
                    <a:pt x="2863" y="21960"/>
                  </a:cubicBezTo>
                  <a:lnTo>
                    <a:pt x="2863" y="15238"/>
                  </a:lnTo>
                  <a:close/>
                </a:path>
              </a:pathLst>
            </a:custGeom>
            <a:solidFill>
              <a:srgbClr val="231F20"/>
            </a:solidFill>
            <a:ln w="4477" cap="flat">
              <a:noFill/>
              <a:prstDash val="solid"/>
              <a:miter/>
            </a:ln>
          </p:spPr>
          <p:txBody>
            <a:bodyPr rtlCol="0" anchor="ctr"/>
            <a:lstStyle/>
            <a:p>
              <a:endParaRPr lang="en-US"/>
            </a:p>
          </p:txBody>
        </p:sp>
        <p:sp>
          <p:nvSpPr>
            <p:cNvPr id="2593" name="Freeform: Shape 2592">
              <a:extLst>
                <a:ext uri="{FF2B5EF4-FFF2-40B4-BE49-F238E27FC236}">
                  <a16:creationId xmlns:a16="http://schemas.microsoft.com/office/drawing/2014/main" id="{BC217679-AB0F-4393-A8DE-7DFB97C5A532}"/>
                </a:ext>
              </a:extLst>
            </p:cNvPr>
            <p:cNvSpPr/>
            <p:nvPr/>
          </p:nvSpPr>
          <p:spPr>
            <a:xfrm>
              <a:off x="7127709" y="4302419"/>
              <a:ext cx="22409" cy="22409"/>
            </a:xfrm>
            <a:custGeom>
              <a:avLst/>
              <a:gdLst>
                <a:gd name="connsiteX0" fmla="*/ 12549 w 22408"/>
                <a:gd name="connsiteY0" fmla="*/ 25098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8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8"/>
                  </a:moveTo>
                  <a:cubicBezTo>
                    <a:pt x="19719" y="25098"/>
                    <a:pt x="25097" y="19272"/>
                    <a:pt x="25097" y="12549"/>
                  </a:cubicBezTo>
                  <a:cubicBezTo>
                    <a:pt x="25097" y="5378"/>
                    <a:pt x="19271" y="0"/>
                    <a:pt x="12549" y="0"/>
                  </a:cubicBezTo>
                  <a:cubicBezTo>
                    <a:pt x="5826" y="0"/>
                    <a:pt x="0" y="5826"/>
                    <a:pt x="0" y="12549"/>
                  </a:cubicBezTo>
                  <a:cubicBezTo>
                    <a:pt x="0" y="19272"/>
                    <a:pt x="5378" y="25098"/>
                    <a:pt x="12549" y="25098"/>
                  </a:cubicBezTo>
                  <a:close/>
                  <a:moveTo>
                    <a:pt x="12549" y="4034"/>
                  </a:moveTo>
                  <a:cubicBezTo>
                    <a:pt x="17030" y="4034"/>
                    <a:pt x="20616" y="7619"/>
                    <a:pt x="20616" y="12101"/>
                  </a:cubicBezTo>
                  <a:cubicBezTo>
                    <a:pt x="20616" y="16582"/>
                    <a:pt x="17030"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94" name="Freeform: Shape 2593">
              <a:extLst>
                <a:ext uri="{FF2B5EF4-FFF2-40B4-BE49-F238E27FC236}">
                  <a16:creationId xmlns:a16="http://schemas.microsoft.com/office/drawing/2014/main" id="{22F239DF-CBD1-42E6-A955-B767D9F0D087}"/>
                </a:ext>
              </a:extLst>
            </p:cNvPr>
            <p:cNvSpPr/>
            <p:nvPr/>
          </p:nvSpPr>
          <p:spPr>
            <a:xfrm>
              <a:off x="7118298" y="432975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7"/>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sp>
          <p:nvSpPr>
            <p:cNvPr id="2595" name="Freeform: Shape 2594">
              <a:extLst>
                <a:ext uri="{FF2B5EF4-FFF2-40B4-BE49-F238E27FC236}">
                  <a16:creationId xmlns:a16="http://schemas.microsoft.com/office/drawing/2014/main" id="{40BBA5B1-2E45-4C7D-91E5-94FF43E780AF}"/>
                </a:ext>
              </a:extLst>
            </p:cNvPr>
            <p:cNvSpPr/>
            <p:nvPr/>
          </p:nvSpPr>
          <p:spPr>
            <a:xfrm>
              <a:off x="7020148" y="4302419"/>
              <a:ext cx="22409" cy="22409"/>
            </a:xfrm>
            <a:custGeom>
              <a:avLst/>
              <a:gdLst>
                <a:gd name="connsiteX0" fmla="*/ 12549 w 22408"/>
                <a:gd name="connsiteY0" fmla="*/ 25098 h 22408"/>
                <a:gd name="connsiteX1" fmla="*/ 25098 w 22408"/>
                <a:gd name="connsiteY1" fmla="*/ 12549 h 22408"/>
                <a:gd name="connsiteX2" fmla="*/ 12549 w 22408"/>
                <a:gd name="connsiteY2" fmla="*/ 0 h 22408"/>
                <a:gd name="connsiteX3" fmla="*/ 0 w 22408"/>
                <a:gd name="connsiteY3" fmla="*/ 12549 h 22408"/>
                <a:gd name="connsiteX4" fmla="*/ 12549 w 22408"/>
                <a:gd name="connsiteY4" fmla="*/ 25098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8"/>
                  </a:moveTo>
                  <a:cubicBezTo>
                    <a:pt x="19719" y="25098"/>
                    <a:pt x="25098" y="19272"/>
                    <a:pt x="25098" y="12549"/>
                  </a:cubicBezTo>
                  <a:cubicBezTo>
                    <a:pt x="25098" y="5378"/>
                    <a:pt x="19271" y="0"/>
                    <a:pt x="12549" y="0"/>
                  </a:cubicBezTo>
                  <a:cubicBezTo>
                    <a:pt x="5826" y="0"/>
                    <a:pt x="0" y="5826"/>
                    <a:pt x="0" y="12549"/>
                  </a:cubicBezTo>
                  <a:cubicBezTo>
                    <a:pt x="0" y="19272"/>
                    <a:pt x="5378" y="25098"/>
                    <a:pt x="12549" y="25098"/>
                  </a:cubicBezTo>
                  <a:close/>
                  <a:moveTo>
                    <a:pt x="12549" y="4034"/>
                  </a:moveTo>
                  <a:cubicBezTo>
                    <a:pt x="17030" y="4034"/>
                    <a:pt x="20616" y="7619"/>
                    <a:pt x="20616" y="12101"/>
                  </a:cubicBezTo>
                  <a:cubicBezTo>
                    <a:pt x="20616" y="16582"/>
                    <a:pt x="17030"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96" name="Freeform: Shape 2595">
              <a:extLst>
                <a:ext uri="{FF2B5EF4-FFF2-40B4-BE49-F238E27FC236}">
                  <a16:creationId xmlns:a16="http://schemas.microsoft.com/office/drawing/2014/main" id="{4A350008-406D-4C41-B2E7-2781450F95CF}"/>
                </a:ext>
              </a:extLst>
            </p:cNvPr>
            <p:cNvSpPr/>
            <p:nvPr/>
          </p:nvSpPr>
          <p:spPr>
            <a:xfrm>
              <a:off x="7010737" y="432975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7"/>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grpSp>
      <p:grpSp>
        <p:nvGrpSpPr>
          <p:cNvPr id="2443" name="Group 2442">
            <a:extLst>
              <a:ext uri="{FF2B5EF4-FFF2-40B4-BE49-F238E27FC236}">
                <a16:creationId xmlns:a16="http://schemas.microsoft.com/office/drawing/2014/main" id="{37CE8794-789F-4D42-9362-1CCFAEA2178F}"/>
              </a:ext>
              <a:ext uri="{C183D7F6-B498-43B3-948B-1728B52AA6E4}">
                <adec:decorative xmlns:adec="http://schemas.microsoft.com/office/drawing/2017/decorative" val="1"/>
              </a:ext>
            </a:extLst>
          </p:cNvPr>
          <p:cNvGrpSpPr>
            <a:grpSpLocks noChangeAspect="1"/>
          </p:cNvGrpSpPr>
          <p:nvPr/>
        </p:nvGrpSpPr>
        <p:grpSpPr>
          <a:xfrm>
            <a:off x="1925230" y="4872761"/>
            <a:ext cx="152378" cy="148345"/>
            <a:chOff x="7799965" y="3855593"/>
            <a:chExt cx="152378" cy="148345"/>
          </a:xfrm>
        </p:grpSpPr>
        <p:sp>
          <p:nvSpPr>
            <p:cNvPr id="2588" name="Freeform: Shape 2587">
              <a:extLst>
                <a:ext uri="{FF2B5EF4-FFF2-40B4-BE49-F238E27FC236}">
                  <a16:creationId xmlns:a16="http://schemas.microsoft.com/office/drawing/2014/main" id="{FE2A07B7-4270-4D90-BCF2-A96B6335AFE7}"/>
                </a:ext>
              </a:extLst>
            </p:cNvPr>
            <p:cNvSpPr/>
            <p:nvPr/>
          </p:nvSpPr>
          <p:spPr>
            <a:xfrm>
              <a:off x="7799965" y="3865005"/>
              <a:ext cx="152378" cy="138933"/>
            </a:xfrm>
            <a:custGeom>
              <a:avLst/>
              <a:gdLst>
                <a:gd name="connsiteX0" fmla="*/ 148344 w 152377"/>
                <a:gd name="connsiteY0" fmla="*/ 49747 h 138932"/>
                <a:gd name="connsiteX1" fmla="*/ 139381 w 152377"/>
                <a:gd name="connsiteY1" fmla="*/ 45713 h 138932"/>
                <a:gd name="connsiteX2" fmla="*/ 139381 w 152377"/>
                <a:gd name="connsiteY2" fmla="*/ 2241 h 138932"/>
                <a:gd name="connsiteX3" fmla="*/ 137140 w 152377"/>
                <a:gd name="connsiteY3" fmla="*/ 0 h 138932"/>
                <a:gd name="connsiteX4" fmla="*/ 134899 w 152377"/>
                <a:gd name="connsiteY4" fmla="*/ 2241 h 138932"/>
                <a:gd name="connsiteX5" fmla="*/ 134899 w 152377"/>
                <a:gd name="connsiteY5" fmla="*/ 45713 h 138932"/>
                <a:gd name="connsiteX6" fmla="*/ 127729 w 152377"/>
                <a:gd name="connsiteY6" fmla="*/ 49747 h 138932"/>
                <a:gd name="connsiteX7" fmla="*/ 124143 w 152377"/>
                <a:gd name="connsiteY7" fmla="*/ 52884 h 138932"/>
                <a:gd name="connsiteX8" fmla="*/ 116524 w 152377"/>
                <a:gd name="connsiteY8" fmla="*/ 53332 h 138932"/>
                <a:gd name="connsiteX9" fmla="*/ 103527 w 152377"/>
                <a:gd name="connsiteY9" fmla="*/ 46610 h 138932"/>
                <a:gd name="connsiteX10" fmla="*/ 40784 w 152377"/>
                <a:gd name="connsiteY10" fmla="*/ 46610 h 138932"/>
                <a:gd name="connsiteX11" fmla="*/ 13445 w 152377"/>
                <a:gd name="connsiteY11" fmla="*/ 72155 h 138932"/>
                <a:gd name="connsiteX12" fmla="*/ 13445 w 152377"/>
                <a:gd name="connsiteY12" fmla="*/ 75741 h 138932"/>
                <a:gd name="connsiteX13" fmla="*/ 6723 w 152377"/>
                <a:gd name="connsiteY13" fmla="*/ 75741 h 138932"/>
                <a:gd name="connsiteX14" fmla="*/ 0 w 152377"/>
                <a:gd name="connsiteY14" fmla="*/ 82463 h 138932"/>
                <a:gd name="connsiteX15" fmla="*/ 0 w 152377"/>
                <a:gd name="connsiteY15" fmla="*/ 124591 h 138932"/>
                <a:gd name="connsiteX16" fmla="*/ 6723 w 152377"/>
                <a:gd name="connsiteY16" fmla="*/ 131314 h 138932"/>
                <a:gd name="connsiteX17" fmla="*/ 14341 w 152377"/>
                <a:gd name="connsiteY17" fmla="*/ 131314 h 138932"/>
                <a:gd name="connsiteX18" fmla="*/ 28235 w 152377"/>
                <a:gd name="connsiteY18" fmla="*/ 142966 h 138932"/>
                <a:gd name="connsiteX19" fmla="*/ 34509 w 152377"/>
                <a:gd name="connsiteY19" fmla="*/ 142966 h 138932"/>
                <a:gd name="connsiteX20" fmla="*/ 47506 w 152377"/>
                <a:gd name="connsiteY20" fmla="*/ 131314 h 138932"/>
                <a:gd name="connsiteX21" fmla="*/ 73500 w 152377"/>
                <a:gd name="connsiteY21" fmla="*/ 131314 h 138932"/>
                <a:gd name="connsiteX22" fmla="*/ 80222 w 152377"/>
                <a:gd name="connsiteY22" fmla="*/ 124591 h 138932"/>
                <a:gd name="connsiteX23" fmla="*/ 80222 w 152377"/>
                <a:gd name="connsiteY23" fmla="*/ 90979 h 138932"/>
                <a:gd name="connsiteX24" fmla="*/ 65433 w 152377"/>
                <a:gd name="connsiteY24" fmla="*/ 76189 h 138932"/>
                <a:gd name="connsiteX25" fmla="*/ 37198 w 152377"/>
                <a:gd name="connsiteY25" fmla="*/ 76189 h 138932"/>
                <a:gd name="connsiteX26" fmla="*/ 34957 w 152377"/>
                <a:gd name="connsiteY26" fmla="*/ 78430 h 138932"/>
                <a:gd name="connsiteX27" fmla="*/ 34957 w 152377"/>
                <a:gd name="connsiteY27" fmla="*/ 78878 h 138932"/>
                <a:gd name="connsiteX28" fmla="*/ 34957 w 152377"/>
                <a:gd name="connsiteY28" fmla="*/ 79326 h 138932"/>
                <a:gd name="connsiteX29" fmla="*/ 34957 w 152377"/>
                <a:gd name="connsiteY29" fmla="*/ 129521 h 138932"/>
                <a:gd name="connsiteX30" fmla="*/ 37198 w 152377"/>
                <a:gd name="connsiteY30" fmla="*/ 131762 h 138932"/>
                <a:gd name="connsiteX31" fmla="*/ 43024 w 152377"/>
                <a:gd name="connsiteY31" fmla="*/ 131762 h 138932"/>
                <a:gd name="connsiteX32" fmla="*/ 34509 w 152377"/>
                <a:gd name="connsiteY32" fmla="*/ 138933 h 138932"/>
                <a:gd name="connsiteX33" fmla="*/ 28235 w 152377"/>
                <a:gd name="connsiteY33" fmla="*/ 138933 h 138932"/>
                <a:gd name="connsiteX34" fmla="*/ 17479 w 152377"/>
                <a:gd name="connsiteY34" fmla="*/ 126384 h 138932"/>
                <a:gd name="connsiteX35" fmla="*/ 17479 w 152377"/>
                <a:gd name="connsiteY35" fmla="*/ 72604 h 138932"/>
                <a:gd name="connsiteX36" fmla="*/ 40335 w 152377"/>
                <a:gd name="connsiteY36" fmla="*/ 51540 h 138932"/>
                <a:gd name="connsiteX37" fmla="*/ 103079 w 152377"/>
                <a:gd name="connsiteY37" fmla="*/ 51540 h 138932"/>
                <a:gd name="connsiteX38" fmla="*/ 113835 w 152377"/>
                <a:gd name="connsiteY38" fmla="*/ 57366 h 138932"/>
                <a:gd name="connsiteX39" fmla="*/ 126832 w 152377"/>
                <a:gd name="connsiteY39" fmla="*/ 56021 h 138932"/>
                <a:gd name="connsiteX40" fmla="*/ 130418 w 152377"/>
                <a:gd name="connsiteY40" fmla="*/ 52884 h 138932"/>
                <a:gd name="connsiteX41" fmla="*/ 134451 w 152377"/>
                <a:gd name="connsiteY41" fmla="*/ 50643 h 138932"/>
                <a:gd name="connsiteX42" fmla="*/ 134451 w 152377"/>
                <a:gd name="connsiteY42" fmla="*/ 54677 h 138932"/>
                <a:gd name="connsiteX43" fmla="*/ 136692 w 152377"/>
                <a:gd name="connsiteY43" fmla="*/ 56918 h 138932"/>
                <a:gd name="connsiteX44" fmla="*/ 138933 w 152377"/>
                <a:gd name="connsiteY44" fmla="*/ 54677 h 138932"/>
                <a:gd name="connsiteX45" fmla="*/ 138933 w 152377"/>
                <a:gd name="connsiteY45" fmla="*/ 50195 h 138932"/>
                <a:gd name="connsiteX46" fmla="*/ 144759 w 152377"/>
                <a:gd name="connsiteY46" fmla="*/ 52884 h 138932"/>
                <a:gd name="connsiteX47" fmla="*/ 147896 w 152377"/>
                <a:gd name="connsiteY47" fmla="*/ 60055 h 138932"/>
                <a:gd name="connsiteX48" fmla="*/ 144759 w 152377"/>
                <a:gd name="connsiteY48" fmla="*/ 67226 h 138932"/>
                <a:gd name="connsiteX49" fmla="*/ 127729 w 152377"/>
                <a:gd name="connsiteY49" fmla="*/ 84256 h 138932"/>
                <a:gd name="connsiteX50" fmla="*/ 120110 w 152377"/>
                <a:gd name="connsiteY50" fmla="*/ 87393 h 138932"/>
                <a:gd name="connsiteX51" fmla="*/ 98597 w 152377"/>
                <a:gd name="connsiteY51" fmla="*/ 78878 h 138932"/>
                <a:gd name="connsiteX52" fmla="*/ 92323 w 152377"/>
                <a:gd name="connsiteY52" fmla="*/ 76189 h 138932"/>
                <a:gd name="connsiteX53" fmla="*/ 90082 w 152377"/>
                <a:gd name="connsiteY53" fmla="*/ 76189 h 138932"/>
                <a:gd name="connsiteX54" fmla="*/ 89186 w 152377"/>
                <a:gd name="connsiteY54" fmla="*/ 77982 h 138932"/>
                <a:gd name="connsiteX55" fmla="*/ 89186 w 152377"/>
                <a:gd name="connsiteY55" fmla="*/ 128625 h 138932"/>
                <a:gd name="connsiteX56" fmla="*/ 91427 w 152377"/>
                <a:gd name="connsiteY56" fmla="*/ 130866 h 138932"/>
                <a:gd name="connsiteX57" fmla="*/ 93668 w 152377"/>
                <a:gd name="connsiteY57" fmla="*/ 128625 h 138932"/>
                <a:gd name="connsiteX58" fmla="*/ 93668 w 152377"/>
                <a:gd name="connsiteY58" fmla="*/ 81119 h 138932"/>
                <a:gd name="connsiteX59" fmla="*/ 96805 w 152377"/>
                <a:gd name="connsiteY59" fmla="*/ 82463 h 138932"/>
                <a:gd name="connsiteX60" fmla="*/ 120110 w 152377"/>
                <a:gd name="connsiteY60" fmla="*/ 90979 h 138932"/>
                <a:gd name="connsiteX61" fmla="*/ 130866 w 152377"/>
                <a:gd name="connsiteY61" fmla="*/ 86497 h 138932"/>
                <a:gd name="connsiteX62" fmla="*/ 147896 w 152377"/>
                <a:gd name="connsiteY62" fmla="*/ 69466 h 138932"/>
                <a:gd name="connsiteX63" fmla="*/ 152378 w 152377"/>
                <a:gd name="connsiteY63" fmla="*/ 59159 h 138932"/>
                <a:gd name="connsiteX64" fmla="*/ 148344 w 152377"/>
                <a:gd name="connsiteY64" fmla="*/ 49747 h 138932"/>
                <a:gd name="connsiteX65" fmla="*/ 76637 w 152377"/>
                <a:gd name="connsiteY65" fmla="*/ 91427 h 138932"/>
                <a:gd name="connsiteX66" fmla="*/ 76637 w 152377"/>
                <a:gd name="connsiteY66" fmla="*/ 125040 h 138932"/>
                <a:gd name="connsiteX67" fmla="*/ 74396 w 152377"/>
                <a:gd name="connsiteY67" fmla="*/ 127280 h 138932"/>
                <a:gd name="connsiteX68" fmla="*/ 40335 w 152377"/>
                <a:gd name="connsiteY68" fmla="*/ 127280 h 138932"/>
                <a:gd name="connsiteX69" fmla="*/ 40335 w 152377"/>
                <a:gd name="connsiteY69" fmla="*/ 81119 h 138932"/>
                <a:gd name="connsiteX70" fmla="*/ 66329 w 152377"/>
                <a:gd name="connsiteY70" fmla="*/ 81119 h 138932"/>
                <a:gd name="connsiteX71" fmla="*/ 76637 w 152377"/>
                <a:gd name="connsiteY71" fmla="*/ 91427 h 138932"/>
                <a:gd name="connsiteX72" fmla="*/ 7171 w 152377"/>
                <a:gd name="connsiteY72" fmla="*/ 127280 h 138932"/>
                <a:gd name="connsiteX73" fmla="*/ 4930 w 152377"/>
                <a:gd name="connsiteY73" fmla="*/ 125040 h 138932"/>
                <a:gd name="connsiteX74" fmla="*/ 4930 w 152377"/>
                <a:gd name="connsiteY74" fmla="*/ 82912 h 138932"/>
                <a:gd name="connsiteX75" fmla="*/ 7171 w 152377"/>
                <a:gd name="connsiteY75" fmla="*/ 80671 h 138932"/>
                <a:gd name="connsiteX76" fmla="*/ 13893 w 152377"/>
                <a:gd name="connsiteY76" fmla="*/ 80671 h 138932"/>
                <a:gd name="connsiteX77" fmla="*/ 13893 w 152377"/>
                <a:gd name="connsiteY77" fmla="*/ 125936 h 138932"/>
                <a:gd name="connsiteX78" fmla="*/ 13893 w 152377"/>
                <a:gd name="connsiteY78" fmla="*/ 126832 h 138932"/>
                <a:gd name="connsiteX79" fmla="*/ 7171 w 152377"/>
                <a:gd name="connsiteY79" fmla="*/ 126832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2377" h="138932">
                  <a:moveTo>
                    <a:pt x="148344" y="49747"/>
                  </a:moveTo>
                  <a:cubicBezTo>
                    <a:pt x="145655" y="47058"/>
                    <a:pt x="142518" y="45713"/>
                    <a:pt x="139381" y="45713"/>
                  </a:cubicBezTo>
                  <a:lnTo>
                    <a:pt x="139381" y="2241"/>
                  </a:lnTo>
                  <a:cubicBezTo>
                    <a:pt x="139381" y="896"/>
                    <a:pt x="138485" y="0"/>
                    <a:pt x="137140" y="0"/>
                  </a:cubicBezTo>
                  <a:cubicBezTo>
                    <a:pt x="135796" y="0"/>
                    <a:pt x="134899" y="896"/>
                    <a:pt x="134899" y="2241"/>
                  </a:cubicBezTo>
                  <a:lnTo>
                    <a:pt x="134899" y="45713"/>
                  </a:lnTo>
                  <a:cubicBezTo>
                    <a:pt x="132210" y="46161"/>
                    <a:pt x="129521" y="47506"/>
                    <a:pt x="127729" y="49747"/>
                  </a:cubicBezTo>
                  <a:lnTo>
                    <a:pt x="124143" y="52884"/>
                  </a:lnTo>
                  <a:cubicBezTo>
                    <a:pt x="121902" y="54677"/>
                    <a:pt x="119213" y="55125"/>
                    <a:pt x="116524" y="53332"/>
                  </a:cubicBezTo>
                  <a:cubicBezTo>
                    <a:pt x="106664" y="46610"/>
                    <a:pt x="104424" y="46610"/>
                    <a:pt x="103527" y="46610"/>
                  </a:cubicBezTo>
                  <a:lnTo>
                    <a:pt x="40784" y="46610"/>
                  </a:lnTo>
                  <a:cubicBezTo>
                    <a:pt x="25546" y="46610"/>
                    <a:pt x="13445" y="57814"/>
                    <a:pt x="13445" y="72155"/>
                  </a:cubicBezTo>
                  <a:lnTo>
                    <a:pt x="13445" y="75741"/>
                  </a:lnTo>
                  <a:lnTo>
                    <a:pt x="6723" y="75741"/>
                  </a:lnTo>
                  <a:cubicBezTo>
                    <a:pt x="3137" y="75741"/>
                    <a:pt x="0" y="78878"/>
                    <a:pt x="0" y="82463"/>
                  </a:cubicBezTo>
                  <a:lnTo>
                    <a:pt x="0" y="124591"/>
                  </a:lnTo>
                  <a:cubicBezTo>
                    <a:pt x="0" y="128177"/>
                    <a:pt x="3137" y="131314"/>
                    <a:pt x="6723" y="131314"/>
                  </a:cubicBezTo>
                  <a:lnTo>
                    <a:pt x="14341" y="131314"/>
                  </a:lnTo>
                  <a:cubicBezTo>
                    <a:pt x="16582" y="137588"/>
                    <a:pt x="21960" y="142966"/>
                    <a:pt x="28235" y="142966"/>
                  </a:cubicBezTo>
                  <a:lnTo>
                    <a:pt x="34509" y="142966"/>
                  </a:lnTo>
                  <a:cubicBezTo>
                    <a:pt x="41232" y="142966"/>
                    <a:pt x="47058" y="138036"/>
                    <a:pt x="47506" y="131314"/>
                  </a:cubicBezTo>
                  <a:lnTo>
                    <a:pt x="73500" y="131314"/>
                  </a:lnTo>
                  <a:cubicBezTo>
                    <a:pt x="77085" y="131314"/>
                    <a:pt x="80222" y="128177"/>
                    <a:pt x="80222" y="124591"/>
                  </a:cubicBezTo>
                  <a:lnTo>
                    <a:pt x="80222" y="90979"/>
                  </a:lnTo>
                  <a:cubicBezTo>
                    <a:pt x="80222" y="82912"/>
                    <a:pt x="73500" y="76189"/>
                    <a:pt x="65433" y="76189"/>
                  </a:cubicBezTo>
                  <a:lnTo>
                    <a:pt x="37198" y="76189"/>
                  </a:lnTo>
                  <a:cubicBezTo>
                    <a:pt x="35854" y="76189"/>
                    <a:pt x="34957" y="77085"/>
                    <a:pt x="34957" y="78430"/>
                  </a:cubicBezTo>
                  <a:cubicBezTo>
                    <a:pt x="34957" y="78430"/>
                    <a:pt x="34957" y="78430"/>
                    <a:pt x="34957" y="78878"/>
                  </a:cubicBezTo>
                  <a:cubicBezTo>
                    <a:pt x="34957" y="78878"/>
                    <a:pt x="34957" y="78878"/>
                    <a:pt x="34957" y="79326"/>
                  </a:cubicBezTo>
                  <a:lnTo>
                    <a:pt x="34957" y="129521"/>
                  </a:lnTo>
                  <a:cubicBezTo>
                    <a:pt x="34957" y="130866"/>
                    <a:pt x="35854" y="131762"/>
                    <a:pt x="37198" y="131762"/>
                  </a:cubicBezTo>
                  <a:lnTo>
                    <a:pt x="43024" y="131762"/>
                  </a:lnTo>
                  <a:cubicBezTo>
                    <a:pt x="42128" y="135796"/>
                    <a:pt x="38543" y="138933"/>
                    <a:pt x="34509" y="138933"/>
                  </a:cubicBezTo>
                  <a:lnTo>
                    <a:pt x="28235" y="138933"/>
                  </a:lnTo>
                  <a:cubicBezTo>
                    <a:pt x="22409" y="138933"/>
                    <a:pt x="17479" y="132210"/>
                    <a:pt x="17479" y="126384"/>
                  </a:cubicBezTo>
                  <a:lnTo>
                    <a:pt x="17479" y="72604"/>
                  </a:lnTo>
                  <a:cubicBezTo>
                    <a:pt x="17479" y="60503"/>
                    <a:pt x="27338" y="51540"/>
                    <a:pt x="40335" y="51540"/>
                  </a:cubicBezTo>
                  <a:lnTo>
                    <a:pt x="103079" y="51540"/>
                  </a:lnTo>
                  <a:cubicBezTo>
                    <a:pt x="103079" y="51540"/>
                    <a:pt x="105320" y="51988"/>
                    <a:pt x="113835" y="57366"/>
                  </a:cubicBezTo>
                  <a:cubicBezTo>
                    <a:pt x="117869" y="60055"/>
                    <a:pt x="123247" y="59607"/>
                    <a:pt x="126832" y="56021"/>
                  </a:cubicBezTo>
                  <a:lnTo>
                    <a:pt x="130418" y="52884"/>
                  </a:lnTo>
                  <a:cubicBezTo>
                    <a:pt x="131762" y="51540"/>
                    <a:pt x="133106" y="51092"/>
                    <a:pt x="134451" y="50643"/>
                  </a:cubicBezTo>
                  <a:lnTo>
                    <a:pt x="134451" y="54677"/>
                  </a:lnTo>
                  <a:cubicBezTo>
                    <a:pt x="134451" y="56021"/>
                    <a:pt x="135347" y="56918"/>
                    <a:pt x="136692" y="56918"/>
                  </a:cubicBezTo>
                  <a:cubicBezTo>
                    <a:pt x="138036" y="56918"/>
                    <a:pt x="138933" y="56021"/>
                    <a:pt x="138933" y="54677"/>
                  </a:cubicBezTo>
                  <a:lnTo>
                    <a:pt x="138933" y="50195"/>
                  </a:lnTo>
                  <a:cubicBezTo>
                    <a:pt x="141174" y="50643"/>
                    <a:pt x="143414" y="51540"/>
                    <a:pt x="144759" y="52884"/>
                  </a:cubicBezTo>
                  <a:cubicBezTo>
                    <a:pt x="146552" y="54677"/>
                    <a:pt x="147896" y="57366"/>
                    <a:pt x="147896" y="60055"/>
                  </a:cubicBezTo>
                  <a:cubicBezTo>
                    <a:pt x="147896" y="62744"/>
                    <a:pt x="147000" y="65433"/>
                    <a:pt x="144759" y="67226"/>
                  </a:cubicBezTo>
                  <a:lnTo>
                    <a:pt x="127729" y="84256"/>
                  </a:lnTo>
                  <a:cubicBezTo>
                    <a:pt x="125488" y="86497"/>
                    <a:pt x="122799" y="87841"/>
                    <a:pt x="120110" y="87393"/>
                  </a:cubicBezTo>
                  <a:cubicBezTo>
                    <a:pt x="118317" y="87393"/>
                    <a:pt x="107561" y="82912"/>
                    <a:pt x="98597" y="78878"/>
                  </a:cubicBezTo>
                  <a:lnTo>
                    <a:pt x="92323" y="76189"/>
                  </a:lnTo>
                  <a:cubicBezTo>
                    <a:pt x="91427" y="75741"/>
                    <a:pt x="90978" y="75741"/>
                    <a:pt x="90082" y="76189"/>
                  </a:cubicBezTo>
                  <a:cubicBezTo>
                    <a:pt x="89634" y="76637"/>
                    <a:pt x="89186" y="77533"/>
                    <a:pt x="89186" y="77982"/>
                  </a:cubicBezTo>
                  <a:lnTo>
                    <a:pt x="89186" y="128625"/>
                  </a:lnTo>
                  <a:cubicBezTo>
                    <a:pt x="89186" y="129969"/>
                    <a:pt x="90082" y="130866"/>
                    <a:pt x="91427" y="130866"/>
                  </a:cubicBezTo>
                  <a:cubicBezTo>
                    <a:pt x="92771" y="130866"/>
                    <a:pt x="93668" y="129969"/>
                    <a:pt x="93668" y="128625"/>
                  </a:cubicBezTo>
                  <a:lnTo>
                    <a:pt x="93668" y="81119"/>
                  </a:lnTo>
                  <a:lnTo>
                    <a:pt x="96805" y="82463"/>
                  </a:lnTo>
                  <a:cubicBezTo>
                    <a:pt x="101286" y="84704"/>
                    <a:pt x="116972" y="91427"/>
                    <a:pt x="120110" y="90979"/>
                  </a:cubicBezTo>
                  <a:cubicBezTo>
                    <a:pt x="124143" y="90979"/>
                    <a:pt x="127729" y="89186"/>
                    <a:pt x="130866" y="86497"/>
                  </a:cubicBezTo>
                  <a:lnTo>
                    <a:pt x="147896" y="69466"/>
                  </a:lnTo>
                  <a:cubicBezTo>
                    <a:pt x="150585" y="66777"/>
                    <a:pt x="152378" y="62744"/>
                    <a:pt x="152378" y="59159"/>
                  </a:cubicBezTo>
                  <a:cubicBezTo>
                    <a:pt x="152826" y="56021"/>
                    <a:pt x="151481" y="52436"/>
                    <a:pt x="148344" y="49747"/>
                  </a:cubicBezTo>
                  <a:close/>
                  <a:moveTo>
                    <a:pt x="76637" y="91427"/>
                  </a:moveTo>
                  <a:lnTo>
                    <a:pt x="76637" y="125040"/>
                  </a:lnTo>
                  <a:cubicBezTo>
                    <a:pt x="76637" y="126384"/>
                    <a:pt x="75741" y="127280"/>
                    <a:pt x="74396" y="127280"/>
                  </a:cubicBezTo>
                  <a:lnTo>
                    <a:pt x="40335" y="127280"/>
                  </a:lnTo>
                  <a:lnTo>
                    <a:pt x="40335" y="81119"/>
                  </a:lnTo>
                  <a:lnTo>
                    <a:pt x="66329" y="81119"/>
                  </a:lnTo>
                  <a:cubicBezTo>
                    <a:pt x="72155" y="80671"/>
                    <a:pt x="76637" y="85600"/>
                    <a:pt x="76637" y="91427"/>
                  </a:cubicBezTo>
                  <a:close/>
                  <a:moveTo>
                    <a:pt x="7171" y="127280"/>
                  </a:moveTo>
                  <a:cubicBezTo>
                    <a:pt x="5826" y="127280"/>
                    <a:pt x="4930" y="126384"/>
                    <a:pt x="4930" y="125040"/>
                  </a:cubicBezTo>
                  <a:lnTo>
                    <a:pt x="4930" y="82912"/>
                  </a:lnTo>
                  <a:cubicBezTo>
                    <a:pt x="4930" y="81567"/>
                    <a:pt x="5826" y="80671"/>
                    <a:pt x="7171" y="80671"/>
                  </a:cubicBezTo>
                  <a:lnTo>
                    <a:pt x="13893" y="80671"/>
                  </a:lnTo>
                  <a:lnTo>
                    <a:pt x="13893" y="125936"/>
                  </a:lnTo>
                  <a:cubicBezTo>
                    <a:pt x="13893" y="126384"/>
                    <a:pt x="13893" y="126384"/>
                    <a:pt x="13893" y="126832"/>
                  </a:cubicBezTo>
                  <a:lnTo>
                    <a:pt x="7171" y="126832"/>
                  </a:lnTo>
                  <a:close/>
                </a:path>
              </a:pathLst>
            </a:custGeom>
            <a:solidFill>
              <a:srgbClr val="231F20"/>
            </a:solidFill>
            <a:ln w="4477" cap="flat">
              <a:noFill/>
              <a:prstDash val="solid"/>
              <a:miter/>
            </a:ln>
          </p:spPr>
          <p:txBody>
            <a:bodyPr rtlCol="0" anchor="ctr"/>
            <a:lstStyle/>
            <a:p>
              <a:endParaRPr lang="en-US"/>
            </a:p>
          </p:txBody>
        </p:sp>
        <p:sp>
          <p:nvSpPr>
            <p:cNvPr id="2589" name="Freeform: Shape 2588">
              <a:extLst>
                <a:ext uri="{FF2B5EF4-FFF2-40B4-BE49-F238E27FC236}">
                  <a16:creationId xmlns:a16="http://schemas.microsoft.com/office/drawing/2014/main" id="{7BC35B41-B8D7-499A-A253-1D221B3DA9EA}"/>
                </a:ext>
              </a:extLst>
            </p:cNvPr>
            <p:cNvSpPr/>
            <p:nvPr/>
          </p:nvSpPr>
          <p:spPr>
            <a:xfrm>
              <a:off x="7840748" y="3855593"/>
              <a:ext cx="49299" cy="49299"/>
            </a:xfrm>
            <a:custGeom>
              <a:avLst/>
              <a:gdLst>
                <a:gd name="connsiteX0" fmla="*/ 24649 w 49298"/>
                <a:gd name="connsiteY0" fmla="*/ 49299 h 49298"/>
                <a:gd name="connsiteX1" fmla="*/ 49299 w 49298"/>
                <a:gd name="connsiteY1" fmla="*/ 24649 h 49298"/>
                <a:gd name="connsiteX2" fmla="*/ 24649 w 49298"/>
                <a:gd name="connsiteY2" fmla="*/ 0 h 49298"/>
                <a:gd name="connsiteX3" fmla="*/ 0 w 49298"/>
                <a:gd name="connsiteY3" fmla="*/ 24649 h 49298"/>
                <a:gd name="connsiteX4" fmla="*/ 24649 w 49298"/>
                <a:gd name="connsiteY4" fmla="*/ 49299 h 49298"/>
                <a:gd name="connsiteX5" fmla="*/ 24649 w 49298"/>
                <a:gd name="connsiteY5" fmla="*/ 4930 h 49298"/>
                <a:gd name="connsiteX6" fmla="*/ 44817 w 49298"/>
                <a:gd name="connsiteY6" fmla="*/ 25097 h 49298"/>
                <a:gd name="connsiteX7" fmla="*/ 24649 w 49298"/>
                <a:gd name="connsiteY7" fmla="*/ 45265 h 49298"/>
                <a:gd name="connsiteX8" fmla="*/ 4482 w 49298"/>
                <a:gd name="connsiteY8" fmla="*/ 25097 h 49298"/>
                <a:gd name="connsiteX9" fmla="*/ 24649 w 49298"/>
                <a:gd name="connsiteY9" fmla="*/ 4930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98" h="49298">
                  <a:moveTo>
                    <a:pt x="24649" y="49299"/>
                  </a:moveTo>
                  <a:cubicBezTo>
                    <a:pt x="38094" y="49299"/>
                    <a:pt x="49299" y="38094"/>
                    <a:pt x="49299" y="24649"/>
                  </a:cubicBezTo>
                  <a:cubicBezTo>
                    <a:pt x="49299" y="11204"/>
                    <a:pt x="38094" y="0"/>
                    <a:pt x="24649" y="0"/>
                  </a:cubicBezTo>
                  <a:cubicBezTo>
                    <a:pt x="11204" y="0"/>
                    <a:pt x="0" y="11204"/>
                    <a:pt x="0" y="24649"/>
                  </a:cubicBezTo>
                  <a:cubicBezTo>
                    <a:pt x="0" y="38094"/>
                    <a:pt x="11204" y="49299"/>
                    <a:pt x="24649" y="49299"/>
                  </a:cubicBezTo>
                  <a:close/>
                  <a:moveTo>
                    <a:pt x="24649" y="4930"/>
                  </a:moveTo>
                  <a:cubicBezTo>
                    <a:pt x="35854" y="4930"/>
                    <a:pt x="44817" y="13893"/>
                    <a:pt x="44817" y="25097"/>
                  </a:cubicBezTo>
                  <a:cubicBezTo>
                    <a:pt x="44817" y="36302"/>
                    <a:pt x="35854" y="45265"/>
                    <a:pt x="24649" y="45265"/>
                  </a:cubicBezTo>
                  <a:cubicBezTo>
                    <a:pt x="13445" y="45265"/>
                    <a:pt x="4482" y="36302"/>
                    <a:pt x="4482" y="25097"/>
                  </a:cubicBezTo>
                  <a:cubicBezTo>
                    <a:pt x="4482" y="13893"/>
                    <a:pt x="13445" y="4930"/>
                    <a:pt x="24649" y="4930"/>
                  </a:cubicBezTo>
                  <a:close/>
                </a:path>
              </a:pathLst>
            </a:custGeom>
            <a:solidFill>
              <a:srgbClr val="231F20"/>
            </a:solidFill>
            <a:ln w="4477" cap="flat">
              <a:noFill/>
              <a:prstDash val="solid"/>
              <a:miter/>
            </a:ln>
          </p:spPr>
          <p:txBody>
            <a:bodyPr rtlCol="0" anchor="ctr"/>
            <a:lstStyle/>
            <a:p>
              <a:endParaRPr lang="en-US"/>
            </a:p>
          </p:txBody>
        </p:sp>
      </p:grpSp>
      <p:grpSp>
        <p:nvGrpSpPr>
          <p:cNvPr id="2444" name="Group 2443">
            <a:extLst>
              <a:ext uri="{FF2B5EF4-FFF2-40B4-BE49-F238E27FC236}">
                <a16:creationId xmlns:a16="http://schemas.microsoft.com/office/drawing/2014/main" id="{600E86F4-1763-43B7-819F-7560FD366FA7}"/>
              </a:ext>
              <a:ext uri="{C183D7F6-B498-43B3-948B-1728B52AA6E4}">
                <adec:decorative xmlns:adec="http://schemas.microsoft.com/office/drawing/2017/decorative" val="1"/>
              </a:ext>
            </a:extLst>
          </p:cNvPr>
          <p:cNvGrpSpPr>
            <a:grpSpLocks noChangeAspect="1"/>
          </p:cNvGrpSpPr>
          <p:nvPr/>
        </p:nvGrpSpPr>
        <p:grpSpPr>
          <a:xfrm>
            <a:off x="878752" y="4872761"/>
            <a:ext cx="138933" cy="152826"/>
            <a:chOff x="6753487" y="3855593"/>
            <a:chExt cx="138933" cy="152826"/>
          </a:xfrm>
        </p:grpSpPr>
        <p:sp>
          <p:nvSpPr>
            <p:cNvPr id="2583" name="Freeform: Shape 2582">
              <a:extLst>
                <a:ext uri="{FF2B5EF4-FFF2-40B4-BE49-F238E27FC236}">
                  <a16:creationId xmlns:a16="http://schemas.microsoft.com/office/drawing/2014/main" id="{CF1C3092-E649-4640-ACE7-287FF5684E9B}"/>
                </a:ext>
              </a:extLst>
            </p:cNvPr>
            <p:cNvSpPr/>
            <p:nvPr/>
          </p:nvSpPr>
          <p:spPr>
            <a:xfrm>
              <a:off x="6753487" y="3896376"/>
              <a:ext cx="71707" cy="112043"/>
            </a:xfrm>
            <a:custGeom>
              <a:avLst/>
              <a:gdLst>
                <a:gd name="connsiteX0" fmla="*/ 56021 w 71707"/>
                <a:gd name="connsiteY0" fmla="*/ 0 h 112042"/>
                <a:gd name="connsiteX1" fmla="*/ 15686 w 71707"/>
                <a:gd name="connsiteY1" fmla="*/ 0 h 112042"/>
                <a:gd name="connsiteX2" fmla="*/ 0 w 71707"/>
                <a:gd name="connsiteY2" fmla="*/ 15686 h 112042"/>
                <a:gd name="connsiteX3" fmla="*/ 0 w 71707"/>
                <a:gd name="connsiteY3" fmla="*/ 56469 h 112042"/>
                <a:gd name="connsiteX4" fmla="*/ 6723 w 71707"/>
                <a:gd name="connsiteY4" fmla="*/ 63192 h 112042"/>
                <a:gd name="connsiteX5" fmla="*/ 13445 w 71707"/>
                <a:gd name="connsiteY5" fmla="*/ 63192 h 112042"/>
                <a:gd name="connsiteX6" fmla="*/ 13445 w 71707"/>
                <a:gd name="connsiteY6" fmla="*/ 105320 h 112042"/>
                <a:gd name="connsiteX7" fmla="*/ 20168 w 71707"/>
                <a:gd name="connsiteY7" fmla="*/ 112043 h 112042"/>
                <a:gd name="connsiteX8" fmla="*/ 51540 w 71707"/>
                <a:gd name="connsiteY8" fmla="*/ 112043 h 112042"/>
                <a:gd name="connsiteX9" fmla="*/ 58262 w 71707"/>
                <a:gd name="connsiteY9" fmla="*/ 105320 h 112042"/>
                <a:gd name="connsiteX10" fmla="*/ 58262 w 71707"/>
                <a:gd name="connsiteY10" fmla="*/ 63192 h 112042"/>
                <a:gd name="connsiteX11" fmla="*/ 64985 w 71707"/>
                <a:gd name="connsiteY11" fmla="*/ 63192 h 112042"/>
                <a:gd name="connsiteX12" fmla="*/ 71707 w 71707"/>
                <a:gd name="connsiteY12" fmla="*/ 56469 h 112042"/>
                <a:gd name="connsiteX13" fmla="*/ 71707 w 71707"/>
                <a:gd name="connsiteY13" fmla="*/ 15686 h 112042"/>
                <a:gd name="connsiteX14" fmla="*/ 56021 w 71707"/>
                <a:gd name="connsiteY14" fmla="*/ 0 h 112042"/>
                <a:gd name="connsiteX15" fmla="*/ 67226 w 71707"/>
                <a:gd name="connsiteY15" fmla="*/ 56469 h 112042"/>
                <a:gd name="connsiteX16" fmla="*/ 64985 w 71707"/>
                <a:gd name="connsiteY16" fmla="*/ 58710 h 112042"/>
                <a:gd name="connsiteX17" fmla="*/ 58262 w 71707"/>
                <a:gd name="connsiteY17" fmla="*/ 58710 h 112042"/>
                <a:gd name="connsiteX18" fmla="*/ 58262 w 71707"/>
                <a:gd name="connsiteY18" fmla="*/ 21960 h 112042"/>
                <a:gd name="connsiteX19" fmla="*/ 56021 w 71707"/>
                <a:gd name="connsiteY19" fmla="*/ 19720 h 112042"/>
                <a:gd name="connsiteX20" fmla="*/ 53780 w 71707"/>
                <a:gd name="connsiteY20" fmla="*/ 21960 h 112042"/>
                <a:gd name="connsiteX21" fmla="*/ 53780 w 71707"/>
                <a:gd name="connsiteY21" fmla="*/ 105320 h 112042"/>
                <a:gd name="connsiteX22" fmla="*/ 51540 w 71707"/>
                <a:gd name="connsiteY22" fmla="*/ 107561 h 112042"/>
                <a:gd name="connsiteX23" fmla="*/ 38094 w 71707"/>
                <a:gd name="connsiteY23" fmla="*/ 107561 h 112042"/>
                <a:gd name="connsiteX24" fmla="*/ 38094 w 71707"/>
                <a:gd name="connsiteY24" fmla="*/ 60951 h 112042"/>
                <a:gd name="connsiteX25" fmla="*/ 35854 w 71707"/>
                <a:gd name="connsiteY25" fmla="*/ 58710 h 112042"/>
                <a:gd name="connsiteX26" fmla="*/ 33613 w 71707"/>
                <a:gd name="connsiteY26" fmla="*/ 60951 h 112042"/>
                <a:gd name="connsiteX27" fmla="*/ 33613 w 71707"/>
                <a:gd name="connsiteY27" fmla="*/ 107561 h 112042"/>
                <a:gd name="connsiteX28" fmla="*/ 20168 w 71707"/>
                <a:gd name="connsiteY28" fmla="*/ 107561 h 112042"/>
                <a:gd name="connsiteX29" fmla="*/ 17927 w 71707"/>
                <a:gd name="connsiteY29" fmla="*/ 105320 h 112042"/>
                <a:gd name="connsiteX30" fmla="*/ 17927 w 71707"/>
                <a:gd name="connsiteY30" fmla="*/ 22409 h 112042"/>
                <a:gd name="connsiteX31" fmla="*/ 15686 w 71707"/>
                <a:gd name="connsiteY31" fmla="*/ 20168 h 112042"/>
                <a:gd name="connsiteX32" fmla="*/ 13445 w 71707"/>
                <a:gd name="connsiteY32" fmla="*/ 22409 h 112042"/>
                <a:gd name="connsiteX33" fmla="*/ 13445 w 71707"/>
                <a:gd name="connsiteY33" fmla="*/ 59159 h 112042"/>
                <a:gd name="connsiteX34" fmla="*/ 6723 w 71707"/>
                <a:gd name="connsiteY34" fmla="*/ 59159 h 112042"/>
                <a:gd name="connsiteX35" fmla="*/ 4482 w 71707"/>
                <a:gd name="connsiteY35" fmla="*/ 56918 h 112042"/>
                <a:gd name="connsiteX36" fmla="*/ 4482 w 71707"/>
                <a:gd name="connsiteY36" fmla="*/ 15686 h 112042"/>
                <a:gd name="connsiteX37" fmla="*/ 15686 w 71707"/>
                <a:gd name="connsiteY37" fmla="*/ 4482 h 112042"/>
                <a:gd name="connsiteX38" fmla="*/ 56021 w 71707"/>
                <a:gd name="connsiteY38" fmla="*/ 4482 h 112042"/>
                <a:gd name="connsiteX39" fmla="*/ 67226 w 71707"/>
                <a:gd name="connsiteY39" fmla="*/ 15686 h 112042"/>
                <a:gd name="connsiteX40" fmla="*/ 67226 w 71707"/>
                <a:gd name="connsiteY40" fmla="*/ 56469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07" h="112042">
                  <a:moveTo>
                    <a:pt x="56021" y="0"/>
                  </a:moveTo>
                  <a:lnTo>
                    <a:pt x="15686" y="0"/>
                  </a:lnTo>
                  <a:cubicBezTo>
                    <a:pt x="7171" y="0"/>
                    <a:pt x="0" y="7171"/>
                    <a:pt x="0" y="15686"/>
                  </a:cubicBezTo>
                  <a:lnTo>
                    <a:pt x="0" y="56469"/>
                  </a:lnTo>
                  <a:cubicBezTo>
                    <a:pt x="0" y="60055"/>
                    <a:pt x="3137" y="63192"/>
                    <a:pt x="6723" y="63192"/>
                  </a:cubicBezTo>
                  <a:lnTo>
                    <a:pt x="13445" y="63192"/>
                  </a:lnTo>
                  <a:lnTo>
                    <a:pt x="13445" y="105320"/>
                  </a:lnTo>
                  <a:cubicBezTo>
                    <a:pt x="13445" y="108905"/>
                    <a:pt x="16582" y="112043"/>
                    <a:pt x="20168" y="112043"/>
                  </a:cubicBezTo>
                  <a:lnTo>
                    <a:pt x="51540" y="112043"/>
                  </a:lnTo>
                  <a:cubicBezTo>
                    <a:pt x="55125" y="112043"/>
                    <a:pt x="58262" y="108905"/>
                    <a:pt x="58262" y="105320"/>
                  </a:cubicBezTo>
                  <a:lnTo>
                    <a:pt x="58262" y="63192"/>
                  </a:lnTo>
                  <a:lnTo>
                    <a:pt x="64985" y="63192"/>
                  </a:lnTo>
                  <a:cubicBezTo>
                    <a:pt x="68570" y="63192"/>
                    <a:pt x="71707" y="60055"/>
                    <a:pt x="71707" y="56469"/>
                  </a:cubicBezTo>
                  <a:lnTo>
                    <a:pt x="71707" y="15686"/>
                  </a:lnTo>
                  <a:cubicBezTo>
                    <a:pt x="71707" y="6723"/>
                    <a:pt x="64537" y="0"/>
                    <a:pt x="56021" y="0"/>
                  </a:cubicBezTo>
                  <a:close/>
                  <a:moveTo>
                    <a:pt x="67226" y="56469"/>
                  </a:moveTo>
                  <a:cubicBezTo>
                    <a:pt x="67226" y="57814"/>
                    <a:pt x="66329" y="58710"/>
                    <a:pt x="64985" y="58710"/>
                  </a:cubicBezTo>
                  <a:lnTo>
                    <a:pt x="58262" y="58710"/>
                  </a:lnTo>
                  <a:lnTo>
                    <a:pt x="58262" y="21960"/>
                  </a:lnTo>
                  <a:cubicBezTo>
                    <a:pt x="58262" y="20616"/>
                    <a:pt x="57366" y="19720"/>
                    <a:pt x="56021" y="19720"/>
                  </a:cubicBezTo>
                  <a:cubicBezTo>
                    <a:pt x="54677" y="19720"/>
                    <a:pt x="53780" y="20616"/>
                    <a:pt x="53780" y="21960"/>
                  </a:cubicBezTo>
                  <a:lnTo>
                    <a:pt x="53780" y="105320"/>
                  </a:lnTo>
                  <a:cubicBezTo>
                    <a:pt x="53780" y="106664"/>
                    <a:pt x="52884" y="107561"/>
                    <a:pt x="51540" y="107561"/>
                  </a:cubicBezTo>
                  <a:lnTo>
                    <a:pt x="38094" y="107561"/>
                  </a:lnTo>
                  <a:lnTo>
                    <a:pt x="38094" y="60951"/>
                  </a:lnTo>
                  <a:cubicBezTo>
                    <a:pt x="38094" y="59607"/>
                    <a:pt x="37198" y="58710"/>
                    <a:pt x="35854" y="58710"/>
                  </a:cubicBezTo>
                  <a:cubicBezTo>
                    <a:pt x="34509" y="58710"/>
                    <a:pt x="33613" y="59607"/>
                    <a:pt x="33613" y="60951"/>
                  </a:cubicBezTo>
                  <a:lnTo>
                    <a:pt x="33613" y="107561"/>
                  </a:lnTo>
                  <a:lnTo>
                    <a:pt x="20168" y="107561"/>
                  </a:lnTo>
                  <a:cubicBezTo>
                    <a:pt x="18823" y="107561"/>
                    <a:pt x="17927" y="106664"/>
                    <a:pt x="17927" y="105320"/>
                  </a:cubicBezTo>
                  <a:lnTo>
                    <a:pt x="17927" y="22409"/>
                  </a:lnTo>
                  <a:cubicBezTo>
                    <a:pt x="17927" y="21064"/>
                    <a:pt x="17030" y="20168"/>
                    <a:pt x="15686" y="20168"/>
                  </a:cubicBezTo>
                  <a:cubicBezTo>
                    <a:pt x="14341" y="20168"/>
                    <a:pt x="13445" y="21064"/>
                    <a:pt x="13445" y="22409"/>
                  </a:cubicBezTo>
                  <a:lnTo>
                    <a:pt x="13445" y="59159"/>
                  </a:lnTo>
                  <a:lnTo>
                    <a:pt x="6723" y="59159"/>
                  </a:lnTo>
                  <a:cubicBezTo>
                    <a:pt x="5378" y="59159"/>
                    <a:pt x="4482" y="58262"/>
                    <a:pt x="4482" y="56918"/>
                  </a:cubicBezTo>
                  <a:lnTo>
                    <a:pt x="4482" y="15686"/>
                  </a:lnTo>
                  <a:cubicBezTo>
                    <a:pt x="4482" y="9411"/>
                    <a:pt x="9412" y="4482"/>
                    <a:pt x="15686" y="4482"/>
                  </a:cubicBezTo>
                  <a:lnTo>
                    <a:pt x="56021" y="4482"/>
                  </a:lnTo>
                  <a:cubicBezTo>
                    <a:pt x="62296" y="4482"/>
                    <a:pt x="67226" y="9411"/>
                    <a:pt x="67226" y="15686"/>
                  </a:cubicBezTo>
                  <a:lnTo>
                    <a:pt x="67226" y="56469"/>
                  </a:lnTo>
                  <a:close/>
                </a:path>
              </a:pathLst>
            </a:custGeom>
            <a:solidFill>
              <a:srgbClr val="231F20"/>
            </a:solidFill>
            <a:ln w="4477" cap="flat">
              <a:noFill/>
              <a:prstDash val="solid"/>
              <a:miter/>
            </a:ln>
          </p:spPr>
          <p:txBody>
            <a:bodyPr rtlCol="0" anchor="ctr"/>
            <a:lstStyle/>
            <a:p>
              <a:endParaRPr lang="en-US"/>
            </a:p>
          </p:txBody>
        </p:sp>
        <p:sp>
          <p:nvSpPr>
            <p:cNvPr id="2584" name="Freeform: Shape 2583">
              <a:extLst>
                <a:ext uri="{FF2B5EF4-FFF2-40B4-BE49-F238E27FC236}">
                  <a16:creationId xmlns:a16="http://schemas.microsoft.com/office/drawing/2014/main" id="{F18E25DF-04DD-4885-BA7D-10068DB3FDDE}"/>
                </a:ext>
              </a:extLst>
            </p:cNvPr>
            <p:cNvSpPr/>
            <p:nvPr/>
          </p:nvSpPr>
          <p:spPr>
            <a:xfrm>
              <a:off x="6771862" y="3855593"/>
              <a:ext cx="31372" cy="31372"/>
            </a:xfrm>
            <a:custGeom>
              <a:avLst/>
              <a:gdLst>
                <a:gd name="connsiteX0" fmla="*/ 17479 w 31371"/>
                <a:gd name="connsiteY0" fmla="*/ 34957 h 31371"/>
                <a:gd name="connsiteX1" fmla="*/ 34957 w 31371"/>
                <a:gd name="connsiteY1" fmla="*/ 17478 h 31371"/>
                <a:gd name="connsiteX2" fmla="*/ 17479 w 31371"/>
                <a:gd name="connsiteY2" fmla="*/ 0 h 31371"/>
                <a:gd name="connsiteX3" fmla="*/ 0 w 31371"/>
                <a:gd name="connsiteY3" fmla="*/ 17478 h 31371"/>
                <a:gd name="connsiteX4" fmla="*/ 17479 w 31371"/>
                <a:gd name="connsiteY4" fmla="*/ 34957 h 31371"/>
                <a:gd name="connsiteX5" fmla="*/ 17479 w 31371"/>
                <a:gd name="connsiteY5" fmla="*/ 4930 h 31371"/>
                <a:gd name="connsiteX6" fmla="*/ 30476 w 31371"/>
                <a:gd name="connsiteY6" fmla="*/ 17927 h 31371"/>
                <a:gd name="connsiteX7" fmla="*/ 17479 w 31371"/>
                <a:gd name="connsiteY7" fmla="*/ 30924 h 31371"/>
                <a:gd name="connsiteX8" fmla="*/ 4482 w 31371"/>
                <a:gd name="connsiteY8" fmla="*/ 17927 h 31371"/>
                <a:gd name="connsiteX9" fmla="*/ 17479 w 31371"/>
                <a:gd name="connsiteY9" fmla="*/ 4930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7479" y="34957"/>
                  </a:moveTo>
                  <a:cubicBezTo>
                    <a:pt x="26890" y="34957"/>
                    <a:pt x="34957" y="27338"/>
                    <a:pt x="34957" y="17478"/>
                  </a:cubicBezTo>
                  <a:cubicBezTo>
                    <a:pt x="34957" y="8067"/>
                    <a:pt x="27338" y="0"/>
                    <a:pt x="17479" y="0"/>
                  </a:cubicBezTo>
                  <a:cubicBezTo>
                    <a:pt x="8067" y="0"/>
                    <a:pt x="0" y="7619"/>
                    <a:pt x="0" y="17478"/>
                  </a:cubicBezTo>
                  <a:cubicBezTo>
                    <a:pt x="0" y="27338"/>
                    <a:pt x="8067" y="34957"/>
                    <a:pt x="17479" y="34957"/>
                  </a:cubicBezTo>
                  <a:close/>
                  <a:moveTo>
                    <a:pt x="17479" y="4930"/>
                  </a:moveTo>
                  <a:cubicBezTo>
                    <a:pt x="24649" y="4930"/>
                    <a:pt x="30476" y="10756"/>
                    <a:pt x="30476" y="17927"/>
                  </a:cubicBezTo>
                  <a:cubicBezTo>
                    <a:pt x="30476" y="25097"/>
                    <a:pt x="24649" y="30924"/>
                    <a:pt x="17479" y="30924"/>
                  </a:cubicBezTo>
                  <a:cubicBezTo>
                    <a:pt x="10308" y="30924"/>
                    <a:pt x="4482" y="25097"/>
                    <a:pt x="4482" y="17927"/>
                  </a:cubicBezTo>
                  <a:cubicBezTo>
                    <a:pt x="4482" y="10756"/>
                    <a:pt x="10308" y="4930"/>
                    <a:pt x="17479" y="4930"/>
                  </a:cubicBezTo>
                  <a:close/>
                </a:path>
              </a:pathLst>
            </a:custGeom>
            <a:solidFill>
              <a:srgbClr val="231F20"/>
            </a:solidFill>
            <a:ln w="4477" cap="flat">
              <a:noFill/>
              <a:prstDash val="solid"/>
              <a:miter/>
            </a:ln>
          </p:spPr>
          <p:txBody>
            <a:bodyPr rtlCol="0" anchor="ctr"/>
            <a:lstStyle/>
            <a:p>
              <a:endParaRPr lang="en-US"/>
            </a:p>
          </p:txBody>
        </p:sp>
        <p:sp>
          <p:nvSpPr>
            <p:cNvPr id="2585" name="Freeform: Shape 2584">
              <a:extLst>
                <a:ext uri="{FF2B5EF4-FFF2-40B4-BE49-F238E27FC236}">
                  <a16:creationId xmlns:a16="http://schemas.microsoft.com/office/drawing/2014/main" id="{4FEB3A1E-ABAA-4762-976B-E2543D24032D}"/>
                </a:ext>
              </a:extLst>
            </p:cNvPr>
            <p:cNvSpPr/>
            <p:nvPr/>
          </p:nvSpPr>
          <p:spPr>
            <a:xfrm>
              <a:off x="6820713" y="3856041"/>
              <a:ext cx="71707" cy="53780"/>
            </a:xfrm>
            <a:custGeom>
              <a:avLst/>
              <a:gdLst>
                <a:gd name="connsiteX0" fmla="*/ 60503 w 71707"/>
                <a:gd name="connsiteY0" fmla="*/ 0 h 53780"/>
                <a:gd name="connsiteX1" fmla="*/ 10756 w 71707"/>
                <a:gd name="connsiteY1" fmla="*/ 0 h 53780"/>
                <a:gd name="connsiteX2" fmla="*/ 0 w 71707"/>
                <a:gd name="connsiteY2" fmla="*/ 9860 h 53780"/>
                <a:gd name="connsiteX3" fmla="*/ 0 w 71707"/>
                <a:gd name="connsiteY3" fmla="*/ 34509 h 53780"/>
                <a:gd name="connsiteX4" fmla="*/ 11204 w 71707"/>
                <a:gd name="connsiteY4" fmla="*/ 44817 h 53780"/>
                <a:gd name="connsiteX5" fmla="*/ 14341 w 71707"/>
                <a:gd name="connsiteY5" fmla="*/ 44817 h 53780"/>
                <a:gd name="connsiteX6" fmla="*/ 15686 w 71707"/>
                <a:gd name="connsiteY6" fmla="*/ 46161 h 53780"/>
                <a:gd name="connsiteX7" fmla="*/ 15686 w 71707"/>
                <a:gd name="connsiteY7" fmla="*/ 53780 h 53780"/>
                <a:gd name="connsiteX8" fmla="*/ 34061 w 71707"/>
                <a:gd name="connsiteY8" fmla="*/ 45265 h 53780"/>
                <a:gd name="connsiteX9" fmla="*/ 34509 w 71707"/>
                <a:gd name="connsiteY9" fmla="*/ 45265 h 53780"/>
                <a:gd name="connsiteX10" fmla="*/ 60951 w 71707"/>
                <a:gd name="connsiteY10" fmla="*/ 45265 h 53780"/>
                <a:gd name="connsiteX11" fmla="*/ 72155 w 71707"/>
                <a:gd name="connsiteY11" fmla="*/ 34957 h 53780"/>
                <a:gd name="connsiteX12" fmla="*/ 72155 w 71707"/>
                <a:gd name="connsiteY12" fmla="*/ 10308 h 53780"/>
                <a:gd name="connsiteX13" fmla="*/ 60503 w 71707"/>
                <a:gd name="connsiteY13" fmla="*/ 0 h 53780"/>
                <a:gd name="connsiteX14" fmla="*/ 67226 w 71707"/>
                <a:gd name="connsiteY14" fmla="*/ 34509 h 53780"/>
                <a:gd name="connsiteX15" fmla="*/ 60503 w 71707"/>
                <a:gd name="connsiteY15" fmla="*/ 40335 h 53780"/>
                <a:gd name="connsiteX16" fmla="*/ 34061 w 71707"/>
                <a:gd name="connsiteY16" fmla="*/ 40335 h 53780"/>
                <a:gd name="connsiteX17" fmla="*/ 31372 w 71707"/>
                <a:gd name="connsiteY17" fmla="*/ 40783 h 53780"/>
                <a:gd name="connsiteX18" fmla="*/ 19719 w 71707"/>
                <a:gd name="connsiteY18" fmla="*/ 46610 h 53780"/>
                <a:gd name="connsiteX19" fmla="*/ 19719 w 71707"/>
                <a:gd name="connsiteY19" fmla="*/ 46161 h 53780"/>
                <a:gd name="connsiteX20" fmla="*/ 13893 w 71707"/>
                <a:gd name="connsiteY20" fmla="*/ 40335 h 53780"/>
                <a:gd name="connsiteX21" fmla="*/ 10756 w 71707"/>
                <a:gd name="connsiteY21" fmla="*/ 40335 h 53780"/>
                <a:gd name="connsiteX22" fmla="*/ 4034 w 71707"/>
                <a:gd name="connsiteY22" fmla="*/ 34509 h 53780"/>
                <a:gd name="connsiteX23" fmla="*/ 4034 w 71707"/>
                <a:gd name="connsiteY23" fmla="*/ 9860 h 53780"/>
                <a:gd name="connsiteX24" fmla="*/ 10308 w 71707"/>
                <a:gd name="connsiteY24" fmla="*/ 4482 h 53780"/>
                <a:gd name="connsiteX25" fmla="*/ 60055 w 71707"/>
                <a:gd name="connsiteY25" fmla="*/ 4482 h 53780"/>
                <a:gd name="connsiteX26" fmla="*/ 66777 w 71707"/>
                <a:gd name="connsiteY26" fmla="*/ 9860 h 53780"/>
                <a:gd name="connsiteX27" fmla="*/ 66777 w 71707"/>
                <a:gd name="connsiteY27" fmla="*/ 34509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707" h="53780">
                  <a:moveTo>
                    <a:pt x="60503" y="0"/>
                  </a:moveTo>
                  <a:lnTo>
                    <a:pt x="10756" y="0"/>
                  </a:lnTo>
                  <a:cubicBezTo>
                    <a:pt x="4930" y="0"/>
                    <a:pt x="0" y="4482"/>
                    <a:pt x="0" y="9860"/>
                  </a:cubicBezTo>
                  <a:lnTo>
                    <a:pt x="0" y="34509"/>
                  </a:lnTo>
                  <a:cubicBezTo>
                    <a:pt x="0" y="39887"/>
                    <a:pt x="4930" y="44817"/>
                    <a:pt x="11204" y="44817"/>
                  </a:cubicBezTo>
                  <a:lnTo>
                    <a:pt x="14341" y="44817"/>
                  </a:lnTo>
                  <a:cubicBezTo>
                    <a:pt x="15238" y="44817"/>
                    <a:pt x="15686" y="45265"/>
                    <a:pt x="15686" y="46161"/>
                  </a:cubicBezTo>
                  <a:lnTo>
                    <a:pt x="15686" y="53780"/>
                  </a:lnTo>
                  <a:lnTo>
                    <a:pt x="34061" y="45265"/>
                  </a:lnTo>
                  <a:cubicBezTo>
                    <a:pt x="34061" y="45265"/>
                    <a:pt x="34509" y="45265"/>
                    <a:pt x="34509" y="45265"/>
                  </a:cubicBezTo>
                  <a:lnTo>
                    <a:pt x="60951" y="45265"/>
                  </a:lnTo>
                  <a:cubicBezTo>
                    <a:pt x="67226" y="45265"/>
                    <a:pt x="72155" y="40783"/>
                    <a:pt x="72155" y="34957"/>
                  </a:cubicBezTo>
                  <a:lnTo>
                    <a:pt x="72155" y="10308"/>
                  </a:lnTo>
                  <a:cubicBezTo>
                    <a:pt x="71707" y="4482"/>
                    <a:pt x="66777" y="0"/>
                    <a:pt x="60503" y="0"/>
                  </a:cubicBezTo>
                  <a:close/>
                  <a:moveTo>
                    <a:pt x="67226" y="34509"/>
                  </a:moveTo>
                  <a:cubicBezTo>
                    <a:pt x="67226" y="37646"/>
                    <a:pt x="64088" y="40335"/>
                    <a:pt x="60503" y="40335"/>
                  </a:cubicBezTo>
                  <a:lnTo>
                    <a:pt x="34061" y="40335"/>
                  </a:lnTo>
                  <a:cubicBezTo>
                    <a:pt x="33165" y="40335"/>
                    <a:pt x="32268" y="40335"/>
                    <a:pt x="31372" y="40783"/>
                  </a:cubicBezTo>
                  <a:lnTo>
                    <a:pt x="19719" y="46610"/>
                  </a:lnTo>
                  <a:lnTo>
                    <a:pt x="19719" y="46161"/>
                  </a:lnTo>
                  <a:cubicBezTo>
                    <a:pt x="19719" y="43024"/>
                    <a:pt x="17030" y="40335"/>
                    <a:pt x="13893" y="40335"/>
                  </a:cubicBezTo>
                  <a:lnTo>
                    <a:pt x="10756" y="40335"/>
                  </a:lnTo>
                  <a:cubicBezTo>
                    <a:pt x="7171" y="40335"/>
                    <a:pt x="4034" y="37646"/>
                    <a:pt x="4034" y="34509"/>
                  </a:cubicBezTo>
                  <a:lnTo>
                    <a:pt x="4034" y="9860"/>
                  </a:lnTo>
                  <a:cubicBezTo>
                    <a:pt x="4034" y="6723"/>
                    <a:pt x="6723" y="4482"/>
                    <a:pt x="10308" y="4482"/>
                  </a:cubicBezTo>
                  <a:lnTo>
                    <a:pt x="60055" y="4482"/>
                  </a:lnTo>
                  <a:cubicBezTo>
                    <a:pt x="63640" y="4482"/>
                    <a:pt x="66777" y="7171"/>
                    <a:pt x="66777" y="9860"/>
                  </a:cubicBezTo>
                  <a:lnTo>
                    <a:pt x="66777" y="34509"/>
                  </a:lnTo>
                  <a:close/>
                </a:path>
              </a:pathLst>
            </a:custGeom>
            <a:solidFill>
              <a:srgbClr val="231F20"/>
            </a:solidFill>
            <a:ln w="4477" cap="flat">
              <a:noFill/>
              <a:prstDash val="solid"/>
              <a:miter/>
            </a:ln>
          </p:spPr>
          <p:txBody>
            <a:bodyPr rtlCol="0" anchor="ctr"/>
            <a:lstStyle/>
            <a:p>
              <a:endParaRPr lang="en-US"/>
            </a:p>
          </p:txBody>
        </p:sp>
        <p:sp>
          <p:nvSpPr>
            <p:cNvPr id="2586" name="Freeform: Shape 2585">
              <a:extLst>
                <a:ext uri="{FF2B5EF4-FFF2-40B4-BE49-F238E27FC236}">
                  <a16:creationId xmlns:a16="http://schemas.microsoft.com/office/drawing/2014/main" id="{F43BC484-5440-4806-9E13-1D57511D35E4}"/>
                </a:ext>
              </a:extLst>
            </p:cNvPr>
            <p:cNvSpPr/>
            <p:nvPr/>
          </p:nvSpPr>
          <p:spPr>
            <a:xfrm>
              <a:off x="6834158" y="3869486"/>
              <a:ext cx="44817" cy="4482"/>
            </a:xfrm>
            <a:custGeom>
              <a:avLst/>
              <a:gdLst>
                <a:gd name="connsiteX0" fmla="*/ 42576 w 44817"/>
                <a:gd name="connsiteY0" fmla="*/ 0 h 4481"/>
                <a:gd name="connsiteX1" fmla="*/ 2241 w 44817"/>
                <a:gd name="connsiteY1" fmla="*/ 0 h 4481"/>
                <a:gd name="connsiteX2" fmla="*/ 0 w 44817"/>
                <a:gd name="connsiteY2" fmla="*/ 2241 h 4481"/>
                <a:gd name="connsiteX3" fmla="*/ 2241 w 44817"/>
                <a:gd name="connsiteY3" fmla="*/ 4482 h 4481"/>
                <a:gd name="connsiteX4" fmla="*/ 42576 w 44817"/>
                <a:gd name="connsiteY4" fmla="*/ 4482 h 4481"/>
                <a:gd name="connsiteX5" fmla="*/ 44817 w 44817"/>
                <a:gd name="connsiteY5" fmla="*/ 2241 h 4481"/>
                <a:gd name="connsiteX6" fmla="*/ 42576 w 44817"/>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7" h="4481">
                  <a:moveTo>
                    <a:pt x="42576" y="0"/>
                  </a:moveTo>
                  <a:lnTo>
                    <a:pt x="2241" y="0"/>
                  </a:lnTo>
                  <a:cubicBezTo>
                    <a:pt x="896" y="0"/>
                    <a:pt x="0" y="896"/>
                    <a:pt x="0" y="2241"/>
                  </a:cubicBezTo>
                  <a:cubicBezTo>
                    <a:pt x="0" y="3585"/>
                    <a:pt x="896" y="4482"/>
                    <a:pt x="2241" y="4482"/>
                  </a:cubicBezTo>
                  <a:lnTo>
                    <a:pt x="42576" y="4482"/>
                  </a:lnTo>
                  <a:cubicBezTo>
                    <a:pt x="43921" y="4482"/>
                    <a:pt x="44817" y="3585"/>
                    <a:pt x="44817" y="2241"/>
                  </a:cubicBezTo>
                  <a:cubicBezTo>
                    <a:pt x="44817" y="896"/>
                    <a:pt x="43921" y="0"/>
                    <a:pt x="42576" y="0"/>
                  </a:cubicBezTo>
                  <a:close/>
                </a:path>
              </a:pathLst>
            </a:custGeom>
            <a:solidFill>
              <a:srgbClr val="231F20"/>
            </a:solidFill>
            <a:ln w="4477" cap="flat">
              <a:noFill/>
              <a:prstDash val="solid"/>
              <a:miter/>
            </a:ln>
          </p:spPr>
          <p:txBody>
            <a:bodyPr rtlCol="0" anchor="ctr"/>
            <a:lstStyle/>
            <a:p>
              <a:endParaRPr lang="en-US"/>
            </a:p>
          </p:txBody>
        </p:sp>
        <p:sp>
          <p:nvSpPr>
            <p:cNvPr id="2587" name="Freeform: Shape 2586">
              <a:extLst>
                <a:ext uri="{FF2B5EF4-FFF2-40B4-BE49-F238E27FC236}">
                  <a16:creationId xmlns:a16="http://schemas.microsoft.com/office/drawing/2014/main" id="{B75AC42C-0DD6-46DB-A106-B77C10A89A33}"/>
                </a:ext>
              </a:extLst>
            </p:cNvPr>
            <p:cNvSpPr/>
            <p:nvPr/>
          </p:nvSpPr>
          <p:spPr>
            <a:xfrm>
              <a:off x="6834158" y="3882931"/>
              <a:ext cx="31372" cy="4482"/>
            </a:xfrm>
            <a:custGeom>
              <a:avLst/>
              <a:gdLst>
                <a:gd name="connsiteX0" fmla="*/ 29131 w 31371"/>
                <a:gd name="connsiteY0" fmla="*/ 0 h 4481"/>
                <a:gd name="connsiteX1" fmla="*/ 2241 w 31371"/>
                <a:gd name="connsiteY1" fmla="*/ 0 h 4481"/>
                <a:gd name="connsiteX2" fmla="*/ 0 w 31371"/>
                <a:gd name="connsiteY2" fmla="*/ 2241 h 4481"/>
                <a:gd name="connsiteX3" fmla="*/ 2241 w 31371"/>
                <a:gd name="connsiteY3" fmla="*/ 4482 h 4481"/>
                <a:gd name="connsiteX4" fmla="*/ 29131 w 31371"/>
                <a:gd name="connsiteY4" fmla="*/ 4482 h 4481"/>
                <a:gd name="connsiteX5" fmla="*/ 31372 w 31371"/>
                <a:gd name="connsiteY5" fmla="*/ 2241 h 4481"/>
                <a:gd name="connsiteX6" fmla="*/ 29131 w 31371"/>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1" h="4481">
                  <a:moveTo>
                    <a:pt x="29131" y="0"/>
                  </a:moveTo>
                  <a:lnTo>
                    <a:pt x="2241" y="0"/>
                  </a:lnTo>
                  <a:cubicBezTo>
                    <a:pt x="896" y="0"/>
                    <a:pt x="0" y="896"/>
                    <a:pt x="0" y="2241"/>
                  </a:cubicBezTo>
                  <a:cubicBezTo>
                    <a:pt x="0" y="3585"/>
                    <a:pt x="896" y="4482"/>
                    <a:pt x="2241" y="4482"/>
                  </a:cubicBezTo>
                  <a:lnTo>
                    <a:pt x="29131" y="4482"/>
                  </a:lnTo>
                  <a:cubicBezTo>
                    <a:pt x="30476" y="4482"/>
                    <a:pt x="31372" y="3585"/>
                    <a:pt x="31372" y="2241"/>
                  </a:cubicBezTo>
                  <a:cubicBezTo>
                    <a:pt x="31372" y="896"/>
                    <a:pt x="30476" y="0"/>
                    <a:pt x="29131" y="0"/>
                  </a:cubicBezTo>
                  <a:close/>
                </a:path>
              </a:pathLst>
            </a:custGeom>
            <a:solidFill>
              <a:srgbClr val="231F20"/>
            </a:solidFill>
            <a:ln w="4477" cap="flat">
              <a:noFill/>
              <a:prstDash val="solid"/>
              <a:miter/>
            </a:ln>
          </p:spPr>
          <p:txBody>
            <a:bodyPr rtlCol="0" anchor="ctr"/>
            <a:lstStyle/>
            <a:p>
              <a:endParaRPr lang="en-US"/>
            </a:p>
          </p:txBody>
        </p:sp>
      </p:grpSp>
      <p:grpSp>
        <p:nvGrpSpPr>
          <p:cNvPr id="2445" name="Group 2444">
            <a:extLst>
              <a:ext uri="{FF2B5EF4-FFF2-40B4-BE49-F238E27FC236}">
                <a16:creationId xmlns:a16="http://schemas.microsoft.com/office/drawing/2014/main" id="{AF6846CF-A6D6-4FF8-9E58-40FBECD7CDE8}"/>
              </a:ext>
              <a:ext uri="{C183D7F6-B498-43B3-948B-1728B52AA6E4}">
                <adec:decorative xmlns:adec="http://schemas.microsoft.com/office/drawing/2017/decorative" val="1"/>
              </a:ext>
            </a:extLst>
          </p:cNvPr>
          <p:cNvGrpSpPr>
            <a:grpSpLocks noChangeAspect="1"/>
          </p:cNvGrpSpPr>
          <p:nvPr/>
        </p:nvGrpSpPr>
        <p:grpSpPr>
          <a:xfrm>
            <a:off x="1136450" y="4872313"/>
            <a:ext cx="152378" cy="152657"/>
            <a:chOff x="7011185" y="3855145"/>
            <a:chExt cx="152378" cy="152657"/>
          </a:xfrm>
        </p:grpSpPr>
        <p:sp>
          <p:nvSpPr>
            <p:cNvPr id="2577" name="Freeform: Shape 2576">
              <a:extLst>
                <a:ext uri="{FF2B5EF4-FFF2-40B4-BE49-F238E27FC236}">
                  <a16:creationId xmlns:a16="http://schemas.microsoft.com/office/drawing/2014/main" id="{3240D82E-21F3-4704-AAEA-44BE0375F4D3}"/>
                </a:ext>
              </a:extLst>
            </p:cNvPr>
            <p:cNvSpPr/>
            <p:nvPr/>
          </p:nvSpPr>
          <p:spPr>
            <a:xfrm>
              <a:off x="7065061" y="3855145"/>
              <a:ext cx="40335" cy="49299"/>
            </a:xfrm>
            <a:custGeom>
              <a:avLst/>
              <a:gdLst>
                <a:gd name="connsiteX0" fmla="*/ 5282 w 40335"/>
                <a:gd name="connsiteY0" fmla="*/ 52436 h 49298"/>
                <a:gd name="connsiteX1" fmla="*/ 37999 w 40335"/>
                <a:gd name="connsiteY1" fmla="*/ 52436 h 49298"/>
                <a:gd name="connsiteX2" fmla="*/ 44273 w 40335"/>
                <a:gd name="connsiteY2" fmla="*/ 46161 h 49298"/>
                <a:gd name="connsiteX3" fmla="*/ 44273 w 40335"/>
                <a:gd name="connsiteY3" fmla="*/ 39439 h 49298"/>
                <a:gd name="connsiteX4" fmla="*/ 29483 w 40335"/>
                <a:gd name="connsiteY4" fmla="*/ 24649 h 49298"/>
                <a:gd name="connsiteX5" fmla="*/ 25450 w 40335"/>
                <a:gd name="connsiteY5" fmla="*/ 24649 h 49298"/>
                <a:gd name="connsiteX6" fmla="*/ 34861 w 40335"/>
                <a:gd name="connsiteY6" fmla="*/ 12549 h 49298"/>
                <a:gd name="connsiteX7" fmla="*/ 22313 w 40335"/>
                <a:gd name="connsiteY7" fmla="*/ 0 h 49298"/>
                <a:gd name="connsiteX8" fmla="*/ 9764 w 40335"/>
                <a:gd name="connsiteY8" fmla="*/ 12549 h 49298"/>
                <a:gd name="connsiteX9" fmla="*/ 19175 w 40335"/>
                <a:gd name="connsiteY9" fmla="*/ 24649 h 49298"/>
                <a:gd name="connsiteX10" fmla="*/ 15142 w 40335"/>
                <a:gd name="connsiteY10" fmla="*/ 24649 h 49298"/>
                <a:gd name="connsiteX11" fmla="*/ 352 w 40335"/>
                <a:gd name="connsiteY11" fmla="*/ 39439 h 49298"/>
                <a:gd name="connsiteX12" fmla="*/ 352 w 40335"/>
                <a:gd name="connsiteY12" fmla="*/ 46161 h 49298"/>
                <a:gd name="connsiteX13" fmla="*/ 5282 w 40335"/>
                <a:gd name="connsiteY13" fmla="*/ 52436 h 49298"/>
                <a:gd name="connsiteX14" fmla="*/ 13349 w 40335"/>
                <a:gd name="connsiteY14" fmla="*/ 12549 h 49298"/>
                <a:gd name="connsiteX15" fmla="*/ 21416 w 40335"/>
                <a:gd name="connsiteY15" fmla="*/ 4482 h 49298"/>
                <a:gd name="connsiteX16" fmla="*/ 29483 w 40335"/>
                <a:gd name="connsiteY16" fmla="*/ 12549 h 49298"/>
                <a:gd name="connsiteX17" fmla="*/ 21416 w 40335"/>
                <a:gd name="connsiteY17" fmla="*/ 20616 h 49298"/>
                <a:gd name="connsiteX18" fmla="*/ 13349 w 40335"/>
                <a:gd name="connsiteY18" fmla="*/ 12549 h 49298"/>
                <a:gd name="connsiteX19" fmla="*/ 3489 w 40335"/>
                <a:gd name="connsiteY19" fmla="*/ 39439 h 49298"/>
                <a:gd name="connsiteX20" fmla="*/ 13797 w 40335"/>
                <a:gd name="connsiteY20" fmla="*/ 29131 h 49298"/>
                <a:gd name="connsiteX21" fmla="*/ 28587 w 40335"/>
                <a:gd name="connsiteY21" fmla="*/ 29131 h 49298"/>
                <a:gd name="connsiteX22" fmla="*/ 38895 w 40335"/>
                <a:gd name="connsiteY22" fmla="*/ 39439 h 49298"/>
                <a:gd name="connsiteX23" fmla="*/ 38895 w 40335"/>
                <a:gd name="connsiteY23" fmla="*/ 46161 h 49298"/>
                <a:gd name="connsiteX24" fmla="*/ 37102 w 40335"/>
                <a:gd name="connsiteY24" fmla="*/ 47954 h 49298"/>
                <a:gd name="connsiteX25" fmla="*/ 4386 w 40335"/>
                <a:gd name="connsiteY25" fmla="*/ 47954 h 49298"/>
                <a:gd name="connsiteX26" fmla="*/ 2593 w 40335"/>
                <a:gd name="connsiteY26" fmla="*/ 46161 h 49298"/>
                <a:gd name="connsiteX27" fmla="*/ 2593 w 40335"/>
                <a:gd name="connsiteY27" fmla="*/ 39439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0335" h="49298">
                  <a:moveTo>
                    <a:pt x="5282" y="52436"/>
                  </a:moveTo>
                  <a:lnTo>
                    <a:pt x="37999" y="52436"/>
                  </a:lnTo>
                  <a:cubicBezTo>
                    <a:pt x="41136" y="52436"/>
                    <a:pt x="44273" y="49747"/>
                    <a:pt x="44273" y="46161"/>
                  </a:cubicBezTo>
                  <a:lnTo>
                    <a:pt x="44273" y="39439"/>
                  </a:lnTo>
                  <a:cubicBezTo>
                    <a:pt x="44273" y="31372"/>
                    <a:pt x="37550" y="24649"/>
                    <a:pt x="29483" y="24649"/>
                  </a:cubicBezTo>
                  <a:lnTo>
                    <a:pt x="25450" y="24649"/>
                  </a:lnTo>
                  <a:cubicBezTo>
                    <a:pt x="30828" y="23305"/>
                    <a:pt x="34861" y="18375"/>
                    <a:pt x="34861" y="12549"/>
                  </a:cubicBezTo>
                  <a:cubicBezTo>
                    <a:pt x="34861" y="5378"/>
                    <a:pt x="29035" y="0"/>
                    <a:pt x="22313" y="0"/>
                  </a:cubicBezTo>
                  <a:cubicBezTo>
                    <a:pt x="15590" y="0"/>
                    <a:pt x="9764" y="5826"/>
                    <a:pt x="9764" y="12549"/>
                  </a:cubicBezTo>
                  <a:cubicBezTo>
                    <a:pt x="9764" y="18375"/>
                    <a:pt x="13797" y="23305"/>
                    <a:pt x="19175" y="24649"/>
                  </a:cubicBezTo>
                  <a:lnTo>
                    <a:pt x="15142" y="24649"/>
                  </a:lnTo>
                  <a:cubicBezTo>
                    <a:pt x="7075" y="24649"/>
                    <a:pt x="352" y="31372"/>
                    <a:pt x="352" y="39439"/>
                  </a:cubicBezTo>
                  <a:lnTo>
                    <a:pt x="352" y="46161"/>
                  </a:lnTo>
                  <a:cubicBezTo>
                    <a:pt x="-992" y="49747"/>
                    <a:pt x="1697" y="52436"/>
                    <a:pt x="5282" y="52436"/>
                  </a:cubicBezTo>
                  <a:close/>
                  <a:moveTo>
                    <a:pt x="13349" y="12549"/>
                  </a:moveTo>
                  <a:cubicBezTo>
                    <a:pt x="13349" y="8067"/>
                    <a:pt x="16935" y="4482"/>
                    <a:pt x="21416" y="4482"/>
                  </a:cubicBezTo>
                  <a:cubicBezTo>
                    <a:pt x="25898" y="4482"/>
                    <a:pt x="29483" y="8067"/>
                    <a:pt x="29483" y="12549"/>
                  </a:cubicBezTo>
                  <a:cubicBezTo>
                    <a:pt x="29483" y="17030"/>
                    <a:pt x="25898" y="20616"/>
                    <a:pt x="21416" y="20616"/>
                  </a:cubicBezTo>
                  <a:cubicBezTo>
                    <a:pt x="16935" y="20616"/>
                    <a:pt x="13349" y="17030"/>
                    <a:pt x="13349" y="12549"/>
                  </a:cubicBezTo>
                  <a:close/>
                  <a:moveTo>
                    <a:pt x="3489" y="39439"/>
                  </a:moveTo>
                  <a:cubicBezTo>
                    <a:pt x="3489" y="33613"/>
                    <a:pt x="7971" y="29131"/>
                    <a:pt x="13797" y="29131"/>
                  </a:cubicBezTo>
                  <a:lnTo>
                    <a:pt x="28587" y="29131"/>
                  </a:lnTo>
                  <a:cubicBezTo>
                    <a:pt x="34413" y="29131"/>
                    <a:pt x="38895" y="33613"/>
                    <a:pt x="38895" y="39439"/>
                  </a:cubicBezTo>
                  <a:lnTo>
                    <a:pt x="38895" y="46161"/>
                  </a:lnTo>
                  <a:cubicBezTo>
                    <a:pt x="38895" y="47058"/>
                    <a:pt x="37999" y="47954"/>
                    <a:pt x="37102" y="47954"/>
                  </a:cubicBezTo>
                  <a:lnTo>
                    <a:pt x="4386" y="47954"/>
                  </a:lnTo>
                  <a:cubicBezTo>
                    <a:pt x="3489" y="47954"/>
                    <a:pt x="2593" y="47058"/>
                    <a:pt x="2593" y="46161"/>
                  </a:cubicBezTo>
                  <a:lnTo>
                    <a:pt x="2593" y="39439"/>
                  </a:lnTo>
                  <a:close/>
                </a:path>
              </a:pathLst>
            </a:custGeom>
            <a:solidFill>
              <a:srgbClr val="231F20"/>
            </a:solidFill>
            <a:ln w="4477" cap="flat">
              <a:noFill/>
              <a:prstDash val="solid"/>
              <a:miter/>
            </a:ln>
          </p:spPr>
          <p:txBody>
            <a:bodyPr rtlCol="0" anchor="ctr"/>
            <a:lstStyle/>
            <a:p>
              <a:endParaRPr lang="en-US"/>
            </a:p>
          </p:txBody>
        </p:sp>
        <p:sp>
          <p:nvSpPr>
            <p:cNvPr id="2578" name="Freeform: Shape 2577">
              <a:extLst>
                <a:ext uri="{FF2B5EF4-FFF2-40B4-BE49-F238E27FC236}">
                  <a16:creationId xmlns:a16="http://schemas.microsoft.com/office/drawing/2014/main" id="{F70EF706-AE36-45B7-A042-1852F423737D}"/>
                </a:ext>
              </a:extLst>
            </p:cNvPr>
            <p:cNvSpPr/>
            <p:nvPr/>
          </p:nvSpPr>
          <p:spPr>
            <a:xfrm>
              <a:off x="7118746" y="3942538"/>
              <a:ext cx="44817" cy="49299"/>
            </a:xfrm>
            <a:custGeom>
              <a:avLst/>
              <a:gdLst>
                <a:gd name="connsiteX0" fmla="*/ 29131 w 44817"/>
                <a:gd name="connsiteY0" fmla="*/ 24649 h 49298"/>
                <a:gd name="connsiteX1" fmla="*/ 25097 w 44817"/>
                <a:gd name="connsiteY1" fmla="*/ 24649 h 49298"/>
                <a:gd name="connsiteX2" fmla="*/ 34509 w 44817"/>
                <a:gd name="connsiteY2" fmla="*/ 12549 h 49298"/>
                <a:gd name="connsiteX3" fmla="*/ 21960 w 44817"/>
                <a:gd name="connsiteY3" fmla="*/ 0 h 49298"/>
                <a:gd name="connsiteX4" fmla="*/ 9412 w 44817"/>
                <a:gd name="connsiteY4" fmla="*/ 12549 h 49298"/>
                <a:gd name="connsiteX5" fmla="*/ 18823 w 44817"/>
                <a:gd name="connsiteY5" fmla="*/ 24649 h 49298"/>
                <a:gd name="connsiteX6" fmla="*/ 14790 w 44817"/>
                <a:gd name="connsiteY6" fmla="*/ 24649 h 49298"/>
                <a:gd name="connsiteX7" fmla="*/ 0 w 44817"/>
                <a:gd name="connsiteY7" fmla="*/ 39439 h 49298"/>
                <a:gd name="connsiteX8" fmla="*/ 0 w 44817"/>
                <a:gd name="connsiteY8" fmla="*/ 46161 h 49298"/>
                <a:gd name="connsiteX9" fmla="*/ 6274 w 44817"/>
                <a:gd name="connsiteY9" fmla="*/ 52436 h 49298"/>
                <a:gd name="connsiteX10" fmla="*/ 38991 w 44817"/>
                <a:gd name="connsiteY10" fmla="*/ 52436 h 49298"/>
                <a:gd name="connsiteX11" fmla="*/ 45265 w 44817"/>
                <a:gd name="connsiteY11" fmla="*/ 46161 h 49298"/>
                <a:gd name="connsiteX12" fmla="*/ 45265 w 44817"/>
                <a:gd name="connsiteY12" fmla="*/ 39439 h 49298"/>
                <a:gd name="connsiteX13" fmla="*/ 29131 w 44817"/>
                <a:gd name="connsiteY13" fmla="*/ 24649 h 49298"/>
                <a:gd name="connsiteX14" fmla="*/ 13445 w 44817"/>
                <a:gd name="connsiteY14" fmla="*/ 12549 h 49298"/>
                <a:gd name="connsiteX15" fmla="*/ 21512 w 44817"/>
                <a:gd name="connsiteY15" fmla="*/ 4482 h 49298"/>
                <a:gd name="connsiteX16" fmla="*/ 29579 w 44817"/>
                <a:gd name="connsiteY16" fmla="*/ 12549 h 49298"/>
                <a:gd name="connsiteX17" fmla="*/ 21512 w 44817"/>
                <a:gd name="connsiteY17" fmla="*/ 20616 h 49298"/>
                <a:gd name="connsiteX18" fmla="*/ 13445 w 44817"/>
                <a:gd name="connsiteY18" fmla="*/ 12549 h 49298"/>
                <a:gd name="connsiteX19" fmla="*/ 39439 w 44817"/>
                <a:gd name="connsiteY19" fmla="*/ 46161 h 49298"/>
                <a:gd name="connsiteX20" fmla="*/ 37646 w 44817"/>
                <a:gd name="connsiteY20" fmla="*/ 47954 h 49298"/>
                <a:gd name="connsiteX21" fmla="*/ 4930 w 44817"/>
                <a:gd name="connsiteY21" fmla="*/ 47954 h 49298"/>
                <a:gd name="connsiteX22" fmla="*/ 3137 w 44817"/>
                <a:gd name="connsiteY22" fmla="*/ 46161 h 49298"/>
                <a:gd name="connsiteX23" fmla="*/ 3137 w 44817"/>
                <a:gd name="connsiteY23" fmla="*/ 39439 h 49298"/>
                <a:gd name="connsiteX24" fmla="*/ 13445 w 44817"/>
                <a:gd name="connsiteY24" fmla="*/ 29131 h 49298"/>
                <a:gd name="connsiteX25" fmla="*/ 28235 w 44817"/>
                <a:gd name="connsiteY25" fmla="*/ 29131 h 49298"/>
                <a:gd name="connsiteX26" fmla="*/ 38543 w 44817"/>
                <a:gd name="connsiteY26" fmla="*/ 39439 h 49298"/>
                <a:gd name="connsiteX27" fmla="*/ 38543 w 44817"/>
                <a:gd name="connsiteY27" fmla="*/ 46161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817" h="49298">
                  <a:moveTo>
                    <a:pt x="29131" y="24649"/>
                  </a:moveTo>
                  <a:lnTo>
                    <a:pt x="25097" y="24649"/>
                  </a:lnTo>
                  <a:cubicBezTo>
                    <a:pt x="30476" y="23305"/>
                    <a:pt x="34509" y="18375"/>
                    <a:pt x="34509" y="12549"/>
                  </a:cubicBezTo>
                  <a:cubicBezTo>
                    <a:pt x="34509" y="5378"/>
                    <a:pt x="28683" y="0"/>
                    <a:pt x="21960" y="0"/>
                  </a:cubicBezTo>
                  <a:cubicBezTo>
                    <a:pt x="15238" y="0"/>
                    <a:pt x="9412" y="5826"/>
                    <a:pt x="9412" y="12549"/>
                  </a:cubicBezTo>
                  <a:cubicBezTo>
                    <a:pt x="9412" y="18375"/>
                    <a:pt x="13445" y="23305"/>
                    <a:pt x="18823" y="24649"/>
                  </a:cubicBezTo>
                  <a:lnTo>
                    <a:pt x="14790" y="24649"/>
                  </a:lnTo>
                  <a:cubicBezTo>
                    <a:pt x="6723" y="24649"/>
                    <a:pt x="0" y="31372"/>
                    <a:pt x="0" y="39439"/>
                  </a:cubicBezTo>
                  <a:lnTo>
                    <a:pt x="0" y="46161"/>
                  </a:lnTo>
                  <a:cubicBezTo>
                    <a:pt x="0" y="49299"/>
                    <a:pt x="2689" y="52436"/>
                    <a:pt x="6274" y="52436"/>
                  </a:cubicBezTo>
                  <a:lnTo>
                    <a:pt x="38991" y="52436"/>
                  </a:lnTo>
                  <a:cubicBezTo>
                    <a:pt x="42128" y="52436"/>
                    <a:pt x="45265" y="49747"/>
                    <a:pt x="45265" y="46161"/>
                  </a:cubicBezTo>
                  <a:lnTo>
                    <a:pt x="45265" y="39439"/>
                  </a:lnTo>
                  <a:cubicBezTo>
                    <a:pt x="43921" y="31372"/>
                    <a:pt x="37198" y="24649"/>
                    <a:pt x="29131" y="24649"/>
                  </a:cubicBezTo>
                  <a:close/>
                  <a:moveTo>
                    <a:pt x="13445" y="12549"/>
                  </a:moveTo>
                  <a:cubicBezTo>
                    <a:pt x="13445" y="8067"/>
                    <a:pt x="17030" y="4482"/>
                    <a:pt x="21512" y="4482"/>
                  </a:cubicBezTo>
                  <a:cubicBezTo>
                    <a:pt x="25994" y="4482"/>
                    <a:pt x="29579" y="8067"/>
                    <a:pt x="29579" y="12549"/>
                  </a:cubicBezTo>
                  <a:cubicBezTo>
                    <a:pt x="29579" y="17030"/>
                    <a:pt x="25994" y="20616"/>
                    <a:pt x="21512" y="20616"/>
                  </a:cubicBezTo>
                  <a:cubicBezTo>
                    <a:pt x="17030" y="20616"/>
                    <a:pt x="13445" y="17030"/>
                    <a:pt x="13445" y="12549"/>
                  </a:cubicBezTo>
                  <a:close/>
                  <a:moveTo>
                    <a:pt x="39439" y="46161"/>
                  </a:moveTo>
                  <a:cubicBezTo>
                    <a:pt x="39439" y="47058"/>
                    <a:pt x="38543" y="47954"/>
                    <a:pt x="37646" y="47954"/>
                  </a:cubicBezTo>
                  <a:lnTo>
                    <a:pt x="4930" y="47954"/>
                  </a:lnTo>
                  <a:cubicBezTo>
                    <a:pt x="4034" y="47954"/>
                    <a:pt x="3137" y="47058"/>
                    <a:pt x="3137" y="46161"/>
                  </a:cubicBezTo>
                  <a:lnTo>
                    <a:pt x="3137" y="39439"/>
                  </a:lnTo>
                  <a:cubicBezTo>
                    <a:pt x="3137" y="33613"/>
                    <a:pt x="7619" y="29131"/>
                    <a:pt x="13445" y="29131"/>
                  </a:cubicBezTo>
                  <a:lnTo>
                    <a:pt x="28235" y="29131"/>
                  </a:lnTo>
                  <a:cubicBezTo>
                    <a:pt x="34061" y="29131"/>
                    <a:pt x="38543" y="33613"/>
                    <a:pt x="38543" y="39439"/>
                  </a:cubicBezTo>
                  <a:lnTo>
                    <a:pt x="38543" y="46161"/>
                  </a:lnTo>
                  <a:close/>
                </a:path>
              </a:pathLst>
            </a:custGeom>
            <a:solidFill>
              <a:srgbClr val="231F20"/>
            </a:solidFill>
            <a:ln w="4477" cap="flat">
              <a:noFill/>
              <a:prstDash val="solid"/>
              <a:miter/>
            </a:ln>
          </p:spPr>
          <p:txBody>
            <a:bodyPr rtlCol="0" anchor="ctr"/>
            <a:lstStyle/>
            <a:p>
              <a:endParaRPr lang="en-US"/>
            </a:p>
          </p:txBody>
        </p:sp>
        <p:sp>
          <p:nvSpPr>
            <p:cNvPr id="2579" name="Freeform: Shape 2578">
              <a:extLst>
                <a:ext uri="{FF2B5EF4-FFF2-40B4-BE49-F238E27FC236}">
                  <a16:creationId xmlns:a16="http://schemas.microsoft.com/office/drawing/2014/main" id="{65E85331-41E1-4D9A-A547-C3FEDF475797}"/>
                </a:ext>
              </a:extLst>
            </p:cNvPr>
            <p:cNvSpPr/>
            <p:nvPr/>
          </p:nvSpPr>
          <p:spPr>
            <a:xfrm>
              <a:off x="7011185" y="3942538"/>
              <a:ext cx="44817" cy="49299"/>
            </a:xfrm>
            <a:custGeom>
              <a:avLst/>
              <a:gdLst>
                <a:gd name="connsiteX0" fmla="*/ 29131 w 44817"/>
                <a:gd name="connsiteY0" fmla="*/ 24649 h 49298"/>
                <a:gd name="connsiteX1" fmla="*/ 25098 w 44817"/>
                <a:gd name="connsiteY1" fmla="*/ 24649 h 49298"/>
                <a:gd name="connsiteX2" fmla="*/ 34509 w 44817"/>
                <a:gd name="connsiteY2" fmla="*/ 12549 h 49298"/>
                <a:gd name="connsiteX3" fmla="*/ 21960 w 44817"/>
                <a:gd name="connsiteY3" fmla="*/ 0 h 49298"/>
                <a:gd name="connsiteX4" fmla="*/ 9412 w 44817"/>
                <a:gd name="connsiteY4" fmla="*/ 12549 h 49298"/>
                <a:gd name="connsiteX5" fmla="*/ 18823 w 44817"/>
                <a:gd name="connsiteY5" fmla="*/ 24649 h 49298"/>
                <a:gd name="connsiteX6" fmla="*/ 14790 w 44817"/>
                <a:gd name="connsiteY6" fmla="*/ 24649 h 49298"/>
                <a:gd name="connsiteX7" fmla="*/ 0 w 44817"/>
                <a:gd name="connsiteY7" fmla="*/ 39439 h 49298"/>
                <a:gd name="connsiteX8" fmla="*/ 0 w 44817"/>
                <a:gd name="connsiteY8" fmla="*/ 46161 h 49298"/>
                <a:gd name="connsiteX9" fmla="*/ 6274 w 44817"/>
                <a:gd name="connsiteY9" fmla="*/ 52436 h 49298"/>
                <a:gd name="connsiteX10" fmla="*/ 38991 w 44817"/>
                <a:gd name="connsiteY10" fmla="*/ 52436 h 49298"/>
                <a:gd name="connsiteX11" fmla="*/ 45265 w 44817"/>
                <a:gd name="connsiteY11" fmla="*/ 46161 h 49298"/>
                <a:gd name="connsiteX12" fmla="*/ 45265 w 44817"/>
                <a:gd name="connsiteY12" fmla="*/ 39439 h 49298"/>
                <a:gd name="connsiteX13" fmla="*/ 29131 w 44817"/>
                <a:gd name="connsiteY13" fmla="*/ 24649 h 49298"/>
                <a:gd name="connsiteX14" fmla="*/ 13445 w 44817"/>
                <a:gd name="connsiteY14" fmla="*/ 12549 h 49298"/>
                <a:gd name="connsiteX15" fmla="*/ 21512 w 44817"/>
                <a:gd name="connsiteY15" fmla="*/ 4482 h 49298"/>
                <a:gd name="connsiteX16" fmla="*/ 29579 w 44817"/>
                <a:gd name="connsiteY16" fmla="*/ 12549 h 49298"/>
                <a:gd name="connsiteX17" fmla="*/ 21512 w 44817"/>
                <a:gd name="connsiteY17" fmla="*/ 20616 h 49298"/>
                <a:gd name="connsiteX18" fmla="*/ 13445 w 44817"/>
                <a:gd name="connsiteY18" fmla="*/ 12549 h 49298"/>
                <a:gd name="connsiteX19" fmla="*/ 39439 w 44817"/>
                <a:gd name="connsiteY19" fmla="*/ 46161 h 49298"/>
                <a:gd name="connsiteX20" fmla="*/ 37646 w 44817"/>
                <a:gd name="connsiteY20" fmla="*/ 47954 h 49298"/>
                <a:gd name="connsiteX21" fmla="*/ 4930 w 44817"/>
                <a:gd name="connsiteY21" fmla="*/ 47954 h 49298"/>
                <a:gd name="connsiteX22" fmla="*/ 3137 w 44817"/>
                <a:gd name="connsiteY22" fmla="*/ 46161 h 49298"/>
                <a:gd name="connsiteX23" fmla="*/ 3137 w 44817"/>
                <a:gd name="connsiteY23" fmla="*/ 39439 h 49298"/>
                <a:gd name="connsiteX24" fmla="*/ 13445 w 44817"/>
                <a:gd name="connsiteY24" fmla="*/ 29131 h 49298"/>
                <a:gd name="connsiteX25" fmla="*/ 28235 w 44817"/>
                <a:gd name="connsiteY25" fmla="*/ 29131 h 49298"/>
                <a:gd name="connsiteX26" fmla="*/ 38543 w 44817"/>
                <a:gd name="connsiteY26" fmla="*/ 39439 h 49298"/>
                <a:gd name="connsiteX27" fmla="*/ 38543 w 44817"/>
                <a:gd name="connsiteY27" fmla="*/ 46161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817" h="49298">
                  <a:moveTo>
                    <a:pt x="29131" y="24649"/>
                  </a:moveTo>
                  <a:lnTo>
                    <a:pt x="25098" y="24649"/>
                  </a:lnTo>
                  <a:cubicBezTo>
                    <a:pt x="30476" y="23305"/>
                    <a:pt x="34509" y="18375"/>
                    <a:pt x="34509" y="12549"/>
                  </a:cubicBezTo>
                  <a:cubicBezTo>
                    <a:pt x="34509" y="5378"/>
                    <a:pt x="28683" y="0"/>
                    <a:pt x="21960" y="0"/>
                  </a:cubicBezTo>
                  <a:cubicBezTo>
                    <a:pt x="15238" y="0"/>
                    <a:pt x="9412" y="5826"/>
                    <a:pt x="9412" y="12549"/>
                  </a:cubicBezTo>
                  <a:cubicBezTo>
                    <a:pt x="9412" y="18375"/>
                    <a:pt x="13445" y="23305"/>
                    <a:pt x="18823" y="24649"/>
                  </a:cubicBezTo>
                  <a:lnTo>
                    <a:pt x="14790" y="24649"/>
                  </a:lnTo>
                  <a:cubicBezTo>
                    <a:pt x="6723" y="24649"/>
                    <a:pt x="0" y="31372"/>
                    <a:pt x="0" y="39439"/>
                  </a:cubicBezTo>
                  <a:lnTo>
                    <a:pt x="0" y="46161"/>
                  </a:lnTo>
                  <a:cubicBezTo>
                    <a:pt x="0" y="49299"/>
                    <a:pt x="2689" y="52436"/>
                    <a:pt x="6274" y="52436"/>
                  </a:cubicBezTo>
                  <a:lnTo>
                    <a:pt x="38991" y="52436"/>
                  </a:lnTo>
                  <a:cubicBezTo>
                    <a:pt x="42128" y="52436"/>
                    <a:pt x="45265" y="49747"/>
                    <a:pt x="45265" y="46161"/>
                  </a:cubicBezTo>
                  <a:lnTo>
                    <a:pt x="45265" y="39439"/>
                  </a:lnTo>
                  <a:cubicBezTo>
                    <a:pt x="43921" y="31372"/>
                    <a:pt x="37198" y="24649"/>
                    <a:pt x="29131" y="24649"/>
                  </a:cubicBezTo>
                  <a:close/>
                  <a:moveTo>
                    <a:pt x="13445" y="12549"/>
                  </a:moveTo>
                  <a:cubicBezTo>
                    <a:pt x="13445" y="8067"/>
                    <a:pt x="17030" y="4482"/>
                    <a:pt x="21512" y="4482"/>
                  </a:cubicBezTo>
                  <a:cubicBezTo>
                    <a:pt x="25994" y="4482"/>
                    <a:pt x="29579" y="8067"/>
                    <a:pt x="29579" y="12549"/>
                  </a:cubicBezTo>
                  <a:cubicBezTo>
                    <a:pt x="29579" y="17030"/>
                    <a:pt x="25994" y="20616"/>
                    <a:pt x="21512" y="20616"/>
                  </a:cubicBezTo>
                  <a:cubicBezTo>
                    <a:pt x="17030" y="20616"/>
                    <a:pt x="13445" y="17030"/>
                    <a:pt x="13445" y="12549"/>
                  </a:cubicBezTo>
                  <a:close/>
                  <a:moveTo>
                    <a:pt x="39439" y="46161"/>
                  </a:moveTo>
                  <a:cubicBezTo>
                    <a:pt x="39439" y="47058"/>
                    <a:pt x="38543" y="47954"/>
                    <a:pt x="37646" y="47954"/>
                  </a:cubicBezTo>
                  <a:lnTo>
                    <a:pt x="4930" y="47954"/>
                  </a:lnTo>
                  <a:cubicBezTo>
                    <a:pt x="4034" y="47954"/>
                    <a:pt x="3137" y="47058"/>
                    <a:pt x="3137" y="46161"/>
                  </a:cubicBezTo>
                  <a:lnTo>
                    <a:pt x="3137" y="39439"/>
                  </a:lnTo>
                  <a:cubicBezTo>
                    <a:pt x="3137" y="33613"/>
                    <a:pt x="7619" y="29131"/>
                    <a:pt x="13445" y="29131"/>
                  </a:cubicBezTo>
                  <a:lnTo>
                    <a:pt x="28235" y="29131"/>
                  </a:lnTo>
                  <a:cubicBezTo>
                    <a:pt x="34061" y="29131"/>
                    <a:pt x="38543" y="33613"/>
                    <a:pt x="38543" y="39439"/>
                  </a:cubicBezTo>
                  <a:lnTo>
                    <a:pt x="38543" y="46161"/>
                  </a:lnTo>
                  <a:close/>
                </a:path>
              </a:pathLst>
            </a:custGeom>
            <a:solidFill>
              <a:srgbClr val="231F20"/>
            </a:solidFill>
            <a:ln w="4477" cap="flat">
              <a:noFill/>
              <a:prstDash val="solid"/>
              <a:miter/>
            </a:ln>
          </p:spPr>
          <p:txBody>
            <a:bodyPr rtlCol="0" anchor="ctr"/>
            <a:lstStyle/>
            <a:p>
              <a:endParaRPr lang="en-US"/>
            </a:p>
          </p:txBody>
        </p:sp>
        <p:sp>
          <p:nvSpPr>
            <p:cNvPr id="2580" name="Freeform: Shape 2579">
              <a:extLst>
                <a:ext uri="{FF2B5EF4-FFF2-40B4-BE49-F238E27FC236}">
                  <a16:creationId xmlns:a16="http://schemas.microsoft.com/office/drawing/2014/main" id="{CB9133F7-D076-46A5-A8B0-49832D75CA3B}"/>
                </a:ext>
              </a:extLst>
            </p:cNvPr>
            <p:cNvSpPr/>
            <p:nvPr/>
          </p:nvSpPr>
          <p:spPr>
            <a:xfrm>
              <a:off x="7025410" y="3891428"/>
              <a:ext cx="31372" cy="40335"/>
            </a:xfrm>
            <a:custGeom>
              <a:avLst/>
              <a:gdLst>
                <a:gd name="connsiteX0" fmla="*/ 28799 w 31371"/>
                <a:gd name="connsiteY0" fmla="*/ 466 h 40335"/>
                <a:gd name="connsiteX1" fmla="*/ 117 w 31371"/>
                <a:gd name="connsiteY1" fmla="*/ 39457 h 40335"/>
                <a:gd name="connsiteX2" fmla="*/ 1909 w 31371"/>
                <a:gd name="connsiteY2" fmla="*/ 42146 h 40335"/>
                <a:gd name="connsiteX3" fmla="*/ 2357 w 31371"/>
                <a:gd name="connsiteY3" fmla="*/ 42146 h 40335"/>
                <a:gd name="connsiteX4" fmla="*/ 4598 w 31371"/>
                <a:gd name="connsiteY4" fmla="*/ 40354 h 40335"/>
                <a:gd name="connsiteX5" fmla="*/ 31040 w 31371"/>
                <a:gd name="connsiteY5" fmla="*/ 4500 h 40335"/>
                <a:gd name="connsiteX6" fmla="*/ 31937 w 31371"/>
                <a:gd name="connsiteY6" fmla="*/ 1363 h 40335"/>
                <a:gd name="connsiteX7" fmla="*/ 28799 w 31371"/>
                <a:gd name="connsiteY7" fmla="*/ 466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71" h="40335">
                  <a:moveTo>
                    <a:pt x="28799" y="466"/>
                  </a:moveTo>
                  <a:cubicBezTo>
                    <a:pt x="14458" y="8982"/>
                    <a:pt x="4150" y="23323"/>
                    <a:pt x="117" y="39457"/>
                  </a:cubicBezTo>
                  <a:cubicBezTo>
                    <a:pt x="-332" y="40802"/>
                    <a:pt x="565" y="41698"/>
                    <a:pt x="1909" y="42146"/>
                  </a:cubicBezTo>
                  <a:cubicBezTo>
                    <a:pt x="1909" y="42146"/>
                    <a:pt x="2357" y="42146"/>
                    <a:pt x="2357" y="42146"/>
                  </a:cubicBezTo>
                  <a:cubicBezTo>
                    <a:pt x="3254" y="42146"/>
                    <a:pt x="4150" y="41250"/>
                    <a:pt x="4598" y="40354"/>
                  </a:cubicBezTo>
                  <a:cubicBezTo>
                    <a:pt x="8184" y="25564"/>
                    <a:pt x="18043" y="12119"/>
                    <a:pt x="31040" y="4500"/>
                  </a:cubicBezTo>
                  <a:cubicBezTo>
                    <a:pt x="31937" y="4052"/>
                    <a:pt x="32385" y="2259"/>
                    <a:pt x="31937" y="1363"/>
                  </a:cubicBezTo>
                  <a:cubicBezTo>
                    <a:pt x="31040" y="18"/>
                    <a:pt x="29696" y="-430"/>
                    <a:pt x="28799" y="466"/>
                  </a:cubicBezTo>
                  <a:close/>
                </a:path>
              </a:pathLst>
            </a:custGeom>
            <a:solidFill>
              <a:srgbClr val="231F20"/>
            </a:solidFill>
            <a:ln w="4477" cap="flat">
              <a:noFill/>
              <a:prstDash val="solid"/>
              <a:miter/>
            </a:ln>
          </p:spPr>
          <p:txBody>
            <a:bodyPr rtlCol="0" anchor="ctr"/>
            <a:lstStyle/>
            <a:p>
              <a:endParaRPr lang="en-US"/>
            </a:p>
          </p:txBody>
        </p:sp>
        <p:sp>
          <p:nvSpPr>
            <p:cNvPr id="2581" name="Freeform: Shape 2580">
              <a:extLst>
                <a:ext uri="{FF2B5EF4-FFF2-40B4-BE49-F238E27FC236}">
                  <a16:creationId xmlns:a16="http://schemas.microsoft.com/office/drawing/2014/main" id="{462893A5-0BB2-4639-B6F0-D5E61E6E491B}"/>
                </a:ext>
              </a:extLst>
            </p:cNvPr>
            <p:cNvSpPr/>
            <p:nvPr/>
          </p:nvSpPr>
          <p:spPr>
            <a:xfrm>
              <a:off x="7060316" y="3998839"/>
              <a:ext cx="49299" cy="8963"/>
            </a:xfrm>
            <a:custGeom>
              <a:avLst/>
              <a:gdLst>
                <a:gd name="connsiteX0" fmla="*/ 48570 w 49298"/>
                <a:gd name="connsiteY0" fmla="*/ 616 h 8963"/>
                <a:gd name="connsiteX1" fmla="*/ 3305 w 49298"/>
                <a:gd name="connsiteY1" fmla="*/ 168 h 8963"/>
                <a:gd name="connsiteX2" fmla="*/ 168 w 49298"/>
                <a:gd name="connsiteY2" fmla="*/ 1513 h 8963"/>
                <a:gd name="connsiteX3" fmla="*/ 1513 w 49298"/>
                <a:gd name="connsiteY3" fmla="*/ 4650 h 8963"/>
                <a:gd name="connsiteX4" fmla="*/ 26162 w 49298"/>
                <a:gd name="connsiteY4" fmla="*/ 9580 h 8963"/>
                <a:gd name="connsiteX5" fmla="*/ 50363 w 49298"/>
                <a:gd name="connsiteY5" fmla="*/ 4650 h 8963"/>
                <a:gd name="connsiteX6" fmla="*/ 51708 w 49298"/>
                <a:gd name="connsiteY6" fmla="*/ 1513 h 8963"/>
                <a:gd name="connsiteX7" fmla="*/ 48570 w 49298"/>
                <a:gd name="connsiteY7" fmla="*/ 616 h 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98" h="8963">
                  <a:moveTo>
                    <a:pt x="48570" y="616"/>
                  </a:moveTo>
                  <a:cubicBezTo>
                    <a:pt x="34229" y="6442"/>
                    <a:pt x="17647" y="6442"/>
                    <a:pt x="3305" y="168"/>
                  </a:cubicBezTo>
                  <a:cubicBezTo>
                    <a:pt x="1961" y="-280"/>
                    <a:pt x="1064" y="168"/>
                    <a:pt x="168" y="1513"/>
                  </a:cubicBezTo>
                  <a:cubicBezTo>
                    <a:pt x="-280" y="2857"/>
                    <a:pt x="168" y="3753"/>
                    <a:pt x="1513" y="4650"/>
                  </a:cubicBezTo>
                  <a:cubicBezTo>
                    <a:pt x="9131" y="7787"/>
                    <a:pt x="17647" y="9580"/>
                    <a:pt x="26162" y="9580"/>
                  </a:cubicBezTo>
                  <a:cubicBezTo>
                    <a:pt x="34677" y="9580"/>
                    <a:pt x="42744" y="7787"/>
                    <a:pt x="50363" y="4650"/>
                  </a:cubicBezTo>
                  <a:cubicBezTo>
                    <a:pt x="51708" y="4202"/>
                    <a:pt x="52156" y="2857"/>
                    <a:pt x="51708" y="1513"/>
                  </a:cubicBezTo>
                  <a:cubicBezTo>
                    <a:pt x="50811" y="616"/>
                    <a:pt x="49467" y="168"/>
                    <a:pt x="48570" y="616"/>
                  </a:cubicBezTo>
                  <a:close/>
                </a:path>
              </a:pathLst>
            </a:custGeom>
            <a:solidFill>
              <a:srgbClr val="231F20"/>
            </a:solidFill>
            <a:ln w="4477" cap="flat">
              <a:noFill/>
              <a:prstDash val="solid"/>
              <a:miter/>
            </a:ln>
          </p:spPr>
          <p:txBody>
            <a:bodyPr rtlCol="0" anchor="ctr"/>
            <a:lstStyle/>
            <a:p>
              <a:endParaRPr lang="en-US"/>
            </a:p>
          </p:txBody>
        </p:sp>
        <p:sp>
          <p:nvSpPr>
            <p:cNvPr id="2582" name="Freeform: Shape 2581">
              <a:extLst>
                <a:ext uri="{FF2B5EF4-FFF2-40B4-BE49-F238E27FC236}">
                  <a16:creationId xmlns:a16="http://schemas.microsoft.com/office/drawing/2014/main" id="{D4FE14DC-2114-4FBB-B11B-700E47A33016}"/>
                </a:ext>
              </a:extLst>
            </p:cNvPr>
            <p:cNvSpPr/>
            <p:nvPr/>
          </p:nvSpPr>
          <p:spPr>
            <a:xfrm>
              <a:off x="7115142" y="3891627"/>
              <a:ext cx="31372" cy="40335"/>
            </a:xfrm>
            <a:custGeom>
              <a:avLst/>
              <a:gdLst>
                <a:gd name="connsiteX0" fmla="*/ 27805 w 31371"/>
                <a:gd name="connsiteY0" fmla="*/ 39707 h 40335"/>
                <a:gd name="connsiteX1" fmla="*/ 30046 w 31371"/>
                <a:gd name="connsiteY1" fmla="*/ 41500 h 40335"/>
                <a:gd name="connsiteX2" fmla="*/ 30494 w 31371"/>
                <a:gd name="connsiteY2" fmla="*/ 41500 h 40335"/>
                <a:gd name="connsiteX3" fmla="*/ 32286 w 31371"/>
                <a:gd name="connsiteY3" fmla="*/ 38810 h 40335"/>
                <a:gd name="connsiteX4" fmla="*/ 3604 w 31371"/>
                <a:gd name="connsiteY4" fmla="*/ 268 h 40335"/>
                <a:gd name="connsiteX5" fmla="*/ 466 w 31371"/>
                <a:gd name="connsiteY5" fmla="*/ 1164 h 40335"/>
                <a:gd name="connsiteX6" fmla="*/ 1363 w 31371"/>
                <a:gd name="connsiteY6" fmla="*/ 4302 h 40335"/>
                <a:gd name="connsiteX7" fmla="*/ 27805 w 31371"/>
                <a:gd name="connsiteY7" fmla="*/ 39707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71" h="40335">
                  <a:moveTo>
                    <a:pt x="27805" y="39707"/>
                  </a:moveTo>
                  <a:cubicBezTo>
                    <a:pt x="28253" y="40603"/>
                    <a:pt x="29149" y="41500"/>
                    <a:pt x="30046" y="41500"/>
                  </a:cubicBezTo>
                  <a:cubicBezTo>
                    <a:pt x="30046" y="41500"/>
                    <a:pt x="30494" y="41500"/>
                    <a:pt x="30494" y="41500"/>
                  </a:cubicBezTo>
                  <a:cubicBezTo>
                    <a:pt x="31838" y="41051"/>
                    <a:pt x="32286" y="40155"/>
                    <a:pt x="32286" y="38810"/>
                  </a:cubicBezTo>
                  <a:cubicBezTo>
                    <a:pt x="28253" y="22676"/>
                    <a:pt x="17945" y="8783"/>
                    <a:pt x="3604" y="268"/>
                  </a:cubicBezTo>
                  <a:cubicBezTo>
                    <a:pt x="2707" y="-180"/>
                    <a:pt x="1363" y="-180"/>
                    <a:pt x="466" y="1164"/>
                  </a:cubicBezTo>
                  <a:cubicBezTo>
                    <a:pt x="-430" y="2509"/>
                    <a:pt x="18" y="3405"/>
                    <a:pt x="1363" y="4302"/>
                  </a:cubicBezTo>
                  <a:cubicBezTo>
                    <a:pt x="14360" y="11920"/>
                    <a:pt x="24219" y="24917"/>
                    <a:pt x="27805" y="39707"/>
                  </a:cubicBezTo>
                  <a:close/>
                </a:path>
              </a:pathLst>
            </a:custGeom>
            <a:solidFill>
              <a:srgbClr val="231F20"/>
            </a:solidFill>
            <a:ln w="4477" cap="flat">
              <a:noFill/>
              <a:prstDash val="solid"/>
              <a:miter/>
            </a:ln>
          </p:spPr>
          <p:txBody>
            <a:bodyPr rtlCol="0" anchor="ctr"/>
            <a:lstStyle/>
            <a:p>
              <a:endParaRPr lang="en-US"/>
            </a:p>
          </p:txBody>
        </p:sp>
      </p:grpSp>
      <p:grpSp>
        <p:nvGrpSpPr>
          <p:cNvPr id="2446" name="Group 2445">
            <a:extLst>
              <a:ext uri="{FF2B5EF4-FFF2-40B4-BE49-F238E27FC236}">
                <a16:creationId xmlns:a16="http://schemas.microsoft.com/office/drawing/2014/main" id="{70B84A0D-963C-4A96-A13F-14D8FF9470F6}"/>
              </a:ext>
              <a:ext uri="{C183D7F6-B498-43B3-948B-1728B52AA6E4}">
                <adec:decorative xmlns:adec="http://schemas.microsoft.com/office/drawing/2017/decorative" val="1"/>
              </a:ext>
            </a:extLst>
          </p:cNvPr>
          <p:cNvGrpSpPr>
            <a:grpSpLocks noChangeAspect="1"/>
          </p:cNvGrpSpPr>
          <p:nvPr/>
        </p:nvGrpSpPr>
        <p:grpSpPr>
          <a:xfrm>
            <a:off x="1665739" y="4873209"/>
            <a:ext cx="152378" cy="151034"/>
            <a:chOff x="7540474" y="3856041"/>
            <a:chExt cx="152378" cy="151034"/>
          </a:xfrm>
        </p:grpSpPr>
        <p:sp>
          <p:nvSpPr>
            <p:cNvPr id="2573" name="Freeform: Shape 2572">
              <a:extLst>
                <a:ext uri="{FF2B5EF4-FFF2-40B4-BE49-F238E27FC236}">
                  <a16:creationId xmlns:a16="http://schemas.microsoft.com/office/drawing/2014/main" id="{7FE5C57A-27C5-4508-A5B5-C407025609D0}"/>
                </a:ext>
              </a:extLst>
            </p:cNvPr>
            <p:cNvSpPr/>
            <p:nvPr/>
          </p:nvSpPr>
          <p:spPr>
            <a:xfrm>
              <a:off x="7559745" y="3908029"/>
              <a:ext cx="44817" cy="44817"/>
            </a:xfrm>
            <a:custGeom>
              <a:avLst/>
              <a:gdLst>
                <a:gd name="connsiteX0" fmla="*/ 0 w 44817"/>
                <a:gd name="connsiteY0" fmla="*/ 23305 h 44817"/>
                <a:gd name="connsiteX1" fmla="*/ 23305 w 44817"/>
                <a:gd name="connsiteY1" fmla="*/ 46610 h 44817"/>
                <a:gd name="connsiteX2" fmla="*/ 46610 w 44817"/>
                <a:gd name="connsiteY2" fmla="*/ 23305 h 44817"/>
                <a:gd name="connsiteX3" fmla="*/ 23305 w 44817"/>
                <a:gd name="connsiteY3" fmla="*/ 0 h 44817"/>
                <a:gd name="connsiteX4" fmla="*/ 0 w 44817"/>
                <a:gd name="connsiteY4" fmla="*/ 23305 h 44817"/>
                <a:gd name="connsiteX5" fmla="*/ 23305 w 44817"/>
                <a:gd name="connsiteY5" fmla="*/ 4482 h 44817"/>
                <a:gd name="connsiteX6" fmla="*/ 42128 w 44817"/>
                <a:gd name="connsiteY6" fmla="*/ 23305 h 44817"/>
                <a:gd name="connsiteX7" fmla="*/ 23305 w 44817"/>
                <a:gd name="connsiteY7" fmla="*/ 42128 h 44817"/>
                <a:gd name="connsiteX8" fmla="*/ 4482 w 44817"/>
                <a:gd name="connsiteY8" fmla="*/ 23305 h 44817"/>
                <a:gd name="connsiteX9" fmla="*/ 23305 w 44817"/>
                <a:gd name="connsiteY9" fmla="*/ 448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0" y="23305"/>
                  </a:moveTo>
                  <a:cubicBezTo>
                    <a:pt x="0" y="35854"/>
                    <a:pt x="10308" y="46610"/>
                    <a:pt x="23305" y="46610"/>
                  </a:cubicBezTo>
                  <a:cubicBezTo>
                    <a:pt x="36302" y="46610"/>
                    <a:pt x="46610" y="36302"/>
                    <a:pt x="46610" y="23305"/>
                  </a:cubicBezTo>
                  <a:cubicBezTo>
                    <a:pt x="46610" y="10308"/>
                    <a:pt x="36302" y="0"/>
                    <a:pt x="23305" y="0"/>
                  </a:cubicBezTo>
                  <a:cubicBezTo>
                    <a:pt x="10308" y="0"/>
                    <a:pt x="0" y="10308"/>
                    <a:pt x="0" y="23305"/>
                  </a:cubicBezTo>
                  <a:close/>
                  <a:moveTo>
                    <a:pt x="23305" y="4482"/>
                  </a:moveTo>
                  <a:cubicBezTo>
                    <a:pt x="33613" y="4482"/>
                    <a:pt x="42128" y="12997"/>
                    <a:pt x="42128" y="23305"/>
                  </a:cubicBezTo>
                  <a:cubicBezTo>
                    <a:pt x="42128" y="33613"/>
                    <a:pt x="33613" y="42128"/>
                    <a:pt x="23305" y="42128"/>
                  </a:cubicBezTo>
                  <a:cubicBezTo>
                    <a:pt x="12997" y="42128"/>
                    <a:pt x="4482" y="33613"/>
                    <a:pt x="4482" y="23305"/>
                  </a:cubicBezTo>
                  <a:cubicBezTo>
                    <a:pt x="4482" y="12997"/>
                    <a:pt x="12997" y="4482"/>
                    <a:pt x="23305" y="4482"/>
                  </a:cubicBezTo>
                  <a:close/>
                </a:path>
              </a:pathLst>
            </a:custGeom>
            <a:solidFill>
              <a:srgbClr val="231F20"/>
            </a:solidFill>
            <a:ln w="4477" cap="flat">
              <a:noFill/>
              <a:prstDash val="solid"/>
              <a:miter/>
            </a:ln>
          </p:spPr>
          <p:txBody>
            <a:bodyPr rtlCol="0" anchor="ctr"/>
            <a:lstStyle/>
            <a:p>
              <a:endParaRPr lang="en-US"/>
            </a:p>
          </p:txBody>
        </p:sp>
        <p:sp>
          <p:nvSpPr>
            <p:cNvPr id="2574" name="Freeform: Shape 2573">
              <a:extLst>
                <a:ext uri="{FF2B5EF4-FFF2-40B4-BE49-F238E27FC236}">
                  <a16:creationId xmlns:a16="http://schemas.microsoft.com/office/drawing/2014/main" id="{5BCE8A81-6A9F-47B6-8F78-1BB7B0BF5ECD}"/>
                </a:ext>
              </a:extLst>
            </p:cNvPr>
            <p:cNvSpPr/>
            <p:nvPr/>
          </p:nvSpPr>
          <p:spPr>
            <a:xfrm>
              <a:off x="7540474" y="3957776"/>
              <a:ext cx="85152" cy="49299"/>
            </a:xfrm>
            <a:custGeom>
              <a:avLst/>
              <a:gdLst>
                <a:gd name="connsiteX0" fmla="*/ 57814 w 85152"/>
                <a:gd name="connsiteY0" fmla="*/ 0 h 49298"/>
                <a:gd name="connsiteX1" fmla="*/ 27787 w 85152"/>
                <a:gd name="connsiteY1" fmla="*/ 0 h 49298"/>
                <a:gd name="connsiteX2" fmla="*/ 0 w 85152"/>
                <a:gd name="connsiteY2" fmla="*/ 27787 h 49298"/>
                <a:gd name="connsiteX3" fmla="*/ 0 w 85152"/>
                <a:gd name="connsiteY3" fmla="*/ 40783 h 49298"/>
                <a:gd name="connsiteX4" fmla="*/ 9860 w 85152"/>
                <a:gd name="connsiteY4" fmla="*/ 50643 h 49298"/>
                <a:gd name="connsiteX5" fmla="*/ 75293 w 85152"/>
                <a:gd name="connsiteY5" fmla="*/ 50643 h 49298"/>
                <a:gd name="connsiteX6" fmla="*/ 85152 w 85152"/>
                <a:gd name="connsiteY6" fmla="*/ 40783 h 49298"/>
                <a:gd name="connsiteX7" fmla="*/ 85152 w 85152"/>
                <a:gd name="connsiteY7" fmla="*/ 27787 h 49298"/>
                <a:gd name="connsiteX8" fmla="*/ 57814 w 85152"/>
                <a:gd name="connsiteY8" fmla="*/ 0 h 49298"/>
                <a:gd name="connsiteX9" fmla="*/ 80671 w 85152"/>
                <a:gd name="connsiteY9" fmla="*/ 40335 h 49298"/>
                <a:gd name="connsiteX10" fmla="*/ 75293 w 85152"/>
                <a:gd name="connsiteY10" fmla="*/ 45713 h 49298"/>
                <a:gd name="connsiteX11" fmla="*/ 9860 w 85152"/>
                <a:gd name="connsiteY11" fmla="*/ 45713 h 49298"/>
                <a:gd name="connsiteX12" fmla="*/ 4482 w 85152"/>
                <a:gd name="connsiteY12" fmla="*/ 40335 h 49298"/>
                <a:gd name="connsiteX13" fmla="*/ 4482 w 85152"/>
                <a:gd name="connsiteY13" fmla="*/ 27338 h 49298"/>
                <a:gd name="connsiteX14" fmla="*/ 27787 w 85152"/>
                <a:gd name="connsiteY14" fmla="*/ 4033 h 49298"/>
                <a:gd name="connsiteX15" fmla="*/ 57814 w 85152"/>
                <a:gd name="connsiteY15" fmla="*/ 4033 h 49298"/>
                <a:gd name="connsiteX16" fmla="*/ 81119 w 85152"/>
                <a:gd name="connsiteY16" fmla="*/ 27338 h 49298"/>
                <a:gd name="connsiteX17" fmla="*/ 81119 w 85152"/>
                <a:gd name="connsiteY17" fmla="*/ 40335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57814" y="0"/>
                  </a:moveTo>
                  <a:lnTo>
                    <a:pt x="27787" y="0"/>
                  </a:lnTo>
                  <a:cubicBezTo>
                    <a:pt x="12549" y="0"/>
                    <a:pt x="0" y="12549"/>
                    <a:pt x="0" y="27787"/>
                  </a:cubicBezTo>
                  <a:lnTo>
                    <a:pt x="0" y="40783"/>
                  </a:lnTo>
                  <a:cubicBezTo>
                    <a:pt x="0" y="46161"/>
                    <a:pt x="4482" y="50643"/>
                    <a:pt x="9860" y="50643"/>
                  </a:cubicBezTo>
                  <a:lnTo>
                    <a:pt x="75293" y="50643"/>
                  </a:lnTo>
                  <a:cubicBezTo>
                    <a:pt x="80671" y="50643"/>
                    <a:pt x="85152" y="46161"/>
                    <a:pt x="85152" y="40783"/>
                  </a:cubicBezTo>
                  <a:lnTo>
                    <a:pt x="85152" y="27787"/>
                  </a:lnTo>
                  <a:cubicBezTo>
                    <a:pt x="85152" y="12101"/>
                    <a:pt x="73052" y="0"/>
                    <a:pt x="57814" y="0"/>
                  </a:cubicBezTo>
                  <a:close/>
                  <a:moveTo>
                    <a:pt x="80671" y="40335"/>
                  </a:moveTo>
                  <a:cubicBezTo>
                    <a:pt x="80671" y="43473"/>
                    <a:pt x="78430" y="45713"/>
                    <a:pt x="75293" y="45713"/>
                  </a:cubicBezTo>
                  <a:lnTo>
                    <a:pt x="9860" y="45713"/>
                  </a:lnTo>
                  <a:cubicBezTo>
                    <a:pt x="6723" y="45713"/>
                    <a:pt x="4482" y="43473"/>
                    <a:pt x="4482" y="40335"/>
                  </a:cubicBezTo>
                  <a:lnTo>
                    <a:pt x="4482" y="27338"/>
                  </a:lnTo>
                  <a:cubicBezTo>
                    <a:pt x="4482" y="14790"/>
                    <a:pt x="14790" y="4033"/>
                    <a:pt x="27787" y="4033"/>
                  </a:cubicBezTo>
                  <a:lnTo>
                    <a:pt x="57814" y="4033"/>
                  </a:lnTo>
                  <a:cubicBezTo>
                    <a:pt x="70363" y="4033"/>
                    <a:pt x="81119" y="14342"/>
                    <a:pt x="81119" y="27338"/>
                  </a:cubicBezTo>
                  <a:lnTo>
                    <a:pt x="81119" y="40335"/>
                  </a:lnTo>
                  <a:close/>
                </a:path>
              </a:pathLst>
            </a:custGeom>
            <a:solidFill>
              <a:srgbClr val="231F20"/>
            </a:solidFill>
            <a:ln w="4477" cap="flat">
              <a:noFill/>
              <a:prstDash val="solid"/>
              <a:miter/>
            </a:ln>
          </p:spPr>
          <p:txBody>
            <a:bodyPr rtlCol="0" anchor="ctr"/>
            <a:lstStyle/>
            <a:p>
              <a:endParaRPr lang="en-US"/>
            </a:p>
          </p:txBody>
        </p:sp>
        <p:sp>
          <p:nvSpPr>
            <p:cNvPr id="2575" name="Freeform: Shape 2574">
              <a:extLst>
                <a:ext uri="{FF2B5EF4-FFF2-40B4-BE49-F238E27FC236}">
                  <a16:creationId xmlns:a16="http://schemas.microsoft.com/office/drawing/2014/main" id="{236EC698-9C45-4DC6-B3F0-1E58B015C7FB}"/>
                </a:ext>
              </a:extLst>
            </p:cNvPr>
            <p:cNvSpPr/>
            <p:nvPr/>
          </p:nvSpPr>
          <p:spPr>
            <a:xfrm>
              <a:off x="7540474" y="3856041"/>
              <a:ext cx="152378" cy="107561"/>
            </a:xfrm>
            <a:custGeom>
              <a:avLst/>
              <a:gdLst>
                <a:gd name="connsiteX0" fmla="*/ 135796 w 152377"/>
                <a:gd name="connsiteY0" fmla="*/ 0 h 107560"/>
                <a:gd name="connsiteX1" fmla="*/ 16582 w 152377"/>
                <a:gd name="connsiteY1" fmla="*/ 0 h 107560"/>
                <a:gd name="connsiteX2" fmla="*/ 0 w 152377"/>
                <a:gd name="connsiteY2" fmla="*/ 16582 h 107560"/>
                <a:gd name="connsiteX3" fmla="*/ 0 w 152377"/>
                <a:gd name="connsiteY3" fmla="*/ 68570 h 107560"/>
                <a:gd name="connsiteX4" fmla="*/ 16582 w 152377"/>
                <a:gd name="connsiteY4" fmla="*/ 85152 h 107560"/>
                <a:gd name="connsiteX5" fmla="*/ 18823 w 152377"/>
                <a:gd name="connsiteY5" fmla="*/ 82912 h 107560"/>
                <a:gd name="connsiteX6" fmla="*/ 16582 w 152377"/>
                <a:gd name="connsiteY6" fmla="*/ 80671 h 107560"/>
                <a:gd name="connsiteX7" fmla="*/ 4482 w 152377"/>
                <a:gd name="connsiteY7" fmla="*/ 68570 h 107560"/>
                <a:gd name="connsiteX8" fmla="*/ 4482 w 152377"/>
                <a:gd name="connsiteY8" fmla="*/ 16582 h 107560"/>
                <a:gd name="connsiteX9" fmla="*/ 16582 w 152377"/>
                <a:gd name="connsiteY9" fmla="*/ 4482 h 107560"/>
                <a:gd name="connsiteX10" fmla="*/ 135796 w 152377"/>
                <a:gd name="connsiteY10" fmla="*/ 4482 h 107560"/>
                <a:gd name="connsiteX11" fmla="*/ 147896 w 152377"/>
                <a:gd name="connsiteY11" fmla="*/ 16582 h 107560"/>
                <a:gd name="connsiteX12" fmla="*/ 147896 w 152377"/>
                <a:gd name="connsiteY12" fmla="*/ 68570 h 107560"/>
                <a:gd name="connsiteX13" fmla="*/ 135796 w 152377"/>
                <a:gd name="connsiteY13" fmla="*/ 80671 h 107560"/>
                <a:gd name="connsiteX14" fmla="*/ 110250 w 152377"/>
                <a:gd name="connsiteY14" fmla="*/ 80671 h 107560"/>
                <a:gd name="connsiteX15" fmla="*/ 108009 w 152377"/>
                <a:gd name="connsiteY15" fmla="*/ 81567 h 107560"/>
                <a:gd name="connsiteX16" fmla="*/ 85152 w 152377"/>
                <a:gd name="connsiteY16" fmla="*/ 104424 h 107560"/>
                <a:gd name="connsiteX17" fmla="*/ 85152 w 152377"/>
                <a:gd name="connsiteY17" fmla="*/ 83808 h 107560"/>
                <a:gd name="connsiteX18" fmla="*/ 82015 w 152377"/>
                <a:gd name="connsiteY18" fmla="*/ 80671 h 107560"/>
                <a:gd name="connsiteX19" fmla="*/ 69466 w 152377"/>
                <a:gd name="connsiteY19" fmla="*/ 80671 h 107560"/>
                <a:gd name="connsiteX20" fmla="*/ 67226 w 152377"/>
                <a:gd name="connsiteY20" fmla="*/ 82912 h 107560"/>
                <a:gd name="connsiteX21" fmla="*/ 69466 w 152377"/>
                <a:gd name="connsiteY21" fmla="*/ 85152 h 107560"/>
                <a:gd name="connsiteX22" fmla="*/ 80671 w 152377"/>
                <a:gd name="connsiteY22" fmla="*/ 85152 h 107560"/>
                <a:gd name="connsiteX23" fmla="*/ 80671 w 152377"/>
                <a:gd name="connsiteY23" fmla="*/ 107561 h 107560"/>
                <a:gd name="connsiteX24" fmla="*/ 82463 w 152377"/>
                <a:gd name="connsiteY24" fmla="*/ 110250 h 107560"/>
                <a:gd name="connsiteX25" fmla="*/ 83808 w 152377"/>
                <a:gd name="connsiteY25" fmla="*/ 110698 h 107560"/>
                <a:gd name="connsiteX26" fmla="*/ 86049 w 152377"/>
                <a:gd name="connsiteY26" fmla="*/ 109802 h 107560"/>
                <a:gd name="connsiteX27" fmla="*/ 110698 w 152377"/>
                <a:gd name="connsiteY27" fmla="*/ 85152 h 107560"/>
                <a:gd name="connsiteX28" fmla="*/ 135796 w 152377"/>
                <a:gd name="connsiteY28" fmla="*/ 85152 h 107560"/>
                <a:gd name="connsiteX29" fmla="*/ 152378 w 152377"/>
                <a:gd name="connsiteY29" fmla="*/ 68570 h 107560"/>
                <a:gd name="connsiteX30" fmla="*/ 152378 w 152377"/>
                <a:gd name="connsiteY30" fmla="*/ 16582 h 107560"/>
                <a:gd name="connsiteX31" fmla="*/ 135796 w 152377"/>
                <a:gd name="connsiteY31" fmla="*/ 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7" h="107560">
                  <a:moveTo>
                    <a:pt x="135796" y="0"/>
                  </a:moveTo>
                  <a:lnTo>
                    <a:pt x="16582" y="0"/>
                  </a:lnTo>
                  <a:cubicBezTo>
                    <a:pt x="7619" y="0"/>
                    <a:pt x="0" y="7619"/>
                    <a:pt x="0" y="16582"/>
                  </a:cubicBezTo>
                  <a:lnTo>
                    <a:pt x="0" y="68570"/>
                  </a:lnTo>
                  <a:cubicBezTo>
                    <a:pt x="0" y="77533"/>
                    <a:pt x="7619" y="85152"/>
                    <a:pt x="16582" y="85152"/>
                  </a:cubicBezTo>
                  <a:cubicBezTo>
                    <a:pt x="17927" y="85152"/>
                    <a:pt x="18823" y="84256"/>
                    <a:pt x="18823" y="82912"/>
                  </a:cubicBezTo>
                  <a:cubicBezTo>
                    <a:pt x="18823" y="81567"/>
                    <a:pt x="17927" y="80671"/>
                    <a:pt x="16582" y="80671"/>
                  </a:cubicBezTo>
                  <a:cubicBezTo>
                    <a:pt x="9860" y="80671"/>
                    <a:pt x="4482" y="75293"/>
                    <a:pt x="4482" y="68570"/>
                  </a:cubicBezTo>
                  <a:lnTo>
                    <a:pt x="4482" y="16582"/>
                  </a:lnTo>
                  <a:cubicBezTo>
                    <a:pt x="4482" y="9860"/>
                    <a:pt x="9860" y="4482"/>
                    <a:pt x="16582" y="4482"/>
                  </a:cubicBezTo>
                  <a:lnTo>
                    <a:pt x="135796" y="4482"/>
                  </a:lnTo>
                  <a:cubicBezTo>
                    <a:pt x="142518" y="4482"/>
                    <a:pt x="147896" y="9860"/>
                    <a:pt x="147896" y="16582"/>
                  </a:cubicBezTo>
                  <a:lnTo>
                    <a:pt x="147896" y="68570"/>
                  </a:lnTo>
                  <a:cubicBezTo>
                    <a:pt x="147896" y="75293"/>
                    <a:pt x="142518" y="80671"/>
                    <a:pt x="135796" y="80671"/>
                  </a:cubicBezTo>
                  <a:lnTo>
                    <a:pt x="110250" y="80671"/>
                  </a:lnTo>
                  <a:cubicBezTo>
                    <a:pt x="109354" y="80671"/>
                    <a:pt x="108457" y="81119"/>
                    <a:pt x="108009" y="81567"/>
                  </a:cubicBezTo>
                  <a:lnTo>
                    <a:pt x="85152" y="104424"/>
                  </a:lnTo>
                  <a:lnTo>
                    <a:pt x="85152" y="83808"/>
                  </a:lnTo>
                  <a:cubicBezTo>
                    <a:pt x="85152" y="82015"/>
                    <a:pt x="83808" y="80671"/>
                    <a:pt x="82015" y="80671"/>
                  </a:cubicBezTo>
                  <a:lnTo>
                    <a:pt x="69466" y="80671"/>
                  </a:lnTo>
                  <a:cubicBezTo>
                    <a:pt x="68122" y="80671"/>
                    <a:pt x="67226" y="81567"/>
                    <a:pt x="67226" y="82912"/>
                  </a:cubicBezTo>
                  <a:cubicBezTo>
                    <a:pt x="67226" y="84256"/>
                    <a:pt x="68122" y="85152"/>
                    <a:pt x="69466" y="85152"/>
                  </a:cubicBezTo>
                  <a:lnTo>
                    <a:pt x="80671" y="85152"/>
                  </a:lnTo>
                  <a:lnTo>
                    <a:pt x="80671" y="107561"/>
                  </a:lnTo>
                  <a:cubicBezTo>
                    <a:pt x="80671" y="108905"/>
                    <a:pt x="81567" y="109802"/>
                    <a:pt x="82463" y="110250"/>
                  </a:cubicBezTo>
                  <a:cubicBezTo>
                    <a:pt x="82912" y="110250"/>
                    <a:pt x="83360" y="110698"/>
                    <a:pt x="83808" y="110698"/>
                  </a:cubicBezTo>
                  <a:cubicBezTo>
                    <a:pt x="84704" y="110698"/>
                    <a:pt x="85600" y="110250"/>
                    <a:pt x="86049" y="109802"/>
                  </a:cubicBezTo>
                  <a:lnTo>
                    <a:pt x="110698" y="85152"/>
                  </a:lnTo>
                  <a:lnTo>
                    <a:pt x="135796" y="85152"/>
                  </a:lnTo>
                  <a:cubicBezTo>
                    <a:pt x="144759" y="85152"/>
                    <a:pt x="152378" y="77533"/>
                    <a:pt x="152378" y="68570"/>
                  </a:cubicBezTo>
                  <a:lnTo>
                    <a:pt x="152378" y="16582"/>
                  </a:lnTo>
                  <a:cubicBezTo>
                    <a:pt x="152378" y="7171"/>
                    <a:pt x="145207" y="0"/>
                    <a:pt x="135796" y="0"/>
                  </a:cubicBezTo>
                  <a:close/>
                </a:path>
              </a:pathLst>
            </a:custGeom>
            <a:solidFill>
              <a:srgbClr val="231F20"/>
            </a:solidFill>
            <a:ln w="4477" cap="flat">
              <a:noFill/>
              <a:prstDash val="solid"/>
              <a:miter/>
            </a:ln>
          </p:spPr>
          <p:txBody>
            <a:bodyPr rtlCol="0" anchor="ctr"/>
            <a:lstStyle/>
            <a:p>
              <a:endParaRPr lang="en-US"/>
            </a:p>
          </p:txBody>
        </p:sp>
        <p:sp>
          <p:nvSpPr>
            <p:cNvPr id="2576" name="Freeform: Shape 2575">
              <a:extLst>
                <a:ext uri="{FF2B5EF4-FFF2-40B4-BE49-F238E27FC236}">
                  <a16:creationId xmlns:a16="http://schemas.microsoft.com/office/drawing/2014/main" id="{553EFDFB-0BB2-4D7A-B364-DB379CA7B2DC}"/>
                </a:ext>
              </a:extLst>
            </p:cNvPr>
            <p:cNvSpPr/>
            <p:nvPr/>
          </p:nvSpPr>
          <p:spPr>
            <a:xfrm>
              <a:off x="7572742" y="3878722"/>
              <a:ext cx="85152" cy="31372"/>
            </a:xfrm>
            <a:custGeom>
              <a:avLst/>
              <a:gdLst>
                <a:gd name="connsiteX0" fmla="*/ 8963 w 85152"/>
                <a:gd name="connsiteY0" fmla="*/ 4209 h 31371"/>
                <a:gd name="connsiteX1" fmla="*/ 0 w 85152"/>
                <a:gd name="connsiteY1" fmla="*/ 13173 h 31371"/>
                <a:gd name="connsiteX2" fmla="*/ 8963 w 85152"/>
                <a:gd name="connsiteY2" fmla="*/ 22136 h 31371"/>
                <a:gd name="connsiteX3" fmla="*/ 15238 w 85152"/>
                <a:gd name="connsiteY3" fmla="*/ 19447 h 31371"/>
                <a:gd name="connsiteX4" fmla="*/ 26890 w 85152"/>
                <a:gd name="connsiteY4" fmla="*/ 25273 h 31371"/>
                <a:gd name="connsiteX5" fmla="*/ 26890 w 85152"/>
                <a:gd name="connsiteY5" fmla="*/ 26618 h 31371"/>
                <a:gd name="connsiteX6" fmla="*/ 35854 w 85152"/>
                <a:gd name="connsiteY6" fmla="*/ 35581 h 31371"/>
                <a:gd name="connsiteX7" fmla="*/ 44817 w 85152"/>
                <a:gd name="connsiteY7" fmla="*/ 26618 h 31371"/>
                <a:gd name="connsiteX8" fmla="*/ 44817 w 85152"/>
                <a:gd name="connsiteY8" fmla="*/ 25722 h 31371"/>
                <a:gd name="connsiteX9" fmla="*/ 56469 w 85152"/>
                <a:gd name="connsiteY9" fmla="*/ 19447 h 31371"/>
                <a:gd name="connsiteX10" fmla="*/ 62744 w 85152"/>
                <a:gd name="connsiteY10" fmla="*/ 22136 h 31371"/>
                <a:gd name="connsiteX11" fmla="*/ 71707 w 85152"/>
                <a:gd name="connsiteY11" fmla="*/ 13173 h 31371"/>
                <a:gd name="connsiteX12" fmla="*/ 71707 w 85152"/>
                <a:gd name="connsiteY12" fmla="*/ 11828 h 31371"/>
                <a:gd name="connsiteX13" fmla="*/ 86497 w 85152"/>
                <a:gd name="connsiteY13" fmla="*/ 4209 h 31371"/>
                <a:gd name="connsiteX14" fmla="*/ 87393 w 85152"/>
                <a:gd name="connsiteY14" fmla="*/ 1072 h 31371"/>
                <a:gd name="connsiteX15" fmla="*/ 84256 w 85152"/>
                <a:gd name="connsiteY15" fmla="*/ 176 h 31371"/>
                <a:gd name="connsiteX16" fmla="*/ 69466 w 85152"/>
                <a:gd name="connsiteY16" fmla="*/ 7347 h 31371"/>
                <a:gd name="connsiteX17" fmla="*/ 62744 w 85152"/>
                <a:gd name="connsiteY17" fmla="*/ 4209 h 31371"/>
                <a:gd name="connsiteX18" fmla="*/ 53780 w 85152"/>
                <a:gd name="connsiteY18" fmla="*/ 13173 h 31371"/>
                <a:gd name="connsiteX19" fmla="*/ 54229 w 85152"/>
                <a:gd name="connsiteY19" fmla="*/ 15862 h 31371"/>
                <a:gd name="connsiteX20" fmla="*/ 43024 w 85152"/>
                <a:gd name="connsiteY20" fmla="*/ 21688 h 31371"/>
                <a:gd name="connsiteX21" fmla="*/ 35854 w 85152"/>
                <a:gd name="connsiteY21" fmla="*/ 17655 h 31371"/>
                <a:gd name="connsiteX22" fmla="*/ 28683 w 85152"/>
                <a:gd name="connsiteY22" fmla="*/ 21240 h 31371"/>
                <a:gd name="connsiteX23" fmla="*/ 17479 w 85152"/>
                <a:gd name="connsiteY23" fmla="*/ 15862 h 31371"/>
                <a:gd name="connsiteX24" fmla="*/ 17927 w 85152"/>
                <a:gd name="connsiteY24" fmla="*/ 13621 h 31371"/>
                <a:gd name="connsiteX25" fmla="*/ 8963 w 85152"/>
                <a:gd name="connsiteY25" fmla="*/ 4209 h 31371"/>
                <a:gd name="connsiteX26" fmla="*/ 62744 w 85152"/>
                <a:gd name="connsiteY26" fmla="*/ 8691 h 31371"/>
                <a:gd name="connsiteX27" fmla="*/ 67226 w 85152"/>
                <a:gd name="connsiteY27" fmla="*/ 13173 h 31371"/>
                <a:gd name="connsiteX28" fmla="*/ 62744 w 85152"/>
                <a:gd name="connsiteY28" fmla="*/ 17655 h 31371"/>
                <a:gd name="connsiteX29" fmla="*/ 58262 w 85152"/>
                <a:gd name="connsiteY29" fmla="*/ 13173 h 31371"/>
                <a:gd name="connsiteX30" fmla="*/ 62744 w 85152"/>
                <a:gd name="connsiteY30" fmla="*/ 8691 h 31371"/>
                <a:gd name="connsiteX31" fmla="*/ 35854 w 85152"/>
                <a:gd name="connsiteY31" fmla="*/ 22136 h 31371"/>
                <a:gd name="connsiteX32" fmla="*/ 40335 w 85152"/>
                <a:gd name="connsiteY32" fmla="*/ 26618 h 31371"/>
                <a:gd name="connsiteX33" fmla="*/ 35854 w 85152"/>
                <a:gd name="connsiteY33" fmla="*/ 31100 h 31371"/>
                <a:gd name="connsiteX34" fmla="*/ 31372 w 85152"/>
                <a:gd name="connsiteY34" fmla="*/ 26618 h 31371"/>
                <a:gd name="connsiteX35" fmla="*/ 35854 w 85152"/>
                <a:gd name="connsiteY35" fmla="*/ 22136 h 31371"/>
                <a:gd name="connsiteX36" fmla="*/ 8963 w 85152"/>
                <a:gd name="connsiteY36" fmla="*/ 17655 h 31371"/>
                <a:gd name="connsiteX37" fmla="*/ 4482 w 85152"/>
                <a:gd name="connsiteY37" fmla="*/ 13173 h 31371"/>
                <a:gd name="connsiteX38" fmla="*/ 8963 w 85152"/>
                <a:gd name="connsiteY38" fmla="*/ 8691 h 31371"/>
                <a:gd name="connsiteX39" fmla="*/ 13445 w 85152"/>
                <a:gd name="connsiteY39" fmla="*/ 13173 h 31371"/>
                <a:gd name="connsiteX40" fmla="*/ 8963 w 85152"/>
                <a:gd name="connsiteY40" fmla="*/ 17655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5152" h="31371">
                  <a:moveTo>
                    <a:pt x="8963" y="4209"/>
                  </a:moveTo>
                  <a:cubicBezTo>
                    <a:pt x="4034" y="4209"/>
                    <a:pt x="0" y="8243"/>
                    <a:pt x="0" y="13173"/>
                  </a:cubicBezTo>
                  <a:cubicBezTo>
                    <a:pt x="0" y="18103"/>
                    <a:pt x="4034" y="22136"/>
                    <a:pt x="8963" y="22136"/>
                  </a:cubicBezTo>
                  <a:cubicBezTo>
                    <a:pt x="11204" y="22136"/>
                    <a:pt x="13445" y="21240"/>
                    <a:pt x="15238" y="19447"/>
                  </a:cubicBezTo>
                  <a:lnTo>
                    <a:pt x="26890" y="25273"/>
                  </a:lnTo>
                  <a:cubicBezTo>
                    <a:pt x="26890" y="25722"/>
                    <a:pt x="26890" y="26170"/>
                    <a:pt x="26890" y="26618"/>
                  </a:cubicBezTo>
                  <a:cubicBezTo>
                    <a:pt x="26890" y="31548"/>
                    <a:pt x="30924" y="35581"/>
                    <a:pt x="35854" y="35581"/>
                  </a:cubicBezTo>
                  <a:cubicBezTo>
                    <a:pt x="40784" y="35581"/>
                    <a:pt x="44817" y="31548"/>
                    <a:pt x="44817" y="26618"/>
                  </a:cubicBezTo>
                  <a:cubicBezTo>
                    <a:pt x="44817" y="26170"/>
                    <a:pt x="44817" y="26170"/>
                    <a:pt x="44817" y="25722"/>
                  </a:cubicBezTo>
                  <a:lnTo>
                    <a:pt x="56469" y="19447"/>
                  </a:lnTo>
                  <a:cubicBezTo>
                    <a:pt x="58262" y="20792"/>
                    <a:pt x="60055" y="22136"/>
                    <a:pt x="62744" y="22136"/>
                  </a:cubicBezTo>
                  <a:cubicBezTo>
                    <a:pt x="67674" y="22136"/>
                    <a:pt x="71707" y="18103"/>
                    <a:pt x="71707" y="13173"/>
                  </a:cubicBezTo>
                  <a:cubicBezTo>
                    <a:pt x="71707" y="12725"/>
                    <a:pt x="71707" y="12276"/>
                    <a:pt x="71707" y="11828"/>
                  </a:cubicBezTo>
                  <a:lnTo>
                    <a:pt x="86497" y="4209"/>
                  </a:lnTo>
                  <a:cubicBezTo>
                    <a:pt x="87393" y="3761"/>
                    <a:pt x="87841" y="2417"/>
                    <a:pt x="87393" y="1072"/>
                  </a:cubicBezTo>
                  <a:cubicBezTo>
                    <a:pt x="86945" y="176"/>
                    <a:pt x="85601" y="-272"/>
                    <a:pt x="84256" y="176"/>
                  </a:cubicBezTo>
                  <a:lnTo>
                    <a:pt x="69466" y="7347"/>
                  </a:lnTo>
                  <a:cubicBezTo>
                    <a:pt x="67674" y="5106"/>
                    <a:pt x="65433" y="4209"/>
                    <a:pt x="62744" y="4209"/>
                  </a:cubicBezTo>
                  <a:cubicBezTo>
                    <a:pt x="57814" y="4209"/>
                    <a:pt x="53780" y="8243"/>
                    <a:pt x="53780" y="13173"/>
                  </a:cubicBezTo>
                  <a:cubicBezTo>
                    <a:pt x="53780" y="14069"/>
                    <a:pt x="53780" y="14966"/>
                    <a:pt x="54229" y="15862"/>
                  </a:cubicBezTo>
                  <a:lnTo>
                    <a:pt x="43024" y="21688"/>
                  </a:lnTo>
                  <a:cubicBezTo>
                    <a:pt x="41232" y="19447"/>
                    <a:pt x="38543" y="17655"/>
                    <a:pt x="35854" y="17655"/>
                  </a:cubicBezTo>
                  <a:cubicBezTo>
                    <a:pt x="33165" y="17655"/>
                    <a:pt x="30476" y="18999"/>
                    <a:pt x="28683" y="21240"/>
                  </a:cubicBezTo>
                  <a:lnTo>
                    <a:pt x="17479" y="15862"/>
                  </a:lnTo>
                  <a:cubicBezTo>
                    <a:pt x="17927" y="14966"/>
                    <a:pt x="17927" y="14069"/>
                    <a:pt x="17927" y="13621"/>
                  </a:cubicBezTo>
                  <a:cubicBezTo>
                    <a:pt x="17927" y="8243"/>
                    <a:pt x="13893" y="4209"/>
                    <a:pt x="8963" y="4209"/>
                  </a:cubicBezTo>
                  <a:close/>
                  <a:moveTo>
                    <a:pt x="62744" y="8691"/>
                  </a:moveTo>
                  <a:cubicBezTo>
                    <a:pt x="64985" y="8691"/>
                    <a:pt x="67226" y="10484"/>
                    <a:pt x="67226" y="13173"/>
                  </a:cubicBezTo>
                  <a:cubicBezTo>
                    <a:pt x="67226" y="15862"/>
                    <a:pt x="65433" y="17655"/>
                    <a:pt x="62744" y="17655"/>
                  </a:cubicBezTo>
                  <a:cubicBezTo>
                    <a:pt x="60055" y="17655"/>
                    <a:pt x="58262" y="15862"/>
                    <a:pt x="58262" y="13173"/>
                  </a:cubicBezTo>
                  <a:cubicBezTo>
                    <a:pt x="58262" y="10484"/>
                    <a:pt x="60503" y="8691"/>
                    <a:pt x="62744" y="8691"/>
                  </a:cubicBezTo>
                  <a:close/>
                  <a:moveTo>
                    <a:pt x="35854" y="22136"/>
                  </a:moveTo>
                  <a:cubicBezTo>
                    <a:pt x="38543" y="22136"/>
                    <a:pt x="40335" y="23929"/>
                    <a:pt x="40335" y="26618"/>
                  </a:cubicBezTo>
                  <a:cubicBezTo>
                    <a:pt x="40335" y="29307"/>
                    <a:pt x="38543" y="31100"/>
                    <a:pt x="35854" y="31100"/>
                  </a:cubicBezTo>
                  <a:cubicBezTo>
                    <a:pt x="33165" y="31100"/>
                    <a:pt x="31372" y="29307"/>
                    <a:pt x="31372" y="26618"/>
                  </a:cubicBezTo>
                  <a:cubicBezTo>
                    <a:pt x="31372" y="23929"/>
                    <a:pt x="33613" y="22136"/>
                    <a:pt x="35854" y="22136"/>
                  </a:cubicBezTo>
                  <a:close/>
                  <a:moveTo>
                    <a:pt x="8963" y="17655"/>
                  </a:moveTo>
                  <a:cubicBezTo>
                    <a:pt x="6274" y="17655"/>
                    <a:pt x="4482" y="15862"/>
                    <a:pt x="4482" y="13173"/>
                  </a:cubicBezTo>
                  <a:cubicBezTo>
                    <a:pt x="4482" y="10484"/>
                    <a:pt x="6274" y="8691"/>
                    <a:pt x="8963" y="8691"/>
                  </a:cubicBezTo>
                  <a:cubicBezTo>
                    <a:pt x="11652" y="8691"/>
                    <a:pt x="13445" y="10484"/>
                    <a:pt x="13445" y="13173"/>
                  </a:cubicBezTo>
                  <a:cubicBezTo>
                    <a:pt x="13445" y="15414"/>
                    <a:pt x="11652" y="17655"/>
                    <a:pt x="8963" y="17655"/>
                  </a:cubicBezTo>
                  <a:close/>
                </a:path>
              </a:pathLst>
            </a:custGeom>
            <a:solidFill>
              <a:srgbClr val="231F20"/>
            </a:solidFill>
            <a:ln w="4477" cap="flat">
              <a:noFill/>
              <a:prstDash val="solid"/>
              <a:miter/>
            </a:ln>
          </p:spPr>
          <p:txBody>
            <a:bodyPr rtlCol="0" anchor="ctr"/>
            <a:lstStyle/>
            <a:p>
              <a:endParaRPr lang="en-US"/>
            </a:p>
          </p:txBody>
        </p:sp>
      </p:grpSp>
      <p:grpSp>
        <p:nvGrpSpPr>
          <p:cNvPr id="2447" name="Group 2446">
            <a:extLst>
              <a:ext uri="{FF2B5EF4-FFF2-40B4-BE49-F238E27FC236}">
                <a16:creationId xmlns:a16="http://schemas.microsoft.com/office/drawing/2014/main" id="{30F3C0F1-6B0B-4F21-ADC1-17108E458ED5}"/>
              </a:ext>
              <a:ext uri="{C183D7F6-B498-43B3-948B-1728B52AA6E4}">
                <adec:decorative xmlns:adec="http://schemas.microsoft.com/office/drawing/2017/decorative" val="1"/>
              </a:ext>
            </a:extLst>
          </p:cNvPr>
          <p:cNvGrpSpPr>
            <a:grpSpLocks noChangeAspect="1"/>
          </p:cNvGrpSpPr>
          <p:nvPr/>
        </p:nvGrpSpPr>
        <p:grpSpPr>
          <a:xfrm>
            <a:off x="1395492" y="4873209"/>
            <a:ext cx="151930" cy="152378"/>
            <a:chOff x="7270227" y="3856041"/>
            <a:chExt cx="151930" cy="152378"/>
          </a:xfrm>
        </p:grpSpPr>
        <p:sp>
          <p:nvSpPr>
            <p:cNvPr id="2570" name="Freeform: Shape 2569">
              <a:extLst>
                <a:ext uri="{FF2B5EF4-FFF2-40B4-BE49-F238E27FC236}">
                  <a16:creationId xmlns:a16="http://schemas.microsoft.com/office/drawing/2014/main" id="{763D0CE8-DCD4-4C3B-A07C-E8C4201E1E89}"/>
                </a:ext>
              </a:extLst>
            </p:cNvPr>
            <p:cNvSpPr/>
            <p:nvPr/>
          </p:nvSpPr>
          <p:spPr>
            <a:xfrm>
              <a:off x="7337005" y="3856041"/>
              <a:ext cx="85152" cy="152378"/>
            </a:xfrm>
            <a:custGeom>
              <a:avLst/>
              <a:gdLst>
                <a:gd name="connsiteX0" fmla="*/ 79774 w 85152"/>
                <a:gd name="connsiteY0" fmla="*/ 0 h 152377"/>
                <a:gd name="connsiteX1" fmla="*/ 5826 w 85152"/>
                <a:gd name="connsiteY1" fmla="*/ 0 h 152377"/>
                <a:gd name="connsiteX2" fmla="*/ 448 w 85152"/>
                <a:gd name="connsiteY2" fmla="*/ 4034 h 152377"/>
                <a:gd name="connsiteX3" fmla="*/ 448 w 85152"/>
                <a:gd name="connsiteY3" fmla="*/ 12101 h 152377"/>
                <a:gd name="connsiteX4" fmla="*/ 448 w 85152"/>
                <a:gd name="connsiteY4" fmla="*/ 13893 h 152377"/>
                <a:gd name="connsiteX5" fmla="*/ 448 w 85152"/>
                <a:gd name="connsiteY5" fmla="*/ 59607 h 152377"/>
                <a:gd name="connsiteX6" fmla="*/ 2689 w 85152"/>
                <a:gd name="connsiteY6" fmla="*/ 61847 h 152377"/>
                <a:gd name="connsiteX7" fmla="*/ 4930 w 85152"/>
                <a:gd name="connsiteY7" fmla="*/ 59607 h 152377"/>
                <a:gd name="connsiteX8" fmla="*/ 4930 w 85152"/>
                <a:gd name="connsiteY8" fmla="*/ 17479 h 152377"/>
                <a:gd name="connsiteX9" fmla="*/ 5826 w 85152"/>
                <a:gd name="connsiteY9" fmla="*/ 17479 h 152377"/>
                <a:gd name="connsiteX10" fmla="*/ 79774 w 85152"/>
                <a:gd name="connsiteY10" fmla="*/ 17479 h 152377"/>
                <a:gd name="connsiteX11" fmla="*/ 80671 w 85152"/>
                <a:gd name="connsiteY11" fmla="*/ 17479 h 152377"/>
                <a:gd name="connsiteX12" fmla="*/ 80671 w 85152"/>
                <a:gd name="connsiteY12" fmla="*/ 118765 h 152377"/>
                <a:gd name="connsiteX13" fmla="*/ 78430 w 85152"/>
                <a:gd name="connsiteY13" fmla="*/ 121006 h 152377"/>
                <a:gd name="connsiteX14" fmla="*/ 6723 w 85152"/>
                <a:gd name="connsiteY14" fmla="*/ 121006 h 152377"/>
                <a:gd name="connsiteX15" fmla="*/ 4482 w 85152"/>
                <a:gd name="connsiteY15" fmla="*/ 118765 h 152377"/>
                <a:gd name="connsiteX16" fmla="*/ 4482 w 85152"/>
                <a:gd name="connsiteY16" fmla="*/ 96357 h 152377"/>
                <a:gd name="connsiteX17" fmla="*/ 2241 w 85152"/>
                <a:gd name="connsiteY17" fmla="*/ 94116 h 152377"/>
                <a:gd name="connsiteX18" fmla="*/ 0 w 85152"/>
                <a:gd name="connsiteY18" fmla="*/ 96357 h 152377"/>
                <a:gd name="connsiteX19" fmla="*/ 0 w 85152"/>
                <a:gd name="connsiteY19" fmla="*/ 118765 h 152377"/>
                <a:gd name="connsiteX20" fmla="*/ 6723 w 85152"/>
                <a:gd name="connsiteY20" fmla="*/ 125488 h 152377"/>
                <a:gd name="connsiteX21" fmla="*/ 26890 w 85152"/>
                <a:gd name="connsiteY21" fmla="*/ 125488 h 152377"/>
                <a:gd name="connsiteX22" fmla="*/ 26890 w 85152"/>
                <a:gd name="connsiteY22" fmla="*/ 150137 h 152377"/>
                <a:gd name="connsiteX23" fmla="*/ 29131 w 85152"/>
                <a:gd name="connsiteY23" fmla="*/ 152378 h 152377"/>
                <a:gd name="connsiteX24" fmla="*/ 31372 w 85152"/>
                <a:gd name="connsiteY24" fmla="*/ 150137 h 152377"/>
                <a:gd name="connsiteX25" fmla="*/ 31372 w 85152"/>
                <a:gd name="connsiteY25" fmla="*/ 125488 h 152377"/>
                <a:gd name="connsiteX26" fmla="*/ 53780 w 85152"/>
                <a:gd name="connsiteY26" fmla="*/ 125488 h 152377"/>
                <a:gd name="connsiteX27" fmla="*/ 53780 w 85152"/>
                <a:gd name="connsiteY27" fmla="*/ 150137 h 152377"/>
                <a:gd name="connsiteX28" fmla="*/ 56021 w 85152"/>
                <a:gd name="connsiteY28" fmla="*/ 152378 h 152377"/>
                <a:gd name="connsiteX29" fmla="*/ 58262 w 85152"/>
                <a:gd name="connsiteY29" fmla="*/ 150137 h 152377"/>
                <a:gd name="connsiteX30" fmla="*/ 58262 w 85152"/>
                <a:gd name="connsiteY30" fmla="*/ 125488 h 152377"/>
                <a:gd name="connsiteX31" fmla="*/ 78430 w 85152"/>
                <a:gd name="connsiteY31" fmla="*/ 125488 h 152377"/>
                <a:gd name="connsiteX32" fmla="*/ 85152 w 85152"/>
                <a:gd name="connsiteY32" fmla="*/ 118765 h 152377"/>
                <a:gd name="connsiteX33" fmla="*/ 85152 w 85152"/>
                <a:gd name="connsiteY33" fmla="*/ 13893 h 152377"/>
                <a:gd name="connsiteX34" fmla="*/ 85152 w 85152"/>
                <a:gd name="connsiteY34" fmla="*/ 3585 h 152377"/>
                <a:gd name="connsiteX35" fmla="*/ 79774 w 85152"/>
                <a:gd name="connsiteY35" fmla="*/ 0 h 152377"/>
                <a:gd name="connsiteX36" fmla="*/ 5826 w 85152"/>
                <a:gd name="connsiteY36" fmla="*/ 13445 h 152377"/>
                <a:gd name="connsiteX37" fmla="*/ 4930 w 85152"/>
                <a:gd name="connsiteY37" fmla="*/ 13445 h 152377"/>
                <a:gd name="connsiteX38" fmla="*/ 4930 w 85152"/>
                <a:gd name="connsiteY38" fmla="*/ 12549 h 152377"/>
                <a:gd name="connsiteX39" fmla="*/ 4930 w 85152"/>
                <a:gd name="connsiteY39" fmla="*/ 4930 h 152377"/>
                <a:gd name="connsiteX40" fmla="*/ 5826 w 85152"/>
                <a:gd name="connsiteY40" fmla="*/ 4930 h 152377"/>
                <a:gd name="connsiteX41" fmla="*/ 79774 w 85152"/>
                <a:gd name="connsiteY41" fmla="*/ 4930 h 152377"/>
                <a:gd name="connsiteX42" fmla="*/ 80671 w 85152"/>
                <a:gd name="connsiteY42" fmla="*/ 4930 h 152377"/>
                <a:gd name="connsiteX43" fmla="*/ 80671 w 85152"/>
                <a:gd name="connsiteY43" fmla="*/ 13445 h 152377"/>
                <a:gd name="connsiteX44" fmla="*/ 79774 w 85152"/>
                <a:gd name="connsiteY44" fmla="*/ 13445 h 152377"/>
                <a:gd name="connsiteX45" fmla="*/ 5826 w 85152"/>
                <a:gd name="connsiteY45" fmla="*/ 1344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5152" h="152377">
                  <a:moveTo>
                    <a:pt x="79774" y="0"/>
                  </a:moveTo>
                  <a:lnTo>
                    <a:pt x="5826" y="0"/>
                  </a:lnTo>
                  <a:cubicBezTo>
                    <a:pt x="2689" y="0"/>
                    <a:pt x="448" y="1793"/>
                    <a:pt x="448" y="4034"/>
                  </a:cubicBezTo>
                  <a:lnTo>
                    <a:pt x="448" y="12101"/>
                  </a:lnTo>
                  <a:lnTo>
                    <a:pt x="448" y="13893"/>
                  </a:lnTo>
                  <a:lnTo>
                    <a:pt x="448" y="59607"/>
                  </a:lnTo>
                  <a:cubicBezTo>
                    <a:pt x="448" y="60951"/>
                    <a:pt x="1345" y="61847"/>
                    <a:pt x="2689" y="61847"/>
                  </a:cubicBezTo>
                  <a:cubicBezTo>
                    <a:pt x="4034" y="61847"/>
                    <a:pt x="4930" y="60951"/>
                    <a:pt x="4930" y="59607"/>
                  </a:cubicBezTo>
                  <a:lnTo>
                    <a:pt x="4930" y="17479"/>
                  </a:lnTo>
                  <a:cubicBezTo>
                    <a:pt x="5378" y="17479"/>
                    <a:pt x="5826" y="17479"/>
                    <a:pt x="5826" y="17479"/>
                  </a:cubicBezTo>
                  <a:lnTo>
                    <a:pt x="79774" y="17479"/>
                  </a:lnTo>
                  <a:cubicBezTo>
                    <a:pt x="80222" y="17479"/>
                    <a:pt x="80671" y="17479"/>
                    <a:pt x="80671" y="17479"/>
                  </a:cubicBezTo>
                  <a:lnTo>
                    <a:pt x="80671" y="118765"/>
                  </a:lnTo>
                  <a:cubicBezTo>
                    <a:pt x="80671" y="120110"/>
                    <a:pt x="79774" y="121006"/>
                    <a:pt x="78430" y="121006"/>
                  </a:cubicBezTo>
                  <a:lnTo>
                    <a:pt x="6723" y="121006"/>
                  </a:lnTo>
                  <a:cubicBezTo>
                    <a:pt x="5378" y="121006"/>
                    <a:pt x="4482" y="120110"/>
                    <a:pt x="4482" y="118765"/>
                  </a:cubicBezTo>
                  <a:lnTo>
                    <a:pt x="4482" y="96357"/>
                  </a:lnTo>
                  <a:cubicBezTo>
                    <a:pt x="4482" y="95012"/>
                    <a:pt x="3585" y="94116"/>
                    <a:pt x="2241" y="94116"/>
                  </a:cubicBezTo>
                  <a:cubicBezTo>
                    <a:pt x="896" y="94116"/>
                    <a:pt x="0" y="95012"/>
                    <a:pt x="0" y="96357"/>
                  </a:cubicBezTo>
                  <a:lnTo>
                    <a:pt x="0" y="118765"/>
                  </a:lnTo>
                  <a:cubicBezTo>
                    <a:pt x="0" y="122350"/>
                    <a:pt x="3137" y="125488"/>
                    <a:pt x="6723" y="125488"/>
                  </a:cubicBezTo>
                  <a:lnTo>
                    <a:pt x="26890" y="125488"/>
                  </a:lnTo>
                  <a:lnTo>
                    <a:pt x="26890" y="150137"/>
                  </a:lnTo>
                  <a:cubicBezTo>
                    <a:pt x="26890" y="151482"/>
                    <a:pt x="27787" y="152378"/>
                    <a:pt x="29131" y="152378"/>
                  </a:cubicBezTo>
                  <a:cubicBezTo>
                    <a:pt x="30476" y="152378"/>
                    <a:pt x="31372" y="151482"/>
                    <a:pt x="31372" y="150137"/>
                  </a:cubicBezTo>
                  <a:lnTo>
                    <a:pt x="31372" y="125488"/>
                  </a:lnTo>
                  <a:lnTo>
                    <a:pt x="53780" y="125488"/>
                  </a:lnTo>
                  <a:lnTo>
                    <a:pt x="53780" y="150137"/>
                  </a:lnTo>
                  <a:cubicBezTo>
                    <a:pt x="53780" y="151482"/>
                    <a:pt x="54677" y="152378"/>
                    <a:pt x="56021" y="152378"/>
                  </a:cubicBezTo>
                  <a:cubicBezTo>
                    <a:pt x="57366" y="152378"/>
                    <a:pt x="58262" y="151482"/>
                    <a:pt x="58262" y="150137"/>
                  </a:cubicBezTo>
                  <a:lnTo>
                    <a:pt x="58262" y="125488"/>
                  </a:lnTo>
                  <a:lnTo>
                    <a:pt x="78430" y="125488"/>
                  </a:lnTo>
                  <a:cubicBezTo>
                    <a:pt x="82015" y="125488"/>
                    <a:pt x="85152" y="122350"/>
                    <a:pt x="85152" y="118765"/>
                  </a:cubicBezTo>
                  <a:lnTo>
                    <a:pt x="85152" y="13893"/>
                  </a:lnTo>
                  <a:lnTo>
                    <a:pt x="85152" y="3585"/>
                  </a:lnTo>
                  <a:cubicBezTo>
                    <a:pt x="85600" y="1344"/>
                    <a:pt x="83360" y="0"/>
                    <a:pt x="79774" y="0"/>
                  </a:cubicBezTo>
                  <a:close/>
                  <a:moveTo>
                    <a:pt x="5826" y="13445"/>
                  </a:moveTo>
                  <a:cubicBezTo>
                    <a:pt x="5378" y="13445"/>
                    <a:pt x="4930" y="13445"/>
                    <a:pt x="4930" y="13445"/>
                  </a:cubicBezTo>
                  <a:lnTo>
                    <a:pt x="4930" y="12549"/>
                  </a:lnTo>
                  <a:lnTo>
                    <a:pt x="4930" y="4930"/>
                  </a:lnTo>
                  <a:cubicBezTo>
                    <a:pt x="5378" y="4930"/>
                    <a:pt x="5378" y="4930"/>
                    <a:pt x="5826" y="4930"/>
                  </a:cubicBezTo>
                  <a:lnTo>
                    <a:pt x="79774" y="4930"/>
                  </a:lnTo>
                  <a:cubicBezTo>
                    <a:pt x="80222" y="4930"/>
                    <a:pt x="80671" y="4930"/>
                    <a:pt x="80671" y="4930"/>
                  </a:cubicBezTo>
                  <a:lnTo>
                    <a:pt x="80671" y="13445"/>
                  </a:lnTo>
                  <a:cubicBezTo>
                    <a:pt x="80222" y="13445"/>
                    <a:pt x="80222" y="13445"/>
                    <a:pt x="79774" y="13445"/>
                  </a:cubicBezTo>
                  <a:lnTo>
                    <a:pt x="5826" y="13445"/>
                  </a:lnTo>
                  <a:close/>
                </a:path>
              </a:pathLst>
            </a:custGeom>
            <a:solidFill>
              <a:srgbClr val="231F20"/>
            </a:solidFill>
            <a:ln w="4477" cap="flat">
              <a:noFill/>
              <a:prstDash val="solid"/>
              <a:miter/>
            </a:ln>
          </p:spPr>
          <p:txBody>
            <a:bodyPr rtlCol="0" anchor="ctr"/>
            <a:lstStyle/>
            <a:p>
              <a:endParaRPr lang="en-US"/>
            </a:p>
          </p:txBody>
        </p:sp>
        <p:sp>
          <p:nvSpPr>
            <p:cNvPr id="2571" name="Freeform: Shape 2570">
              <a:extLst>
                <a:ext uri="{FF2B5EF4-FFF2-40B4-BE49-F238E27FC236}">
                  <a16:creationId xmlns:a16="http://schemas.microsoft.com/office/drawing/2014/main" id="{4991A028-C7E1-4F26-9D9A-8E5E9F197E88}"/>
                </a:ext>
              </a:extLst>
            </p:cNvPr>
            <p:cNvSpPr/>
            <p:nvPr/>
          </p:nvSpPr>
          <p:spPr>
            <a:xfrm>
              <a:off x="7285017" y="3884276"/>
              <a:ext cx="26890" cy="26890"/>
            </a:xfrm>
            <a:custGeom>
              <a:avLst/>
              <a:gdLst>
                <a:gd name="connsiteX0" fmla="*/ 14341 w 26890"/>
                <a:gd name="connsiteY0" fmla="*/ 28683 h 26890"/>
                <a:gd name="connsiteX1" fmla="*/ 28683 w 26890"/>
                <a:gd name="connsiteY1" fmla="*/ 14342 h 26890"/>
                <a:gd name="connsiteX2" fmla="*/ 14341 w 26890"/>
                <a:gd name="connsiteY2" fmla="*/ 0 h 26890"/>
                <a:gd name="connsiteX3" fmla="*/ 0 w 26890"/>
                <a:gd name="connsiteY3" fmla="*/ 14342 h 26890"/>
                <a:gd name="connsiteX4" fmla="*/ 14341 w 26890"/>
                <a:gd name="connsiteY4" fmla="*/ 28683 h 26890"/>
                <a:gd name="connsiteX5" fmla="*/ 14341 w 26890"/>
                <a:gd name="connsiteY5" fmla="*/ 4482 h 26890"/>
                <a:gd name="connsiteX6" fmla="*/ 24201 w 26890"/>
                <a:gd name="connsiteY6" fmla="*/ 14342 h 26890"/>
                <a:gd name="connsiteX7" fmla="*/ 14341 w 26890"/>
                <a:gd name="connsiteY7" fmla="*/ 24201 h 26890"/>
                <a:gd name="connsiteX8" fmla="*/ 4482 w 26890"/>
                <a:gd name="connsiteY8" fmla="*/ 14342 h 26890"/>
                <a:gd name="connsiteX9" fmla="*/ 14341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1" y="28683"/>
                  </a:moveTo>
                  <a:cubicBezTo>
                    <a:pt x="22409" y="28683"/>
                    <a:pt x="28683" y="22409"/>
                    <a:pt x="28683" y="14342"/>
                  </a:cubicBezTo>
                  <a:cubicBezTo>
                    <a:pt x="28683" y="6274"/>
                    <a:pt x="22409" y="0"/>
                    <a:pt x="14341" y="0"/>
                  </a:cubicBezTo>
                  <a:cubicBezTo>
                    <a:pt x="6274" y="0"/>
                    <a:pt x="0" y="6274"/>
                    <a:pt x="0" y="14342"/>
                  </a:cubicBezTo>
                  <a:cubicBezTo>
                    <a:pt x="0" y="21960"/>
                    <a:pt x="6274" y="28683"/>
                    <a:pt x="14341" y="28683"/>
                  </a:cubicBezTo>
                  <a:close/>
                  <a:moveTo>
                    <a:pt x="14341" y="4482"/>
                  </a:moveTo>
                  <a:cubicBezTo>
                    <a:pt x="19720" y="4482"/>
                    <a:pt x="24201" y="8963"/>
                    <a:pt x="24201" y="14342"/>
                  </a:cubicBezTo>
                  <a:cubicBezTo>
                    <a:pt x="24201" y="19720"/>
                    <a:pt x="19720" y="24201"/>
                    <a:pt x="14341" y="24201"/>
                  </a:cubicBezTo>
                  <a:cubicBezTo>
                    <a:pt x="8963" y="24201"/>
                    <a:pt x="4482" y="19720"/>
                    <a:pt x="4482" y="14342"/>
                  </a:cubicBezTo>
                  <a:cubicBezTo>
                    <a:pt x="4482" y="8515"/>
                    <a:pt x="8963" y="4482"/>
                    <a:pt x="14341" y="4482"/>
                  </a:cubicBezTo>
                  <a:close/>
                </a:path>
              </a:pathLst>
            </a:custGeom>
            <a:solidFill>
              <a:srgbClr val="231F20"/>
            </a:solidFill>
            <a:ln w="4477" cap="flat">
              <a:noFill/>
              <a:prstDash val="solid"/>
              <a:miter/>
            </a:ln>
          </p:spPr>
          <p:txBody>
            <a:bodyPr rtlCol="0" anchor="ctr"/>
            <a:lstStyle/>
            <a:p>
              <a:endParaRPr lang="en-US"/>
            </a:p>
          </p:txBody>
        </p:sp>
        <p:sp>
          <p:nvSpPr>
            <p:cNvPr id="2572" name="Freeform: Shape 2571">
              <a:extLst>
                <a:ext uri="{FF2B5EF4-FFF2-40B4-BE49-F238E27FC236}">
                  <a16:creationId xmlns:a16="http://schemas.microsoft.com/office/drawing/2014/main" id="{9104752B-070D-4957-BF27-4F380B805F50}"/>
                </a:ext>
              </a:extLst>
            </p:cNvPr>
            <p:cNvSpPr/>
            <p:nvPr/>
          </p:nvSpPr>
          <p:spPr>
            <a:xfrm>
              <a:off x="7270227" y="3916544"/>
              <a:ext cx="76189" cy="89634"/>
            </a:xfrm>
            <a:custGeom>
              <a:avLst/>
              <a:gdLst>
                <a:gd name="connsiteX0" fmla="*/ 76637 w 76188"/>
                <a:gd name="connsiteY0" fmla="*/ 20168 h 89634"/>
                <a:gd name="connsiteX1" fmla="*/ 78878 w 76188"/>
                <a:gd name="connsiteY1" fmla="*/ 12101 h 89634"/>
                <a:gd name="connsiteX2" fmla="*/ 72604 w 76188"/>
                <a:gd name="connsiteY2" fmla="*/ 5826 h 89634"/>
                <a:gd name="connsiteX3" fmla="*/ 64537 w 76188"/>
                <a:gd name="connsiteY3" fmla="*/ 8067 h 89634"/>
                <a:gd name="connsiteX4" fmla="*/ 61847 w 76188"/>
                <a:gd name="connsiteY4" fmla="*/ 10756 h 89634"/>
                <a:gd name="connsiteX5" fmla="*/ 59159 w 76188"/>
                <a:gd name="connsiteY5" fmla="*/ 8515 h 89634"/>
                <a:gd name="connsiteX6" fmla="*/ 45265 w 76188"/>
                <a:gd name="connsiteY6" fmla="*/ 0 h 89634"/>
                <a:gd name="connsiteX7" fmla="*/ 45265 w 76188"/>
                <a:gd name="connsiteY7" fmla="*/ 0 h 89634"/>
                <a:gd name="connsiteX8" fmla="*/ 12997 w 76188"/>
                <a:gd name="connsiteY8" fmla="*/ 0 h 89634"/>
                <a:gd name="connsiteX9" fmla="*/ 0 w 76188"/>
                <a:gd name="connsiteY9" fmla="*/ 13445 h 89634"/>
                <a:gd name="connsiteX10" fmla="*/ 0 w 76188"/>
                <a:gd name="connsiteY10" fmla="*/ 46610 h 89634"/>
                <a:gd name="connsiteX11" fmla="*/ 5826 w 76188"/>
                <a:gd name="connsiteY11" fmla="*/ 52436 h 89634"/>
                <a:gd name="connsiteX12" fmla="*/ 10756 w 76188"/>
                <a:gd name="connsiteY12" fmla="*/ 52436 h 89634"/>
                <a:gd name="connsiteX13" fmla="*/ 10756 w 76188"/>
                <a:gd name="connsiteY13" fmla="*/ 85600 h 89634"/>
                <a:gd name="connsiteX14" fmla="*/ 16582 w 76188"/>
                <a:gd name="connsiteY14" fmla="*/ 91427 h 89634"/>
                <a:gd name="connsiteX15" fmla="*/ 41680 w 76188"/>
                <a:gd name="connsiteY15" fmla="*/ 91427 h 89634"/>
                <a:gd name="connsiteX16" fmla="*/ 47506 w 76188"/>
                <a:gd name="connsiteY16" fmla="*/ 85600 h 89634"/>
                <a:gd name="connsiteX17" fmla="*/ 47506 w 76188"/>
                <a:gd name="connsiteY17" fmla="*/ 22857 h 89634"/>
                <a:gd name="connsiteX18" fmla="*/ 61847 w 76188"/>
                <a:gd name="connsiteY18" fmla="*/ 31820 h 89634"/>
                <a:gd name="connsiteX19" fmla="*/ 61847 w 76188"/>
                <a:gd name="connsiteY19" fmla="*/ 31820 h 89634"/>
                <a:gd name="connsiteX20" fmla="*/ 68122 w 76188"/>
                <a:gd name="connsiteY20" fmla="*/ 28683 h 89634"/>
                <a:gd name="connsiteX21" fmla="*/ 76637 w 76188"/>
                <a:gd name="connsiteY21" fmla="*/ 20168 h 89634"/>
                <a:gd name="connsiteX22" fmla="*/ 62744 w 76188"/>
                <a:gd name="connsiteY22" fmla="*/ 27787 h 89634"/>
                <a:gd name="connsiteX23" fmla="*/ 47058 w 76188"/>
                <a:gd name="connsiteY23" fmla="*/ 17030 h 89634"/>
                <a:gd name="connsiteX24" fmla="*/ 46610 w 76188"/>
                <a:gd name="connsiteY24" fmla="*/ 17030 h 89634"/>
                <a:gd name="connsiteX25" fmla="*/ 46162 w 76188"/>
                <a:gd name="connsiteY25" fmla="*/ 17030 h 89634"/>
                <a:gd name="connsiteX26" fmla="*/ 45713 w 76188"/>
                <a:gd name="connsiteY26" fmla="*/ 17030 h 89634"/>
                <a:gd name="connsiteX27" fmla="*/ 45265 w 76188"/>
                <a:gd name="connsiteY27" fmla="*/ 17030 h 89634"/>
                <a:gd name="connsiteX28" fmla="*/ 45265 w 76188"/>
                <a:gd name="connsiteY28" fmla="*/ 17030 h 89634"/>
                <a:gd name="connsiteX29" fmla="*/ 44817 w 76188"/>
                <a:gd name="connsiteY29" fmla="*/ 17030 h 89634"/>
                <a:gd name="connsiteX30" fmla="*/ 44369 w 76188"/>
                <a:gd name="connsiteY30" fmla="*/ 17030 h 89634"/>
                <a:gd name="connsiteX31" fmla="*/ 43921 w 76188"/>
                <a:gd name="connsiteY31" fmla="*/ 17479 h 89634"/>
                <a:gd name="connsiteX32" fmla="*/ 43473 w 76188"/>
                <a:gd name="connsiteY32" fmla="*/ 17927 h 89634"/>
                <a:gd name="connsiteX33" fmla="*/ 43473 w 76188"/>
                <a:gd name="connsiteY33" fmla="*/ 17927 h 89634"/>
                <a:gd name="connsiteX34" fmla="*/ 43473 w 76188"/>
                <a:gd name="connsiteY34" fmla="*/ 18375 h 89634"/>
                <a:gd name="connsiteX35" fmla="*/ 43473 w 76188"/>
                <a:gd name="connsiteY35" fmla="*/ 18823 h 89634"/>
                <a:gd name="connsiteX36" fmla="*/ 43473 w 76188"/>
                <a:gd name="connsiteY36" fmla="*/ 19271 h 89634"/>
                <a:gd name="connsiteX37" fmla="*/ 43473 w 76188"/>
                <a:gd name="connsiteY37" fmla="*/ 19720 h 89634"/>
                <a:gd name="connsiteX38" fmla="*/ 43473 w 76188"/>
                <a:gd name="connsiteY38" fmla="*/ 86945 h 89634"/>
                <a:gd name="connsiteX39" fmla="*/ 42128 w 76188"/>
                <a:gd name="connsiteY39" fmla="*/ 88290 h 89634"/>
                <a:gd name="connsiteX40" fmla="*/ 31820 w 76188"/>
                <a:gd name="connsiteY40" fmla="*/ 88290 h 89634"/>
                <a:gd name="connsiteX41" fmla="*/ 31820 w 76188"/>
                <a:gd name="connsiteY41" fmla="*/ 51540 h 89634"/>
                <a:gd name="connsiteX42" fmla="*/ 29579 w 76188"/>
                <a:gd name="connsiteY42" fmla="*/ 49299 h 89634"/>
                <a:gd name="connsiteX43" fmla="*/ 27338 w 76188"/>
                <a:gd name="connsiteY43" fmla="*/ 51540 h 89634"/>
                <a:gd name="connsiteX44" fmla="*/ 27338 w 76188"/>
                <a:gd name="connsiteY44" fmla="*/ 88290 h 89634"/>
                <a:gd name="connsiteX45" fmla="*/ 17030 w 76188"/>
                <a:gd name="connsiteY45" fmla="*/ 88290 h 89634"/>
                <a:gd name="connsiteX46" fmla="*/ 15686 w 76188"/>
                <a:gd name="connsiteY46" fmla="*/ 86945 h 89634"/>
                <a:gd name="connsiteX47" fmla="*/ 15686 w 76188"/>
                <a:gd name="connsiteY47" fmla="*/ 51988 h 89634"/>
                <a:gd name="connsiteX48" fmla="*/ 15686 w 76188"/>
                <a:gd name="connsiteY48" fmla="*/ 51540 h 89634"/>
                <a:gd name="connsiteX49" fmla="*/ 15686 w 76188"/>
                <a:gd name="connsiteY49" fmla="*/ 51092 h 89634"/>
                <a:gd name="connsiteX50" fmla="*/ 15686 w 76188"/>
                <a:gd name="connsiteY50" fmla="*/ 20168 h 89634"/>
                <a:gd name="connsiteX51" fmla="*/ 13445 w 76188"/>
                <a:gd name="connsiteY51" fmla="*/ 17927 h 89634"/>
                <a:gd name="connsiteX52" fmla="*/ 11204 w 76188"/>
                <a:gd name="connsiteY52" fmla="*/ 20168 h 89634"/>
                <a:gd name="connsiteX53" fmla="*/ 11204 w 76188"/>
                <a:gd name="connsiteY53" fmla="*/ 49299 h 89634"/>
                <a:gd name="connsiteX54" fmla="*/ 6274 w 76188"/>
                <a:gd name="connsiteY54" fmla="*/ 49299 h 89634"/>
                <a:gd name="connsiteX55" fmla="*/ 4930 w 76188"/>
                <a:gd name="connsiteY55" fmla="*/ 47954 h 89634"/>
                <a:gd name="connsiteX56" fmla="*/ 4930 w 76188"/>
                <a:gd name="connsiteY56" fmla="*/ 13445 h 89634"/>
                <a:gd name="connsiteX57" fmla="*/ 13445 w 76188"/>
                <a:gd name="connsiteY57" fmla="*/ 4482 h 89634"/>
                <a:gd name="connsiteX58" fmla="*/ 45713 w 76188"/>
                <a:gd name="connsiteY58" fmla="*/ 4482 h 89634"/>
                <a:gd name="connsiteX59" fmla="*/ 45713 w 76188"/>
                <a:gd name="connsiteY59" fmla="*/ 4482 h 89634"/>
                <a:gd name="connsiteX60" fmla="*/ 56918 w 76188"/>
                <a:gd name="connsiteY60" fmla="*/ 12101 h 89634"/>
                <a:gd name="connsiteX61" fmla="*/ 60951 w 76188"/>
                <a:gd name="connsiteY61" fmla="*/ 15238 h 89634"/>
                <a:gd name="connsiteX62" fmla="*/ 64985 w 76188"/>
                <a:gd name="connsiteY62" fmla="*/ 14790 h 89634"/>
                <a:gd name="connsiteX63" fmla="*/ 68570 w 76188"/>
                <a:gd name="connsiteY63" fmla="*/ 11204 h 89634"/>
                <a:gd name="connsiteX64" fmla="*/ 72155 w 76188"/>
                <a:gd name="connsiteY64" fmla="*/ 10308 h 89634"/>
                <a:gd name="connsiteX65" fmla="*/ 75293 w 76188"/>
                <a:gd name="connsiteY65" fmla="*/ 13445 h 89634"/>
                <a:gd name="connsiteX66" fmla="*/ 74396 w 76188"/>
                <a:gd name="connsiteY66" fmla="*/ 17479 h 89634"/>
                <a:gd name="connsiteX67" fmla="*/ 66329 w 76188"/>
                <a:gd name="connsiteY67" fmla="*/ 25994 h 89634"/>
                <a:gd name="connsiteX68" fmla="*/ 62744 w 76188"/>
                <a:gd name="connsiteY68" fmla="*/ 27787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6188" h="89634">
                  <a:moveTo>
                    <a:pt x="76637" y="20168"/>
                  </a:moveTo>
                  <a:cubicBezTo>
                    <a:pt x="78878" y="17927"/>
                    <a:pt x="79774" y="14790"/>
                    <a:pt x="78878" y="12101"/>
                  </a:cubicBezTo>
                  <a:cubicBezTo>
                    <a:pt x="77982" y="8963"/>
                    <a:pt x="75741" y="6723"/>
                    <a:pt x="72604" y="5826"/>
                  </a:cubicBezTo>
                  <a:cubicBezTo>
                    <a:pt x="69915" y="4930"/>
                    <a:pt x="66777" y="5826"/>
                    <a:pt x="64537" y="8067"/>
                  </a:cubicBezTo>
                  <a:lnTo>
                    <a:pt x="61847" y="10756"/>
                  </a:lnTo>
                  <a:cubicBezTo>
                    <a:pt x="60951" y="10308"/>
                    <a:pt x="60055" y="9411"/>
                    <a:pt x="59159" y="8515"/>
                  </a:cubicBezTo>
                  <a:cubicBezTo>
                    <a:pt x="53332" y="3585"/>
                    <a:pt x="48402" y="0"/>
                    <a:pt x="45265" y="0"/>
                  </a:cubicBezTo>
                  <a:cubicBezTo>
                    <a:pt x="45265" y="0"/>
                    <a:pt x="45265" y="0"/>
                    <a:pt x="45265" y="0"/>
                  </a:cubicBezTo>
                  <a:lnTo>
                    <a:pt x="12997" y="0"/>
                  </a:lnTo>
                  <a:cubicBezTo>
                    <a:pt x="5826" y="0"/>
                    <a:pt x="0" y="5826"/>
                    <a:pt x="0" y="13445"/>
                  </a:cubicBezTo>
                  <a:lnTo>
                    <a:pt x="0" y="46610"/>
                  </a:lnTo>
                  <a:cubicBezTo>
                    <a:pt x="0" y="49747"/>
                    <a:pt x="2689" y="52436"/>
                    <a:pt x="5826" y="52436"/>
                  </a:cubicBezTo>
                  <a:lnTo>
                    <a:pt x="10756" y="52436"/>
                  </a:lnTo>
                  <a:lnTo>
                    <a:pt x="10756" y="85600"/>
                  </a:lnTo>
                  <a:cubicBezTo>
                    <a:pt x="10756" y="88738"/>
                    <a:pt x="13445" y="91427"/>
                    <a:pt x="16582" y="91427"/>
                  </a:cubicBezTo>
                  <a:lnTo>
                    <a:pt x="41680" y="91427"/>
                  </a:lnTo>
                  <a:cubicBezTo>
                    <a:pt x="44817" y="91427"/>
                    <a:pt x="47506" y="88738"/>
                    <a:pt x="47506" y="85600"/>
                  </a:cubicBezTo>
                  <a:lnTo>
                    <a:pt x="47506" y="22857"/>
                  </a:lnTo>
                  <a:cubicBezTo>
                    <a:pt x="60055" y="31820"/>
                    <a:pt x="61399" y="31820"/>
                    <a:pt x="61847" y="31820"/>
                  </a:cubicBezTo>
                  <a:cubicBezTo>
                    <a:pt x="61847" y="31820"/>
                    <a:pt x="61847" y="31820"/>
                    <a:pt x="61847" y="31820"/>
                  </a:cubicBezTo>
                  <a:cubicBezTo>
                    <a:pt x="64088" y="31820"/>
                    <a:pt x="65881" y="30924"/>
                    <a:pt x="68122" y="28683"/>
                  </a:cubicBezTo>
                  <a:lnTo>
                    <a:pt x="76637" y="20168"/>
                  </a:lnTo>
                  <a:close/>
                  <a:moveTo>
                    <a:pt x="62744" y="27787"/>
                  </a:moveTo>
                  <a:cubicBezTo>
                    <a:pt x="61399" y="27338"/>
                    <a:pt x="53332" y="21960"/>
                    <a:pt x="47058" y="17030"/>
                  </a:cubicBezTo>
                  <a:cubicBezTo>
                    <a:pt x="47058" y="17030"/>
                    <a:pt x="47058" y="17030"/>
                    <a:pt x="46610" y="17030"/>
                  </a:cubicBezTo>
                  <a:cubicBezTo>
                    <a:pt x="46610" y="17030"/>
                    <a:pt x="46162" y="17030"/>
                    <a:pt x="46162" y="17030"/>
                  </a:cubicBezTo>
                  <a:cubicBezTo>
                    <a:pt x="46162" y="17030"/>
                    <a:pt x="45713" y="17030"/>
                    <a:pt x="45713" y="17030"/>
                  </a:cubicBezTo>
                  <a:cubicBezTo>
                    <a:pt x="45713" y="17030"/>
                    <a:pt x="45713" y="17030"/>
                    <a:pt x="45265" y="17030"/>
                  </a:cubicBezTo>
                  <a:cubicBezTo>
                    <a:pt x="45265" y="17030"/>
                    <a:pt x="45265" y="17030"/>
                    <a:pt x="45265" y="17030"/>
                  </a:cubicBezTo>
                  <a:cubicBezTo>
                    <a:pt x="45265" y="17030"/>
                    <a:pt x="44817" y="17030"/>
                    <a:pt x="44817" y="17030"/>
                  </a:cubicBezTo>
                  <a:cubicBezTo>
                    <a:pt x="44817" y="17030"/>
                    <a:pt x="44369" y="17030"/>
                    <a:pt x="44369" y="17030"/>
                  </a:cubicBezTo>
                  <a:cubicBezTo>
                    <a:pt x="44369" y="17030"/>
                    <a:pt x="43921" y="17030"/>
                    <a:pt x="43921" y="17479"/>
                  </a:cubicBezTo>
                  <a:cubicBezTo>
                    <a:pt x="43921" y="17479"/>
                    <a:pt x="43473" y="17479"/>
                    <a:pt x="43473" y="17927"/>
                  </a:cubicBezTo>
                  <a:cubicBezTo>
                    <a:pt x="43473" y="17927"/>
                    <a:pt x="43473" y="17927"/>
                    <a:pt x="43473" y="17927"/>
                  </a:cubicBezTo>
                  <a:cubicBezTo>
                    <a:pt x="43473" y="17927"/>
                    <a:pt x="43473" y="17927"/>
                    <a:pt x="43473" y="18375"/>
                  </a:cubicBezTo>
                  <a:cubicBezTo>
                    <a:pt x="43473" y="18375"/>
                    <a:pt x="43473" y="18823"/>
                    <a:pt x="43473" y="18823"/>
                  </a:cubicBezTo>
                  <a:cubicBezTo>
                    <a:pt x="43473" y="18823"/>
                    <a:pt x="43473" y="19271"/>
                    <a:pt x="43473" y="19271"/>
                  </a:cubicBezTo>
                  <a:cubicBezTo>
                    <a:pt x="43473" y="19271"/>
                    <a:pt x="43473" y="19271"/>
                    <a:pt x="43473" y="19720"/>
                  </a:cubicBezTo>
                  <a:lnTo>
                    <a:pt x="43473" y="86945"/>
                  </a:lnTo>
                  <a:cubicBezTo>
                    <a:pt x="43473" y="87841"/>
                    <a:pt x="43024" y="88290"/>
                    <a:pt x="42128" y="88290"/>
                  </a:cubicBezTo>
                  <a:lnTo>
                    <a:pt x="31820" y="88290"/>
                  </a:lnTo>
                  <a:lnTo>
                    <a:pt x="31820" y="51540"/>
                  </a:lnTo>
                  <a:cubicBezTo>
                    <a:pt x="31820" y="50195"/>
                    <a:pt x="30924" y="49299"/>
                    <a:pt x="29579" y="49299"/>
                  </a:cubicBezTo>
                  <a:cubicBezTo>
                    <a:pt x="28235" y="49299"/>
                    <a:pt x="27338" y="50195"/>
                    <a:pt x="27338" y="51540"/>
                  </a:cubicBezTo>
                  <a:lnTo>
                    <a:pt x="27338" y="88290"/>
                  </a:lnTo>
                  <a:lnTo>
                    <a:pt x="17030" y="88290"/>
                  </a:lnTo>
                  <a:cubicBezTo>
                    <a:pt x="16134" y="88290"/>
                    <a:pt x="15686" y="87841"/>
                    <a:pt x="15686" y="86945"/>
                  </a:cubicBezTo>
                  <a:lnTo>
                    <a:pt x="15686" y="51988"/>
                  </a:lnTo>
                  <a:cubicBezTo>
                    <a:pt x="15686" y="51988"/>
                    <a:pt x="15686" y="51540"/>
                    <a:pt x="15686" y="51540"/>
                  </a:cubicBezTo>
                  <a:cubicBezTo>
                    <a:pt x="15686" y="51540"/>
                    <a:pt x="15686" y="51092"/>
                    <a:pt x="15686" y="51092"/>
                  </a:cubicBezTo>
                  <a:lnTo>
                    <a:pt x="15686" y="20168"/>
                  </a:lnTo>
                  <a:cubicBezTo>
                    <a:pt x="15686" y="18823"/>
                    <a:pt x="14790" y="17927"/>
                    <a:pt x="13445" y="17927"/>
                  </a:cubicBezTo>
                  <a:cubicBezTo>
                    <a:pt x="12101" y="17927"/>
                    <a:pt x="11204" y="18823"/>
                    <a:pt x="11204" y="20168"/>
                  </a:cubicBezTo>
                  <a:lnTo>
                    <a:pt x="11204" y="49299"/>
                  </a:lnTo>
                  <a:lnTo>
                    <a:pt x="6274" y="49299"/>
                  </a:lnTo>
                  <a:cubicBezTo>
                    <a:pt x="5378" y="49299"/>
                    <a:pt x="4930" y="48402"/>
                    <a:pt x="4930" y="47954"/>
                  </a:cubicBezTo>
                  <a:lnTo>
                    <a:pt x="4930" y="13445"/>
                  </a:lnTo>
                  <a:cubicBezTo>
                    <a:pt x="4930" y="8515"/>
                    <a:pt x="8963" y="4482"/>
                    <a:pt x="13445" y="4482"/>
                  </a:cubicBezTo>
                  <a:lnTo>
                    <a:pt x="45713" y="4482"/>
                  </a:lnTo>
                  <a:cubicBezTo>
                    <a:pt x="45713" y="4482"/>
                    <a:pt x="45713" y="4482"/>
                    <a:pt x="45713" y="4482"/>
                  </a:cubicBezTo>
                  <a:cubicBezTo>
                    <a:pt x="47506" y="4482"/>
                    <a:pt x="54229" y="9860"/>
                    <a:pt x="56918" y="12101"/>
                  </a:cubicBezTo>
                  <a:cubicBezTo>
                    <a:pt x="58710" y="13445"/>
                    <a:pt x="60055" y="14790"/>
                    <a:pt x="60951" y="15238"/>
                  </a:cubicBezTo>
                  <a:cubicBezTo>
                    <a:pt x="62296" y="16134"/>
                    <a:pt x="63640" y="15686"/>
                    <a:pt x="64985" y="14790"/>
                  </a:cubicBezTo>
                  <a:lnTo>
                    <a:pt x="68570" y="11204"/>
                  </a:lnTo>
                  <a:cubicBezTo>
                    <a:pt x="69466" y="10308"/>
                    <a:pt x="70811" y="9860"/>
                    <a:pt x="72155" y="10308"/>
                  </a:cubicBezTo>
                  <a:cubicBezTo>
                    <a:pt x="74396" y="10756"/>
                    <a:pt x="74844" y="12549"/>
                    <a:pt x="75293" y="13445"/>
                  </a:cubicBezTo>
                  <a:cubicBezTo>
                    <a:pt x="75741" y="14790"/>
                    <a:pt x="75293" y="16582"/>
                    <a:pt x="74396" y="17479"/>
                  </a:cubicBezTo>
                  <a:lnTo>
                    <a:pt x="66329" y="25994"/>
                  </a:lnTo>
                  <a:cubicBezTo>
                    <a:pt x="63640" y="27338"/>
                    <a:pt x="62744" y="27338"/>
                    <a:pt x="62744" y="27787"/>
                  </a:cubicBezTo>
                  <a:close/>
                </a:path>
              </a:pathLst>
            </a:custGeom>
            <a:solidFill>
              <a:srgbClr val="231F20"/>
            </a:solidFill>
            <a:ln w="4477" cap="flat">
              <a:noFill/>
              <a:prstDash val="solid"/>
              <a:miter/>
            </a:ln>
          </p:spPr>
          <p:txBody>
            <a:bodyPr rtlCol="0" anchor="ctr"/>
            <a:lstStyle/>
            <a:p>
              <a:endParaRPr lang="en-US"/>
            </a:p>
          </p:txBody>
        </p:sp>
      </p:grpSp>
      <p:grpSp>
        <p:nvGrpSpPr>
          <p:cNvPr id="2448" name="Group 2447">
            <a:extLst>
              <a:ext uri="{FF2B5EF4-FFF2-40B4-BE49-F238E27FC236}">
                <a16:creationId xmlns:a16="http://schemas.microsoft.com/office/drawing/2014/main" id="{114E57C5-FEF2-4E9D-980E-EE7174F8A58F}"/>
              </a:ext>
              <a:ext uri="{C183D7F6-B498-43B3-948B-1728B52AA6E4}">
                <adec:decorative xmlns:adec="http://schemas.microsoft.com/office/drawing/2017/decorative" val="1"/>
              </a:ext>
            </a:extLst>
          </p:cNvPr>
          <p:cNvGrpSpPr>
            <a:grpSpLocks noChangeAspect="1"/>
          </p:cNvGrpSpPr>
          <p:nvPr/>
        </p:nvGrpSpPr>
        <p:grpSpPr>
          <a:xfrm>
            <a:off x="2195924" y="4873209"/>
            <a:ext cx="152378" cy="136692"/>
            <a:chOff x="8070659" y="3856041"/>
            <a:chExt cx="152378" cy="136692"/>
          </a:xfrm>
        </p:grpSpPr>
        <p:sp>
          <p:nvSpPr>
            <p:cNvPr id="2564" name="Freeform: Shape 2563">
              <a:extLst>
                <a:ext uri="{FF2B5EF4-FFF2-40B4-BE49-F238E27FC236}">
                  <a16:creationId xmlns:a16="http://schemas.microsoft.com/office/drawing/2014/main" id="{AD88C896-0AE6-4D23-91B6-2FE3D8B76772}"/>
                </a:ext>
              </a:extLst>
            </p:cNvPr>
            <p:cNvSpPr/>
            <p:nvPr/>
          </p:nvSpPr>
          <p:spPr>
            <a:xfrm>
              <a:off x="8070659" y="3856041"/>
              <a:ext cx="152378" cy="85152"/>
            </a:xfrm>
            <a:custGeom>
              <a:avLst/>
              <a:gdLst>
                <a:gd name="connsiteX0" fmla="*/ 145655 w 152377"/>
                <a:gd name="connsiteY0" fmla="*/ 0 h 85152"/>
                <a:gd name="connsiteX1" fmla="*/ 6723 w 152377"/>
                <a:gd name="connsiteY1" fmla="*/ 0 h 85152"/>
                <a:gd name="connsiteX2" fmla="*/ 0 w 152377"/>
                <a:gd name="connsiteY2" fmla="*/ 6723 h 85152"/>
                <a:gd name="connsiteX3" fmla="*/ 0 w 152377"/>
                <a:gd name="connsiteY3" fmla="*/ 78430 h 85152"/>
                <a:gd name="connsiteX4" fmla="*/ 6723 w 152377"/>
                <a:gd name="connsiteY4" fmla="*/ 85152 h 85152"/>
                <a:gd name="connsiteX5" fmla="*/ 29131 w 152377"/>
                <a:gd name="connsiteY5" fmla="*/ 85152 h 85152"/>
                <a:gd name="connsiteX6" fmla="*/ 31372 w 152377"/>
                <a:gd name="connsiteY6" fmla="*/ 82912 h 85152"/>
                <a:gd name="connsiteX7" fmla="*/ 29131 w 152377"/>
                <a:gd name="connsiteY7" fmla="*/ 80671 h 85152"/>
                <a:gd name="connsiteX8" fmla="*/ 6723 w 152377"/>
                <a:gd name="connsiteY8" fmla="*/ 80671 h 85152"/>
                <a:gd name="connsiteX9" fmla="*/ 4482 w 152377"/>
                <a:gd name="connsiteY9" fmla="*/ 78430 h 85152"/>
                <a:gd name="connsiteX10" fmla="*/ 4482 w 152377"/>
                <a:gd name="connsiteY10" fmla="*/ 6723 h 85152"/>
                <a:gd name="connsiteX11" fmla="*/ 6723 w 152377"/>
                <a:gd name="connsiteY11" fmla="*/ 4482 h 85152"/>
                <a:gd name="connsiteX12" fmla="*/ 145655 w 152377"/>
                <a:gd name="connsiteY12" fmla="*/ 4482 h 85152"/>
                <a:gd name="connsiteX13" fmla="*/ 148344 w 152377"/>
                <a:gd name="connsiteY13" fmla="*/ 7171 h 85152"/>
                <a:gd name="connsiteX14" fmla="*/ 148344 w 152377"/>
                <a:gd name="connsiteY14" fmla="*/ 78430 h 85152"/>
                <a:gd name="connsiteX15" fmla="*/ 146104 w 152377"/>
                <a:gd name="connsiteY15" fmla="*/ 80671 h 85152"/>
                <a:gd name="connsiteX16" fmla="*/ 123695 w 152377"/>
                <a:gd name="connsiteY16" fmla="*/ 80671 h 85152"/>
                <a:gd name="connsiteX17" fmla="*/ 121454 w 152377"/>
                <a:gd name="connsiteY17" fmla="*/ 82912 h 85152"/>
                <a:gd name="connsiteX18" fmla="*/ 123695 w 152377"/>
                <a:gd name="connsiteY18" fmla="*/ 85152 h 85152"/>
                <a:gd name="connsiteX19" fmla="*/ 146104 w 152377"/>
                <a:gd name="connsiteY19" fmla="*/ 85152 h 85152"/>
                <a:gd name="connsiteX20" fmla="*/ 152826 w 152377"/>
                <a:gd name="connsiteY20" fmla="*/ 78430 h 85152"/>
                <a:gd name="connsiteX21" fmla="*/ 152826 w 152377"/>
                <a:gd name="connsiteY21" fmla="*/ 6723 h 85152"/>
                <a:gd name="connsiteX22" fmla="*/ 145655 w 152377"/>
                <a:gd name="connsiteY22" fmla="*/ 0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77" h="85152">
                  <a:moveTo>
                    <a:pt x="145655" y="0"/>
                  </a:moveTo>
                  <a:lnTo>
                    <a:pt x="6723" y="0"/>
                  </a:lnTo>
                  <a:cubicBezTo>
                    <a:pt x="3137" y="0"/>
                    <a:pt x="0" y="3137"/>
                    <a:pt x="0" y="6723"/>
                  </a:cubicBezTo>
                  <a:lnTo>
                    <a:pt x="0" y="78430"/>
                  </a:lnTo>
                  <a:cubicBezTo>
                    <a:pt x="0" y="82015"/>
                    <a:pt x="3137" y="85152"/>
                    <a:pt x="6723" y="85152"/>
                  </a:cubicBezTo>
                  <a:lnTo>
                    <a:pt x="29131" y="85152"/>
                  </a:lnTo>
                  <a:cubicBezTo>
                    <a:pt x="30476" y="85152"/>
                    <a:pt x="31372" y="84256"/>
                    <a:pt x="31372" y="82912"/>
                  </a:cubicBezTo>
                  <a:cubicBezTo>
                    <a:pt x="31372" y="81567"/>
                    <a:pt x="30476" y="80671"/>
                    <a:pt x="29131" y="80671"/>
                  </a:cubicBezTo>
                  <a:lnTo>
                    <a:pt x="6723" y="80671"/>
                  </a:lnTo>
                  <a:cubicBezTo>
                    <a:pt x="5378" y="80671"/>
                    <a:pt x="4482" y="79774"/>
                    <a:pt x="4482" y="78430"/>
                  </a:cubicBezTo>
                  <a:lnTo>
                    <a:pt x="4482" y="6723"/>
                  </a:lnTo>
                  <a:cubicBezTo>
                    <a:pt x="4482" y="5378"/>
                    <a:pt x="5378" y="4482"/>
                    <a:pt x="6723" y="4482"/>
                  </a:cubicBezTo>
                  <a:lnTo>
                    <a:pt x="145655" y="4482"/>
                  </a:lnTo>
                  <a:cubicBezTo>
                    <a:pt x="147000" y="4482"/>
                    <a:pt x="148344" y="5378"/>
                    <a:pt x="148344" y="7171"/>
                  </a:cubicBezTo>
                  <a:lnTo>
                    <a:pt x="148344" y="78430"/>
                  </a:lnTo>
                  <a:cubicBezTo>
                    <a:pt x="148344" y="79774"/>
                    <a:pt x="147448" y="80671"/>
                    <a:pt x="146104" y="80671"/>
                  </a:cubicBezTo>
                  <a:lnTo>
                    <a:pt x="123695" y="80671"/>
                  </a:lnTo>
                  <a:cubicBezTo>
                    <a:pt x="122350" y="80671"/>
                    <a:pt x="121454" y="81567"/>
                    <a:pt x="121454" y="82912"/>
                  </a:cubicBezTo>
                  <a:cubicBezTo>
                    <a:pt x="121454" y="84256"/>
                    <a:pt x="122350" y="85152"/>
                    <a:pt x="123695" y="85152"/>
                  </a:cubicBezTo>
                  <a:lnTo>
                    <a:pt x="146104" y="85152"/>
                  </a:lnTo>
                  <a:cubicBezTo>
                    <a:pt x="149689" y="85152"/>
                    <a:pt x="152826" y="82015"/>
                    <a:pt x="152826" y="78430"/>
                  </a:cubicBezTo>
                  <a:lnTo>
                    <a:pt x="152826" y="6723"/>
                  </a:lnTo>
                  <a:cubicBezTo>
                    <a:pt x="152378" y="3137"/>
                    <a:pt x="149241" y="0"/>
                    <a:pt x="145655" y="0"/>
                  </a:cubicBezTo>
                  <a:close/>
                </a:path>
              </a:pathLst>
            </a:custGeom>
            <a:solidFill>
              <a:srgbClr val="231F20"/>
            </a:solidFill>
            <a:ln w="4477" cap="flat">
              <a:noFill/>
              <a:prstDash val="solid"/>
              <a:miter/>
            </a:ln>
          </p:spPr>
          <p:txBody>
            <a:bodyPr rtlCol="0" anchor="ctr"/>
            <a:lstStyle/>
            <a:p>
              <a:endParaRPr lang="en-US"/>
            </a:p>
          </p:txBody>
        </p:sp>
        <p:sp>
          <p:nvSpPr>
            <p:cNvPr id="2566" name="Freeform: Shape 2565">
              <a:extLst>
                <a:ext uri="{FF2B5EF4-FFF2-40B4-BE49-F238E27FC236}">
                  <a16:creationId xmlns:a16="http://schemas.microsoft.com/office/drawing/2014/main" id="{BC7F1219-9D85-434D-BFE1-CE88DA5C7135}"/>
                </a:ext>
              </a:extLst>
            </p:cNvPr>
            <p:cNvSpPr/>
            <p:nvPr/>
          </p:nvSpPr>
          <p:spPr>
            <a:xfrm>
              <a:off x="8151330" y="3900410"/>
              <a:ext cx="44817" cy="22409"/>
            </a:xfrm>
            <a:custGeom>
              <a:avLst/>
              <a:gdLst>
                <a:gd name="connsiteX0" fmla="*/ 0 w 44817"/>
                <a:gd name="connsiteY0" fmla="*/ 14790 h 22408"/>
                <a:gd name="connsiteX1" fmla="*/ 0 w 44817"/>
                <a:gd name="connsiteY1" fmla="*/ 21512 h 22408"/>
                <a:gd name="connsiteX2" fmla="*/ 2241 w 44817"/>
                <a:gd name="connsiteY2" fmla="*/ 23753 h 22408"/>
                <a:gd name="connsiteX3" fmla="*/ 4482 w 44817"/>
                <a:gd name="connsiteY3" fmla="*/ 21512 h 22408"/>
                <a:gd name="connsiteX4" fmla="*/ 4482 w 44817"/>
                <a:gd name="connsiteY4" fmla="*/ 14790 h 22408"/>
                <a:gd name="connsiteX5" fmla="*/ 12549 w 44817"/>
                <a:gd name="connsiteY5" fmla="*/ 4482 h 22408"/>
                <a:gd name="connsiteX6" fmla="*/ 32716 w 44817"/>
                <a:gd name="connsiteY6" fmla="*/ 4482 h 22408"/>
                <a:gd name="connsiteX7" fmla="*/ 40784 w 44817"/>
                <a:gd name="connsiteY7" fmla="*/ 14790 h 22408"/>
                <a:gd name="connsiteX8" fmla="*/ 40784 w 44817"/>
                <a:gd name="connsiteY8" fmla="*/ 21512 h 22408"/>
                <a:gd name="connsiteX9" fmla="*/ 43024 w 44817"/>
                <a:gd name="connsiteY9" fmla="*/ 23753 h 22408"/>
                <a:gd name="connsiteX10" fmla="*/ 45265 w 44817"/>
                <a:gd name="connsiteY10" fmla="*/ 21512 h 22408"/>
                <a:gd name="connsiteX11" fmla="*/ 45265 w 44817"/>
                <a:gd name="connsiteY11" fmla="*/ 14790 h 22408"/>
                <a:gd name="connsiteX12" fmla="*/ 32716 w 44817"/>
                <a:gd name="connsiteY12" fmla="*/ 0 h 22408"/>
                <a:gd name="connsiteX13" fmla="*/ 12549 w 44817"/>
                <a:gd name="connsiteY13" fmla="*/ 0 h 22408"/>
                <a:gd name="connsiteX14" fmla="*/ 0 w 44817"/>
                <a:gd name="connsiteY14" fmla="*/ 14790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17" h="22408">
                  <a:moveTo>
                    <a:pt x="0" y="14790"/>
                  </a:moveTo>
                  <a:lnTo>
                    <a:pt x="0" y="21512"/>
                  </a:lnTo>
                  <a:cubicBezTo>
                    <a:pt x="0" y="22857"/>
                    <a:pt x="896" y="23753"/>
                    <a:pt x="2241" y="23753"/>
                  </a:cubicBezTo>
                  <a:cubicBezTo>
                    <a:pt x="3585" y="23753"/>
                    <a:pt x="4482" y="22857"/>
                    <a:pt x="4482" y="21512"/>
                  </a:cubicBezTo>
                  <a:lnTo>
                    <a:pt x="4482" y="14790"/>
                  </a:lnTo>
                  <a:cubicBezTo>
                    <a:pt x="4482" y="8963"/>
                    <a:pt x="7619" y="4482"/>
                    <a:pt x="12549" y="4482"/>
                  </a:cubicBezTo>
                  <a:lnTo>
                    <a:pt x="32716" y="4482"/>
                  </a:lnTo>
                  <a:cubicBezTo>
                    <a:pt x="37198" y="4482"/>
                    <a:pt x="40784" y="8515"/>
                    <a:pt x="40784" y="14790"/>
                  </a:cubicBezTo>
                  <a:lnTo>
                    <a:pt x="40784" y="21512"/>
                  </a:lnTo>
                  <a:cubicBezTo>
                    <a:pt x="40784" y="22857"/>
                    <a:pt x="41680" y="23753"/>
                    <a:pt x="43024" y="23753"/>
                  </a:cubicBezTo>
                  <a:cubicBezTo>
                    <a:pt x="44369" y="23753"/>
                    <a:pt x="45265" y="22857"/>
                    <a:pt x="45265" y="21512"/>
                  </a:cubicBezTo>
                  <a:lnTo>
                    <a:pt x="45265" y="14790"/>
                  </a:lnTo>
                  <a:cubicBezTo>
                    <a:pt x="45265" y="6274"/>
                    <a:pt x="39887" y="0"/>
                    <a:pt x="32716" y="0"/>
                  </a:cubicBezTo>
                  <a:lnTo>
                    <a:pt x="12549" y="0"/>
                  </a:lnTo>
                  <a:cubicBezTo>
                    <a:pt x="5378" y="448"/>
                    <a:pt x="0" y="6274"/>
                    <a:pt x="0" y="14790"/>
                  </a:cubicBezTo>
                  <a:close/>
                </a:path>
              </a:pathLst>
            </a:custGeom>
            <a:solidFill>
              <a:srgbClr val="231F20"/>
            </a:solidFill>
            <a:ln w="4477" cap="flat">
              <a:noFill/>
              <a:prstDash val="solid"/>
              <a:miter/>
            </a:ln>
          </p:spPr>
          <p:txBody>
            <a:bodyPr rtlCol="0" anchor="ctr"/>
            <a:lstStyle/>
            <a:p>
              <a:endParaRPr lang="en-US"/>
            </a:p>
          </p:txBody>
        </p:sp>
        <p:sp>
          <p:nvSpPr>
            <p:cNvPr id="2567" name="Freeform: Shape 2566">
              <a:extLst>
                <a:ext uri="{FF2B5EF4-FFF2-40B4-BE49-F238E27FC236}">
                  <a16:creationId xmlns:a16="http://schemas.microsoft.com/office/drawing/2014/main" id="{7AF80CBA-E09B-4C8D-9F52-63A76D73981B}"/>
                </a:ext>
              </a:extLst>
            </p:cNvPr>
            <p:cNvSpPr/>
            <p:nvPr/>
          </p:nvSpPr>
          <p:spPr>
            <a:xfrm>
              <a:off x="8084104" y="3956879"/>
              <a:ext cx="125488" cy="35854"/>
            </a:xfrm>
            <a:custGeom>
              <a:avLst/>
              <a:gdLst>
                <a:gd name="connsiteX0" fmla="*/ 103079 w 125487"/>
                <a:gd name="connsiteY0" fmla="*/ 0 h 35853"/>
                <a:gd name="connsiteX1" fmla="*/ 82911 w 125487"/>
                <a:gd name="connsiteY1" fmla="*/ 12997 h 35853"/>
                <a:gd name="connsiteX2" fmla="*/ 62744 w 125487"/>
                <a:gd name="connsiteY2" fmla="*/ 0 h 35853"/>
                <a:gd name="connsiteX3" fmla="*/ 42576 w 125487"/>
                <a:gd name="connsiteY3" fmla="*/ 12997 h 35853"/>
                <a:gd name="connsiteX4" fmla="*/ 22409 w 125487"/>
                <a:gd name="connsiteY4" fmla="*/ 0 h 35853"/>
                <a:gd name="connsiteX5" fmla="*/ 0 w 125487"/>
                <a:gd name="connsiteY5" fmla="*/ 22409 h 35853"/>
                <a:gd name="connsiteX6" fmla="*/ 0 w 125487"/>
                <a:gd name="connsiteY6" fmla="*/ 35854 h 35853"/>
                <a:gd name="connsiteX7" fmla="*/ 2241 w 125487"/>
                <a:gd name="connsiteY7" fmla="*/ 38094 h 35853"/>
                <a:gd name="connsiteX8" fmla="*/ 42576 w 125487"/>
                <a:gd name="connsiteY8" fmla="*/ 38094 h 35853"/>
                <a:gd name="connsiteX9" fmla="*/ 82911 w 125487"/>
                <a:gd name="connsiteY9" fmla="*/ 38094 h 35853"/>
                <a:gd name="connsiteX10" fmla="*/ 123247 w 125487"/>
                <a:gd name="connsiteY10" fmla="*/ 38094 h 35853"/>
                <a:gd name="connsiteX11" fmla="*/ 125488 w 125487"/>
                <a:gd name="connsiteY11" fmla="*/ 35854 h 35853"/>
                <a:gd name="connsiteX12" fmla="*/ 125488 w 125487"/>
                <a:gd name="connsiteY12" fmla="*/ 22409 h 35853"/>
                <a:gd name="connsiteX13" fmla="*/ 103079 w 125487"/>
                <a:gd name="connsiteY13" fmla="*/ 0 h 35853"/>
                <a:gd name="connsiteX14" fmla="*/ 4482 w 125487"/>
                <a:gd name="connsiteY14" fmla="*/ 22409 h 35853"/>
                <a:gd name="connsiteX15" fmla="*/ 22409 w 125487"/>
                <a:gd name="connsiteY15" fmla="*/ 4482 h 35853"/>
                <a:gd name="connsiteX16" fmla="*/ 40335 w 125487"/>
                <a:gd name="connsiteY16" fmla="*/ 22409 h 35853"/>
                <a:gd name="connsiteX17" fmla="*/ 40335 w 125487"/>
                <a:gd name="connsiteY17" fmla="*/ 33613 h 35853"/>
                <a:gd name="connsiteX18" fmla="*/ 4482 w 125487"/>
                <a:gd name="connsiteY18" fmla="*/ 33613 h 35853"/>
                <a:gd name="connsiteX19" fmla="*/ 4482 w 125487"/>
                <a:gd name="connsiteY19" fmla="*/ 22409 h 35853"/>
                <a:gd name="connsiteX20" fmla="*/ 44817 w 125487"/>
                <a:gd name="connsiteY20" fmla="*/ 22409 h 35853"/>
                <a:gd name="connsiteX21" fmla="*/ 62744 w 125487"/>
                <a:gd name="connsiteY21" fmla="*/ 4482 h 35853"/>
                <a:gd name="connsiteX22" fmla="*/ 80671 w 125487"/>
                <a:gd name="connsiteY22" fmla="*/ 22409 h 35853"/>
                <a:gd name="connsiteX23" fmla="*/ 80671 w 125487"/>
                <a:gd name="connsiteY23" fmla="*/ 22409 h 35853"/>
                <a:gd name="connsiteX24" fmla="*/ 80671 w 125487"/>
                <a:gd name="connsiteY24" fmla="*/ 33613 h 35853"/>
                <a:gd name="connsiteX25" fmla="*/ 44817 w 125487"/>
                <a:gd name="connsiteY25" fmla="*/ 33613 h 35853"/>
                <a:gd name="connsiteX26" fmla="*/ 44817 w 125487"/>
                <a:gd name="connsiteY26" fmla="*/ 22409 h 35853"/>
                <a:gd name="connsiteX27" fmla="*/ 121006 w 125487"/>
                <a:gd name="connsiteY27" fmla="*/ 33613 h 35853"/>
                <a:gd name="connsiteX28" fmla="*/ 85152 w 125487"/>
                <a:gd name="connsiteY28" fmla="*/ 33613 h 35853"/>
                <a:gd name="connsiteX29" fmla="*/ 85152 w 125487"/>
                <a:gd name="connsiteY29" fmla="*/ 22409 h 35853"/>
                <a:gd name="connsiteX30" fmla="*/ 103079 w 125487"/>
                <a:gd name="connsiteY30" fmla="*/ 4482 h 35853"/>
                <a:gd name="connsiteX31" fmla="*/ 121006 w 125487"/>
                <a:gd name="connsiteY31" fmla="*/ 22409 h 35853"/>
                <a:gd name="connsiteX32" fmla="*/ 121006 w 125487"/>
                <a:gd name="connsiteY32" fmla="*/ 3361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487" h="35853">
                  <a:moveTo>
                    <a:pt x="103079" y="0"/>
                  </a:moveTo>
                  <a:cubicBezTo>
                    <a:pt x="94116" y="0"/>
                    <a:pt x="86497" y="5378"/>
                    <a:pt x="82911" y="12997"/>
                  </a:cubicBezTo>
                  <a:cubicBezTo>
                    <a:pt x="79326" y="5378"/>
                    <a:pt x="71707" y="0"/>
                    <a:pt x="62744" y="0"/>
                  </a:cubicBezTo>
                  <a:cubicBezTo>
                    <a:pt x="53780" y="0"/>
                    <a:pt x="46161" y="5378"/>
                    <a:pt x="42576" y="12997"/>
                  </a:cubicBezTo>
                  <a:cubicBezTo>
                    <a:pt x="38991" y="5378"/>
                    <a:pt x="31372" y="0"/>
                    <a:pt x="22409" y="0"/>
                  </a:cubicBezTo>
                  <a:cubicBezTo>
                    <a:pt x="9860" y="0"/>
                    <a:pt x="0" y="9860"/>
                    <a:pt x="0" y="22409"/>
                  </a:cubicBezTo>
                  <a:lnTo>
                    <a:pt x="0" y="35854"/>
                  </a:lnTo>
                  <a:cubicBezTo>
                    <a:pt x="0" y="37198"/>
                    <a:pt x="896" y="38094"/>
                    <a:pt x="2241" y="38094"/>
                  </a:cubicBezTo>
                  <a:lnTo>
                    <a:pt x="42576" y="38094"/>
                  </a:lnTo>
                  <a:lnTo>
                    <a:pt x="82911" y="38094"/>
                  </a:lnTo>
                  <a:lnTo>
                    <a:pt x="123247" y="38094"/>
                  </a:lnTo>
                  <a:cubicBezTo>
                    <a:pt x="124591" y="38094"/>
                    <a:pt x="125488" y="37198"/>
                    <a:pt x="125488" y="35854"/>
                  </a:cubicBezTo>
                  <a:lnTo>
                    <a:pt x="125488" y="22409"/>
                  </a:lnTo>
                  <a:cubicBezTo>
                    <a:pt x="125488" y="9860"/>
                    <a:pt x="115628" y="0"/>
                    <a:pt x="103079" y="0"/>
                  </a:cubicBezTo>
                  <a:close/>
                  <a:moveTo>
                    <a:pt x="4482" y="22409"/>
                  </a:moveTo>
                  <a:cubicBezTo>
                    <a:pt x="4482" y="12549"/>
                    <a:pt x="12549" y="4482"/>
                    <a:pt x="22409" y="4482"/>
                  </a:cubicBezTo>
                  <a:cubicBezTo>
                    <a:pt x="32268" y="4482"/>
                    <a:pt x="40335" y="12549"/>
                    <a:pt x="40335" y="22409"/>
                  </a:cubicBezTo>
                  <a:lnTo>
                    <a:pt x="40335" y="33613"/>
                  </a:lnTo>
                  <a:lnTo>
                    <a:pt x="4482" y="33613"/>
                  </a:lnTo>
                  <a:lnTo>
                    <a:pt x="4482" y="22409"/>
                  </a:lnTo>
                  <a:close/>
                  <a:moveTo>
                    <a:pt x="44817" y="22409"/>
                  </a:moveTo>
                  <a:cubicBezTo>
                    <a:pt x="44817" y="12549"/>
                    <a:pt x="52884" y="4482"/>
                    <a:pt x="62744" y="4482"/>
                  </a:cubicBezTo>
                  <a:cubicBezTo>
                    <a:pt x="72604" y="4482"/>
                    <a:pt x="80671" y="12549"/>
                    <a:pt x="80671" y="22409"/>
                  </a:cubicBezTo>
                  <a:lnTo>
                    <a:pt x="80671" y="22409"/>
                  </a:lnTo>
                  <a:lnTo>
                    <a:pt x="80671" y="33613"/>
                  </a:lnTo>
                  <a:lnTo>
                    <a:pt x="44817" y="33613"/>
                  </a:lnTo>
                  <a:lnTo>
                    <a:pt x="44817" y="22409"/>
                  </a:lnTo>
                  <a:close/>
                  <a:moveTo>
                    <a:pt x="121006" y="33613"/>
                  </a:moveTo>
                  <a:lnTo>
                    <a:pt x="85152" y="33613"/>
                  </a:lnTo>
                  <a:lnTo>
                    <a:pt x="85152" y="22409"/>
                  </a:lnTo>
                  <a:cubicBezTo>
                    <a:pt x="85152" y="12549"/>
                    <a:pt x="93219" y="4482"/>
                    <a:pt x="103079" y="4482"/>
                  </a:cubicBezTo>
                  <a:cubicBezTo>
                    <a:pt x="112939" y="4482"/>
                    <a:pt x="121006" y="12549"/>
                    <a:pt x="121006" y="22409"/>
                  </a:cubicBezTo>
                  <a:lnTo>
                    <a:pt x="121006" y="33613"/>
                  </a:lnTo>
                  <a:close/>
                </a:path>
              </a:pathLst>
            </a:custGeom>
            <a:solidFill>
              <a:srgbClr val="231F20"/>
            </a:solidFill>
            <a:ln w="4477" cap="flat">
              <a:noFill/>
              <a:prstDash val="solid"/>
              <a:miter/>
            </a:ln>
          </p:spPr>
          <p:txBody>
            <a:bodyPr rtlCol="0" anchor="ctr"/>
            <a:lstStyle/>
            <a:p>
              <a:endParaRPr lang="en-US"/>
            </a:p>
          </p:txBody>
        </p:sp>
        <p:sp>
          <p:nvSpPr>
            <p:cNvPr id="2568" name="Freeform: Shape 2567">
              <a:extLst>
                <a:ext uri="{FF2B5EF4-FFF2-40B4-BE49-F238E27FC236}">
                  <a16:creationId xmlns:a16="http://schemas.microsoft.com/office/drawing/2014/main" id="{193AFECD-46CE-43D6-9C2E-5BA1FBE91334}"/>
                </a:ext>
              </a:extLst>
            </p:cNvPr>
            <p:cNvSpPr/>
            <p:nvPr/>
          </p:nvSpPr>
          <p:spPr>
            <a:xfrm>
              <a:off x="8104272" y="3927748"/>
              <a:ext cx="85152" cy="26890"/>
            </a:xfrm>
            <a:custGeom>
              <a:avLst/>
              <a:gdLst>
                <a:gd name="connsiteX0" fmla="*/ 42576 w 85152"/>
                <a:gd name="connsiteY0" fmla="*/ 13893 h 26890"/>
                <a:gd name="connsiteX1" fmla="*/ 22409 w 85152"/>
                <a:gd name="connsiteY1" fmla="*/ 0 h 26890"/>
                <a:gd name="connsiteX2" fmla="*/ 0 w 85152"/>
                <a:gd name="connsiteY2" fmla="*/ 24649 h 26890"/>
                <a:gd name="connsiteX3" fmla="*/ 2241 w 85152"/>
                <a:gd name="connsiteY3" fmla="*/ 26890 h 26890"/>
                <a:gd name="connsiteX4" fmla="*/ 4482 w 85152"/>
                <a:gd name="connsiteY4" fmla="*/ 24649 h 26890"/>
                <a:gd name="connsiteX5" fmla="*/ 22409 w 85152"/>
                <a:gd name="connsiteY5" fmla="*/ 4482 h 26890"/>
                <a:gd name="connsiteX6" fmla="*/ 40335 w 85152"/>
                <a:gd name="connsiteY6" fmla="*/ 24649 h 26890"/>
                <a:gd name="connsiteX7" fmla="*/ 42576 w 85152"/>
                <a:gd name="connsiteY7" fmla="*/ 26890 h 26890"/>
                <a:gd name="connsiteX8" fmla="*/ 44817 w 85152"/>
                <a:gd name="connsiteY8" fmla="*/ 24649 h 26890"/>
                <a:gd name="connsiteX9" fmla="*/ 62744 w 85152"/>
                <a:gd name="connsiteY9" fmla="*/ 4482 h 26890"/>
                <a:gd name="connsiteX10" fmla="*/ 80671 w 85152"/>
                <a:gd name="connsiteY10" fmla="*/ 24649 h 26890"/>
                <a:gd name="connsiteX11" fmla="*/ 82911 w 85152"/>
                <a:gd name="connsiteY11" fmla="*/ 26890 h 26890"/>
                <a:gd name="connsiteX12" fmla="*/ 85152 w 85152"/>
                <a:gd name="connsiteY12" fmla="*/ 24649 h 26890"/>
                <a:gd name="connsiteX13" fmla="*/ 62744 w 85152"/>
                <a:gd name="connsiteY13" fmla="*/ 0 h 26890"/>
                <a:gd name="connsiteX14" fmla="*/ 42576 w 85152"/>
                <a:gd name="connsiteY14" fmla="*/ 13893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52" h="26890">
                  <a:moveTo>
                    <a:pt x="42576" y="13893"/>
                  </a:moveTo>
                  <a:cubicBezTo>
                    <a:pt x="38991" y="5826"/>
                    <a:pt x="31372" y="0"/>
                    <a:pt x="22409" y="0"/>
                  </a:cubicBezTo>
                  <a:cubicBezTo>
                    <a:pt x="9860" y="0"/>
                    <a:pt x="0" y="11204"/>
                    <a:pt x="0" y="24649"/>
                  </a:cubicBezTo>
                  <a:cubicBezTo>
                    <a:pt x="0" y="25994"/>
                    <a:pt x="896" y="26890"/>
                    <a:pt x="2241" y="26890"/>
                  </a:cubicBezTo>
                  <a:cubicBezTo>
                    <a:pt x="3585" y="26890"/>
                    <a:pt x="4482" y="25994"/>
                    <a:pt x="4482" y="24649"/>
                  </a:cubicBezTo>
                  <a:cubicBezTo>
                    <a:pt x="4482" y="13445"/>
                    <a:pt x="12549" y="4482"/>
                    <a:pt x="22409" y="4482"/>
                  </a:cubicBezTo>
                  <a:cubicBezTo>
                    <a:pt x="32268" y="4482"/>
                    <a:pt x="40335" y="13445"/>
                    <a:pt x="40335" y="24649"/>
                  </a:cubicBezTo>
                  <a:cubicBezTo>
                    <a:pt x="40335" y="25994"/>
                    <a:pt x="41232" y="26890"/>
                    <a:pt x="42576" y="26890"/>
                  </a:cubicBezTo>
                  <a:cubicBezTo>
                    <a:pt x="43921" y="26890"/>
                    <a:pt x="44817" y="25994"/>
                    <a:pt x="44817" y="24649"/>
                  </a:cubicBezTo>
                  <a:cubicBezTo>
                    <a:pt x="44817" y="13445"/>
                    <a:pt x="52884" y="4482"/>
                    <a:pt x="62744" y="4482"/>
                  </a:cubicBezTo>
                  <a:cubicBezTo>
                    <a:pt x="72604" y="4482"/>
                    <a:pt x="80671" y="13445"/>
                    <a:pt x="80671" y="24649"/>
                  </a:cubicBezTo>
                  <a:cubicBezTo>
                    <a:pt x="80671" y="25994"/>
                    <a:pt x="81567" y="26890"/>
                    <a:pt x="82911" y="26890"/>
                  </a:cubicBezTo>
                  <a:cubicBezTo>
                    <a:pt x="84256" y="26890"/>
                    <a:pt x="85152" y="25994"/>
                    <a:pt x="85152" y="24649"/>
                  </a:cubicBezTo>
                  <a:cubicBezTo>
                    <a:pt x="85152" y="11204"/>
                    <a:pt x="75293" y="0"/>
                    <a:pt x="62744" y="0"/>
                  </a:cubicBezTo>
                  <a:cubicBezTo>
                    <a:pt x="53780" y="0"/>
                    <a:pt x="46161" y="5378"/>
                    <a:pt x="42576" y="13893"/>
                  </a:cubicBezTo>
                  <a:close/>
                </a:path>
              </a:pathLst>
            </a:custGeom>
            <a:solidFill>
              <a:srgbClr val="231F20"/>
            </a:solidFill>
            <a:ln w="4477" cap="flat">
              <a:noFill/>
              <a:prstDash val="solid"/>
              <a:miter/>
            </a:ln>
          </p:spPr>
          <p:txBody>
            <a:bodyPr rtlCol="0" anchor="ctr"/>
            <a:lstStyle/>
            <a:p>
              <a:endParaRPr lang="en-US"/>
            </a:p>
          </p:txBody>
        </p:sp>
        <p:sp>
          <p:nvSpPr>
            <p:cNvPr id="2569" name="Freeform: Shape 2568">
              <a:extLst>
                <a:ext uri="{FF2B5EF4-FFF2-40B4-BE49-F238E27FC236}">
                  <a16:creationId xmlns:a16="http://schemas.microsoft.com/office/drawing/2014/main" id="{8AE6DA34-FA87-46F9-AFB8-24EF3E3C5437}"/>
                </a:ext>
              </a:extLst>
            </p:cNvPr>
            <p:cNvSpPr/>
            <p:nvPr/>
          </p:nvSpPr>
          <p:spPr>
            <a:xfrm>
              <a:off x="8161190" y="3873520"/>
              <a:ext cx="22409" cy="22409"/>
            </a:xfrm>
            <a:custGeom>
              <a:avLst/>
              <a:gdLst>
                <a:gd name="connsiteX0" fmla="*/ 12549 w 22408"/>
                <a:gd name="connsiteY0" fmla="*/ 25097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3 h 22408"/>
                <a:gd name="connsiteX6" fmla="*/ 20616 w 22408"/>
                <a:gd name="connsiteY6" fmla="*/ 12100 h 22408"/>
                <a:gd name="connsiteX7" fmla="*/ 12549 w 22408"/>
                <a:gd name="connsiteY7" fmla="*/ 20168 h 22408"/>
                <a:gd name="connsiteX8" fmla="*/ 4482 w 22408"/>
                <a:gd name="connsiteY8" fmla="*/ 12100 h 22408"/>
                <a:gd name="connsiteX9" fmla="*/ 12549 w 22408"/>
                <a:gd name="connsiteY9" fmla="*/ 4033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7" y="19271"/>
                    <a:pt x="25097" y="12549"/>
                  </a:cubicBezTo>
                  <a:cubicBezTo>
                    <a:pt x="25097" y="5378"/>
                    <a:pt x="19271" y="0"/>
                    <a:pt x="12549" y="0"/>
                  </a:cubicBezTo>
                  <a:cubicBezTo>
                    <a:pt x="5826" y="0"/>
                    <a:pt x="0" y="5826"/>
                    <a:pt x="0" y="12549"/>
                  </a:cubicBezTo>
                  <a:cubicBezTo>
                    <a:pt x="0" y="19271"/>
                    <a:pt x="5826" y="25097"/>
                    <a:pt x="12549" y="25097"/>
                  </a:cubicBezTo>
                  <a:close/>
                  <a:moveTo>
                    <a:pt x="12549" y="4033"/>
                  </a:moveTo>
                  <a:cubicBezTo>
                    <a:pt x="17030" y="4033"/>
                    <a:pt x="20616" y="7619"/>
                    <a:pt x="20616" y="12100"/>
                  </a:cubicBezTo>
                  <a:cubicBezTo>
                    <a:pt x="20616" y="16582"/>
                    <a:pt x="17030" y="20168"/>
                    <a:pt x="12549" y="20168"/>
                  </a:cubicBezTo>
                  <a:cubicBezTo>
                    <a:pt x="8067" y="20168"/>
                    <a:pt x="4482" y="16582"/>
                    <a:pt x="4482" y="12100"/>
                  </a:cubicBezTo>
                  <a:cubicBezTo>
                    <a:pt x="4482" y="7619"/>
                    <a:pt x="8067" y="4033"/>
                    <a:pt x="12549" y="4033"/>
                  </a:cubicBezTo>
                  <a:close/>
                </a:path>
              </a:pathLst>
            </a:custGeom>
            <a:solidFill>
              <a:srgbClr val="231F20"/>
            </a:solidFill>
            <a:ln w="4477" cap="flat">
              <a:noFill/>
              <a:prstDash val="solid"/>
              <a:miter/>
            </a:ln>
          </p:spPr>
          <p:txBody>
            <a:bodyPr rtlCol="0" anchor="ctr"/>
            <a:lstStyle/>
            <a:p>
              <a:endParaRPr lang="en-US"/>
            </a:p>
          </p:txBody>
        </p:sp>
      </p:grpSp>
      <p:grpSp>
        <p:nvGrpSpPr>
          <p:cNvPr id="2449" name="Group 2448">
            <a:extLst>
              <a:ext uri="{FF2B5EF4-FFF2-40B4-BE49-F238E27FC236}">
                <a16:creationId xmlns:a16="http://schemas.microsoft.com/office/drawing/2014/main" id="{9027066E-30DB-4BE8-A211-454222427BEB}"/>
              </a:ext>
              <a:ext uri="{C183D7F6-B498-43B3-948B-1728B52AA6E4}">
                <adec:decorative xmlns:adec="http://schemas.microsoft.com/office/drawing/2017/decorative" val="1"/>
              </a:ext>
            </a:extLst>
          </p:cNvPr>
          <p:cNvGrpSpPr>
            <a:grpSpLocks noChangeAspect="1"/>
          </p:cNvGrpSpPr>
          <p:nvPr/>
        </p:nvGrpSpPr>
        <p:grpSpPr>
          <a:xfrm>
            <a:off x="2455863" y="4890240"/>
            <a:ext cx="152378" cy="121006"/>
            <a:chOff x="8330598" y="3873072"/>
            <a:chExt cx="152378" cy="121006"/>
          </a:xfrm>
        </p:grpSpPr>
        <p:sp>
          <p:nvSpPr>
            <p:cNvPr id="2550" name="Freeform: Shape 2549">
              <a:extLst>
                <a:ext uri="{FF2B5EF4-FFF2-40B4-BE49-F238E27FC236}">
                  <a16:creationId xmlns:a16="http://schemas.microsoft.com/office/drawing/2014/main" id="{A18C8537-8845-4260-A164-EC6FE3BD0981}"/>
                </a:ext>
              </a:extLst>
            </p:cNvPr>
            <p:cNvSpPr/>
            <p:nvPr/>
          </p:nvSpPr>
          <p:spPr>
            <a:xfrm>
              <a:off x="8357488" y="3951501"/>
              <a:ext cx="4482" cy="40335"/>
            </a:xfrm>
            <a:custGeom>
              <a:avLst/>
              <a:gdLst>
                <a:gd name="connsiteX0" fmla="*/ 2241 w 4481"/>
                <a:gd name="connsiteY0" fmla="*/ 43473 h 40335"/>
                <a:gd name="connsiteX1" fmla="*/ 0 w 4481"/>
                <a:gd name="connsiteY1" fmla="*/ 41232 h 40335"/>
                <a:gd name="connsiteX2" fmla="*/ 0 w 4481"/>
                <a:gd name="connsiteY2" fmla="*/ 2241 h 40335"/>
                <a:gd name="connsiteX3" fmla="*/ 2241 w 4481"/>
                <a:gd name="connsiteY3" fmla="*/ 0 h 40335"/>
                <a:gd name="connsiteX4" fmla="*/ 4482 w 4481"/>
                <a:gd name="connsiteY4" fmla="*/ 2241 h 40335"/>
                <a:gd name="connsiteX5" fmla="*/ 4482 w 4481"/>
                <a:gd name="connsiteY5" fmla="*/ 41232 h 40335"/>
                <a:gd name="connsiteX6" fmla="*/ 2241 w 4481"/>
                <a:gd name="connsiteY6" fmla="*/ 43473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0335">
                  <a:moveTo>
                    <a:pt x="2241" y="43473"/>
                  </a:moveTo>
                  <a:cubicBezTo>
                    <a:pt x="896" y="43473"/>
                    <a:pt x="0" y="42576"/>
                    <a:pt x="0" y="41232"/>
                  </a:cubicBezTo>
                  <a:lnTo>
                    <a:pt x="0" y="2241"/>
                  </a:lnTo>
                  <a:cubicBezTo>
                    <a:pt x="0" y="896"/>
                    <a:pt x="896" y="0"/>
                    <a:pt x="2241" y="0"/>
                  </a:cubicBezTo>
                  <a:cubicBezTo>
                    <a:pt x="3585" y="0"/>
                    <a:pt x="4482" y="896"/>
                    <a:pt x="4482" y="2241"/>
                  </a:cubicBezTo>
                  <a:lnTo>
                    <a:pt x="4482" y="41232"/>
                  </a:lnTo>
                  <a:cubicBezTo>
                    <a:pt x="4482" y="42128"/>
                    <a:pt x="3585" y="43473"/>
                    <a:pt x="2241" y="43473"/>
                  </a:cubicBezTo>
                  <a:close/>
                </a:path>
              </a:pathLst>
            </a:custGeom>
            <a:solidFill>
              <a:srgbClr val="231F20"/>
            </a:solidFill>
            <a:ln w="4477" cap="flat">
              <a:noFill/>
              <a:prstDash val="solid"/>
              <a:miter/>
            </a:ln>
          </p:spPr>
          <p:txBody>
            <a:bodyPr rtlCol="0" anchor="ctr"/>
            <a:lstStyle/>
            <a:p>
              <a:endParaRPr lang="en-US"/>
            </a:p>
          </p:txBody>
        </p:sp>
        <p:sp>
          <p:nvSpPr>
            <p:cNvPr id="2551" name="Freeform: Shape 2550">
              <a:extLst>
                <a:ext uri="{FF2B5EF4-FFF2-40B4-BE49-F238E27FC236}">
                  <a16:creationId xmlns:a16="http://schemas.microsoft.com/office/drawing/2014/main" id="{E6575E0A-9482-4CA4-ACCB-FEFBA9FD3B17}"/>
                </a:ext>
              </a:extLst>
            </p:cNvPr>
            <p:cNvSpPr/>
            <p:nvPr/>
          </p:nvSpPr>
          <p:spPr>
            <a:xfrm>
              <a:off x="8330598" y="3904444"/>
              <a:ext cx="85152" cy="89634"/>
            </a:xfrm>
            <a:custGeom>
              <a:avLst/>
              <a:gdLst>
                <a:gd name="connsiteX0" fmla="*/ 41680 w 85152"/>
                <a:gd name="connsiteY0" fmla="*/ 90530 h 89634"/>
                <a:gd name="connsiteX1" fmla="*/ 16582 w 85152"/>
                <a:gd name="connsiteY1" fmla="*/ 90530 h 89634"/>
                <a:gd name="connsiteX2" fmla="*/ 10756 w 85152"/>
                <a:gd name="connsiteY2" fmla="*/ 84704 h 89634"/>
                <a:gd name="connsiteX3" fmla="*/ 10756 w 85152"/>
                <a:gd name="connsiteY3" fmla="*/ 51540 h 89634"/>
                <a:gd name="connsiteX4" fmla="*/ 5826 w 85152"/>
                <a:gd name="connsiteY4" fmla="*/ 51540 h 89634"/>
                <a:gd name="connsiteX5" fmla="*/ 0 w 85152"/>
                <a:gd name="connsiteY5" fmla="*/ 45713 h 89634"/>
                <a:gd name="connsiteX6" fmla="*/ 0 w 85152"/>
                <a:gd name="connsiteY6" fmla="*/ 12997 h 89634"/>
                <a:gd name="connsiteX7" fmla="*/ 12997 w 85152"/>
                <a:gd name="connsiteY7" fmla="*/ 0 h 89634"/>
                <a:gd name="connsiteX8" fmla="*/ 82911 w 85152"/>
                <a:gd name="connsiteY8" fmla="*/ 0 h 89634"/>
                <a:gd name="connsiteX9" fmla="*/ 85152 w 85152"/>
                <a:gd name="connsiteY9" fmla="*/ 2241 h 89634"/>
                <a:gd name="connsiteX10" fmla="*/ 85152 w 85152"/>
                <a:gd name="connsiteY10" fmla="*/ 7619 h 89634"/>
                <a:gd name="connsiteX11" fmla="*/ 73500 w 85152"/>
                <a:gd name="connsiteY11" fmla="*/ 16582 h 89634"/>
                <a:gd name="connsiteX12" fmla="*/ 47506 w 85152"/>
                <a:gd name="connsiteY12" fmla="*/ 16582 h 89634"/>
                <a:gd name="connsiteX13" fmla="*/ 47506 w 85152"/>
                <a:gd name="connsiteY13" fmla="*/ 84704 h 89634"/>
                <a:gd name="connsiteX14" fmla="*/ 41680 w 85152"/>
                <a:gd name="connsiteY14" fmla="*/ 90530 h 89634"/>
                <a:gd name="connsiteX15" fmla="*/ 15238 w 85152"/>
                <a:gd name="connsiteY15" fmla="*/ 49299 h 89634"/>
                <a:gd name="connsiteX16" fmla="*/ 15238 w 85152"/>
                <a:gd name="connsiteY16" fmla="*/ 84704 h 89634"/>
                <a:gd name="connsiteX17" fmla="*/ 16582 w 85152"/>
                <a:gd name="connsiteY17" fmla="*/ 86049 h 89634"/>
                <a:gd name="connsiteX18" fmla="*/ 41680 w 85152"/>
                <a:gd name="connsiteY18" fmla="*/ 86049 h 89634"/>
                <a:gd name="connsiteX19" fmla="*/ 43024 w 85152"/>
                <a:gd name="connsiteY19" fmla="*/ 84704 h 89634"/>
                <a:gd name="connsiteX20" fmla="*/ 43024 w 85152"/>
                <a:gd name="connsiteY20" fmla="*/ 14342 h 89634"/>
                <a:gd name="connsiteX21" fmla="*/ 43473 w 85152"/>
                <a:gd name="connsiteY21" fmla="*/ 12549 h 89634"/>
                <a:gd name="connsiteX22" fmla="*/ 45265 w 85152"/>
                <a:gd name="connsiteY22" fmla="*/ 12101 h 89634"/>
                <a:gd name="connsiteX23" fmla="*/ 73052 w 85152"/>
                <a:gd name="connsiteY23" fmla="*/ 12101 h 89634"/>
                <a:gd name="connsiteX24" fmla="*/ 80671 w 85152"/>
                <a:gd name="connsiteY24" fmla="*/ 7619 h 89634"/>
                <a:gd name="connsiteX25" fmla="*/ 80671 w 85152"/>
                <a:gd name="connsiteY25" fmla="*/ 4482 h 89634"/>
                <a:gd name="connsiteX26" fmla="*/ 12997 w 85152"/>
                <a:gd name="connsiteY26" fmla="*/ 4482 h 89634"/>
                <a:gd name="connsiteX27" fmla="*/ 4482 w 85152"/>
                <a:gd name="connsiteY27" fmla="*/ 12997 h 89634"/>
                <a:gd name="connsiteX28" fmla="*/ 4482 w 85152"/>
                <a:gd name="connsiteY28" fmla="*/ 45713 h 89634"/>
                <a:gd name="connsiteX29" fmla="*/ 5826 w 85152"/>
                <a:gd name="connsiteY29" fmla="*/ 47058 h 89634"/>
                <a:gd name="connsiteX30" fmla="*/ 10756 w 85152"/>
                <a:gd name="connsiteY30" fmla="*/ 47058 h 89634"/>
                <a:gd name="connsiteX31" fmla="*/ 10756 w 85152"/>
                <a:gd name="connsiteY31" fmla="*/ 17927 h 89634"/>
                <a:gd name="connsiteX32" fmla="*/ 12997 w 85152"/>
                <a:gd name="connsiteY32" fmla="*/ 15686 h 89634"/>
                <a:gd name="connsiteX33" fmla="*/ 15238 w 85152"/>
                <a:gd name="connsiteY33" fmla="*/ 17927 h 89634"/>
                <a:gd name="connsiteX34" fmla="*/ 15238 w 85152"/>
                <a:gd name="connsiteY34" fmla="*/ 49299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152" h="89634">
                  <a:moveTo>
                    <a:pt x="41680" y="90530"/>
                  </a:moveTo>
                  <a:lnTo>
                    <a:pt x="16582" y="90530"/>
                  </a:lnTo>
                  <a:cubicBezTo>
                    <a:pt x="13445" y="90530"/>
                    <a:pt x="10756" y="87842"/>
                    <a:pt x="10756" y="84704"/>
                  </a:cubicBezTo>
                  <a:lnTo>
                    <a:pt x="10756" y="51540"/>
                  </a:lnTo>
                  <a:lnTo>
                    <a:pt x="5826" y="51540"/>
                  </a:lnTo>
                  <a:cubicBezTo>
                    <a:pt x="2689" y="51540"/>
                    <a:pt x="0" y="48851"/>
                    <a:pt x="0" y="45713"/>
                  </a:cubicBezTo>
                  <a:lnTo>
                    <a:pt x="0" y="12997"/>
                  </a:lnTo>
                  <a:cubicBezTo>
                    <a:pt x="0" y="5826"/>
                    <a:pt x="5826" y="0"/>
                    <a:pt x="12997" y="0"/>
                  </a:cubicBezTo>
                  <a:lnTo>
                    <a:pt x="82911" y="0"/>
                  </a:lnTo>
                  <a:cubicBezTo>
                    <a:pt x="84256" y="0"/>
                    <a:pt x="85152" y="896"/>
                    <a:pt x="85152" y="2241"/>
                  </a:cubicBezTo>
                  <a:cubicBezTo>
                    <a:pt x="85152" y="2241"/>
                    <a:pt x="85152" y="3585"/>
                    <a:pt x="85152" y="7619"/>
                  </a:cubicBezTo>
                  <a:cubicBezTo>
                    <a:pt x="85152" y="12549"/>
                    <a:pt x="80222" y="16134"/>
                    <a:pt x="73500" y="16582"/>
                  </a:cubicBezTo>
                  <a:cubicBezTo>
                    <a:pt x="68122" y="17030"/>
                    <a:pt x="53332" y="16582"/>
                    <a:pt x="47506" y="16582"/>
                  </a:cubicBezTo>
                  <a:lnTo>
                    <a:pt x="47506" y="84704"/>
                  </a:lnTo>
                  <a:cubicBezTo>
                    <a:pt x="47506" y="87842"/>
                    <a:pt x="44817" y="90530"/>
                    <a:pt x="41680" y="90530"/>
                  </a:cubicBezTo>
                  <a:close/>
                  <a:moveTo>
                    <a:pt x="15238" y="49299"/>
                  </a:moveTo>
                  <a:lnTo>
                    <a:pt x="15238" y="84704"/>
                  </a:lnTo>
                  <a:cubicBezTo>
                    <a:pt x="15238" y="85601"/>
                    <a:pt x="15686" y="86049"/>
                    <a:pt x="16582" y="86049"/>
                  </a:cubicBezTo>
                  <a:lnTo>
                    <a:pt x="41680" y="86049"/>
                  </a:lnTo>
                  <a:cubicBezTo>
                    <a:pt x="42576" y="86049"/>
                    <a:pt x="43024" y="85601"/>
                    <a:pt x="43024" y="84704"/>
                  </a:cubicBezTo>
                  <a:lnTo>
                    <a:pt x="43024" y="14342"/>
                  </a:lnTo>
                  <a:cubicBezTo>
                    <a:pt x="43024" y="13893"/>
                    <a:pt x="43473" y="12997"/>
                    <a:pt x="43473" y="12549"/>
                  </a:cubicBezTo>
                  <a:cubicBezTo>
                    <a:pt x="43921" y="12101"/>
                    <a:pt x="44369" y="12101"/>
                    <a:pt x="45265" y="12101"/>
                  </a:cubicBezTo>
                  <a:cubicBezTo>
                    <a:pt x="45265" y="12101"/>
                    <a:pt x="66329" y="12549"/>
                    <a:pt x="73052" y="12101"/>
                  </a:cubicBezTo>
                  <a:cubicBezTo>
                    <a:pt x="77533" y="11653"/>
                    <a:pt x="80671" y="9412"/>
                    <a:pt x="80671" y="7619"/>
                  </a:cubicBezTo>
                  <a:cubicBezTo>
                    <a:pt x="80671" y="6274"/>
                    <a:pt x="80671" y="5378"/>
                    <a:pt x="80671" y="4482"/>
                  </a:cubicBezTo>
                  <a:lnTo>
                    <a:pt x="12997" y="4482"/>
                  </a:lnTo>
                  <a:cubicBezTo>
                    <a:pt x="8515" y="4482"/>
                    <a:pt x="4482" y="8515"/>
                    <a:pt x="4482" y="12997"/>
                  </a:cubicBezTo>
                  <a:lnTo>
                    <a:pt x="4482" y="45713"/>
                  </a:lnTo>
                  <a:cubicBezTo>
                    <a:pt x="4482" y="46610"/>
                    <a:pt x="4930" y="47058"/>
                    <a:pt x="5826" y="47058"/>
                  </a:cubicBezTo>
                  <a:lnTo>
                    <a:pt x="10756" y="47058"/>
                  </a:lnTo>
                  <a:lnTo>
                    <a:pt x="10756" y="17927"/>
                  </a:lnTo>
                  <a:cubicBezTo>
                    <a:pt x="10756" y="16582"/>
                    <a:pt x="11652" y="15686"/>
                    <a:pt x="12997" y="15686"/>
                  </a:cubicBezTo>
                  <a:cubicBezTo>
                    <a:pt x="14342" y="15686"/>
                    <a:pt x="15238" y="16582"/>
                    <a:pt x="15238" y="17927"/>
                  </a:cubicBezTo>
                  <a:lnTo>
                    <a:pt x="15238" y="49299"/>
                  </a:lnTo>
                  <a:close/>
                </a:path>
              </a:pathLst>
            </a:custGeom>
            <a:solidFill>
              <a:srgbClr val="231F20"/>
            </a:solidFill>
            <a:ln w="4477" cap="flat">
              <a:noFill/>
              <a:prstDash val="solid"/>
              <a:miter/>
            </a:ln>
          </p:spPr>
          <p:txBody>
            <a:bodyPr rtlCol="0" anchor="ctr"/>
            <a:lstStyle/>
            <a:p>
              <a:endParaRPr lang="en-US"/>
            </a:p>
          </p:txBody>
        </p:sp>
        <p:sp>
          <p:nvSpPr>
            <p:cNvPr id="2552" name="Freeform: Shape 2551">
              <a:extLst>
                <a:ext uri="{FF2B5EF4-FFF2-40B4-BE49-F238E27FC236}">
                  <a16:creationId xmlns:a16="http://schemas.microsoft.com/office/drawing/2014/main" id="{D1824F13-2BDF-4D3F-B490-B733E816F1DA}"/>
                </a:ext>
              </a:extLst>
            </p:cNvPr>
            <p:cNvSpPr/>
            <p:nvPr/>
          </p:nvSpPr>
          <p:spPr>
            <a:xfrm>
              <a:off x="8345388" y="3873072"/>
              <a:ext cx="26890" cy="26890"/>
            </a:xfrm>
            <a:custGeom>
              <a:avLst/>
              <a:gdLst>
                <a:gd name="connsiteX0" fmla="*/ 14342 w 26890"/>
                <a:gd name="connsiteY0" fmla="*/ 28683 h 26890"/>
                <a:gd name="connsiteX1" fmla="*/ 0 w 26890"/>
                <a:gd name="connsiteY1" fmla="*/ 14342 h 26890"/>
                <a:gd name="connsiteX2" fmla="*/ 14342 w 26890"/>
                <a:gd name="connsiteY2" fmla="*/ 0 h 26890"/>
                <a:gd name="connsiteX3" fmla="*/ 28683 w 26890"/>
                <a:gd name="connsiteY3" fmla="*/ 14342 h 26890"/>
                <a:gd name="connsiteX4" fmla="*/ 14342 w 26890"/>
                <a:gd name="connsiteY4" fmla="*/ 28683 h 26890"/>
                <a:gd name="connsiteX5" fmla="*/ 14342 w 26890"/>
                <a:gd name="connsiteY5" fmla="*/ 4482 h 26890"/>
                <a:gd name="connsiteX6" fmla="*/ 4482 w 26890"/>
                <a:gd name="connsiteY6" fmla="*/ 14342 h 26890"/>
                <a:gd name="connsiteX7" fmla="*/ 14342 w 26890"/>
                <a:gd name="connsiteY7" fmla="*/ 24201 h 26890"/>
                <a:gd name="connsiteX8" fmla="*/ 24201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6274" y="28683"/>
                    <a:pt x="0" y="22409"/>
                    <a:pt x="0" y="14342"/>
                  </a:cubicBezTo>
                  <a:cubicBezTo>
                    <a:pt x="0" y="6274"/>
                    <a:pt x="6274" y="0"/>
                    <a:pt x="14342" y="0"/>
                  </a:cubicBezTo>
                  <a:cubicBezTo>
                    <a:pt x="22409" y="0"/>
                    <a:pt x="28683" y="6274"/>
                    <a:pt x="28683" y="14342"/>
                  </a:cubicBezTo>
                  <a:cubicBezTo>
                    <a:pt x="28683" y="22409"/>
                    <a:pt x="22409" y="28683"/>
                    <a:pt x="14342" y="28683"/>
                  </a:cubicBezTo>
                  <a:close/>
                  <a:moveTo>
                    <a:pt x="14342" y="4482"/>
                  </a:moveTo>
                  <a:cubicBezTo>
                    <a:pt x="8963" y="4482"/>
                    <a:pt x="4482" y="8963"/>
                    <a:pt x="4482" y="14342"/>
                  </a:cubicBezTo>
                  <a:cubicBezTo>
                    <a:pt x="4482" y="19720"/>
                    <a:pt x="8963" y="24201"/>
                    <a:pt x="14342" y="24201"/>
                  </a:cubicBezTo>
                  <a:cubicBezTo>
                    <a:pt x="19720" y="24201"/>
                    <a:pt x="24201" y="19720"/>
                    <a:pt x="24201" y="14342"/>
                  </a:cubicBezTo>
                  <a:cubicBezTo>
                    <a:pt x="24201" y="8963"/>
                    <a:pt x="19720" y="4482"/>
                    <a:pt x="14342" y="4482"/>
                  </a:cubicBezTo>
                  <a:close/>
                </a:path>
              </a:pathLst>
            </a:custGeom>
            <a:solidFill>
              <a:srgbClr val="231F20"/>
            </a:solidFill>
            <a:ln w="4477" cap="flat">
              <a:noFill/>
              <a:prstDash val="solid"/>
              <a:miter/>
            </a:ln>
          </p:spPr>
          <p:txBody>
            <a:bodyPr rtlCol="0" anchor="ctr"/>
            <a:lstStyle/>
            <a:p>
              <a:endParaRPr lang="en-US"/>
            </a:p>
          </p:txBody>
        </p:sp>
        <p:sp>
          <p:nvSpPr>
            <p:cNvPr id="2553" name="Freeform: Shape 2552">
              <a:extLst>
                <a:ext uri="{FF2B5EF4-FFF2-40B4-BE49-F238E27FC236}">
                  <a16:creationId xmlns:a16="http://schemas.microsoft.com/office/drawing/2014/main" id="{F7CCA95F-377E-49F4-8F0B-960310080BCB}"/>
                </a:ext>
              </a:extLst>
            </p:cNvPr>
            <p:cNvSpPr/>
            <p:nvPr/>
          </p:nvSpPr>
          <p:spPr>
            <a:xfrm>
              <a:off x="8397824" y="3882931"/>
              <a:ext cx="85152" cy="98597"/>
            </a:xfrm>
            <a:custGeom>
              <a:avLst/>
              <a:gdLst>
                <a:gd name="connsiteX0" fmla="*/ 75293 w 85152"/>
                <a:gd name="connsiteY0" fmla="*/ 98597 h 98597"/>
                <a:gd name="connsiteX1" fmla="*/ 9860 w 85152"/>
                <a:gd name="connsiteY1" fmla="*/ 98597 h 98597"/>
                <a:gd name="connsiteX2" fmla="*/ 0 w 85152"/>
                <a:gd name="connsiteY2" fmla="*/ 88738 h 98597"/>
                <a:gd name="connsiteX3" fmla="*/ 0 w 85152"/>
                <a:gd name="connsiteY3" fmla="*/ 47058 h 98597"/>
                <a:gd name="connsiteX4" fmla="*/ 2241 w 85152"/>
                <a:gd name="connsiteY4" fmla="*/ 44817 h 98597"/>
                <a:gd name="connsiteX5" fmla="*/ 4482 w 85152"/>
                <a:gd name="connsiteY5" fmla="*/ 47058 h 98597"/>
                <a:gd name="connsiteX6" fmla="*/ 4482 w 85152"/>
                <a:gd name="connsiteY6" fmla="*/ 88738 h 98597"/>
                <a:gd name="connsiteX7" fmla="*/ 9860 w 85152"/>
                <a:gd name="connsiteY7" fmla="*/ 94116 h 98597"/>
                <a:gd name="connsiteX8" fmla="*/ 75293 w 85152"/>
                <a:gd name="connsiteY8" fmla="*/ 94116 h 98597"/>
                <a:gd name="connsiteX9" fmla="*/ 80671 w 85152"/>
                <a:gd name="connsiteY9" fmla="*/ 88738 h 98597"/>
                <a:gd name="connsiteX10" fmla="*/ 80671 w 85152"/>
                <a:gd name="connsiteY10" fmla="*/ 9860 h 98597"/>
                <a:gd name="connsiteX11" fmla="*/ 75293 w 85152"/>
                <a:gd name="connsiteY11" fmla="*/ 4482 h 98597"/>
                <a:gd name="connsiteX12" fmla="*/ 9860 w 85152"/>
                <a:gd name="connsiteY12" fmla="*/ 4482 h 98597"/>
                <a:gd name="connsiteX13" fmla="*/ 4482 w 85152"/>
                <a:gd name="connsiteY13" fmla="*/ 9860 h 98597"/>
                <a:gd name="connsiteX14" fmla="*/ 4482 w 85152"/>
                <a:gd name="connsiteY14" fmla="*/ 15686 h 98597"/>
                <a:gd name="connsiteX15" fmla="*/ 2241 w 85152"/>
                <a:gd name="connsiteY15" fmla="*/ 17927 h 98597"/>
                <a:gd name="connsiteX16" fmla="*/ 0 w 85152"/>
                <a:gd name="connsiteY16" fmla="*/ 15686 h 98597"/>
                <a:gd name="connsiteX17" fmla="*/ 0 w 85152"/>
                <a:gd name="connsiteY17" fmla="*/ 9860 h 98597"/>
                <a:gd name="connsiteX18" fmla="*/ 9860 w 85152"/>
                <a:gd name="connsiteY18" fmla="*/ 0 h 98597"/>
                <a:gd name="connsiteX19" fmla="*/ 75293 w 85152"/>
                <a:gd name="connsiteY19" fmla="*/ 0 h 98597"/>
                <a:gd name="connsiteX20" fmla="*/ 85152 w 85152"/>
                <a:gd name="connsiteY20" fmla="*/ 9860 h 98597"/>
                <a:gd name="connsiteX21" fmla="*/ 85152 w 85152"/>
                <a:gd name="connsiteY21" fmla="*/ 88738 h 98597"/>
                <a:gd name="connsiteX22" fmla="*/ 75293 w 85152"/>
                <a:gd name="connsiteY22" fmla="*/ 98597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152" h="98597">
                  <a:moveTo>
                    <a:pt x="75293" y="98597"/>
                  </a:moveTo>
                  <a:lnTo>
                    <a:pt x="9860" y="98597"/>
                  </a:lnTo>
                  <a:cubicBezTo>
                    <a:pt x="4482" y="98597"/>
                    <a:pt x="0" y="94116"/>
                    <a:pt x="0" y="88738"/>
                  </a:cubicBezTo>
                  <a:lnTo>
                    <a:pt x="0" y="47058"/>
                  </a:lnTo>
                  <a:cubicBezTo>
                    <a:pt x="0" y="45713"/>
                    <a:pt x="896" y="44817"/>
                    <a:pt x="2241" y="44817"/>
                  </a:cubicBezTo>
                  <a:cubicBezTo>
                    <a:pt x="3585" y="44817"/>
                    <a:pt x="4482" y="45713"/>
                    <a:pt x="4482" y="47058"/>
                  </a:cubicBezTo>
                  <a:lnTo>
                    <a:pt x="4482" y="88738"/>
                  </a:lnTo>
                  <a:cubicBezTo>
                    <a:pt x="4482" y="91875"/>
                    <a:pt x="6723" y="94116"/>
                    <a:pt x="9860" y="94116"/>
                  </a:cubicBezTo>
                  <a:lnTo>
                    <a:pt x="75293" y="94116"/>
                  </a:lnTo>
                  <a:cubicBezTo>
                    <a:pt x="78430" y="94116"/>
                    <a:pt x="80671" y="91875"/>
                    <a:pt x="80671" y="88738"/>
                  </a:cubicBezTo>
                  <a:lnTo>
                    <a:pt x="80671" y="9860"/>
                  </a:lnTo>
                  <a:cubicBezTo>
                    <a:pt x="80671" y="6723"/>
                    <a:pt x="78430" y="4482"/>
                    <a:pt x="75293" y="4482"/>
                  </a:cubicBezTo>
                  <a:lnTo>
                    <a:pt x="9860" y="4482"/>
                  </a:lnTo>
                  <a:cubicBezTo>
                    <a:pt x="6723" y="4482"/>
                    <a:pt x="4482" y="6723"/>
                    <a:pt x="4482" y="9860"/>
                  </a:cubicBezTo>
                  <a:lnTo>
                    <a:pt x="4482" y="15686"/>
                  </a:lnTo>
                  <a:cubicBezTo>
                    <a:pt x="4482" y="17030"/>
                    <a:pt x="3585" y="17927"/>
                    <a:pt x="2241" y="17927"/>
                  </a:cubicBezTo>
                  <a:cubicBezTo>
                    <a:pt x="896" y="17927"/>
                    <a:pt x="0" y="17030"/>
                    <a:pt x="0" y="15686"/>
                  </a:cubicBezTo>
                  <a:lnTo>
                    <a:pt x="0" y="9860"/>
                  </a:lnTo>
                  <a:cubicBezTo>
                    <a:pt x="0" y="4482"/>
                    <a:pt x="4482" y="0"/>
                    <a:pt x="9860" y="0"/>
                  </a:cubicBezTo>
                  <a:lnTo>
                    <a:pt x="75293" y="0"/>
                  </a:lnTo>
                  <a:cubicBezTo>
                    <a:pt x="80671" y="0"/>
                    <a:pt x="85152" y="4482"/>
                    <a:pt x="85152" y="9860"/>
                  </a:cubicBezTo>
                  <a:lnTo>
                    <a:pt x="85152" y="88738"/>
                  </a:lnTo>
                  <a:cubicBezTo>
                    <a:pt x="85152" y="94116"/>
                    <a:pt x="80671" y="98597"/>
                    <a:pt x="75293" y="98597"/>
                  </a:cubicBezTo>
                  <a:close/>
                </a:path>
              </a:pathLst>
            </a:custGeom>
            <a:solidFill>
              <a:srgbClr val="231F20"/>
            </a:solidFill>
            <a:ln w="4477" cap="flat">
              <a:noFill/>
              <a:prstDash val="solid"/>
              <a:miter/>
            </a:ln>
          </p:spPr>
          <p:txBody>
            <a:bodyPr rtlCol="0" anchor="ctr"/>
            <a:lstStyle/>
            <a:p>
              <a:endParaRPr lang="en-US"/>
            </a:p>
          </p:txBody>
        </p:sp>
        <p:sp>
          <p:nvSpPr>
            <p:cNvPr id="2554" name="Freeform: Shape 2553">
              <a:extLst>
                <a:ext uri="{FF2B5EF4-FFF2-40B4-BE49-F238E27FC236}">
                  <a16:creationId xmlns:a16="http://schemas.microsoft.com/office/drawing/2014/main" id="{CBEE6917-25A8-47DF-A000-B0D71147D9C3}"/>
                </a:ext>
              </a:extLst>
            </p:cNvPr>
            <p:cNvSpPr/>
            <p:nvPr/>
          </p:nvSpPr>
          <p:spPr>
            <a:xfrm>
              <a:off x="8424714" y="3930437"/>
              <a:ext cx="4482" cy="31372"/>
            </a:xfrm>
            <a:custGeom>
              <a:avLst/>
              <a:gdLst>
                <a:gd name="connsiteX0" fmla="*/ 2241 w 4481"/>
                <a:gd name="connsiteY0" fmla="*/ 31372 h 31371"/>
                <a:gd name="connsiteX1" fmla="*/ 0 w 4481"/>
                <a:gd name="connsiteY1" fmla="*/ 29131 h 31371"/>
                <a:gd name="connsiteX2" fmla="*/ 0 w 4481"/>
                <a:gd name="connsiteY2" fmla="*/ 2241 h 31371"/>
                <a:gd name="connsiteX3" fmla="*/ 2241 w 4481"/>
                <a:gd name="connsiteY3" fmla="*/ 0 h 31371"/>
                <a:gd name="connsiteX4" fmla="*/ 4482 w 4481"/>
                <a:gd name="connsiteY4" fmla="*/ 2241 h 31371"/>
                <a:gd name="connsiteX5" fmla="*/ 4482 w 4481"/>
                <a:gd name="connsiteY5" fmla="*/ 29131 h 31371"/>
                <a:gd name="connsiteX6" fmla="*/ 2241 w 4481"/>
                <a:gd name="connsiteY6" fmla="*/ 31372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31371">
                  <a:moveTo>
                    <a:pt x="2241" y="31372"/>
                  </a:moveTo>
                  <a:cubicBezTo>
                    <a:pt x="896" y="31372"/>
                    <a:pt x="0" y="30476"/>
                    <a:pt x="0" y="29131"/>
                  </a:cubicBezTo>
                  <a:lnTo>
                    <a:pt x="0" y="2241"/>
                  </a:lnTo>
                  <a:cubicBezTo>
                    <a:pt x="0" y="896"/>
                    <a:pt x="896" y="0"/>
                    <a:pt x="2241" y="0"/>
                  </a:cubicBezTo>
                  <a:cubicBezTo>
                    <a:pt x="3585" y="0"/>
                    <a:pt x="4482" y="896"/>
                    <a:pt x="4482" y="2241"/>
                  </a:cubicBezTo>
                  <a:lnTo>
                    <a:pt x="4482" y="29131"/>
                  </a:lnTo>
                  <a:cubicBezTo>
                    <a:pt x="4482" y="30476"/>
                    <a:pt x="3585" y="31372"/>
                    <a:pt x="2241" y="31372"/>
                  </a:cubicBezTo>
                  <a:close/>
                </a:path>
              </a:pathLst>
            </a:custGeom>
            <a:solidFill>
              <a:srgbClr val="231F20"/>
            </a:solidFill>
            <a:ln w="4477" cap="flat">
              <a:noFill/>
              <a:prstDash val="solid"/>
              <a:miter/>
            </a:ln>
          </p:spPr>
          <p:txBody>
            <a:bodyPr rtlCol="0" anchor="ctr"/>
            <a:lstStyle/>
            <a:p>
              <a:endParaRPr lang="en-US"/>
            </a:p>
          </p:txBody>
        </p:sp>
        <p:sp>
          <p:nvSpPr>
            <p:cNvPr id="2555" name="Freeform: Shape 2554">
              <a:extLst>
                <a:ext uri="{FF2B5EF4-FFF2-40B4-BE49-F238E27FC236}">
                  <a16:creationId xmlns:a16="http://schemas.microsoft.com/office/drawing/2014/main" id="{77429D99-869D-4612-A424-45B3E2594BFA}"/>
                </a:ext>
              </a:extLst>
            </p:cNvPr>
            <p:cNvSpPr/>
            <p:nvPr/>
          </p:nvSpPr>
          <p:spPr>
            <a:xfrm>
              <a:off x="8438607" y="3916992"/>
              <a:ext cx="4482" cy="44817"/>
            </a:xfrm>
            <a:custGeom>
              <a:avLst/>
              <a:gdLst>
                <a:gd name="connsiteX0" fmla="*/ 2241 w 4481"/>
                <a:gd name="connsiteY0" fmla="*/ 44817 h 44817"/>
                <a:gd name="connsiteX1" fmla="*/ 0 w 4481"/>
                <a:gd name="connsiteY1" fmla="*/ 42576 h 44817"/>
                <a:gd name="connsiteX2" fmla="*/ 0 w 4481"/>
                <a:gd name="connsiteY2" fmla="*/ 2241 h 44817"/>
                <a:gd name="connsiteX3" fmla="*/ 2241 w 4481"/>
                <a:gd name="connsiteY3" fmla="*/ 0 h 44817"/>
                <a:gd name="connsiteX4" fmla="*/ 4482 w 4481"/>
                <a:gd name="connsiteY4" fmla="*/ 2241 h 44817"/>
                <a:gd name="connsiteX5" fmla="*/ 4482 w 4481"/>
                <a:gd name="connsiteY5" fmla="*/ 42576 h 44817"/>
                <a:gd name="connsiteX6" fmla="*/ 2241 w 4481"/>
                <a:gd name="connsiteY6" fmla="*/ 44817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44817">
                  <a:moveTo>
                    <a:pt x="2241" y="44817"/>
                  </a:moveTo>
                  <a:cubicBezTo>
                    <a:pt x="896" y="44817"/>
                    <a:pt x="0" y="43921"/>
                    <a:pt x="0" y="42576"/>
                  </a:cubicBezTo>
                  <a:lnTo>
                    <a:pt x="0" y="2241"/>
                  </a:lnTo>
                  <a:cubicBezTo>
                    <a:pt x="0" y="896"/>
                    <a:pt x="896" y="0"/>
                    <a:pt x="2241" y="0"/>
                  </a:cubicBezTo>
                  <a:cubicBezTo>
                    <a:pt x="3585" y="0"/>
                    <a:pt x="4482" y="896"/>
                    <a:pt x="4482" y="2241"/>
                  </a:cubicBezTo>
                  <a:lnTo>
                    <a:pt x="4482" y="42576"/>
                  </a:lnTo>
                  <a:cubicBezTo>
                    <a:pt x="4482" y="43921"/>
                    <a:pt x="3585" y="44817"/>
                    <a:pt x="2241" y="44817"/>
                  </a:cubicBezTo>
                  <a:close/>
                </a:path>
              </a:pathLst>
            </a:custGeom>
            <a:solidFill>
              <a:srgbClr val="231F20"/>
            </a:solidFill>
            <a:ln w="4477" cap="flat">
              <a:noFill/>
              <a:prstDash val="solid"/>
              <a:miter/>
            </a:ln>
          </p:spPr>
          <p:txBody>
            <a:bodyPr rtlCol="0" anchor="ctr"/>
            <a:lstStyle/>
            <a:p>
              <a:endParaRPr lang="en-US"/>
            </a:p>
          </p:txBody>
        </p:sp>
        <p:sp>
          <p:nvSpPr>
            <p:cNvPr id="2562" name="Freeform: Shape 2561">
              <a:extLst>
                <a:ext uri="{FF2B5EF4-FFF2-40B4-BE49-F238E27FC236}">
                  <a16:creationId xmlns:a16="http://schemas.microsoft.com/office/drawing/2014/main" id="{2007A2BA-F27C-44D6-AADE-5B375E4A1B2E}"/>
                </a:ext>
              </a:extLst>
            </p:cNvPr>
            <p:cNvSpPr/>
            <p:nvPr/>
          </p:nvSpPr>
          <p:spPr>
            <a:xfrm>
              <a:off x="8451604" y="3903547"/>
              <a:ext cx="4482" cy="58262"/>
            </a:xfrm>
            <a:custGeom>
              <a:avLst/>
              <a:gdLst>
                <a:gd name="connsiteX0" fmla="*/ 2241 w 4481"/>
                <a:gd name="connsiteY0" fmla="*/ 58262 h 58262"/>
                <a:gd name="connsiteX1" fmla="*/ 0 w 4481"/>
                <a:gd name="connsiteY1" fmla="*/ 56021 h 58262"/>
                <a:gd name="connsiteX2" fmla="*/ 0 w 4481"/>
                <a:gd name="connsiteY2" fmla="*/ 2241 h 58262"/>
                <a:gd name="connsiteX3" fmla="*/ 2241 w 4481"/>
                <a:gd name="connsiteY3" fmla="*/ 0 h 58262"/>
                <a:gd name="connsiteX4" fmla="*/ 4482 w 4481"/>
                <a:gd name="connsiteY4" fmla="*/ 2241 h 58262"/>
                <a:gd name="connsiteX5" fmla="*/ 4482 w 4481"/>
                <a:gd name="connsiteY5" fmla="*/ 56021 h 58262"/>
                <a:gd name="connsiteX6" fmla="*/ 2241 w 4481"/>
                <a:gd name="connsiteY6" fmla="*/ 58262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58262">
                  <a:moveTo>
                    <a:pt x="2241" y="58262"/>
                  </a:moveTo>
                  <a:cubicBezTo>
                    <a:pt x="896" y="58262"/>
                    <a:pt x="0" y="57366"/>
                    <a:pt x="0" y="56021"/>
                  </a:cubicBezTo>
                  <a:lnTo>
                    <a:pt x="0" y="2241"/>
                  </a:lnTo>
                  <a:cubicBezTo>
                    <a:pt x="0" y="896"/>
                    <a:pt x="896" y="0"/>
                    <a:pt x="2241" y="0"/>
                  </a:cubicBezTo>
                  <a:cubicBezTo>
                    <a:pt x="3585" y="0"/>
                    <a:pt x="4482" y="896"/>
                    <a:pt x="4482" y="2241"/>
                  </a:cubicBezTo>
                  <a:lnTo>
                    <a:pt x="4482" y="56021"/>
                  </a:lnTo>
                  <a:cubicBezTo>
                    <a:pt x="4482" y="57366"/>
                    <a:pt x="3585" y="58262"/>
                    <a:pt x="2241" y="58262"/>
                  </a:cubicBezTo>
                  <a:close/>
                </a:path>
              </a:pathLst>
            </a:custGeom>
            <a:solidFill>
              <a:srgbClr val="231F20"/>
            </a:solidFill>
            <a:ln w="4477" cap="flat">
              <a:noFill/>
              <a:prstDash val="solid"/>
              <a:miter/>
            </a:ln>
          </p:spPr>
          <p:txBody>
            <a:bodyPr rtlCol="0" anchor="ctr"/>
            <a:lstStyle/>
            <a:p>
              <a:endParaRPr lang="en-US"/>
            </a:p>
          </p:txBody>
        </p:sp>
      </p:grpSp>
      <p:grpSp>
        <p:nvGrpSpPr>
          <p:cNvPr id="2450" name="Group 2449">
            <a:extLst>
              <a:ext uri="{FF2B5EF4-FFF2-40B4-BE49-F238E27FC236}">
                <a16:creationId xmlns:a16="http://schemas.microsoft.com/office/drawing/2014/main" id="{60C5F23E-862D-46A7-A452-7B332D18E6A9}"/>
              </a:ext>
              <a:ext uri="{C183D7F6-B498-43B3-948B-1728B52AA6E4}">
                <adec:decorative xmlns:adec="http://schemas.microsoft.com/office/drawing/2017/decorative" val="1"/>
              </a:ext>
            </a:extLst>
          </p:cNvPr>
          <p:cNvGrpSpPr>
            <a:grpSpLocks noChangeAspect="1"/>
          </p:cNvGrpSpPr>
          <p:nvPr/>
        </p:nvGrpSpPr>
        <p:grpSpPr>
          <a:xfrm>
            <a:off x="2737314" y="4875450"/>
            <a:ext cx="112042" cy="135795"/>
            <a:chOff x="8612049" y="3858282"/>
            <a:chExt cx="112042" cy="135795"/>
          </a:xfrm>
        </p:grpSpPr>
        <p:sp>
          <p:nvSpPr>
            <p:cNvPr id="2542" name="Freeform: Shape 2541">
              <a:extLst>
                <a:ext uri="{FF2B5EF4-FFF2-40B4-BE49-F238E27FC236}">
                  <a16:creationId xmlns:a16="http://schemas.microsoft.com/office/drawing/2014/main" id="{123D41A7-6B84-4A0B-ACFD-A6903BDDFC99}"/>
                </a:ext>
              </a:extLst>
            </p:cNvPr>
            <p:cNvSpPr/>
            <p:nvPr/>
          </p:nvSpPr>
          <p:spPr>
            <a:xfrm>
              <a:off x="8655073" y="3858282"/>
              <a:ext cx="22409" cy="22409"/>
            </a:xfrm>
            <a:custGeom>
              <a:avLst/>
              <a:gdLst>
                <a:gd name="connsiteX0" fmla="*/ 12549 w 22408"/>
                <a:gd name="connsiteY0" fmla="*/ 25097 h 22408"/>
                <a:gd name="connsiteX1" fmla="*/ 25098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8" y="19271"/>
                    <a:pt x="25098" y="12549"/>
                  </a:cubicBezTo>
                  <a:cubicBezTo>
                    <a:pt x="25098" y="5378"/>
                    <a:pt x="19271" y="0"/>
                    <a:pt x="12549" y="0"/>
                  </a:cubicBezTo>
                  <a:cubicBezTo>
                    <a:pt x="5826" y="0"/>
                    <a:pt x="0" y="5826"/>
                    <a:pt x="0" y="12549"/>
                  </a:cubicBezTo>
                  <a:cubicBezTo>
                    <a:pt x="0" y="19271"/>
                    <a:pt x="5826" y="25097"/>
                    <a:pt x="12549" y="25097"/>
                  </a:cubicBezTo>
                  <a:close/>
                  <a:moveTo>
                    <a:pt x="12549" y="4034"/>
                  </a:moveTo>
                  <a:cubicBezTo>
                    <a:pt x="17031" y="4034"/>
                    <a:pt x="20616" y="7619"/>
                    <a:pt x="20616" y="12101"/>
                  </a:cubicBezTo>
                  <a:cubicBezTo>
                    <a:pt x="20616" y="16582"/>
                    <a:pt x="17031"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44" name="Freeform: Shape 2543">
              <a:extLst>
                <a:ext uri="{FF2B5EF4-FFF2-40B4-BE49-F238E27FC236}">
                  <a16:creationId xmlns:a16="http://schemas.microsoft.com/office/drawing/2014/main" id="{B71253A8-2F0A-47B8-A359-23557557389F}"/>
                </a:ext>
              </a:extLst>
            </p:cNvPr>
            <p:cNvSpPr/>
            <p:nvPr/>
          </p:nvSpPr>
          <p:spPr>
            <a:xfrm>
              <a:off x="8645214" y="3886069"/>
              <a:ext cx="44817" cy="26890"/>
            </a:xfrm>
            <a:custGeom>
              <a:avLst/>
              <a:gdLst>
                <a:gd name="connsiteX0" fmla="*/ 6274 w 44817"/>
                <a:gd name="connsiteY0" fmla="*/ 27787 h 26890"/>
                <a:gd name="connsiteX1" fmla="*/ 38991 w 44817"/>
                <a:gd name="connsiteY1" fmla="*/ 27787 h 26890"/>
                <a:gd name="connsiteX2" fmla="*/ 45265 w 44817"/>
                <a:gd name="connsiteY2" fmla="*/ 21512 h 26890"/>
                <a:gd name="connsiteX3" fmla="*/ 45265 w 44817"/>
                <a:gd name="connsiteY3" fmla="*/ 14790 h 26890"/>
                <a:gd name="connsiteX4" fmla="*/ 30476 w 44817"/>
                <a:gd name="connsiteY4" fmla="*/ 0 h 26890"/>
                <a:gd name="connsiteX5" fmla="*/ 14790 w 44817"/>
                <a:gd name="connsiteY5" fmla="*/ 0 h 26890"/>
                <a:gd name="connsiteX6" fmla="*/ 0 w 44817"/>
                <a:gd name="connsiteY6" fmla="*/ 14790 h 26890"/>
                <a:gd name="connsiteX7" fmla="*/ 0 w 44817"/>
                <a:gd name="connsiteY7" fmla="*/ 21512 h 26890"/>
                <a:gd name="connsiteX8" fmla="*/ 6274 w 44817"/>
                <a:gd name="connsiteY8" fmla="*/ 27787 h 26890"/>
                <a:gd name="connsiteX9" fmla="*/ 4482 w 44817"/>
                <a:gd name="connsiteY9" fmla="*/ 15238 h 26890"/>
                <a:gd name="connsiteX10" fmla="*/ 14790 w 44817"/>
                <a:gd name="connsiteY10" fmla="*/ 4930 h 26890"/>
                <a:gd name="connsiteX11" fmla="*/ 29579 w 44817"/>
                <a:gd name="connsiteY11" fmla="*/ 4930 h 26890"/>
                <a:gd name="connsiteX12" fmla="*/ 39887 w 44817"/>
                <a:gd name="connsiteY12" fmla="*/ 15238 h 26890"/>
                <a:gd name="connsiteX13" fmla="*/ 39887 w 44817"/>
                <a:gd name="connsiteY13" fmla="*/ 21960 h 26890"/>
                <a:gd name="connsiteX14" fmla="*/ 38094 w 44817"/>
                <a:gd name="connsiteY14" fmla="*/ 23753 h 26890"/>
                <a:gd name="connsiteX15" fmla="*/ 5378 w 44817"/>
                <a:gd name="connsiteY15" fmla="*/ 23753 h 26890"/>
                <a:gd name="connsiteX16" fmla="*/ 3585 w 44817"/>
                <a:gd name="connsiteY16" fmla="*/ 21960 h 26890"/>
                <a:gd name="connsiteX17" fmla="*/ 3585 w 44817"/>
                <a:gd name="connsiteY17" fmla="*/ 15238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6274" y="27787"/>
                  </a:moveTo>
                  <a:lnTo>
                    <a:pt x="38991" y="27787"/>
                  </a:lnTo>
                  <a:cubicBezTo>
                    <a:pt x="42128" y="27787"/>
                    <a:pt x="45265" y="25097"/>
                    <a:pt x="45265" y="21512"/>
                  </a:cubicBezTo>
                  <a:lnTo>
                    <a:pt x="45265" y="14790"/>
                  </a:lnTo>
                  <a:cubicBezTo>
                    <a:pt x="45265" y="6723"/>
                    <a:pt x="38543" y="0"/>
                    <a:pt x="30476" y="0"/>
                  </a:cubicBezTo>
                  <a:lnTo>
                    <a:pt x="14790" y="0"/>
                  </a:lnTo>
                  <a:cubicBezTo>
                    <a:pt x="6723" y="0"/>
                    <a:pt x="0" y="6723"/>
                    <a:pt x="0" y="14790"/>
                  </a:cubicBezTo>
                  <a:lnTo>
                    <a:pt x="0" y="21512"/>
                  </a:lnTo>
                  <a:cubicBezTo>
                    <a:pt x="0" y="25097"/>
                    <a:pt x="2689" y="27787"/>
                    <a:pt x="6274" y="27787"/>
                  </a:cubicBezTo>
                  <a:close/>
                  <a:moveTo>
                    <a:pt x="4482" y="15238"/>
                  </a:moveTo>
                  <a:cubicBezTo>
                    <a:pt x="4482" y="9411"/>
                    <a:pt x="8963" y="4930"/>
                    <a:pt x="14790" y="4930"/>
                  </a:cubicBezTo>
                  <a:lnTo>
                    <a:pt x="29579" y="4930"/>
                  </a:lnTo>
                  <a:cubicBezTo>
                    <a:pt x="35405" y="4930"/>
                    <a:pt x="39887" y="9411"/>
                    <a:pt x="39887" y="15238"/>
                  </a:cubicBezTo>
                  <a:lnTo>
                    <a:pt x="39887" y="21960"/>
                  </a:lnTo>
                  <a:cubicBezTo>
                    <a:pt x="39887" y="22857"/>
                    <a:pt x="38991" y="23753"/>
                    <a:pt x="38094" y="23753"/>
                  </a:cubicBezTo>
                  <a:lnTo>
                    <a:pt x="5378" y="23753"/>
                  </a:lnTo>
                  <a:cubicBezTo>
                    <a:pt x="4482" y="23753"/>
                    <a:pt x="3585" y="22857"/>
                    <a:pt x="3585" y="21960"/>
                  </a:cubicBezTo>
                  <a:lnTo>
                    <a:pt x="3585" y="15238"/>
                  </a:lnTo>
                  <a:close/>
                </a:path>
              </a:pathLst>
            </a:custGeom>
            <a:solidFill>
              <a:srgbClr val="231F20"/>
            </a:solidFill>
            <a:ln w="4477" cap="flat">
              <a:noFill/>
              <a:prstDash val="solid"/>
              <a:miter/>
            </a:ln>
          </p:spPr>
          <p:txBody>
            <a:bodyPr rtlCol="0" anchor="ctr"/>
            <a:lstStyle/>
            <a:p>
              <a:endParaRPr lang="en-US"/>
            </a:p>
          </p:txBody>
        </p:sp>
        <p:sp>
          <p:nvSpPr>
            <p:cNvPr id="2545" name="Freeform: Shape 2544">
              <a:extLst>
                <a:ext uri="{FF2B5EF4-FFF2-40B4-BE49-F238E27FC236}">
                  <a16:creationId xmlns:a16="http://schemas.microsoft.com/office/drawing/2014/main" id="{AC10F734-571D-4444-B2C0-B69A99D16E23}"/>
                </a:ext>
              </a:extLst>
            </p:cNvPr>
            <p:cNvSpPr/>
            <p:nvPr/>
          </p:nvSpPr>
          <p:spPr>
            <a:xfrm>
              <a:off x="8621460" y="3938953"/>
              <a:ext cx="22409" cy="22409"/>
            </a:xfrm>
            <a:custGeom>
              <a:avLst/>
              <a:gdLst>
                <a:gd name="connsiteX0" fmla="*/ 12549 w 22408"/>
                <a:gd name="connsiteY0" fmla="*/ 25097 h 22408"/>
                <a:gd name="connsiteX1" fmla="*/ 25098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034 h 22408"/>
                <a:gd name="connsiteX6" fmla="*/ 20616 w 22408"/>
                <a:gd name="connsiteY6" fmla="*/ 12101 h 22408"/>
                <a:gd name="connsiteX7" fmla="*/ 12549 w 22408"/>
                <a:gd name="connsiteY7" fmla="*/ 20168 h 22408"/>
                <a:gd name="connsiteX8" fmla="*/ 4482 w 22408"/>
                <a:gd name="connsiteY8" fmla="*/ 12101 h 22408"/>
                <a:gd name="connsiteX9" fmla="*/ 12549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8" y="19271"/>
                    <a:pt x="25098" y="12549"/>
                  </a:cubicBezTo>
                  <a:cubicBezTo>
                    <a:pt x="25098" y="5378"/>
                    <a:pt x="19271" y="0"/>
                    <a:pt x="12549" y="0"/>
                  </a:cubicBezTo>
                  <a:cubicBezTo>
                    <a:pt x="5826" y="0"/>
                    <a:pt x="0" y="5826"/>
                    <a:pt x="0" y="12549"/>
                  </a:cubicBezTo>
                  <a:cubicBezTo>
                    <a:pt x="0" y="19271"/>
                    <a:pt x="5826" y="25097"/>
                    <a:pt x="12549" y="25097"/>
                  </a:cubicBezTo>
                  <a:close/>
                  <a:moveTo>
                    <a:pt x="12549" y="4034"/>
                  </a:moveTo>
                  <a:cubicBezTo>
                    <a:pt x="17031" y="4034"/>
                    <a:pt x="20616" y="7619"/>
                    <a:pt x="20616" y="12101"/>
                  </a:cubicBezTo>
                  <a:cubicBezTo>
                    <a:pt x="20616" y="16582"/>
                    <a:pt x="17031" y="20168"/>
                    <a:pt x="12549" y="20168"/>
                  </a:cubicBezTo>
                  <a:cubicBezTo>
                    <a:pt x="8067" y="20168"/>
                    <a:pt x="4482" y="16582"/>
                    <a:pt x="4482" y="12101"/>
                  </a:cubicBezTo>
                  <a:cubicBezTo>
                    <a:pt x="4482" y="7619"/>
                    <a:pt x="8067" y="4034"/>
                    <a:pt x="12549" y="4034"/>
                  </a:cubicBezTo>
                  <a:close/>
                </a:path>
              </a:pathLst>
            </a:custGeom>
            <a:solidFill>
              <a:srgbClr val="231F20"/>
            </a:solidFill>
            <a:ln w="4477" cap="flat">
              <a:noFill/>
              <a:prstDash val="solid"/>
              <a:miter/>
            </a:ln>
          </p:spPr>
          <p:txBody>
            <a:bodyPr rtlCol="0" anchor="ctr"/>
            <a:lstStyle/>
            <a:p>
              <a:endParaRPr lang="en-US"/>
            </a:p>
          </p:txBody>
        </p:sp>
        <p:sp>
          <p:nvSpPr>
            <p:cNvPr id="2546" name="Freeform: Shape 2545">
              <a:extLst>
                <a:ext uri="{FF2B5EF4-FFF2-40B4-BE49-F238E27FC236}">
                  <a16:creationId xmlns:a16="http://schemas.microsoft.com/office/drawing/2014/main" id="{44D0B42D-4982-42DB-BBBE-195AD71CDC66}"/>
                </a:ext>
              </a:extLst>
            </p:cNvPr>
            <p:cNvSpPr/>
            <p:nvPr/>
          </p:nvSpPr>
          <p:spPr>
            <a:xfrm>
              <a:off x="8612049" y="396718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8"/>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sp>
          <p:nvSpPr>
            <p:cNvPr id="2547" name="Freeform: Shape 2546">
              <a:extLst>
                <a:ext uri="{FF2B5EF4-FFF2-40B4-BE49-F238E27FC236}">
                  <a16:creationId xmlns:a16="http://schemas.microsoft.com/office/drawing/2014/main" id="{4850617C-EFC7-478A-86B1-B5E9459720C6}"/>
                </a:ext>
              </a:extLst>
            </p:cNvPr>
            <p:cNvSpPr/>
            <p:nvPr/>
          </p:nvSpPr>
          <p:spPr>
            <a:xfrm>
              <a:off x="8688686" y="3938953"/>
              <a:ext cx="22409" cy="22409"/>
            </a:xfrm>
            <a:custGeom>
              <a:avLst/>
              <a:gdLst>
                <a:gd name="connsiteX0" fmla="*/ 0 w 22408"/>
                <a:gd name="connsiteY0" fmla="*/ 12549 h 22408"/>
                <a:gd name="connsiteX1" fmla="*/ 12549 w 22408"/>
                <a:gd name="connsiteY1" fmla="*/ 25097 h 22408"/>
                <a:gd name="connsiteX2" fmla="*/ 25098 w 22408"/>
                <a:gd name="connsiteY2" fmla="*/ 12549 h 22408"/>
                <a:gd name="connsiteX3" fmla="*/ 12549 w 22408"/>
                <a:gd name="connsiteY3" fmla="*/ 0 h 22408"/>
                <a:gd name="connsiteX4" fmla="*/ 0 w 22408"/>
                <a:gd name="connsiteY4" fmla="*/ 12549 h 22408"/>
                <a:gd name="connsiteX5" fmla="*/ 21064 w 22408"/>
                <a:gd name="connsiteY5" fmla="*/ 12549 h 22408"/>
                <a:gd name="connsiteX6" fmla="*/ 12997 w 22408"/>
                <a:gd name="connsiteY6" fmla="*/ 20616 h 22408"/>
                <a:gd name="connsiteX7" fmla="*/ 4930 w 22408"/>
                <a:gd name="connsiteY7" fmla="*/ 12549 h 22408"/>
                <a:gd name="connsiteX8" fmla="*/ 12997 w 22408"/>
                <a:gd name="connsiteY8" fmla="*/ 4482 h 22408"/>
                <a:gd name="connsiteX9" fmla="*/ 21064 w 22408"/>
                <a:gd name="connsiteY9" fmla="*/ 12549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0" y="12549"/>
                  </a:moveTo>
                  <a:cubicBezTo>
                    <a:pt x="0" y="19720"/>
                    <a:pt x="5826" y="25097"/>
                    <a:pt x="12549" y="25097"/>
                  </a:cubicBezTo>
                  <a:cubicBezTo>
                    <a:pt x="19271" y="25097"/>
                    <a:pt x="25098" y="19271"/>
                    <a:pt x="25098" y="12549"/>
                  </a:cubicBezTo>
                  <a:cubicBezTo>
                    <a:pt x="25098" y="5378"/>
                    <a:pt x="19271" y="0"/>
                    <a:pt x="12549" y="0"/>
                  </a:cubicBezTo>
                  <a:cubicBezTo>
                    <a:pt x="5826" y="0"/>
                    <a:pt x="0" y="5378"/>
                    <a:pt x="0" y="12549"/>
                  </a:cubicBezTo>
                  <a:close/>
                  <a:moveTo>
                    <a:pt x="21064" y="12549"/>
                  </a:moveTo>
                  <a:cubicBezTo>
                    <a:pt x="21064" y="17030"/>
                    <a:pt x="17479" y="20616"/>
                    <a:pt x="12997" y="20616"/>
                  </a:cubicBezTo>
                  <a:cubicBezTo>
                    <a:pt x="8515" y="20616"/>
                    <a:pt x="4930" y="17030"/>
                    <a:pt x="4930" y="12549"/>
                  </a:cubicBezTo>
                  <a:cubicBezTo>
                    <a:pt x="4930" y="8067"/>
                    <a:pt x="8515" y="4482"/>
                    <a:pt x="12997" y="4482"/>
                  </a:cubicBezTo>
                  <a:cubicBezTo>
                    <a:pt x="17479" y="4482"/>
                    <a:pt x="21064" y="7619"/>
                    <a:pt x="21064" y="12549"/>
                  </a:cubicBezTo>
                  <a:close/>
                </a:path>
              </a:pathLst>
            </a:custGeom>
            <a:solidFill>
              <a:srgbClr val="231F20"/>
            </a:solidFill>
            <a:ln w="4477" cap="flat">
              <a:noFill/>
              <a:prstDash val="solid"/>
              <a:miter/>
            </a:ln>
          </p:spPr>
          <p:txBody>
            <a:bodyPr rtlCol="0" anchor="ctr"/>
            <a:lstStyle/>
            <a:p>
              <a:endParaRPr lang="en-US"/>
            </a:p>
          </p:txBody>
        </p:sp>
        <p:sp>
          <p:nvSpPr>
            <p:cNvPr id="2548" name="Freeform: Shape 2547">
              <a:extLst>
                <a:ext uri="{FF2B5EF4-FFF2-40B4-BE49-F238E27FC236}">
                  <a16:creationId xmlns:a16="http://schemas.microsoft.com/office/drawing/2014/main" id="{F38C12D5-860F-42BB-80A7-07753CA5BC28}"/>
                </a:ext>
              </a:extLst>
            </p:cNvPr>
            <p:cNvSpPr/>
            <p:nvPr/>
          </p:nvSpPr>
          <p:spPr>
            <a:xfrm>
              <a:off x="8679274" y="3967187"/>
              <a:ext cx="44817" cy="26890"/>
            </a:xfrm>
            <a:custGeom>
              <a:avLst/>
              <a:gdLst>
                <a:gd name="connsiteX0" fmla="*/ 29579 w 44817"/>
                <a:gd name="connsiteY0" fmla="*/ 0 h 26890"/>
                <a:gd name="connsiteX1" fmla="*/ 14790 w 44817"/>
                <a:gd name="connsiteY1" fmla="*/ 0 h 26890"/>
                <a:gd name="connsiteX2" fmla="*/ 0 w 44817"/>
                <a:gd name="connsiteY2" fmla="*/ 14790 h 26890"/>
                <a:gd name="connsiteX3" fmla="*/ 0 w 44817"/>
                <a:gd name="connsiteY3" fmla="*/ 21512 h 26890"/>
                <a:gd name="connsiteX4" fmla="*/ 6274 w 44817"/>
                <a:gd name="connsiteY4" fmla="*/ 27787 h 26890"/>
                <a:gd name="connsiteX5" fmla="*/ 38991 w 44817"/>
                <a:gd name="connsiteY5" fmla="*/ 27787 h 26890"/>
                <a:gd name="connsiteX6" fmla="*/ 45265 w 44817"/>
                <a:gd name="connsiteY6" fmla="*/ 21512 h 26890"/>
                <a:gd name="connsiteX7" fmla="*/ 45265 w 44817"/>
                <a:gd name="connsiteY7" fmla="*/ 14790 h 26890"/>
                <a:gd name="connsiteX8" fmla="*/ 29579 w 44817"/>
                <a:gd name="connsiteY8" fmla="*/ 0 h 26890"/>
                <a:gd name="connsiteX9" fmla="*/ 39887 w 44817"/>
                <a:gd name="connsiteY9" fmla="*/ 21512 h 26890"/>
                <a:gd name="connsiteX10" fmla="*/ 38094 w 44817"/>
                <a:gd name="connsiteY10" fmla="*/ 23305 h 26890"/>
                <a:gd name="connsiteX11" fmla="*/ 5378 w 44817"/>
                <a:gd name="connsiteY11" fmla="*/ 23305 h 26890"/>
                <a:gd name="connsiteX12" fmla="*/ 3585 w 44817"/>
                <a:gd name="connsiteY12" fmla="*/ 21512 h 26890"/>
                <a:gd name="connsiteX13" fmla="*/ 3585 w 44817"/>
                <a:gd name="connsiteY13" fmla="*/ 14790 h 26890"/>
                <a:gd name="connsiteX14" fmla="*/ 13893 w 44817"/>
                <a:gd name="connsiteY14" fmla="*/ 4482 h 26890"/>
                <a:gd name="connsiteX15" fmla="*/ 28683 w 44817"/>
                <a:gd name="connsiteY15" fmla="*/ 4482 h 26890"/>
                <a:gd name="connsiteX16" fmla="*/ 38991 w 44817"/>
                <a:gd name="connsiteY16" fmla="*/ 14790 h 26890"/>
                <a:gd name="connsiteX17" fmla="*/ 38991 w 44817"/>
                <a:gd name="connsiteY17" fmla="*/ 2151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17" h="26890">
                  <a:moveTo>
                    <a:pt x="29579" y="0"/>
                  </a:moveTo>
                  <a:lnTo>
                    <a:pt x="14790" y="0"/>
                  </a:lnTo>
                  <a:cubicBezTo>
                    <a:pt x="6723" y="0"/>
                    <a:pt x="0" y="6723"/>
                    <a:pt x="0" y="14790"/>
                  </a:cubicBezTo>
                  <a:lnTo>
                    <a:pt x="0" y="21512"/>
                  </a:lnTo>
                  <a:cubicBezTo>
                    <a:pt x="0" y="24649"/>
                    <a:pt x="2689" y="27787"/>
                    <a:pt x="6274" y="27787"/>
                  </a:cubicBezTo>
                  <a:lnTo>
                    <a:pt x="38991" y="27787"/>
                  </a:lnTo>
                  <a:cubicBezTo>
                    <a:pt x="42128" y="27787"/>
                    <a:pt x="45265" y="25098"/>
                    <a:pt x="45265" y="21512"/>
                  </a:cubicBezTo>
                  <a:lnTo>
                    <a:pt x="45265" y="14790"/>
                  </a:lnTo>
                  <a:cubicBezTo>
                    <a:pt x="44369" y="6723"/>
                    <a:pt x="37646" y="0"/>
                    <a:pt x="29579" y="0"/>
                  </a:cubicBezTo>
                  <a:close/>
                  <a:moveTo>
                    <a:pt x="39887" y="21512"/>
                  </a:moveTo>
                  <a:cubicBezTo>
                    <a:pt x="39887" y="22409"/>
                    <a:pt x="38991" y="23305"/>
                    <a:pt x="38094" y="23305"/>
                  </a:cubicBezTo>
                  <a:lnTo>
                    <a:pt x="5378" y="23305"/>
                  </a:lnTo>
                  <a:cubicBezTo>
                    <a:pt x="4482" y="23305"/>
                    <a:pt x="3585" y="22409"/>
                    <a:pt x="3585" y="21512"/>
                  </a:cubicBezTo>
                  <a:lnTo>
                    <a:pt x="3585" y="14790"/>
                  </a:lnTo>
                  <a:cubicBezTo>
                    <a:pt x="3585" y="8963"/>
                    <a:pt x="8067" y="4482"/>
                    <a:pt x="13893" y="4482"/>
                  </a:cubicBezTo>
                  <a:lnTo>
                    <a:pt x="28683" y="4482"/>
                  </a:lnTo>
                  <a:cubicBezTo>
                    <a:pt x="34509" y="4482"/>
                    <a:pt x="38991" y="8963"/>
                    <a:pt x="38991" y="14790"/>
                  </a:cubicBezTo>
                  <a:lnTo>
                    <a:pt x="38991" y="21512"/>
                  </a:lnTo>
                  <a:close/>
                </a:path>
              </a:pathLst>
            </a:custGeom>
            <a:solidFill>
              <a:srgbClr val="231F20"/>
            </a:solidFill>
            <a:ln w="4477" cap="flat">
              <a:noFill/>
              <a:prstDash val="solid"/>
              <a:miter/>
            </a:ln>
          </p:spPr>
          <p:txBody>
            <a:bodyPr rtlCol="0" anchor="ctr"/>
            <a:lstStyle/>
            <a:p>
              <a:endParaRPr lang="en-US"/>
            </a:p>
          </p:txBody>
        </p:sp>
        <p:sp>
          <p:nvSpPr>
            <p:cNvPr id="2549" name="Freeform: Shape 2548">
              <a:extLst>
                <a:ext uri="{FF2B5EF4-FFF2-40B4-BE49-F238E27FC236}">
                  <a16:creationId xmlns:a16="http://schemas.microsoft.com/office/drawing/2014/main" id="{F8FE3AB6-8090-402E-A90B-D44E155B5B8F}"/>
                </a:ext>
              </a:extLst>
            </p:cNvPr>
            <p:cNvSpPr/>
            <p:nvPr/>
          </p:nvSpPr>
          <p:spPr>
            <a:xfrm>
              <a:off x="8631768" y="3916544"/>
              <a:ext cx="71707" cy="17927"/>
            </a:xfrm>
            <a:custGeom>
              <a:avLst/>
              <a:gdLst>
                <a:gd name="connsiteX0" fmla="*/ 67226 w 71707"/>
                <a:gd name="connsiteY0" fmla="*/ 15686 h 17926"/>
                <a:gd name="connsiteX1" fmla="*/ 69466 w 71707"/>
                <a:gd name="connsiteY1" fmla="*/ 17927 h 17926"/>
                <a:gd name="connsiteX2" fmla="*/ 71707 w 71707"/>
                <a:gd name="connsiteY2" fmla="*/ 15686 h 17926"/>
                <a:gd name="connsiteX3" fmla="*/ 71707 w 71707"/>
                <a:gd name="connsiteY3" fmla="*/ 11204 h 17926"/>
                <a:gd name="connsiteX4" fmla="*/ 67226 w 71707"/>
                <a:gd name="connsiteY4" fmla="*/ 6723 h 17926"/>
                <a:gd name="connsiteX5" fmla="*/ 38094 w 71707"/>
                <a:gd name="connsiteY5" fmla="*/ 6723 h 17926"/>
                <a:gd name="connsiteX6" fmla="*/ 38094 w 71707"/>
                <a:gd name="connsiteY6" fmla="*/ 2241 h 17926"/>
                <a:gd name="connsiteX7" fmla="*/ 35854 w 71707"/>
                <a:gd name="connsiteY7" fmla="*/ 0 h 17926"/>
                <a:gd name="connsiteX8" fmla="*/ 33613 w 71707"/>
                <a:gd name="connsiteY8" fmla="*/ 2241 h 17926"/>
                <a:gd name="connsiteX9" fmla="*/ 33613 w 71707"/>
                <a:gd name="connsiteY9" fmla="*/ 6723 h 17926"/>
                <a:gd name="connsiteX10" fmla="*/ 2241 w 71707"/>
                <a:gd name="connsiteY10" fmla="*/ 6723 h 17926"/>
                <a:gd name="connsiteX11" fmla="*/ 0 w 71707"/>
                <a:gd name="connsiteY11" fmla="*/ 8963 h 17926"/>
                <a:gd name="connsiteX12" fmla="*/ 0 w 71707"/>
                <a:gd name="connsiteY12" fmla="*/ 15686 h 17926"/>
                <a:gd name="connsiteX13" fmla="*/ 2241 w 71707"/>
                <a:gd name="connsiteY13" fmla="*/ 17927 h 17926"/>
                <a:gd name="connsiteX14" fmla="*/ 4482 w 71707"/>
                <a:gd name="connsiteY14" fmla="*/ 15686 h 17926"/>
                <a:gd name="connsiteX15" fmla="*/ 4482 w 71707"/>
                <a:gd name="connsiteY15" fmla="*/ 11204 h 17926"/>
                <a:gd name="connsiteX16" fmla="*/ 67226 w 71707"/>
                <a:gd name="connsiteY16" fmla="*/ 11204 h 17926"/>
                <a:gd name="connsiteX17" fmla="*/ 67226 w 71707"/>
                <a:gd name="connsiteY17" fmla="*/ 15686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707" h="17926">
                  <a:moveTo>
                    <a:pt x="67226" y="15686"/>
                  </a:moveTo>
                  <a:cubicBezTo>
                    <a:pt x="67226" y="17030"/>
                    <a:pt x="68122" y="17927"/>
                    <a:pt x="69466" y="17927"/>
                  </a:cubicBezTo>
                  <a:cubicBezTo>
                    <a:pt x="70811" y="17927"/>
                    <a:pt x="71707" y="17030"/>
                    <a:pt x="71707" y="15686"/>
                  </a:cubicBezTo>
                  <a:lnTo>
                    <a:pt x="71707" y="11204"/>
                  </a:lnTo>
                  <a:cubicBezTo>
                    <a:pt x="71707" y="8515"/>
                    <a:pt x="69914" y="6723"/>
                    <a:pt x="67226" y="6723"/>
                  </a:cubicBezTo>
                  <a:lnTo>
                    <a:pt x="38094" y="6723"/>
                  </a:lnTo>
                  <a:lnTo>
                    <a:pt x="38094" y="2241"/>
                  </a:lnTo>
                  <a:cubicBezTo>
                    <a:pt x="38094" y="896"/>
                    <a:pt x="37198" y="0"/>
                    <a:pt x="35854" y="0"/>
                  </a:cubicBezTo>
                  <a:cubicBezTo>
                    <a:pt x="34509" y="0"/>
                    <a:pt x="33613" y="896"/>
                    <a:pt x="33613" y="2241"/>
                  </a:cubicBezTo>
                  <a:lnTo>
                    <a:pt x="33613" y="6723"/>
                  </a:lnTo>
                  <a:lnTo>
                    <a:pt x="2241" y="6723"/>
                  </a:lnTo>
                  <a:cubicBezTo>
                    <a:pt x="896" y="6723"/>
                    <a:pt x="0" y="7619"/>
                    <a:pt x="0" y="8963"/>
                  </a:cubicBezTo>
                  <a:lnTo>
                    <a:pt x="0" y="15686"/>
                  </a:lnTo>
                  <a:cubicBezTo>
                    <a:pt x="0" y="17030"/>
                    <a:pt x="896" y="17927"/>
                    <a:pt x="2241" y="17927"/>
                  </a:cubicBezTo>
                  <a:cubicBezTo>
                    <a:pt x="3585" y="17927"/>
                    <a:pt x="4482" y="17030"/>
                    <a:pt x="4482" y="15686"/>
                  </a:cubicBezTo>
                  <a:lnTo>
                    <a:pt x="4482" y="11204"/>
                  </a:lnTo>
                  <a:lnTo>
                    <a:pt x="67226" y="11204"/>
                  </a:lnTo>
                  <a:lnTo>
                    <a:pt x="67226" y="15686"/>
                  </a:lnTo>
                  <a:close/>
                </a:path>
              </a:pathLst>
            </a:custGeom>
            <a:solidFill>
              <a:srgbClr val="231F20"/>
            </a:solidFill>
            <a:ln w="4477" cap="flat">
              <a:noFill/>
              <a:prstDash val="solid"/>
              <a:miter/>
            </a:ln>
          </p:spPr>
          <p:txBody>
            <a:bodyPr rtlCol="0" anchor="ctr"/>
            <a:lstStyle/>
            <a:p>
              <a:endParaRPr lang="en-US"/>
            </a:p>
          </p:txBody>
        </p:sp>
      </p:grpSp>
      <p:grpSp>
        <p:nvGrpSpPr>
          <p:cNvPr id="2451" name="Group 2450">
            <a:extLst>
              <a:ext uri="{FF2B5EF4-FFF2-40B4-BE49-F238E27FC236}">
                <a16:creationId xmlns:a16="http://schemas.microsoft.com/office/drawing/2014/main" id="{9F29675A-2DB5-40B4-A81A-5FB3F056A2CC}"/>
              </a:ext>
              <a:ext uri="{C183D7F6-B498-43B3-948B-1728B52AA6E4}">
                <adec:decorative xmlns:adec="http://schemas.microsoft.com/office/drawing/2017/decorative" val="1"/>
              </a:ext>
            </a:extLst>
          </p:cNvPr>
          <p:cNvGrpSpPr>
            <a:grpSpLocks noChangeAspect="1"/>
          </p:cNvGrpSpPr>
          <p:nvPr/>
        </p:nvGrpSpPr>
        <p:grpSpPr>
          <a:xfrm>
            <a:off x="3232094" y="4873209"/>
            <a:ext cx="152378" cy="151034"/>
            <a:chOff x="9106829" y="3856041"/>
            <a:chExt cx="152378" cy="151034"/>
          </a:xfrm>
        </p:grpSpPr>
        <p:sp>
          <p:nvSpPr>
            <p:cNvPr id="2536" name="Freeform: Shape 2535">
              <a:extLst>
                <a:ext uri="{FF2B5EF4-FFF2-40B4-BE49-F238E27FC236}">
                  <a16:creationId xmlns:a16="http://schemas.microsoft.com/office/drawing/2014/main" id="{91E08705-0F9E-4712-9A7C-F8864B0882A4}"/>
                </a:ext>
              </a:extLst>
            </p:cNvPr>
            <p:cNvSpPr/>
            <p:nvPr/>
          </p:nvSpPr>
          <p:spPr>
            <a:xfrm>
              <a:off x="9193774" y="3907581"/>
              <a:ext cx="44817" cy="44817"/>
            </a:xfrm>
            <a:custGeom>
              <a:avLst/>
              <a:gdLst>
                <a:gd name="connsiteX0" fmla="*/ 23305 w 44817"/>
                <a:gd name="connsiteY0" fmla="*/ 46610 h 44817"/>
                <a:gd name="connsiteX1" fmla="*/ 46610 w 44817"/>
                <a:gd name="connsiteY1" fmla="*/ 23305 h 44817"/>
                <a:gd name="connsiteX2" fmla="*/ 23305 w 44817"/>
                <a:gd name="connsiteY2" fmla="*/ 0 h 44817"/>
                <a:gd name="connsiteX3" fmla="*/ 0 w 44817"/>
                <a:gd name="connsiteY3" fmla="*/ 23305 h 44817"/>
                <a:gd name="connsiteX4" fmla="*/ 23305 w 44817"/>
                <a:gd name="connsiteY4" fmla="*/ 46610 h 44817"/>
                <a:gd name="connsiteX5" fmla="*/ 23305 w 44817"/>
                <a:gd name="connsiteY5" fmla="*/ 4930 h 44817"/>
                <a:gd name="connsiteX6" fmla="*/ 42128 w 44817"/>
                <a:gd name="connsiteY6" fmla="*/ 23753 h 44817"/>
                <a:gd name="connsiteX7" fmla="*/ 23305 w 44817"/>
                <a:gd name="connsiteY7" fmla="*/ 42576 h 44817"/>
                <a:gd name="connsiteX8" fmla="*/ 4482 w 44817"/>
                <a:gd name="connsiteY8" fmla="*/ 23753 h 44817"/>
                <a:gd name="connsiteX9" fmla="*/ 23305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3305" y="46610"/>
                  </a:moveTo>
                  <a:cubicBezTo>
                    <a:pt x="36302" y="46610"/>
                    <a:pt x="46610" y="36302"/>
                    <a:pt x="46610" y="23305"/>
                  </a:cubicBezTo>
                  <a:cubicBezTo>
                    <a:pt x="46610" y="10308"/>
                    <a:pt x="36302" y="0"/>
                    <a:pt x="23305" y="0"/>
                  </a:cubicBezTo>
                  <a:cubicBezTo>
                    <a:pt x="10308" y="0"/>
                    <a:pt x="0" y="10308"/>
                    <a:pt x="0" y="23305"/>
                  </a:cubicBezTo>
                  <a:cubicBezTo>
                    <a:pt x="0" y="36302"/>
                    <a:pt x="10308" y="46610"/>
                    <a:pt x="23305" y="46610"/>
                  </a:cubicBezTo>
                  <a:close/>
                  <a:moveTo>
                    <a:pt x="23305" y="4930"/>
                  </a:moveTo>
                  <a:cubicBezTo>
                    <a:pt x="33613" y="4930"/>
                    <a:pt x="42128" y="13445"/>
                    <a:pt x="42128" y="23753"/>
                  </a:cubicBezTo>
                  <a:cubicBezTo>
                    <a:pt x="42128" y="34061"/>
                    <a:pt x="33613" y="42576"/>
                    <a:pt x="23305" y="42576"/>
                  </a:cubicBezTo>
                  <a:cubicBezTo>
                    <a:pt x="12997" y="42576"/>
                    <a:pt x="4482" y="34061"/>
                    <a:pt x="4482" y="23753"/>
                  </a:cubicBezTo>
                  <a:cubicBezTo>
                    <a:pt x="4482" y="13445"/>
                    <a:pt x="12549" y="4930"/>
                    <a:pt x="23305" y="4930"/>
                  </a:cubicBezTo>
                  <a:close/>
                </a:path>
              </a:pathLst>
            </a:custGeom>
            <a:solidFill>
              <a:srgbClr val="231F20"/>
            </a:solidFill>
            <a:ln w="4477" cap="flat">
              <a:noFill/>
              <a:prstDash val="solid"/>
              <a:miter/>
            </a:ln>
          </p:spPr>
          <p:txBody>
            <a:bodyPr rtlCol="0" anchor="ctr"/>
            <a:lstStyle/>
            <a:p>
              <a:endParaRPr lang="en-US"/>
            </a:p>
          </p:txBody>
        </p:sp>
        <p:sp>
          <p:nvSpPr>
            <p:cNvPr id="2537" name="Freeform: Shape 2536">
              <a:extLst>
                <a:ext uri="{FF2B5EF4-FFF2-40B4-BE49-F238E27FC236}">
                  <a16:creationId xmlns:a16="http://schemas.microsoft.com/office/drawing/2014/main" id="{232367F2-5435-444C-8AD7-A123ADD8180F}"/>
                </a:ext>
              </a:extLst>
            </p:cNvPr>
            <p:cNvSpPr/>
            <p:nvPr/>
          </p:nvSpPr>
          <p:spPr>
            <a:xfrm>
              <a:off x="9174054" y="3957776"/>
              <a:ext cx="85152" cy="49299"/>
            </a:xfrm>
            <a:custGeom>
              <a:avLst/>
              <a:gdLst>
                <a:gd name="connsiteX0" fmla="*/ 57814 w 85152"/>
                <a:gd name="connsiteY0" fmla="*/ 0 h 49298"/>
                <a:gd name="connsiteX1" fmla="*/ 27787 w 85152"/>
                <a:gd name="connsiteY1" fmla="*/ 0 h 49298"/>
                <a:gd name="connsiteX2" fmla="*/ 0 w 85152"/>
                <a:gd name="connsiteY2" fmla="*/ 27787 h 49298"/>
                <a:gd name="connsiteX3" fmla="*/ 0 w 85152"/>
                <a:gd name="connsiteY3" fmla="*/ 40783 h 49298"/>
                <a:gd name="connsiteX4" fmla="*/ 9860 w 85152"/>
                <a:gd name="connsiteY4" fmla="*/ 50643 h 49298"/>
                <a:gd name="connsiteX5" fmla="*/ 75293 w 85152"/>
                <a:gd name="connsiteY5" fmla="*/ 50643 h 49298"/>
                <a:gd name="connsiteX6" fmla="*/ 85152 w 85152"/>
                <a:gd name="connsiteY6" fmla="*/ 40783 h 49298"/>
                <a:gd name="connsiteX7" fmla="*/ 85152 w 85152"/>
                <a:gd name="connsiteY7" fmla="*/ 27787 h 49298"/>
                <a:gd name="connsiteX8" fmla="*/ 57814 w 85152"/>
                <a:gd name="connsiteY8" fmla="*/ 0 h 49298"/>
                <a:gd name="connsiteX9" fmla="*/ 80671 w 85152"/>
                <a:gd name="connsiteY9" fmla="*/ 40783 h 49298"/>
                <a:gd name="connsiteX10" fmla="*/ 75293 w 85152"/>
                <a:gd name="connsiteY10" fmla="*/ 46161 h 49298"/>
                <a:gd name="connsiteX11" fmla="*/ 10308 w 85152"/>
                <a:gd name="connsiteY11" fmla="*/ 46161 h 49298"/>
                <a:gd name="connsiteX12" fmla="*/ 4930 w 85152"/>
                <a:gd name="connsiteY12" fmla="*/ 40783 h 49298"/>
                <a:gd name="connsiteX13" fmla="*/ 4930 w 85152"/>
                <a:gd name="connsiteY13" fmla="*/ 27787 h 49298"/>
                <a:gd name="connsiteX14" fmla="*/ 28235 w 85152"/>
                <a:gd name="connsiteY14" fmla="*/ 4482 h 49298"/>
                <a:gd name="connsiteX15" fmla="*/ 58262 w 85152"/>
                <a:gd name="connsiteY15" fmla="*/ 4482 h 49298"/>
                <a:gd name="connsiteX16" fmla="*/ 81567 w 85152"/>
                <a:gd name="connsiteY16" fmla="*/ 27787 h 49298"/>
                <a:gd name="connsiteX17" fmla="*/ 81567 w 85152"/>
                <a:gd name="connsiteY17" fmla="*/ 40783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57814" y="0"/>
                  </a:moveTo>
                  <a:lnTo>
                    <a:pt x="27787" y="0"/>
                  </a:lnTo>
                  <a:cubicBezTo>
                    <a:pt x="12549" y="0"/>
                    <a:pt x="0" y="12549"/>
                    <a:pt x="0" y="27787"/>
                  </a:cubicBezTo>
                  <a:lnTo>
                    <a:pt x="0" y="40783"/>
                  </a:lnTo>
                  <a:cubicBezTo>
                    <a:pt x="0" y="46161"/>
                    <a:pt x="4482" y="50643"/>
                    <a:pt x="9860" y="50643"/>
                  </a:cubicBezTo>
                  <a:lnTo>
                    <a:pt x="75293" y="50643"/>
                  </a:lnTo>
                  <a:cubicBezTo>
                    <a:pt x="80671" y="50643"/>
                    <a:pt x="85152" y="46161"/>
                    <a:pt x="85152" y="40783"/>
                  </a:cubicBezTo>
                  <a:lnTo>
                    <a:pt x="85152" y="27787"/>
                  </a:lnTo>
                  <a:cubicBezTo>
                    <a:pt x="85152" y="12101"/>
                    <a:pt x="73052" y="0"/>
                    <a:pt x="57814" y="0"/>
                  </a:cubicBezTo>
                  <a:close/>
                  <a:moveTo>
                    <a:pt x="80671" y="40783"/>
                  </a:moveTo>
                  <a:cubicBezTo>
                    <a:pt x="80671" y="43921"/>
                    <a:pt x="78430" y="46161"/>
                    <a:pt x="75293" y="46161"/>
                  </a:cubicBezTo>
                  <a:lnTo>
                    <a:pt x="10308" y="46161"/>
                  </a:lnTo>
                  <a:cubicBezTo>
                    <a:pt x="7171" y="46161"/>
                    <a:pt x="4930" y="43921"/>
                    <a:pt x="4930" y="40783"/>
                  </a:cubicBezTo>
                  <a:lnTo>
                    <a:pt x="4930" y="27787"/>
                  </a:lnTo>
                  <a:cubicBezTo>
                    <a:pt x="4930" y="15238"/>
                    <a:pt x="15238" y="4482"/>
                    <a:pt x="28235" y="4482"/>
                  </a:cubicBezTo>
                  <a:lnTo>
                    <a:pt x="58262" y="4482"/>
                  </a:lnTo>
                  <a:cubicBezTo>
                    <a:pt x="70811" y="4482"/>
                    <a:pt x="81567" y="14790"/>
                    <a:pt x="81567" y="27787"/>
                  </a:cubicBezTo>
                  <a:lnTo>
                    <a:pt x="81567" y="40783"/>
                  </a:lnTo>
                  <a:close/>
                </a:path>
              </a:pathLst>
            </a:custGeom>
            <a:solidFill>
              <a:srgbClr val="231F20"/>
            </a:solidFill>
            <a:ln w="4477" cap="flat">
              <a:noFill/>
              <a:prstDash val="solid"/>
              <a:miter/>
            </a:ln>
          </p:spPr>
          <p:txBody>
            <a:bodyPr rtlCol="0" anchor="ctr"/>
            <a:lstStyle/>
            <a:p>
              <a:endParaRPr lang="en-US"/>
            </a:p>
          </p:txBody>
        </p:sp>
        <p:sp>
          <p:nvSpPr>
            <p:cNvPr id="2538" name="Freeform: Shape 2537">
              <a:extLst>
                <a:ext uri="{FF2B5EF4-FFF2-40B4-BE49-F238E27FC236}">
                  <a16:creationId xmlns:a16="http://schemas.microsoft.com/office/drawing/2014/main" id="{7287B024-0AE4-4F3E-A7E6-F882DB994629}"/>
                </a:ext>
              </a:extLst>
            </p:cNvPr>
            <p:cNvSpPr/>
            <p:nvPr/>
          </p:nvSpPr>
          <p:spPr>
            <a:xfrm>
              <a:off x="9106829" y="3856041"/>
              <a:ext cx="152378" cy="107561"/>
            </a:xfrm>
            <a:custGeom>
              <a:avLst/>
              <a:gdLst>
                <a:gd name="connsiteX0" fmla="*/ 135796 w 152377"/>
                <a:gd name="connsiteY0" fmla="*/ 0 h 107560"/>
                <a:gd name="connsiteX1" fmla="*/ 16582 w 152377"/>
                <a:gd name="connsiteY1" fmla="*/ 0 h 107560"/>
                <a:gd name="connsiteX2" fmla="*/ 0 w 152377"/>
                <a:gd name="connsiteY2" fmla="*/ 16582 h 107560"/>
                <a:gd name="connsiteX3" fmla="*/ 0 w 152377"/>
                <a:gd name="connsiteY3" fmla="*/ 68570 h 107560"/>
                <a:gd name="connsiteX4" fmla="*/ 16582 w 152377"/>
                <a:gd name="connsiteY4" fmla="*/ 85152 h 107560"/>
                <a:gd name="connsiteX5" fmla="*/ 41680 w 152377"/>
                <a:gd name="connsiteY5" fmla="*/ 85152 h 107560"/>
                <a:gd name="connsiteX6" fmla="*/ 66329 w 152377"/>
                <a:gd name="connsiteY6" fmla="*/ 109802 h 107560"/>
                <a:gd name="connsiteX7" fmla="*/ 68570 w 152377"/>
                <a:gd name="connsiteY7" fmla="*/ 110698 h 107560"/>
                <a:gd name="connsiteX8" fmla="*/ 69914 w 152377"/>
                <a:gd name="connsiteY8" fmla="*/ 110250 h 107560"/>
                <a:gd name="connsiteX9" fmla="*/ 71707 w 152377"/>
                <a:gd name="connsiteY9" fmla="*/ 107561 h 107560"/>
                <a:gd name="connsiteX10" fmla="*/ 71707 w 152377"/>
                <a:gd name="connsiteY10" fmla="*/ 85152 h 107560"/>
                <a:gd name="connsiteX11" fmla="*/ 82911 w 152377"/>
                <a:gd name="connsiteY11" fmla="*/ 85152 h 107560"/>
                <a:gd name="connsiteX12" fmla="*/ 85152 w 152377"/>
                <a:gd name="connsiteY12" fmla="*/ 82912 h 107560"/>
                <a:gd name="connsiteX13" fmla="*/ 82911 w 152377"/>
                <a:gd name="connsiteY13" fmla="*/ 80671 h 107560"/>
                <a:gd name="connsiteX14" fmla="*/ 70363 w 152377"/>
                <a:gd name="connsiteY14" fmla="*/ 80671 h 107560"/>
                <a:gd name="connsiteX15" fmla="*/ 67226 w 152377"/>
                <a:gd name="connsiteY15" fmla="*/ 83808 h 107560"/>
                <a:gd name="connsiteX16" fmla="*/ 67226 w 152377"/>
                <a:gd name="connsiteY16" fmla="*/ 104424 h 107560"/>
                <a:gd name="connsiteX17" fmla="*/ 44369 w 152377"/>
                <a:gd name="connsiteY17" fmla="*/ 81567 h 107560"/>
                <a:gd name="connsiteX18" fmla="*/ 42128 w 152377"/>
                <a:gd name="connsiteY18" fmla="*/ 80671 h 107560"/>
                <a:gd name="connsiteX19" fmla="*/ 16582 w 152377"/>
                <a:gd name="connsiteY19" fmla="*/ 80671 h 107560"/>
                <a:gd name="connsiteX20" fmla="*/ 4482 w 152377"/>
                <a:gd name="connsiteY20" fmla="*/ 68570 h 107560"/>
                <a:gd name="connsiteX21" fmla="*/ 4482 w 152377"/>
                <a:gd name="connsiteY21" fmla="*/ 16582 h 107560"/>
                <a:gd name="connsiteX22" fmla="*/ 16582 w 152377"/>
                <a:gd name="connsiteY22" fmla="*/ 4482 h 107560"/>
                <a:gd name="connsiteX23" fmla="*/ 135796 w 152377"/>
                <a:gd name="connsiteY23" fmla="*/ 4482 h 107560"/>
                <a:gd name="connsiteX24" fmla="*/ 147896 w 152377"/>
                <a:gd name="connsiteY24" fmla="*/ 16582 h 107560"/>
                <a:gd name="connsiteX25" fmla="*/ 147896 w 152377"/>
                <a:gd name="connsiteY25" fmla="*/ 68570 h 107560"/>
                <a:gd name="connsiteX26" fmla="*/ 135796 w 152377"/>
                <a:gd name="connsiteY26" fmla="*/ 80671 h 107560"/>
                <a:gd name="connsiteX27" fmla="*/ 133555 w 152377"/>
                <a:gd name="connsiteY27" fmla="*/ 82912 h 107560"/>
                <a:gd name="connsiteX28" fmla="*/ 135796 w 152377"/>
                <a:gd name="connsiteY28" fmla="*/ 85152 h 107560"/>
                <a:gd name="connsiteX29" fmla="*/ 152378 w 152377"/>
                <a:gd name="connsiteY29" fmla="*/ 68570 h 107560"/>
                <a:gd name="connsiteX30" fmla="*/ 152378 w 152377"/>
                <a:gd name="connsiteY30" fmla="*/ 16582 h 107560"/>
                <a:gd name="connsiteX31" fmla="*/ 135796 w 152377"/>
                <a:gd name="connsiteY31" fmla="*/ 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7" h="107560">
                  <a:moveTo>
                    <a:pt x="135796" y="0"/>
                  </a:moveTo>
                  <a:lnTo>
                    <a:pt x="16582" y="0"/>
                  </a:lnTo>
                  <a:cubicBezTo>
                    <a:pt x="7619" y="0"/>
                    <a:pt x="0" y="7619"/>
                    <a:pt x="0" y="16582"/>
                  </a:cubicBezTo>
                  <a:lnTo>
                    <a:pt x="0" y="68570"/>
                  </a:lnTo>
                  <a:cubicBezTo>
                    <a:pt x="0" y="77533"/>
                    <a:pt x="7619" y="85152"/>
                    <a:pt x="16582" y="85152"/>
                  </a:cubicBezTo>
                  <a:lnTo>
                    <a:pt x="41680" y="85152"/>
                  </a:lnTo>
                  <a:lnTo>
                    <a:pt x="66329" y="109802"/>
                  </a:lnTo>
                  <a:cubicBezTo>
                    <a:pt x="66777" y="110250"/>
                    <a:pt x="67674" y="110698"/>
                    <a:pt x="68570" y="110698"/>
                  </a:cubicBezTo>
                  <a:cubicBezTo>
                    <a:pt x="69018" y="110698"/>
                    <a:pt x="69466" y="110698"/>
                    <a:pt x="69914" y="110250"/>
                  </a:cubicBezTo>
                  <a:cubicBezTo>
                    <a:pt x="71259" y="109802"/>
                    <a:pt x="71707" y="108457"/>
                    <a:pt x="71707" y="107561"/>
                  </a:cubicBezTo>
                  <a:lnTo>
                    <a:pt x="71707" y="85152"/>
                  </a:lnTo>
                  <a:lnTo>
                    <a:pt x="82911" y="85152"/>
                  </a:lnTo>
                  <a:cubicBezTo>
                    <a:pt x="84256" y="85152"/>
                    <a:pt x="85152" y="84256"/>
                    <a:pt x="85152" y="82912"/>
                  </a:cubicBezTo>
                  <a:cubicBezTo>
                    <a:pt x="85152" y="81567"/>
                    <a:pt x="84256" y="80671"/>
                    <a:pt x="82911" y="80671"/>
                  </a:cubicBezTo>
                  <a:lnTo>
                    <a:pt x="70363" y="80671"/>
                  </a:lnTo>
                  <a:cubicBezTo>
                    <a:pt x="68570" y="80671"/>
                    <a:pt x="67226" y="82015"/>
                    <a:pt x="67226" y="83808"/>
                  </a:cubicBezTo>
                  <a:lnTo>
                    <a:pt x="67226" y="104424"/>
                  </a:lnTo>
                  <a:lnTo>
                    <a:pt x="44369" y="81567"/>
                  </a:lnTo>
                  <a:cubicBezTo>
                    <a:pt x="43921" y="81119"/>
                    <a:pt x="43024" y="80671"/>
                    <a:pt x="42128" y="80671"/>
                  </a:cubicBezTo>
                  <a:lnTo>
                    <a:pt x="16582" y="80671"/>
                  </a:lnTo>
                  <a:cubicBezTo>
                    <a:pt x="9860" y="80671"/>
                    <a:pt x="4482" y="75293"/>
                    <a:pt x="4482" y="68570"/>
                  </a:cubicBezTo>
                  <a:lnTo>
                    <a:pt x="4482" y="16582"/>
                  </a:lnTo>
                  <a:cubicBezTo>
                    <a:pt x="4482" y="9860"/>
                    <a:pt x="9860" y="4482"/>
                    <a:pt x="16582" y="4482"/>
                  </a:cubicBezTo>
                  <a:lnTo>
                    <a:pt x="135796" y="4482"/>
                  </a:lnTo>
                  <a:cubicBezTo>
                    <a:pt x="142518" y="4482"/>
                    <a:pt x="147896" y="9860"/>
                    <a:pt x="147896" y="16582"/>
                  </a:cubicBezTo>
                  <a:lnTo>
                    <a:pt x="147896" y="68570"/>
                  </a:lnTo>
                  <a:cubicBezTo>
                    <a:pt x="147896" y="75293"/>
                    <a:pt x="142518" y="80671"/>
                    <a:pt x="135796" y="80671"/>
                  </a:cubicBezTo>
                  <a:cubicBezTo>
                    <a:pt x="134451" y="80671"/>
                    <a:pt x="133555" y="81567"/>
                    <a:pt x="133555" y="82912"/>
                  </a:cubicBezTo>
                  <a:cubicBezTo>
                    <a:pt x="133555" y="84256"/>
                    <a:pt x="134451" y="85152"/>
                    <a:pt x="135796" y="85152"/>
                  </a:cubicBezTo>
                  <a:cubicBezTo>
                    <a:pt x="144759" y="85152"/>
                    <a:pt x="152378" y="77533"/>
                    <a:pt x="152378" y="68570"/>
                  </a:cubicBezTo>
                  <a:lnTo>
                    <a:pt x="152378" y="16582"/>
                  </a:lnTo>
                  <a:cubicBezTo>
                    <a:pt x="152378" y="7171"/>
                    <a:pt x="145207" y="0"/>
                    <a:pt x="135796" y="0"/>
                  </a:cubicBezTo>
                  <a:close/>
                </a:path>
              </a:pathLst>
            </a:custGeom>
            <a:solidFill>
              <a:srgbClr val="231F20"/>
            </a:solidFill>
            <a:ln w="4477" cap="flat">
              <a:noFill/>
              <a:prstDash val="solid"/>
              <a:miter/>
            </a:ln>
          </p:spPr>
          <p:txBody>
            <a:bodyPr rtlCol="0" anchor="ctr"/>
            <a:lstStyle/>
            <a:p>
              <a:endParaRPr lang="en-US"/>
            </a:p>
          </p:txBody>
        </p:sp>
        <p:sp>
          <p:nvSpPr>
            <p:cNvPr id="2539" name="Freeform: Shape 2538">
              <a:extLst>
                <a:ext uri="{FF2B5EF4-FFF2-40B4-BE49-F238E27FC236}">
                  <a16:creationId xmlns:a16="http://schemas.microsoft.com/office/drawing/2014/main" id="{DE5DF65A-F598-4145-9AD0-B7F46DAF0D16}"/>
                </a:ext>
              </a:extLst>
            </p:cNvPr>
            <p:cNvSpPr/>
            <p:nvPr/>
          </p:nvSpPr>
          <p:spPr>
            <a:xfrm>
              <a:off x="9122066" y="3876657"/>
              <a:ext cx="121006" cy="4482"/>
            </a:xfrm>
            <a:custGeom>
              <a:avLst/>
              <a:gdLst>
                <a:gd name="connsiteX0" fmla="*/ 2241 w 121005"/>
                <a:gd name="connsiteY0" fmla="*/ 4482 h 4481"/>
                <a:gd name="connsiteX1" fmla="*/ 120558 w 121005"/>
                <a:gd name="connsiteY1" fmla="*/ 4482 h 4481"/>
                <a:gd name="connsiteX2" fmla="*/ 122799 w 121005"/>
                <a:gd name="connsiteY2" fmla="*/ 2241 h 4481"/>
                <a:gd name="connsiteX3" fmla="*/ 120558 w 121005"/>
                <a:gd name="connsiteY3" fmla="*/ 0 h 4481"/>
                <a:gd name="connsiteX4" fmla="*/ 2241 w 121005"/>
                <a:gd name="connsiteY4" fmla="*/ 0 h 4481"/>
                <a:gd name="connsiteX5" fmla="*/ 0 w 121005"/>
                <a:gd name="connsiteY5" fmla="*/ 2241 h 4481"/>
                <a:gd name="connsiteX6" fmla="*/ 2241 w 121005"/>
                <a:gd name="connsiteY6" fmla="*/ 4482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05" h="4481">
                  <a:moveTo>
                    <a:pt x="2241" y="4482"/>
                  </a:moveTo>
                  <a:lnTo>
                    <a:pt x="120558" y="4482"/>
                  </a:lnTo>
                  <a:cubicBezTo>
                    <a:pt x="121902" y="4482"/>
                    <a:pt x="122799" y="3586"/>
                    <a:pt x="122799" y="2241"/>
                  </a:cubicBezTo>
                  <a:cubicBezTo>
                    <a:pt x="122799" y="896"/>
                    <a:pt x="121902" y="0"/>
                    <a:pt x="120558" y="0"/>
                  </a:cubicBezTo>
                  <a:lnTo>
                    <a:pt x="2241" y="0"/>
                  </a:lnTo>
                  <a:cubicBezTo>
                    <a:pt x="896" y="0"/>
                    <a:pt x="0" y="896"/>
                    <a:pt x="0" y="2241"/>
                  </a:cubicBezTo>
                  <a:cubicBezTo>
                    <a:pt x="0" y="3586"/>
                    <a:pt x="896" y="4482"/>
                    <a:pt x="2241" y="4482"/>
                  </a:cubicBezTo>
                  <a:close/>
                </a:path>
              </a:pathLst>
            </a:custGeom>
            <a:solidFill>
              <a:srgbClr val="231F20"/>
            </a:solidFill>
            <a:ln w="4477" cap="flat">
              <a:noFill/>
              <a:prstDash val="solid"/>
              <a:miter/>
            </a:ln>
          </p:spPr>
          <p:txBody>
            <a:bodyPr rtlCol="0" anchor="ctr"/>
            <a:lstStyle/>
            <a:p>
              <a:endParaRPr lang="en-US"/>
            </a:p>
          </p:txBody>
        </p:sp>
        <p:sp>
          <p:nvSpPr>
            <p:cNvPr id="2540" name="Freeform: Shape 2539">
              <a:extLst>
                <a:ext uri="{FF2B5EF4-FFF2-40B4-BE49-F238E27FC236}">
                  <a16:creationId xmlns:a16="http://schemas.microsoft.com/office/drawing/2014/main" id="{6FB7CAD0-4BD1-4F99-8DD7-EAD64FE2F599}"/>
                </a:ext>
              </a:extLst>
            </p:cNvPr>
            <p:cNvSpPr/>
            <p:nvPr/>
          </p:nvSpPr>
          <p:spPr>
            <a:xfrm>
              <a:off x="9122066" y="3893239"/>
              <a:ext cx="121006" cy="4482"/>
            </a:xfrm>
            <a:custGeom>
              <a:avLst/>
              <a:gdLst>
                <a:gd name="connsiteX0" fmla="*/ 122799 w 121005"/>
                <a:gd name="connsiteY0" fmla="*/ 2241 h 4481"/>
                <a:gd name="connsiteX1" fmla="*/ 120558 w 121005"/>
                <a:gd name="connsiteY1" fmla="*/ 0 h 4481"/>
                <a:gd name="connsiteX2" fmla="*/ 2241 w 121005"/>
                <a:gd name="connsiteY2" fmla="*/ 0 h 4481"/>
                <a:gd name="connsiteX3" fmla="*/ 0 w 121005"/>
                <a:gd name="connsiteY3" fmla="*/ 2241 h 4481"/>
                <a:gd name="connsiteX4" fmla="*/ 2241 w 121005"/>
                <a:gd name="connsiteY4" fmla="*/ 4482 h 4481"/>
                <a:gd name="connsiteX5" fmla="*/ 120558 w 121005"/>
                <a:gd name="connsiteY5" fmla="*/ 4482 h 4481"/>
                <a:gd name="connsiteX6" fmla="*/ 122799 w 121005"/>
                <a:gd name="connsiteY6" fmla="*/ 2241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05" h="4481">
                  <a:moveTo>
                    <a:pt x="122799" y="2241"/>
                  </a:moveTo>
                  <a:cubicBezTo>
                    <a:pt x="122799" y="896"/>
                    <a:pt x="121902" y="0"/>
                    <a:pt x="120558" y="0"/>
                  </a:cubicBezTo>
                  <a:lnTo>
                    <a:pt x="2241" y="0"/>
                  </a:lnTo>
                  <a:cubicBezTo>
                    <a:pt x="896" y="0"/>
                    <a:pt x="0" y="896"/>
                    <a:pt x="0" y="2241"/>
                  </a:cubicBezTo>
                  <a:cubicBezTo>
                    <a:pt x="0" y="3585"/>
                    <a:pt x="896" y="4482"/>
                    <a:pt x="2241" y="4482"/>
                  </a:cubicBezTo>
                  <a:lnTo>
                    <a:pt x="120558" y="4482"/>
                  </a:lnTo>
                  <a:cubicBezTo>
                    <a:pt x="121902" y="4482"/>
                    <a:pt x="122799" y="3585"/>
                    <a:pt x="122799" y="2241"/>
                  </a:cubicBezTo>
                  <a:close/>
                </a:path>
              </a:pathLst>
            </a:custGeom>
            <a:solidFill>
              <a:srgbClr val="231F20"/>
            </a:solidFill>
            <a:ln w="4477" cap="flat">
              <a:noFill/>
              <a:prstDash val="solid"/>
              <a:miter/>
            </a:ln>
          </p:spPr>
          <p:txBody>
            <a:bodyPr rtlCol="0" anchor="ctr"/>
            <a:lstStyle/>
            <a:p>
              <a:endParaRPr lang="en-US"/>
            </a:p>
          </p:txBody>
        </p:sp>
        <p:sp>
          <p:nvSpPr>
            <p:cNvPr id="2541" name="Freeform: Shape 2540">
              <a:extLst>
                <a:ext uri="{FF2B5EF4-FFF2-40B4-BE49-F238E27FC236}">
                  <a16:creationId xmlns:a16="http://schemas.microsoft.com/office/drawing/2014/main" id="{E2BAB31C-724B-4A03-B29F-F84D95451DDF}"/>
                </a:ext>
              </a:extLst>
            </p:cNvPr>
            <p:cNvSpPr/>
            <p:nvPr/>
          </p:nvSpPr>
          <p:spPr>
            <a:xfrm>
              <a:off x="9122066" y="3909822"/>
              <a:ext cx="62744" cy="4482"/>
            </a:xfrm>
            <a:custGeom>
              <a:avLst/>
              <a:gdLst>
                <a:gd name="connsiteX0" fmla="*/ 2241 w 62743"/>
                <a:gd name="connsiteY0" fmla="*/ 0 h 4481"/>
                <a:gd name="connsiteX1" fmla="*/ 0 w 62743"/>
                <a:gd name="connsiteY1" fmla="*/ 2241 h 4481"/>
                <a:gd name="connsiteX2" fmla="*/ 2241 w 62743"/>
                <a:gd name="connsiteY2" fmla="*/ 4482 h 4481"/>
                <a:gd name="connsiteX3" fmla="*/ 64537 w 62743"/>
                <a:gd name="connsiteY3" fmla="*/ 4482 h 4481"/>
                <a:gd name="connsiteX4" fmla="*/ 66777 w 62743"/>
                <a:gd name="connsiteY4" fmla="*/ 2241 h 4481"/>
                <a:gd name="connsiteX5" fmla="*/ 64537 w 62743"/>
                <a:gd name="connsiteY5" fmla="*/ 0 h 4481"/>
                <a:gd name="connsiteX6" fmla="*/ 2241 w 62743"/>
                <a:gd name="connsiteY6" fmla="*/ 0 h 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43" h="4481">
                  <a:moveTo>
                    <a:pt x="2241" y="0"/>
                  </a:moveTo>
                  <a:cubicBezTo>
                    <a:pt x="896" y="0"/>
                    <a:pt x="0" y="896"/>
                    <a:pt x="0" y="2241"/>
                  </a:cubicBezTo>
                  <a:cubicBezTo>
                    <a:pt x="0" y="3585"/>
                    <a:pt x="896" y="4482"/>
                    <a:pt x="2241" y="4482"/>
                  </a:cubicBezTo>
                  <a:lnTo>
                    <a:pt x="64537" y="4482"/>
                  </a:lnTo>
                  <a:cubicBezTo>
                    <a:pt x="65881" y="4482"/>
                    <a:pt x="66777" y="3585"/>
                    <a:pt x="66777" y="2241"/>
                  </a:cubicBezTo>
                  <a:cubicBezTo>
                    <a:pt x="66777" y="896"/>
                    <a:pt x="65881" y="0"/>
                    <a:pt x="64537" y="0"/>
                  </a:cubicBezTo>
                  <a:lnTo>
                    <a:pt x="2241" y="0"/>
                  </a:lnTo>
                  <a:close/>
                </a:path>
              </a:pathLst>
            </a:custGeom>
            <a:solidFill>
              <a:srgbClr val="231F20"/>
            </a:solidFill>
            <a:ln w="4477" cap="flat">
              <a:noFill/>
              <a:prstDash val="solid"/>
              <a:miter/>
            </a:ln>
          </p:spPr>
          <p:txBody>
            <a:bodyPr rtlCol="0" anchor="ctr"/>
            <a:lstStyle/>
            <a:p>
              <a:endParaRPr lang="en-US"/>
            </a:p>
          </p:txBody>
        </p:sp>
      </p:grpSp>
      <p:grpSp>
        <p:nvGrpSpPr>
          <p:cNvPr id="2452" name="Group 2451">
            <a:extLst>
              <a:ext uri="{FF2B5EF4-FFF2-40B4-BE49-F238E27FC236}">
                <a16:creationId xmlns:a16="http://schemas.microsoft.com/office/drawing/2014/main" id="{C5045057-6EF5-4AF5-B545-0F68B0BD763F}"/>
              </a:ext>
              <a:ext uri="{C183D7F6-B498-43B3-948B-1728B52AA6E4}">
                <adec:decorative xmlns:adec="http://schemas.microsoft.com/office/drawing/2017/decorative" val="1"/>
              </a:ext>
            </a:extLst>
          </p:cNvPr>
          <p:cNvGrpSpPr>
            <a:grpSpLocks noChangeAspect="1"/>
          </p:cNvGrpSpPr>
          <p:nvPr/>
        </p:nvGrpSpPr>
        <p:grpSpPr>
          <a:xfrm>
            <a:off x="3516234" y="4886206"/>
            <a:ext cx="116524" cy="138933"/>
            <a:chOff x="9390969" y="3869038"/>
            <a:chExt cx="116524" cy="138933"/>
          </a:xfrm>
        </p:grpSpPr>
        <p:sp>
          <p:nvSpPr>
            <p:cNvPr id="2532" name="Freeform: Shape 2531">
              <a:extLst>
                <a:ext uri="{FF2B5EF4-FFF2-40B4-BE49-F238E27FC236}">
                  <a16:creationId xmlns:a16="http://schemas.microsoft.com/office/drawing/2014/main" id="{FFBF8913-8282-4F7A-8DC4-9B1BD113F211}"/>
                </a:ext>
              </a:extLst>
            </p:cNvPr>
            <p:cNvSpPr/>
            <p:nvPr/>
          </p:nvSpPr>
          <p:spPr>
            <a:xfrm>
              <a:off x="9405758" y="3885620"/>
              <a:ext cx="26890" cy="26890"/>
            </a:xfrm>
            <a:custGeom>
              <a:avLst/>
              <a:gdLst>
                <a:gd name="connsiteX0" fmla="*/ 14341 w 26890"/>
                <a:gd name="connsiteY0" fmla="*/ 28683 h 26890"/>
                <a:gd name="connsiteX1" fmla="*/ 28683 w 26890"/>
                <a:gd name="connsiteY1" fmla="*/ 14342 h 26890"/>
                <a:gd name="connsiteX2" fmla="*/ 14341 w 26890"/>
                <a:gd name="connsiteY2" fmla="*/ 0 h 26890"/>
                <a:gd name="connsiteX3" fmla="*/ 0 w 26890"/>
                <a:gd name="connsiteY3" fmla="*/ 14342 h 26890"/>
                <a:gd name="connsiteX4" fmla="*/ 14341 w 26890"/>
                <a:gd name="connsiteY4" fmla="*/ 28683 h 26890"/>
                <a:gd name="connsiteX5" fmla="*/ 14341 w 26890"/>
                <a:gd name="connsiteY5" fmla="*/ 4482 h 26890"/>
                <a:gd name="connsiteX6" fmla="*/ 24201 w 26890"/>
                <a:gd name="connsiteY6" fmla="*/ 14342 h 26890"/>
                <a:gd name="connsiteX7" fmla="*/ 14341 w 26890"/>
                <a:gd name="connsiteY7" fmla="*/ 24201 h 26890"/>
                <a:gd name="connsiteX8" fmla="*/ 4482 w 26890"/>
                <a:gd name="connsiteY8" fmla="*/ 14342 h 26890"/>
                <a:gd name="connsiteX9" fmla="*/ 14341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1" y="28683"/>
                  </a:moveTo>
                  <a:cubicBezTo>
                    <a:pt x="22409" y="28683"/>
                    <a:pt x="28683" y="22409"/>
                    <a:pt x="28683" y="14342"/>
                  </a:cubicBezTo>
                  <a:cubicBezTo>
                    <a:pt x="28683" y="6274"/>
                    <a:pt x="22409" y="0"/>
                    <a:pt x="14341" y="0"/>
                  </a:cubicBezTo>
                  <a:cubicBezTo>
                    <a:pt x="6274" y="0"/>
                    <a:pt x="0" y="6274"/>
                    <a:pt x="0" y="14342"/>
                  </a:cubicBezTo>
                  <a:cubicBezTo>
                    <a:pt x="0" y="22409"/>
                    <a:pt x="6274" y="28683"/>
                    <a:pt x="14341" y="28683"/>
                  </a:cubicBezTo>
                  <a:close/>
                  <a:moveTo>
                    <a:pt x="14341" y="4482"/>
                  </a:moveTo>
                  <a:cubicBezTo>
                    <a:pt x="19719" y="4482"/>
                    <a:pt x="24201" y="8963"/>
                    <a:pt x="24201" y="14342"/>
                  </a:cubicBezTo>
                  <a:cubicBezTo>
                    <a:pt x="24201" y="19720"/>
                    <a:pt x="19719" y="24201"/>
                    <a:pt x="14341" y="24201"/>
                  </a:cubicBezTo>
                  <a:cubicBezTo>
                    <a:pt x="8963" y="24201"/>
                    <a:pt x="4482" y="19720"/>
                    <a:pt x="4482" y="14342"/>
                  </a:cubicBezTo>
                  <a:cubicBezTo>
                    <a:pt x="4482" y="8963"/>
                    <a:pt x="8963" y="4482"/>
                    <a:pt x="14341" y="4482"/>
                  </a:cubicBezTo>
                  <a:close/>
                </a:path>
              </a:pathLst>
            </a:custGeom>
            <a:solidFill>
              <a:srgbClr val="231F20"/>
            </a:solidFill>
            <a:ln w="4477" cap="flat">
              <a:noFill/>
              <a:prstDash val="solid"/>
              <a:miter/>
            </a:ln>
          </p:spPr>
          <p:txBody>
            <a:bodyPr rtlCol="0" anchor="ctr"/>
            <a:lstStyle/>
            <a:p>
              <a:endParaRPr lang="en-US"/>
            </a:p>
          </p:txBody>
        </p:sp>
        <p:sp>
          <p:nvSpPr>
            <p:cNvPr id="2533" name="Freeform: Shape 2532">
              <a:extLst>
                <a:ext uri="{FF2B5EF4-FFF2-40B4-BE49-F238E27FC236}">
                  <a16:creationId xmlns:a16="http://schemas.microsoft.com/office/drawing/2014/main" id="{4ACA60C2-87C8-49A6-84C1-22159B1D55FC}"/>
                </a:ext>
              </a:extLst>
            </p:cNvPr>
            <p:cNvSpPr/>
            <p:nvPr/>
          </p:nvSpPr>
          <p:spPr>
            <a:xfrm>
              <a:off x="9390969" y="3869038"/>
              <a:ext cx="116524" cy="138933"/>
            </a:xfrm>
            <a:custGeom>
              <a:avLst/>
              <a:gdLst>
                <a:gd name="connsiteX0" fmla="*/ 112043 w 116524"/>
                <a:gd name="connsiteY0" fmla="*/ 16134 h 138932"/>
                <a:gd name="connsiteX1" fmla="*/ 118765 w 116524"/>
                <a:gd name="connsiteY1" fmla="*/ 4930 h 138932"/>
                <a:gd name="connsiteX2" fmla="*/ 118765 w 116524"/>
                <a:gd name="connsiteY2" fmla="*/ 1793 h 138932"/>
                <a:gd name="connsiteX3" fmla="*/ 116076 w 116524"/>
                <a:gd name="connsiteY3" fmla="*/ 0 h 138932"/>
                <a:gd name="connsiteX4" fmla="*/ 71707 w 116524"/>
                <a:gd name="connsiteY4" fmla="*/ 0 h 138932"/>
                <a:gd name="connsiteX5" fmla="*/ 67226 w 116524"/>
                <a:gd name="connsiteY5" fmla="*/ 4482 h 138932"/>
                <a:gd name="connsiteX6" fmla="*/ 67226 w 116524"/>
                <a:gd name="connsiteY6" fmla="*/ 29131 h 138932"/>
                <a:gd name="connsiteX7" fmla="*/ 67226 w 116524"/>
                <a:gd name="connsiteY7" fmla="*/ 48402 h 138932"/>
                <a:gd name="connsiteX8" fmla="*/ 12997 w 116524"/>
                <a:gd name="connsiteY8" fmla="*/ 48402 h 138932"/>
                <a:gd name="connsiteX9" fmla="*/ 0 w 116524"/>
                <a:gd name="connsiteY9" fmla="*/ 61399 h 138932"/>
                <a:gd name="connsiteX10" fmla="*/ 0 w 116524"/>
                <a:gd name="connsiteY10" fmla="*/ 94116 h 138932"/>
                <a:gd name="connsiteX11" fmla="*/ 5826 w 116524"/>
                <a:gd name="connsiteY11" fmla="*/ 99942 h 138932"/>
                <a:gd name="connsiteX12" fmla="*/ 10756 w 116524"/>
                <a:gd name="connsiteY12" fmla="*/ 99942 h 138932"/>
                <a:gd name="connsiteX13" fmla="*/ 10756 w 116524"/>
                <a:gd name="connsiteY13" fmla="*/ 133106 h 138932"/>
                <a:gd name="connsiteX14" fmla="*/ 16582 w 116524"/>
                <a:gd name="connsiteY14" fmla="*/ 138933 h 138932"/>
                <a:gd name="connsiteX15" fmla="*/ 41680 w 116524"/>
                <a:gd name="connsiteY15" fmla="*/ 138933 h 138932"/>
                <a:gd name="connsiteX16" fmla="*/ 47506 w 116524"/>
                <a:gd name="connsiteY16" fmla="*/ 133106 h 138932"/>
                <a:gd name="connsiteX17" fmla="*/ 47506 w 116524"/>
                <a:gd name="connsiteY17" fmla="*/ 65433 h 138932"/>
                <a:gd name="connsiteX18" fmla="*/ 67226 w 116524"/>
                <a:gd name="connsiteY18" fmla="*/ 65433 h 138932"/>
                <a:gd name="connsiteX19" fmla="*/ 67226 w 116524"/>
                <a:gd name="connsiteY19" fmla="*/ 136244 h 138932"/>
                <a:gd name="connsiteX20" fmla="*/ 69466 w 116524"/>
                <a:gd name="connsiteY20" fmla="*/ 138484 h 138932"/>
                <a:gd name="connsiteX21" fmla="*/ 71707 w 116524"/>
                <a:gd name="connsiteY21" fmla="*/ 136244 h 138932"/>
                <a:gd name="connsiteX22" fmla="*/ 71707 w 116524"/>
                <a:gd name="connsiteY22" fmla="*/ 65433 h 138932"/>
                <a:gd name="connsiteX23" fmla="*/ 73052 w 116524"/>
                <a:gd name="connsiteY23" fmla="*/ 65433 h 138932"/>
                <a:gd name="connsiteX24" fmla="*/ 84704 w 116524"/>
                <a:gd name="connsiteY24" fmla="*/ 56469 h 138932"/>
                <a:gd name="connsiteX25" fmla="*/ 84704 w 116524"/>
                <a:gd name="connsiteY25" fmla="*/ 51091 h 138932"/>
                <a:gd name="connsiteX26" fmla="*/ 82463 w 116524"/>
                <a:gd name="connsiteY26" fmla="*/ 48850 h 138932"/>
                <a:gd name="connsiteX27" fmla="*/ 71259 w 116524"/>
                <a:gd name="connsiteY27" fmla="*/ 48850 h 138932"/>
                <a:gd name="connsiteX28" fmla="*/ 71259 w 116524"/>
                <a:gd name="connsiteY28" fmla="*/ 31820 h 138932"/>
                <a:gd name="connsiteX29" fmla="*/ 115628 w 116524"/>
                <a:gd name="connsiteY29" fmla="*/ 31820 h 138932"/>
                <a:gd name="connsiteX30" fmla="*/ 118317 w 116524"/>
                <a:gd name="connsiteY30" fmla="*/ 30027 h 138932"/>
                <a:gd name="connsiteX31" fmla="*/ 118317 w 116524"/>
                <a:gd name="connsiteY31" fmla="*/ 26890 h 138932"/>
                <a:gd name="connsiteX32" fmla="*/ 112043 w 116524"/>
                <a:gd name="connsiteY32" fmla="*/ 16134 h 138932"/>
                <a:gd name="connsiteX33" fmla="*/ 80671 w 116524"/>
                <a:gd name="connsiteY33" fmla="*/ 56469 h 138932"/>
                <a:gd name="connsiteX34" fmla="*/ 73052 w 116524"/>
                <a:gd name="connsiteY34" fmla="*/ 60951 h 138932"/>
                <a:gd name="connsiteX35" fmla="*/ 45265 w 116524"/>
                <a:gd name="connsiteY35" fmla="*/ 60951 h 138932"/>
                <a:gd name="connsiteX36" fmla="*/ 43473 w 116524"/>
                <a:gd name="connsiteY36" fmla="*/ 61399 h 138932"/>
                <a:gd name="connsiteX37" fmla="*/ 42576 w 116524"/>
                <a:gd name="connsiteY37" fmla="*/ 63192 h 138932"/>
                <a:gd name="connsiteX38" fmla="*/ 42576 w 116524"/>
                <a:gd name="connsiteY38" fmla="*/ 133555 h 138932"/>
                <a:gd name="connsiteX39" fmla="*/ 41232 w 116524"/>
                <a:gd name="connsiteY39" fmla="*/ 134899 h 138932"/>
                <a:gd name="connsiteX40" fmla="*/ 30924 w 116524"/>
                <a:gd name="connsiteY40" fmla="*/ 134899 h 138932"/>
                <a:gd name="connsiteX41" fmla="*/ 30924 w 116524"/>
                <a:gd name="connsiteY41" fmla="*/ 98149 h 138932"/>
                <a:gd name="connsiteX42" fmla="*/ 28683 w 116524"/>
                <a:gd name="connsiteY42" fmla="*/ 95908 h 138932"/>
                <a:gd name="connsiteX43" fmla="*/ 26442 w 116524"/>
                <a:gd name="connsiteY43" fmla="*/ 98149 h 138932"/>
                <a:gd name="connsiteX44" fmla="*/ 26442 w 116524"/>
                <a:gd name="connsiteY44" fmla="*/ 134899 h 138932"/>
                <a:gd name="connsiteX45" fmla="*/ 16134 w 116524"/>
                <a:gd name="connsiteY45" fmla="*/ 134899 h 138932"/>
                <a:gd name="connsiteX46" fmla="*/ 14790 w 116524"/>
                <a:gd name="connsiteY46" fmla="*/ 133555 h 138932"/>
                <a:gd name="connsiteX47" fmla="*/ 14790 w 116524"/>
                <a:gd name="connsiteY47" fmla="*/ 98149 h 138932"/>
                <a:gd name="connsiteX48" fmla="*/ 14790 w 116524"/>
                <a:gd name="connsiteY48" fmla="*/ 66777 h 138932"/>
                <a:gd name="connsiteX49" fmla="*/ 12549 w 116524"/>
                <a:gd name="connsiteY49" fmla="*/ 64536 h 138932"/>
                <a:gd name="connsiteX50" fmla="*/ 10308 w 116524"/>
                <a:gd name="connsiteY50" fmla="*/ 66777 h 138932"/>
                <a:gd name="connsiteX51" fmla="*/ 10308 w 116524"/>
                <a:gd name="connsiteY51" fmla="*/ 95908 h 138932"/>
                <a:gd name="connsiteX52" fmla="*/ 5378 w 116524"/>
                <a:gd name="connsiteY52" fmla="*/ 95908 h 138932"/>
                <a:gd name="connsiteX53" fmla="*/ 4034 w 116524"/>
                <a:gd name="connsiteY53" fmla="*/ 94564 h 138932"/>
                <a:gd name="connsiteX54" fmla="*/ 4034 w 116524"/>
                <a:gd name="connsiteY54" fmla="*/ 61847 h 138932"/>
                <a:gd name="connsiteX55" fmla="*/ 12549 w 116524"/>
                <a:gd name="connsiteY55" fmla="*/ 53332 h 138932"/>
                <a:gd name="connsiteX56" fmla="*/ 80223 w 116524"/>
                <a:gd name="connsiteY56" fmla="*/ 53332 h 138932"/>
                <a:gd name="connsiteX57" fmla="*/ 80671 w 116524"/>
                <a:gd name="connsiteY57" fmla="*/ 56469 h 138932"/>
                <a:gd name="connsiteX58" fmla="*/ 71707 w 116524"/>
                <a:gd name="connsiteY58" fmla="*/ 27338 h 138932"/>
                <a:gd name="connsiteX59" fmla="*/ 71707 w 116524"/>
                <a:gd name="connsiteY59" fmla="*/ 4930 h 138932"/>
                <a:gd name="connsiteX60" fmla="*/ 113835 w 116524"/>
                <a:gd name="connsiteY60" fmla="*/ 4930 h 138932"/>
                <a:gd name="connsiteX61" fmla="*/ 108457 w 116524"/>
                <a:gd name="connsiteY61" fmla="*/ 13893 h 138932"/>
                <a:gd name="connsiteX62" fmla="*/ 108457 w 116524"/>
                <a:gd name="connsiteY62" fmla="*/ 17927 h 138932"/>
                <a:gd name="connsiteX63" fmla="*/ 113835 w 116524"/>
                <a:gd name="connsiteY63" fmla="*/ 26890 h 138932"/>
                <a:gd name="connsiteX64" fmla="*/ 71707 w 116524"/>
                <a:gd name="connsiteY64" fmla="*/ 26890 h 1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6524" h="138932">
                  <a:moveTo>
                    <a:pt x="112043" y="16134"/>
                  </a:moveTo>
                  <a:lnTo>
                    <a:pt x="118765" y="4930"/>
                  </a:lnTo>
                  <a:cubicBezTo>
                    <a:pt x="119213" y="4033"/>
                    <a:pt x="119213" y="2689"/>
                    <a:pt x="118765" y="1793"/>
                  </a:cubicBezTo>
                  <a:cubicBezTo>
                    <a:pt x="118317" y="896"/>
                    <a:pt x="116973" y="0"/>
                    <a:pt x="116076" y="0"/>
                  </a:cubicBezTo>
                  <a:lnTo>
                    <a:pt x="71707" y="0"/>
                  </a:lnTo>
                  <a:cubicBezTo>
                    <a:pt x="69018" y="0"/>
                    <a:pt x="67226" y="1793"/>
                    <a:pt x="67226" y="4482"/>
                  </a:cubicBezTo>
                  <a:lnTo>
                    <a:pt x="67226" y="29131"/>
                  </a:lnTo>
                  <a:lnTo>
                    <a:pt x="67226" y="48402"/>
                  </a:lnTo>
                  <a:lnTo>
                    <a:pt x="12997" y="48402"/>
                  </a:lnTo>
                  <a:cubicBezTo>
                    <a:pt x="5826" y="48402"/>
                    <a:pt x="0" y="54228"/>
                    <a:pt x="0" y="61399"/>
                  </a:cubicBezTo>
                  <a:lnTo>
                    <a:pt x="0" y="94116"/>
                  </a:lnTo>
                  <a:cubicBezTo>
                    <a:pt x="0" y="97253"/>
                    <a:pt x="2689" y="99942"/>
                    <a:pt x="5826" y="99942"/>
                  </a:cubicBezTo>
                  <a:lnTo>
                    <a:pt x="10756" y="99942"/>
                  </a:lnTo>
                  <a:lnTo>
                    <a:pt x="10756" y="133106"/>
                  </a:lnTo>
                  <a:cubicBezTo>
                    <a:pt x="10756" y="136244"/>
                    <a:pt x="13445" y="138933"/>
                    <a:pt x="16582" y="138933"/>
                  </a:cubicBezTo>
                  <a:lnTo>
                    <a:pt x="41680" y="138933"/>
                  </a:lnTo>
                  <a:cubicBezTo>
                    <a:pt x="44817" y="138933"/>
                    <a:pt x="47506" y="136244"/>
                    <a:pt x="47506" y="133106"/>
                  </a:cubicBezTo>
                  <a:lnTo>
                    <a:pt x="47506" y="65433"/>
                  </a:lnTo>
                  <a:cubicBezTo>
                    <a:pt x="51540" y="65433"/>
                    <a:pt x="60503" y="65433"/>
                    <a:pt x="67226" y="65433"/>
                  </a:cubicBezTo>
                  <a:lnTo>
                    <a:pt x="67226" y="136244"/>
                  </a:lnTo>
                  <a:cubicBezTo>
                    <a:pt x="67226" y="137588"/>
                    <a:pt x="68122" y="138484"/>
                    <a:pt x="69466" y="138484"/>
                  </a:cubicBezTo>
                  <a:cubicBezTo>
                    <a:pt x="70811" y="138484"/>
                    <a:pt x="71707" y="137588"/>
                    <a:pt x="71707" y="136244"/>
                  </a:cubicBezTo>
                  <a:lnTo>
                    <a:pt x="71707" y="65433"/>
                  </a:lnTo>
                  <a:cubicBezTo>
                    <a:pt x="72156" y="65433"/>
                    <a:pt x="73052" y="65433"/>
                    <a:pt x="73052" y="65433"/>
                  </a:cubicBezTo>
                  <a:cubicBezTo>
                    <a:pt x="79775" y="64985"/>
                    <a:pt x="84704" y="61399"/>
                    <a:pt x="84704" y="56469"/>
                  </a:cubicBezTo>
                  <a:cubicBezTo>
                    <a:pt x="84704" y="52436"/>
                    <a:pt x="84704" y="51091"/>
                    <a:pt x="84704" y="51091"/>
                  </a:cubicBezTo>
                  <a:cubicBezTo>
                    <a:pt x="84704" y="49747"/>
                    <a:pt x="83808" y="48850"/>
                    <a:pt x="82463" y="48850"/>
                  </a:cubicBezTo>
                  <a:lnTo>
                    <a:pt x="71259" y="48850"/>
                  </a:lnTo>
                  <a:lnTo>
                    <a:pt x="71259" y="31820"/>
                  </a:lnTo>
                  <a:lnTo>
                    <a:pt x="115628" y="31820"/>
                  </a:lnTo>
                  <a:cubicBezTo>
                    <a:pt x="116973" y="31820"/>
                    <a:pt x="117869" y="31372"/>
                    <a:pt x="118317" y="30027"/>
                  </a:cubicBezTo>
                  <a:cubicBezTo>
                    <a:pt x="118765" y="29131"/>
                    <a:pt x="118765" y="27786"/>
                    <a:pt x="118317" y="26890"/>
                  </a:cubicBezTo>
                  <a:lnTo>
                    <a:pt x="112043" y="16134"/>
                  </a:lnTo>
                  <a:close/>
                  <a:moveTo>
                    <a:pt x="80671" y="56469"/>
                  </a:moveTo>
                  <a:cubicBezTo>
                    <a:pt x="80671" y="58262"/>
                    <a:pt x="77534" y="60503"/>
                    <a:pt x="73052" y="60951"/>
                  </a:cubicBezTo>
                  <a:cubicBezTo>
                    <a:pt x="66329" y="61399"/>
                    <a:pt x="45713" y="60951"/>
                    <a:pt x="45265" y="60951"/>
                  </a:cubicBezTo>
                  <a:cubicBezTo>
                    <a:pt x="44817" y="60951"/>
                    <a:pt x="43921" y="60951"/>
                    <a:pt x="43473" y="61399"/>
                  </a:cubicBezTo>
                  <a:cubicBezTo>
                    <a:pt x="43025" y="61847"/>
                    <a:pt x="42576" y="62296"/>
                    <a:pt x="42576" y="63192"/>
                  </a:cubicBezTo>
                  <a:lnTo>
                    <a:pt x="42576" y="133555"/>
                  </a:lnTo>
                  <a:cubicBezTo>
                    <a:pt x="42576" y="134451"/>
                    <a:pt x="42128" y="134899"/>
                    <a:pt x="41232" y="134899"/>
                  </a:cubicBezTo>
                  <a:lnTo>
                    <a:pt x="30924" y="134899"/>
                  </a:lnTo>
                  <a:lnTo>
                    <a:pt x="30924" y="98149"/>
                  </a:lnTo>
                  <a:cubicBezTo>
                    <a:pt x="30924" y="96805"/>
                    <a:pt x="30027" y="95908"/>
                    <a:pt x="28683" y="95908"/>
                  </a:cubicBezTo>
                  <a:cubicBezTo>
                    <a:pt x="27339" y="95908"/>
                    <a:pt x="26442" y="96805"/>
                    <a:pt x="26442" y="98149"/>
                  </a:cubicBezTo>
                  <a:lnTo>
                    <a:pt x="26442" y="134899"/>
                  </a:lnTo>
                  <a:lnTo>
                    <a:pt x="16134" y="134899"/>
                  </a:lnTo>
                  <a:cubicBezTo>
                    <a:pt x="15238" y="134899"/>
                    <a:pt x="14790" y="134451"/>
                    <a:pt x="14790" y="133555"/>
                  </a:cubicBezTo>
                  <a:lnTo>
                    <a:pt x="14790" y="98149"/>
                  </a:lnTo>
                  <a:lnTo>
                    <a:pt x="14790" y="66777"/>
                  </a:lnTo>
                  <a:cubicBezTo>
                    <a:pt x="14790" y="65433"/>
                    <a:pt x="13893" y="64536"/>
                    <a:pt x="12549" y="64536"/>
                  </a:cubicBezTo>
                  <a:cubicBezTo>
                    <a:pt x="11204" y="64536"/>
                    <a:pt x="10308" y="65433"/>
                    <a:pt x="10308" y="66777"/>
                  </a:cubicBezTo>
                  <a:lnTo>
                    <a:pt x="10308" y="95908"/>
                  </a:lnTo>
                  <a:lnTo>
                    <a:pt x="5378" y="95908"/>
                  </a:lnTo>
                  <a:cubicBezTo>
                    <a:pt x="4482" y="95908"/>
                    <a:pt x="4034" y="95460"/>
                    <a:pt x="4034" y="94564"/>
                  </a:cubicBezTo>
                  <a:lnTo>
                    <a:pt x="4034" y="61847"/>
                  </a:lnTo>
                  <a:cubicBezTo>
                    <a:pt x="4034" y="57366"/>
                    <a:pt x="8067" y="53332"/>
                    <a:pt x="12549" y="53332"/>
                  </a:cubicBezTo>
                  <a:lnTo>
                    <a:pt x="80223" y="53332"/>
                  </a:lnTo>
                  <a:cubicBezTo>
                    <a:pt x="80671" y="53780"/>
                    <a:pt x="80671" y="55125"/>
                    <a:pt x="80671" y="56469"/>
                  </a:cubicBezTo>
                  <a:close/>
                  <a:moveTo>
                    <a:pt x="71707" y="27338"/>
                  </a:moveTo>
                  <a:lnTo>
                    <a:pt x="71707" y="4930"/>
                  </a:lnTo>
                  <a:lnTo>
                    <a:pt x="113835" y="4930"/>
                  </a:lnTo>
                  <a:lnTo>
                    <a:pt x="108457" y="13893"/>
                  </a:lnTo>
                  <a:cubicBezTo>
                    <a:pt x="107561" y="15238"/>
                    <a:pt x="107561" y="16582"/>
                    <a:pt x="108457" y="17927"/>
                  </a:cubicBezTo>
                  <a:lnTo>
                    <a:pt x="113835" y="26890"/>
                  </a:lnTo>
                  <a:lnTo>
                    <a:pt x="71707" y="26890"/>
                  </a:lnTo>
                  <a:close/>
                </a:path>
              </a:pathLst>
            </a:custGeom>
            <a:solidFill>
              <a:srgbClr val="231F20"/>
            </a:solidFill>
            <a:ln w="4477" cap="flat">
              <a:noFill/>
              <a:prstDash val="solid"/>
              <a:miter/>
            </a:ln>
          </p:spPr>
          <p:txBody>
            <a:bodyPr rtlCol="0" anchor="ctr"/>
            <a:lstStyle/>
            <a:p>
              <a:endParaRPr lang="en-US"/>
            </a:p>
          </p:txBody>
        </p:sp>
      </p:grpSp>
      <p:grpSp>
        <p:nvGrpSpPr>
          <p:cNvPr id="2453" name="Group 2452">
            <a:extLst>
              <a:ext uri="{FF2B5EF4-FFF2-40B4-BE49-F238E27FC236}">
                <a16:creationId xmlns:a16="http://schemas.microsoft.com/office/drawing/2014/main" id="{419F2828-B5BE-4F8D-B810-A346B990DED3}"/>
              </a:ext>
              <a:ext uri="{C183D7F6-B498-43B3-948B-1728B52AA6E4}">
                <adec:decorative xmlns:adec="http://schemas.microsoft.com/office/drawing/2017/decorative" val="1"/>
              </a:ext>
            </a:extLst>
          </p:cNvPr>
          <p:cNvGrpSpPr>
            <a:grpSpLocks noChangeAspect="1"/>
          </p:cNvGrpSpPr>
          <p:nvPr/>
        </p:nvGrpSpPr>
        <p:grpSpPr>
          <a:xfrm>
            <a:off x="4823098" y="4873209"/>
            <a:ext cx="152378" cy="151034"/>
            <a:chOff x="10697833" y="3856041"/>
            <a:chExt cx="152378" cy="151034"/>
          </a:xfrm>
        </p:grpSpPr>
        <p:sp>
          <p:nvSpPr>
            <p:cNvPr id="2528" name="Freeform: Shape 2527">
              <a:extLst>
                <a:ext uri="{FF2B5EF4-FFF2-40B4-BE49-F238E27FC236}">
                  <a16:creationId xmlns:a16="http://schemas.microsoft.com/office/drawing/2014/main" id="{C15FBEDC-8A8F-469A-B555-E787FF00F166}"/>
                </a:ext>
              </a:extLst>
            </p:cNvPr>
            <p:cNvSpPr/>
            <p:nvPr/>
          </p:nvSpPr>
          <p:spPr>
            <a:xfrm>
              <a:off x="10784330" y="3907581"/>
              <a:ext cx="44817" cy="44817"/>
            </a:xfrm>
            <a:custGeom>
              <a:avLst/>
              <a:gdLst>
                <a:gd name="connsiteX0" fmla="*/ 23305 w 44817"/>
                <a:gd name="connsiteY0" fmla="*/ 46610 h 44817"/>
                <a:gd name="connsiteX1" fmla="*/ 46610 w 44817"/>
                <a:gd name="connsiteY1" fmla="*/ 23305 h 44817"/>
                <a:gd name="connsiteX2" fmla="*/ 23305 w 44817"/>
                <a:gd name="connsiteY2" fmla="*/ 0 h 44817"/>
                <a:gd name="connsiteX3" fmla="*/ 0 w 44817"/>
                <a:gd name="connsiteY3" fmla="*/ 23305 h 44817"/>
                <a:gd name="connsiteX4" fmla="*/ 23305 w 44817"/>
                <a:gd name="connsiteY4" fmla="*/ 46610 h 44817"/>
                <a:gd name="connsiteX5" fmla="*/ 23305 w 44817"/>
                <a:gd name="connsiteY5" fmla="*/ 4930 h 44817"/>
                <a:gd name="connsiteX6" fmla="*/ 42128 w 44817"/>
                <a:gd name="connsiteY6" fmla="*/ 23753 h 44817"/>
                <a:gd name="connsiteX7" fmla="*/ 23305 w 44817"/>
                <a:gd name="connsiteY7" fmla="*/ 42576 h 44817"/>
                <a:gd name="connsiteX8" fmla="*/ 4482 w 44817"/>
                <a:gd name="connsiteY8" fmla="*/ 23753 h 44817"/>
                <a:gd name="connsiteX9" fmla="*/ 23305 w 44817"/>
                <a:gd name="connsiteY9" fmla="*/ 4930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7" h="44817">
                  <a:moveTo>
                    <a:pt x="23305" y="46610"/>
                  </a:moveTo>
                  <a:cubicBezTo>
                    <a:pt x="36302" y="46610"/>
                    <a:pt x="46610" y="36302"/>
                    <a:pt x="46610" y="23305"/>
                  </a:cubicBezTo>
                  <a:cubicBezTo>
                    <a:pt x="46610" y="10308"/>
                    <a:pt x="36302" y="0"/>
                    <a:pt x="23305" y="0"/>
                  </a:cubicBezTo>
                  <a:cubicBezTo>
                    <a:pt x="10308" y="0"/>
                    <a:pt x="0" y="10308"/>
                    <a:pt x="0" y="23305"/>
                  </a:cubicBezTo>
                  <a:cubicBezTo>
                    <a:pt x="0" y="36302"/>
                    <a:pt x="10308" y="46610"/>
                    <a:pt x="23305" y="46610"/>
                  </a:cubicBezTo>
                  <a:close/>
                  <a:moveTo>
                    <a:pt x="23305" y="4930"/>
                  </a:moveTo>
                  <a:cubicBezTo>
                    <a:pt x="33613" y="4930"/>
                    <a:pt x="42128" y="13445"/>
                    <a:pt x="42128" y="23753"/>
                  </a:cubicBezTo>
                  <a:cubicBezTo>
                    <a:pt x="42128" y="34061"/>
                    <a:pt x="33613" y="42576"/>
                    <a:pt x="23305" y="42576"/>
                  </a:cubicBezTo>
                  <a:cubicBezTo>
                    <a:pt x="12997" y="42576"/>
                    <a:pt x="4482" y="34061"/>
                    <a:pt x="4482" y="23753"/>
                  </a:cubicBezTo>
                  <a:cubicBezTo>
                    <a:pt x="4482" y="13445"/>
                    <a:pt x="12997" y="4930"/>
                    <a:pt x="23305" y="4930"/>
                  </a:cubicBezTo>
                  <a:close/>
                </a:path>
              </a:pathLst>
            </a:custGeom>
            <a:solidFill>
              <a:srgbClr val="231F20"/>
            </a:solidFill>
            <a:ln w="4477" cap="flat">
              <a:noFill/>
              <a:prstDash val="solid"/>
              <a:miter/>
            </a:ln>
          </p:spPr>
          <p:txBody>
            <a:bodyPr rtlCol="0" anchor="ctr"/>
            <a:lstStyle/>
            <a:p>
              <a:endParaRPr lang="en-US"/>
            </a:p>
          </p:txBody>
        </p:sp>
        <p:sp>
          <p:nvSpPr>
            <p:cNvPr id="2529" name="Freeform: Shape 2528">
              <a:extLst>
                <a:ext uri="{FF2B5EF4-FFF2-40B4-BE49-F238E27FC236}">
                  <a16:creationId xmlns:a16="http://schemas.microsoft.com/office/drawing/2014/main" id="{9D6D95FC-3841-41F9-B3C6-FE42AF4233B7}"/>
                </a:ext>
              </a:extLst>
            </p:cNvPr>
            <p:cNvSpPr/>
            <p:nvPr/>
          </p:nvSpPr>
          <p:spPr>
            <a:xfrm>
              <a:off x="10764610" y="3957776"/>
              <a:ext cx="85152" cy="49299"/>
            </a:xfrm>
            <a:custGeom>
              <a:avLst/>
              <a:gdLst>
                <a:gd name="connsiteX0" fmla="*/ 57814 w 85152"/>
                <a:gd name="connsiteY0" fmla="*/ 0 h 49298"/>
                <a:gd name="connsiteX1" fmla="*/ 27787 w 85152"/>
                <a:gd name="connsiteY1" fmla="*/ 0 h 49298"/>
                <a:gd name="connsiteX2" fmla="*/ 0 w 85152"/>
                <a:gd name="connsiteY2" fmla="*/ 27787 h 49298"/>
                <a:gd name="connsiteX3" fmla="*/ 0 w 85152"/>
                <a:gd name="connsiteY3" fmla="*/ 40783 h 49298"/>
                <a:gd name="connsiteX4" fmla="*/ 9860 w 85152"/>
                <a:gd name="connsiteY4" fmla="*/ 50643 h 49298"/>
                <a:gd name="connsiteX5" fmla="*/ 75293 w 85152"/>
                <a:gd name="connsiteY5" fmla="*/ 50643 h 49298"/>
                <a:gd name="connsiteX6" fmla="*/ 85152 w 85152"/>
                <a:gd name="connsiteY6" fmla="*/ 40783 h 49298"/>
                <a:gd name="connsiteX7" fmla="*/ 85152 w 85152"/>
                <a:gd name="connsiteY7" fmla="*/ 27787 h 49298"/>
                <a:gd name="connsiteX8" fmla="*/ 57814 w 85152"/>
                <a:gd name="connsiteY8" fmla="*/ 0 h 49298"/>
                <a:gd name="connsiteX9" fmla="*/ 81119 w 85152"/>
                <a:gd name="connsiteY9" fmla="*/ 40783 h 49298"/>
                <a:gd name="connsiteX10" fmla="*/ 75741 w 85152"/>
                <a:gd name="connsiteY10" fmla="*/ 46161 h 49298"/>
                <a:gd name="connsiteX11" fmla="*/ 10308 w 85152"/>
                <a:gd name="connsiteY11" fmla="*/ 46161 h 49298"/>
                <a:gd name="connsiteX12" fmla="*/ 4930 w 85152"/>
                <a:gd name="connsiteY12" fmla="*/ 40783 h 49298"/>
                <a:gd name="connsiteX13" fmla="*/ 4930 w 85152"/>
                <a:gd name="connsiteY13" fmla="*/ 27787 h 49298"/>
                <a:gd name="connsiteX14" fmla="*/ 28235 w 85152"/>
                <a:gd name="connsiteY14" fmla="*/ 4482 h 49298"/>
                <a:gd name="connsiteX15" fmla="*/ 58262 w 85152"/>
                <a:gd name="connsiteY15" fmla="*/ 4482 h 49298"/>
                <a:gd name="connsiteX16" fmla="*/ 81567 w 85152"/>
                <a:gd name="connsiteY16" fmla="*/ 27787 h 49298"/>
                <a:gd name="connsiteX17" fmla="*/ 81567 w 85152"/>
                <a:gd name="connsiteY17" fmla="*/ 40783 h 4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152" h="49298">
                  <a:moveTo>
                    <a:pt x="57814" y="0"/>
                  </a:moveTo>
                  <a:lnTo>
                    <a:pt x="27787" y="0"/>
                  </a:lnTo>
                  <a:cubicBezTo>
                    <a:pt x="12549" y="0"/>
                    <a:pt x="0" y="12549"/>
                    <a:pt x="0" y="27787"/>
                  </a:cubicBezTo>
                  <a:lnTo>
                    <a:pt x="0" y="40783"/>
                  </a:lnTo>
                  <a:cubicBezTo>
                    <a:pt x="0" y="46161"/>
                    <a:pt x="4482" y="50643"/>
                    <a:pt x="9860" y="50643"/>
                  </a:cubicBezTo>
                  <a:lnTo>
                    <a:pt x="75293" y="50643"/>
                  </a:lnTo>
                  <a:cubicBezTo>
                    <a:pt x="80671" y="50643"/>
                    <a:pt x="85152" y="46161"/>
                    <a:pt x="85152" y="40783"/>
                  </a:cubicBezTo>
                  <a:lnTo>
                    <a:pt x="85152" y="27787"/>
                  </a:lnTo>
                  <a:cubicBezTo>
                    <a:pt x="85601" y="12101"/>
                    <a:pt x="73052" y="0"/>
                    <a:pt x="57814" y="0"/>
                  </a:cubicBezTo>
                  <a:close/>
                  <a:moveTo>
                    <a:pt x="81119" y="40783"/>
                  </a:moveTo>
                  <a:cubicBezTo>
                    <a:pt x="81119" y="43921"/>
                    <a:pt x="78878" y="46161"/>
                    <a:pt x="75741" y="46161"/>
                  </a:cubicBezTo>
                  <a:lnTo>
                    <a:pt x="10308" y="46161"/>
                  </a:lnTo>
                  <a:cubicBezTo>
                    <a:pt x="7171" y="46161"/>
                    <a:pt x="4930" y="43921"/>
                    <a:pt x="4930" y="40783"/>
                  </a:cubicBezTo>
                  <a:lnTo>
                    <a:pt x="4930" y="27787"/>
                  </a:lnTo>
                  <a:cubicBezTo>
                    <a:pt x="4930" y="15238"/>
                    <a:pt x="15238" y="4482"/>
                    <a:pt x="28235" y="4482"/>
                  </a:cubicBezTo>
                  <a:lnTo>
                    <a:pt x="58262" y="4482"/>
                  </a:lnTo>
                  <a:cubicBezTo>
                    <a:pt x="70811" y="4482"/>
                    <a:pt x="81567" y="14790"/>
                    <a:pt x="81567" y="27787"/>
                  </a:cubicBezTo>
                  <a:lnTo>
                    <a:pt x="81567" y="40783"/>
                  </a:lnTo>
                  <a:close/>
                </a:path>
              </a:pathLst>
            </a:custGeom>
            <a:solidFill>
              <a:srgbClr val="231F20"/>
            </a:solidFill>
            <a:ln w="4477" cap="flat">
              <a:noFill/>
              <a:prstDash val="solid"/>
              <a:miter/>
            </a:ln>
          </p:spPr>
          <p:txBody>
            <a:bodyPr rtlCol="0" anchor="ctr"/>
            <a:lstStyle/>
            <a:p>
              <a:endParaRPr lang="en-US"/>
            </a:p>
          </p:txBody>
        </p:sp>
        <p:sp>
          <p:nvSpPr>
            <p:cNvPr id="2530" name="Freeform: Shape 2529">
              <a:extLst>
                <a:ext uri="{FF2B5EF4-FFF2-40B4-BE49-F238E27FC236}">
                  <a16:creationId xmlns:a16="http://schemas.microsoft.com/office/drawing/2014/main" id="{19E71506-BEBD-421C-A704-D05B08CA13E1}"/>
                </a:ext>
              </a:extLst>
            </p:cNvPr>
            <p:cNvSpPr/>
            <p:nvPr/>
          </p:nvSpPr>
          <p:spPr>
            <a:xfrm>
              <a:off x="10697833" y="3856041"/>
              <a:ext cx="152378" cy="107561"/>
            </a:xfrm>
            <a:custGeom>
              <a:avLst/>
              <a:gdLst>
                <a:gd name="connsiteX0" fmla="*/ 69466 w 152377"/>
                <a:gd name="connsiteY0" fmla="*/ 110250 h 107560"/>
                <a:gd name="connsiteX1" fmla="*/ 71259 w 152377"/>
                <a:gd name="connsiteY1" fmla="*/ 107561 h 107560"/>
                <a:gd name="connsiteX2" fmla="*/ 71259 w 152377"/>
                <a:gd name="connsiteY2" fmla="*/ 85152 h 107560"/>
                <a:gd name="connsiteX3" fmla="*/ 82463 w 152377"/>
                <a:gd name="connsiteY3" fmla="*/ 85152 h 107560"/>
                <a:gd name="connsiteX4" fmla="*/ 84704 w 152377"/>
                <a:gd name="connsiteY4" fmla="*/ 82912 h 107560"/>
                <a:gd name="connsiteX5" fmla="*/ 82463 w 152377"/>
                <a:gd name="connsiteY5" fmla="*/ 80671 h 107560"/>
                <a:gd name="connsiteX6" fmla="*/ 69914 w 152377"/>
                <a:gd name="connsiteY6" fmla="*/ 80671 h 107560"/>
                <a:gd name="connsiteX7" fmla="*/ 66777 w 152377"/>
                <a:gd name="connsiteY7" fmla="*/ 83808 h 107560"/>
                <a:gd name="connsiteX8" fmla="*/ 66777 w 152377"/>
                <a:gd name="connsiteY8" fmla="*/ 104424 h 107560"/>
                <a:gd name="connsiteX9" fmla="*/ 43921 w 152377"/>
                <a:gd name="connsiteY9" fmla="*/ 81567 h 107560"/>
                <a:gd name="connsiteX10" fmla="*/ 41680 w 152377"/>
                <a:gd name="connsiteY10" fmla="*/ 80671 h 107560"/>
                <a:gd name="connsiteX11" fmla="*/ 16134 w 152377"/>
                <a:gd name="connsiteY11" fmla="*/ 80671 h 107560"/>
                <a:gd name="connsiteX12" fmla="*/ 4033 w 152377"/>
                <a:gd name="connsiteY12" fmla="*/ 68570 h 107560"/>
                <a:gd name="connsiteX13" fmla="*/ 4033 w 152377"/>
                <a:gd name="connsiteY13" fmla="*/ 16582 h 107560"/>
                <a:gd name="connsiteX14" fmla="*/ 16134 w 152377"/>
                <a:gd name="connsiteY14" fmla="*/ 4482 h 107560"/>
                <a:gd name="connsiteX15" fmla="*/ 135796 w 152377"/>
                <a:gd name="connsiteY15" fmla="*/ 4482 h 107560"/>
                <a:gd name="connsiteX16" fmla="*/ 147896 w 152377"/>
                <a:gd name="connsiteY16" fmla="*/ 16582 h 107560"/>
                <a:gd name="connsiteX17" fmla="*/ 147896 w 152377"/>
                <a:gd name="connsiteY17" fmla="*/ 68570 h 107560"/>
                <a:gd name="connsiteX18" fmla="*/ 135796 w 152377"/>
                <a:gd name="connsiteY18" fmla="*/ 80671 h 107560"/>
                <a:gd name="connsiteX19" fmla="*/ 133555 w 152377"/>
                <a:gd name="connsiteY19" fmla="*/ 82912 h 107560"/>
                <a:gd name="connsiteX20" fmla="*/ 135796 w 152377"/>
                <a:gd name="connsiteY20" fmla="*/ 85152 h 107560"/>
                <a:gd name="connsiteX21" fmla="*/ 152378 w 152377"/>
                <a:gd name="connsiteY21" fmla="*/ 68570 h 107560"/>
                <a:gd name="connsiteX22" fmla="*/ 152378 w 152377"/>
                <a:gd name="connsiteY22" fmla="*/ 16582 h 107560"/>
                <a:gd name="connsiteX23" fmla="*/ 135796 w 152377"/>
                <a:gd name="connsiteY23" fmla="*/ 0 h 107560"/>
                <a:gd name="connsiteX24" fmla="*/ 16582 w 152377"/>
                <a:gd name="connsiteY24" fmla="*/ 0 h 107560"/>
                <a:gd name="connsiteX25" fmla="*/ 0 w 152377"/>
                <a:gd name="connsiteY25" fmla="*/ 16582 h 107560"/>
                <a:gd name="connsiteX26" fmla="*/ 0 w 152377"/>
                <a:gd name="connsiteY26" fmla="*/ 68570 h 107560"/>
                <a:gd name="connsiteX27" fmla="*/ 16582 w 152377"/>
                <a:gd name="connsiteY27" fmla="*/ 85152 h 107560"/>
                <a:gd name="connsiteX28" fmla="*/ 41680 w 152377"/>
                <a:gd name="connsiteY28" fmla="*/ 85152 h 107560"/>
                <a:gd name="connsiteX29" fmla="*/ 66329 w 152377"/>
                <a:gd name="connsiteY29" fmla="*/ 109802 h 107560"/>
                <a:gd name="connsiteX30" fmla="*/ 68570 w 152377"/>
                <a:gd name="connsiteY30" fmla="*/ 110698 h 107560"/>
                <a:gd name="connsiteX31" fmla="*/ 69466 w 152377"/>
                <a:gd name="connsiteY31" fmla="*/ 110250 h 10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7" h="107560">
                  <a:moveTo>
                    <a:pt x="69466" y="110250"/>
                  </a:moveTo>
                  <a:cubicBezTo>
                    <a:pt x="70811" y="109802"/>
                    <a:pt x="71259" y="108457"/>
                    <a:pt x="71259" y="107561"/>
                  </a:cubicBezTo>
                  <a:lnTo>
                    <a:pt x="71259" y="85152"/>
                  </a:lnTo>
                  <a:lnTo>
                    <a:pt x="82463" y="85152"/>
                  </a:lnTo>
                  <a:cubicBezTo>
                    <a:pt x="83808" y="85152"/>
                    <a:pt x="84704" y="84256"/>
                    <a:pt x="84704" y="82912"/>
                  </a:cubicBezTo>
                  <a:cubicBezTo>
                    <a:pt x="84704" y="81567"/>
                    <a:pt x="83808" y="80671"/>
                    <a:pt x="82463" y="80671"/>
                  </a:cubicBezTo>
                  <a:lnTo>
                    <a:pt x="69914" y="80671"/>
                  </a:lnTo>
                  <a:cubicBezTo>
                    <a:pt x="68122" y="80671"/>
                    <a:pt x="66777" y="82015"/>
                    <a:pt x="66777" y="83808"/>
                  </a:cubicBezTo>
                  <a:lnTo>
                    <a:pt x="66777" y="104424"/>
                  </a:lnTo>
                  <a:lnTo>
                    <a:pt x="43921" y="81567"/>
                  </a:lnTo>
                  <a:cubicBezTo>
                    <a:pt x="43473" y="81119"/>
                    <a:pt x="42576" y="80671"/>
                    <a:pt x="41680" y="80671"/>
                  </a:cubicBezTo>
                  <a:lnTo>
                    <a:pt x="16134" y="80671"/>
                  </a:lnTo>
                  <a:cubicBezTo>
                    <a:pt x="9411" y="80671"/>
                    <a:pt x="4033" y="75293"/>
                    <a:pt x="4033" y="68570"/>
                  </a:cubicBezTo>
                  <a:lnTo>
                    <a:pt x="4033" y="16582"/>
                  </a:lnTo>
                  <a:cubicBezTo>
                    <a:pt x="4033" y="9860"/>
                    <a:pt x="9411" y="4482"/>
                    <a:pt x="16134" y="4482"/>
                  </a:cubicBezTo>
                  <a:lnTo>
                    <a:pt x="135796" y="4482"/>
                  </a:lnTo>
                  <a:cubicBezTo>
                    <a:pt x="142518" y="4482"/>
                    <a:pt x="147896" y="9860"/>
                    <a:pt x="147896" y="16582"/>
                  </a:cubicBezTo>
                  <a:lnTo>
                    <a:pt x="147896" y="68570"/>
                  </a:lnTo>
                  <a:cubicBezTo>
                    <a:pt x="147896" y="75293"/>
                    <a:pt x="142518" y="80671"/>
                    <a:pt x="135796" y="80671"/>
                  </a:cubicBezTo>
                  <a:cubicBezTo>
                    <a:pt x="134451" y="80671"/>
                    <a:pt x="133555" y="81567"/>
                    <a:pt x="133555" y="82912"/>
                  </a:cubicBezTo>
                  <a:cubicBezTo>
                    <a:pt x="133555" y="84256"/>
                    <a:pt x="134451" y="85152"/>
                    <a:pt x="135796" y="85152"/>
                  </a:cubicBezTo>
                  <a:cubicBezTo>
                    <a:pt x="144759" y="85152"/>
                    <a:pt x="152378" y="77533"/>
                    <a:pt x="152378" y="68570"/>
                  </a:cubicBezTo>
                  <a:lnTo>
                    <a:pt x="152378" y="16582"/>
                  </a:lnTo>
                  <a:cubicBezTo>
                    <a:pt x="152378" y="7619"/>
                    <a:pt x="144759" y="0"/>
                    <a:pt x="135796" y="0"/>
                  </a:cubicBezTo>
                  <a:lnTo>
                    <a:pt x="16582" y="0"/>
                  </a:lnTo>
                  <a:cubicBezTo>
                    <a:pt x="7619" y="0"/>
                    <a:pt x="0" y="7619"/>
                    <a:pt x="0" y="16582"/>
                  </a:cubicBezTo>
                  <a:lnTo>
                    <a:pt x="0" y="68570"/>
                  </a:lnTo>
                  <a:cubicBezTo>
                    <a:pt x="0" y="77533"/>
                    <a:pt x="7619" y="85152"/>
                    <a:pt x="16582" y="85152"/>
                  </a:cubicBezTo>
                  <a:lnTo>
                    <a:pt x="41680" y="85152"/>
                  </a:lnTo>
                  <a:lnTo>
                    <a:pt x="66329" y="109802"/>
                  </a:lnTo>
                  <a:cubicBezTo>
                    <a:pt x="66777" y="110250"/>
                    <a:pt x="67674" y="110698"/>
                    <a:pt x="68570" y="110698"/>
                  </a:cubicBezTo>
                  <a:cubicBezTo>
                    <a:pt x="69018" y="110698"/>
                    <a:pt x="69466" y="110698"/>
                    <a:pt x="69466" y="110250"/>
                  </a:cubicBezTo>
                  <a:close/>
                </a:path>
              </a:pathLst>
            </a:custGeom>
            <a:solidFill>
              <a:srgbClr val="231F20"/>
            </a:solidFill>
            <a:ln w="4477" cap="flat">
              <a:noFill/>
              <a:prstDash val="solid"/>
              <a:miter/>
            </a:ln>
          </p:spPr>
          <p:txBody>
            <a:bodyPr rtlCol="0" anchor="ctr"/>
            <a:lstStyle/>
            <a:p>
              <a:endParaRPr lang="en-US"/>
            </a:p>
          </p:txBody>
        </p:sp>
        <p:sp>
          <p:nvSpPr>
            <p:cNvPr id="2531" name="Freeform: Shape 2530">
              <a:extLst>
                <a:ext uri="{FF2B5EF4-FFF2-40B4-BE49-F238E27FC236}">
                  <a16:creationId xmlns:a16="http://schemas.microsoft.com/office/drawing/2014/main" id="{F7267B50-12B6-4E78-9F5A-9B1307AE2BAE}"/>
                </a:ext>
              </a:extLst>
            </p:cNvPr>
            <p:cNvSpPr/>
            <p:nvPr/>
          </p:nvSpPr>
          <p:spPr>
            <a:xfrm>
              <a:off x="10737944" y="3876209"/>
              <a:ext cx="71707" cy="40335"/>
            </a:xfrm>
            <a:custGeom>
              <a:avLst/>
              <a:gdLst>
                <a:gd name="connsiteX0" fmla="*/ 24425 w 71707"/>
                <a:gd name="connsiteY0" fmla="*/ 20616 h 40335"/>
                <a:gd name="connsiteX1" fmla="*/ 22633 w 71707"/>
                <a:gd name="connsiteY1" fmla="*/ 20168 h 40335"/>
                <a:gd name="connsiteX2" fmla="*/ 20840 w 71707"/>
                <a:gd name="connsiteY2" fmla="*/ 20616 h 40335"/>
                <a:gd name="connsiteX3" fmla="*/ 672 w 71707"/>
                <a:gd name="connsiteY3" fmla="*/ 40783 h 40335"/>
                <a:gd name="connsiteX4" fmla="*/ 672 w 71707"/>
                <a:gd name="connsiteY4" fmla="*/ 43921 h 40335"/>
                <a:gd name="connsiteX5" fmla="*/ 2465 w 71707"/>
                <a:gd name="connsiteY5" fmla="*/ 44369 h 40335"/>
                <a:gd name="connsiteX6" fmla="*/ 4258 w 71707"/>
                <a:gd name="connsiteY6" fmla="*/ 43921 h 40335"/>
                <a:gd name="connsiteX7" fmla="*/ 22633 w 71707"/>
                <a:gd name="connsiteY7" fmla="*/ 25097 h 40335"/>
                <a:gd name="connsiteX8" fmla="*/ 34285 w 71707"/>
                <a:gd name="connsiteY8" fmla="*/ 37198 h 40335"/>
                <a:gd name="connsiteX9" fmla="*/ 36078 w 71707"/>
                <a:gd name="connsiteY9" fmla="*/ 38094 h 40335"/>
                <a:gd name="connsiteX10" fmla="*/ 37870 w 71707"/>
                <a:gd name="connsiteY10" fmla="*/ 37646 h 40335"/>
                <a:gd name="connsiteX11" fmla="*/ 67898 w 71707"/>
                <a:gd name="connsiteY11" fmla="*/ 7619 h 40335"/>
                <a:gd name="connsiteX12" fmla="*/ 67898 w 71707"/>
                <a:gd name="connsiteY12" fmla="*/ 8963 h 40335"/>
                <a:gd name="connsiteX13" fmla="*/ 70139 w 71707"/>
                <a:gd name="connsiteY13" fmla="*/ 11204 h 40335"/>
                <a:gd name="connsiteX14" fmla="*/ 72380 w 71707"/>
                <a:gd name="connsiteY14" fmla="*/ 8963 h 40335"/>
                <a:gd name="connsiteX15" fmla="*/ 72380 w 71707"/>
                <a:gd name="connsiteY15" fmla="*/ 2241 h 40335"/>
                <a:gd name="connsiteX16" fmla="*/ 72380 w 71707"/>
                <a:gd name="connsiteY16" fmla="*/ 1344 h 40335"/>
                <a:gd name="connsiteX17" fmla="*/ 72380 w 71707"/>
                <a:gd name="connsiteY17" fmla="*/ 1344 h 40335"/>
                <a:gd name="connsiteX18" fmla="*/ 72380 w 71707"/>
                <a:gd name="connsiteY18" fmla="*/ 1344 h 40335"/>
                <a:gd name="connsiteX19" fmla="*/ 71483 w 71707"/>
                <a:gd name="connsiteY19" fmla="*/ 448 h 40335"/>
                <a:gd name="connsiteX20" fmla="*/ 71483 w 71707"/>
                <a:gd name="connsiteY20" fmla="*/ 448 h 40335"/>
                <a:gd name="connsiteX21" fmla="*/ 70139 w 71707"/>
                <a:gd name="connsiteY21" fmla="*/ 0 h 40335"/>
                <a:gd name="connsiteX22" fmla="*/ 70139 w 71707"/>
                <a:gd name="connsiteY22" fmla="*/ 0 h 40335"/>
                <a:gd name="connsiteX23" fmla="*/ 63416 w 71707"/>
                <a:gd name="connsiteY23" fmla="*/ 0 h 40335"/>
                <a:gd name="connsiteX24" fmla="*/ 61175 w 71707"/>
                <a:gd name="connsiteY24" fmla="*/ 2241 h 40335"/>
                <a:gd name="connsiteX25" fmla="*/ 63416 w 71707"/>
                <a:gd name="connsiteY25" fmla="*/ 4482 h 40335"/>
                <a:gd name="connsiteX26" fmla="*/ 64761 w 71707"/>
                <a:gd name="connsiteY26" fmla="*/ 4482 h 40335"/>
                <a:gd name="connsiteX27" fmla="*/ 36526 w 71707"/>
                <a:gd name="connsiteY27" fmla="*/ 32716 h 40335"/>
                <a:gd name="connsiteX28" fmla="*/ 24425 w 71707"/>
                <a:gd name="connsiteY28" fmla="*/ 20616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07" h="40335">
                  <a:moveTo>
                    <a:pt x="24425" y="20616"/>
                  </a:moveTo>
                  <a:cubicBezTo>
                    <a:pt x="23977" y="20168"/>
                    <a:pt x="23529" y="20168"/>
                    <a:pt x="22633" y="20168"/>
                  </a:cubicBezTo>
                  <a:cubicBezTo>
                    <a:pt x="21736" y="20168"/>
                    <a:pt x="21288" y="20616"/>
                    <a:pt x="20840" y="20616"/>
                  </a:cubicBezTo>
                  <a:lnTo>
                    <a:pt x="672" y="40783"/>
                  </a:lnTo>
                  <a:cubicBezTo>
                    <a:pt x="-224" y="41680"/>
                    <a:pt x="-224" y="43024"/>
                    <a:pt x="672" y="43921"/>
                  </a:cubicBezTo>
                  <a:cubicBezTo>
                    <a:pt x="1121" y="44369"/>
                    <a:pt x="1569" y="44369"/>
                    <a:pt x="2465" y="44369"/>
                  </a:cubicBezTo>
                  <a:cubicBezTo>
                    <a:pt x="2913" y="44369"/>
                    <a:pt x="3810" y="44369"/>
                    <a:pt x="4258" y="43921"/>
                  </a:cubicBezTo>
                  <a:lnTo>
                    <a:pt x="22633" y="25097"/>
                  </a:lnTo>
                  <a:lnTo>
                    <a:pt x="34285" y="37198"/>
                  </a:lnTo>
                  <a:cubicBezTo>
                    <a:pt x="34733" y="37646"/>
                    <a:pt x="35181" y="37646"/>
                    <a:pt x="36078" y="38094"/>
                  </a:cubicBezTo>
                  <a:cubicBezTo>
                    <a:pt x="36526" y="38094"/>
                    <a:pt x="37422" y="37646"/>
                    <a:pt x="37870" y="37646"/>
                  </a:cubicBezTo>
                  <a:lnTo>
                    <a:pt x="67898" y="7619"/>
                  </a:lnTo>
                  <a:lnTo>
                    <a:pt x="67898" y="8963"/>
                  </a:lnTo>
                  <a:cubicBezTo>
                    <a:pt x="67898" y="10308"/>
                    <a:pt x="68794" y="11204"/>
                    <a:pt x="70139" y="11204"/>
                  </a:cubicBezTo>
                  <a:cubicBezTo>
                    <a:pt x="71483" y="11204"/>
                    <a:pt x="72380" y="10308"/>
                    <a:pt x="72380" y="8963"/>
                  </a:cubicBezTo>
                  <a:lnTo>
                    <a:pt x="72380" y="2241"/>
                  </a:lnTo>
                  <a:cubicBezTo>
                    <a:pt x="72380" y="1793"/>
                    <a:pt x="72380" y="1793"/>
                    <a:pt x="72380" y="1344"/>
                  </a:cubicBezTo>
                  <a:cubicBezTo>
                    <a:pt x="72380" y="1344"/>
                    <a:pt x="72380" y="1344"/>
                    <a:pt x="72380" y="1344"/>
                  </a:cubicBezTo>
                  <a:cubicBezTo>
                    <a:pt x="72380" y="1344"/>
                    <a:pt x="72380" y="1344"/>
                    <a:pt x="72380" y="1344"/>
                  </a:cubicBezTo>
                  <a:cubicBezTo>
                    <a:pt x="72380" y="896"/>
                    <a:pt x="71931" y="896"/>
                    <a:pt x="71483" y="448"/>
                  </a:cubicBezTo>
                  <a:cubicBezTo>
                    <a:pt x="71483" y="448"/>
                    <a:pt x="71483" y="448"/>
                    <a:pt x="71483" y="448"/>
                  </a:cubicBezTo>
                  <a:cubicBezTo>
                    <a:pt x="71035" y="448"/>
                    <a:pt x="70587" y="0"/>
                    <a:pt x="70139" y="0"/>
                  </a:cubicBezTo>
                  <a:cubicBezTo>
                    <a:pt x="70139" y="0"/>
                    <a:pt x="70139" y="0"/>
                    <a:pt x="70139" y="0"/>
                  </a:cubicBezTo>
                  <a:lnTo>
                    <a:pt x="63416" y="0"/>
                  </a:lnTo>
                  <a:cubicBezTo>
                    <a:pt x="62072" y="0"/>
                    <a:pt x="61175" y="896"/>
                    <a:pt x="61175" y="2241"/>
                  </a:cubicBezTo>
                  <a:cubicBezTo>
                    <a:pt x="61175" y="3585"/>
                    <a:pt x="62072" y="4482"/>
                    <a:pt x="63416" y="4482"/>
                  </a:cubicBezTo>
                  <a:lnTo>
                    <a:pt x="64761" y="4482"/>
                  </a:lnTo>
                  <a:lnTo>
                    <a:pt x="36526" y="32716"/>
                  </a:lnTo>
                  <a:lnTo>
                    <a:pt x="24425" y="20616"/>
                  </a:lnTo>
                  <a:close/>
                </a:path>
              </a:pathLst>
            </a:custGeom>
            <a:solidFill>
              <a:srgbClr val="231F20"/>
            </a:solidFill>
            <a:ln w="4477" cap="flat">
              <a:noFill/>
              <a:prstDash val="solid"/>
              <a:miter/>
            </a:ln>
          </p:spPr>
          <p:txBody>
            <a:bodyPr rtlCol="0" anchor="ctr"/>
            <a:lstStyle/>
            <a:p>
              <a:endParaRPr lang="en-US"/>
            </a:p>
          </p:txBody>
        </p:sp>
      </p:grpSp>
      <p:grpSp>
        <p:nvGrpSpPr>
          <p:cNvPr id="2454" name="Group 2453">
            <a:extLst>
              <a:ext uri="{FF2B5EF4-FFF2-40B4-BE49-F238E27FC236}">
                <a16:creationId xmlns:a16="http://schemas.microsoft.com/office/drawing/2014/main" id="{2C0D0F33-11D4-4461-8182-9874533E7058}"/>
              </a:ext>
              <a:ext uri="{C183D7F6-B498-43B3-948B-1728B52AA6E4}">
                <adec:decorative xmlns:adec="http://schemas.microsoft.com/office/drawing/2017/decorative" val="1"/>
              </a:ext>
            </a:extLst>
          </p:cNvPr>
          <p:cNvGrpSpPr>
            <a:grpSpLocks noChangeAspect="1"/>
          </p:cNvGrpSpPr>
          <p:nvPr/>
        </p:nvGrpSpPr>
        <p:grpSpPr>
          <a:xfrm>
            <a:off x="2972155" y="4888895"/>
            <a:ext cx="152378" cy="134451"/>
            <a:chOff x="8846890" y="3871727"/>
            <a:chExt cx="152378" cy="134451"/>
          </a:xfrm>
        </p:grpSpPr>
        <p:sp>
          <p:nvSpPr>
            <p:cNvPr id="2524" name="Freeform: Shape 2523">
              <a:extLst>
                <a:ext uri="{FF2B5EF4-FFF2-40B4-BE49-F238E27FC236}">
                  <a16:creationId xmlns:a16="http://schemas.microsoft.com/office/drawing/2014/main" id="{76917B19-013E-4B7C-B74C-5BA43AAC4947}"/>
                </a:ext>
              </a:extLst>
            </p:cNvPr>
            <p:cNvSpPr/>
            <p:nvPr/>
          </p:nvSpPr>
          <p:spPr>
            <a:xfrm>
              <a:off x="8907841" y="3871727"/>
              <a:ext cx="31372" cy="31372"/>
            </a:xfrm>
            <a:custGeom>
              <a:avLst/>
              <a:gdLst>
                <a:gd name="connsiteX0" fmla="*/ 15686 w 31371"/>
                <a:gd name="connsiteY0" fmla="*/ 31372 h 31371"/>
                <a:gd name="connsiteX1" fmla="*/ 31372 w 31371"/>
                <a:gd name="connsiteY1" fmla="*/ 15686 h 31371"/>
                <a:gd name="connsiteX2" fmla="*/ 15686 w 31371"/>
                <a:gd name="connsiteY2" fmla="*/ 0 h 31371"/>
                <a:gd name="connsiteX3" fmla="*/ 0 w 31371"/>
                <a:gd name="connsiteY3" fmla="*/ 15686 h 31371"/>
                <a:gd name="connsiteX4" fmla="*/ 15686 w 31371"/>
                <a:gd name="connsiteY4" fmla="*/ 31372 h 31371"/>
                <a:gd name="connsiteX5" fmla="*/ 15686 w 31371"/>
                <a:gd name="connsiteY5" fmla="*/ 4034 h 31371"/>
                <a:gd name="connsiteX6" fmla="*/ 26890 w 31371"/>
                <a:gd name="connsiteY6" fmla="*/ 15238 h 31371"/>
                <a:gd name="connsiteX7" fmla="*/ 15686 w 31371"/>
                <a:gd name="connsiteY7" fmla="*/ 26442 h 31371"/>
                <a:gd name="connsiteX8" fmla="*/ 4482 w 31371"/>
                <a:gd name="connsiteY8" fmla="*/ 15238 h 31371"/>
                <a:gd name="connsiteX9" fmla="*/ 15686 w 31371"/>
                <a:gd name="connsiteY9" fmla="*/ 4034 h 3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1" h="31371">
                  <a:moveTo>
                    <a:pt x="15686" y="31372"/>
                  </a:moveTo>
                  <a:cubicBezTo>
                    <a:pt x="24201" y="31372"/>
                    <a:pt x="31372" y="24201"/>
                    <a:pt x="31372" y="15686"/>
                  </a:cubicBezTo>
                  <a:cubicBezTo>
                    <a:pt x="31372" y="7171"/>
                    <a:pt x="24201" y="0"/>
                    <a:pt x="15686" y="0"/>
                  </a:cubicBezTo>
                  <a:cubicBezTo>
                    <a:pt x="7171" y="0"/>
                    <a:pt x="0" y="7171"/>
                    <a:pt x="0" y="15686"/>
                  </a:cubicBezTo>
                  <a:cubicBezTo>
                    <a:pt x="0" y="24201"/>
                    <a:pt x="7171" y="31372"/>
                    <a:pt x="15686" y="31372"/>
                  </a:cubicBezTo>
                  <a:close/>
                  <a:moveTo>
                    <a:pt x="15686" y="4034"/>
                  </a:moveTo>
                  <a:cubicBezTo>
                    <a:pt x="21960" y="4034"/>
                    <a:pt x="26890" y="8963"/>
                    <a:pt x="26890" y="15238"/>
                  </a:cubicBezTo>
                  <a:cubicBezTo>
                    <a:pt x="26890" y="21512"/>
                    <a:pt x="21960" y="26442"/>
                    <a:pt x="15686" y="26442"/>
                  </a:cubicBezTo>
                  <a:cubicBezTo>
                    <a:pt x="9412" y="26442"/>
                    <a:pt x="4482" y="21512"/>
                    <a:pt x="4482" y="15238"/>
                  </a:cubicBezTo>
                  <a:cubicBezTo>
                    <a:pt x="4482" y="9411"/>
                    <a:pt x="9412" y="4034"/>
                    <a:pt x="15686" y="4034"/>
                  </a:cubicBezTo>
                  <a:close/>
                </a:path>
              </a:pathLst>
            </a:custGeom>
            <a:solidFill>
              <a:srgbClr val="231F20"/>
            </a:solidFill>
            <a:ln w="4477" cap="flat">
              <a:noFill/>
              <a:prstDash val="solid"/>
              <a:miter/>
            </a:ln>
          </p:spPr>
          <p:txBody>
            <a:bodyPr rtlCol="0" anchor="ctr"/>
            <a:lstStyle/>
            <a:p>
              <a:endParaRPr lang="en-US"/>
            </a:p>
          </p:txBody>
        </p:sp>
        <p:sp>
          <p:nvSpPr>
            <p:cNvPr id="2525" name="Freeform: Shape 2524">
              <a:extLst>
                <a:ext uri="{FF2B5EF4-FFF2-40B4-BE49-F238E27FC236}">
                  <a16:creationId xmlns:a16="http://schemas.microsoft.com/office/drawing/2014/main" id="{9D37AE2C-8F01-4E9D-A792-2A862B956888}"/>
                </a:ext>
              </a:extLst>
            </p:cNvPr>
            <p:cNvSpPr/>
            <p:nvPr/>
          </p:nvSpPr>
          <p:spPr>
            <a:xfrm>
              <a:off x="8862128" y="388562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482 h 26890"/>
                <a:gd name="connsiteX6" fmla="*/ 24201 w 26890"/>
                <a:gd name="connsiteY6" fmla="*/ 14342 h 26890"/>
                <a:gd name="connsiteX7" fmla="*/ 14342 w 26890"/>
                <a:gd name="connsiteY7" fmla="*/ 24201 h 26890"/>
                <a:gd name="connsiteX8" fmla="*/ 4482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274" y="28683"/>
                    <a:pt x="14342" y="28683"/>
                  </a:cubicBezTo>
                  <a:close/>
                  <a:moveTo>
                    <a:pt x="14342" y="4482"/>
                  </a:moveTo>
                  <a:cubicBezTo>
                    <a:pt x="19720" y="4482"/>
                    <a:pt x="24201" y="8963"/>
                    <a:pt x="24201" y="14342"/>
                  </a:cubicBezTo>
                  <a:cubicBezTo>
                    <a:pt x="24201" y="19720"/>
                    <a:pt x="19720" y="24201"/>
                    <a:pt x="14342" y="24201"/>
                  </a:cubicBezTo>
                  <a:cubicBezTo>
                    <a:pt x="8963" y="24201"/>
                    <a:pt x="4482" y="19720"/>
                    <a:pt x="4482" y="14342"/>
                  </a:cubicBezTo>
                  <a:cubicBezTo>
                    <a:pt x="4482" y="8963"/>
                    <a:pt x="8963" y="4482"/>
                    <a:pt x="14342" y="4482"/>
                  </a:cubicBezTo>
                  <a:close/>
                </a:path>
              </a:pathLst>
            </a:custGeom>
            <a:solidFill>
              <a:srgbClr val="231F20"/>
            </a:solidFill>
            <a:ln w="4477" cap="flat">
              <a:noFill/>
              <a:prstDash val="solid"/>
              <a:miter/>
            </a:ln>
          </p:spPr>
          <p:txBody>
            <a:bodyPr rtlCol="0" anchor="ctr"/>
            <a:lstStyle/>
            <a:p>
              <a:endParaRPr lang="en-US"/>
            </a:p>
          </p:txBody>
        </p:sp>
        <p:sp>
          <p:nvSpPr>
            <p:cNvPr id="2526" name="Freeform: Shape 2525">
              <a:extLst>
                <a:ext uri="{FF2B5EF4-FFF2-40B4-BE49-F238E27FC236}">
                  <a16:creationId xmlns:a16="http://schemas.microsoft.com/office/drawing/2014/main" id="{D2640C51-177E-444E-9990-96D0978F9F21}"/>
                </a:ext>
              </a:extLst>
            </p:cNvPr>
            <p:cNvSpPr/>
            <p:nvPr/>
          </p:nvSpPr>
          <p:spPr>
            <a:xfrm>
              <a:off x="8846890" y="3907581"/>
              <a:ext cx="152378" cy="98597"/>
            </a:xfrm>
            <a:custGeom>
              <a:avLst/>
              <a:gdLst>
                <a:gd name="connsiteX0" fmla="*/ 139829 w 152377"/>
                <a:gd name="connsiteY0" fmla="*/ 10308 h 98597"/>
                <a:gd name="connsiteX1" fmla="*/ 110250 w 152377"/>
                <a:gd name="connsiteY1" fmla="*/ 10308 h 98597"/>
                <a:gd name="connsiteX2" fmla="*/ 108457 w 152377"/>
                <a:gd name="connsiteY2" fmla="*/ 11204 h 98597"/>
                <a:gd name="connsiteX3" fmla="*/ 94564 w 152377"/>
                <a:gd name="connsiteY3" fmla="*/ 0 h 98597"/>
                <a:gd name="connsiteX4" fmla="*/ 58262 w 152377"/>
                <a:gd name="connsiteY4" fmla="*/ 0 h 98597"/>
                <a:gd name="connsiteX5" fmla="*/ 44369 w 152377"/>
                <a:gd name="connsiteY5" fmla="*/ 11204 h 98597"/>
                <a:gd name="connsiteX6" fmla="*/ 42576 w 152377"/>
                <a:gd name="connsiteY6" fmla="*/ 10308 h 98597"/>
                <a:gd name="connsiteX7" fmla="*/ 12997 w 152377"/>
                <a:gd name="connsiteY7" fmla="*/ 10308 h 98597"/>
                <a:gd name="connsiteX8" fmla="*/ 0 w 152377"/>
                <a:gd name="connsiteY8" fmla="*/ 23305 h 98597"/>
                <a:gd name="connsiteX9" fmla="*/ 0 w 152377"/>
                <a:gd name="connsiteY9" fmla="*/ 56021 h 98597"/>
                <a:gd name="connsiteX10" fmla="*/ 5826 w 152377"/>
                <a:gd name="connsiteY10" fmla="*/ 61847 h 98597"/>
                <a:gd name="connsiteX11" fmla="*/ 10756 w 152377"/>
                <a:gd name="connsiteY11" fmla="*/ 61847 h 98597"/>
                <a:gd name="connsiteX12" fmla="*/ 10756 w 152377"/>
                <a:gd name="connsiteY12" fmla="*/ 95012 h 98597"/>
                <a:gd name="connsiteX13" fmla="*/ 16582 w 152377"/>
                <a:gd name="connsiteY13" fmla="*/ 100838 h 98597"/>
                <a:gd name="connsiteX14" fmla="*/ 41680 w 152377"/>
                <a:gd name="connsiteY14" fmla="*/ 100838 h 98597"/>
                <a:gd name="connsiteX15" fmla="*/ 47506 w 152377"/>
                <a:gd name="connsiteY15" fmla="*/ 95012 h 98597"/>
                <a:gd name="connsiteX16" fmla="*/ 47506 w 152377"/>
                <a:gd name="connsiteY16" fmla="*/ 56918 h 98597"/>
                <a:gd name="connsiteX17" fmla="*/ 50195 w 152377"/>
                <a:gd name="connsiteY17" fmla="*/ 57366 h 98597"/>
                <a:gd name="connsiteX18" fmla="*/ 56021 w 152377"/>
                <a:gd name="connsiteY18" fmla="*/ 57366 h 98597"/>
                <a:gd name="connsiteX19" fmla="*/ 56021 w 152377"/>
                <a:gd name="connsiteY19" fmla="*/ 94564 h 98597"/>
                <a:gd name="connsiteX20" fmla="*/ 62295 w 152377"/>
                <a:gd name="connsiteY20" fmla="*/ 100838 h 98597"/>
                <a:gd name="connsiteX21" fmla="*/ 90530 w 152377"/>
                <a:gd name="connsiteY21" fmla="*/ 100838 h 98597"/>
                <a:gd name="connsiteX22" fmla="*/ 96805 w 152377"/>
                <a:gd name="connsiteY22" fmla="*/ 94564 h 98597"/>
                <a:gd name="connsiteX23" fmla="*/ 96805 w 152377"/>
                <a:gd name="connsiteY23" fmla="*/ 57366 h 98597"/>
                <a:gd name="connsiteX24" fmla="*/ 102631 w 152377"/>
                <a:gd name="connsiteY24" fmla="*/ 57366 h 98597"/>
                <a:gd name="connsiteX25" fmla="*/ 105320 w 152377"/>
                <a:gd name="connsiteY25" fmla="*/ 56918 h 98597"/>
                <a:gd name="connsiteX26" fmla="*/ 105320 w 152377"/>
                <a:gd name="connsiteY26" fmla="*/ 95012 h 98597"/>
                <a:gd name="connsiteX27" fmla="*/ 111146 w 152377"/>
                <a:gd name="connsiteY27" fmla="*/ 100838 h 98597"/>
                <a:gd name="connsiteX28" fmla="*/ 136244 w 152377"/>
                <a:gd name="connsiteY28" fmla="*/ 100838 h 98597"/>
                <a:gd name="connsiteX29" fmla="*/ 142070 w 152377"/>
                <a:gd name="connsiteY29" fmla="*/ 95012 h 98597"/>
                <a:gd name="connsiteX30" fmla="*/ 142070 w 152377"/>
                <a:gd name="connsiteY30" fmla="*/ 61847 h 98597"/>
                <a:gd name="connsiteX31" fmla="*/ 147000 w 152377"/>
                <a:gd name="connsiteY31" fmla="*/ 61847 h 98597"/>
                <a:gd name="connsiteX32" fmla="*/ 152826 w 152377"/>
                <a:gd name="connsiteY32" fmla="*/ 56021 h 98597"/>
                <a:gd name="connsiteX33" fmla="*/ 152826 w 152377"/>
                <a:gd name="connsiteY33" fmla="*/ 23305 h 98597"/>
                <a:gd name="connsiteX34" fmla="*/ 139829 w 152377"/>
                <a:gd name="connsiteY34" fmla="*/ 10308 h 98597"/>
                <a:gd name="connsiteX35" fmla="*/ 43473 w 152377"/>
                <a:gd name="connsiteY35" fmla="*/ 51092 h 98597"/>
                <a:gd name="connsiteX36" fmla="*/ 43473 w 152377"/>
                <a:gd name="connsiteY36" fmla="*/ 94564 h 98597"/>
                <a:gd name="connsiteX37" fmla="*/ 42128 w 152377"/>
                <a:gd name="connsiteY37" fmla="*/ 95909 h 98597"/>
                <a:gd name="connsiteX38" fmla="*/ 31820 w 152377"/>
                <a:gd name="connsiteY38" fmla="*/ 95909 h 98597"/>
                <a:gd name="connsiteX39" fmla="*/ 31820 w 152377"/>
                <a:gd name="connsiteY39" fmla="*/ 59159 h 98597"/>
                <a:gd name="connsiteX40" fmla="*/ 29579 w 152377"/>
                <a:gd name="connsiteY40" fmla="*/ 56918 h 98597"/>
                <a:gd name="connsiteX41" fmla="*/ 27338 w 152377"/>
                <a:gd name="connsiteY41" fmla="*/ 59159 h 98597"/>
                <a:gd name="connsiteX42" fmla="*/ 27338 w 152377"/>
                <a:gd name="connsiteY42" fmla="*/ 95909 h 98597"/>
                <a:gd name="connsiteX43" fmla="*/ 17030 w 152377"/>
                <a:gd name="connsiteY43" fmla="*/ 95909 h 98597"/>
                <a:gd name="connsiteX44" fmla="*/ 15686 w 152377"/>
                <a:gd name="connsiteY44" fmla="*/ 94564 h 98597"/>
                <a:gd name="connsiteX45" fmla="*/ 15686 w 152377"/>
                <a:gd name="connsiteY45" fmla="*/ 28235 h 98597"/>
                <a:gd name="connsiteX46" fmla="*/ 13445 w 152377"/>
                <a:gd name="connsiteY46" fmla="*/ 25994 h 98597"/>
                <a:gd name="connsiteX47" fmla="*/ 11204 w 152377"/>
                <a:gd name="connsiteY47" fmla="*/ 28235 h 98597"/>
                <a:gd name="connsiteX48" fmla="*/ 11204 w 152377"/>
                <a:gd name="connsiteY48" fmla="*/ 57366 h 98597"/>
                <a:gd name="connsiteX49" fmla="*/ 6274 w 152377"/>
                <a:gd name="connsiteY49" fmla="*/ 57366 h 98597"/>
                <a:gd name="connsiteX50" fmla="*/ 4930 w 152377"/>
                <a:gd name="connsiteY50" fmla="*/ 56021 h 98597"/>
                <a:gd name="connsiteX51" fmla="*/ 4930 w 152377"/>
                <a:gd name="connsiteY51" fmla="*/ 23305 h 98597"/>
                <a:gd name="connsiteX52" fmla="*/ 13445 w 152377"/>
                <a:gd name="connsiteY52" fmla="*/ 14790 h 98597"/>
                <a:gd name="connsiteX53" fmla="*/ 43024 w 152377"/>
                <a:gd name="connsiteY53" fmla="*/ 14790 h 98597"/>
                <a:gd name="connsiteX54" fmla="*/ 44369 w 152377"/>
                <a:gd name="connsiteY54" fmla="*/ 14342 h 98597"/>
                <a:gd name="connsiteX55" fmla="*/ 44369 w 152377"/>
                <a:gd name="connsiteY55" fmla="*/ 14342 h 98597"/>
                <a:gd name="connsiteX56" fmla="*/ 44369 w 152377"/>
                <a:gd name="connsiteY56" fmla="*/ 49747 h 98597"/>
                <a:gd name="connsiteX57" fmla="*/ 43473 w 152377"/>
                <a:gd name="connsiteY57" fmla="*/ 51092 h 98597"/>
                <a:gd name="connsiteX58" fmla="*/ 104424 w 152377"/>
                <a:gd name="connsiteY58" fmla="*/ 51092 h 98597"/>
                <a:gd name="connsiteX59" fmla="*/ 102631 w 152377"/>
                <a:gd name="connsiteY59" fmla="*/ 52884 h 98597"/>
                <a:gd name="connsiteX60" fmla="*/ 96805 w 152377"/>
                <a:gd name="connsiteY60" fmla="*/ 52884 h 98597"/>
                <a:gd name="connsiteX61" fmla="*/ 96805 w 152377"/>
                <a:gd name="connsiteY61" fmla="*/ 20168 h 98597"/>
                <a:gd name="connsiteX62" fmla="*/ 94564 w 152377"/>
                <a:gd name="connsiteY62" fmla="*/ 17927 h 98597"/>
                <a:gd name="connsiteX63" fmla="*/ 92323 w 152377"/>
                <a:gd name="connsiteY63" fmla="*/ 20168 h 98597"/>
                <a:gd name="connsiteX64" fmla="*/ 92323 w 152377"/>
                <a:gd name="connsiteY64" fmla="*/ 94564 h 98597"/>
                <a:gd name="connsiteX65" fmla="*/ 90530 w 152377"/>
                <a:gd name="connsiteY65" fmla="*/ 96357 h 98597"/>
                <a:gd name="connsiteX66" fmla="*/ 78878 w 152377"/>
                <a:gd name="connsiteY66" fmla="*/ 96357 h 98597"/>
                <a:gd name="connsiteX67" fmla="*/ 78878 w 152377"/>
                <a:gd name="connsiteY67" fmla="*/ 55125 h 98597"/>
                <a:gd name="connsiteX68" fmla="*/ 76637 w 152377"/>
                <a:gd name="connsiteY68" fmla="*/ 52884 h 98597"/>
                <a:gd name="connsiteX69" fmla="*/ 74396 w 152377"/>
                <a:gd name="connsiteY69" fmla="*/ 55125 h 98597"/>
                <a:gd name="connsiteX70" fmla="*/ 74396 w 152377"/>
                <a:gd name="connsiteY70" fmla="*/ 96357 h 98597"/>
                <a:gd name="connsiteX71" fmla="*/ 62744 w 152377"/>
                <a:gd name="connsiteY71" fmla="*/ 96357 h 98597"/>
                <a:gd name="connsiteX72" fmla="*/ 60951 w 152377"/>
                <a:gd name="connsiteY72" fmla="*/ 94564 h 98597"/>
                <a:gd name="connsiteX73" fmla="*/ 60951 w 152377"/>
                <a:gd name="connsiteY73" fmla="*/ 20168 h 98597"/>
                <a:gd name="connsiteX74" fmla="*/ 58710 w 152377"/>
                <a:gd name="connsiteY74" fmla="*/ 17927 h 98597"/>
                <a:gd name="connsiteX75" fmla="*/ 56469 w 152377"/>
                <a:gd name="connsiteY75" fmla="*/ 20168 h 98597"/>
                <a:gd name="connsiteX76" fmla="*/ 56469 w 152377"/>
                <a:gd name="connsiteY76" fmla="*/ 52884 h 98597"/>
                <a:gd name="connsiteX77" fmla="*/ 50643 w 152377"/>
                <a:gd name="connsiteY77" fmla="*/ 52884 h 98597"/>
                <a:gd name="connsiteX78" fmla="*/ 48850 w 152377"/>
                <a:gd name="connsiteY78" fmla="*/ 51092 h 98597"/>
                <a:gd name="connsiteX79" fmla="*/ 48850 w 152377"/>
                <a:gd name="connsiteY79" fmla="*/ 14342 h 98597"/>
                <a:gd name="connsiteX80" fmla="*/ 58710 w 152377"/>
                <a:gd name="connsiteY80" fmla="*/ 4482 h 98597"/>
                <a:gd name="connsiteX81" fmla="*/ 95012 w 152377"/>
                <a:gd name="connsiteY81" fmla="*/ 4482 h 98597"/>
                <a:gd name="connsiteX82" fmla="*/ 104872 w 152377"/>
                <a:gd name="connsiteY82" fmla="*/ 14342 h 98597"/>
                <a:gd name="connsiteX83" fmla="*/ 104872 w 152377"/>
                <a:gd name="connsiteY83" fmla="*/ 51092 h 98597"/>
                <a:gd name="connsiteX84" fmla="*/ 148344 w 152377"/>
                <a:gd name="connsiteY84" fmla="*/ 56021 h 98597"/>
                <a:gd name="connsiteX85" fmla="*/ 147000 w 152377"/>
                <a:gd name="connsiteY85" fmla="*/ 57366 h 98597"/>
                <a:gd name="connsiteX86" fmla="*/ 142070 w 152377"/>
                <a:gd name="connsiteY86" fmla="*/ 57366 h 98597"/>
                <a:gd name="connsiteX87" fmla="*/ 142070 w 152377"/>
                <a:gd name="connsiteY87" fmla="*/ 28235 h 98597"/>
                <a:gd name="connsiteX88" fmla="*/ 139829 w 152377"/>
                <a:gd name="connsiteY88" fmla="*/ 25994 h 98597"/>
                <a:gd name="connsiteX89" fmla="*/ 137588 w 152377"/>
                <a:gd name="connsiteY89" fmla="*/ 28235 h 98597"/>
                <a:gd name="connsiteX90" fmla="*/ 137588 w 152377"/>
                <a:gd name="connsiteY90" fmla="*/ 94564 h 98597"/>
                <a:gd name="connsiteX91" fmla="*/ 136244 w 152377"/>
                <a:gd name="connsiteY91" fmla="*/ 95909 h 98597"/>
                <a:gd name="connsiteX92" fmla="*/ 125936 w 152377"/>
                <a:gd name="connsiteY92" fmla="*/ 95909 h 98597"/>
                <a:gd name="connsiteX93" fmla="*/ 125936 w 152377"/>
                <a:gd name="connsiteY93" fmla="*/ 59159 h 98597"/>
                <a:gd name="connsiteX94" fmla="*/ 123695 w 152377"/>
                <a:gd name="connsiteY94" fmla="*/ 56918 h 98597"/>
                <a:gd name="connsiteX95" fmla="*/ 121454 w 152377"/>
                <a:gd name="connsiteY95" fmla="*/ 59159 h 98597"/>
                <a:gd name="connsiteX96" fmla="*/ 121454 w 152377"/>
                <a:gd name="connsiteY96" fmla="*/ 95909 h 98597"/>
                <a:gd name="connsiteX97" fmla="*/ 111146 w 152377"/>
                <a:gd name="connsiteY97" fmla="*/ 95909 h 98597"/>
                <a:gd name="connsiteX98" fmla="*/ 109802 w 152377"/>
                <a:gd name="connsiteY98" fmla="*/ 94564 h 98597"/>
                <a:gd name="connsiteX99" fmla="*/ 109802 w 152377"/>
                <a:gd name="connsiteY99" fmla="*/ 51092 h 98597"/>
                <a:gd name="connsiteX100" fmla="*/ 108905 w 152377"/>
                <a:gd name="connsiteY100" fmla="*/ 49299 h 98597"/>
                <a:gd name="connsiteX101" fmla="*/ 108905 w 152377"/>
                <a:gd name="connsiteY101" fmla="*/ 13893 h 98597"/>
                <a:gd name="connsiteX102" fmla="*/ 108905 w 152377"/>
                <a:gd name="connsiteY102" fmla="*/ 13893 h 98597"/>
                <a:gd name="connsiteX103" fmla="*/ 110250 w 152377"/>
                <a:gd name="connsiteY103" fmla="*/ 14342 h 98597"/>
                <a:gd name="connsiteX104" fmla="*/ 139829 w 152377"/>
                <a:gd name="connsiteY104" fmla="*/ 14342 h 98597"/>
                <a:gd name="connsiteX105" fmla="*/ 148344 w 152377"/>
                <a:gd name="connsiteY105" fmla="*/ 22857 h 98597"/>
                <a:gd name="connsiteX106" fmla="*/ 148344 w 152377"/>
                <a:gd name="connsiteY106" fmla="*/ 56021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52377" h="98597">
                  <a:moveTo>
                    <a:pt x="139829" y="10308"/>
                  </a:moveTo>
                  <a:lnTo>
                    <a:pt x="110250" y="10308"/>
                  </a:lnTo>
                  <a:cubicBezTo>
                    <a:pt x="109353" y="10308"/>
                    <a:pt x="108905" y="10756"/>
                    <a:pt x="108457" y="11204"/>
                  </a:cubicBezTo>
                  <a:cubicBezTo>
                    <a:pt x="107113" y="4930"/>
                    <a:pt x="101286" y="0"/>
                    <a:pt x="94564" y="0"/>
                  </a:cubicBezTo>
                  <a:lnTo>
                    <a:pt x="58262" y="0"/>
                  </a:lnTo>
                  <a:cubicBezTo>
                    <a:pt x="51540" y="0"/>
                    <a:pt x="45713" y="4930"/>
                    <a:pt x="44369" y="11204"/>
                  </a:cubicBezTo>
                  <a:cubicBezTo>
                    <a:pt x="43921" y="10756"/>
                    <a:pt x="43473" y="10308"/>
                    <a:pt x="42576" y="10308"/>
                  </a:cubicBezTo>
                  <a:lnTo>
                    <a:pt x="12997" y="10308"/>
                  </a:lnTo>
                  <a:cubicBezTo>
                    <a:pt x="5826" y="10308"/>
                    <a:pt x="0" y="16134"/>
                    <a:pt x="0" y="23305"/>
                  </a:cubicBezTo>
                  <a:lnTo>
                    <a:pt x="0" y="56021"/>
                  </a:lnTo>
                  <a:cubicBezTo>
                    <a:pt x="0" y="59159"/>
                    <a:pt x="2689" y="61847"/>
                    <a:pt x="5826" y="61847"/>
                  </a:cubicBezTo>
                  <a:lnTo>
                    <a:pt x="10756" y="61847"/>
                  </a:lnTo>
                  <a:lnTo>
                    <a:pt x="10756" y="95012"/>
                  </a:lnTo>
                  <a:cubicBezTo>
                    <a:pt x="10756" y="98149"/>
                    <a:pt x="13445" y="100838"/>
                    <a:pt x="16582" y="100838"/>
                  </a:cubicBezTo>
                  <a:lnTo>
                    <a:pt x="41680" y="100838"/>
                  </a:lnTo>
                  <a:cubicBezTo>
                    <a:pt x="44817" y="100838"/>
                    <a:pt x="47506" y="98149"/>
                    <a:pt x="47506" y="95012"/>
                  </a:cubicBezTo>
                  <a:lnTo>
                    <a:pt x="47506" y="56918"/>
                  </a:lnTo>
                  <a:cubicBezTo>
                    <a:pt x="48402" y="57366"/>
                    <a:pt x="49299" y="57366"/>
                    <a:pt x="50195" y="57366"/>
                  </a:cubicBezTo>
                  <a:lnTo>
                    <a:pt x="56021" y="57366"/>
                  </a:lnTo>
                  <a:lnTo>
                    <a:pt x="56021" y="94564"/>
                  </a:lnTo>
                  <a:cubicBezTo>
                    <a:pt x="56021" y="98149"/>
                    <a:pt x="58710" y="100838"/>
                    <a:pt x="62295" y="100838"/>
                  </a:cubicBezTo>
                  <a:lnTo>
                    <a:pt x="90530" y="100838"/>
                  </a:lnTo>
                  <a:cubicBezTo>
                    <a:pt x="94116" y="100838"/>
                    <a:pt x="96805" y="98149"/>
                    <a:pt x="96805" y="94564"/>
                  </a:cubicBezTo>
                  <a:lnTo>
                    <a:pt x="96805" y="57366"/>
                  </a:lnTo>
                  <a:lnTo>
                    <a:pt x="102631" y="57366"/>
                  </a:lnTo>
                  <a:cubicBezTo>
                    <a:pt x="103527" y="57366"/>
                    <a:pt x="104424" y="57366"/>
                    <a:pt x="105320" y="56918"/>
                  </a:cubicBezTo>
                  <a:lnTo>
                    <a:pt x="105320" y="95012"/>
                  </a:lnTo>
                  <a:cubicBezTo>
                    <a:pt x="105320" y="98149"/>
                    <a:pt x="108009" y="100838"/>
                    <a:pt x="111146" y="100838"/>
                  </a:cubicBezTo>
                  <a:lnTo>
                    <a:pt x="136244" y="100838"/>
                  </a:lnTo>
                  <a:cubicBezTo>
                    <a:pt x="139381" y="100838"/>
                    <a:pt x="142070" y="98149"/>
                    <a:pt x="142070" y="95012"/>
                  </a:cubicBezTo>
                  <a:lnTo>
                    <a:pt x="142070" y="61847"/>
                  </a:lnTo>
                  <a:lnTo>
                    <a:pt x="147000" y="61847"/>
                  </a:lnTo>
                  <a:cubicBezTo>
                    <a:pt x="150137" y="61847"/>
                    <a:pt x="152826" y="59159"/>
                    <a:pt x="152826" y="56021"/>
                  </a:cubicBezTo>
                  <a:lnTo>
                    <a:pt x="152826" y="23305"/>
                  </a:lnTo>
                  <a:cubicBezTo>
                    <a:pt x="152826" y="16134"/>
                    <a:pt x="147000" y="10308"/>
                    <a:pt x="139829" y="10308"/>
                  </a:cubicBezTo>
                  <a:close/>
                  <a:moveTo>
                    <a:pt x="43473" y="51092"/>
                  </a:moveTo>
                  <a:lnTo>
                    <a:pt x="43473" y="94564"/>
                  </a:lnTo>
                  <a:cubicBezTo>
                    <a:pt x="43473" y="95460"/>
                    <a:pt x="43024" y="95909"/>
                    <a:pt x="42128" y="95909"/>
                  </a:cubicBezTo>
                  <a:lnTo>
                    <a:pt x="31820" y="95909"/>
                  </a:lnTo>
                  <a:lnTo>
                    <a:pt x="31820" y="59159"/>
                  </a:lnTo>
                  <a:cubicBezTo>
                    <a:pt x="31820" y="57814"/>
                    <a:pt x="30924" y="56918"/>
                    <a:pt x="29579" y="56918"/>
                  </a:cubicBezTo>
                  <a:cubicBezTo>
                    <a:pt x="28235" y="56918"/>
                    <a:pt x="27338" y="57814"/>
                    <a:pt x="27338" y="59159"/>
                  </a:cubicBezTo>
                  <a:lnTo>
                    <a:pt x="27338" y="95909"/>
                  </a:lnTo>
                  <a:lnTo>
                    <a:pt x="17030" y="95909"/>
                  </a:lnTo>
                  <a:cubicBezTo>
                    <a:pt x="16134" y="95909"/>
                    <a:pt x="15686" y="95460"/>
                    <a:pt x="15686" y="94564"/>
                  </a:cubicBezTo>
                  <a:lnTo>
                    <a:pt x="15686" y="28235"/>
                  </a:lnTo>
                  <a:cubicBezTo>
                    <a:pt x="15686" y="26890"/>
                    <a:pt x="14790" y="25994"/>
                    <a:pt x="13445" y="25994"/>
                  </a:cubicBezTo>
                  <a:cubicBezTo>
                    <a:pt x="12101" y="25994"/>
                    <a:pt x="11204" y="26890"/>
                    <a:pt x="11204" y="28235"/>
                  </a:cubicBezTo>
                  <a:lnTo>
                    <a:pt x="11204" y="57366"/>
                  </a:lnTo>
                  <a:lnTo>
                    <a:pt x="6274" y="57366"/>
                  </a:lnTo>
                  <a:cubicBezTo>
                    <a:pt x="5378" y="57366"/>
                    <a:pt x="4930" y="56918"/>
                    <a:pt x="4930" y="56021"/>
                  </a:cubicBezTo>
                  <a:lnTo>
                    <a:pt x="4930" y="23305"/>
                  </a:lnTo>
                  <a:cubicBezTo>
                    <a:pt x="4930" y="18823"/>
                    <a:pt x="8963" y="14790"/>
                    <a:pt x="13445" y="14790"/>
                  </a:cubicBezTo>
                  <a:lnTo>
                    <a:pt x="43024" y="14790"/>
                  </a:lnTo>
                  <a:cubicBezTo>
                    <a:pt x="43473" y="14790"/>
                    <a:pt x="43921" y="14790"/>
                    <a:pt x="44369" y="14342"/>
                  </a:cubicBezTo>
                  <a:cubicBezTo>
                    <a:pt x="44369" y="14342"/>
                    <a:pt x="44369" y="14342"/>
                    <a:pt x="44369" y="14342"/>
                  </a:cubicBezTo>
                  <a:lnTo>
                    <a:pt x="44369" y="49747"/>
                  </a:lnTo>
                  <a:cubicBezTo>
                    <a:pt x="43921" y="50195"/>
                    <a:pt x="43473" y="50643"/>
                    <a:pt x="43473" y="51092"/>
                  </a:cubicBezTo>
                  <a:close/>
                  <a:moveTo>
                    <a:pt x="104424" y="51092"/>
                  </a:moveTo>
                  <a:cubicBezTo>
                    <a:pt x="104424" y="51988"/>
                    <a:pt x="103527" y="52884"/>
                    <a:pt x="102631" y="52884"/>
                  </a:cubicBezTo>
                  <a:lnTo>
                    <a:pt x="96805" y="52884"/>
                  </a:lnTo>
                  <a:lnTo>
                    <a:pt x="96805" y="20168"/>
                  </a:lnTo>
                  <a:cubicBezTo>
                    <a:pt x="96805" y="18823"/>
                    <a:pt x="95908" y="17927"/>
                    <a:pt x="94564" y="17927"/>
                  </a:cubicBezTo>
                  <a:cubicBezTo>
                    <a:pt x="93219" y="17927"/>
                    <a:pt x="92323" y="18823"/>
                    <a:pt x="92323" y="20168"/>
                  </a:cubicBezTo>
                  <a:lnTo>
                    <a:pt x="92323" y="94564"/>
                  </a:lnTo>
                  <a:cubicBezTo>
                    <a:pt x="92323" y="95460"/>
                    <a:pt x="91427" y="96357"/>
                    <a:pt x="90530" y="96357"/>
                  </a:cubicBezTo>
                  <a:lnTo>
                    <a:pt x="78878" y="96357"/>
                  </a:lnTo>
                  <a:lnTo>
                    <a:pt x="78878" y="55125"/>
                  </a:lnTo>
                  <a:cubicBezTo>
                    <a:pt x="78878" y="53780"/>
                    <a:pt x="77981" y="52884"/>
                    <a:pt x="76637" y="52884"/>
                  </a:cubicBezTo>
                  <a:cubicBezTo>
                    <a:pt x="75293" y="52884"/>
                    <a:pt x="74396" y="53780"/>
                    <a:pt x="74396" y="55125"/>
                  </a:cubicBezTo>
                  <a:lnTo>
                    <a:pt x="74396" y="96357"/>
                  </a:lnTo>
                  <a:lnTo>
                    <a:pt x="62744" y="96357"/>
                  </a:lnTo>
                  <a:cubicBezTo>
                    <a:pt x="61847" y="96357"/>
                    <a:pt x="60951" y="95460"/>
                    <a:pt x="60951" y="94564"/>
                  </a:cubicBezTo>
                  <a:lnTo>
                    <a:pt x="60951" y="20168"/>
                  </a:lnTo>
                  <a:cubicBezTo>
                    <a:pt x="60951" y="18823"/>
                    <a:pt x="60055" y="17927"/>
                    <a:pt x="58710" y="17927"/>
                  </a:cubicBezTo>
                  <a:cubicBezTo>
                    <a:pt x="57366" y="17927"/>
                    <a:pt x="56469" y="18823"/>
                    <a:pt x="56469" y="20168"/>
                  </a:cubicBezTo>
                  <a:lnTo>
                    <a:pt x="56469" y="52884"/>
                  </a:lnTo>
                  <a:lnTo>
                    <a:pt x="50643" y="52884"/>
                  </a:lnTo>
                  <a:cubicBezTo>
                    <a:pt x="49747" y="52884"/>
                    <a:pt x="48850" y="51988"/>
                    <a:pt x="48850" y="51092"/>
                  </a:cubicBezTo>
                  <a:lnTo>
                    <a:pt x="48850" y="14342"/>
                  </a:lnTo>
                  <a:cubicBezTo>
                    <a:pt x="48850" y="8963"/>
                    <a:pt x="53332" y="4482"/>
                    <a:pt x="58710" y="4482"/>
                  </a:cubicBezTo>
                  <a:lnTo>
                    <a:pt x="95012" y="4482"/>
                  </a:lnTo>
                  <a:cubicBezTo>
                    <a:pt x="100390" y="4482"/>
                    <a:pt x="104872" y="8963"/>
                    <a:pt x="104872" y="14342"/>
                  </a:cubicBezTo>
                  <a:lnTo>
                    <a:pt x="104872" y="51092"/>
                  </a:lnTo>
                  <a:close/>
                  <a:moveTo>
                    <a:pt x="148344" y="56021"/>
                  </a:moveTo>
                  <a:cubicBezTo>
                    <a:pt x="148344" y="56918"/>
                    <a:pt x="147896" y="57366"/>
                    <a:pt x="147000" y="57366"/>
                  </a:cubicBezTo>
                  <a:lnTo>
                    <a:pt x="142070" y="57366"/>
                  </a:lnTo>
                  <a:lnTo>
                    <a:pt x="142070" y="28235"/>
                  </a:lnTo>
                  <a:cubicBezTo>
                    <a:pt x="142070" y="26890"/>
                    <a:pt x="141174" y="25994"/>
                    <a:pt x="139829" y="25994"/>
                  </a:cubicBezTo>
                  <a:cubicBezTo>
                    <a:pt x="138484" y="25994"/>
                    <a:pt x="137588" y="26890"/>
                    <a:pt x="137588" y="28235"/>
                  </a:cubicBezTo>
                  <a:lnTo>
                    <a:pt x="137588" y="94564"/>
                  </a:lnTo>
                  <a:cubicBezTo>
                    <a:pt x="137588" y="95460"/>
                    <a:pt x="137140" y="95909"/>
                    <a:pt x="136244" y="95909"/>
                  </a:cubicBezTo>
                  <a:lnTo>
                    <a:pt x="125936" y="95909"/>
                  </a:lnTo>
                  <a:lnTo>
                    <a:pt x="125936" y="59159"/>
                  </a:lnTo>
                  <a:cubicBezTo>
                    <a:pt x="125936" y="57814"/>
                    <a:pt x="125039" y="56918"/>
                    <a:pt x="123695" y="56918"/>
                  </a:cubicBezTo>
                  <a:cubicBezTo>
                    <a:pt x="122350" y="56918"/>
                    <a:pt x="121454" y="57814"/>
                    <a:pt x="121454" y="59159"/>
                  </a:cubicBezTo>
                  <a:lnTo>
                    <a:pt x="121454" y="95909"/>
                  </a:lnTo>
                  <a:lnTo>
                    <a:pt x="111146" y="95909"/>
                  </a:lnTo>
                  <a:cubicBezTo>
                    <a:pt x="110250" y="95909"/>
                    <a:pt x="109802" y="95460"/>
                    <a:pt x="109802" y="94564"/>
                  </a:cubicBezTo>
                  <a:lnTo>
                    <a:pt x="109802" y="51092"/>
                  </a:lnTo>
                  <a:cubicBezTo>
                    <a:pt x="109802" y="50195"/>
                    <a:pt x="109353" y="49747"/>
                    <a:pt x="108905" y="49299"/>
                  </a:cubicBezTo>
                  <a:lnTo>
                    <a:pt x="108905" y="13893"/>
                  </a:lnTo>
                  <a:cubicBezTo>
                    <a:pt x="108905" y="13893"/>
                    <a:pt x="108905" y="13893"/>
                    <a:pt x="108905" y="13893"/>
                  </a:cubicBezTo>
                  <a:cubicBezTo>
                    <a:pt x="109353" y="14342"/>
                    <a:pt x="109802" y="14342"/>
                    <a:pt x="110250" y="14342"/>
                  </a:cubicBezTo>
                  <a:lnTo>
                    <a:pt x="139829" y="14342"/>
                  </a:lnTo>
                  <a:cubicBezTo>
                    <a:pt x="144311" y="14342"/>
                    <a:pt x="148344" y="18375"/>
                    <a:pt x="148344" y="22857"/>
                  </a:cubicBezTo>
                  <a:lnTo>
                    <a:pt x="148344" y="56021"/>
                  </a:lnTo>
                  <a:close/>
                </a:path>
              </a:pathLst>
            </a:custGeom>
            <a:solidFill>
              <a:srgbClr val="231F20"/>
            </a:solidFill>
            <a:ln w="4477" cap="flat">
              <a:noFill/>
              <a:prstDash val="solid"/>
              <a:miter/>
            </a:ln>
          </p:spPr>
          <p:txBody>
            <a:bodyPr rtlCol="0" anchor="ctr"/>
            <a:lstStyle/>
            <a:p>
              <a:endParaRPr lang="en-US"/>
            </a:p>
          </p:txBody>
        </p:sp>
        <p:sp>
          <p:nvSpPr>
            <p:cNvPr id="2527" name="Freeform: Shape 2526">
              <a:extLst>
                <a:ext uri="{FF2B5EF4-FFF2-40B4-BE49-F238E27FC236}">
                  <a16:creationId xmlns:a16="http://schemas.microsoft.com/office/drawing/2014/main" id="{010EC496-0A53-4B6F-B0BC-115E8A8B6B9F}"/>
                </a:ext>
              </a:extLst>
            </p:cNvPr>
            <p:cNvSpPr/>
            <p:nvPr/>
          </p:nvSpPr>
          <p:spPr>
            <a:xfrm>
              <a:off x="8956243" y="388562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482 h 26890"/>
                <a:gd name="connsiteX6" fmla="*/ 24201 w 26890"/>
                <a:gd name="connsiteY6" fmla="*/ 14342 h 26890"/>
                <a:gd name="connsiteX7" fmla="*/ 14342 w 26890"/>
                <a:gd name="connsiteY7" fmla="*/ 24201 h 26890"/>
                <a:gd name="connsiteX8" fmla="*/ 4482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274" y="28683"/>
                    <a:pt x="14342" y="28683"/>
                  </a:cubicBezTo>
                  <a:close/>
                  <a:moveTo>
                    <a:pt x="14342" y="4482"/>
                  </a:moveTo>
                  <a:cubicBezTo>
                    <a:pt x="19720" y="4482"/>
                    <a:pt x="24201" y="8963"/>
                    <a:pt x="24201" y="14342"/>
                  </a:cubicBezTo>
                  <a:cubicBezTo>
                    <a:pt x="24201" y="19720"/>
                    <a:pt x="19720" y="24201"/>
                    <a:pt x="14342" y="24201"/>
                  </a:cubicBezTo>
                  <a:cubicBezTo>
                    <a:pt x="8963" y="24201"/>
                    <a:pt x="4482" y="19720"/>
                    <a:pt x="4482" y="14342"/>
                  </a:cubicBezTo>
                  <a:cubicBezTo>
                    <a:pt x="4482" y="8963"/>
                    <a:pt x="8963" y="4482"/>
                    <a:pt x="14342" y="4482"/>
                  </a:cubicBezTo>
                  <a:close/>
                </a:path>
              </a:pathLst>
            </a:custGeom>
            <a:solidFill>
              <a:srgbClr val="231F20"/>
            </a:solidFill>
            <a:ln w="4477" cap="flat">
              <a:noFill/>
              <a:prstDash val="solid"/>
              <a:miter/>
            </a:ln>
          </p:spPr>
          <p:txBody>
            <a:bodyPr rtlCol="0" anchor="ctr"/>
            <a:lstStyle/>
            <a:p>
              <a:endParaRPr lang="en-US"/>
            </a:p>
          </p:txBody>
        </p:sp>
      </p:grpSp>
      <p:grpSp>
        <p:nvGrpSpPr>
          <p:cNvPr id="2461" name="Group 2460">
            <a:extLst>
              <a:ext uri="{FF2B5EF4-FFF2-40B4-BE49-F238E27FC236}">
                <a16:creationId xmlns:a16="http://schemas.microsoft.com/office/drawing/2014/main" id="{1EFEC5C3-BA03-4539-AB28-25067068C8DC}"/>
              </a:ext>
              <a:ext uri="{C183D7F6-B498-43B3-948B-1728B52AA6E4}">
                <adec:decorative xmlns:adec="http://schemas.microsoft.com/office/drawing/2017/decorative" val="1"/>
              </a:ext>
            </a:extLst>
          </p:cNvPr>
          <p:cNvGrpSpPr>
            <a:grpSpLocks noChangeAspect="1"/>
          </p:cNvGrpSpPr>
          <p:nvPr/>
        </p:nvGrpSpPr>
        <p:grpSpPr>
          <a:xfrm>
            <a:off x="4576604" y="4862901"/>
            <a:ext cx="125488" cy="160446"/>
            <a:chOff x="10451339" y="3845733"/>
            <a:chExt cx="125488" cy="160446"/>
          </a:xfrm>
        </p:grpSpPr>
        <p:sp>
          <p:nvSpPr>
            <p:cNvPr id="2520" name="Freeform: Shape 2519">
              <a:extLst>
                <a:ext uri="{FF2B5EF4-FFF2-40B4-BE49-F238E27FC236}">
                  <a16:creationId xmlns:a16="http://schemas.microsoft.com/office/drawing/2014/main" id="{8AAEB2F4-ADB1-491B-A672-9EF41C291CE4}"/>
                </a:ext>
              </a:extLst>
            </p:cNvPr>
            <p:cNvSpPr/>
            <p:nvPr/>
          </p:nvSpPr>
          <p:spPr>
            <a:xfrm>
              <a:off x="10451339" y="3970325"/>
              <a:ext cx="125488" cy="35854"/>
            </a:xfrm>
            <a:custGeom>
              <a:avLst/>
              <a:gdLst>
                <a:gd name="connsiteX0" fmla="*/ 103079 w 125487"/>
                <a:gd name="connsiteY0" fmla="*/ 0 h 35853"/>
                <a:gd name="connsiteX1" fmla="*/ 82911 w 125487"/>
                <a:gd name="connsiteY1" fmla="*/ 12997 h 35853"/>
                <a:gd name="connsiteX2" fmla="*/ 62744 w 125487"/>
                <a:gd name="connsiteY2" fmla="*/ 0 h 35853"/>
                <a:gd name="connsiteX3" fmla="*/ 42576 w 125487"/>
                <a:gd name="connsiteY3" fmla="*/ 12997 h 35853"/>
                <a:gd name="connsiteX4" fmla="*/ 22409 w 125487"/>
                <a:gd name="connsiteY4" fmla="*/ 0 h 35853"/>
                <a:gd name="connsiteX5" fmla="*/ 0 w 125487"/>
                <a:gd name="connsiteY5" fmla="*/ 22409 h 35853"/>
                <a:gd name="connsiteX6" fmla="*/ 0 w 125487"/>
                <a:gd name="connsiteY6" fmla="*/ 35854 h 35853"/>
                <a:gd name="connsiteX7" fmla="*/ 2241 w 125487"/>
                <a:gd name="connsiteY7" fmla="*/ 38094 h 35853"/>
                <a:gd name="connsiteX8" fmla="*/ 42576 w 125487"/>
                <a:gd name="connsiteY8" fmla="*/ 38094 h 35853"/>
                <a:gd name="connsiteX9" fmla="*/ 82911 w 125487"/>
                <a:gd name="connsiteY9" fmla="*/ 38094 h 35853"/>
                <a:gd name="connsiteX10" fmla="*/ 123247 w 125487"/>
                <a:gd name="connsiteY10" fmla="*/ 38094 h 35853"/>
                <a:gd name="connsiteX11" fmla="*/ 125488 w 125487"/>
                <a:gd name="connsiteY11" fmla="*/ 35854 h 35853"/>
                <a:gd name="connsiteX12" fmla="*/ 125488 w 125487"/>
                <a:gd name="connsiteY12" fmla="*/ 22409 h 35853"/>
                <a:gd name="connsiteX13" fmla="*/ 103079 w 125487"/>
                <a:gd name="connsiteY13" fmla="*/ 0 h 35853"/>
                <a:gd name="connsiteX14" fmla="*/ 4482 w 125487"/>
                <a:gd name="connsiteY14" fmla="*/ 22409 h 35853"/>
                <a:gd name="connsiteX15" fmla="*/ 22409 w 125487"/>
                <a:gd name="connsiteY15" fmla="*/ 4482 h 35853"/>
                <a:gd name="connsiteX16" fmla="*/ 40335 w 125487"/>
                <a:gd name="connsiteY16" fmla="*/ 22409 h 35853"/>
                <a:gd name="connsiteX17" fmla="*/ 40335 w 125487"/>
                <a:gd name="connsiteY17" fmla="*/ 33613 h 35853"/>
                <a:gd name="connsiteX18" fmla="*/ 4482 w 125487"/>
                <a:gd name="connsiteY18" fmla="*/ 33613 h 35853"/>
                <a:gd name="connsiteX19" fmla="*/ 4482 w 125487"/>
                <a:gd name="connsiteY19" fmla="*/ 22409 h 35853"/>
                <a:gd name="connsiteX20" fmla="*/ 44817 w 125487"/>
                <a:gd name="connsiteY20" fmla="*/ 22409 h 35853"/>
                <a:gd name="connsiteX21" fmla="*/ 44817 w 125487"/>
                <a:gd name="connsiteY21" fmla="*/ 22409 h 35853"/>
                <a:gd name="connsiteX22" fmla="*/ 62744 w 125487"/>
                <a:gd name="connsiteY22" fmla="*/ 4482 h 35853"/>
                <a:gd name="connsiteX23" fmla="*/ 80671 w 125487"/>
                <a:gd name="connsiteY23" fmla="*/ 22409 h 35853"/>
                <a:gd name="connsiteX24" fmla="*/ 80671 w 125487"/>
                <a:gd name="connsiteY24" fmla="*/ 33613 h 35853"/>
                <a:gd name="connsiteX25" fmla="*/ 44817 w 125487"/>
                <a:gd name="connsiteY25" fmla="*/ 33613 h 35853"/>
                <a:gd name="connsiteX26" fmla="*/ 44817 w 125487"/>
                <a:gd name="connsiteY26" fmla="*/ 22409 h 35853"/>
                <a:gd name="connsiteX27" fmla="*/ 121006 w 125487"/>
                <a:gd name="connsiteY27" fmla="*/ 33613 h 35853"/>
                <a:gd name="connsiteX28" fmla="*/ 85152 w 125487"/>
                <a:gd name="connsiteY28" fmla="*/ 33613 h 35853"/>
                <a:gd name="connsiteX29" fmla="*/ 85152 w 125487"/>
                <a:gd name="connsiteY29" fmla="*/ 22409 h 35853"/>
                <a:gd name="connsiteX30" fmla="*/ 103079 w 125487"/>
                <a:gd name="connsiteY30" fmla="*/ 4482 h 35853"/>
                <a:gd name="connsiteX31" fmla="*/ 121006 w 125487"/>
                <a:gd name="connsiteY31" fmla="*/ 22409 h 35853"/>
                <a:gd name="connsiteX32" fmla="*/ 121006 w 125487"/>
                <a:gd name="connsiteY32" fmla="*/ 3361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487" h="35853">
                  <a:moveTo>
                    <a:pt x="103079" y="0"/>
                  </a:moveTo>
                  <a:cubicBezTo>
                    <a:pt x="94116" y="0"/>
                    <a:pt x="86497" y="5378"/>
                    <a:pt x="82911" y="12997"/>
                  </a:cubicBezTo>
                  <a:cubicBezTo>
                    <a:pt x="79326" y="5378"/>
                    <a:pt x="71707" y="0"/>
                    <a:pt x="62744" y="0"/>
                  </a:cubicBezTo>
                  <a:cubicBezTo>
                    <a:pt x="53780" y="0"/>
                    <a:pt x="46161" y="5378"/>
                    <a:pt x="42576" y="12997"/>
                  </a:cubicBezTo>
                  <a:cubicBezTo>
                    <a:pt x="38991" y="5378"/>
                    <a:pt x="31372" y="0"/>
                    <a:pt x="22409" y="0"/>
                  </a:cubicBezTo>
                  <a:cubicBezTo>
                    <a:pt x="9860" y="0"/>
                    <a:pt x="0" y="9860"/>
                    <a:pt x="0" y="22409"/>
                  </a:cubicBezTo>
                  <a:lnTo>
                    <a:pt x="0" y="35854"/>
                  </a:lnTo>
                  <a:cubicBezTo>
                    <a:pt x="0" y="37198"/>
                    <a:pt x="896" y="38094"/>
                    <a:pt x="2241" y="38094"/>
                  </a:cubicBezTo>
                  <a:lnTo>
                    <a:pt x="42576" y="38094"/>
                  </a:lnTo>
                  <a:lnTo>
                    <a:pt x="82911" y="38094"/>
                  </a:lnTo>
                  <a:lnTo>
                    <a:pt x="123247" y="38094"/>
                  </a:lnTo>
                  <a:cubicBezTo>
                    <a:pt x="124591" y="38094"/>
                    <a:pt x="125488" y="37198"/>
                    <a:pt x="125488" y="35854"/>
                  </a:cubicBezTo>
                  <a:lnTo>
                    <a:pt x="125488" y="22409"/>
                  </a:lnTo>
                  <a:cubicBezTo>
                    <a:pt x="125488" y="9860"/>
                    <a:pt x="115628" y="0"/>
                    <a:pt x="103079" y="0"/>
                  </a:cubicBezTo>
                  <a:close/>
                  <a:moveTo>
                    <a:pt x="4482" y="22409"/>
                  </a:moveTo>
                  <a:cubicBezTo>
                    <a:pt x="4482" y="12549"/>
                    <a:pt x="12549" y="4482"/>
                    <a:pt x="22409" y="4482"/>
                  </a:cubicBezTo>
                  <a:cubicBezTo>
                    <a:pt x="32268" y="4482"/>
                    <a:pt x="40335" y="12549"/>
                    <a:pt x="40335" y="22409"/>
                  </a:cubicBezTo>
                  <a:lnTo>
                    <a:pt x="40335" y="33613"/>
                  </a:lnTo>
                  <a:lnTo>
                    <a:pt x="4482" y="33613"/>
                  </a:lnTo>
                  <a:lnTo>
                    <a:pt x="4482" y="22409"/>
                  </a:lnTo>
                  <a:close/>
                  <a:moveTo>
                    <a:pt x="44817" y="22409"/>
                  </a:moveTo>
                  <a:lnTo>
                    <a:pt x="44817" y="22409"/>
                  </a:lnTo>
                  <a:cubicBezTo>
                    <a:pt x="44817" y="12549"/>
                    <a:pt x="52884" y="4482"/>
                    <a:pt x="62744" y="4482"/>
                  </a:cubicBezTo>
                  <a:cubicBezTo>
                    <a:pt x="72604" y="4482"/>
                    <a:pt x="80671" y="12549"/>
                    <a:pt x="80671" y="22409"/>
                  </a:cubicBezTo>
                  <a:lnTo>
                    <a:pt x="80671" y="33613"/>
                  </a:lnTo>
                  <a:lnTo>
                    <a:pt x="44817" y="33613"/>
                  </a:lnTo>
                  <a:lnTo>
                    <a:pt x="44817" y="22409"/>
                  </a:lnTo>
                  <a:close/>
                  <a:moveTo>
                    <a:pt x="121006" y="33613"/>
                  </a:moveTo>
                  <a:lnTo>
                    <a:pt x="85152" y="33613"/>
                  </a:lnTo>
                  <a:lnTo>
                    <a:pt x="85152" y="22409"/>
                  </a:lnTo>
                  <a:cubicBezTo>
                    <a:pt x="85152" y="12549"/>
                    <a:pt x="93219" y="4482"/>
                    <a:pt x="103079" y="4482"/>
                  </a:cubicBezTo>
                  <a:cubicBezTo>
                    <a:pt x="112939" y="4482"/>
                    <a:pt x="121006" y="12549"/>
                    <a:pt x="121006" y="22409"/>
                  </a:cubicBezTo>
                  <a:lnTo>
                    <a:pt x="121006" y="33613"/>
                  </a:lnTo>
                  <a:close/>
                </a:path>
              </a:pathLst>
            </a:custGeom>
            <a:solidFill>
              <a:srgbClr val="231F20"/>
            </a:solidFill>
            <a:ln w="4477" cap="flat">
              <a:noFill/>
              <a:prstDash val="solid"/>
              <a:miter/>
            </a:ln>
          </p:spPr>
          <p:txBody>
            <a:bodyPr rtlCol="0" anchor="ctr"/>
            <a:lstStyle/>
            <a:p>
              <a:endParaRPr lang="en-US"/>
            </a:p>
          </p:txBody>
        </p:sp>
        <p:sp>
          <p:nvSpPr>
            <p:cNvPr id="2521" name="Freeform: Shape 2520">
              <a:extLst>
                <a:ext uri="{FF2B5EF4-FFF2-40B4-BE49-F238E27FC236}">
                  <a16:creationId xmlns:a16="http://schemas.microsoft.com/office/drawing/2014/main" id="{A81E8774-7062-44FA-8507-E1F7B26F9D31}"/>
                </a:ext>
              </a:extLst>
            </p:cNvPr>
            <p:cNvSpPr/>
            <p:nvPr/>
          </p:nvSpPr>
          <p:spPr>
            <a:xfrm>
              <a:off x="10471507" y="3941194"/>
              <a:ext cx="85152" cy="26890"/>
            </a:xfrm>
            <a:custGeom>
              <a:avLst/>
              <a:gdLst>
                <a:gd name="connsiteX0" fmla="*/ 2241 w 85152"/>
                <a:gd name="connsiteY0" fmla="*/ 26890 h 26890"/>
                <a:gd name="connsiteX1" fmla="*/ 4482 w 85152"/>
                <a:gd name="connsiteY1" fmla="*/ 24649 h 26890"/>
                <a:gd name="connsiteX2" fmla="*/ 22409 w 85152"/>
                <a:gd name="connsiteY2" fmla="*/ 4482 h 26890"/>
                <a:gd name="connsiteX3" fmla="*/ 40335 w 85152"/>
                <a:gd name="connsiteY3" fmla="*/ 24649 h 26890"/>
                <a:gd name="connsiteX4" fmla="*/ 42576 w 85152"/>
                <a:gd name="connsiteY4" fmla="*/ 26890 h 26890"/>
                <a:gd name="connsiteX5" fmla="*/ 44817 w 85152"/>
                <a:gd name="connsiteY5" fmla="*/ 24649 h 26890"/>
                <a:gd name="connsiteX6" fmla="*/ 62744 w 85152"/>
                <a:gd name="connsiteY6" fmla="*/ 4482 h 26890"/>
                <a:gd name="connsiteX7" fmla="*/ 80671 w 85152"/>
                <a:gd name="connsiteY7" fmla="*/ 24649 h 26890"/>
                <a:gd name="connsiteX8" fmla="*/ 82911 w 85152"/>
                <a:gd name="connsiteY8" fmla="*/ 26890 h 26890"/>
                <a:gd name="connsiteX9" fmla="*/ 85152 w 85152"/>
                <a:gd name="connsiteY9" fmla="*/ 24649 h 26890"/>
                <a:gd name="connsiteX10" fmla="*/ 62744 w 85152"/>
                <a:gd name="connsiteY10" fmla="*/ 0 h 26890"/>
                <a:gd name="connsiteX11" fmla="*/ 42576 w 85152"/>
                <a:gd name="connsiteY11" fmla="*/ 13893 h 26890"/>
                <a:gd name="connsiteX12" fmla="*/ 22409 w 85152"/>
                <a:gd name="connsiteY12" fmla="*/ 0 h 26890"/>
                <a:gd name="connsiteX13" fmla="*/ 0 w 85152"/>
                <a:gd name="connsiteY13" fmla="*/ 24649 h 26890"/>
                <a:gd name="connsiteX14" fmla="*/ 2241 w 85152"/>
                <a:gd name="connsiteY14" fmla="*/ 2689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52" h="26890">
                  <a:moveTo>
                    <a:pt x="2241" y="26890"/>
                  </a:moveTo>
                  <a:cubicBezTo>
                    <a:pt x="3585" y="26890"/>
                    <a:pt x="4482" y="25994"/>
                    <a:pt x="4482" y="24649"/>
                  </a:cubicBezTo>
                  <a:cubicBezTo>
                    <a:pt x="4482" y="13445"/>
                    <a:pt x="12549" y="4482"/>
                    <a:pt x="22409" y="4482"/>
                  </a:cubicBezTo>
                  <a:cubicBezTo>
                    <a:pt x="32268" y="4482"/>
                    <a:pt x="40335" y="13445"/>
                    <a:pt x="40335" y="24649"/>
                  </a:cubicBezTo>
                  <a:cubicBezTo>
                    <a:pt x="40335" y="25994"/>
                    <a:pt x="41232" y="26890"/>
                    <a:pt x="42576" y="26890"/>
                  </a:cubicBezTo>
                  <a:cubicBezTo>
                    <a:pt x="43921" y="26890"/>
                    <a:pt x="44817" y="25994"/>
                    <a:pt x="44817" y="24649"/>
                  </a:cubicBezTo>
                  <a:cubicBezTo>
                    <a:pt x="44817" y="13445"/>
                    <a:pt x="52884" y="4482"/>
                    <a:pt x="62744" y="4482"/>
                  </a:cubicBezTo>
                  <a:cubicBezTo>
                    <a:pt x="72604" y="4482"/>
                    <a:pt x="80671" y="13445"/>
                    <a:pt x="80671" y="24649"/>
                  </a:cubicBezTo>
                  <a:cubicBezTo>
                    <a:pt x="80671" y="25994"/>
                    <a:pt x="81567" y="26890"/>
                    <a:pt x="82911" y="26890"/>
                  </a:cubicBezTo>
                  <a:cubicBezTo>
                    <a:pt x="84256" y="26890"/>
                    <a:pt x="85152" y="25994"/>
                    <a:pt x="85152" y="24649"/>
                  </a:cubicBezTo>
                  <a:cubicBezTo>
                    <a:pt x="85152" y="11204"/>
                    <a:pt x="75293" y="0"/>
                    <a:pt x="62744" y="0"/>
                  </a:cubicBezTo>
                  <a:cubicBezTo>
                    <a:pt x="53780" y="0"/>
                    <a:pt x="46161" y="5826"/>
                    <a:pt x="42576" y="13893"/>
                  </a:cubicBezTo>
                  <a:cubicBezTo>
                    <a:pt x="38991" y="5826"/>
                    <a:pt x="31372" y="0"/>
                    <a:pt x="22409" y="0"/>
                  </a:cubicBezTo>
                  <a:cubicBezTo>
                    <a:pt x="9860" y="0"/>
                    <a:pt x="0" y="11204"/>
                    <a:pt x="0" y="24649"/>
                  </a:cubicBezTo>
                  <a:cubicBezTo>
                    <a:pt x="0" y="25546"/>
                    <a:pt x="896" y="26890"/>
                    <a:pt x="2241" y="26890"/>
                  </a:cubicBezTo>
                  <a:close/>
                </a:path>
              </a:pathLst>
            </a:custGeom>
            <a:solidFill>
              <a:srgbClr val="231F20"/>
            </a:solidFill>
            <a:ln w="4477" cap="flat">
              <a:noFill/>
              <a:prstDash val="solid"/>
              <a:miter/>
            </a:ln>
          </p:spPr>
          <p:txBody>
            <a:bodyPr rtlCol="0" anchor="ctr"/>
            <a:lstStyle/>
            <a:p>
              <a:endParaRPr lang="en-US"/>
            </a:p>
          </p:txBody>
        </p:sp>
        <p:sp>
          <p:nvSpPr>
            <p:cNvPr id="2522" name="Freeform: Shape 2521">
              <a:extLst>
                <a:ext uri="{FF2B5EF4-FFF2-40B4-BE49-F238E27FC236}">
                  <a16:creationId xmlns:a16="http://schemas.microsoft.com/office/drawing/2014/main" id="{F8939E9F-5904-487C-A7C4-099A69A1DA04}"/>
                </a:ext>
              </a:extLst>
            </p:cNvPr>
            <p:cNvSpPr/>
            <p:nvPr/>
          </p:nvSpPr>
          <p:spPr>
            <a:xfrm>
              <a:off x="10477781" y="3877105"/>
              <a:ext cx="71707" cy="62744"/>
            </a:xfrm>
            <a:custGeom>
              <a:avLst/>
              <a:gdLst>
                <a:gd name="connsiteX0" fmla="*/ 2689 w 71707"/>
                <a:gd name="connsiteY0" fmla="*/ 50643 h 62743"/>
                <a:gd name="connsiteX1" fmla="*/ 7171 w 71707"/>
                <a:gd name="connsiteY1" fmla="*/ 50643 h 62743"/>
                <a:gd name="connsiteX2" fmla="*/ 7171 w 71707"/>
                <a:gd name="connsiteY2" fmla="*/ 61847 h 62743"/>
                <a:gd name="connsiteX3" fmla="*/ 9412 w 71707"/>
                <a:gd name="connsiteY3" fmla="*/ 64088 h 62743"/>
                <a:gd name="connsiteX4" fmla="*/ 11653 w 71707"/>
                <a:gd name="connsiteY4" fmla="*/ 61847 h 62743"/>
                <a:gd name="connsiteX5" fmla="*/ 11653 w 71707"/>
                <a:gd name="connsiteY5" fmla="*/ 50643 h 62743"/>
                <a:gd name="connsiteX6" fmla="*/ 60951 w 71707"/>
                <a:gd name="connsiteY6" fmla="*/ 50643 h 62743"/>
                <a:gd name="connsiteX7" fmla="*/ 60951 w 71707"/>
                <a:gd name="connsiteY7" fmla="*/ 61847 h 62743"/>
                <a:gd name="connsiteX8" fmla="*/ 63192 w 71707"/>
                <a:gd name="connsiteY8" fmla="*/ 64088 h 62743"/>
                <a:gd name="connsiteX9" fmla="*/ 65433 w 71707"/>
                <a:gd name="connsiteY9" fmla="*/ 61847 h 62743"/>
                <a:gd name="connsiteX10" fmla="*/ 65433 w 71707"/>
                <a:gd name="connsiteY10" fmla="*/ 50643 h 62743"/>
                <a:gd name="connsiteX11" fmla="*/ 69915 w 71707"/>
                <a:gd name="connsiteY11" fmla="*/ 50643 h 62743"/>
                <a:gd name="connsiteX12" fmla="*/ 72156 w 71707"/>
                <a:gd name="connsiteY12" fmla="*/ 48402 h 62743"/>
                <a:gd name="connsiteX13" fmla="*/ 72156 w 71707"/>
                <a:gd name="connsiteY13" fmla="*/ 21512 h 62743"/>
                <a:gd name="connsiteX14" fmla="*/ 69915 w 71707"/>
                <a:gd name="connsiteY14" fmla="*/ 19271 h 62743"/>
                <a:gd name="connsiteX15" fmla="*/ 58710 w 71707"/>
                <a:gd name="connsiteY15" fmla="*/ 19271 h 62743"/>
                <a:gd name="connsiteX16" fmla="*/ 58710 w 71707"/>
                <a:gd name="connsiteY16" fmla="*/ 14790 h 62743"/>
                <a:gd name="connsiteX17" fmla="*/ 46162 w 71707"/>
                <a:gd name="connsiteY17" fmla="*/ 0 h 62743"/>
                <a:gd name="connsiteX18" fmla="*/ 25994 w 71707"/>
                <a:gd name="connsiteY18" fmla="*/ 0 h 62743"/>
                <a:gd name="connsiteX19" fmla="*/ 13445 w 71707"/>
                <a:gd name="connsiteY19" fmla="*/ 14790 h 62743"/>
                <a:gd name="connsiteX20" fmla="*/ 13445 w 71707"/>
                <a:gd name="connsiteY20" fmla="*/ 19271 h 62743"/>
                <a:gd name="connsiteX21" fmla="*/ 2241 w 71707"/>
                <a:gd name="connsiteY21" fmla="*/ 19271 h 62743"/>
                <a:gd name="connsiteX22" fmla="*/ 0 w 71707"/>
                <a:gd name="connsiteY22" fmla="*/ 21512 h 62743"/>
                <a:gd name="connsiteX23" fmla="*/ 0 w 71707"/>
                <a:gd name="connsiteY23" fmla="*/ 48402 h 62743"/>
                <a:gd name="connsiteX24" fmla="*/ 2689 w 71707"/>
                <a:gd name="connsiteY24" fmla="*/ 50643 h 62743"/>
                <a:gd name="connsiteX25" fmla="*/ 18375 w 71707"/>
                <a:gd name="connsiteY25" fmla="*/ 14342 h 62743"/>
                <a:gd name="connsiteX26" fmla="*/ 26442 w 71707"/>
                <a:gd name="connsiteY26" fmla="*/ 4033 h 62743"/>
                <a:gd name="connsiteX27" fmla="*/ 46610 w 71707"/>
                <a:gd name="connsiteY27" fmla="*/ 4033 h 62743"/>
                <a:gd name="connsiteX28" fmla="*/ 54677 w 71707"/>
                <a:gd name="connsiteY28" fmla="*/ 14342 h 62743"/>
                <a:gd name="connsiteX29" fmla="*/ 54677 w 71707"/>
                <a:gd name="connsiteY29" fmla="*/ 18823 h 62743"/>
                <a:gd name="connsiteX30" fmla="*/ 18823 w 71707"/>
                <a:gd name="connsiteY30" fmla="*/ 18823 h 62743"/>
                <a:gd name="connsiteX31" fmla="*/ 18823 w 71707"/>
                <a:gd name="connsiteY31" fmla="*/ 14342 h 62743"/>
                <a:gd name="connsiteX32" fmla="*/ 4930 w 71707"/>
                <a:gd name="connsiteY32" fmla="*/ 23753 h 62743"/>
                <a:gd name="connsiteX33" fmla="*/ 67674 w 71707"/>
                <a:gd name="connsiteY33" fmla="*/ 23753 h 62743"/>
                <a:gd name="connsiteX34" fmla="*/ 67674 w 71707"/>
                <a:gd name="connsiteY34" fmla="*/ 46161 h 62743"/>
                <a:gd name="connsiteX35" fmla="*/ 4930 w 71707"/>
                <a:gd name="connsiteY35" fmla="*/ 46161 h 62743"/>
                <a:gd name="connsiteX36" fmla="*/ 4930 w 71707"/>
                <a:gd name="connsiteY36" fmla="*/ 23753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707" h="62743">
                  <a:moveTo>
                    <a:pt x="2689" y="50643"/>
                  </a:moveTo>
                  <a:lnTo>
                    <a:pt x="7171" y="50643"/>
                  </a:lnTo>
                  <a:lnTo>
                    <a:pt x="7171" y="61847"/>
                  </a:lnTo>
                  <a:cubicBezTo>
                    <a:pt x="7171" y="63192"/>
                    <a:pt x="8067" y="64088"/>
                    <a:pt x="9412" y="64088"/>
                  </a:cubicBezTo>
                  <a:cubicBezTo>
                    <a:pt x="10756" y="64088"/>
                    <a:pt x="11653" y="63192"/>
                    <a:pt x="11653" y="61847"/>
                  </a:cubicBezTo>
                  <a:lnTo>
                    <a:pt x="11653" y="50643"/>
                  </a:lnTo>
                  <a:lnTo>
                    <a:pt x="60951" y="50643"/>
                  </a:lnTo>
                  <a:lnTo>
                    <a:pt x="60951" y="61847"/>
                  </a:lnTo>
                  <a:cubicBezTo>
                    <a:pt x="60951" y="63192"/>
                    <a:pt x="61848" y="64088"/>
                    <a:pt x="63192" y="64088"/>
                  </a:cubicBezTo>
                  <a:cubicBezTo>
                    <a:pt x="64537" y="64088"/>
                    <a:pt x="65433" y="63192"/>
                    <a:pt x="65433" y="61847"/>
                  </a:cubicBezTo>
                  <a:lnTo>
                    <a:pt x="65433" y="50643"/>
                  </a:lnTo>
                  <a:lnTo>
                    <a:pt x="69915" y="50643"/>
                  </a:lnTo>
                  <a:cubicBezTo>
                    <a:pt x="71259" y="50643"/>
                    <a:pt x="72156" y="49747"/>
                    <a:pt x="72156" y="48402"/>
                  </a:cubicBezTo>
                  <a:lnTo>
                    <a:pt x="72156" y="21512"/>
                  </a:lnTo>
                  <a:cubicBezTo>
                    <a:pt x="72156" y="20168"/>
                    <a:pt x="71259" y="19271"/>
                    <a:pt x="69915" y="19271"/>
                  </a:cubicBezTo>
                  <a:lnTo>
                    <a:pt x="58710" y="19271"/>
                  </a:lnTo>
                  <a:lnTo>
                    <a:pt x="58710" y="14790"/>
                  </a:lnTo>
                  <a:cubicBezTo>
                    <a:pt x="58710" y="6274"/>
                    <a:pt x="53332" y="0"/>
                    <a:pt x="46162" y="0"/>
                  </a:cubicBezTo>
                  <a:lnTo>
                    <a:pt x="25994" y="0"/>
                  </a:lnTo>
                  <a:cubicBezTo>
                    <a:pt x="18823" y="0"/>
                    <a:pt x="13445" y="6274"/>
                    <a:pt x="13445" y="14790"/>
                  </a:cubicBezTo>
                  <a:lnTo>
                    <a:pt x="13445" y="19271"/>
                  </a:lnTo>
                  <a:lnTo>
                    <a:pt x="2241" y="19271"/>
                  </a:lnTo>
                  <a:cubicBezTo>
                    <a:pt x="896" y="19271"/>
                    <a:pt x="0" y="20168"/>
                    <a:pt x="0" y="21512"/>
                  </a:cubicBezTo>
                  <a:lnTo>
                    <a:pt x="0" y="48402"/>
                  </a:lnTo>
                  <a:cubicBezTo>
                    <a:pt x="448" y="49299"/>
                    <a:pt x="1345" y="50643"/>
                    <a:pt x="2689" y="50643"/>
                  </a:cubicBezTo>
                  <a:close/>
                  <a:moveTo>
                    <a:pt x="18375" y="14342"/>
                  </a:moveTo>
                  <a:cubicBezTo>
                    <a:pt x="18375" y="8515"/>
                    <a:pt x="21512" y="4033"/>
                    <a:pt x="26442" y="4033"/>
                  </a:cubicBezTo>
                  <a:lnTo>
                    <a:pt x="46610" y="4033"/>
                  </a:lnTo>
                  <a:cubicBezTo>
                    <a:pt x="51092" y="4033"/>
                    <a:pt x="54677" y="8067"/>
                    <a:pt x="54677" y="14342"/>
                  </a:cubicBezTo>
                  <a:lnTo>
                    <a:pt x="54677" y="18823"/>
                  </a:lnTo>
                  <a:lnTo>
                    <a:pt x="18823" y="18823"/>
                  </a:lnTo>
                  <a:lnTo>
                    <a:pt x="18823" y="14342"/>
                  </a:lnTo>
                  <a:close/>
                  <a:moveTo>
                    <a:pt x="4930" y="23753"/>
                  </a:moveTo>
                  <a:lnTo>
                    <a:pt x="67674" y="23753"/>
                  </a:lnTo>
                  <a:lnTo>
                    <a:pt x="67674" y="46161"/>
                  </a:lnTo>
                  <a:lnTo>
                    <a:pt x="4930" y="46161"/>
                  </a:lnTo>
                  <a:lnTo>
                    <a:pt x="4930" y="23753"/>
                  </a:lnTo>
                  <a:close/>
                </a:path>
              </a:pathLst>
            </a:custGeom>
            <a:solidFill>
              <a:srgbClr val="231F20"/>
            </a:solidFill>
            <a:ln w="4477" cap="flat">
              <a:noFill/>
              <a:prstDash val="solid"/>
              <a:miter/>
            </a:ln>
          </p:spPr>
          <p:txBody>
            <a:bodyPr rtlCol="0" anchor="ctr"/>
            <a:lstStyle/>
            <a:p>
              <a:endParaRPr lang="en-US"/>
            </a:p>
          </p:txBody>
        </p:sp>
        <p:sp>
          <p:nvSpPr>
            <p:cNvPr id="2523" name="Freeform: Shape 2522">
              <a:extLst>
                <a:ext uri="{FF2B5EF4-FFF2-40B4-BE49-F238E27FC236}">
                  <a16:creationId xmlns:a16="http://schemas.microsoft.com/office/drawing/2014/main" id="{584E286F-4775-4952-AF52-6839409A9460}"/>
                </a:ext>
              </a:extLst>
            </p:cNvPr>
            <p:cNvSpPr/>
            <p:nvPr/>
          </p:nvSpPr>
          <p:spPr>
            <a:xfrm>
              <a:off x="10501534" y="3845733"/>
              <a:ext cx="22409" cy="22409"/>
            </a:xfrm>
            <a:custGeom>
              <a:avLst/>
              <a:gdLst>
                <a:gd name="connsiteX0" fmla="*/ 12549 w 22408"/>
                <a:gd name="connsiteY0" fmla="*/ 25097 h 22408"/>
                <a:gd name="connsiteX1" fmla="*/ 25097 w 22408"/>
                <a:gd name="connsiteY1" fmla="*/ 12549 h 22408"/>
                <a:gd name="connsiteX2" fmla="*/ 12549 w 22408"/>
                <a:gd name="connsiteY2" fmla="*/ 0 h 22408"/>
                <a:gd name="connsiteX3" fmla="*/ 0 w 22408"/>
                <a:gd name="connsiteY3" fmla="*/ 12549 h 22408"/>
                <a:gd name="connsiteX4" fmla="*/ 12549 w 22408"/>
                <a:gd name="connsiteY4" fmla="*/ 25097 h 22408"/>
                <a:gd name="connsiteX5" fmla="*/ 12549 w 22408"/>
                <a:gd name="connsiteY5" fmla="*/ 4482 h 22408"/>
                <a:gd name="connsiteX6" fmla="*/ 20616 w 22408"/>
                <a:gd name="connsiteY6" fmla="*/ 12549 h 22408"/>
                <a:gd name="connsiteX7" fmla="*/ 12549 w 22408"/>
                <a:gd name="connsiteY7" fmla="*/ 20616 h 22408"/>
                <a:gd name="connsiteX8" fmla="*/ 4482 w 22408"/>
                <a:gd name="connsiteY8" fmla="*/ 12549 h 22408"/>
                <a:gd name="connsiteX9" fmla="*/ 12549 w 22408"/>
                <a:gd name="connsiteY9" fmla="*/ 4482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2549" y="25097"/>
                  </a:moveTo>
                  <a:cubicBezTo>
                    <a:pt x="19719" y="25097"/>
                    <a:pt x="25097" y="19271"/>
                    <a:pt x="25097" y="12549"/>
                  </a:cubicBezTo>
                  <a:cubicBezTo>
                    <a:pt x="25097" y="5826"/>
                    <a:pt x="19271" y="0"/>
                    <a:pt x="12549" y="0"/>
                  </a:cubicBezTo>
                  <a:cubicBezTo>
                    <a:pt x="5378" y="0"/>
                    <a:pt x="0" y="5826"/>
                    <a:pt x="0" y="12549"/>
                  </a:cubicBezTo>
                  <a:cubicBezTo>
                    <a:pt x="0" y="19271"/>
                    <a:pt x="5378" y="25097"/>
                    <a:pt x="12549" y="25097"/>
                  </a:cubicBezTo>
                  <a:close/>
                  <a:moveTo>
                    <a:pt x="12549" y="4482"/>
                  </a:moveTo>
                  <a:cubicBezTo>
                    <a:pt x="17030" y="4482"/>
                    <a:pt x="20616" y="8067"/>
                    <a:pt x="20616" y="12549"/>
                  </a:cubicBezTo>
                  <a:cubicBezTo>
                    <a:pt x="20616" y="17030"/>
                    <a:pt x="17030" y="20616"/>
                    <a:pt x="12549" y="20616"/>
                  </a:cubicBezTo>
                  <a:cubicBezTo>
                    <a:pt x="8067" y="20616"/>
                    <a:pt x="4482" y="17030"/>
                    <a:pt x="4482" y="12549"/>
                  </a:cubicBezTo>
                  <a:cubicBezTo>
                    <a:pt x="4482" y="8067"/>
                    <a:pt x="8067" y="4482"/>
                    <a:pt x="12549" y="4482"/>
                  </a:cubicBezTo>
                  <a:close/>
                </a:path>
              </a:pathLst>
            </a:custGeom>
            <a:solidFill>
              <a:srgbClr val="231F20"/>
            </a:solidFill>
            <a:ln w="4477" cap="flat">
              <a:noFill/>
              <a:prstDash val="solid"/>
              <a:miter/>
            </a:ln>
          </p:spPr>
          <p:txBody>
            <a:bodyPr rtlCol="0" anchor="ctr"/>
            <a:lstStyle/>
            <a:p>
              <a:endParaRPr lang="en-US"/>
            </a:p>
          </p:txBody>
        </p:sp>
      </p:grpSp>
      <p:grpSp>
        <p:nvGrpSpPr>
          <p:cNvPr id="2462" name="Group 2461">
            <a:extLst>
              <a:ext uri="{FF2B5EF4-FFF2-40B4-BE49-F238E27FC236}">
                <a16:creationId xmlns:a16="http://schemas.microsoft.com/office/drawing/2014/main" id="{E8C6276A-CDD6-4209-9C4F-0A10AF5E2992}"/>
              </a:ext>
              <a:ext uri="{C183D7F6-B498-43B3-948B-1728B52AA6E4}">
                <adec:decorative xmlns:adec="http://schemas.microsoft.com/office/drawing/2017/decorative" val="1"/>
              </a:ext>
            </a:extLst>
          </p:cNvPr>
          <p:cNvGrpSpPr>
            <a:grpSpLocks noChangeAspect="1"/>
          </p:cNvGrpSpPr>
          <p:nvPr/>
        </p:nvGrpSpPr>
        <p:grpSpPr>
          <a:xfrm>
            <a:off x="5090656" y="4907718"/>
            <a:ext cx="137588" cy="104424"/>
            <a:chOff x="10965391" y="3890550"/>
            <a:chExt cx="137588" cy="104424"/>
          </a:xfrm>
        </p:grpSpPr>
        <p:sp>
          <p:nvSpPr>
            <p:cNvPr id="2513" name="Freeform: Shape 2512">
              <a:extLst>
                <a:ext uri="{FF2B5EF4-FFF2-40B4-BE49-F238E27FC236}">
                  <a16:creationId xmlns:a16="http://schemas.microsoft.com/office/drawing/2014/main" id="{6DBDB0C7-40CF-4875-B52A-A15B21222710}"/>
                </a:ext>
              </a:extLst>
            </p:cNvPr>
            <p:cNvSpPr/>
            <p:nvPr/>
          </p:nvSpPr>
          <p:spPr>
            <a:xfrm>
              <a:off x="11005726" y="3946572"/>
              <a:ext cx="58262" cy="44817"/>
            </a:xfrm>
            <a:custGeom>
              <a:avLst/>
              <a:gdLst>
                <a:gd name="connsiteX0" fmla="*/ 56021 w 58262"/>
                <a:gd name="connsiteY0" fmla="*/ 4482 h 44817"/>
                <a:gd name="connsiteX1" fmla="*/ 58262 w 58262"/>
                <a:gd name="connsiteY1" fmla="*/ 2241 h 44817"/>
                <a:gd name="connsiteX2" fmla="*/ 56021 w 58262"/>
                <a:gd name="connsiteY2" fmla="*/ 0 h 44817"/>
                <a:gd name="connsiteX3" fmla="*/ 2241 w 58262"/>
                <a:gd name="connsiteY3" fmla="*/ 0 h 44817"/>
                <a:gd name="connsiteX4" fmla="*/ 0 w 58262"/>
                <a:gd name="connsiteY4" fmla="*/ 2241 h 44817"/>
                <a:gd name="connsiteX5" fmla="*/ 2241 w 58262"/>
                <a:gd name="connsiteY5" fmla="*/ 4482 h 44817"/>
                <a:gd name="connsiteX6" fmla="*/ 26890 w 58262"/>
                <a:gd name="connsiteY6" fmla="*/ 4482 h 44817"/>
                <a:gd name="connsiteX7" fmla="*/ 26890 w 58262"/>
                <a:gd name="connsiteY7" fmla="*/ 46161 h 44817"/>
                <a:gd name="connsiteX8" fmla="*/ 29131 w 58262"/>
                <a:gd name="connsiteY8" fmla="*/ 48402 h 44817"/>
                <a:gd name="connsiteX9" fmla="*/ 31372 w 58262"/>
                <a:gd name="connsiteY9" fmla="*/ 46161 h 44817"/>
                <a:gd name="connsiteX10" fmla="*/ 31372 w 58262"/>
                <a:gd name="connsiteY10" fmla="*/ 4482 h 44817"/>
                <a:gd name="connsiteX11" fmla="*/ 56021 w 58262"/>
                <a:gd name="connsiteY11" fmla="*/ 4482 h 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262" h="44817">
                  <a:moveTo>
                    <a:pt x="56021" y="4482"/>
                  </a:moveTo>
                  <a:cubicBezTo>
                    <a:pt x="57365" y="4482"/>
                    <a:pt x="58262" y="3585"/>
                    <a:pt x="58262" y="2241"/>
                  </a:cubicBezTo>
                  <a:cubicBezTo>
                    <a:pt x="58262" y="896"/>
                    <a:pt x="57365" y="0"/>
                    <a:pt x="56021" y="0"/>
                  </a:cubicBezTo>
                  <a:lnTo>
                    <a:pt x="2241" y="0"/>
                  </a:lnTo>
                  <a:cubicBezTo>
                    <a:pt x="896" y="0"/>
                    <a:pt x="0" y="896"/>
                    <a:pt x="0" y="2241"/>
                  </a:cubicBezTo>
                  <a:cubicBezTo>
                    <a:pt x="0" y="3585"/>
                    <a:pt x="896" y="4482"/>
                    <a:pt x="2241" y="4482"/>
                  </a:cubicBezTo>
                  <a:lnTo>
                    <a:pt x="26890" y="4482"/>
                  </a:lnTo>
                  <a:lnTo>
                    <a:pt x="26890" y="46161"/>
                  </a:lnTo>
                  <a:cubicBezTo>
                    <a:pt x="26890" y="47506"/>
                    <a:pt x="27786" y="48402"/>
                    <a:pt x="29131" y="48402"/>
                  </a:cubicBezTo>
                  <a:cubicBezTo>
                    <a:pt x="30476" y="48402"/>
                    <a:pt x="31372" y="47506"/>
                    <a:pt x="31372" y="46161"/>
                  </a:cubicBezTo>
                  <a:lnTo>
                    <a:pt x="31372" y="4482"/>
                  </a:lnTo>
                  <a:lnTo>
                    <a:pt x="56021" y="4482"/>
                  </a:lnTo>
                  <a:close/>
                </a:path>
              </a:pathLst>
            </a:custGeom>
            <a:solidFill>
              <a:srgbClr val="231F20"/>
            </a:solidFill>
            <a:ln w="4477" cap="flat">
              <a:noFill/>
              <a:prstDash val="solid"/>
              <a:miter/>
            </a:ln>
          </p:spPr>
          <p:txBody>
            <a:bodyPr rtlCol="0" anchor="ctr"/>
            <a:lstStyle/>
            <a:p>
              <a:endParaRPr lang="en-US"/>
            </a:p>
          </p:txBody>
        </p:sp>
        <p:sp>
          <p:nvSpPr>
            <p:cNvPr id="2514" name="Freeform: Shape 2513">
              <a:extLst>
                <a:ext uri="{FF2B5EF4-FFF2-40B4-BE49-F238E27FC236}">
                  <a16:creationId xmlns:a16="http://schemas.microsoft.com/office/drawing/2014/main" id="{6E9752AA-D8AE-4BE5-B78B-07EC767C0C00}"/>
                </a:ext>
              </a:extLst>
            </p:cNvPr>
            <p:cNvSpPr/>
            <p:nvPr/>
          </p:nvSpPr>
          <p:spPr>
            <a:xfrm>
              <a:off x="10965391" y="3923267"/>
              <a:ext cx="31372" cy="71707"/>
            </a:xfrm>
            <a:custGeom>
              <a:avLst/>
              <a:gdLst>
                <a:gd name="connsiteX0" fmla="*/ 17927 w 31371"/>
                <a:gd name="connsiteY0" fmla="*/ 51540 h 71707"/>
                <a:gd name="connsiteX1" fmla="*/ 23305 w 31371"/>
                <a:gd name="connsiteY1" fmla="*/ 51988 h 71707"/>
                <a:gd name="connsiteX2" fmla="*/ 29579 w 31371"/>
                <a:gd name="connsiteY2" fmla="*/ 51988 h 71707"/>
                <a:gd name="connsiteX3" fmla="*/ 31820 w 31371"/>
                <a:gd name="connsiteY3" fmla="*/ 49747 h 71707"/>
                <a:gd name="connsiteX4" fmla="*/ 29579 w 31371"/>
                <a:gd name="connsiteY4" fmla="*/ 47506 h 71707"/>
                <a:gd name="connsiteX5" fmla="*/ 23305 w 31371"/>
                <a:gd name="connsiteY5" fmla="*/ 47506 h 71707"/>
                <a:gd name="connsiteX6" fmla="*/ 4482 w 31371"/>
                <a:gd name="connsiteY6" fmla="*/ 28683 h 71707"/>
                <a:gd name="connsiteX7" fmla="*/ 4482 w 31371"/>
                <a:gd name="connsiteY7" fmla="*/ 2241 h 71707"/>
                <a:gd name="connsiteX8" fmla="*/ 2241 w 31371"/>
                <a:gd name="connsiteY8" fmla="*/ 0 h 71707"/>
                <a:gd name="connsiteX9" fmla="*/ 0 w 31371"/>
                <a:gd name="connsiteY9" fmla="*/ 2241 h 71707"/>
                <a:gd name="connsiteX10" fmla="*/ 0 w 31371"/>
                <a:gd name="connsiteY10" fmla="*/ 28683 h 71707"/>
                <a:gd name="connsiteX11" fmla="*/ 13893 w 31371"/>
                <a:gd name="connsiteY11" fmla="*/ 50195 h 71707"/>
                <a:gd name="connsiteX12" fmla="*/ 13893 w 31371"/>
                <a:gd name="connsiteY12" fmla="*/ 56021 h 71707"/>
                <a:gd name="connsiteX13" fmla="*/ 13893 w 31371"/>
                <a:gd name="connsiteY13" fmla="*/ 67226 h 71707"/>
                <a:gd name="connsiteX14" fmla="*/ 2689 w 31371"/>
                <a:gd name="connsiteY14" fmla="*/ 67226 h 71707"/>
                <a:gd name="connsiteX15" fmla="*/ 2241 w 31371"/>
                <a:gd name="connsiteY15" fmla="*/ 67226 h 71707"/>
                <a:gd name="connsiteX16" fmla="*/ 0 w 31371"/>
                <a:gd name="connsiteY16" fmla="*/ 69466 h 71707"/>
                <a:gd name="connsiteX17" fmla="*/ 2241 w 31371"/>
                <a:gd name="connsiteY17" fmla="*/ 71707 h 71707"/>
                <a:gd name="connsiteX18" fmla="*/ 2689 w 31371"/>
                <a:gd name="connsiteY18" fmla="*/ 71707 h 71707"/>
                <a:gd name="connsiteX19" fmla="*/ 29579 w 31371"/>
                <a:gd name="connsiteY19" fmla="*/ 71707 h 71707"/>
                <a:gd name="connsiteX20" fmla="*/ 30027 w 31371"/>
                <a:gd name="connsiteY20" fmla="*/ 71707 h 71707"/>
                <a:gd name="connsiteX21" fmla="*/ 32268 w 31371"/>
                <a:gd name="connsiteY21" fmla="*/ 69466 h 71707"/>
                <a:gd name="connsiteX22" fmla="*/ 30027 w 31371"/>
                <a:gd name="connsiteY22" fmla="*/ 67226 h 71707"/>
                <a:gd name="connsiteX23" fmla="*/ 29579 w 31371"/>
                <a:gd name="connsiteY23" fmla="*/ 67226 h 71707"/>
                <a:gd name="connsiteX24" fmla="*/ 18375 w 31371"/>
                <a:gd name="connsiteY24" fmla="*/ 67226 h 71707"/>
                <a:gd name="connsiteX25" fmla="*/ 18375 w 31371"/>
                <a:gd name="connsiteY25" fmla="*/ 56021 h 71707"/>
                <a:gd name="connsiteX26" fmla="*/ 18375 w 31371"/>
                <a:gd name="connsiteY26" fmla="*/ 5154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371" h="71707">
                  <a:moveTo>
                    <a:pt x="17927" y="51540"/>
                  </a:moveTo>
                  <a:cubicBezTo>
                    <a:pt x="19719" y="51988"/>
                    <a:pt x="21512" y="51988"/>
                    <a:pt x="23305" y="51988"/>
                  </a:cubicBezTo>
                  <a:lnTo>
                    <a:pt x="29579" y="51988"/>
                  </a:lnTo>
                  <a:cubicBezTo>
                    <a:pt x="30924" y="51988"/>
                    <a:pt x="31820" y="51092"/>
                    <a:pt x="31820" y="49747"/>
                  </a:cubicBezTo>
                  <a:cubicBezTo>
                    <a:pt x="31820" y="48402"/>
                    <a:pt x="30924" y="47506"/>
                    <a:pt x="29579" y="47506"/>
                  </a:cubicBezTo>
                  <a:lnTo>
                    <a:pt x="23305" y="47506"/>
                  </a:lnTo>
                  <a:cubicBezTo>
                    <a:pt x="12997" y="47506"/>
                    <a:pt x="4482" y="38991"/>
                    <a:pt x="4482" y="28683"/>
                  </a:cubicBezTo>
                  <a:lnTo>
                    <a:pt x="4482" y="2241"/>
                  </a:lnTo>
                  <a:cubicBezTo>
                    <a:pt x="4482" y="896"/>
                    <a:pt x="3585" y="0"/>
                    <a:pt x="2241" y="0"/>
                  </a:cubicBezTo>
                  <a:cubicBezTo>
                    <a:pt x="896" y="0"/>
                    <a:pt x="0" y="896"/>
                    <a:pt x="0" y="2241"/>
                  </a:cubicBezTo>
                  <a:lnTo>
                    <a:pt x="0" y="28683"/>
                  </a:lnTo>
                  <a:cubicBezTo>
                    <a:pt x="0" y="38094"/>
                    <a:pt x="5826" y="46161"/>
                    <a:pt x="13893" y="50195"/>
                  </a:cubicBezTo>
                  <a:lnTo>
                    <a:pt x="13893" y="56021"/>
                  </a:lnTo>
                  <a:lnTo>
                    <a:pt x="13893" y="67226"/>
                  </a:lnTo>
                  <a:lnTo>
                    <a:pt x="2689" y="67226"/>
                  </a:lnTo>
                  <a:lnTo>
                    <a:pt x="2241" y="67226"/>
                  </a:lnTo>
                  <a:cubicBezTo>
                    <a:pt x="896" y="67226"/>
                    <a:pt x="0" y="68122"/>
                    <a:pt x="0" y="69466"/>
                  </a:cubicBezTo>
                  <a:cubicBezTo>
                    <a:pt x="0" y="70811"/>
                    <a:pt x="896" y="71707"/>
                    <a:pt x="2241" y="71707"/>
                  </a:cubicBezTo>
                  <a:lnTo>
                    <a:pt x="2689" y="71707"/>
                  </a:lnTo>
                  <a:lnTo>
                    <a:pt x="29579" y="71707"/>
                  </a:lnTo>
                  <a:lnTo>
                    <a:pt x="30027" y="71707"/>
                  </a:lnTo>
                  <a:cubicBezTo>
                    <a:pt x="31372" y="71707"/>
                    <a:pt x="32268" y="70811"/>
                    <a:pt x="32268" y="69466"/>
                  </a:cubicBezTo>
                  <a:cubicBezTo>
                    <a:pt x="32268" y="68122"/>
                    <a:pt x="31372" y="67226"/>
                    <a:pt x="30027" y="67226"/>
                  </a:cubicBezTo>
                  <a:lnTo>
                    <a:pt x="29579" y="67226"/>
                  </a:lnTo>
                  <a:lnTo>
                    <a:pt x="18375" y="67226"/>
                  </a:lnTo>
                  <a:lnTo>
                    <a:pt x="18375" y="56021"/>
                  </a:lnTo>
                  <a:lnTo>
                    <a:pt x="18375" y="51540"/>
                  </a:lnTo>
                  <a:close/>
                </a:path>
              </a:pathLst>
            </a:custGeom>
            <a:solidFill>
              <a:srgbClr val="231F20"/>
            </a:solidFill>
            <a:ln w="4477" cap="flat">
              <a:noFill/>
              <a:prstDash val="solid"/>
              <a:miter/>
            </a:ln>
          </p:spPr>
          <p:txBody>
            <a:bodyPr rtlCol="0" anchor="ctr"/>
            <a:lstStyle/>
            <a:p>
              <a:endParaRPr lang="en-US"/>
            </a:p>
          </p:txBody>
        </p:sp>
        <p:sp>
          <p:nvSpPr>
            <p:cNvPr id="2515" name="Freeform: Shape 2514">
              <a:extLst>
                <a:ext uri="{FF2B5EF4-FFF2-40B4-BE49-F238E27FC236}">
                  <a16:creationId xmlns:a16="http://schemas.microsoft.com/office/drawing/2014/main" id="{590971A1-5787-4AE6-90A0-69A67D429EBB}"/>
                </a:ext>
              </a:extLst>
            </p:cNvPr>
            <p:cNvSpPr/>
            <p:nvPr/>
          </p:nvSpPr>
          <p:spPr>
            <a:xfrm>
              <a:off x="11071607" y="3923267"/>
              <a:ext cx="31372" cy="71707"/>
            </a:xfrm>
            <a:custGeom>
              <a:avLst/>
              <a:gdLst>
                <a:gd name="connsiteX0" fmla="*/ 18375 w 31371"/>
                <a:gd name="connsiteY0" fmla="*/ 50195 h 71707"/>
                <a:gd name="connsiteX1" fmla="*/ 32269 w 31371"/>
                <a:gd name="connsiteY1" fmla="*/ 29131 h 71707"/>
                <a:gd name="connsiteX2" fmla="*/ 32269 w 31371"/>
                <a:gd name="connsiteY2" fmla="*/ 2241 h 71707"/>
                <a:gd name="connsiteX3" fmla="*/ 30028 w 31371"/>
                <a:gd name="connsiteY3" fmla="*/ 0 h 71707"/>
                <a:gd name="connsiteX4" fmla="*/ 27787 w 31371"/>
                <a:gd name="connsiteY4" fmla="*/ 2241 h 71707"/>
                <a:gd name="connsiteX5" fmla="*/ 27787 w 31371"/>
                <a:gd name="connsiteY5" fmla="*/ 29579 h 71707"/>
                <a:gd name="connsiteX6" fmla="*/ 9411 w 31371"/>
                <a:gd name="connsiteY6" fmla="*/ 47954 h 71707"/>
                <a:gd name="connsiteX7" fmla="*/ 2241 w 31371"/>
                <a:gd name="connsiteY7" fmla="*/ 47954 h 71707"/>
                <a:gd name="connsiteX8" fmla="*/ 0 w 31371"/>
                <a:gd name="connsiteY8" fmla="*/ 50195 h 71707"/>
                <a:gd name="connsiteX9" fmla="*/ 2241 w 31371"/>
                <a:gd name="connsiteY9" fmla="*/ 52436 h 71707"/>
                <a:gd name="connsiteX10" fmla="*/ 9411 w 31371"/>
                <a:gd name="connsiteY10" fmla="*/ 52436 h 71707"/>
                <a:gd name="connsiteX11" fmla="*/ 13893 w 31371"/>
                <a:gd name="connsiteY11" fmla="*/ 51988 h 71707"/>
                <a:gd name="connsiteX12" fmla="*/ 13893 w 31371"/>
                <a:gd name="connsiteY12" fmla="*/ 56469 h 71707"/>
                <a:gd name="connsiteX13" fmla="*/ 13893 w 31371"/>
                <a:gd name="connsiteY13" fmla="*/ 67674 h 71707"/>
                <a:gd name="connsiteX14" fmla="*/ 2689 w 31371"/>
                <a:gd name="connsiteY14" fmla="*/ 67674 h 71707"/>
                <a:gd name="connsiteX15" fmla="*/ 2241 w 31371"/>
                <a:gd name="connsiteY15" fmla="*/ 67674 h 71707"/>
                <a:gd name="connsiteX16" fmla="*/ 0 w 31371"/>
                <a:gd name="connsiteY16" fmla="*/ 69914 h 71707"/>
                <a:gd name="connsiteX17" fmla="*/ 2241 w 31371"/>
                <a:gd name="connsiteY17" fmla="*/ 72155 h 71707"/>
                <a:gd name="connsiteX18" fmla="*/ 2689 w 31371"/>
                <a:gd name="connsiteY18" fmla="*/ 72155 h 71707"/>
                <a:gd name="connsiteX19" fmla="*/ 29579 w 31371"/>
                <a:gd name="connsiteY19" fmla="*/ 72155 h 71707"/>
                <a:gd name="connsiteX20" fmla="*/ 30028 w 31371"/>
                <a:gd name="connsiteY20" fmla="*/ 72155 h 71707"/>
                <a:gd name="connsiteX21" fmla="*/ 32269 w 31371"/>
                <a:gd name="connsiteY21" fmla="*/ 69914 h 71707"/>
                <a:gd name="connsiteX22" fmla="*/ 30028 w 31371"/>
                <a:gd name="connsiteY22" fmla="*/ 67674 h 71707"/>
                <a:gd name="connsiteX23" fmla="*/ 29579 w 31371"/>
                <a:gd name="connsiteY23" fmla="*/ 67674 h 71707"/>
                <a:gd name="connsiteX24" fmla="*/ 18375 w 31371"/>
                <a:gd name="connsiteY24" fmla="*/ 67674 h 71707"/>
                <a:gd name="connsiteX25" fmla="*/ 18375 w 31371"/>
                <a:gd name="connsiteY25" fmla="*/ 56021 h 71707"/>
                <a:gd name="connsiteX26" fmla="*/ 18375 w 31371"/>
                <a:gd name="connsiteY26" fmla="*/ 50195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371" h="71707">
                  <a:moveTo>
                    <a:pt x="18375" y="50195"/>
                  </a:moveTo>
                  <a:cubicBezTo>
                    <a:pt x="26442" y="46610"/>
                    <a:pt x="32269" y="38543"/>
                    <a:pt x="32269" y="29131"/>
                  </a:cubicBezTo>
                  <a:lnTo>
                    <a:pt x="32269" y="2241"/>
                  </a:lnTo>
                  <a:cubicBezTo>
                    <a:pt x="32269" y="896"/>
                    <a:pt x="31372" y="0"/>
                    <a:pt x="30028" y="0"/>
                  </a:cubicBezTo>
                  <a:cubicBezTo>
                    <a:pt x="28683" y="0"/>
                    <a:pt x="27787" y="896"/>
                    <a:pt x="27787" y="2241"/>
                  </a:cubicBezTo>
                  <a:lnTo>
                    <a:pt x="27787" y="29579"/>
                  </a:lnTo>
                  <a:cubicBezTo>
                    <a:pt x="27787" y="39439"/>
                    <a:pt x="19720" y="47954"/>
                    <a:pt x="9411" y="47954"/>
                  </a:cubicBezTo>
                  <a:lnTo>
                    <a:pt x="2241" y="47954"/>
                  </a:lnTo>
                  <a:cubicBezTo>
                    <a:pt x="897" y="47954"/>
                    <a:pt x="0" y="48851"/>
                    <a:pt x="0" y="50195"/>
                  </a:cubicBezTo>
                  <a:cubicBezTo>
                    <a:pt x="0" y="51540"/>
                    <a:pt x="897" y="52436"/>
                    <a:pt x="2241" y="52436"/>
                  </a:cubicBezTo>
                  <a:lnTo>
                    <a:pt x="9411" y="52436"/>
                  </a:lnTo>
                  <a:cubicBezTo>
                    <a:pt x="10756" y="52436"/>
                    <a:pt x="12549" y="52436"/>
                    <a:pt x="13893" y="51988"/>
                  </a:cubicBezTo>
                  <a:lnTo>
                    <a:pt x="13893" y="56469"/>
                  </a:lnTo>
                  <a:lnTo>
                    <a:pt x="13893" y="67674"/>
                  </a:lnTo>
                  <a:lnTo>
                    <a:pt x="2689" y="67674"/>
                  </a:lnTo>
                  <a:lnTo>
                    <a:pt x="2241" y="67674"/>
                  </a:lnTo>
                  <a:cubicBezTo>
                    <a:pt x="897" y="67674"/>
                    <a:pt x="0" y="68570"/>
                    <a:pt x="0" y="69914"/>
                  </a:cubicBezTo>
                  <a:cubicBezTo>
                    <a:pt x="0" y="71259"/>
                    <a:pt x="897" y="72155"/>
                    <a:pt x="2241" y="72155"/>
                  </a:cubicBezTo>
                  <a:lnTo>
                    <a:pt x="2689" y="72155"/>
                  </a:lnTo>
                  <a:lnTo>
                    <a:pt x="29579" y="72155"/>
                  </a:lnTo>
                  <a:lnTo>
                    <a:pt x="30028" y="72155"/>
                  </a:lnTo>
                  <a:cubicBezTo>
                    <a:pt x="31372" y="72155"/>
                    <a:pt x="32269" y="71259"/>
                    <a:pt x="32269" y="69914"/>
                  </a:cubicBezTo>
                  <a:cubicBezTo>
                    <a:pt x="32269" y="68570"/>
                    <a:pt x="31372" y="67674"/>
                    <a:pt x="30028" y="67674"/>
                  </a:cubicBezTo>
                  <a:lnTo>
                    <a:pt x="29579" y="67674"/>
                  </a:lnTo>
                  <a:lnTo>
                    <a:pt x="18375" y="67674"/>
                  </a:lnTo>
                  <a:lnTo>
                    <a:pt x="18375" y="56021"/>
                  </a:lnTo>
                  <a:lnTo>
                    <a:pt x="18375" y="50195"/>
                  </a:lnTo>
                  <a:close/>
                </a:path>
              </a:pathLst>
            </a:custGeom>
            <a:solidFill>
              <a:srgbClr val="231F20"/>
            </a:solidFill>
            <a:ln w="4477" cap="flat">
              <a:noFill/>
              <a:prstDash val="solid"/>
              <a:miter/>
            </a:ln>
          </p:spPr>
          <p:txBody>
            <a:bodyPr rtlCol="0" anchor="ctr"/>
            <a:lstStyle/>
            <a:p>
              <a:endParaRPr lang="en-US"/>
            </a:p>
          </p:txBody>
        </p:sp>
        <p:sp>
          <p:nvSpPr>
            <p:cNvPr id="2516" name="Freeform: Shape 2515">
              <a:extLst>
                <a:ext uri="{FF2B5EF4-FFF2-40B4-BE49-F238E27FC236}">
                  <a16:creationId xmlns:a16="http://schemas.microsoft.com/office/drawing/2014/main" id="{003B9278-C0F3-4F61-A733-C7ECFAC30A23}"/>
                </a:ext>
              </a:extLst>
            </p:cNvPr>
            <p:cNvSpPr/>
            <p:nvPr/>
          </p:nvSpPr>
          <p:spPr>
            <a:xfrm>
              <a:off x="10972113" y="3922370"/>
              <a:ext cx="58262" cy="71707"/>
            </a:xfrm>
            <a:custGeom>
              <a:avLst/>
              <a:gdLst>
                <a:gd name="connsiteX0" fmla="*/ 29131 w 58262"/>
                <a:gd name="connsiteY0" fmla="*/ 29131 h 71707"/>
                <a:gd name="connsiteX1" fmla="*/ 29131 w 58262"/>
                <a:gd name="connsiteY1" fmla="*/ 29131 h 71707"/>
                <a:gd name="connsiteX2" fmla="*/ 20616 w 58262"/>
                <a:gd name="connsiteY2" fmla="*/ 28683 h 71707"/>
                <a:gd name="connsiteX3" fmla="*/ 20616 w 58262"/>
                <a:gd name="connsiteY3" fmla="*/ 20168 h 71707"/>
                <a:gd name="connsiteX4" fmla="*/ 28235 w 58262"/>
                <a:gd name="connsiteY4" fmla="*/ 22857 h 71707"/>
                <a:gd name="connsiteX5" fmla="*/ 29131 w 58262"/>
                <a:gd name="connsiteY5" fmla="*/ 22857 h 71707"/>
                <a:gd name="connsiteX6" fmla="*/ 50195 w 58262"/>
                <a:gd name="connsiteY6" fmla="*/ 22857 h 71707"/>
                <a:gd name="connsiteX7" fmla="*/ 58262 w 58262"/>
                <a:gd name="connsiteY7" fmla="*/ 14790 h 71707"/>
                <a:gd name="connsiteX8" fmla="*/ 50195 w 58262"/>
                <a:gd name="connsiteY8" fmla="*/ 6723 h 71707"/>
                <a:gd name="connsiteX9" fmla="*/ 36750 w 58262"/>
                <a:gd name="connsiteY9" fmla="*/ 6723 h 71707"/>
                <a:gd name="connsiteX10" fmla="*/ 35854 w 58262"/>
                <a:gd name="connsiteY10" fmla="*/ 6723 h 71707"/>
                <a:gd name="connsiteX11" fmla="*/ 18375 w 58262"/>
                <a:gd name="connsiteY11" fmla="*/ 896 h 71707"/>
                <a:gd name="connsiteX12" fmla="*/ 13445 w 58262"/>
                <a:gd name="connsiteY12" fmla="*/ 0 h 71707"/>
                <a:gd name="connsiteX13" fmla="*/ 6723 w 58262"/>
                <a:gd name="connsiteY13" fmla="*/ 0 h 71707"/>
                <a:gd name="connsiteX14" fmla="*/ 0 w 58262"/>
                <a:gd name="connsiteY14" fmla="*/ 6723 h 71707"/>
                <a:gd name="connsiteX15" fmla="*/ 0 w 58262"/>
                <a:gd name="connsiteY15" fmla="*/ 28235 h 71707"/>
                <a:gd name="connsiteX16" fmla="*/ 16582 w 58262"/>
                <a:gd name="connsiteY16" fmla="*/ 44817 h 71707"/>
                <a:gd name="connsiteX17" fmla="*/ 23305 w 58262"/>
                <a:gd name="connsiteY17" fmla="*/ 44817 h 71707"/>
                <a:gd name="connsiteX18" fmla="*/ 26890 w 58262"/>
                <a:gd name="connsiteY18" fmla="*/ 48402 h 71707"/>
                <a:gd name="connsiteX19" fmla="*/ 26890 w 58262"/>
                <a:gd name="connsiteY19" fmla="*/ 63192 h 71707"/>
                <a:gd name="connsiteX20" fmla="*/ 35854 w 58262"/>
                <a:gd name="connsiteY20" fmla="*/ 72156 h 71707"/>
                <a:gd name="connsiteX21" fmla="*/ 44817 w 58262"/>
                <a:gd name="connsiteY21" fmla="*/ 63192 h 71707"/>
                <a:gd name="connsiteX22" fmla="*/ 44817 w 58262"/>
                <a:gd name="connsiteY22" fmla="*/ 44369 h 71707"/>
                <a:gd name="connsiteX23" fmla="*/ 29131 w 58262"/>
                <a:gd name="connsiteY23" fmla="*/ 29131 h 71707"/>
                <a:gd name="connsiteX24" fmla="*/ 40335 w 58262"/>
                <a:gd name="connsiteY24" fmla="*/ 63640 h 71707"/>
                <a:gd name="connsiteX25" fmla="*/ 35854 w 58262"/>
                <a:gd name="connsiteY25" fmla="*/ 68122 h 71707"/>
                <a:gd name="connsiteX26" fmla="*/ 31372 w 58262"/>
                <a:gd name="connsiteY26" fmla="*/ 63640 h 71707"/>
                <a:gd name="connsiteX27" fmla="*/ 31372 w 58262"/>
                <a:gd name="connsiteY27" fmla="*/ 48851 h 71707"/>
                <a:gd name="connsiteX28" fmla="*/ 23305 w 58262"/>
                <a:gd name="connsiteY28" fmla="*/ 40784 h 71707"/>
                <a:gd name="connsiteX29" fmla="*/ 16582 w 58262"/>
                <a:gd name="connsiteY29" fmla="*/ 40784 h 71707"/>
                <a:gd name="connsiteX30" fmla="*/ 4482 w 58262"/>
                <a:gd name="connsiteY30" fmla="*/ 28683 h 71707"/>
                <a:gd name="connsiteX31" fmla="*/ 4482 w 58262"/>
                <a:gd name="connsiteY31" fmla="*/ 7619 h 71707"/>
                <a:gd name="connsiteX32" fmla="*/ 6723 w 58262"/>
                <a:gd name="connsiteY32" fmla="*/ 5378 h 71707"/>
                <a:gd name="connsiteX33" fmla="*/ 13445 w 58262"/>
                <a:gd name="connsiteY33" fmla="*/ 5378 h 71707"/>
                <a:gd name="connsiteX34" fmla="*/ 17030 w 58262"/>
                <a:gd name="connsiteY34" fmla="*/ 5826 h 71707"/>
                <a:gd name="connsiteX35" fmla="*/ 34509 w 58262"/>
                <a:gd name="connsiteY35" fmla="*/ 11653 h 71707"/>
                <a:gd name="connsiteX36" fmla="*/ 37198 w 58262"/>
                <a:gd name="connsiteY36" fmla="*/ 12101 h 71707"/>
                <a:gd name="connsiteX37" fmla="*/ 50643 w 58262"/>
                <a:gd name="connsiteY37" fmla="*/ 12101 h 71707"/>
                <a:gd name="connsiteX38" fmla="*/ 54228 w 58262"/>
                <a:gd name="connsiteY38" fmla="*/ 15686 h 71707"/>
                <a:gd name="connsiteX39" fmla="*/ 50643 w 58262"/>
                <a:gd name="connsiteY39" fmla="*/ 19271 h 71707"/>
                <a:gd name="connsiteX40" fmla="*/ 30027 w 58262"/>
                <a:gd name="connsiteY40" fmla="*/ 19271 h 71707"/>
                <a:gd name="connsiteX41" fmla="*/ 16582 w 58262"/>
                <a:gd name="connsiteY41" fmla="*/ 14790 h 71707"/>
                <a:gd name="connsiteX42" fmla="*/ 13893 w 58262"/>
                <a:gd name="connsiteY42" fmla="*/ 16134 h 71707"/>
                <a:gd name="connsiteX43" fmla="*/ 15238 w 58262"/>
                <a:gd name="connsiteY43" fmla="*/ 18823 h 71707"/>
                <a:gd name="connsiteX44" fmla="*/ 16134 w 58262"/>
                <a:gd name="connsiteY44" fmla="*/ 19271 h 71707"/>
                <a:gd name="connsiteX45" fmla="*/ 16134 w 58262"/>
                <a:gd name="connsiteY45" fmla="*/ 30476 h 71707"/>
                <a:gd name="connsiteX46" fmla="*/ 16134 w 58262"/>
                <a:gd name="connsiteY46" fmla="*/ 31372 h 71707"/>
                <a:gd name="connsiteX47" fmla="*/ 29131 w 58262"/>
                <a:gd name="connsiteY47" fmla="*/ 34061 h 71707"/>
                <a:gd name="connsiteX48" fmla="*/ 40335 w 58262"/>
                <a:gd name="connsiteY48" fmla="*/ 45265 h 71707"/>
                <a:gd name="connsiteX49" fmla="*/ 40335 w 58262"/>
                <a:gd name="connsiteY49" fmla="*/ 63640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8262" h="71707">
                  <a:moveTo>
                    <a:pt x="29131" y="29131"/>
                  </a:moveTo>
                  <a:cubicBezTo>
                    <a:pt x="29131" y="29131"/>
                    <a:pt x="29131" y="29131"/>
                    <a:pt x="29131" y="29131"/>
                  </a:cubicBezTo>
                  <a:cubicBezTo>
                    <a:pt x="25545" y="29131"/>
                    <a:pt x="21960" y="29131"/>
                    <a:pt x="20616" y="28683"/>
                  </a:cubicBezTo>
                  <a:lnTo>
                    <a:pt x="20616" y="20168"/>
                  </a:lnTo>
                  <a:lnTo>
                    <a:pt x="28235" y="22857"/>
                  </a:lnTo>
                  <a:cubicBezTo>
                    <a:pt x="28683" y="22857"/>
                    <a:pt x="29131" y="22857"/>
                    <a:pt x="29131" y="22857"/>
                  </a:cubicBezTo>
                  <a:lnTo>
                    <a:pt x="50195" y="22857"/>
                  </a:lnTo>
                  <a:cubicBezTo>
                    <a:pt x="54677" y="22857"/>
                    <a:pt x="58262" y="19271"/>
                    <a:pt x="58262" y="14790"/>
                  </a:cubicBezTo>
                  <a:cubicBezTo>
                    <a:pt x="58262" y="10308"/>
                    <a:pt x="54677" y="6723"/>
                    <a:pt x="50195" y="6723"/>
                  </a:cubicBezTo>
                  <a:lnTo>
                    <a:pt x="36750" y="6723"/>
                  </a:lnTo>
                  <a:cubicBezTo>
                    <a:pt x="36302" y="6723"/>
                    <a:pt x="35854" y="6723"/>
                    <a:pt x="35854" y="6723"/>
                  </a:cubicBezTo>
                  <a:lnTo>
                    <a:pt x="18375" y="896"/>
                  </a:lnTo>
                  <a:cubicBezTo>
                    <a:pt x="17030" y="448"/>
                    <a:pt x="15238" y="0"/>
                    <a:pt x="13445" y="0"/>
                  </a:cubicBezTo>
                  <a:lnTo>
                    <a:pt x="6723" y="0"/>
                  </a:lnTo>
                  <a:cubicBezTo>
                    <a:pt x="3137" y="0"/>
                    <a:pt x="0" y="3137"/>
                    <a:pt x="0" y="6723"/>
                  </a:cubicBezTo>
                  <a:lnTo>
                    <a:pt x="0" y="28235"/>
                  </a:lnTo>
                  <a:cubicBezTo>
                    <a:pt x="0" y="37198"/>
                    <a:pt x="7619" y="44817"/>
                    <a:pt x="16582" y="44817"/>
                  </a:cubicBezTo>
                  <a:lnTo>
                    <a:pt x="23305" y="44817"/>
                  </a:lnTo>
                  <a:cubicBezTo>
                    <a:pt x="25097" y="44817"/>
                    <a:pt x="26890" y="46161"/>
                    <a:pt x="26890" y="48402"/>
                  </a:cubicBezTo>
                  <a:lnTo>
                    <a:pt x="26890" y="63192"/>
                  </a:lnTo>
                  <a:cubicBezTo>
                    <a:pt x="26890" y="68122"/>
                    <a:pt x="30924" y="72156"/>
                    <a:pt x="35854" y="72156"/>
                  </a:cubicBezTo>
                  <a:cubicBezTo>
                    <a:pt x="40783" y="72156"/>
                    <a:pt x="44817" y="68122"/>
                    <a:pt x="44817" y="63192"/>
                  </a:cubicBezTo>
                  <a:lnTo>
                    <a:pt x="44817" y="44369"/>
                  </a:lnTo>
                  <a:cubicBezTo>
                    <a:pt x="44817" y="36302"/>
                    <a:pt x="37646" y="29131"/>
                    <a:pt x="29131" y="29131"/>
                  </a:cubicBezTo>
                  <a:close/>
                  <a:moveTo>
                    <a:pt x="40335" y="63640"/>
                  </a:moveTo>
                  <a:cubicBezTo>
                    <a:pt x="40335" y="66329"/>
                    <a:pt x="38543" y="68122"/>
                    <a:pt x="35854" y="68122"/>
                  </a:cubicBezTo>
                  <a:cubicBezTo>
                    <a:pt x="33164" y="68122"/>
                    <a:pt x="31372" y="66329"/>
                    <a:pt x="31372" y="63640"/>
                  </a:cubicBezTo>
                  <a:lnTo>
                    <a:pt x="31372" y="48851"/>
                  </a:lnTo>
                  <a:cubicBezTo>
                    <a:pt x="31372" y="44369"/>
                    <a:pt x="27786" y="40784"/>
                    <a:pt x="23305" y="40784"/>
                  </a:cubicBezTo>
                  <a:lnTo>
                    <a:pt x="16582" y="40784"/>
                  </a:lnTo>
                  <a:cubicBezTo>
                    <a:pt x="9860" y="40784"/>
                    <a:pt x="4482" y="35406"/>
                    <a:pt x="4482" y="28683"/>
                  </a:cubicBezTo>
                  <a:lnTo>
                    <a:pt x="4482" y="7619"/>
                  </a:lnTo>
                  <a:cubicBezTo>
                    <a:pt x="4482" y="6274"/>
                    <a:pt x="5378" y="5378"/>
                    <a:pt x="6723" y="5378"/>
                  </a:cubicBezTo>
                  <a:lnTo>
                    <a:pt x="13445" y="5378"/>
                  </a:lnTo>
                  <a:cubicBezTo>
                    <a:pt x="14790" y="5378"/>
                    <a:pt x="15686" y="5378"/>
                    <a:pt x="17030" y="5826"/>
                  </a:cubicBezTo>
                  <a:lnTo>
                    <a:pt x="34509" y="11653"/>
                  </a:lnTo>
                  <a:cubicBezTo>
                    <a:pt x="35405" y="12101"/>
                    <a:pt x="36302" y="12101"/>
                    <a:pt x="37198" y="12101"/>
                  </a:cubicBezTo>
                  <a:lnTo>
                    <a:pt x="50643" y="12101"/>
                  </a:lnTo>
                  <a:cubicBezTo>
                    <a:pt x="52436" y="12101"/>
                    <a:pt x="54228" y="13445"/>
                    <a:pt x="54228" y="15686"/>
                  </a:cubicBezTo>
                  <a:cubicBezTo>
                    <a:pt x="54228" y="17927"/>
                    <a:pt x="52884" y="19271"/>
                    <a:pt x="50643" y="19271"/>
                  </a:cubicBezTo>
                  <a:lnTo>
                    <a:pt x="30027" y="19271"/>
                  </a:lnTo>
                  <a:lnTo>
                    <a:pt x="16582" y="14790"/>
                  </a:lnTo>
                  <a:cubicBezTo>
                    <a:pt x="15238" y="14342"/>
                    <a:pt x="14341" y="15238"/>
                    <a:pt x="13893" y="16134"/>
                  </a:cubicBezTo>
                  <a:cubicBezTo>
                    <a:pt x="13445" y="17479"/>
                    <a:pt x="14341" y="18375"/>
                    <a:pt x="15238" y="18823"/>
                  </a:cubicBezTo>
                  <a:lnTo>
                    <a:pt x="16134" y="19271"/>
                  </a:lnTo>
                  <a:lnTo>
                    <a:pt x="16134" y="30476"/>
                  </a:lnTo>
                  <a:cubicBezTo>
                    <a:pt x="16134" y="30924"/>
                    <a:pt x="16134" y="30924"/>
                    <a:pt x="16134" y="31372"/>
                  </a:cubicBezTo>
                  <a:cubicBezTo>
                    <a:pt x="16582" y="32268"/>
                    <a:pt x="17478" y="34957"/>
                    <a:pt x="29131" y="34061"/>
                  </a:cubicBezTo>
                  <a:cubicBezTo>
                    <a:pt x="35405" y="34061"/>
                    <a:pt x="40335" y="38991"/>
                    <a:pt x="40335" y="45265"/>
                  </a:cubicBezTo>
                  <a:lnTo>
                    <a:pt x="40335" y="63640"/>
                  </a:lnTo>
                  <a:close/>
                </a:path>
              </a:pathLst>
            </a:custGeom>
            <a:solidFill>
              <a:srgbClr val="231F20"/>
            </a:solidFill>
            <a:ln w="4477" cap="flat">
              <a:noFill/>
              <a:prstDash val="solid"/>
              <a:miter/>
            </a:ln>
          </p:spPr>
          <p:txBody>
            <a:bodyPr rtlCol="0" anchor="ctr"/>
            <a:lstStyle/>
            <a:p>
              <a:endParaRPr lang="en-US"/>
            </a:p>
          </p:txBody>
        </p:sp>
        <p:sp>
          <p:nvSpPr>
            <p:cNvPr id="2517" name="Freeform: Shape 2516">
              <a:extLst>
                <a:ext uri="{FF2B5EF4-FFF2-40B4-BE49-F238E27FC236}">
                  <a16:creationId xmlns:a16="http://schemas.microsoft.com/office/drawing/2014/main" id="{C76E16E8-2AAB-4BEB-BD73-2C3DC01A7CC1}"/>
                </a:ext>
              </a:extLst>
            </p:cNvPr>
            <p:cNvSpPr/>
            <p:nvPr/>
          </p:nvSpPr>
          <p:spPr>
            <a:xfrm>
              <a:off x="10966735" y="389055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930 h 26890"/>
                <a:gd name="connsiteX6" fmla="*/ 24201 w 26890"/>
                <a:gd name="connsiteY6" fmla="*/ 14790 h 26890"/>
                <a:gd name="connsiteX7" fmla="*/ 14342 w 26890"/>
                <a:gd name="connsiteY7" fmla="*/ 24649 h 26890"/>
                <a:gd name="connsiteX8" fmla="*/ 4482 w 26890"/>
                <a:gd name="connsiteY8" fmla="*/ 14790 h 26890"/>
                <a:gd name="connsiteX9" fmla="*/ 14342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723" y="28683"/>
                    <a:pt x="14342" y="28683"/>
                  </a:cubicBezTo>
                  <a:close/>
                  <a:moveTo>
                    <a:pt x="14342" y="4930"/>
                  </a:moveTo>
                  <a:cubicBezTo>
                    <a:pt x="19719" y="4930"/>
                    <a:pt x="24201" y="9411"/>
                    <a:pt x="24201" y="14790"/>
                  </a:cubicBezTo>
                  <a:cubicBezTo>
                    <a:pt x="24201" y="20168"/>
                    <a:pt x="19719" y="24649"/>
                    <a:pt x="14342" y="24649"/>
                  </a:cubicBezTo>
                  <a:cubicBezTo>
                    <a:pt x="8963" y="24649"/>
                    <a:pt x="4482" y="20168"/>
                    <a:pt x="4482" y="14790"/>
                  </a:cubicBezTo>
                  <a:cubicBezTo>
                    <a:pt x="4482" y="9411"/>
                    <a:pt x="8963" y="4930"/>
                    <a:pt x="14342" y="4930"/>
                  </a:cubicBezTo>
                  <a:close/>
                </a:path>
              </a:pathLst>
            </a:custGeom>
            <a:solidFill>
              <a:srgbClr val="231F20"/>
            </a:solidFill>
            <a:ln w="4477" cap="flat">
              <a:noFill/>
              <a:prstDash val="solid"/>
              <a:miter/>
            </a:ln>
          </p:spPr>
          <p:txBody>
            <a:bodyPr rtlCol="0" anchor="ctr"/>
            <a:lstStyle/>
            <a:p>
              <a:endParaRPr lang="en-US"/>
            </a:p>
          </p:txBody>
        </p:sp>
        <p:sp>
          <p:nvSpPr>
            <p:cNvPr id="2518" name="Freeform: Shape 2517">
              <a:extLst>
                <a:ext uri="{FF2B5EF4-FFF2-40B4-BE49-F238E27FC236}">
                  <a16:creationId xmlns:a16="http://schemas.microsoft.com/office/drawing/2014/main" id="{3A7D034F-5EB4-4BA1-8B3A-A2687CEADA87}"/>
                </a:ext>
              </a:extLst>
            </p:cNvPr>
            <p:cNvSpPr/>
            <p:nvPr/>
          </p:nvSpPr>
          <p:spPr>
            <a:xfrm>
              <a:off x="11039339" y="3923267"/>
              <a:ext cx="58262" cy="71707"/>
            </a:xfrm>
            <a:custGeom>
              <a:avLst/>
              <a:gdLst>
                <a:gd name="connsiteX0" fmla="*/ 41679 w 58262"/>
                <a:gd name="connsiteY0" fmla="*/ 44817 h 71707"/>
                <a:gd name="connsiteX1" fmla="*/ 58262 w 58262"/>
                <a:gd name="connsiteY1" fmla="*/ 28235 h 71707"/>
                <a:gd name="connsiteX2" fmla="*/ 58262 w 58262"/>
                <a:gd name="connsiteY2" fmla="*/ 6723 h 71707"/>
                <a:gd name="connsiteX3" fmla="*/ 51540 w 58262"/>
                <a:gd name="connsiteY3" fmla="*/ 0 h 71707"/>
                <a:gd name="connsiteX4" fmla="*/ 44817 w 58262"/>
                <a:gd name="connsiteY4" fmla="*/ 0 h 71707"/>
                <a:gd name="connsiteX5" fmla="*/ 39887 w 58262"/>
                <a:gd name="connsiteY5" fmla="*/ 896 h 71707"/>
                <a:gd name="connsiteX6" fmla="*/ 22409 w 58262"/>
                <a:gd name="connsiteY6" fmla="*/ 6723 h 71707"/>
                <a:gd name="connsiteX7" fmla="*/ 21512 w 58262"/>
                <a:gd name="connsiteY7" fmla="*/ 6723 h 71707"/>
                <a:gd name="connsiteX8" fmla="*/ 8067 w 58262"/>
                <a:gd name="connsiteY8" fmla="*/ 6723 h 71707"/>
                <a:gd name="connsiteX9" fmla="*/ 0 w 58262"/>
                <a:gd name="connsiteY9" fmla="*/ 14790 h 71707"/>
                <a:gd name="connsiteX10" fmla="*/ 8067 w 58262"/>
                <a:gd name="connsiteY10" fmla="*/ 22857 h 71707"/>
                <a:gd name="connsiteX11" fmla="*/ 29131 w 58262"/>
                <a:gd name="connsiteY11" fmla="*/ 22857 h 71707"/>
                <a:gd name="connsiteX12" fmla="*/ 30027 w 58262"/>
                <a:gd name="connsiteY12" fmla="*/ 22857 h 71707"/>
                <a:gd name="connsiteX13" fmla="*/ 37646 w 58262"/>
                <a:gd name="connsiteY13" fmla="*/ 20168 h 71707"/>
                <a:gd name="connsiteX14" fmla="*/ 37646 w 58262"/>
                <a:gd name="connsiteY14" fmla="*/ 28683 h 71707"/>
                <a:gd name="connsiteX15" fmla="*/ 29131 w 58262"/>
                <a:gd name="connsiteY15" fmla="*/ 29131 h 71707"/>
                <a:gd name="connsiteX16" fmla="*/ 13445 w 58262"/>
                <a:gd name="connsiteY16" fmla="*/ 44817 h 71707"/>
                <a:gd name="connsiteX17" fmla="*/ 13445 w 58262"/>
                <a:gd name="connsiteY17" fmla="*/ 63640 h 71707"/>
                <a:gd name="connsiteX18" fmla="*/ 22409 w 58262"/>
                <a:gd name="connsiteY18" fmla="*/ 72604 h 71707"/>
                <a:gd name="connsiteX19" fmla="*/ 31372 w 58262"/>
                <a:gd name="connsiteY19" fmla="*/ 63640 h 71707"/>
                <a:gd name="connsiteX20" fmla="*/ 31372 w 58262"/>
                <a:gd name="connsiteY20" fmla="*/ 48851 h 71707"/>
                <a:gd name="connsiteX21" fmla="*/ 34957 w 58262"/>
                <a:gd name="connsiteY21" fmla="*/ 45265 h 71707"/>
                <a:gd name="connsiteX22" fmla="*/ 41679 w 58262"/>
                <a:gd name="connsiteY22" fmla="*/ 45265 h 71707"/>
                <a:gd name="connsiteX23" fmla="*/ 26890 w 58262"/>
                <a:gd name="connsiteY23" fmla="*/ 47954 h 71707"/>
                <a:gd name="connsiteX24" fmla="*/ 26890 w 58262"/>
                <a:gd name="connsiteY24" fmla="*/ 62744 h 71707"/>
                <a:gd name="connsiteX25" fmla="*/ 22409 w 58262"/>
                <a:gd name="connsiteY25" fmla="*/ 67226 h 71707"/>
                <a:gd name="connsiteX26" fmla="*/ 17927 w 58262"/>
                <a:gd name="connsiteY26" fmla="*/ 62744 h 71707"/>
                <a:gd name="connsiteX27" fmla="*/ 17927 w 58262"/>
                <a:gd name="connsiteY27" fmla="*/ 43921 h 71707"/>
                <a:gd name="connsiteX28" fmla="*/ 29131 w 58262"/>
                <a:gd name="connsiteY28" fmla="*/ 32716 h 71707"/>
                <a:gd name="connsiteX29" fmla="*/ 42128 w 58262"/>
                <a:gd name="connsiteY29" fmla="*/ 30027 h 71707"/>
                <a:gd name="connsiteX30" fmla="*/ 42128 w 58262"/>
                <a:gd name="connsiteY30" fmla="*/ 29131 h 71707"/>
                <a:gd name="connsiteX31" fmla="*/ 42128 w 58262"/>
                <a:gd name="connsiteY31" fmla="*/ 17927 h 71707"/>
                <a:gd name="connsiteX32" fmla="*/ 43024 w 58262"/>
                <a:gd name="connsiteY32" fmla="*/ 17479 h 71707"/>
                <a:gd name="connsiteX33" fmla="*/ 44369 w 58262"/>
                <a:gd name="connsiteY33" fmla="*/ 14790 h 71707"/>
                <a:gd name="connsiteX34" fmla="*/ 41679 w 58262"/>
                <a:gd name="connsiteY34" fmla="*/ 13445 h 71707"/>
                <a:gd name="connsiteX35" fmla="*/ 28683 w 58262"/>
                <a:gd name="connsiteY35" fmla="*/ 17927 h 71707"/>
                <a:gd name="connsiteX36" fmla="*/ 7619 w 58262"/>
                <a:gd name="connsiteY36" fmla="*/ 17927 h 71707"/>
                <a:gd name="connsiteX37" fmla="*/ 4033 w 58262"/>
                <a:gd name="connsiteY37" fmla="*/ 14342 h 71707"/>
                <a:gd name="connsiteX38" fmla="*/ 7619 w 58262"/>
                <a:gd name="connsiteY38" fmla="*/ 10756 h 71707"/>
                <a:gd name="connsiteX39" fmla="*/ 21064 w 58262"/>
                <a:gd name="connsiteY39" fmla="*/ 10756 h 71707"/>
                <a:gd name="connsiteX40" fmla="*/ 23753 w 58262"/>
                <a:gd name="connsiteY40" fmla="*/ 10308 h 71707"/>
                <a:gd name="connsiteX41" fmla="*/ 41231 w 58262"/>
                <a:gd name="connsiteY41" fmla="*/ 4482 h 71707"/>
                <a:gd name="connsiteX42" fmla="*/ 44817 w 58262"/>
                <a:gd name="connsiteY42" fmla="*/ 4034 h 71707"/>
                <a:gd name="connsiteX43" fmla="*/ 51540 w 58262"/>
                <a:gd name="connsiteY43" fmla="*/ 4034 h 71707"/>
                <a:gd name="connsiteX44" fmla="*/ 53780 w 58262"/>
                <a:gd name="connsiteY44" fmla="*/ 6274 h 71707"/>
                <a:gd name="connsiteX45" fmla="*/ 53780 w 58262"/>
                <a:gd name="connsiteY45" fmla="*/ 27787 h 71707"/>
                <a:gd name="connsiteX46" fmla="*/ 41679 w 58262"/>
                <a:gd name="connsiteY46" fmla="*/ 39887 h 71707"/>
                <a:gd name="connsiteX47" fmla="*/ 34957 w 58262"/>
                <a:gd name="connsiteY47" fmla="*/ 39887 h 71707"/>
                <a:gd name="connsiteX48" fmla="*/ 26890 w 58262"/>
                <a:gd name="connsiteY48" fmla="*/ 47954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262" h="71707">
                  <a:moveTo>
                    <a:pt x="41679" y="44817"/>
                  </a:moveTo>
                  <a:cubicBezTo>
                    <a:pt x="50643" y="44817"/>
                    <a:pt x="58262" y="37198"/>
                    <a:pt x="58262" y="28235"/>
                  </a:cubicBezTo>
                  <a:lnTo>
                    <a:pt x="58262" y="6723"/>
                  </a:lnTo>
                  <a:cubicBezTo>
                    <a:pt x="58262" y="3137"/>
                    <a:pt x="55125" y="0"/>
                    <a:pt x="51540" y="0"/>
                  </a:cubicBezTo>
                  <a:lnTo>
                    <a:pt x="44817" y="0"/>
                  </a:lnTo>
                  <a:cubicBezTo>
                    <a:pt x="43024" y="0"/>
                    <a:pt x="41679" y="448"/>
                    <a:pt x="39887" y="896"/>
                  </a:cubicBezTo>
                  <a:lnTo>
                    <a:pt x="22409" y="6723"/>
                  </a:lnTo>
                  <a:cubicBezTo>
                    <a:pt x="21960" y="6723"/>
                    <a:pt x="21512" y="6723"/>
                    <a:pt x="21512" y="6723"/>
                  </a:cubicBezTo>
                  <a:lnTo>
                    <a:pt x="8067" y="6723"/>
                  </a:lnTo>
                  <a:cubicBezTo>
                    <a:pt x="3585" y="6723"/>
                    <a:pt x="0" y="10308"/>
                    <a:pt x="0" y="14790"/>
                  </a:cubicBezTo>
                  <a:cubicBezTo>
                    <a:pt x="0" y="19271"/>
                    <a:pt x="3585" y="22857"/>
                    <a:pt x="8067" y="22857"/>
                  </a:cubicBezTo>
                  <a:lnTo>
                    <a:pt x="29131" y="22857"/>
                  </a:lnTo>
                  <a:cubicBezTo>
                    <a:pt x="29579" y="22857"/>
                    <a:pt x="30027" y="22857"/>
                    <a:pt x="30027" y="22857"/>
                  </a:cubicBezTo>
                  <a:lnTo>
                    <a:pt x="37646" y="20168"/>
                  </a:lnTo>
                  <a:lnTo>
                    <a:pt x="37646" y="28683"/>
                  </a:lnTo>
                  <a:cubicBezTo>
                    <a:pt x="36302" y="29131"/>
                    <a:pt x="32716" y="29131"/>
                    <a:pt x="29131" y="29131"/>
                  </a:cubicBezTo>
                  <a:cubicBezTo>
                    <a:pt x="20616" y="29131"/>
                    <a:pt x="13445" y="36302"/>
                    <a:pt x="13445" y="44817"/>
                  </a:cubicBezTo>
                  <a:lnTo>
                    <a:pt x="13445" y="63640"/>
                  </a:lnTo>
                  <a:cubicBezTo>
                    <a:pt x="13445" y="68570"/>
                    <a:pt x="17478" y="72604"/>
                    <a:pt x="22409" y="72604"/>
                  </a:cubicBezTo>
                  <a:cubicBezTo>
                    <a:pt x="27338" y="72604"/>
                    <a:pt x="31372" y="68570"/>
                    <a:pt x="31372" y="63640"/>
                  </a:cubicBezTo>
                  <a:lnTo>
                    <a:pt x="31372" y="48851"/>
                  </a:lnTo>
                  <a:cubicBezTo>
                    <a:pt x="31372" y="47058"/>
                    <a:pt x="32716" y="45265"/>
                    <a:pt x="34957" y="45265"/>
                  </a:cubicBezTo>
                  <a:lnTo>
                    <a:pt x="41679" y="45265"/>
                  </a:lnTo>
                  <a:close/>
                  <a:moveTo>
                    <a:pt x="26890" y="47954"/>
                  </a:moveTo>
                  <a:lnTo>
                    <a:pt x="26890" y="62744"/>
                  </a:lnTo>
                  <a:cubicBezTo>
                    <a:pt x="26890" y="65433"/>
                    <a:pt x="25097" y="67226"/>
                    <a:pt x="22409" y="67226"/>
                  </a:cubicBezTo>
                  <a:cubicBezTo>
                    <a:pt x="19720" y="67226"/>
                    <a:pt x="17927" y="65433"/>
                    <a:pt x="17927" y="62744"/>
                  </a:cubicBezTo>
                  <a:lnTo>
                    <a:pt x="17927" y="43921"/>
                  </a:lnTo>
                  <a:cubicBezTo>
                    <a:pt x="17927" y="37646"/>
                    <a:pt x="22857" y="32716"/>
                    <a:pt x="29131" y="32716"/>
                  </a:cubicBezTo>
                  <a:cubicBezTo>
                    <a:pt x="40783" y="33613"/>
                    <a:pt x="41679" y="30924"/>
                    <a:pt x="42128" y="30027"/>
                  </a:cubicBezTo>
                  <a:cubicBezTo>
                    <a:pt x="42128" y="29579"/>
                    <a:pt x="42128" y="29579"/>
                    <a:pt x="42128" y="29131"/>
                  </a:cubicBezTo>
                  <a:lnTo>
                    <a:pt x="42128" y="17927"/>
                  </a:lnTo>
                  <a:lnTo>
                    <a:pt x="43024" y="17479"/>
                  </a:lnTo>
                  <a:cubicBezTo>
                    <a:pt x="44369" y="17030"/>
                    <a:pt x="44817" y="15686"/>
                    <a:pt x="44369" y="14790"/>
                  </a:cubicBezTo>
                  <a:cubicBezTo>
                    <a:pt x="43920" y="13445"/>
                    <a:pt x="42576" y="12997"/>
                    <a:pt x="41679" y="13445"/>
                  </a:cubicBezTo>
                  <a:lnTo>
                    <a:pt x="28683" y="17927"/>
                  </a:lnTo>
                  <a:lnTo>
                    <a:pt x="7619" y="17927"/>
                  </a:lnTo>
                  <a:cubicBezTo>
                    <a:pt x="5826" y="17927"/>
                    <a:pt x="4033" y="16582"/>
                    <a:pt x="4033" y="14342"/>
                  </a:cubicBezTo>
                  <a:cubicBezTo>
                    <a:pt x="4033" y="12101"/>
                    <a:pt x="5378" y="10756"/>
                    <a:pt x="7619" y="10756"/>
                  </a:cubicBezTo>
                  <a:lnTo>
                    <a:pt x="21064" y="10756"/>
                  </a:lnTo>
                  <a:cubicBezTo>
                    <a:pt x="21960" y="10756"/>
                    <a:pt x="22857" y="10756"/>
                    <a:pt x="23753" y="10308"/>
                  </a:cubicBezTo>
                  <a:lnTo>
                    <a:pt x="41231" y="4482"/>
                  </a:lnTo>
                  <a:cubicBezTo>
                    <a:pt x="42128" y="4034"/>
                    <a:pt x="43472" y="4034"/>
                    <a:pt x="44817" y="4034"/>
                  </a:cubicBezTo>
                  <a:lnTo>
                    <a:pt x="51540" y="4034"/>
                  </a:lnTo>
                  <a:cubicBezTo>
                    <a:pt x="52884" y="4034"/>
                    <a:pt x="53780" y="4930"/>
                    <a:pt x="53780" y="6274"/>
                  </a:cubicBezTo>
                  <a:lnTo>
                    <a:pt x="53780" y="27787"/>
                  </a:lnTo>
                  <a:cubicBezTo>
                    <a:pt x="53780" y="34509"/>
                    <a:pt x="48402" y="39887"/>
                    <a:pt x="41679" y="39887"/>
                  </a:cubicBezTo>
                  <a:lnTo>
                    <a:pt x="34957" y="39887"/>
                  </a:lnTo>
                  <a:cubicBezTo>
                    <a:pt x="30475" y="40335"/>
                    <a:pt x="26890" y="43473"/>
                    <a:pt x="26890" y="47954"/>
                  </a:cubicBezTo>
                  <a:close/>
                </a:path>
              </a:pathLst>
            </a:custGeom>
            <a:solidFill>
              <a:srgbClr val="231F20"/>
            </a:solidFill>
            <a:ln w="4477" cap="flat">
              <a:noFill/>
              <a:prstDash val="solid"/>
              <a:miter/>
            </a:ln>
          </p:spPr>
          <p:txBody>
            <a:bodyPr rtlCol="0" anchor="ctr"/>
            <a:lstStyle/>
            <a:p>
              <a:endParaRPr lang="en-US"/>
            </a:p>
          </p:txBody>
        </p:sp>
        <p:sp>
          <p:nvSpPr>
            <p:cNvPr id="2519" name="Freeform: Shape 2518">
              <a:extLst>
                <a:ext uri="{FF2B5EF4-FFF2-40B4-BE49-F238E27FC236}">
                  <a16:creationId xmlns:a16="http://schemas.microsoft.com/office/drawing/2014/main" id="{52A1038A-F7B5-4C62-84BE-4387CE9AA377}"/>
                </a:ext>
              </a:extLst>
            </p:cNvPr>
            <p:cNvSpPr/>
            <p:nvPr/>
          </p:nvSpPr>
          <p:spPr>
            <a:xfrm>
              <a:off x="11074296" y="389055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930 h 26890"/>
                <a:gd name="connsiteX6" fmla="*/ 24201 w 26890"/>
                <a:gd name="connsiteY6" fmla="*/ 14790 h 26890"/>
                <a:gd name="connsiteX7" fmla="*/ 14342 w 26890"/>
                <a:gd name="connsiteY7" fmla="*/ 24649 h 26890"/>
                <a:gd name="connsiteX8" fmla="*/ 4482 w 26890"/>
                <a:gd name="connsiteY8" fmla="*/ 14790 h 26890"/>
                <a:gd name="connsiteX9" fmla="*/ 14342 w 26890"/>
                <a:gd name="connsiteY9" fmla="*/ 4930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723" y="28683"/>
                    <a:pt x="14342" y="28683"/>
                  </a:cubicBezTo>
                  <a:close/>
                  <a:moveTo>
                    <a:pt x="14342" y="4930"/>
                  </a:moveTo>
                  <a:cubicBezTo>
                    <a:pt x="19720" y="4930"/>
                    <a:pt x="24201" y="9411"/>
                    <a:pt x="24201" y="14790"/>
                  </a:cubicBezTo>
                  <a:cubicBezTo>
                    <a:pt x="24201" y="20168"/>
                    <a:pt x="19720" y="24649"/>
                    <a:pt x="14342" y="24649"/>
                  </a:cubicBezTo>
                  <a:cubicBezTo>
                    <a:pt x="8963" y="24649"/>
                    <a:pt x="4482" y="20168"/>
                    <a:pt x="4482" y="14790"/>
                  </a:cubicBezTo>
                  <a:cubicBezTo>
                    <a:pt x="4482" y="9411"/>
                    <a:pt x="8963" y="4930"/>
                    <a:pt x="14342" y="4930"/>
                  </a:cubicBezTo>
                  <a:close/>
                </a:path>
              </a:pathLst>
            </a:custGeom>
            <a:solidFill>
              <a:srgbClr val="231F20"/>
            </a:solidFill>
            <a:ln w="4477" cap="flat">
              <a:noFill/>
              <a:prstDash val="solid"/>
              <a:miter/>
            </a:ln>
          </p:spPr>
          <p:txBody>
            <a:bodyPr rtlCol="0" anchor="ctr"/>
            <a:lstStyle/>
            <a:p>
              <a:endParaRPr lang="en-US"/>
            </a:p>
          </p:txBody>
        </p:sp>
      </p:grpSp>
      <p:grpSp>
        <p:nvGrpSpPr>
          <p:cNvPr id="2463" name="Group 2462">
            <a:extLst>
              <a:ext uri="{FF2B5EF4-FFF2-40B4-BE49-F238E27FC236}">
                <a16:creationId xmlns:a16="http://schemas.microsoft.com/office/drawing/2014/main" id="{0A68AA06-E6F8-4197-B97F-6B30AD462292}"/>
              </a:ext>
              <a:ext uri="{C183D7F6-B498-43B3-948B-1728B52AA6E4}">
                <adec:decorative xmlns:adec="http://schemas.microsoft.com/office/drawing/2017/decorative" val="1"/>
              </a:ext>
            </a:extLst>
          </p:cNvPr>
          <p:cNvGrpSpPr>
            <a:grpSpLocks noChangeAspect="1"/>
          </p:cNvGrpSpPr>
          <p:nvPr/>
        </p:nvGrpSpPr>
        <p:grpSpPr>
          <a:xfrm>
            <a:off x="3762727" y="4873209"/>
            <a:ext cx="152378" cy="149464"/>
            <a:chOff x="9637462" y="3856041"/>
            <a:chExt cx="152378" cy="149464"/>
          </a:xfrm>
        </p:grpSpPr>
        <p:sp>
          <p:nvSpPr>
            <p:cNvPr id="2510" name="Freeform: Shape 2509">
              <a:extLst>
                <a:ext uri="{FF2B5EF4-FFF2-40B4-BE49-F238E27FC236}">
                  <a16:creationId xmlns:a16="http://schemas.microsoft.com/office/drawing/2014/main" id="{CF4AB980-4FAD-40E9-A9BB-ABA5267C3C16}"/>
                </a:ext>
              </a:extLst>
            </p:cNvPr>
            <p:cNvSpPr/>
            <p:nvPr/>
          </p:nvSpPr>
          <p:spPr>
            <a:xfrm>
              <a:off x="9637462" y="3856041"/>
              <a:ext cx="152378" cy="112043"/>
            </a:xfrm>
            <a:custGeom>
              <a:avLst/>
              <a:gdLst>
                <a:gd name="connsiteX0" fmla="*/ 144311 w 152377"/>
                <a:gd name="connsiteY0" fmla="*/ 0 h 112042"/>
                <a:gd name="connsiteX1" fmla="*/ 8067 w 152377"/>
                <a:gd name="connsiteY1" fmla="*/ 0 h 112042"/>
                <a:gd name="connsiteX2" fmla="*/ 0 w 152377"/>
                <a:gd name="connsiteY2" fmla="*/ 8067 h 112042"/>
                <a:gd name="connsiteX3" fmla="*/ 0 w 152377"/>
                <a:gd name="connsiteY3" fmla="*/ 56021 h 112042"/>
                <a:gd name="connsiteX4" fmla="*/ 2241 w 152377"/>
                <a:gd name="connsiteY4" fmla="*/ 58262 h 112042"/>
                <a:gd name="connsiteX5" fmla="*/ 4482 w 152377"/>
                <a:gd name="connsiteY5" fmla="*/ 56021 h 112042"/>
                <a:gd name="connsiteX6" fmla="*/ 4482 w 152377"/>
                <a:gd name="connsiteY6" fmla="*/ 8067 h 112042"/>
                <a:gd name="connsiteX7" fmla="*/ 8067 w 152377"/>
                <a:gd name="connsiteY7" fmla="*/ 4482 h 112042"/>
                <a:gd name="connsiteX8" fmla="*/ 144311 w 152377"/>
                <a:gd name="connsiteY8" fmla="*/ 4482 h 112042"/>
                <a:gd name="connsiteX9" fmla="*/ 147896 w 152377"/>
                <a:gd name="connsiteY9" fmla="*/ 8067 h 112042"/>
                <a:gd name="connsiteX10" fmla="*/ 147896 w 152377"/>
                <a:gd name="connsiteY10" fmla="*/ 95012 h 112042"/>
                <a:gd name="connsiteX11" fmla="*/ 144311 w 152377"/>
                <a:gd name="connsiteY11" fmla="*/ 94116 h 112042"/>
                <a:gd name="connsiteX12" fmla="*/ 56021 w 152377"/>
                <a:gd name="connsiteY12" fmla="*/ 94116 h 112042"/>
                <a:gd name="connsiteX13" fmla="*/ 53780 w 152377"/>
                <a:gd name="connsiteY13" fmla="*/ 96357 h 112042"/>
                <a:gd name="connsiteX14" fmla="*/ 56021 w 152377"/>
                <a:gd name="connsiteY14" fmla="*/ 98597 h 112042"/>
                <a:gd name="connsiteX15" fmla="*/ 144311 w 152377"/>
                <a:gd name="connsiteY15" fmla="*/ 98597 h 112042"/>
                <a:gd name="connsiteX16" fmla="*/ 147896 w 152377"/>
                <a:gd name="connsiteY16" fmla="*/ 102183 h 112042"/>
                <a:gd name="connsiteX17" fmla="*/ 147896 w 152377"/>
                <a:gd name="connsiteY17" fmla="*/ 102631 h 112042"/>
                <a:gd name="connsiteX18" fmla="*/ 147896 w 152377"/>
                <a:gd name="connsiteY18" fmla="*/ 103976 h 112042"/>
                <a:gd name="connsiteX19" fmla="*/ 144311 w 152377"/>
                <a:gd name="connsiteY19" fmla="*/ 107561 h 112042"/>
                <a:gd name="connsiteX20" fmla="*/ 56021 w 152377"/>
                <a:gd name="connsiteY20" fmla="*/ 107561 h 112042"/>
                <a:gd name="connsiteX21" fmla="*/ 53780 w 152377"/>
                <a:gd name="connsiteY21" fmla="*/ 109802 h 112042"/>
                <a:gd name="connsiteX22" fmla="*/ 56021 w 152377"/>
                <a:gd name="connsiteY22" fmla="*/ 112043 h 112042"/>
                <a:gd name="connsiteX23" fmla="*/ 144311 w 152377"/>
                <a:gd name="connsiteY23" fmla="*/ 112043 h 112042"/>
                <a:gd name="connsiteX24" fmla="*/ 152378 w 152377"/>
                <a:gd name="connsiteY24" fmla="*/ 103976 h 112042"/>
                <a:gd name="connsiteX25" fmla="*/ 152378 w 152377"/>
                <a:gd name="connsiteY25" fmla="*/ 102631 h 112042"/>
                <a:gd name="connsiteX26" fmla="*/ 152378 w 152377"/>
                <a:gd name="connsiteY26" fmla="*/ 102183 h 112042"/>
                <a:gd name="connsiteX27" fmla="*/ 152378 w 152377"/>
                <a:gd name="connsiteY27" fmla="*/ 8067 h 112042"/>
                <a:gd name="connsiteX28" fmla="*/ 144311 w 152377"/>
                <a:gd name="connsiteY28" fmla="*/ 0 h 1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12042">
                  <a:moveTo>
                    <a:pt x="144311" y="0"/>
                  </a:moveTo>
                  <a:lnTo>
                    <a:pt x="8067" y="0"/>
                  </a:lnTo>
                  <a:cubicBezTo>
                    <a:pt x="3586" y="0"/>
                    <a:pt x="0" y="3585"/>
                    <a:pt x="0" y="8067"/>
                  </a:cubicBezTo>
                  <a:lnTo>
                    <a:pt x="0" y="56021"/>
                  </a:lnTo>
                  <a:cubicBezTo>
                    <a:pt x="0" y="57366"/>
                    <a:pt x="896" y="58262"/>
                    <a:pt x="2241" y="58262"/>
                  </a:cubicBezTo>
                  <a:cubicBezTo>
                    <a:pt x="3586" y="58262"/>
                    <a:pt x="4482" y="57366"/>
                    <a:pt x="4482" y="56021"/>
                  </a:cubicBezTo>
                  <a:lnTo>
                    <a:pt x="4482" y="8067"/>
                  </a:lnTo>
                  <a:cubicBezTo>
                    <a:pt x="4482" y="6274"/>
                    <a:pt x="6274" y="4482"/>
                    <a:pt x="8067" y="4482"/>
                  </a:cubicBezTo>
                  <a:lnTo>
                    <a:pt x="144311" y="4482"/>
                  </a:lnTo>
                  <a:cubicBezTo>
                    <a:pt x="146104" y="4482"/>
                    <a:pt x="147896" y="6274"/>
                    <a:pt x="147896" y="8067"/>
                  </a:cubicBezTo>
                  <a:lnTo>
                    <a:pt x="147896" y="95012"/>
                  </a:lnTo>
                  <a:cubicBezTo>
                    <a:pt x="147000" y="94564"/>
                    <a:pt x="145655" y="94116"/>
                    <a:pt x="144311" y="94116"/>
                  </a:cubicBezTo>
                  <a:lnTo>
                    <a:pt x="56021" y="94116"/>
                  </a:lnTo>
                  <a:cubicBezTo>
                    <a:pt x="54677" y="94116"/>
                    <a:pt x="53780" y="95012"/>
                    <a:pt x="53780" y="96357"/>
                  </a:cubicBezTo>
                  <a:cubicBezTo>
                    <a:pt x="53780" y="97701"/>
                    <a:pt x="54677" y="98597"/>
                    <a:pt x="56021" y="98597"/>
                  </a:cubicBezTo>
                  <a:lnTo>
                    <a:pt x="144311" y="98597"/>
                  </a:lnTo>
                  <a:cubicBezTo>
                    <a:pt x="146104" y="98597"/>
                    <a:pt x="147896" y="100390"/>
                    <a:pt x="147896" y="102183"/>
                  </a:cubicBezTo>
                  <a:lnTo>
                    <a:pt x="147896" y="102631"/>
                  </a:lnTo>
                  <a:lnTo>
                    <a:pt x="147896" y="103976"/>
                  </a:lnTo>
                  <a:cubicBezTo>
                    <a:pt x="147896" y="105768"/>
                    <a:pt x="146104" y="107561"/>
                    <a:pt x="144311" y="107561"/>
                  </a:cubicBezTo>
                  <a:lnTo>
                    <a:pt x="56021" y="107561"/>
                  </a:lnTo>
                  <a:cubicBezTo>
                    <a:pt x="54677" y="107561"/>
                    <a:pt x="53780" y="108457"/>
                    <a:pt x="53780" y="109802"/>
                  </a:cubicBezTo>
                  <a:cubicBezTo>
                    <a:pt x="53780" y="111146"/>
                    <a:pt x="54677" y="112043"/>
                    <a:pt x="56021" y="112043"/>
                  </a:cubicBezTo>
                  <a:lnTo>
                    <a:pt x="144311" y="112043"/>
                  </a:lnTo>
                  <a:cubicBezTo>
                    <a:pt x="148793" y="112043"/>
                    <a:pt x="152378" y="108457"/>
                    <a:pt x="152378" y="103976"/>
                  </a:cubicBezTo>
                  <a:lnTo>
                    <a:pt x="152378" y="102631"/>
                  </a:lnTo>
                  <a:lnTo>
                    <a:pt x="152378" y="102183"/>
                  </a:lnTo>
                  <a:lnTo>
                    <a:pt x="152378" y="8067"/>
                  </a:lnTo>
                  <a:cubicBezTo>
                    <a:pt x="152378" y="3585"/>
                    <a:pt x="148793" y="0"/>
                    <a:pt x="144311" y="0"/>
                  </a:cubicBezTo>
                  <a:close/>
                </a:path>
              </a:pathLst>
            </a:custGeom>
            <a:solidFill>
              <a:srgbClr val="231F20"/>
            </a:solidFill>
            <a:ln w="4477" cap="flat">
              <a:noFill/>
              <a:prstDash val="solid"/>
              <a:miter/>
            </a:ln>
          </p:spPr>
          <p:txBody>
            <a:bodyPr rtlCol="0" anchor="ctr"/>
            <a:lstStyle/>
            <a:p>
              <a:endParaRPr lang="en-US"/>
            </a:p>
          </p:txBody>
        </p:sp>
        <p:sp>
          <p:nvSpPr>
            <p:cNvPr id="2511" name="Freeform: Shape 2510">
              <a:extLst>
                <a:ext uri="{FF2B5EF4-FFF2-40B4-BE49-F238E27FC236}">
                  <a16:creationId xmlns:a16="http://schemas.microsoft.com/office/drawing/2014/main" id="{B04FB00D-C100-49F1-8EEF-9BEC5824F6E3}"/>
                </a:ext>
              </a:extLst>
            </p:cNvPr>
            <p:cNvSpPr/>
            <p:nvPr/>
          </p:nvSpPr>
          <p:spPr>
            <a:xfrm>
              <a:off x="9652252" y="3884276"/>
              <a:ext cx="26890" cy="26890"/>
            </a:xfrm>
            <a:custGeom>
              <a:avLst/>
              <a:gdLst>
                <a:gd name="connsiteX0" fmla="*/ 28683 w 26890"/>
                <a:gd name="connsiteY0" fmla="*/ 14342 h 26890"/>
                <a:gd name="connsiteX1" fmla="*/ 14341 w 26890"/>
                <a:gd name="connsiteY1" fmla="*/ 0 h 26890"/>
                <a:gd name="connsiteX2" fmla="*/ 0 w 26890"/>
                <a:gd name="connsiteY2" fmla="*/ 14342 h 26890"/>
                <a:gd name="connsiteX3" fmla="*/ 14341 w 26890"/>
                <a:gd name="connsiteY3" fmla="*/ 28683 h 26890"/>
                <a:gd name="connsiteX4" fmla="*/ 28683 w 26890"/>
                <a:gd name="connsiteY4" fmla="*/ 14342 h 26890"/>
                <a:gd name="connsiteX5" fmla="*/ 4482 w 26890"/>
                <a:gd name="connsiteY5" fmla="*/ 14342 h 26890"/>
                <a:gd name="connsiteX6" fmla="*/ 14341 w 26890"/>
                <a:gd name="connsiteY6" fmla="*/ 4482 h 26890"/>
                <a:gd name="connsiteX7" fmla="*/ 24201 w 26890"/>
                <a:gd name="connsiteY7" fmla="*/ 14342 h 26890"/>
                <a:gd name="connsiteX8" fmla="*/ 14341 w 26890"/>
                <a:gd name="connsiteY8" fmla="*/ 24201 h 26890"/>
                <a:gd name="connsiteX9" fmla="*/ 4482 w 26890"/>
                <a:gd name="connsiteY9" fmla="*/ 1434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28683" y="14342"/>
                  </a:moveTo>
                  <a:cubicBezTo>
                    <a:pt x="28683" y="6274"/>
                    <a:pt x="22409" y="0"/>
                    <a:pt x="14341" y="0"/>
                  </a:cubicBezTo>
                  <a:cubicBezTo>
                    <a:pt x="6274" y="0"/>
                    <a:pt x="0" y="6274"/>
                    <a:pt x="0" y="14342"/>
                  </a:cubicBezTo>
                  <a:cubicBezTo>
                    <a:pt x="0" y="22409"/>
                    <a:pt x="6274" y="28683"/>
                    <a:pt x="14341" y="28683"/>
                  </a:cubicBezTo>
                  <a:cubicBezTo>
                    <a:pt x="22409" y="28683"/>
                    <a:pt x="28683" y="21960"/>
                    <a:pt x="28683" y="14342"/>
                  </a:cubicBezTo>
                  <a:close/>
                  <a:moveTo>
                    <a:pt x="4482" y="14342"/>
                  </a:moveTo>
                  <a:cubicBezTo>
                    <a:pt x="4482" y="8963"/>
                    <a:pt x="8963" y="4482"/>
                    <a:pt x="14341" y="4482"/>
                  </a:cubicBezTo>
                  <a:cubicBezTo>
                    <a:pt x="19719" y="4482"/>
                    <a:pt x="24201" y="8963"/>
                    <a:pt x="24201" y="14342"/>
                  </a:cubicBezTo>
                  <a:cubicBezTo>
                    <a:pt x="24201" y="19720"/>
                    <a:pt x="19719" y="24201"/>
                    <a:pt x="14341" y="24201"/>
                  </a:cubicBezTo>
                  <a:cubicBezTo>
                    <a:pt x="8963" y="24201"/>
                    <a:pt x="4482" y="19720"/>
                    <a:pt x="4482" y="14342"/>
                  </a:cubicBezTo>
                  <a:close/>
                </a:path>
              </a:pathLst>
            </a:custGeom>
            <a:solidFill>
              <a:srgbClr val="231F20"/>
            </a:solidFill>
            <a:ln w="4477" cap="flat">
              <a:noFill/>
              <a:prstDash val="solid"/>
              <a:miter/>
            </a:ln>
          </p:spPr>
          <p:txBody>
            <a:bodyPr rtlCol="0" anchor="ctr"/>
            <a:lstStyle/>
            <a:p>
              <a:endParaRPr lang="en-US"/>
            </a:p>
          </p:txBody>
        </p:sp>
        <p:sp>
          <p:nvSpPr>
            <p:cNvPr id="2512" name="Freeform: Shape 2511">
              <a:extLst>
                <a:ext uri="{FF2B5EF4-FFF2-40B4-BE49-F238E27FC236}">
                  <a16:creationId xmlns:a16="http://schemas.microsoft.com/office/drawing/2014/main" id="{6A536EF5-880B-4F87-B187-9CD4B3F7EC88}"/>
                </a:ext>
              </a:extLst>
            </p:cNvPr>
            <p:cNvSpPr/>
            <p:nvPr/>
          </p:nvSpPr>
          <p:spPr>
            <a:xfrm>
              <a:off x="9637462" y="3906908"/>
              <a:ext cx="89634" cy="98597"/>
            </a:xfrm>
            <a:custGeom>
              <a:avLst/>
              <a:gdLst>
                <a:gd name="connsiteX0" fmla="*/ 61848 w 89634"/>
                <a:gd name="connsiteY0" fmla="*/ 41456 h 98597"/>
                <a:gd name="connsiteX1" fmla="*/ 61848 w 89634"/>
                <a:gd name="connsiteY1" fmla="*/ 41456 h 98597"/>
                <a:gd name="connsiteX2" fmla="*/ 68122 w 89634"/>
                <a:gd name="connsiteY2" fmla="*/ 38319 h 98597"/>
                <a:gd name="connsiteX3" fmla="*/ 76189 w 89634"/>
                <a:gd name="connsiteY3" fmla="*/ 29803 h 98597"/>
                <a:gd name="connsiteX4" fmla="*/ 78430 w 89634"/>
                <a:gd name="connsiteY4" fmla="*/ 21736 h 98597"/>
                <a:gd name="connsiteX5" fmla="*/ 77534 w 89634"/>
                <a:gd name="connsiteY5" fmla="*/ 19496 h 98597"/>
                <a:gd name="connsiteX6" fmla="*/ 93220 w 89634"/>
                <a:gd name="connsiteY6" fmla="*/ 3810 h 98597"/>
                <a:gd name="connsiteX7" fmla="*/ 93220 w 89634"/>
                <a:gd name="connsiteY7" fmla="*/ 672 h 98597"/>
                <a:gd name="connsiteX8" fmla="*/ 90082 w 89634"/>
                <a:gd name="connsiteY8" fmla="*/ 672 h 98597"/>
                <a:gd name="connsiteX9" fmla="*/ 74396 w 89634"/>
                <a:gd name="connsiteY9" fmla="*/ 16358 h 98597"/>
                <a:gd name="connsiteX10" fmla="*/ 72604 w 89634"/>
                <a:gd name="connsiteY10" fmla="*/ 15462 h 98597"/>
                <a:gd name="connsiteX11" fmla="*/ 64537 w 89634"/>
                <a:gd name="connsiteY11" fmla="*/ 17703 h 98597"/>
                <a:gd name="connsiteX12" fmla="*/ 61848 w 89634"/>
                <a:gd name="connsiteY12" fmla="*/ 20392 h 98597"/>
                <a:gd name="connsiteX13" fmla="*/ 59159 w 89634"/>
                <a:gd name="connsiteY13" fmla="*/ 18151 h 98597"/>
                <a:gd name="connsiteX14" fmla="*/ 45265 w 89634"/>
                <a:gd name="connsiteY14" fmla="*/ 9636 h 98597"/>
                <a:gd name="connsiteX15" fmla="*/ 45265 w 89634"/>
                <a:gd name="connsiteY15" fmla="*/ 9636 h 98597"/>
                <a:gd name="connsiteX16" fmla="*/ 45265 w 89634"/>
                <a:gd name="connsiteY16" fmla="*/ 9636 h 98597"/>
                <a:gd name="connsiteX17" fmla="*/ 12997 w 89634"/>
                <a:gd name="connsiteY17" fmla="*/ 9636 h 98597"/>
                <a:gd name="connsiteX18" fmla="*/ 0 w 89634"/>
                <a:gd name="connsiteY18" fmla="*/ 23081 h 98597"/>
                <a:gd name="connsiteX19" fmla="*/ 0 w 89634"/>
                <a:gd name="connsiteY19" fmla="*/ 56246 h 98597"/>
                <a:gd name="connsiteX20" fmla="*/ 5826 w 89634"/>
                <a:gd name="connsiteY20" fmla="*/ 62072 h 98597"/>
                <a:gd name="connsiteX21" fmla="*/ 10756 w 89634"/>
                <a:gd name="connsiteY21" fmla="*/ 62072 h 98597"/>
                <a:gd name="connsiteX22" fmla="*/ 10756 w 89634"/>
                <a:gd name="connsiteY22" fmla="*/ 95236 h 98597"/>
                <a:gd name="connsiteX23" fmla="*/ 16582 w 89634"/>
                <a:gd name="connsiteY23" fmla="*/ 101063 h 98597"/>
                <a:gd name="connsiteX24" fmla="*/ 41680 w 89634"/>
                <a:gd name="connsiteY24" fmla="*/ 101063 h 98597"/>
                <a:gd name="connsiteX25" fmla="*/ 47506 w 89634"/>
                <a:gd name="connsiteY25" fmla="*/ 95236 h 98597"/>
                <a:gd name="connsiteX26" fmla="*/ 47506 w 89634"/>
                <a:gd name="connsiteY26" fmla="*/ 32492 h 98597"/>
                <a:gd name="connsiteX27" fmla="*/ 61848 w 89634"/>
                <a:gd name="connsiteY27" fmla="*/ 41456 h 98597"/>
                <a:gd name="connsiteX28" fmla="*/ 43025 w 89634"/>
                <a:gd name="connsiteY28" fmla="*/ 95684 h 98597"/>
                <a:gd name="connsiteX29" fmla="*/ 41680 w 89634"/>
                <a:gd name="connsiteY29" fmla="*/ 97029 h 98597"/>
                <a:gd name="connsiteX30" fmla="*/ 31372 w 89634"/>
                <a:gd name="connsiteY30" fmla="*/ 97029 h 98597"/>
                <a:gd name="connsiteX31" fmla="*/ 31372 w 89634"/>
                <a:gd name="connsiteY31" fmla="*/ 60279 h 98597"/>
                <a:gd name="connsiteX32" fmla="*/ 29131 w 89634"/>
                <a:gd name="connsiteY32" fmla="*/ 58038 h 98597"/>
                <a:gd name="connsiteX33" fmla="*/ 26890 w 89634"/>
                <a:gd name="connsiteY33" fmla="*/ 60279 h 98597"/>
                <a:gd name="connsiteX34" fmla="*/ 26890 w 89634"/>
                <a:gd name="connsiteY34" fmla="*/ 97029 h 98597"/>
                <a:gd name="connsiteX35" fmla="*/ 16582 w 89634"/>
                <a:gd name="connsiteY35" fmla="*/ 97029 h 98597"/>
                <a:gd name="connsiteX36" fmla="*/ 15238 w 89634"/>
                <a:gd name="connsiteY36" fmla="*/ 95684 h 98597"/>
                <a:gd name="connsiteX37" fmla="*/ 15238 w 89634"/>
                <a:gd name="connsiteY37" fmla="*/ 60727 h 98597"/>
                <a:gd name="connsiteX38" fmla="*/ 15238 w 89634"/>
                <a:gd name="connsiteY38" fmla="*/ 60279 h 98597"/>
                <a:gd name="connsiteX39" fmla="*/ 15238 w 89634"/>
                <a:gd name="connsiteY39" fmla="*/ 59831 h 98597"/>
                <a:gd name="connsiteX40" fmla="*/ 15238 w 89634"/>
                <a:gd name="connsiteY40" fmla="*/ 28907 h 98597"/>
                <a:gd name="connsiteX41" fmla="*/ 12997 w 89634"/>
                <a:gd name="connsiteY41" fmla="*/ 26666 h 98597"/>
                <a:gd name="connsiteX42" fmla="*/ 10756 w 89634"/>
                <a:gd name="connsiteY42" fmla="*/ 28907 h 98597"/>
                <a:gd name="connsiteX43" fmla="*/ 10756 w 89634"/>
                <a:gd name="connsiteY43" fmla="*/ 58038 h 98597"/>
                <a:gd name="connsiteX44" fmla="*/ 5826 w 89634"/>
                <a:gd name="connsiteY44" fmla="*/ 58038 h 98597"/>
                <a:gd name="connsiteX45" fmla="*/ 4482 w 89634"/>
                <a:gd name="connsiteY45" fmla="*/ 56694 h 98597"/>
                <a:gd name="connsiteX46" fmla="*/ 4482 w 89634"/>
                <a:gd name="connsiteY46" fmla="*/ 23081 h 98597"/>
                <a:gd name="connsiteX47" fmla="*/ 12997 w 89634"/>
                <a:gd name="connsiteY47" fmla="*/ 14117 h 98597"/>
                <a:gd name="connsiteX48" fmla="*/ 45265 w 89634"/>
                <a:gd name="connsiteY48" fmla="*/ 14117 h 98597"/>
                <a:gd name="connsiteX49" fmla="*/ 45265 w 89634"/>
                <a:gd name="connsiteY49" fmla="*/ 14117 h 98597"/>
                <a:gd name="connsiteX50" fmla="*/ 56470 w 89634"/>
                <a:gd name="connsiteY50" fmla="*/ 21736 h 98597"/>
                <a:gd name="connsiteX51" fmla="*/ 60503 w 89634"/>
                <a:gd name="connsiteY51" fmla="*/ 24874 h 98597"/>
                <a:gd name="connsiteX52" fmla="*/ 64537 w 89634"/>
                <a:gd name="connsiteY52" fmla="*/ 24425 h 98597"/>
                <a:gd name="connsiteX53" fmla="*/ 68122 w 89634"/>
                <a:gd name="connsiteY53" fmla="*/ 20840 h 98597"/>
                <a:gd name="connsiteX54" fmla="*/ 71707 w 89634"/>
                <a:gd name="connsiteY54" fmla="*/ 19944 h 98597"/>
                <a:gd name="connsiteX55" fmla="*/ 74844 w 89634"/>
                <a:gd name="connsiteY55" fmla="*/ 23081 h 98597"/>
                <a:gd name="connsiteX56" fmla="*/ 73948 w 89634"/>
                <a:gd name="connsiteY56" fmla="*/ 27114 h 98597"/>
                <a:gd name="connsiteX57" fmla="*/ 65881 w 89634"/>
                <a:gd name="connsiteY57" fmla="*/ 35630 h 98597"/>
                <a:gd name="connsiteX58" fmla="*/ 63192 w 89634"/>
                <a:gd name="connsiteY58" fmla="*/ 37422 h 98597"/>
                <a:gd name="connsiteX59" fmla="*/ 47506 w 89634"/>
                <a:gd name="connsiteY59" fmla="*/ 26666 h 98597"/>
                <a:gd name="connsiteX60" fmla="*/ 47058 w 89634"/>
                <a:gd name="connsiteY60" fmla="*/ 26666 h 98597"/>
                <a:gd name="connsiteX61" fmla="*/ 46610 w 89634"/>
                <a:gd name="connsiteY61" fmla="*/ 26666 h 98597"/>
                <a:gd name="connsiteX62" fmla="*/ 46162 w 89634"/>
                <a:gd name="connsiteY62" fmla="*/ 26666 h 98597"/>
                <a:gd name="connsiteX63" fmla="*/ 45713 w 89634"/>
                <a:gd name="connsiteY63" fmla="*/ 26666 h 98597"/>
                <a:gd name="connsiteX64" fmla="*/ 45713 w 89634"/>
                <a:gd name="connsiteY64" fmla="*/ 26666 h 98597"/>
                <a:gd name="connsiteX65" fmla="*/ 45265 w 89634"/>
                <a:gd name="connsiteY65" fmla="*/ 26666 h 98597"/>
                <a:gd name="connsiteX66" fmla="*/ 44817 w 89634"/>
                <a:gd name="connsiteY66" fmla="*/ 26666 h 98597"/>
                <a:gd name="connsiteX67" fmla="*/ 44369 w 89634"/>
                <a:gd name="connsiteY67" fmla="*/ 27114 h 98597"/>
                <a:gd name="connsiteX68" fmla="*/ 43921 w 89634"/>
                <a:gd name="connsiteY68" fmla="*/ 27563 h 98597"/>
                <a:gd name="connsiteX69" fmla="*/ 43921 w 89634"/>
                <a:gd name="connsiteY69" fmla="*/ 27563 h 98597"/>
                <a:gd name="connsiteX70" fmla="*/ 43921 w 89634"/>
                <a:gd name="connsiteY70" fmla="*/ 28011 h 98597"/>
                <a:gd name="connsiteX71" fmla="*/ 43921 w 89634"/>
                <a:gd name="connsiteY71" fmla="*/ 28459 h 98597"/>
                <a:gd name="connsiteX72" fmla="*/ 43921 w 89634"/>
                <a:gd name="connsiteY72" fmla="*/ 28907 h 98597"/>
                <a:gd name="connsiteX73" fmla="*/ 43921 w 89634"/>
                <a:gd name="connsiteY73" fmla="*/ 29355 h 98597"/>
                <a:gd name="connsiteX74" fmla="*/ 43921 w 89634"/>
                <a:gd name="connsiteY74" fmla="*/ 95684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9634" h="98597">
                  <a:moveTo>
                    <a:pt x="61848" y="41456"/>
                  </a:moveTo>
                  <a:cubicBezTo>
                    <a:pt x="61848" y="41456"/>
                    <a:pt x="61848" y="41456"/>
                    <a:pt x="61848" y="41456"/>
                  </a:cubicBezTo>
                  <a:cubicBezTo>
                    <a:pt x="64089" y="41456"/>
                    <a:pt x="65881" y="40560"/>
                    <a:pt x="68122" y="38319"/>
                  </a:cubicBezTo>
                  <a:lnTo>
                    <a:pt x="76189" y="29803"/>
                  </a:lnTo>
                  <a:cubicBezTo>
                    <a:pt x="78430" y="27563"/>
                    <a:pt x="79326" y="24425"/>
                    <a:pt x="78430" y="21736"/>
                  </a:cubicBezTo>
                  <a:cubicBezTo>
                    <a:pt x="78430" y="20840"/>
                    <a:pt x="77982" y="20392"/>
                    <a:pt x="77534" y="19496"/>
                  </a:cubicBezTo>
                  <a:lnTo>
                    <a:pt x="93220" y="3810"/>
                  </a:lnTo>
                  <a:cubicBezTo>
                    <a:pt x="94116" y="2913"/>
                    <a:pt x="94116" y="1569"/>
                    <a:pt x="93220" y="672"/>
                  </a:cubicBezTo>
                  <a:cubicBezTo>
                    <a:pt x="92323" y="-224"/>
                    <a:pt x="90979" y="-224"/>
                    <a:pt x="90082" y="672"/>
                  </a:cubicBezTo>
                  <a:lnTo>
                    <a:pt x="74396" y="16358"/>
                  </a:lnTo>
                  <a:cubicBezTo>
                    <a:pt x="73948" y="15910"/>
                    <a:pt x="73052" y="15910"/>
                    <a:pt x="72604" y="15462"/>
                  </a:cubicBezTo>
                  <a:cubicBezTo>
                    <a:pt x="69915" y="14565"/>
                    <a:pt x="66777" y="15462"/>
                    <a:pt x="64537" y="17703"/>
                  </a:cubicBezTo>
                  <a:lnTo>
                    <a:pt x="61848" y="20392"/>
                  </a:lnTo>
                  <a:cubicBezTo>
                    <a:pt x="60951" y="19944"/>
                    <a:pt x="60055" y="19047"/>
                    <a:pt x="59159" y="18151"/>
                  </a:cubicBezTo>
                  <a:cubicBezTo>
                    <a:pt x="53332" y="13221"/>
                    <a:pt x="48403" y="9636"/>
                    <a:pt x="45265" y="9636"/>
                  </a:cubicBezTo>
                  <a:cubicBezTo>
                    <a:pt x="45265" y="9636"/>
                    <a:pt x="45265" y="9636"/>
                    <a:pt x="45265" y="9636"/>
                  </a:cubicBezTo>
                  <a:lnTo>
                    <a:pt x="45265" y="9636"/>
                  </a:lnTo>
                  <a:lnTo>
                    <a:pt x="12997" y="9636"/>
                  </a:lnTo>
                  <a:cubicBezTo>
                    <a:pt x="5826" y="9636"/>
                    <a:pt x="0" y="15462"/>
                    <a:pt x="0" y="23081"/>
                  </a:cubicBezTo>
                  <a:lnTo>
                    <a:pt x="0" y="56246"/>
                  </a:lnTo>
                  <a:cubicBezTo>
                    <a:pt x="0" y="59382"/>
                    <a:pt x="2689" y="62072"/>
                    <a:pt x="5826" y="62072"/>
                  </a:cubicBezTo>
                  <a:lnTo>
                    <a:pt x="10756" y="62072"/>
                  </a:lnTo>
                  <a:lnTo>
                    <a:pt x="10756" y="95236"/>
                  </a:lnTo>
                  <a:cubicBezTo>
                    <a:pt x="10756" y="98373"/>
                    <a:pt x="13445" y="101063"/>
                    <a:pt x="16582" y="101063"/>
                  </a:cubicBezTo>
                  <a:lnTo>
                    <a:pt x="41680" y="101063"/>
                  </a:lnTo>
                  <a:cubicBezTo>
                    <a:pt x="44817" y="101063"/>
                    <a:pt x="47506" y="98373"/>
                    <a:pt x="47506" y="95236"/>
                  </a:cubicBezTo>
                  <a:lnTo>
                    <a:pt x="47506" y="32492"/>
                  </a:lnTo>
                  <a:cubicBezTo>
                    <a:pt x="59607" y="41456"/>
                    <a:pt x="61399" y="41456"/>
                    <a:pt x="61848" y="41456"/>
                  </a:cubicBezTo>
                  <a:close/>
                  <a:moveTo>
                    <a:pt x="43025" y="95684"/>
                  </a:moveTo>
                  <a:cubicBezTo>
                    <a:pt x="43025" y="96581"/>
                    <a:pt x="42576" y="97029"/>
                    <a:pt x="41680" y="97029"/>
                  </a:cubicBezTo>
                  <a:lnTo>
                    <a:pt x="31372" y="97029"/>
                  </a:lnTo>
                  <a:lnTo>
                    <a:pt x="31372" y="60279"/>
                  </a:lnTo>
                  <a:cubicBezTo>
                    <a:pt x="31372" y="58934"/>
                    <a:pt x="30476" y="58038"/>
                    <a:pt x="29131" y="58038"/>
                  </a:cubicBezTo>
                  <a:cubicBezTo>
                    <a:pt x="27787" y="58038"/>
                    <a:pt x="26890" y="58934"/>
                    <a:pt x="26890" y="60279"/>
                  </a:cubicBezTo>
                  <a:lnTo>
                    <a:pt x="26890" y="97029"/>
                  </a:lnTo>
                  <a:lnTo>
                    <a:pt x="16582" y="97029"/>
                  </a:lnTo>
                  <a:cubicBezTo>
                    <a:pt x="15686" y="97029"/>
                    <a:pt x="15238" y="96581"/>
                    <a:pt x="15238" y="95684"/>
                  </a:cubicBezTo>
                  <a:lnTo>
                    <a:pt x="15238" y="60727"/>
                  </a:lnTo>
                  <a:cubicBezTo>
                    <a:pt x="15238" y="60727"/>
                    <a:pt x="15238" y="60279"/>
                    <a:pt x="15238" y="60279"/>
                  </a:cubicBezTo>
                  <a:cubicBezTo>
                    <a:pt x="15238" y="60279"/>
                    <a:pt x="15238" y="59831"/>
                    <a:pt x="15238" y="59831"/>
                  </a:cubicBezTo>
                  <a:lnTo>
                    <a:pt x="15238" y="28907"/>
                  </a:lnTo>
                  <a:cubicBezTo>
                    <a:pt x="15238" y="27563"/>
                    <a:pt x="14342" y="26666"/>
                    <a:pt x="12997" y="26666"/>
                  </a:cubicBezTo>
                  <a:cubicBezTo>
                    <a:pt x="11653" y="26666"/>
                    <a:pt x="10756" y="27563"/>
                    <a:pt x="10756" y="28907"/>
                  </a:cubicBezTo>
                  <a:lnTo>
                    <a:pt x="10756" y="58038"/>
                  </a:lnTo>
                  <a:lnTo>
                    <a:pt x="5826" y="58038"/>
                  </a:lnTo>
                  <a:cubicBezTo>
                    <a:pt x="4930" y="58038"/>
                    <a:pt x="4482" y="57142"/>
                    <a:pt x="4482" y="56694"/>
                  </a:cubicBezTo>
                  <a:lnTo>
                    <a:pt x="4482" y="23081"/>
                  </a:lnTo>
                  <a:cubicBezTo>
                    <a:pt x="4482" y="18151"/>
                    <a:pt x="8515" y="14117"/>
                    <a:pt x="12997" y="14117"/>
                  </a:cubicBezTo>
                  <a:lnTo>
                    <a:pt x="45265" y="14117"/>
                  </a:lnTo>
                  <a:cubicBezTo>
                    <a:pt x="45265" y="14117"/>
                    <a:pt x="45265" y="14117"/>
                    <a:pt x="45265" y="14117"/>
                  </a:cubicBezTo>
                  <a:cubicBezTo>
                    <a:pt x="47058" y="14117"/>
                    <a:pt x="53780" y="19496"/>
                    <a:pt x="56470" y="21736"/>
                  </a:cubicBezTo>
                  <a:cubicBezTo>
                    <a:pt x="58262" y="23081"/>
                    <a:pt x="59607" y="24425"/>
                    <a:pt x="60503" y="24874"/>
                  </a:cubicBezTo>
                  <a:cubicBezTo>
                    <a:pt x="61848" y="25770"/>
                    <a:pt x="63192" y="25322"/>
                    <a:pt x="64537" y="24425"/>
                  </a:cubicBezTo>
                  <a:lnTo>
                    <a:pt x="68122" y="20840"/>
                  </a:lnTo>
                  <a:cubicBezTo>
                    <a:pt x="69018" y="19944"/>
                    <a:pt x="70363" y="19496"/>
                    <a:pt x="71707" y="19944"/>
                  </a:cubicBezTo>
                  <a:cubicBezTo>
                    <a:pt x="73948" y="20392"/>
                    <a:pt x="74396" y="22184"/>
                    <a:pt x="74844" y="23081"/>
                  </a:cubicBezTo>
                  <a:cubicBezTo>
                    <a:pt x="75293" y="24425"/>
                    <a:pt x="74844" y="26218"/>
                    <a:pt x="73948" y="27114"/>
                  </a:cubicBezTo>
                  <a:lnTo>
                    <a:pt x="65881" y="35630"/>
                  </a:lnTo>
                  <a:cubicBezTo>
                    <a:pt x="64089" y="37422"/>
                    <a:pt x="63192" y="37422"/>
                    <a:pt x="63192" y="37422"/>
                  </a:cubicBezTo>
                  <a:cubicBezTo>
                    <a:pt x="61848" y="36974"/>
                    <a:pt x="53780" y="31596"/>
                    <a:pt x="47506" y="26666"/>
                  </a:cubicBezTo>
                  <a:cubicBezTo>
                    <a:pt x="47506" y="26666"/>
                    <a:pt x="47506" y="26666"/>
                    <a:pt x="47058" y="26666"/>
                  </a:cubicBezTo>
                  <a:cubicBezTo>
                    <a:pt x="47058" y="26666"/>
                    <a:pt x="46610" y="26666"/>
                    <a:pt x="46610" y="26666"/>
                  </a:cubicBezTo>
                  <a:cubicBezTo>
                    <a:pt x="46610" y="26666"/>
                    <a:pt x="46162" y="26666"/>
                    <a:pt x="46162" y="26666"/>
                  </a:cubicBezTo>
                  <a:cubicBezTo>
                    <a:pt x="46162" y="26666"/>
                    <a:pt x="46162" y="26666"/>
                    <a:pt x="45713" y="26666"/>
                  </a:cubicBezTo>
                  <a:cubicBezTo>
                    <a:pt x="45713" y="26666"/>
                    <a:pt x="45713" y="26666"/>
                    <a:pt x="45713" y="26666"/>
                  </a:cubicBezTo>
                  <a:cubicBezTo>
                    <a:pt x="45713" y="26666"/>
                    <a:pt x="45265" y="26666"/>
                    <a:pt x="45265" y="26666"/>
                  </a:cubicBezTo>
                  <a:cubicBezTo>
                    <a:pt x="45265" y="26666"/>
                    <a:pt x="44817" y="26666"/>
                    <a:pt x="44817" y="26666"/>
                  </a:cubicBezTo>
                  <a:cubicBezTo>
                    <a:pt x="44817" y="26666"/>
                    <a:pt x="44369" y="26666"/>
                    <a:pt x="44369" y="27114"/>
                  </a:cubicBezTo>
                  <a:cubicBezTo>
                    <a:pt x="44369" y="27114"/>
                    <a:pt x="43921" y="27114"/>
                    <a:pt x="43921" y="27563"/>
                  </a:cubicBezTo>
                  <a:cubicBezTo>
                    <a:pt x="43921" y="27563"/>
                    <a:pt x="43921" y="27563"/>
                    <a:pt x="43921" y="27563"/>
                  </a:cubicBezTo>
                  <a:cubicBezTo>
                    <a:pt x="43921" y="27563"/>
                    <a:pt x="43921" y="27563"/>
                    <a:pt x="43921" y="28011"/>
                  </a:cubicBezTo>
                  <a:cubicBezTo>
                    <a:pt x="43921" y="28011"/>
                    <a:pt x="43921" y="28459"/>
                    <a:pt x="43921" y="28459"/>
                  </a:cubicBezTo>
                  <a:cubicBezTo>
                    <a:pt x="43921" y="28459"/>
                    <a:pt x="43921" y="28907"/>
                    <a:pt x="43921" y="28907"/>
                  </a:cubicBezTo>
                  <a:cubicBezTo>
                    <a:pt x="43921" y="28907"/>
                    <a:pt x="43921" y="28907"/>
                    <a:pt x="43921" y="29355"/>
                  </a:cubicBezTo>
                  <a:lnTo>
                    <a:pt x="43921" y="95684"/>
                  </a:lnTo>
                  <a:close/>
                </a:path>
              </a:pathLst>
            </a:custGeom>
            <a:solidFill>
              <a:srgbClr val="231F20"/>
            </a:solidFill>
            <a:ln w="4477" cap="flat">
              <a:noFill/>
              <a:prstDash val="solid"/>
              <a:miter/>
            </a:ln>
          </p:spPr>
          <p:txBody>
            <a:bodyPr rtlCol="0" anchor="ctr"/>
            <a:lstStyle/>
            <a:p>
              <a:endParaRPr lang="en-US"/>
            </a:p>
          </p:txBody>
        </p:sp>
      </p:grpSp>
      <p:grpSp>
        <p:nvGrpSpPr>
          <p:cNvPr id="2464" name="Group 2463">
            <a:extLst>
              <a:ext uri="{FF2B5EF4-FFF2-40B4-BE49-F238E27FC236}">
                <a16:creationId xmlns:a16="http://schemas.microsoft.com/office/drawing/2014/main" id="{ED993864-0890-4ECA-84DB-102176BA50B5}"/>
              </a:ext>
              <a:ext uri="{C183D7F6-B498-43B3-948B-1728B52AA6E4}">
                <adec:decorative xmlns:adec="http://schemas.microsoft.com/office/drawing/2017/decorative" val="1"/>
              </a:ext>
            </a:extLst>
          </p:cNvPr>
          <p:cNvGrpSpPr>
            <a:grpSpLocks noChangeAspect="1"/>
          </p:cNvGrpSpPr>
          <p:nvPr/>
        </p:nvGrpSpPr>
        <p:grpSpPr>
          <a:xfrm>
            <a:off x="5598881" y="4891261"/>
            <a:ext cx="152378" cy="105195"/>
            <a:chOff x="11473616" y="3874093"/>
            <a:chExt cx="152378" cy="105195"/>
          </a:xfrm>
        </p:grpSpPr>
        <p:sp>
          <p:nvSpPr>
            <p:cNvPr id="2506" name="Freeform: Shape 2505">
              <a:extLst>
                <a:ext uri="{FF2B5EF4-FFF2-40B4-BE49-F238E27FC236}">
                  <a16:creationId xmlns:a16="http://schemas.microsoft.com/office/drawing/2014/main" id="{401A1086-50D5-45C3-858C-FCB5EF9D0806}"/>
                </a:ext>
              </a:extLst>
            </p:cNvPr>
            <p:cNvSpPr/>
            <p:nvPr/>
          </p:nvSpPr>
          <p:spPr>
            <a:xfrm>
              <a:off x="11485443" y="3874093"/>
              <a:ext cx="22409" cy="22409"/>
            </a:xfrm>
            <a:custGeom>
              <a:avLst/>
              <a:gdLst>
                <a:gd name="connsiteX0" fmla="*/ 10132 w 22408"/>
                <a:gd name="connsiteY0" fmla="*/ 26317 h 22408"/>
                <a:gd name="connsiteX1" fmla="*/ 13270 w 22408"/>
                <a:gd name="connsiteY1" fmla="*/ 26765 h 22408"/>
                <a:gd name="connsiteX2" fmla="*/ 22681 w 22408"/>
                <a:gd name="connsiteY2" fmla="*/ 22732 h 22408"/>
                <a:gd name="connsiteX3" fmla="*/ 26267 w 22408"/>
                <a:gd name="connsiteY3" fmla="*/ 10183 h 22408"/>
                <a:gd name="connsiteX4" fmla="*/ 16407 w 22408"/>
                <a:gd name="connsiteY4" fmla="*/ 323 h 22408"/>
                <a:gd name="connsiteX5" fmla="*/ 3858 w 22408"/>
                <a:gd name="connsiteY5" fmla="*/ 3909 h 22408"/>
                <a:gd name="connsiteX6" fmla="*/ 273 w 22408"/>
                <a:gd name="connsiteY6" fmla="*/ 16457 h 22408"/>
                <a:gd name="connsiteX7" fmla="*/ 10132 w 22408"/>
                <a:gd name="connsiteY7" fmla="*/ 26317 h 22408"/>
                <a:gd name="connsiteX8" fmla="*/ 6995 w 22408"/>
                <a:gd name="connsiteY8" fmla="*/ 7046 h 22408"/>
                <a:gd name="connsiteX9" fmla="*/ 13270 w 22408"/>
                <a:gd name="connsiteY9" fmla="*/ 4357 h 22408"/>
                <a:gd name="connsiteX10" fmla="*/ 15510 w 22408"/>
                <a:gd name="connsiteY10" fmla="*/ 4805 h 22408"/>
                <a:gd name="connsiteX11" fmla="*/ 21785 w 22408"/>
                <a:gd name="connsiteY11" fmla="*/ 11079 h 22408"/>
                <a:gd name="connsiteX12" fmla="*/ 19544 w 22408"/>
                <a:gd name="connsiteY12" fmla="*/ 19595 h 22408"/>
                <a:gd name="connsiteX13" fmla="*/ 11029 w 22408"/>
                <a:gd name="connsiteY13" fmla="*/ 21836 h 22408"/>
                <a:gd name="connsiteX14" fmla="*/ 4754 w 22408"/>
                <a:gd name="connsiteY14" fmla="*/ 15561 h 22408"/>
                <a:gd name="connsiteX15" fmla="*/ 6995 w 22408"/>
                <a:gd name="connsiteY15" fmla="*/ 704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10132" y="26317"/>
                  </a:moveTo>
                  <a:cubicBezTo>
                    <a:pt x="11029" y="26765"/>
                    <a:pt x="12373" y="26765"/>
                    <a:pt x="13270" y="26765"/>
                  </a:cubicBezTo>
                  <a:cubicBezTo>
                    <a:pt x="16855" y="26765"/>
                    <a:pt x="19992" y="25421"/>
                    <a:pt x="22681" y="22732"/>
                  </a:cubicBezTo>
                  <a:cubicBezTo>
                    <a:pt x="25818" y="19595"/>
                    <a:pt x="27163" y="14665"/>
                    <a:pt x="26267" y="10183"/>
                  </a:cubicBezTo>
                  <a:cubicBezTo>
                    <a:pt x="24922" y="5253"/>
                    <a:pt x="21336" y="1668"/>
                    <a:pt x="16407" y="323"/>
                  </a:cubicBezTo>
                  <a:cubicBezTo>
                    <a:pt x="11925" y="-573"/>
                    <a:pt x="6995" y="323"/>
                    <a:pt x="3858" y="3909"/>
                  </a:cubicBezTo>
                  <a:cubicBezTo>
                    <a:pt x="721" y="7046"/>
                    <a:pt x="-624" y="11976"/>
                    <a:pt x="273" y="16457"/>
                  </a:cubicBezTo>
                  <a:cubicBezTo>
                    <a:pt x="1617" y="21387"/>
                    <a:pt x="5202" y="24973"/>
                    <a:pt x="10132" y="26317"/>
                  </a:cubicBezTo>
                  <a:close/>
                  <a:moveTo>
                    <a:pt x="6995" y="7046"/>
                  </a:moveTo>
                  <a:cubicBezTo>
                    <a:pt x="8788" y="5253"/>
                    <a:pt x="11029" y="4357"/>
                    <a:pt x="13270" y="4357"/>
                  </a:cubicBezTo>
                  <a:cubicBezTo>
                    <a:pt x="14166" y="4357"/>
                    <a:pt x="14614" y="4357"/>
                    <a:pt x="15510" y="4805"/>
                  </a:cubicBezTo>
                  <a:cubicBezTo>
                    <a:pt x="18647" y="5701"/>
                    <a:pt x="21336" y="7942"/>
                    <a:pt x="21785" y="11079"/>
                  </a:cubicBezTo>
                  <a:cubicBezTo>
                    <a:pt x="22681" y="14217"/>
                    <a:pt x="21785" y="17354"/>
                    <a:pt x="19544" y="19595"/>
                  </a:cubicBezTo>
                  <a:cubicBezTo>
                    <a:pt x="17303" y="21836"/>
                    <a:pt x="14166" y="22732"/>
                    <a:pt x="11029" y="21836"/>
                  </a:cubicBezTo>
                  <a:cubicBezTo>
                    <a:pt x="7891" y="20939"/>
                    <a:pt x="5202" y="18698"/>
                    <a:pt x="4754" y="15561"/>
                  </a:cubicBezTo>
                  <a:cubicBezTo>
                    <a:pt x="3858" y="12424"/>
                    <a:pt x="4754" y="9287"/>
                    <a:pt x="6995" y="7046"/>
                  </a:cubicBezTo>
                  <a:close/>
                </a:path>
              </a:pathLst>
            </a:custGeom>
            <a:solidFill>
              <a:srgbClr val="231F20"/>
            </a:solidFill>
            <a:ln w="4477" cap="flat">
              <a:noFill/>
              <a:prstDash val="solid"/>
              <a:miter/>
            </a:ln>
          </p:spPr>
          <p:txBody>
            <a:bodyPr rtlCol="0" anchor="ctr"/>
            <a:lstStyle/>
            <a:p>
              <a:endParaRPr lang="en-US"/>
            </a:p>
          </p:txBody>
        </p:sp>
        <p:sp>
          <p:nvSpPr>
            <p:cNvPr id="2507" name="Freeform: Shape 2506">
              <a:extLst>
                <a:ext uri="{FF2B5EF4-FFF2-40B4-BE49-F238E27FC236}">
                  <a16:creationId xmlns:a16="http://schemas.microsoft.com/office/drawing/2014/main" id="{2B827508-170C-4E3D-8A7B-2790D0737BD2}"/>
                </a:ext>
              </a:extLst>
            </p:cNvPr>
            <p:cNvSpPr/>
            <p:nvPr/>
          </p:nvSpPr>
          <p:spPr>
            <a:xfrm>
              <a:off x="11535638" y="3874093"/>
              <a:ext cx="22409" cy="22409"/>
            </a:xfrm>
            <a:custGeom>
              <a:avLst/>
              <a:gdLst>
                <a:gd name="connsiteX0" fmla="*/ 10133 w 22408"/>
                <a:gd name="connsiteY0" fmla="*/ 26317 h 22408"/>
                <a:gd name="connsiteX1" fmla="*/ 13270 w 22408"/>
                <a:gd name="connsiteY1" fmla="*/ 26765 h 22408"/>
                <a:gd name="connsiteX2" fmla="*/ 22681 w 22408"/>
                <a:gd name="connsiteY2" fmla="*/ 22732 h 22408"/>
                <a:gd name="connsiteX3" fmla="*/ 26267 w 22408"/>
                <a:gd name="connsiteY3" fmla="*/ 10183 h 22408"/>
                <a:gd name="connsiteX4" fmla="*/ 16407 w 22408"/>
                <a:gd name="connsiteY4" fmla="*/ 323 h 22408"/>
                <a:gd name="connsiteX5" fmla="*/ 3858 w 22408"/>
                <a:gd name="connsiteY5" fmla="*/ 3909 h 22408"/>
                <a:gd name="connsiteX6" fmla="*/ 272 w 22408"/>
                <a:gd name="connsiteY6" fmla="*/ 16457 h 22408"/>
                <a:gd name="connsiteX7" fmla="*/ 10133 w 22408"/>
                <a:gd name="connsiteY7" fmla="*/ 26317 h 22408"/>
                <a:gd name="connsiteX8" fmla="*/ 7444 w 22408"/>
                <a:gd name="connsiteY8" fmla="*/ 7046 h 22408"/>
                <a:gd name="connsiteX9" fmla="*/ 13718 w 22408"/>
                <a:gd name="connsiteY9" fmla="*/ 4357 h 22408"/>
                <a:gd name="connsiteX10" fmla="*/ 15958 w 22408"/>
                <a:gd name="connsiteY10" fmla="*/ 4805 h 22408"/>
                <a:gd name="connsiteX11" fmla="*/ 22233 w 22408"/>
                <a:gd name="connsiteY11" fmla="*/ 11079 h 22408"/>
                <a:gd name="connsiteX12" fmla="*/ 19992 w 22408"/>
                <a:gd name="connsiteY12" fmla="*/ 19595 h 22408"/>
                <a:gd name="connsiteX13" fmla="*/ 11477 w 22408"/>
                <a:gd name="connsiteY13" fmla="*/ 21836 h 22408"/>
                <a:gd name="connsiteX14" fmla="*/ 5203 w 22408"/>
                <a:gd name="connsiteY14" fmla="*/ 15561 h 22408"/>
                <a:gd name="connsiteX15" fmla="*/ 7444 w 22408"/>
                <a:gd name="connsiteY15" fmla="*/ 704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08" h="22408">
                  <a:moveTo>
                    <a:pt x="10133" y="26317"/>
                  </a:moveTo>
                  <a:cubicBezTo>
                    <a:pt x="11029" y="26765"/>
                    <a:pt x="12373" y="26765"/>
                    <a:pt x="13270" y="26765"/>
                  </a:cubicBezTo>
                  <a:cubicBezTo>
                    <a:pt x="16855" y="26765"/>
                    <a:pt x="19992" y="25421"/>
                    <a:pt x="22681" y="22732"/>
                  </a:cubicBezTo>
                  <a:cubicBezTo>
                    <a:pt x="25818" y="19595"/>
                    <a:pt x="27163" y="14665"/>
                    <a:pt x="26267" y="10183"/>
                  </a:cubicBezTo>
                  <a:cubicBezTo>
                    <a:pt x="24922" y="5253"/>
                    <a:pt x="21337" y="1668"/>
                    <a:pt x="16407" y="323"/>
                  </a:cubicBezTo>
                  <a:cubicBezTo>
                    <a:pt x="11925" y="-573"/>
                    <a:pt x="6995" y="323"/>
                    <a:pt x="3858" y="3909"/>
                  </a:cubicBezTo>
                  <a:cubicBezTo>
                    <a:pt x="721" y="7046"/>
                    <a:pt x="-624" y="11976"/>
                    <a:pt x="272" y="16457"/>
                  </a:cubicBezTo>
                  <a:cubicBezTo>
                    <a:pt x="1617" y="21387"/>
                    <a:pt x="5651" y="24973"/>
                    <a:pt x="10133" y="26317"/>
                  </a:cubicBezTo>
                  <a:close/>
                  <a:moveTo>
                    <a:pt x="7444" y="7046"/>
                  </a:moveTo>
                  <a:cubicBezTo>
                    <a:pt x="9236" y="5253"/>
                    <a:pt x="11477" y="4357"/>
                    <a:pt x="13718" y="4357"/>
                  </a:cubicBezTo>
                  <a:cubicBezTo>
                    <a:pt x="14614" y="4357"/>
                    <a:pt x="15062" y="4357"/>
                    <a:pt x="15958" y="4805"/>
                  </a:cubicBezTo>
                  <a:cubicBezTo>
                    <a:pt x="19096" y="5701"/>
                    <a:pt x="21785" y="7942"/>
                    <a:pt x="22233" y="11079"/>
                  </a:cubicBezTo>
                  <a:cubicBezTo>
                    <a:pt x="23130" y="14217"/>
                    <a:pt x="22233" y="17354"/>
                    <a:pt x="19992" y="19595"/>
                  </a:cubicBezTo>
                  <a:cubicBezTo>
                    <a:pt x="17751" y="21836"/>
                    <a:pt x="14614" y="22732"/>
                    <a:pt x="11477" y="21836"/>
                  </a:cubicBezTo>
                  <a:cubicBezTo>
                    <a:pt x="8340" y="20939"/>
                    <a:pt x="5651" y="18698"/>
                    <a:pt x="5203" y="15561"/>
                  </a:cubicBezTo>
                  <a:cubicBezTo>
                    <a:pt x="4306" y="12424"/>
                    <a:pt x="5203" y="9287"/>
                    <a:pt x="7444" y="7046"/>
                  </a:cubicBezTo>
                  <a:close/>
                </a:path>
              </a:pathLst>
            </a:custGeom>
            <a:solidFill>
              <a:srgbClr val="231F20"/>
            </a:solidFill>
            <a:ln w="4477" cap="flat">
              <a:noFill/>
              <a:prstDash val="solid"/>
              <a:miter/>
            </a:ln>
          </p:spPr>
          <p:txBody>
            <a:bodyPr rtlCol="0" anchor="ctr"/>
            <a:lstStyle/>
            <a:p>
              <a:endParaRPr lang="en-US"/>
            </a:p>
          </p:txBody>
        </p:sp>
        <p:sp>
          <p:nvSpPr>
            <p:cNvPr id="2508" name="Freeform: Shape 2507">
              <a:extLst>
                <a:ext uri="{FF2B5EF4-FFF2-40B4-BE49-F238E27FC236}">
                  <a16:creationId xmlns:a16="http://schemas.microsoft.com/office/drawing/2014/main" id="{90F5CAE5-5A15-4B0A-83D3-948C184DF792}"/>
                </a:ext>
              </a:extLst>
            </p:cNvPr>
            <p:cNvSpPr/>
            <p:nvPr/>
          </p:nvSpPr>
          <p:spPr>
            <a:xfrm>
              <a:off x="11473616" y="3903099"/>
              <a:ext cx="152378" cy="76189"/>
            </a:xfrm>
            <a:custGeom>
              <a:avLst/>
              <a:gdLst>
                <a:gd name="connsiteX0" fmla="*/ 141174 w 152377"/>
                <a:gd name="connsiteY0" fmla="*/ 0 h 76188"/>
                <a:gd name="connsiteX1" fmla="*/ 113835 w 152377"/>
                <a:gd name="connsiteY1" fmla="*/ 0 h 76188"/>
                <a:gd name="connsiteX2" fmla="*/ 103079 w 152377"/>
                <a:gd name="connsiteY2" fmla="*/ 5378 h 76188"/>
                <a:gd name="connsiteX3" fmla="*/ 101734 w 152377"/>
                <a:gd name="connsiteY3" fmla="*/ 7619 h 76188"/>
                <a:gd name="connsiteX4" fmla="*/ 100838 w 152377"/>
                <a:gd name="connsiteY4" fmla="*/ 6274 h 76188"/>
                <a:gd name="connsiteX5" fmla="*/ 89634 w 152377"/>
                <a:gd name="connsiteY5" fmla="*/ 0 h 76188"/>
                <a:gd name="connsiteX6" fmla="*/ 76189 w 152377"/>
                <a:gd name="connsiteY6" fmla="*/ 0 h 76188"/>
                <a:gd name="connsiteX7" fmla="*/ 60951 w 152377"/>
                <a:gd name="connsiteY7" fmla="*/ 0 h 76188"/>
                <a:gd name="connsiteX8" fmla="*/ 60951 w 152377"/>
                <a:gd name="connsiteY8" fmla="*/ 0 h 76188"/>
                <a:gd name="connsiteX9" fmla="*/ 50195 w 152377"/>
                <a:gd name="connsiteY9" fmla="*/ 5826 h 76188"/>
                <a:gd name="connsiteX10" fmla="*/ 39439 w 152377"/>
                <a:gd name="connsiteY10" fmla="*/ 0 h 76188"/>
                <a:gd name="connsiteX11" fmla="*/ 10756 w 152377"/>
                <a:gd name="connsiteY11" fmla="*/ 0 h 76188"/>
                <a:gd name="connsiteX12" fmla="*/ 0 w 152377"/>
                <a:gd name="connsiteY12" fmla="*/ 10756 h 76188"/>
                <a:gd name="connsiteX13" fmla="*/ 0 w 152377"/>
                <a:gd name="connsiteY13" fmla="*/ 35406 h 76188"/>
                <a:gd name="connsiteX14" fmla="*/ 6723 w 152377"/>
                <a:gd name="connsiteY14" fmla="*/ 42128 h 76188"/>
                <a:gd name="connsiteX15" fmla="*/ 9411 w 152377"/>
                <a:gd name="connsiteY15" fmla="*/ 42128 h 76188"/>
                <a:gd name="connsiteX16" fmla="*/ 9411 w 152377"/>
                <a:gd name="connsiteY16" fmla="*/ 72604 h 76188"/>
                <a:gd name="connsiteX17" fmla="*/ 14789 w 152377"/>
                <a:gd name="connsiteY17" fmla="*/ 77982 h 76188"/>
                <a:gd name="connsiteX18" fmla="*/ 35854 w 152377"/>
                <a:gd name="connsiteY18" fmla="*/ 77982 h 76188"/>
                <a:gd name="connsiteX19" fmla="*/ 41231 w 152377"/>
                <a:gd name="connsiteY19" fmla="*/ 72604 h 76188"/>
                <a:gd name="connsiteX20" fmla="*/ 41231 w 152377"/>
                <a:gd name="connsiteY20" fmla="*/ 42128 h 76188"/>
                <a:gd name="connsiteX21" fmla="*/ 43472 w 152377"/>
                <a:gd name="connsiteY21" fmla="*/ 42576 h 76188"/>
                <a:gd name="connsiteX22" fmla="*/ 58262 w 152377"/>
                <a:gd name="connsiteY22" fmla="*/ 42576 h 76188"/>
                <a:gd name="connsiteX23" fmla="*/ 60503 w 152377"/>
                <a:gd name="connsiteY23" fmla="*/ 42128 h 76188"/>
                <a:gd name="connsiteX24" fmla="*/ 60503 w 152377"/>
                <a:gd name="connsiteY24" fmla="*/ 72604 h 76188"/>
                <a:gd name="connsiteX25" fmla="*/ 65881 w 152377"/>
                <a:gd name="connsiteY25" fmla="*/ 77982 h 76188"/>
                <a:gd name="connsiteX26" fmla="*/ 86945 w 152377"/>
                <a:gd name="connsiteY26" fmla="*/ 77982 h 76188"/>
                <a:gd name="connsiteX27" fmla="*/ 92323 w 152377"/>
                <a:gd name="connsiteY27" fmla="*/ 72604 h 76188"/>
                <a:gd name="connsiteX28" fmla="*/ 92323 w 152377"/>
                <a:gd name="connsiteY28" fmla="*/ 42128 h 76188"/>
                <a:gd name="connsiteX29" fmla="*/ 94564 w 152377"/>
                <a:gd name="connsiteY29" fmla="*/ 42576 h 76188"/>
                <a:gd name="connsiteX30" fmla="*/ 110250 w 152377"/>
                <a:gd name="connsiteY30" fmla="*/ 42576 h 76188"/>
                <a:gd name="connsiteX31" fmla="*/ 112491 w 152377"/>
                <a:gd name="connsiteY31" fmla="*/ 42128 h 76188"/>
                <a:gd name="connsiteX32" fmla="*/ 112491 w 152377"/>
                <a:gd name="connsiteY32" fmla="*/ 72604 h 76188"/>
                <a:gd name="connsiteX33" fmla="*/ 117868 w 152377"/>
                <a:gd name="connsiteY33" fmla="*/ 77982 h 76188"/>
                <a:gd name="connsiteX34" fmla="*/ 138933 w 152377"/>
                <a:gd name="connsiteY34" fmla="*/ 77982 h 76188"/>
                <a:gd name="connsiteX35" fmla="*/ 144311 w 152377"/>
                <a:gd name="connsiteY35" fmla="*/ 72604 h 76188"/>
                <a:gd name="connsiteX36" fmla="*/ 144311 w 152377"/>
                <a:gd name="connsiteY36" fmla="*/ 42576 h 76188"/>
                <a:gd name="connsiteX37" fmla="*/ 146999 w 152377"/>
                <a:gd name="connsiteY37" fmla="*/ 42576 h 76188"/>
                <a:gd name="connsiteX38" fmla="*/ 154170 w 152377"/>
                <a:gd name="connsiteY38" fmla="*/ 35854 h 76188"/>
                <a:gd name="connsiteX39" fmla="*/ 154170 w 152377"/>
                <a:gd name="connsiteY39" fmla="*/ 11204 h 76188"/>
                <a:gd name="connsiteX40" fmla="*/ 141174 w 152377"/>
                <a:gd name="connsiteY40" fmla="*/ 0 h 76188"/>
                <a:gd name="connsiteX41" fmla="*/ 40783 w 152377"/>
                <a:gd name="connsiteY41" fmla="*/ 35854 h 76188"/>
                <a:gd name="connsiteX42" fmla="*/ 40783 w 152377"/>
                <a:gd name="connsiteY42" fmla="*/ 11652 h 76188"/>
                <a:gd name="connsiteX43" fmla="*/ 38543 w 152377"/>
                <a:gd name="connsiteY43" fmla="*/ 9411 h 76188"/>
                <a:gd name="connsiteX44" fmla="*/ 36302 w 152377"/>
                <a:gd name="connsiteY44" fmla="*/ 11652 h 76188"/>
                <a:gd name="connsiteX45" fmla="*/ 36302 w 152377"/>
                <a:gd name="connsiteY45" fmla="*/ 72604 h 76188"/>
                <a:gd name="connsiteX46" fmla="*/ 35405 w 152377"/>
                <a:gd name="connsiteY46" fmla="*/ 73500 h 76188"/>
                <a:gd name="connsiteX47" fmla="*/ 27338 w 152377"/>
                <a:gd name="connsiteY47" fmla="*/ 73500 h 76188"/>
                <a:gd name="connsiteX48" fmla="*/ 27338 w 152377"/>
                <a:gd name="connsiteY48" fmla="*/ 40335 h 76188"/>
                <a:gd name="connsiteX49" fmla="*/ 25097 w 152377"/>
                <a:gd name="connsiteY49" fmla="*/ 38094 h 76188"/>
                <a:gd name="connsiteX50" fmla="*/ 22857 w 152377"/>
                <a:gd name="connsiteY50" fmla="*/ 40335 h 76188"/>
                <a:gd name="connsiteX51" fmla="*/ 22857 w 152377"/>
                <a:gd name="connsiteY51" fmla="*/ 73948 h 76188"/>
                <a:gd name="connsiteX52" fmla="*/ 14789 w 152377"/>
                <a:gd name="connsiteY52" fmla="*/ 73948 h 76188"/>
                <a:gd name="connsiteX53" fmla="*/ 13893 w 152377"/>
                <a:gd name="connsiteY53" fmla="*/ 73052 h 76188"/>
                <a:gd name="connsiteX54" fmla="*/ 13893 w 152377"/>
                <a:gd name="connsiteY54" fmla="*/ 12101 h 76188"/>
                <a:gd name="connsiteX55" fmla="*/ 11652 w 152377"/>
                <a:gd name="connsiteY55" fmla="*/ 9860 h 76188"/>
                <a:gd name="connsiteX56" fmla="*/ 9411 w 152377"/>
                <a:gd name="connsiteY56" fmla="*/ 12101 h 76188"/>
                <a:gd name="connsiteX57" fmla="*/ 9411 w 152377"/>
                <a:gd name="connsiteY57" fmla="*/ 38543 h 76188"/>
                <a:gd name="connsiteX58" fmla="*/ 6723 w 152377"/>
                <a:gd name="connsiteY58" fmla="*/ 38543 h 76188"/>
                <a:gd name="connsiteX59" fmla="*/ 4482 w 152377"/>
                <a:gd name="connsiteY59" fmla="*/ 36302 h 76188"/>
                <a:gd name="connsiteX60" fmla="*/ 4482 w 152377"/>
                <a:gd name="connsiteY60" fmla="*/ 11652 h 76188"/>
                <a:gd name="connsiteX61" fmla="*/ 10756 w 152377"/>
                <a:gd name="connsiteY61" fmla="*/ 5378 h 76188"/>
                <a:gd name="connsiteX62" fmla="*/ 39439 w 152377"/>
                <a:gd name="connsiteY62" fmla="*/ 5378 h 76188"/>
                <a:gd name="connsiteX63" fmla="*/ 46609 w 152377"/>
                <a:gd name="connsiteY63" fmla="*/ 9411 h 76188"/>
                <a:gd name="connsiteX64" fmla="*/ 47954 w 152377"/>
                <a:gd name="connsiteY64" fmla="*/ 12101 h 76188"/>
                <a:gd name="connsiteX65" fmla="*/ 47954 w 152377"/>
                <a:gd name="connsiteY65" fmla="*/ 38991 h 76188"/>
                <a:gd name="connsiteX66" fmla="*/ 43024 w 152377"/>
                <a:gd name="connsiteY66" fmla="*/ 38991 h 76188"/>
                <a:gd name="connsiteX67" fmla="*/ 40783 w 152377"/>
                <a:gd name="connsiteY67" fmla="*/ 35854 h 76188"/>
                <a:gd name="connsiteX68" fmla="*/ 91426 w 152377"/>
                <a:gd name="connsiteY68" fmla="*/ 35854 h 76188"/>
                <a:gd name="connsiteX69" fmla="*/ 91426 w 152377"/>
                <a:gd name="connsiteY69" fmla="*/ 11652 h 76188"/>
                <a:gd name="connsiteX70" fmla="*/ 89185 w 152377"/>
                <a:gd name="connsiteY70" fmla="*/ 9411 h 76188"/>
                <a:gd name="connsiteX71" fmla="*/ 86945 w 152377"/>
                <a:gd name="connsiteY71" fmla="*/ 11652 h 76188"/>
                <a:gd name="connsiteX72" fmla="*/ 86945 w 152377"/>
                <a:gd name="connsiteY72" fmla="*/ 72604 h 76188"/>
                <a:gd name="connsiteX73" fmla="*/ 86048 w 152377"/>
                <a:gd name="connsiteY73" fmla="*/ 73500 h 76188"/>
                <a:gd name="connsiteX74" fmla="*/ 77981 w 152377"/>
                <a:gd name="connsiteY74" fmla="*/ 73500 h 76188"/>
                <a:gd name="connsiteX75" fmla="*/ 77981 w 152377"/>
                <a:gd name="connsiteY75" fmla="*/ 40335 h 76188"/>
                <a:gd name="connsiteX76" fmla="*/ 75740 w 152377"/>
                <a:gd name="connsiteY76" fmla="*/ 38094 h 76188"/>
                <a:gd name="connsiteX77" fmla="*/ 73499 w 152377"/>
                <a:gd name="connsiteY77" fmla="*/ 40335 h 76188"/>
                <a:gd name="connsiteX78" fmla="*/ 73499 w 152377"/>
                <a:gd name="connsiteY78" fmla="*/ 73948 h 76188"/>
                <a:gd name="connsiteX79" fmla="*/ 65433 w 152377"/>
                <a:gd name="connsiteY79" fmla="*/ 73948 h 76188"/>
                <a:gd name="connsiteX80" fmla="*/ 64536 w 152377"/>
                <a:gd name="connsiteY80" fmla="*/ 73052 h 76188"/>
                <a:gd name="connsiteX81" fmla="*/ 64536 w 152377"/>
                <a:gd name="connsiteY81" fmla="*/ 12101 h 76188"/>
                <a:gd name="connsiteX82" fmla="*/ 62295 w 152377"/>
                <a:gd name="connsiteY82" fmla="*/ 9860 h 76188"/>
                <a:gd name="connsiteX83" fmla="*/ 60054 w 152377"/>
                <a:gd name="connsiteY83" fmla="*/ 12101 h 76188"/>
                <a:gd name="connsiteX84" fmla="*/ 60054 w 152377"/>
                <a:gd name="connsiteY84" fmla="*/ 36302 h 76188"/>
                <a:gd name="connsiteX85" fmla="*/ 57814 w 152377"/>
                <a:gd name="connsiteY85" fmla="*/ 38543 h 76188"/>
                <a:gd name="connsiteX86" fmla="*/ 52884 w 152377"/>
                <a:gd name="connsiteY86" fmla="*/ 38543 h 76188"/>
                <a:gd name="connsiteX87" fmla="*/ 52884 w 152377"/>
                <a:gd name="connsiteY87" fmla="*/ 11204 h 76188"/>
                <a:gd name="connsiteX88" fmla="*/ 53780 w 152377"/>
                <a:gd name="connsiteY88" fmla="*/ 8963 h 76188"/>
                <a:gd name="connsiteX89" fmla="*/ 60951 w 152377"/>
                <a:gd name="connsiteY89" fmla="*/ 4482 h 76188"/>
                <a:gd name="connsiteX90" fmla="*/ 60951 w 152377"/>
                <a:gd name="connsiteY90" fmla="*/ 4482 h 76188"/>
                <a:gd name="connsiteX91" fmla="*/ 76189 w 152377"/>
                <a:gd name="connsiteY91" fmla="*/ 4482 h 76188"/>
                <a:gd name="connsiteX92" fmla="*/ 76189 w 152377"/>
                <a:gd name="connsiteY92" fmla="*/ 4482 h 76188"/>
                <a:gd name="connsiteX93" fmla="*/ 89634 w 152377"/>
                <a:gd name="connsiteY93" fmla="*/ 4482 h 76188"/>
                <a:gd name="connsiteX94" fmla="*/ 96805 w 152377"/>
                <a:gd name="connsiteY94" fmla="*/ 8515 h 76188"/>
                <a:gd name="connsiteX95" fmla="*/ 99046 w 152377"/>
                <a:gd name="connsiteY95" fmla="*/ 12101 h 76188"/>
                <a:gd name="connsiteX96" fmla="*/ 99046 w 152377"/>
                <a:gd name="connsiteY96" fmla="*/ 38094 h 76188"/>
                <a:gd name="connsiteX97" fmla="*/ 93667 w 152377"/>
                <a:gd name="connsiteY97" fmla="*/ 38094 h 76188"/>
                <a:gd name="connsiteX98" fmla="*/ 91426 w 152377"/>
                <a:gd name="connsiteY98" fmla="*/ 35854 h 76188"/>
                <a:gd name="connsiteX99" fmla="*/ 147896 w 152377"/>
                <a:gd name="connsiteY99" fmla="*/ 35406 h 76188"/>
                <a:gd name="connsiteX100" fmla="*/ 145207 w 152377"/>
                <a:gd name="connsiteY100" fmla="*/ 37646 h 76188"/>
                <a:gd name="connsiteX101" fmla="*/ 142518 w 152377"/>
                <a:gd name="connsiteY101" fmla="*/ 37646 h 76188"/>
                <a:gd name="connsiteX102" fmla="*/ 142518 w 152377"/>
                <a:gd name="connsiteY102" fmla="*/ 11204 h 76188"/>
                <a:gd name="connsiteX103" fmla="*/ 140277 w 152377"/>
                <a:gd name="connsiteY103" fmla="*/ 8963 h 76188"/>
                <a:gd name="connsiteX104" fmla="*/ 138036 w 152377"/>
                <a:gd name="connsiteY104" fmla="*/ 11204 h 76188"/>
                <a:gd name="connsiteX105" fmla="*/ 138036 w 152377"/>
                <a:gd name="connsiteY105" fmla="*/ 72155 h 76188"/>
                <a:gd name="connsiteX106" fmla="*/ 137140 w 152377"/>
                <a:gd name="connsiteY106" fmla="*/ 73052 h 76188"/>
                <a:gd name="connsiteX107" fmla="*/ 129073 w 152377"/>
                <a:gd name="connsiteY107" fmla="*/ 73052 h 76188"/>
                <a:gd name="connsiteX108" fmla="*/ 129073 w 152377"/>
                <a:gd name="connsiteY108" fmla="*/ 40335 h 76188"/>
                <a:gd name="connsiteX109" fmla="*/ 126832 w 152377"/>
                <a:gd name="connsiteY109" fmla="*/ 38094 h 76188"/>
                <a:gd name="connsiteX110" fmla="*/ 124591 w 152377"/>
                <a:gd name="connsiteY110" fmla="*/ 40335 h 76188"/>
                <a:gd name="connsiteX111" fmla="*/ 124591 w 152377"/>
                <a:gd name="connsiteY111" fmla="*/ 73948 h 76188"/>
                <a:gd name="connsiteX112" fmla="*/ 116524 w 152377"/>
                <a:gd name="connsiteY112" fmla="*/ 73948 h 76188"/>
                <a:gd name="connsiteX113" fmla="*/ 115628 w 152377"/>
                <a:gd name="connsiteY113" fmla="*/ 73052 h 76188"/>
                <a:gd name="connsiteX114" fmla="*/ 115628 w 152377"/>
                <a:gd name="connsiteY114" fmla="*/ 12101 h 76188"/>
                <a:gd name="connsiteX115" fmla="*/ 113387 w 152377"/>
                <a:gd name="connsiteY115" fmla="*/ 9860 h 76188"/>
                <a:gd name="connsiteX116" fmla="*/ 111146 w 152377"/>
                <a:gd name="connsiteY116" fmla="*/ 12101 h 76188"/>
                <a:gd name="connsiteX117" fmla="*/ 111146 w 152377"/>
                <a:gd name="connsiteY117" fmla="*/ 36302 h 76188"/>
                <a:gd name="connsiteX118" fmla="*/ 108905 w 152377"/>
                <a:gd name="connsiteY118" fmla="*/ 38543 h 76188"/>
                <a:gd name="connsiteX119" fmla="*/ 103527 w 152377"/>
                <a:gd name="connsiteY119" fmla="*/ 38543 h 76188"/>
                <a:gd name="connsiteX120" fmla="*/ 103527 w 152377"/>
                <a:gd name="connsiteY120" fmla="*/ 12549 h 76188"/>
                <a:gd name="connsiteX121" fmla="*/ 106664 w 152377"/>
                <a:gd name="connsiteY121" fmla="*/ 8067 h 76188"/>
                <a:gd name="connsiteX122" fmla="*/ 113835 w 152377"/>
                <a:gd name="connsiteY122" fmla="*/ 4482 h 76188"/>
                <a:gd name="connsiteX123" fmla="*/ 141174 w 152377"/>
                <a:gd name="connsiteY123" fmla="*/ 4482 h 76188"/>
                <a:gd name="connsiteX124" fmla="*/ 147896 w 152377"/>
                <a:gd name="connsiteY124" fmla="*/ 11204 h 76188"/>
                <a:gd name="connsiteX125" fmla="*/ 147896 w 152377"/>
                <a:gd name="connsiteY125" fmla="*/ 35406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52377" h="76188">
                  <a:moveTo>
                    <a:pt x="141174" y="0"/>
                  </a:moveTo>
                  <a:lnTo>
                    <a:pt x="113835" y="0"/>
                  </a:lnTo>
                  <a:cubicBezTo>
                    <a:pt x="109802" y="0"/>
                    <a:pt x="105768" y="2241"/>
                    <a:pt x="103079" y="5378"/>
                  </a:cubicBezTo>
                  <a:lnTo>
                    <a:pt x="101734" y="7619"/>
                  </a:lnTo>
                  <a:lnTo>
                    <a:pt x="100838" y="6274"/>
                  </a:lnTo>
                  <a:cubicBezTo>
                    <a:pt x="98597" y="2241"/>
                    <a:pt x="94116" y="0"/>
                    <a:pt x="89634" y="0"/>
                  </a:cubicBezTo>
                  <a:lnTo>
                    <a:pt x="76189" y="0"/>
                  </a:lnTo>
                  <a:lnTo>
                    <a:pt x="60951" y="0"/>
                  </a:lnTo>
                  <a:cubicBezTo>
                    <a:pt x="60951" y="0"/>
                    <a:pt x="60951" y="0"/>
                    <a:pt x="60951" y="0"/>
                  </a:cubicBezTo>
                  <a:cubicBezTo>
                    <a:pt x="56469" y="0"/>
                    <a:pt x="52436" y="2241"/>
                    <a:pt x="50195" y="5826"/>
                  </a:cubicBezTo>
                  <a:cubicBezTo>
                    <a:pt x="47954" y="2241"/>
                    <a:pt x="43920" y="0"/>
                    <a:pt x="39439" y="0"/>
                  </a:cubicBezTo>
                  <a:lnTo>
                    <a:pt x="10756" y="0"/>
                  </a:lnTo>
                  <a:cubicBezTo>
                    <a:pt x="4930" y="0"/>
                    <a:pt x="0" y="4930"/>
                    <a:pt x="0" y="10756"/>
                  </a:cubicBezTo>
                  <a:lnTo>
                    <a:pt x="0" y="35406"/>
                  </a:lnTo>
                  <a:cubicBezTo>
                    <a:pt x="0" y="39439"/>
                    <a:pt x="3137" y="42128"/>
                    <a:pt x="6723" y="42128"/>
                  </a:cubicBezTo>
                  <a:lnTo>
                    <a:pt x="9411" y="42128"/>
                  </a:lnTo>
                  <a:lnTo>
                    <a:pt x="9411" y="72604"/>
                  </a:lnTo>
                  <a:cubicBezTo>
                    <a:pt x="9411" y="75741"/>
                    <a:pt x="11652" y="77982"/>
                    <a:pt x="14789" y="77982"/>
                  </a:cubicBezTo>
                  <a:lnTo>
                    <a:pt x="35854" y="77982"/>
                  </a:lnTo>
                  <a:cubicBezTo>
                    <a:pt x="38543" y="77982"/>
                    <a:pt x="41231" y="75293"/>
                    <a:pt x="41231" y="72604"/>
                  </a:cubicBezTo>
                  <a:lnTo>
                    <a:pt x="41231" y="42128"/>
                  </a:lnTo>
                  <a:cubicBezTo>
                    <a:pt x="42128" y="42576"/>
                    <a:pt x="42576" y="42576"/>
                    <a:pt x="43472" y="42576"/>
                  </a:cubicBezTo>
                  <a:lnTo>
                    <a:pt x="58262" y="42576"/>
                  </a:lnTo>
                  <a:cubicBezTo>
                    <a:pt x="59158" y="42576"/>
                    <a:pt x="59606" y="42576"/>
                    <a:pt x="60503" y="42128"/>
                  </a:cubicBezTo>
                  <a:lnTo>
                    <a:pt x="60503" y="72604"/>
                  </a:lnTo>
                  <a:cubicBezTo>
                    <a:pt x="60503" y="75741"/>
                    <a:pt x="62744" y="77982"/>
                    <a:pt x="65881" y="77982"/>
                  </a:cubicBezTo>
                  <a:lnTo>
                    <a:pt x="86945" y="77982"/>
                  </a:lnTo>
                  <a:cubicBezTo>
                    <a:pt x="89634" y="77982"/>
                    <a:pt x="92323" y="75293"/>
                    <a:pt x="92323" y="72604"/>
                  </a:cubicBezTo>
                  <a:lnTo>
                    <a:pt x="92323" y="42128"/>
                  </a:lnTo>
                  <a:cubicBezTo>
                    <a:pt x="93219" y="42576"/>
                    <a:pt x="93667" y="42576"/>
                    <a:pt x="94564" y="42576"/>
                  </a:cubicBezTo>
                  <a:lnTo>
                    <a:pt x="110250" y="42576"/>
                  </a:lnTo>
                  <a:cubicBezTo>
                    <a:pt x="111146" y="42576"/>
                    <a:pt x="111594" y="42576"/>
                    <a:pt x="112491" y="42128"/>
                  </a:cubicBezTo>
                  <a:lnTo>
                    <a:pt x="112491" y="72604"/>
                  </a:lnTo>
                  <a:cubicBezTo>
                    <a:pt x="112491" y="75741"/>
                    <a:pt x="114731" y="77982"/>
                    <a:pt x="117868" y="77982"/>
                  </a:cubicBezTo>
                  <a:lnTo>
                    <a:pt x="138933" y="77982"/>
                  </a:lnTo>
                  <a:cubicBezTo>
                    <a:pt x="141622" y="77982"/>
                    <a:pt x="144311" y="75293"/>
                    <a:pt x="144311" y="72604"/>
                  </a:cubicBezTo>
                  <a:lnTo>
                    <a:pt x="144311" y="42576"/>
                  </a:lnTo>
                  <a:lnTo>
                    <a:pt x="146999" y="42576"/>
                  </a:lnTo>
                  <a:cubicBezTo>
                    <a:pt x="151033" y="42576"/>
                    <a:pt x="154170" y="39439"/>
                    <a:pt x="154170" y="35854"/>
                  </a:cubicBezTo>
                  <a:lnTo>
                    <a:pt x="154170" y="11204"/>
                  </a:lnTo>
                  <a:cubicBezTo>
                    <a:pt x="152378" y="4930"/>
                    <a:pt x="147448" y="0"/>
                    <a:pt x="141174" y="0"/>
                  </a:cubicBezTo>
                  <a:close/>
                  <a:moveTo>
                    <a:pt x="40783" y="35854"/>
                  </a:moveTo>
                  <a:lnTo>
                    <a:pt x="40783" y="11652"/>
                  </a:lnTo>
                  <a:cubicBezTo>
                    <a:pt x="40783" y="10308"/>
                    <a:pt x="39887" y="9411"/>
                    <a:pt x="38543" y="9411"/>
                  </a:cubicBezTo>
                  <a:cubicBezTo>
                    <a:pt x="37198" y="9411"/>
                    <a:pt x="36302" y="10308"/>
                    <a:pt x="36302" y="11652"/>
                  </a:cubicBezTo>
                  <a:lnTo>
                    <a:pt x="36302" y="72604"/>
                  </a:lnTo>
                  <a:cubicBezTo>
                    <a:pt x="36302" y="73052"/>
                    <a:pt x="35854" y="73500"/>
                    <a:pt x="35405" y="73500"/>
                  </a:cubicBezTo>
                  <a:lnTo>
                    <a:pt x="27338" y="73500"/>
                  </a:lnTo>
                  <a:lnTo>
                    <a:pt x="27338" y="40335"/>
                  </a:lnTo>
                  <a:cubicBezTo>
                    <a:pt x="27338" y="38991"/>
                    <a:pt x="26442" y="38094"/>
                    <a:pt x="25097" y="38094"/>
                  </a:cubicBezTo>
                  <a:cubicBezTo>
                    <a:pt x="23753" y="38094"/>
                    <a:pt x="22857" y="38991"/>
                    <a:pt x="22857" y="40335"/>
                  </a:cubicBezTo>
                  <a:lnTo>
                    <a:pt x="22857" y="73948"/>
                  </a:lnTo>
                  <a:lnTo>
                    <a:pt x="14789" y="73948"/>
                  </a:lnTo>
                  <a:cubicBezTo>
                    <a:pt x="14341" y="73948"/>
                    <a:pt x="13893" y="73500"/>
                    <a:pt x="13893" y="73052"/>
                  </a:cubicBezTo>
                  <a:lnTo>
                    <a:pt x="13893" y="12101"/>
                  </a:lnTo>
                  <a:cubicBezTo>
                    <a:pt x="13893" y="10756"/>
                    <a:pt x="12996" y="9860"/>
                    <a:pt x="11652" y="9860"/>
                  </a:cubicBezTo>
                  <a:cubicBezTo>
                    <a:pt x="10308" y="9860"/>
                    <a:pt x="9411" y="10756"/>
                    <a:pt x="9411" y="12101"/>
                  </a:cubicBezTo>
                  <a:lnTo>
                    <a:pt x="9411" y="38543"/>
                  </a:lnTo>
                  <a:lnTo>
                    <a:pt x="6723" y="38543"/>
                  </a:lnTo>
                  <a:cubicBezTo>
                    <a:pt x="5378" y="38543"/>
                    <a:pt x="4482" y="37646"/>
                    <a:pt x="4482" y="36302"/>
                  </a:cubicBezTo>
                  <a:lnTo>
                    <a:pt x="4482" y="11652"/>
                  </a:lnTo>
                  <a:cubicBezTo>
                    <a:pt x="4482" y="8067"/>
                    <a:pt x="7171" y="5378"/>
                    <a:pt x="10756" y="5378"/>
                  </a:cubicBezTo>
                  <a:lnTo>
                    <a:pt x="39439" y="5378"/>
                  </a:lnTo>
                  <a:cubicBezTo>
                    <a:pt x="42128" y="5378"/>
                    <a:pt x="44817" y="6723"/>
                    <a:pt x="46609" y="9411"/>
                  </a:cubicBezTo>
                  <a:lnTo>
                    <a:pt x="47954" y="12101"/>
                  </a:lnTo>
                  <a:lnTo>
                    <a:pt x="47954" y="38991"/>
                  </a:lnTo>
                  <a:lnTo>
                    <a:pt x="43024" y="38991"/>
                  </a:lnTo>
                  <a:cubicBezTo>
                    <a:pt x="41679" y="38094"/>
                    <a:pt x="40783" y="37198"/>
                    <a:pt x="40783" y="35854"/>
                  </a:cubicBezTo>
                  <a:close/>
                  <a:moveTo>
                    <a:pt x="91426" y="35854"/>
                  </a:moveTo>
                  <a:lnTo>
                    <a:pt x="91426" y="11652"/>
                  </a:lnTo>
                  <a:cubicBezTo>
                    <a:pt x="91426" y="10308"/>
                    <a:pt x="90530" y="9411"/>
                    <a:pt x="89185" y="9411"/>
                  </a:cubicBezTo>
                  <a:cubicBezTo>
                    <a:pt x="87841" y="9411"/>
                    <a:pt x="86945" y="10308"/>
                    <a:pt x="86945" y="11652"/>
                  </a:cubicBezTo>
                  <a:lnTo>
                    <a:pt x="86945" y="72604"/>
                  </a:lnTo>
                  <a:cubicBezTo>
                    <a:pt x="86945" y="73052"/>
                    <a:pt x="86497" y="73500"/>
                    <a:pt x="86048" y="73500"/>
                  </a:cubicBezTo>
                  <a:lnTo>
                    <a:pt x="77981" y="73500"/>
                  </a:lnTo>
                  <a:lnTo>
                    <a:pt x="77981" y="40335"/>
                  </a:lnTo>
                  <a:cubicBezTo>
                    <a:pt x="77981" y="38991"/>
                    <a:pt x="77085" y="38094"/>
                    <a:pt x="75740" y="38094"/>
                  </a:cubicBezTo>
                  <a:cubicBezTo>
                    <a:pt x="74396" y="38094"/>
                    <a:pt x="73499" y="38991"/>
                    <a:pt x="73499" y="40335"/>
                  </a:cubicBezTo>
                  <a:lnTo>
                    <a:pt x="73499" y="73948"/>
                  </a:lnTo>
                  <a:lnTo>
                    <a:pt x="65433" y="73948"/>
                  </a:lnTo>
                  <a:cubicBezTo>
                    <a:pt x="64985" y="73948"/>
                    <a:pt x="64536" y="73500"/>
                    <a:pt x="64536" y="73052"/>
                  </a:cubicBezTo>
                  <a:lnTo>
                    <a:pt x="64536" y="12101"/>
                  </a:lnTo>
                  <a:cubicBezTo>
                    <a:pt x="64536" y="10756"/>
                    <a:pt x="63640" y="9860"/>
                    <a:pt x="62295" y="9860"/>
                  </a:cubicBezTo>
                  <a:cubicBezTo>
                    <a:pt x="60951" y="9860"/>
                    <a:pt x="60054" y="10756"/>
                    <a:pt x="60054" y="12101"/>
                  </a:cubicBezTo>
                  <a:lnTo>
                    <a:pt x="60054" y="36302"/>
                  </a:lnTo>
                  <a:cubicBezTo>
                    <a:pt x="60054" y="37646"/>
                    <a:pt x="59158" y="38543"/>
                    <a:pt x="57814" y="38543"/>
                  </a:cubicBezTo>
                  <a:lnTo>
                    <a:pt x="52884" y="38543"/>
                  </a:lnTo>
                  <a:lnTo>
                    <a:pt x="52884" y="11204"/>
                  </a:lnTo>
                  <a:lnTo>
                    <a:pt x="53780" y="8963"/>
                  </a:lnTo>
                  <a:cubicBezTo>
                    <a:pt x="55125" y="6274"/>
                    <a:pt x="57814" y="4482"/>
                    <a:pt x="60951" y="4482"/>
                  </a:cubicBezTo>
                  <a:cubicBezTo>
                    <a:pt x="60951" y="4482"/>
                    <a:pt x="60951" y="4482"/>
                    <a:pt x="60951" y="4482"/>
                  </a:cubicBezTo>
                  <a:lnTo>
                    <a:pt x="76189" y="4482"/>
                  </a:lnTo>
                  <a:lnTo>
                    <a:pt x="76189" y="4482"/>
                  </a:lnTo>
                  <a:lnTo>
                    <a:pt x="89634" y="4482"/>
                  </a:lnTo>
                  <a:cubicBezTo>
                    <a:pt x="92771" y="4482"/>
                    <a:pt x="95460" y="6274"/>
                    <a:pt x="96805" y="8515"/>
                  </a:cubicBezTo>
                  <a:lnTo>
                    <a:pt x="99046" y="12101"/>
                  </a:lnTo>
                  <a:lnTo>
                    <a:pt x="99046" y="38094"/>
                  </a:lnTo>
                  <a:lnTo>
                    <a:pt x="93667" y="38094"/>
                  </a:lnTo>
                  <a:cubicBezTo>
                    <a:pt x="92323" y="38094"/>
                    <a:pt x="91426" y="37198"/>
                    <a:pt x="91426" y="35854"/>
                  </a:cubicBezTo>
                  <a:close/>
                  <a:moveTo>
                    <a:pt x="147896" y="35406"/>
                  </a:moveTo>
                  <a:cubicBezTo>
                    <a:pt x="147896" y="36750"/>
                    <a:pt x="146999" y="37646"/>
                    <a:pt x="145207" y="37646"/>
                  </a:cubicBezTo>
                  <a:lnTo>
                    <a:pt x="142518" y="37646"/>
                  </a:lnTo>
                  <a:lnTo>
                    <a:pt x="142518" y="11204"/>
                  </a:lnTo>
                  <a:cubicBezTo>
                    <a:pt x="142518" y="9860"/>
                    <a:pt x="141622" y="8963"/>
                    <a:pt x="140277" y="8963"/>
                  </a:cubicBezTo>
                  <a:cubicBezTo>
                    <a:pt x="138933" y="8963"/>
                    <a:pt x="138036" y="9860"/>
                    <a:pt x="138036" y="11204"/>
                  </a:cubicBezTo>
                  <a:lnTo>
                    <a:pt x="138036" y="72155"/>
                  </a:lnTo>
                  <a:cubicBezTo>
                    <a:pt x="138036" y="72604"/>
                    <a:pt x="137588" y="73052"/>
                    <a:pt x="137140" y="73052"/>
                  </a:cubicBezTo>
                  <a:lnTo>
                    <a:pt x="129073" y="73052"/>
                  </a:lnTo>
                  <a:lnTo>
                    <a:pt x="129073" y="40335"/>
                  </a:lnTo>
                  <a:cubicBezTo>
                    <a:pt x="129073" y="38991"/>
                    <a:pt x="128177" y="38094"/>
                    <a:pt x="126832" y="38094"/>
                  </a:cubicBezTo>
                  <a:cubicBezTo>
                    <a:pt x="125488" y="38094"/>
                    <a:pt x="124591" y="38991"/>
                    <a:pt x="124591" y="40335"/>
                  </a:cubicBezTo>
                  <a:lnTo>
                    <a:pt x="124591" y="73948"/>
                  </a:lnTo>
                  <a:lnTo>
                    <a:pt x="116524" y="73948"/>
                  </a:lnTo>
                  <a:cubicBezTo>
                    <a:pt x="116076" y="73948"/>
                    <a:pt x="115628" y="73500"/>
                    <a:pt x="115628" y="73052"/>
                  </a:cubicBezTo>
                  <a:lnTo>
                    <a:pt x="115628" y="12101"/>
                  </a:lnTo>
                  <a:cubicBezTo>
                    <a:pt x="115628" y="10756"/>
                    <a:pt x="114731" y="9860"/>
                    <a:pt x="113387" y="9860"/>
                  </a:cubicBezTo>
                  <a:cubicBezTo>
                    <a:pt x="112043" y="9860"/>
                    <a:pt x="111146" y="10756"/>
                    <a:pt x="111146" y="12101"/>
                  </a:cubicBezTo>
                  <a:lnTo>
                    <a:pt x="111146" y="36302"/>
                  </a:lnTo>
                  <a:cubicBezTo>
                    <a:pt x="111146" y="37646"/>
                    <a:pt x="110250" y="38543"/>
                    <a:pt x="108905" y="38543"/>
                  </a:cubicBezTo>
                  <a:lnTo>
                    <a:pt x="103527" y="38543"/>
                  </a:lnTo>
                  <a:lnTo>
                    <a:pt x="103527" y="12549"/>
                  </a:lnTo>
                  <a:lnTo>
                    <a:pt x="106664" y="8067"/>
                  </a:lnTo>
                  <a:cubicBezTo>
                    <a:pt x="108457" y="5826"/>
                    <a:pt x="110698" y="4482"/>
                    <a:pt x="113835" y="4482"/>
                  </a:cubicBezTo>
                  <a:lnTo>
                    <a:pt x="141174" y="4482"/>
                  </a:lnTo>
                  <a:cubicBezTo>
                    <a:pt x="144759" y="4482"/>
                    <a:pt x="147896" y="7619"/>
                    <a:pt x="147896" y="11204"/>
                  </a:cubicBezTo>
                  <a:lnTo>
                    <a:pt x="147896" y="35406"/>
                  </a:lnTo>
                  <a:close/>
                </a:path>
              </a:pathLst>
            </a:custGeom>
            <a:solidFill>
              <a:srgbClr val="231F20"/>
            </a:solidFill>
            <a:ln w="4477" cap="flat">
              <a:noFill/>
              <a:prstDash val="solid"/>
              <a:miter/>
            </a:ln>
          </p:spPr>
          <p:txBody>
            <a:bodyPr rtlCol="0" anchor="ctr"/>
            <a:lstStyle/>
            <a:p>
              <a:endParaRPr lang="en-US"/>
            </a:p>
          </p:txBody>
        </p:sp>
        <p:sp>
          <p:nvSpPr>
            <p:cNvPr id="2509" name="Freeform: Shape 2508">
              <a:extLst>
                <a:ext uri="{FF2B5EF4-FFF2-40B4-BE49-F238E27FC236}">
                  <a16:creationId xmlns:a16="http://schemas.microsoft.com/office/drawing/2014/main" id="{CA7C8B0C-16BB-4A68-AE06-409F92A4FE34}"/>
                </a:ext>
              </a:extLst>
            </p:cNvPr>
            <p:cNvSpPr/>
            <p:nvPr/>
          </p:nvSpPr>
          <p:spPr>
            <a:xfrm>
              <a:off x="11587178" y="3874093"/>
              <a:ext cx="22409" cy="22409"/>
            </a:xfrm>
            <a:custGeom>
              <a:avLst/>
              <a:gdLst>
                <a:gd name="connsiteX0" fmla="*/ 10133 w 22408"/>
                <a:gd name="connsiteY0" fmla="*/ 26317 h 22408"/>
                <a:gd name="connsiteX1" fmla="*/ 13270 w 22408"/>
                <a:gd name="connsiteY1" fmla="*/ 26765 h 22408"/>
                <a:gd name="connsiteX2" fmla="*/ 22681 w 22408"/>
                <a:gd name="connsiteY2" fmla="*/ 22732 h 22408"/>
                <a:gd name="connsiteX3" fmla="*/ 26267 w 22408"/>
                <a:gd name="connsiteY3" fmla="*/ 10183 h 22408"/>
                <a:gd name="connsiteX4" fmla="*/ 16407 w 22408"/>
                <a:gd name="connsiteY4" fmla="*/ 323 h 22408"/>
                <a:gd name="connsiteX5" fmla="*/ 3858 w 22408"/>
                <a:gd name="connsiteY5" fmla="*/ 3909 h 22408"/>
                <a:gd name="connsiteX6" fmla="*/ 272 w 22408"/>
                <a:gd name="connsiteY6" fmla="*/ 16457 h 22408"/>
                <a:gd name="connsiteX7" fmla="*/ 10133 w 22408"/>
                <a:gd name="connsiteY7" fmla="*/ 26317 h 22408"/>
                <a:gd name="connsiteX8" fmla="*/ 7444 w 22408"/>
                <a:gd name="connsiteY8" fmla="*/ 7046 h 22408"/>
                <a:gd name="connsiteX9" fmla="*/ 13718 w 22408"/>
                <a:gd name="connsiteY9" fmla="*/ 4357 h 22408"/>
                <a:gd name="connsiteX10" fmla="*/ 15958 w 22408"/>
                <a:gd name="connsiteY10" fmla="*/ 4805 h 22408"/>
                <a:gd name="connsiteX11" fmla="*/ 22233 w 22408"/>
                <a:gd name="connsiteY11" fmla="*/ 11079 h 22408"/>
                <a:gd name="connsiteX12" fmla="*/ 22233 w 22408"/>
                <a:gd name="connsiteY12" fmla="*/ 11079 h 22408"/>
                <a:gd name="connsiteX13" fmla="*/ 19992 w 22408"/>
                <a:gd name="connsiteY13" fmla="*/ 19595 h 22408"/>
                <a:gd name="connsiteX14" fmla="*/ 11477 w 22408"/>
                <a:gd name="connsiteY14" fmla="*/ 21836 h 22408"/>
                <a:gd name="connsiteX15" fmla="*/ 5203 w 22408"/>
                <a:gd name="connsiteY15" fmla="*/ 15561 h 22408"/>
                <a:gd name="connsiteX16" fmla="*/ 7444 w 22408"/>
                <a:gd name="connsiteY16" fmla="*/ 7046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08" h="22408">
                  <a:moveTo>
                    <a:pt x="10133" y="26317"/>
                  </a:moveTo>
                  <a:cubicBezTo>
                    <a:pt x="11029" y="26765"/>
                    <a:pt x="12373" y="26765"/>
                    <a:pt x="13270" y="26765"/>
                  </a:cubicBezTo>
                  <a:cubicBezTo>
                    <a:pt x="16855" y="26765"/>
                    <a:pt x="19992" y="25421"/>
                    <a:pt x="22681" y="22732"/>
                  </a:cubicBezTo>
                  <a:cubicBezTo>
                    <a:pt x="25818" y="19595"/>
                    <a:pt x="27163" y="14665"/>
                    <a:pt x="26267" y="10183"/>
                  </a:cubicBezTo>
                  <a:cubicBezTo>
                    <a:pt x="24922" y="5253"/>
                    <a:pt x="21337" y="1668"/>
                    <a:pt x="16407" y="323"/>
                  </a:cubicBezTo>
                  <a:cubicBezTo>
                    <a:pt x="11925" y="-573"/>
                    <a:pt x="6995" y="323"/>
                    <a:pt x="3858" y="3909"/>
                  </a:cubicBezTo>
                  <a:cubicBezTo>
                    <a:pt x="721" y="7046"/>
                    <a:pt x="-624" y="11976"/>
                    <a:pt x="272" y="16457"/>
                  </a:cubicBezTo>
                  <a:cubicBezTo>
                    <a:pt x="1617" y="21387"/>
                    <a:pt x="5651" y="24973"/>
                    <a:pt x="10133" y="26317"/>
                  </a:cubicBezTo>
                  <a:close/>
                  <a:moveTo>
                    <a:pt x="7444" y="7046"/>
                  </a:moveTo>
                  <a:cubicBezTo>
                    <a:pt x="9236" y="5253"/>
                    <a:pt x="11477" y="4357"/>
                    <a:pt x="13718" y="4357"/>
                  </a:cubicBezTo>
                  <a:cubicBezTo>
                    <a:pt x="14614" y="4357"/>
                    <a:pt x="15062" y="4357"/>
                    <a:pt x="15958" y="4805"/>
                  </a:cubicBezTo>
                  <a:cubicBezTo>
                    <a:pt x="19096" y="5701"/>
                    <a:pt x="21785" y="7942"/>
                    <a:pt x="22233" y="11079"/>
                  </a:cubicBezTo>
                  <a:cubicBezTo>
                    <a:pt x="22233" y="11079"/>
                    <a:pt x="22233" y="11079"/>
                    <a:pt x="22233" y="11079"/>
                  </a:cubicBezTo>
                  <a:cubicBezTo>
                    <a:pt x="23130" y="14217"/>
                    <a:pt x="22233" y="17354"/>
                    <a:pt x="19992" y="19595"/>
                  </a:cubicBezTo>
                  <a:cubicBezTo>
                    <a:pt x="17751" y="21836"/>
                    <a:pt x="14614" y="22732"/>
                    <a:pt x="11477" y="21836"/>
                  </a:cubicBezTo>
                  <a:cubicBezTo>
                    <a:pt x="8340" y="20939"/>
                    <a:pt x="5651" y="18698"/>
                    <a:pt x="5203" y="15561"/>
                  </a:cubicBezTo>
                  <a:cubicBezTo>
                    <a:pt x="4306" y="12424"/>
                    <a:pt x="5203" y="9287"/>
                    <a:pt x="7444" y="7046"/>
                  </a:cubicBezTo>
                  <a:close/>
                </a:path>
              </a:pathLst>
            </a:custGeom>
            <a:solidFill>
              <a:srgbClr val="231F20"/>
            </a:solidFill>
            <a:ln w="4477" cap="flat">
              <a:noFill/>
              <a:prstDash val="solid"/>
              <a:miter/>
            </a:ln>
          </p:spPr>
          <p:txBody>
            <a:bodyPr rtlCol="0" anchor="ctr"/>
            <a:lstStyle/>
            <a:p>
              <a:endParaRPr lang="en-US"/>
            </a:p>
          </p:txBody>
        </p:sp>
      </p:grpSp>
      <p:grpSp>
        <p:nvGrpSpPr>
          <p:cNvPr id="2465" name="Group 2464">
            <a:extLst>
              <a:ext uri="{FF2B5EF4-FFF2-40B4-BE49-F238E27FC236}">
                <a16:creationId xmlns:a16="http://schemas.microsoft.com/office/drawing/2014/main" id="{6A84F60C-211D-4D03-BC27-7F19CEC7C030}"/>
              </a:ext>
              <a:ext uri="{C183D7F6-B498-43B3-948B-1728B52AA6E4}">
                <adec:decorative xmlns:adec="http://schemas.microsoft.com/office/drawing/2017/decorative" val="1"/>
              </a:ext>
            </a:extLst>
          </p:cNvPr>
          <p:cNvGrpSpPr>
            <a:grpSpLocks noChangeAspect="1"/>
          </p:cNvGrpSpPr>
          <p:nvPr/>
        </p:nvGrpSpPr>
        <p:grpSpPr>
          <a:xfrm>
            <a:off x="4292913" y="4902788"/>
            <a:ext cx="151929" cy="121903"/>
            <a:chOff x="10167648" y="3885620"/>
            <a:chExt cx="151929" cy="121903"/>
          </a:xfrm>
        </p:grpSpPr>
        <p:sp>
          <p:nvSpPr>
            <p:cNvPr id="2502" name="Freeform: Shape 2501">
              <a:extLst>
                <a:ext uri="{FF2B5EF4-FFF2-40B4-BE49-F238E27FC236}">
                  <a16:creationId xmlns:a16="http://schemas.microsoft.com/office/drawing/2014/main" id="{4D6348B8-4F66-48BF-8B7E-C25308F897F6}"/>
                </a:ext>
              </a:extLst>
            </p:cNvPr>
            <p:cNvSpPr/>
            <p:nvPr/>
          </p:nvSpPr>
          <p:spPr>
            <a:xfrm>
              <a:off x="10234425" y="3896376"/>
              <a:ext cx="85152" cy="98597"/>
            </a:xfrm>
            <a:custGeom>
              <a:avLst/>
              <a:gdLst>
                <a:gd name="connsiteX0" fmla="*/ 74844 w 85152"/>
                <a:gd name="connsiteY0" fmla="*/ 0 h 98597"/>
                <a:gd name="connsiteX1" fmla="*/ 10756 w 85152"/>
                <a:gd name="connsiteY1" fmla="*/ 0 h 98597"/>
                <a:gd name="connsiteX2" fmla="*/ 0 w 85152"/>
                <a:gd name="connsiteY2" fmla="*/ 10756 h 98597"/>
                <a:gd name="connsiteX3" fmla="*/ 0 w 85152"/>
                <a:gd name="connsiteY3" fmla="*/ 15686 h 98597"/>
                <a:gd name="connsiteX4" fmla="*/ 2241 w 85152"/>
                <a:gd name="connsiteY4" fmla="*/ 17927 h 98597"/>
                <a:gd name="connsiteX5" fmla="*/ 4482 w 85152"/>
                <a:gd name="connsiteY5" fmla="*/ 15686 h 98597"/>
                <a:gd name="connsiteX6" fmla="*/ 4482 w 85152"/>
                <a:gd name="connsiteY6" fmla="*/ 10756 h 98597"/>
                <a:gd name="connsiteX7" fmla="*/ 10756 w 85152"/>
                <a:gd name="connsiteY7" fmla="*/ 4482 h 98597"/>
                <a:gd name="connsiteX8" fmla="*/ 74844 w 85152"/>
                <a:gd name="connsiteY8" fmla="*/ 4482 h 98597"/>
                <a:gd name="connsiteX9" fmla="*/ 81119 w 85152"/>
                <a:gd name="connsiteY9" fmla="*/ 10756 h 98597"/>
                <a:gd name="connsiteX10" fmla="*/ 81119 w 85152"/>
                <a:gd name="connsiteY10" fmla="*/ 88290 h 98597"/>
                <a:gd name="connsiteX11" fmla="*/ 74844 w 85152"/>
                <a:gd name="connsiteY11" fmla="*/ 94564 h 98597"/>
                <a:gd name="connsiteX12" fmla="*/ 10756 w 85152"/>
                <a:gd name="connsiteY12" fmla="*/ 94564 h 98597"/>
                <a:gd name="connsiteX13" fmla="*/ 4482 w 85152"/>
                <a:gd name="connsiteY13" fmla="*/ 88290 h 98597"/>
                <a:gd name="connsiteX14" fmla="*/ 4482 w 85152"/>
                <a:gd name="connsiteY14" fmla="*/ 47058 h 98597"/>
                <a:gd name="connsiteX15" fmla="*/ 2241 w 85152"/>
                <a:gd name="connsiteY15" fmla="*/ 44817 h 98597"/>
                <a:gd name="connsiteX16" fmla="*/ 0 w 85152"/>
                <a:gd name="connsiteY16" fmla="*/ 47058 h 98597"/>
                <a:gd name="connsiteX17" fmla="*/ 0 w 85152"/>
                <a:gd name="connsiteY17" fmla="*/ 87841 h 98597"/>
                <a:gd name="connsiteX18" fmla="*/ 10756 w 85152"/>
                <a:gd name="connsiteY18" fmla="*/ 98597 h 98597"/>
                <a:gd name="connsiteX19" fmla="*/ 74844 w 85152"/>
                <a:gd name="connsiteY19" fmla="*/ 98597 h 98597"/>
                <a:gd name="connsiteX20" fmla="*/ 85601 w 85152"/>
                <a:gd name="connsiteY20" fmla="*/ 87841 h 98597"/>
                <a:gd name="connsiteX21" fmla="*/ 85601 w 85152"/>
                <a:gd name="connsiteY21" fmla="*/ 10308 h 98597"/>
                <a:gd name="connsiteX22" fmla="*/ 74844 w 85152"/>
                <a:gd name="connsiteY22" fmla="*/ 0 h 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152" h="98597">
                  <a:moveTo>
                    <a:pt x="74844" y="0"/>
                  </a:moveTo>
                  <a:lnTo>
                    <a:pt x="10756" y="0"/>
                  </a:lnTo>
                  <a:cubicBezTo>
                    <a:pt x="4930" y="0"/>
                    <a:pt x="0" y="4930"/>
                    <a:pt x="0" y="10756"/>
                  </a:cubicBezTo>
                  <a:lnTo>
                    <a:pt x="0" y="15686"/>
                  </a:lnTo>
                  <a:cubicBezTo>
                    <a:pt x="0" y="17030"/>
                    <a:pt x="896" y="17927"/>
                    <a:pt x="2241" y="17927"/>
                  </a:cubicBezTo>
                  <a:cubicBezTo>
                    <a:pt x="3585" y="17927"/>
                    <a:pt x="4482" y="17030"/>
                    <a:pt x="4482" y="15686"/>
                  </a:cubicBezTo>
                  <a:lnTo>
                    <a:pt x="4482" y="10756"/>
                  </a:lnTo>
                  <a:cubicBezTo>
                    <a:pt x="4482" y="7171"/>
                    <a:pt x="7171" y="4482"/>
                    <a:pt x="10756" y="4482"/>
                  </a:cubicBezTo>
                  <a:lnTo>
                    <a:pt x="74844" y="4482"/>
                  </a:lnTo>
                  <a:cubicBezTo>
                    <a:pt x="78430" y="4482"/>
                    <a:pt x="81119" y="7171"/>
                    <a:pt x="81119" y="10756"/>
                  </a:cubicBezTo>
                  <a:lnTo>
                    <a:pt x="81119" y="88290"/>
                  </a:lnTo>
                  <a:cubicBezTo>
                    <a:pt x="81119" y="91875"/>
                    <a:pt x="78430" y="94564"/>
                    <a:pt x="74844" y="94564"/>
                  </a:cubicBezTo>
                  <a:lnTo>
                    <a:pt x="10756" y="94564"/>
                  </a:lnTo>
                  <a:cubicBezTo>
                    <a:pt x="7171" y="94564"/>
                    <a:pt x="4482" y="91875"/>
                    <a:pt x="4482" y="88290"/>
                  </a:cubicBezTo>
                  <a:lnTo>
                    <a:pt x="4482" y="47058"/>
                  </a:lnTo>
                  <a:cubicBezTo>
                    <a:pt x="4482" y="45713"/>
                    <a:pt x="3585" y="44817"/>
                    <a:pt x="2241" y="44817"/>
                  </a:cubicBezTo>
                  <a:cubicBezTo>
                    <a:pt x="896" y="44817"/>
                    <a:pt x="0" y="45713"/>
                    <a:pt x="0" y="47058"/>
                  </a:cubicBezTo>
                  <a:lnTo>
                    <a:pt x="0" y="87841"/>
                  </a:lnTo>
                  <a:cubicBezTo>
                    <a:pt x="0" y="93668"/>
                    <a:pt x="4930" y="98597"/>
                    <a:pt x="10756" y="98597"/>
                  </a:cubicBezTo>
                  <a:lnTo>
                    <a:pt x="74844" y="98597"/>
                  </a:lnTo>
                  <a:cubicBezTo>
                    <a:pt x="80671" y="98597"/>
                    <a:pt x="85601" y="93668"/>
                    <a:pt x="85601" y="87841"/>
                  </a:cubicBezTo>
                  <a:lnTo>
                    <a:pt x="85601" y="10308"/>
                  </a:lnTo>
                  <a:cubicBezTo>
                    <a:pt x="85601" y="4482"/>
                    <a:pt x="80671" y="0"/>
                    <a:pt x="74844" y="0"/>
                  </a:cubicBezTo>
                  <a:close/>
                </a:path>
              </a:pathLst>
            </a:custGeom>
            <a:solidFill>
              <a:srgbClr val="231F20"/>
            </a:solidFill>
            <a:ln w="4477" cap="flat">
              <a:noFill/>
              <a:prstDash val="solid"/>
              <a:miter/>
            </a:ln>
          </p:spPr>
          <p:txBody>
            <a:bodyPr rtlCol="0" anchor="ctr"/>
            <a:lstStyle/>
            <a:p>
              <a:endParaRPr lang="en-US"/>
            </a:p>
          </p:txBody>
        </p:sp>
        <p:sp>
          <p:nvSpPr>
            <p:cNvPr id="2503" name="Freeform: Shape 2502">
              <a:extLst>
                <a:ext uri="{FF2B5EF4-FFF2-40B4-BE49-F238E27FC236}">
                  <a16:creationId xmlns:a16="http://schemas.microsoft.com/office/drawing/2014/main" id="{146CE6C8-4BD7-420D-B80B-1977786C4B1C}"/>
                </a:ext>
              </a:extLst>
            </p:cNvPr>
            <p:cNvSpPr/>
            <p:nvPr/>
          </p:nvSpPr>
          <p:spPr>
            <a:xfrm>
              <a:off x="10167648" y="3917889"/>
              <a:ext cx="85152" cy="89634"/>
            </a:xfrm>
            <a:custGeom>
              <a:avLst/>
              <a:gdLst>
                <a:gd name="connsiteX0" fmla="*/ 85152 w 85152"/>
                <a:gd name="connsiteY0" fmla="*/ 7619 h 89634"/>
                <a:gd name="connsiteX1" fmla="*/ 85152 w 85152"/>
                <a:gd name="connsiteY1" fmla="*/ 2241 h 89634"/>
                <a:gd name="connsiteX2" fmla="*/ 82911 w 85152"/>
                <a:gd name="connsiteY2" fmla="*/ 0 h 89634"/>
                <a:gd name="connsiteX3" fmla="*/ 12997 w 85152"/>
                <a:gd name="connsiteY3" fmla="*/ 0 h 89634"/>
                <a:gd name="connsiteX4" fmla="*/ 0 w 85152"/>
                <a:gd name="connsiteY4" fmla="*/ 12997 h 89634"/>
                <a:gd name="connsiteX5" fmla="*/ 0 w 85152"/>
                <a:gd name="connsiteY5" fmla="*/ 45713 h 89634"/>
                <a:gd name="connsiteX6" fmla="*/ 5826 w 85152"/>
                <a:gd name="connsiteY6" fmla="*/ 51540 h 89634"/>
                <a:gd name="connsiteX7" fmla="*/ 10756 w 85152"/>
                <a:gd name="connsiteY7" fmla="*/ 51540 h 89634"/>
                <a:gd name="connsiteX8" fmla="*/ 10756 w 85152"/>
                <a:gd name="connsiteY8" fmla="*/ 84704 h 89634"/>
                <a:gd name="connsiteX9" fmla="*/ 16582 w 85152"/>
                <a:gd name="connsiteY9" fmla="*/ 90530 h 89634"/>
                <a:gd name="connsiteX10" fmla="*/ 41680 w 85152"/>
                <a:gd name="connsiteY10" fmla="*/ 90530 h 89634"/>
                <a:gd name="connsiteX11" fmla="*/ 47506 w 85152"/>
                <a:gd name="connsiteY11" fmla="*/ 84704 h 89634"/>
                <a:gd name="connsiteX12" fmla="*/ 47506 w 85152"/>
                <a:gd name="connsiteY12" fmla="*/ 16582 h 89634"/>
                <a:gd name="connsiteX13" fmla="*/ 73500 w 85152"/>
                <a:gd name="connsiteY13" fmla="*/ 16582 h 89634"/>
                <a:gd name="connsiteX14" fmla="*/ 85152 w 85152"/>
                <a:gd name="connsiteY14" fmla="*/ 7619 h 89634"/>
                <a:gd name="connsiteX15" fmla="*/ 45265 w 85152"/>
                <a:gd name="connsiteY15" fmla="*/ 12101 h 89634"/>
                <a:gd name="connsiteX16" fmla="*/ 43472 w 85152"/>
                <a:gd name="connsiteY16" fmla="*/ 12549 h 89634"/>
                <a:gd name="connsiteX17" fmla="*/ 42576 w 85152"/>
                <a:gd name="connsiteY17" fmla="*/ 14342 h 89634"/>
                <a:gd name="connsiteX18" fmla="*/ 42576 w 85152"/>
                <a:gd name="connsiteY18" fmla="*/ 84704 h 89634"/>
                <a:gd name="connsiteX19" fmla="*/ 41231 w 85152"/>
                <a:gd name="connsiteY19" fmla="*/ 86049 h 89634"/>
                <a:gd name="connsiteX20" fmla="*/ 30924 w 85152"/>
                <a:gd name="connsiteY20" fmla="*/ 86049 h 89634"/>
                <a:gd name="connsiteX21" fmla="*/ 30924 w 85152"/>
                <a:gd name="connsiteY21" fmla="*/ 49299 h 89634"/>
                <a:gd name="connsiteX22" fmla="*/ 28683 w 85152"/>
                <a:gd name="connsiteY22" fmla="*/ 47058 h 89634"/>
                <a:gd name="connsiteX23" fmla="*/ 26442 w 85152"/>
                <a:gd name="connsiteY23" fmla="*/ 49299 h 89634"/>
                <a:gd name="connsiteX24" fmla="*/ 26442 w 85152"/>
                <a:gd name="connsiteY24" fmla="*/ 86049 h 89634"/>
                <a:gd name="connsiteX25" fmla="*/ 16134 w 85152"/>
                <a:gd name="connsiteY25" fmla="*/ 86049 h 89634"/>
                <a:gd name="connsiteX26" fmla="*/ 14790 w 85152"/>
                <a:gd name="connsiteY26" fmla="*/ 84704 h 89634"/>
                <a:gd name="connsiteX27" fmla="*/ 14790 w 85152"/>
                <a:gd name="connsiteY27" fmla="*/ 49299 h 89634"/>
                <a:gd name="connsiteX28" fmla="*/ 14790 w 85152"/>
                <a:gd name="connsiteY28" fmla="*/ 17927 h 89634"/>
                <a:gd name="connsiteX29" fmla="*/ 12549 w 85152"/>
                <a:gd name="connsiteY29" fmla="*/ 15686 h 89634"/>
                <a:gd name="connsiteX30" fmla="*/ 10308 w 85152"/>
                <a:gd name="connsiteY30" fmla="*/ 17927 h 89634"/>
                <a:gd name="connsiteX31" fmla="*/ 10308 w 85152"/>
                <a:gd name="connsiteY31" fmla="*/ 47058 h 89634"/>
                <a:gd name="connsiteX32" fmla="*/ 5378 w 85152"/>
                <a:gd name="connsiteY32" fmla="*/ 47058 h 89634"/>
                <a:gd name="connsiteX33" fmla="*/ 4033 w 85152"/>
                <a:gd name="connsiteY33" fmla="*/ 45713 h 89634"/>
                <a:gd name="connsiteX34" fmla="*/ 4033 w 85152"/>
                <a:gd name="connsiteY34" fmla="*/ 12997 h 89634"/>
                <a:gd name="connsiteX35" fmla="*/ 12549 w 85152"/>
                <a:gd name="connsiteY35" fmla="*/ 4482 h 89634"/>
                <a:gd name="connsiteX36" fmla="*/ 80222 w 85152"/>
                <a:gd name="connsiteY36" fmla="*/ 4482 h 89634"/>
                <a:gd name="connsiteX37" fmla="*/ 80222 w 85152"/>
                <a:gd name="connsiteY37" fmla="*/ 7619 h 89634"/>
                <a:gd name="connsiteX38" fmla="*/ 72603 w 85152"/>
                <a:gd name="connsiteY38" fmla="*/ 12101 h 89634"/>
                <a:gd name="connsiteX39" fmla="*/ 45265 w 85152"/>
                <a:gd name="connsiteY39" fmla="*/ 12101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5152" h="89634">
                  <a:moveTo>
                    <a:pt x="85152" y="7619"/>
                  </a:moveTo>
                  <a:cubicBezTo>
                    <a:pt x="85152" y="3585"/>
                    <a:pt x="85152" y="2241"/>
                    <a:pt x="85152" y="2241"/>
                  </a:cubicBezTo>
                  <a:cubicBezTo>
                    <a:pt x="85152" y="896"/>
                    <a:pt x="84256" y="0"/>
                    <a:pt x="82911" y="0"/>
                  </a:cubicBezTo>
                  <a:lnTo>
                    <a:pt x="12997" y="0"/>
                  </a:lnTo>
                  <a:cubicBezTo>
                    <a:pt x="5826" y="0"/>
                    <a:pt x="0" y="5826"/>
                    <a:pt x="0" y="12997"/>
                  </a:cubicBezTo>
                  <a:lnTo>
                    <a:pt x="0" y="45713"/>
                  </a:lnTo>
                  <a:cubicBezTo>
                    <a:pt x="0" y="48851"/>
                    <a:pt x="2689" y="51540"/>
                    <a:pt x="5826" y="51540"/>
                  </a:cubicBezTo>
                  <a:lnTo>
                    <a:pt x="10756" y="51540"/>
                  </a:lnTo>
                  <a:lnTo>
                    <a:pt x="10756" y="84704"/>
                  </a:lnTo>
                  <a:cubicBezTo>
                    <a:pt x="10756" y="87842"/>
                    <a:pt x="13445" y="90530"/>
                    <a:pt x="16582" y="90530"/>
                  </a:cubicBezTo>
                  <a:lnTo>
                    <a:pt x="41680" y="90530"/>
                  </a:lnTo>
                  <a:cubicBezTo>
                    <a:pt x="44817" y="90530"/>
                    <a:pt x="47506" y="87842"/>
                    <a:pt x="47506" y="84704"/>
                  </a:cubicBezTo>
                  <a:lnTo>
                    <a:pt x="47506" y="16582"/>
                  </a:lnTo>
                  <a:cubicBezTo>
                    <a:pt x="53332" y="16582"/>
                    <a:pt x="67674" y="17030"/>
                    <a:pt x="73500" y="16582"/>
                  </a:cubicBezTo>
                  <a:cubicBezTo>
                    <a:pt x="80222" y="16134"/>
                    <a:pt x="85152" y="12101"/>
                    <a:pt x="85152" y="7619"/>
                  </a:cubicBezTo>
                  <a:close/>
                  <a:moveTo>
                    <a:pt x="45265" y="12101"/>
                  </a:moveTo>
                  <a:cubicBezTo>
                    <a:pt x="44817" y="12101"/>
                    <a:pt x="43921" y="12101"/>
                    <a:pt x="43472" y="12549"/>
                  </a:cubicBezTo>
                  <a:cubicBezTo>
                    <a:pt x="43024" y="12997"/>
                    <a:pt x="42576" y="13445"/>
                    <a:pt x="42576" y="14342"/>
                  </a:cubicBezTo>
                  <a:lnTo>
                    <a:pt x="42576" y="84704"/>
                  </a:lnTo>
                  <a:cubicBezTo>
                    <a:pt x="42576" y="85601"/>
                    <a:pt x="42128" y="86049"/>
                    <a:pt x="41231" y="86049"/>
                  </a:cubicBezTo>
                  <a:lnTo>
                    <a:pt x="30924" y="86049"/>
                  </a:lnTo>
                  <a:lnTo>
                    <a:pt x="30924" y="49299"/>
                  </a:lnTo>
                  <a:cubicBezTo>
                    <a:pt x="30924" y="47954"/>
                    <a:pt x="30027" y="47058"/>
                    <a:pt x="28683" y="47058"/>
                  </a:cubicBezTo>
                  <a:cubicBezTo>
                    <a:pt x="27338" y="47058"/>
                    <a:pt x="26442" y="47954"/>
                    <a:pt x="26442" y="49299"/>
                  </a:cubicBezTo>
                  <a:lnTo>
                    <a:pt x="26442" y="86049"/>
                  </a:lnTo>
                  <a:lnTo>
                    <a:pt x="16134" y="86049"/>
                  </a:lnTo>
                  <a:cubicBezTo>
                    <a:pt x="15238" y="86049"/>
                    <a:pt x="14790" y="85601"/>
                    <a:pt x="14790" y="84704"/>
                  </a:cubicBezTo>
                  <a:lnTo>
                    <a:pt x="14790" y="49299"/>
                  </a:lnTo>
                  <a:lnTo>
                    <a:pt x="14790" y="17927"/>
                  </a:lnTo>
                  <a:cubicBezTo>
                    <a:pt x="14790" y="16582"/>
                    <a:pt x="13893" y="15686"/>
                    <a:pt x="12549" y="15686"/>
                  </a:cubicBezTo>
                  <a:cubicBezTo>
                    <a:pt x="11204" y="15686"/>
                    <a:pt x="10308" y="16582"/>
                    <a:pt x="10308" y="17927"/>
                  </a:cubicBezTo>
                  <a:lnTo>
                    <a:pt x="10308" y="47058"/>
                  </a:lnTo>
                  <a:lnTo>
                    <a:pt x="5378" y="47058"/>
                  </a:lnTo>
                  <a:cubicBezTo>
                    <a:pt x="4482" y="47058"/>
                    <a:pt x="4033" y="46610"/>
                    <a:pt x="4033" y="45713"/>
                  </a:cubicBezTo>
                  <a:lnTo>
                    <a:pt x="4033" y="12997"/>
                  </a:lnTo>
                  <a:cubicBezTo>
                    <a:pt x="4033" y="8515"/>
                    <a:pt x="8067" y="4482"/>
                    <a:pt x="12549" y="4482"/>
                  </a:cubicBezTo>
                  <a:lnTo>
                    <a:pt x="80222" y="4482"/>
                  </a:lnTo>
                  <a:cubicBezTo>
                    <a:pt x="80222" y="5378"/>
                    <a:pt x="80222" y="6274"/>
                    <a:pt x="80222" y="7619"/>
                  </a:cubicBezTo>
                  <a:cubicBezTo>
                    <a:pt x="80222" y="9412"/>
                    <a:pt x="77085" y="11653"/>
                    <a:pt x="72603" y="12101"/>
                  </a:cubicBezTo>
                  <a:cubicBezTo>
                    <a:pt x="66329" y="12549"/>
                    <a:pt x="45265" y="12101"/>
                    <a:pt x="45265" y="12101"/>
                  </a:cubicBezTo>
                  <a:close/>
                </a:path>
              </a:pathLst>
            </a:custGeom>
            <a:solidFill>
              <a:srgbClr val="231F20"/>
            </a:solidFill>
            <a:ln w="4477" cap="flat">
              <a:noFill/>
              <a:prstDash val="solid"/>
              <a:miter/>
            </a:ln>
          </p:spPr>
          <p:txBody>
            <a:bodyPr rtlCol="0" anchor="ctr"/>
            <a:lstStyle/>
            <a:p>
              <a:endParaRPr lang="en-US"/>
            </a:p>
          </p:txBody>
        </p:sp>
        <p:sp>
          <p:nvSpPr>
            <p:cNvPr id="2504" name="Freeform: Shape 2503">
              <a:extLst>
                <a:ext uri="{FF2B5EF4-FFF2-40B4-BE49-F238E27FC236}">
                  <a16:creationId xmlns:a16="http://schemas.microsoft.com/office/drawing/2014/main" id="{54D9CB14-8708-48F2-AC26-83093D6F17DA}"/>
                </a:ext>
              </a:extLst>
            </p:cNvPr>
            <p:cNvSpPr/>
            <p:nvPr/>
          </p:nvSpPr>
          <p:spPr>
            <a:xfrm>
              <a:off x="10182437" y="3885620"/>
              <a:ext cx="26890" cy="26890"/>
            </a:xfrm>
            <a:custGeom>
              <a:avLst/>
              <a:gdLst>
                <a:gd name="connsiteX0" fmla="*/ 14342 w 26890"/>
                <a:gd name="connsiteY0" fmla="*/ 28683 h 26890"/>
                <a:gd name="connsiteX1" fmla="*/ 28683 w 26890"/>
                <a:gd name="connsiteY1" fmla="*/ 14342 h 26890"/>
                <a:gd name="connsiteX2" fmla="*/ 14342 w 26890"/>
                <a:gd name="connsiteY2" fmla="*/ 0 h 26890"/>
                <a:gd name="connsiteX3" fmla="*/ 0 w 26890"/>
                <a:gd name="connsiteY3" fmla="*/ 14342 h 26890"/>
                <a:gd name="connsiteX4" fmla="*/ 14342 w 26890"/>
                <a:gd name="connsiteY4" fmla="*/ 28683 h 26890"/>
                <a:gd name="connsiteX5" fmla="*/ 14342 w 26890"/>
                <a:gd name="connsiteY5" fmla="*/ 4482 h 26890"/>
                <a:gd name="connsiteX6" fmla="*/ 24201 w 26890"/>
                <a:gd name="connsiteY6" fmla="*/ 14342 h 26890"/>
                <a:gd name="connsiteX7" fmla="*/ 14342 w 26890"/>
                <a:gd name="connsiteY7" fmla="*/ 24201 h 26890"/>
                <a:gd name="connsiteX8" fmla="*/ 4482 w 26890"/>
                <a:gd name="connsiteY8" fmla="*/ 14342 h 26890"/>
                <a:gd name="connsiteX9" fmla="*/ 14342 w 26890"/>
                <a:gd name="connsiteY9" fmla="*/ 4482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90" h="26890">
                  <a:moveTo>
                    <a:pt x="14342" y="28683"/>
                  </a:moveTo>
                  <a:cubicBezTo>
                    <a:pt x="22409" y="28683"/>
                    <a:pt x="28683" y="22409"/>
                    <a:pt x="28683" y="14342"/>
                  </a:cubicBezTo>
                  <a:cubicBezTo>
                    <a:pt x="28683" y="6274"/>
                    <a:pt x="22409" y="0"/>
                    <a:pt x="14342" y="0"/>
                  </a:cubicBezTo>
                  <a:cubicBezTo>
                    <a:pt x="6274" y="0"/>
                    <a:pt x="0" y="6274"/>
                    <a:pt x="0" y="14342"/>
                  </a:cubicBezTo>
                  <a:cubicBezTo>
                    <a:pt x="0" y="22409"/>
                    <a:pt x="6274" y="28683"/>
                    <a:pt x="14342" y="28683"/>
                  </a:cubicBezTo>
                  <a:close/>
                  <a:moveTo>
                    <a:pt x="14342" y="4482"/>
                  </a:moveTo>
                  <a:cubicBezTo>
                    <a:pt x="19719" y="4482"/>
                    <a:pt x="24201" y="8963"/>
                    <a:pt x="24201" y="14342"/>
                  </a:cubicBezTo>
                  <a:cubicBezTo>
                    <a:pt x="24201" y="19720"/>
                    <a:pt x="19719" y="24201"/>
                    <a:pt x="14342" y="24201"/>
                  </a:cubicBezTo>
                  <a:cubicBezTo>
                    <a:pt x="8963" y="24201"/>
                    <a:pt x="4482" y="19720"/>
                    <a:pt x="4482" y="14342"/>
                  </a:cubicBezTo>
                  <a:cubicBezTo>
                    <a:pt x="4482" y="8963"/>
                    <a:pt x="8963" y="4482"/>
                    <a:pt x="14342" y="4482"/>
                  </a:cubicBezTo>
                  <a:close/>
                </a:path>
              </a:pathLst>
            </a:custGeom>
            <a:solidFill>
              <a:srgbClr val="231F20"/>
            </a:solidFill>
            <a:ln w="4477" cap="flat">
              <a:noFill/>
              <a:prstDash val="solid"/>
              <a:miter/>
            </a:ln>
          </p:spPr>
          <p:txBody>
            <a:bodyPr rtlCol="0" anchor="ctr"/>
            <a:lstStyle/>
            <a:p>
              <a:endParaRPr lang="en-US"/>
            </a:p>
          </p:txBody>
        </p:sp>
        <p:sp>
          <p:nvSpPr>
            <p:cNvPr id="2505" name="Freeform: Shape 2504">
              <a:extLst>
                <a:ext uri="{FF2B5EF4-FFF2-40B4-BE49-F238E27FC236}">
                  <a16:creationId xmlns:a16="http://schemas.microsoft.com/office/drawing/2014/main" id="{08FDD850-6203-4CFB-B317-F296E1A70752}"/>
                </a:ext>
              </a:extLst>
            </p:cNvPr>
            <p:cNvSpPr/>
            <p:nvPr/>
          </p:nvSpPr>
          <p:spPr>
            <a:xfrm>
              <a:off x="10244509" y="3931558"/>
              <a:ext cx="58262" cy="26890"/>
            </a:xfrm>
            <a:custGeom>
              <a:avLst/>
              <a:gdLst>
                <a:gd name="connsiteX0" fmla="*/ 672 w 58262"/>
                <a:gd name="connsiteY0" fmla="*/ 28459 h 26890"/>
                <a:gd name="connsiteX1" fmla="*/ 2465 w 58262"/>
                <a:gd name="connsiteY1" fmla="*/ 29355 h 26890"/>
                <a:gd name="connsiteX2" fmla="*/ 3810 w 58262"/>
                <a:gd name="connsiteY2" fmla="*/ 28907 h 26890"/>
                <a:gd name="connsiteX3" fmla="*/ 15910 w 58262"/>
                <a:gd name="connsiteY3" fmla="*/ 17255 h 26890"/>
                <a:gd name="connsiteX4" fmla="*/ 23081 w 58262"/>
                <a:gd name="connsiteY4" fmla="*/ 23529 h 26890"/>
                <a:gd name="connsiteX5" fmla="*/ 26218 w 58262"/>
                <a:gd name="connsiteY5" fmla="*/ 23529 h 26890"/>
                <a:gd name="connsiteX6" fmla="*/ 36078 w 58262"/>
                <a:gd name="connsiteY6" fmla="*/ 12773 h 26890"/>
                <a:gd name="connsiteX7" fmla="*/ 42800 w 58262"/>
                <a:gd name="connsiteY7" fmla="*/ 19496 h 26890"/>
                <a:gd name="connsiteX8" fmla="*/ 44593 w 58262"/>
                <a:gd name="connsiteY8" fmla="*/ 19944 h 26890"/>
                <a:gd name="connsiteX9" fmla="*/ 46386 w 58262"/>
                <a:gd name="connsiteY9" fmla="*/ 19496 h 26890"/>
                <a:gd name="connsiteX10" fmla="*/ 61623 w 58262"/>
                <a:gd name="connsiteY10" fmla="*/ 3810 h 26890"/>
                <a:gd name="connsiteX11" fmla="*/ 61623 w 58262"/>
                <a:gd name="connsiteY11" fmla="*/ 672 h 26890"/>
                <a:gd name="connsiteX12" fmla="*/ 58486 w 58262"/>
                <a:gd name="connsiteY12" fmla="*/ 672 h 26890"/>
                <a:gd name="connsiteX13" fmla="*/ 44593 w 58262"/>
                <a:gd name="connsiteY13" fmla="*/ 14565 h 26890"/>
                <a:gd name="connsiteX14" fmla="*/ 37870 w 58262"/>
                <a:gd name="connsiteY14" fmla="*/ 7843 h 26890"/>
                <a:gd name="connsiteX15" fmla="*/ 36078 w 58262"/>
                <a:gd name="connsiteY15" fmla="*/ 7395 h 26890"/>
                <a:gd name="connsiteX16" fmla="*/ 34285 w 58262"/>
                <a:gd name="connsiteY16" fmla="*/ 8291 h 26890"/>
                <a:gd name="connsiteX17" fmla="*/ 24425 w 58262"/>
                <a:gd name="connsiteY17" fmla="*/ 19047 h 26890"/>
                <a:gd name="connsiteX18" fmla="*/ 17255 w 58262"/>
                <a:gd name="connsiteY18" fmla="*/ 12773 h 26890"/>
                <a:gd name="connsiteX19" fmla="*/ 14117 w 58262"/>
                <a:gd name="connsiteY19" fmla="*/ 12773 h 26890"/>
                <a:gd name="connsiteX20" fmla="*/ 672 w 58262"/>
                <a:gd name="connsiteY20" fmla="*/ 25770 h 26890"/>
                <a:gd name="connsiteX21" fmla="*/ 672 w 58262"/>
                <a:gd name="connsiteY21" fmla="*/ 28459 h 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262" h="26890">
                  <a:moveTo>
                    <a:pt x="672" y="28459"/>
                  </a:moveTo>
                  <a:cubicBezTo>
                    <a:pt x="1120" y="28907"/>
                    <a:pt x="1569" y="29355"/>
                    <a:pt x="2465" y="29355"/>
                  </a:cubicBezTo>
                  <a:cubicBezTo>
                    <a:pt x="2913" y="29355"/>
                    <a:pt x="3810" y="29355"/>
                    <a:pt x="3810" y="28907"/>
                  </a:cubicBezTo>
                  <a:lnTo>
                    <a:pt x="15910" y="17255"/>
                  </a:lnTo>
                  <a:lnTo>
                    <a:pt x="23081" y="23529"/>
                  </a:lnTo>
                  <a:cubicBezTo>
                    <a:pt x="23977" y="24425"/>
                    <a:pt x="25322" y="24425"/>
                    <a:pt x="26218" y="23529"/>
                  </a:cubicBezTo>
                  <a:lnTo>
                    <a:pt x="36078" y="12773"/>
                  </a:lnTo>
                  <a:lnTo>
                    <a:pt x="42800" y="19496"/>
                  </a:lnTo>
                  <a:cubicBezTo>
                    <a:pt x="43248" y="19944"/>
                    <a:pt x="43697" y="19944"/>
                    <a:pt x="44593" y="19944"/>
                  </a:cubicBezTo>
                  <a:cubicBezTo>
                    <a:pt x="45041" y="19944"/>
                    <a:pt x="45937" y="19496"/>
                    <a:pt x="46386" y="19496"/>
                  </a:cubicBezTo>
                  <a:lnTo>
                    <a:pt x="61623" y="3810"/>
                  </a:lnTo>
                  <a:cubicBezTo>
                    <a:pt x="62520" y="2913"/>
                    <a:pt x="62520" y="1569"/>
                    <a:pt x="61623" y="672"/>
                  </a:cubicBezTo>
                  <a:cubicBezTo>
                    <a:pt x="60727" y="-224"/>
                    <a:pt x="59382" y="-224"/>
                    <a:pt x="58486" y="672"/>
                  </a:cubicBezTo>
                  <a:lnTo>
                    <a:pt x="44593" y="14565"/>
                  </a:lnTo>
                  <a:lnTo>
                    <a:pt x="37870" y="7843"/>
                  </a:lnTo>
                  <a:cubicBezTo>
                    <a:pt x="37422" y="7395"/>
                    <a:pt x="36974" y="7395"/>
                    <a:pt x="36078" y="7395"/>
                  </a:cubicBezTo>
                  <a:cubicBezTo>
                    <a:pt x="35630" y="7395"/>
                    <a:pt x="34733" y="7843"/>
                    <a:pt x="34285" y="8291"/>
                  </a:cubicBezTo>
                  <a:lnTo>
                    <a:pt x="24425" y="19047"/>
                  </a:lnTo>
                  <a:lnTo>
                    <a:pt x="17255" y="12773"/>
                  </a:lnTo>
                  <a:cubicBezTo>
                    <a:pt x="16358" y="11877"/>
                    <a:pt x="15014" y="11877"/>
                    <a:pt x="14117" y="12773"/>
                  </a:cubicBezTo>
                  <a:lnTo>
                    <a:pt x="672" y="25770"/>
                  </a:lnTo>
                  <a:cubicBezTo>
                    <a:pt x="-224" y="26218"/>
                    <a:pt x="-224" y="27563"/>
                    <a:pt x="672" y="28459"/>
                  </a:cubicBezTo>
                  <a:close/>
                </a:path>
              </a:pathLst>
            </a:custGeom>
            <a:solidFill>
              <a:srgbClr val="231F20"/>
            </a:solidFill>
            <a:ln w="4477" cap="flat">
              <a:noFill/>
              <a:prstDash val="solid"/>
              <a:miter/>
            </a:ln>
          </p:spPr>
          <p:txBody>
            <a:bodyPr rtlCol="0" anchor="ctr"/>
            <a:lstStyle/>
            <a:p>
              <a:endParaRPr lang="en-US"/>
            </a:p>
          </p:txBody>
        </p:sp>
      </p:grpSp>
      <p:sp>
        <p:nvSpPr>
          <p:cNvPr id="2466" name="Freeform: Shape 2465">
            <a:extLst>
              <a:ext uri="{FF2B5EF4-FFF2-40B4-BE49-F238E27FC236}">
                <a16:creationId xmlns:a16="http://schemas.microsoft.com/office/drawing/2014/main" id="{BC9C904C-5C7D-4DE0-81E6-352E6B0CC0C4}"/>
              </a:ext>
              <a:ext uri="{C183D7F6-B498-43B3-948B-1728B52AA6E4}">
                <adec:decorative xmlns:adec="http://schemas.microsoft.com/office/drawing/2017/decorative" val="1"/>
              </a:ext>
            </a:extLst>
          </p:cNvPr>
          <p:cNvSpPr>
            <a:spLocks noChangeAspect="1"/>
          </p:cNvSpPr>
          <p:nvPr/>
        </p:nvSpPr>
        <p:spPr>
          <a:xfrm>
            <a:off x="6164994" y="1726088"/>
            <a:ext cx="152378" cy="143414"/>
          </a:xfrm>
          <a:custGeom>
            <a:avLst/>
            <a:gdLst>
              <a:gd name="connsiteX0" fmla="*/ 140277 w 152377"/>
              <a:gd name="connsiteY0" fmla="*/ 0 h 143414"/>
              <a:gd name="connsiteX1" fmla="*/ 65881 w 152377"/>
              <a:gd name="connsiteY1" fmla="*/ 0 h 143414"/>
              <a:gd name="connsiteX2" fmla="*/ 53780 w 152377"/>
              <a:gd name="connsiteY2" fmla="*/ 12997 h 143414"/>
              <a:gd name="connsiteX3" fmla="*/ 53780 w 152377"/>
              <a:gd name="connsiteY3" fmla="*/ 40335 h 143414"/>
              <a:gd name="connsiteX4" fmla="*/ 11652 w 152377"/>
              <a:gd name="connsiteY4" fmla="*/ 40335 h 143414"/>
              <a:gd name="connsiteX5" fmla="*/ 0 w 152377"/>
              <a:gd name="connsiteY5" fmla="*/ 53332 h 143414"/>
              <a:gd name="connsiteX6" fmla="*/ 0 w 152377"/>
              <a:gd name="connsiteY6" fmla="*/ 117869 h 143414"/>
              <a:gd name="connsiteX7" fmla="*/ 11652 w 152377"/>
              <a:gd name="connsiteY7" fmla="*/ 130866 h 143414"/>
              <a:gd name="connsiteX8" fmla="*/ 17030 w 152377"/>
              <a:gd name="connsiteY8" fmla="*/ 130866 h 143414"/>
              <a:gd name="connsiteX9" fmla="*/ 17030 w 152377"/>
              <a:gd name="connsiteY9" fmla="*/ 144311 h 143414"/>
              <a:gd name="connsiteX10" fmla="*/ 18375 w 152377"/>
              <a:gd name="connsiteY10" fmla="*/ 146104 h 143414"/>
              <a:gd name="connsiteX11" fmla="*/ 19271 w 152377"/>
              <a:gd name="connsiteY11" fmla="*/ 146552 h 143414"/>
              <a:gd name="connsiteX12" fmla="*/ 20616 w 152377"/>
              <a:gd name="connsiteY12" fmla="*/ 146104 h 143414"/>
              <a:gd name="connsiteX13" fmla="*/ 44369 w 152377"/>
              <a:gd name="connsiteY13" fmla="*/ 130866 h 143414"/>
              <a:gd name="connsiteX14" fmla="*/ 86945 w 152377"/>
              <a:gd name="connsiteY14" fmla="*/ 130866 h 143414"/>
              <a:gd name="connsiteX15" fmla="*/ 98597 w 152377"/>
              <a:gd name="connsiteY15" fmla="*/ 117869 h 143414"/>
              <a:gd name="connsiteX16" fmla="*/ 98597 w 152377"/>
              <a:gd name="connsiteY16" fmla="*/ 85152 h 143414"/>
              <a:gd name="connsiteX17" fmla="*/ 108009 w 152377"/>
              <a:gd name="connsiteY17" fmla="*/ 85152 h 143414"/>
              <a:gd name="connsiteX18" fmla="*/ 131762 w 152377"/>
              <a:gd name="connsiteY18" fmla="*/ 99494 h 143414"/>
              <a:gd name="connsiteX19" fmla="*/ 133107 w 152377"/>
              <a:gd name="connsiteY19" fmla="*/ 99942 h 143414"/>
              <a:gd name="connsiteX20" fmla="*/ 134003 w 152377"/>
              <a:gd name="connsiteY20" fmla="*/ 99494 h 143414"/>
              <a:gd name="connsiteX21" fmla="*/ 135347 w 152377"/>
              <a:gd name="connsiteY21" fmla="*/ 97701 h 143414"/>
              <a:gd name="connsiteX22" fmla="*/ 135347 w 152377"/>
              <a:gd name="connsiteY22" fmla="*/ 85152 h 143414"/>
              <a:gd name="connsiteX23" fmla="*/ 140277 w 152377"/>
              <a:gd name="connsiteY23" fmla="*/ 85152 h 143414"/>
              <a:gd name="connsiteX24" fmla="*/ 152378 w 152377"/>
              <a:gd name="connsiteY24" fmla="*/ 72156 h 143414"/>
              <a:gd name="connsiteX25" fmla="*/ 152378 w 152377"/>
              <a:gd name="connsiteY25" fmla="*/ 12997 h 143414"/>
              <a:gd name="connsiteX26" fmla="*/ 140277 w 152377"/>
              <a:gd name="connsiteY26" fmla="*/ 0 h 143414"/>
              <a:gd name="connsiteX27" fmla="*/ 94116 w 152377"/>
              <a:gd name="connsiteY27" fmla="*/ 117869 h 143414"/>
              <a:gd name="connsiteX28" fmla="*/ 86945 w 152377"/>
              <a:gd name="connsiteY28" fmla="*/ 126384 h 143414"/>
              <a:gd name="connsiteX29" fmla="*/ 43921 w 152377"/>
              <a:gd name="connsiteY29" fmla="*/ 126384 h 143414"/>
              <a:gd name="connsiteX30" fmla="*/ 42576 w 152377"/>
              <a:gd name="connsiteY30" fmla="*/ 126832 h 143414"/>
              <a:gd name="connsiteX31" fmla="*/ 21512 w 152377"/>
              <a:gd name="connsiteY31" fmla="*/ 140278 h 143414"/>
              <a:gd name="connsiteX32" fmla="*/ 21512 w 152377"/>
              <a:gd name="connsiteY32" fmla="*/ 128625 h 143414"/>
              <a:gd name="connsiteX33" fmla="*/ 19271 w 152377"/>
              <a:gd name="connsiteY33" fmla="*/ 126384 h 143414"/>
              <a:gd name="connsiteX34" fmla="*/ 11652 w 152377"/>
              <a:gd name="connsiteY34" fmla="*/ 126384 h 143414"/>
              <a:gd name="connsiteX35" fmla="*/ 4482 w 152377"/>
              <a:gd name="connsiteY35" fmla="*/ 117869 h 143414"/>
              <a:gd name="connsiteX36" fmla="*/ 4482 w 152377"/>
              <a:gd name="connsiteY36" fmla="*/ 53332 h 143414"/>
              <a:gd name="connsiteX37" fmla="*/ 11652 w 152377"/>
              <a:gd name="connsiteY37" fmla="*/ 44817 h 143414"/>
              <a:gd name="connsiteX38" fmla="*/ 86945 w 152377"/>
              <a:gd name="connsiteY38" fmla="*/ 44817 h 143414"/>
              <a:gd name="connsiteX39" fmla="*/ 94116 w 152377"/>
              <a:gd name="connsiteY39" fmla="*/ 53332 h 143414"/>
              <a:gd name="connsiteX40" fmla="*/ 94116 w 152377"/>
              <a:gd name="connsiteY40" fmla="*/ 117869 h 143414"/>
              <a:gd name="connsiteX41" fmla="*/ 147896 w 152377"/>
              <a:gd name="connsiteY41" fmla="*/ 72156 h 143414"/>
              <a:gd name="connsiteX42" fmla="*/ 140277 w 152377"/>
              <a:gd name="connsiteY42" fmla="*/ 80671 h 143414"/>
              <a:gd name="connsiteX43" fmla="*/ 133107 w 152377"/>
              <a:gd name="connsiteY43" fmla="*/ 80671 h 143414"/>
              <a:gd name="connsiteX44" fmla="*/ 130866 w 152377"/>
              <a:gd name="connsiteY44" fmla="*/ 82912 h 143414"/>
              <a:gd name="connsiteX45" fmla="*/ 130866 w 152377"/>
              <a:gd name="connsiteY45" fmla="*/ 93668 h 143414"/>
              <a:gd name="connsiteX46" fmla="*/ 109802 w 152377"/>
              <a:gd name="connsiteY46" fmla="*/ 81119 h 143414"/>
              <a:gd name="connsiteX47" fmla="*/ 108457 w 152377"/>
              <a:gd name="connsiteY47" fmla="*/ 80671 h 143414"/>
              <a:gd name="connsiteX48" fmla="*/ 98597 w 152377"/>
              <a:gd name="connsiteY48" fmla="*/ 80671 h 143414"/>
              <a:gd name="connsiteX49" fmla="*/ 98597 w 152377"/>
              <a:gd name="connsiteY49" fmla="*/ 53332 h 143414"/>
              <a:gd name="connsiteX50" fmla="*/ 86945 w 152377"/>
              <a:gd name="connsiteY50" fmla="*/ 40335 h 143414"/>
              <a:gd name="connsiteX51" fmla="*/ 58262 w 152377"/>
              <a:gd name="connsiteY51" fmla="*/ 40335 h 143414"/>
              <a:gd name="connsiteX52" fmla="*/ 58262 w 152377"/>
              <a:gd name="connsiteY52" fmla="*/ 12997 h 143414"/>
              <a:gd name="connsiteX53" fmla="*/ 65881 w 152377"/>
              <a:gd name="connsiteY53" fmla="*/ 4482 h 143414"/>
              <a:gd name="connsiteX54" fmla="*/ 140277 w 152377"/>
              <a:gd name="connsiteY54" fmla="*/ 4482 h 143414"/>
              <a:gd name="connsiteX55" fmla="*/ 147896 w 152377"/>
              <a:gd name="connsiteY55" fmla="*/ 12997 h 143414"/>
              <a:gd name="connsiteX56" fmla="*/ 147896 w 152377"/>
              <a:gd name="connsiteY56" fmla="*/ 72156 h 14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2377" h="143414">
                <a:moveTo>
                  <a:pt x="140277" y="0"/>
                </a:moveTo>
                <a:lnTo>
                  <a:pt x="65881" y="0"/>
                </a:lnTo>
                <a:cubicBezTo>
                  <a:pt x="59159" y="0"/>
                  <a:pt x="53780" y="5826"/>
                  <a:pt x="53780" y="12997"/>
                </a:cubicBezTo>
                <a:lnTo>
                  <a:pt x="53780" y="40335"/>
                </a:lnTo>
                <a:lnTo>
                  <a:pt x="11652" y="40335"/>
                </a:lnTo>
                <a:cubicBezTo>
                  <a:pt x="5378" y="40335"/>
                  <a:pt x="0" y="46162"/>
                  <a:pt x="0" y="53332"/>
                </a:cubicBezTo>
                <a:lnTo>
                  <a:pt x="0" y="117869"/>
                </a:lnTo>
                <a:cubicBezTo>
                  <a:pt x="0" y="125040"/>
                  <a:pt x="5378" y="130866"/>
                  <a:pt x="11652" y="130866"/>
                </a:cubicBezTo>
                <a:lnTo>
                  <a:pt x="17030" y="130866"/>
                </a:lnTo>
                <a:lnTo>
                  <a:pt x="17030" y="144311"/>
                </a:lnTo>
                <a:cubicBezTo>
                  <a:pt x="17030" y="145207"/>
                  <a:pt x="17479" y="146104"/>
                  <a:pt x="18375" y="146104"/>
                </a:cubicBezTo>
                <a:cubicBezTo>
                  <a:pt x="18823" y="146104"/>
                  <a:pt x="19271" y="146552"/>
                  <a:pt x="19271" y="146552"/>
                </a:cubicBezTo>
                <a:cubicBezTo>
                  <a:pt x="19719" y="146552"/>
                  <a:pt x="20168" y="146552"/>
                  <a:pt x="20616" y="146104"/>
                </a:cubicBezTo>
                <a:lnTo>
                  <a:pt x="44369" y="130866"/>
                </a:lnTo>
                <a:lnTo>
                  <a:pt x="86945" y="130866"/>
                </a:lnTo>
                <a:cubicBezTo>
                  <a:pt x="93219" y="130866"/>
                  <a:pt x="98597" y="125040"/>
                  <a:pt x="98597" y="117869"/>
                </a:cubicBezTo>
                <a:lnTo>
                  <a:pt x="98597" y="85152"/>
                </a:lnTo>
                <a:lnTo>
                  <a:pt x="108009" y="85152"/>
                </a:lnTo>
                <a:lnTo>
                  <a:pt x="131762" y="99494"/>
                </a:lnTo>
                <a:cubicBezTo>
                  <a:pt x="132210" y="99494"/>
                  <a:pt x="132658" y="99942"/>
                  <a:pt x="133107" y="99942"/>
                </a:cubicBezTo>
                <a:cubicBezTo>
                  <a:pt x="133555" y="99942"/>
                  <a:pt x="134003" y="99942"/>
                  <a:pt x="134003" y="99494"/>
                </a:cubicBezTo>
                <a:cubicBezTo>
                  <a:pt x="134899" y="99046"/>
                  <a:pt x="135347" y="98149"/>
                  <a:pt x="135347" y="97701"/>
                </a:cubicBezTo>
                <a:lnTo>
                  <a:pt x="135347" y="85152"/>
                </a:lnTo>
                <a:lnTo>
                  <a:pt x="140277" y="85152"/>
                </a:lnTo>
                <a:cubicBezTo>
                  <a:pt x="147000" y="85152"/>
                  <a:pt x="152378" y="79326"/>
                  <a:pt x="152378" y="72156"/>
                </a:cubicBezTo>
                <a:lnTo>
                  <a:pt x="152378" y="12997"/>
                </a:lnTo>
                <a:cubicBezTo>
                  <a:pt x="152378" y="5826"/>
                  <a:pt x="147000" y="0"/>
                  <a:pt x="140277" y="0"/>
                </a:cubicBezTo>
                <a:close/>
                <a:moveTo>
                  <a:pt x="94116" y="117869"/>
                </a:moveTo>
                <a:cubicBezTo>
                  <a:pt x="94116" y="122799"/>
                  <a:pt x="90978" y="126384"/>
                  <a:pt x="86945" y="126384"/>
                </a:cubicBezTo>
                <a:lnTo>
                  <a:pt x="43921" y="126384"/>
                </a:lnTo>
                <a:cubicBezTo>
                  <a:pt x="43473" y="126384"/>
                  <a:pt x="43024" y="126384"/>
                  <a:pt x="42576" y="126832"/>
                </a:cubicBezTo>
                <a:lnTo>
                  <a:pt x="21512" y="140278"/>
                </a:lnTo>
                <a:lnTo>
                  <a:pt x="21512" y="128625"/>
                </a:lnTo>
                <a:cubicBezTo>
                  <a:pt x="21512" y="127280"/>
                  <a:pt x="20616" y="126384"/>
                  <a:pt x="19271" y="126384"/>
                </a:cubicBezTo>
                <a:lnTo>
                  <a:pt x="11652" y="126384"/>
                </a:lnTo>
                <a:cubicBezTo>
                  <a:pt x="7619" y="126384"/>
                  <a:pt x="4482" y="122351"/>
                  <a:pt x="4482" y="117869"/>
                </a:cubicBezTo>
                <a:lnTo>
                  <a:pt x="4482" y="53332"/>
                </a:lnTo>
                <a:cubicBezTo>
                  <a:pt x="4482" y="48403"/>
                  <a:pt x="7619" y="44817"/>
                  <a:pt x="11652" y="44817"/>
                </a:cubicBezTo>
                <a:lnTo>
                  <a:pt x="86945" y="44817"/>
                </a:lnTo>
                <a:cubicBezTo>
                  <a:pt x="90978" y="44817"/>
                  <a:pt x="94116" y="48851"/>
                  <a:pt x="94116" y="53332"/>
                </a:cubicBezTo>
                <a:lnTo>
                  <a:pt x="94116" y="117869"/>
                </a:lnTo>
                <a:close/>
                <a:moveTo>
                  <a:pt x="147896" y="72156"/>
                </a:moveTo>
                <a:cubicBezTo>
                  <a:pt x="147896" y="76637"/>
                  <a:pt x="144311" y="80671"/>
                  <a:pt x="140277" y="80671"/>
                </a:cubicBezTo>
                <a:lnTo>
                  <a:pt x="133107" y="80671"/>
                </a:lnTo>
                <a:cubicBezTo>
                  <a:pt x="131762" y="80671"/>
                  <a:pt x="130866" y="81567"/>
                  <a:pt x="130866" y="82912"/>
                </a:cubicBezTo>
                <a:lnTo>
                  <a:pt x="130866" y="93668"/>
                </a:lnTo>
                <a:lnTo>
                  <a:pt x="109802" y="81119"/>
                </a:lnTo>
                <a:cubicBezTo>
                  <a:pt x="109353" y="81119"/>
                  <a:pt x="108905" y="80671"/>
                  <a:pt x="108457" y="80671"/>
                </a:cubicBezTo>
                <a:lnTo>
                  <a:pt x="98597" y="80671"/>
                </a:lnTo>
                <a:lnTo>
                  <a:pt x="98597" y="53332"/>
                </a:lnTo>
                <a:cubicBezTo>
                  <a:pt x="98597" y="46162"/>
                  <a:pt x="93219" y="40335"/>
                  <a:pt x="86945" y="40335"/>
                </a:cubicBezTo>
                <a:lnTo>
                  <a:pt x="58262" y="40335"/>
                </a:lnTo>
                <a:lnTo>
                  <a:pt x="58262" y="12997"/>
                </a:lnTo>
                <a:cubicBezTo>
                  <a:pt x="58262" y="8515"/>
                  <a:pt x="61847" y="4482"/>
                  <a:pt x="65881" y="4482"/>
                </a:cubicBezTo>
                <a:lnTo>
                  <a:pt x="140277" y="4482"/>
                </a:lnTo>
                <a:cubicBezTo>
                  <a:pt x="144759" y="4482"/>
                  <a:pt x="147896" y="8515"/>
                  <a:pt x="147896" y="12997"/>
                </a:cubicBezTo>
                <a:lnTo>
                  <a:pt x="147896" y="72156"/>
                </a:lnTo>
                <a:close/>
              </a:path>
            </a:pathLst>
          </a:custGeom>
          <a:solidFill>
            <a:srgbClr val="231F20"/>
          </a:solidFill>
          <a:ln w="4477" cap="flat">
            <a:noFill/>
            <a:prstDash val="solid"/>
            <a:miter/>
          </a:ln>
        </p:spPr>
        <p:txBody>
          <a:bodyPr rtlCol="0" anchor="ctr"/>
          <a:lstStyle/>
          <a:p>
            <a:endParaRPr lang="en-US"/>
          </a:p>
        </p:txBody>
      </p:sp>
      <p:sp>
        <p:nvSpPr>
          <p:cNvPr id="2467" name="Freeform: Shape 2466">
            <a:extLst>
              <a:ext uri="{FF2B5EF4-FFF2-40B4-BE49-F238E27FC236}">
                <a16:creationId xmlns:a16="http://schemas.microsoft.com/office/drawing/2014/main" id="{138FA51C-E933-4713-85E3-DB989FBF4493}"/>
              </a:ext>
              <a:ext uri="{C183D7F6-B498-43B3-948B-1728B52AA6E4}">
                <adec:decorative xmlns:adec="http://schemas.microsoft.com/office/drawing/2017/decorative" val="1"/>
              </a:ext>
            </a:extLst>
          </p:cNvPr>
          <p:cNvSpPr>
            <a:spLocks noChangeAspect="1"/>
          </p:cNvSpPr>
          <p:nvPr/>
        </p:nvSpPr>
        <p:spPr>
          <a:xfrm>
            <a:off x="5905952" y="1718021"/>
            <a:ext cx="152378" cy="152378"/>
          </a:xfrm>
          <a:custGeom>
            <a:avLst/>
            <a:gdLst>
              <a:gd name="connsiteX0" fmla="*/ 139829 w 152377"/>
              <a:gd name="connsiteY0" fmla="*/ 53780 h 152377"/>
              <a:gd name="connsiteX1" fmla="*/ 138485 w 152377"/>
              <a:gd name="connsiteY1" fmla="*/ 53780 h 152377"/>
              <a:gd name="connsiteX2" fmla="*/ 138485 w 152377"/>
              <a:gd name="connsiteY2" fmla="*/ 12101 h 152377"/>
              <a:gd name="connsiteX3" fmla="*/ 125936 w 152377"/>
              <a:gd name="connsiteY3" fmla="*/ 0 h 152377"/>
              <a:gd name="connsiteX4" fmla="*/ 52884 w 152377"/>
              <a:gd name="connsiteY4" fmla="*/ 0 h 152377"/>
              <a:gd name="connsiteX5" fmla="*/ 40335 w 152377"/>
              <a:gd name="connsiteY5" fmla="*/ 12101 h 152377"/>
              <a:gd name="connsiteX6" fmla="*/ 40335 w 152377"/>
              <a:gd name="connsiteY6" fmla="*/ 35854 h 152377"/>
              <a:gd name="connsiteX7" fmla="*/ 12101 w 152377"/>
              <a:gd name="connsiteY7" fmla="*/ 35854 h 152377"/>
              <a:gd name="connsiteX8" fmla="*/ 0 w 152377"/>
              <a:gd name="connsiteY8" fmla="*/ 47506 h 152377"/>
              <a:gd name="connsiteX9" fmla="*/ 0 w 152377"/>
              <a:gd name="connsiteY9" fmla="*/ 100390 h 152377"/>
              <a:gd name="connsiteX10" fmla="*/ 12101 w 152377"/>
              <a:gd name="connsiteY10" fmla="*/ 112043 h 152377"/>
              <a:gd name="connsiteX11" fmla="*/ 13445 w 152377"/>
              <a:gd name="connsiteY11" fmla="*/ 112043 h 152377"/>
              <a:gd name="connsiteX12" fmla="*/ 13445 w 152377"/>
              <a:gd name="connsiteY12" fmla="*/ 136244 h 152377"/>
              <a:gd name="connsiteX13" fmla="*/ 14790 w 152377"/>
              <a:gd name="connsiteY13" fmla="*/ 138485 h 152377"/>
              <a:gd name="connsiteX14" fmla="*/ 15686 w 152377"/>
              <a:gd name="connsiteY14" fmla="*/ 138485 h 152377"/>
              <a:gd name="connsiteX15" fmla="*/ 17030 w 152377"/>
              <a:gd name="connsiteY15" fmla="*/ 138036 h 152377"/>
              <a:gd name="connsiteX16" fmla="*/ 46161 w 152377"/>
              <a:gd name="connsiteY16" fmla="*/ 112491 h 152377"/>
              <a:gd name="connsiteX17" fmla="*/ 61399 w 152377"/>
              <a:gd name="connsiteY17" fmla="*/ 112491 h 152377"/>
              <a:gd name="connsiteX18" fmla="*/ 60951 w 152377"/>
              <a:gd name="connsiteY18" fmla="*/ 113835 h 152377"/>
              <a:gd name="connsiteX19" fmla="*/ 60951 w 152377"/>
              <a:gd name="connsiteY19" fmla="*/ 122350 h 152377"/>
              <a:gd name="connsiteX20" fmla="*/ 73052 w 152377"/>
              <a:gd name="connsiteY20" fmla="*/ 134451 h 152377"/>
              <a:gd name="connsiteX21" fmla="*/ 106216 w 152377"/>
              <a:gd name="connsiteY21" fmla="*/ 134451 h 152377"/>
              <a:gd name="connsiteX22" fmla="*/ 135347 w 152377"/>
              <a:gd name="connsiteY22" fmla="*/ 152378 h 152377"/>
              <a:gd name="connsiteX23" fmla="*/ 136692 w 152377"/>
              <a:gd name="connsiteY23" fmla="*/ 152826 h 152377"/>
              <a:gd name="connsiteX24" fmla="*/ 137588 w 152377"/>
              <a:gd name="connsiteY24" fmla="*/ 152378 h 152377"/>
              <a:gd name="connsiteX25" fmla="*/ 138933 w 152377"/>
              <a:gd name="connsiteY25" fmla="*/ 150585 h 152377"/>
              <a:gd name="connsiteX26" fmla="*/ 138933 w 152377"/>
              <a:gd name="connsiteY26" fmla="*/ 134451 h 152377"/>
              <a:gd name="connsiteX27" fmla="*/ 140277 w 152377"/>
              <a:gd name="connsiteY27" fmla="*/ 134451 h 152377"/>
              <a:gd name="connsiteX28" fmla="*/ 152378 w 152377"/>
              <a:gd name="connsiteY28" fmla="*/ 122350 h 152377"/>
              <a:gd name="connsiteX29" fmla="*/ 152378 w 152377"/>
              <a:gd name="connsiteY29" fmla="*/ 66329 h 152377"/>
              <a:gd name="connsiteX30" fmla="*/ 139829 w 152377"/>
              <a:gd name="connsiteY30" fmla="*/ 53780 h 152377"/>
              <a:gd name="connsiteX31" fmla="*/ 43921 w 152377"/>
              <a:gd name="connsiteY31" fmla="*/ 12101 h 152377"/>
              <a:gd name="connsiteX32" fmla="*/ 51988 w 152377"/>
              <a:gd name="connsiteY32" fmla="*/ 4482 h 152377"/>
              <a:gd name="connsiteX33" fmla="*/ 125039 w 152377"/>
              <a:gd name="connsiteY33" fmla="*/ 4482 h 152377"/>
              <a:gd name="connsiteX34" fmla="*/ 133106 w 152377"/>
              <a:gd name="connsiteY34" fmla="*/ 12101 h 152377"/>
              <a:gd name="connsiteX35" fmla="*/ 133106 w 152377"/>
              <a:gd name="connsiteY35" fmla="*/ 53780 h 152377"/>
              <a:gd name="connsiteX36" fmla="*/ 90082 w 152377"/>
              <a:gd name="connsiteY36" fmla="*/ 53780 h 152377"/>
              <a:gd name="connsiteX37" fmla="*/ 90082 w 152377"/>
              <a:gd name="connsiteY37" fmla="*/ 47506 h 152377"/>
              <a:gd name="connsiteX38" fmla="*/ 77982 w 152377"/>
              <a:gd name="connsiteY38" fmla="*/ 35854 h 152377"/>
              <a:gd name="connsiteX39" fmla="*/ 43472 w 152377"/>
              <a:gd name="connsiteY39" fmla="*/ 35854 h 152377"/>
              <a:gd name="connsiteX40" fmla="*/ 43472 w 152377"/>
              <a:gd name="connsiteY40" fmla="*/ 12101 h 152377"/>
              <a:gd name="connsiteX41" fmla="*/ 44817 w 152377"/>
              <a:gd name="connsiteY41" fmla="*/ 107561 h 152377"/>
              <a:gd name="connsiteX42" fmla="*/ 43472 w 152377"/>
              <a:gd name="connsiteY42" fmla="*/ 108009 h 152377"/>
              <a:gd name="connsiteX43" fmla="*/ 17479 w 152377"/>
              <a:gd name="connsiteY43" fmla="*/ 130866 h 152377"/>
              <a:gd name="connsiteX44" fmla="*/ 17479 w 152377"/>
              <a:gd name="connsiteY44" fmla="*/ 109354 h 152377"/>
              <a:gd name="connsiteX45" fmla="*/ 15238 w 152377"/>
              <a:gd name="connsiteY45" fmla="*/ 107113 h 152377"/>
              <a:gd name="connsiteX46" fmla="*/ 11652 w 152377"/>
              <a:gd name="connsiteY46" fmla="*/ 107113 h 152377"/>
              <a:gd name="connsiteX47" fmla="*/ 4034 w 152377"/>
              <a:gd name="connsiteY47" fmla="*/ 99942 h 152377"/>
              <a:gd name="connsiteX48" fmla="*/ 4034 w 152377"/>
              <a:gd name="connsiteY48" fmla="*/ 47058 h 152377"/>
              <a:gd name="connsiteX49" fmla="*/ 11652 w 152377"/>
              <a:gd name="connsiteY49" fmla="*/ 39887 h 152377"/>
              <a:gd name="connsiteX50" fmla="*/ 79326 w 152377"/>
              <a:gd name="connsiteY50" fmla="*/ 39887 h 152377"/>
              <a:gd name="connsiteX51" fmla="*/ 86945 w 152377"/>
              <a:gd name="connsiteY51" fmla="*/ 47058 h 152377"/>
              <a:gd name="connsiteX52" fmla="*/ 86945 w 152377"/>
              <a:gd name="connsiteY52" fmla="*/ 99942 h 152377"/>
              <a:gd name="connsiteX53" fmla="*/ 79326 w 152377"/>
              <a:gd name="connsiteY53" fmla="*/ 107113 h 152377"/>
              <a:gd name="connsiteX54" fmla="*/ 44817 w 152377"/>
              <a:gd name="connsiteY54" fmla="*/ 107113 h 152377"/>
              <a:gd name="connsiteX55" fmla="*/ 147000 w 152377"/>
              <a:gd name="connsiteY55" fmla="*/ 122350 h 152377"/>
              <a:gd name="connsiteX56" fmla="*/ 139381 w 152377"/>
              <a:gd name="connsiteY56" fmla="*/ 129969 h 152377"/>
              <a:gd name="connsiteX57" fmla="*/ 135796 w 152377"/>
              <a:gd name="connsiteY57" fmla="*/ 129969 h 152377"/>
              <a:gd name="connsiteX58" fmla="*/ 133555 w 152377"/>
              <a:gd name="connsiteY58" fmla="*/ 132210 h 152377"/>
              <a:gd name="connsiteX59" fmla="*/ 133555 w 152377"/>
              <a:gd name="connsiteY59" fmla="*/ 146552 h 152377"/>
              <a:gd name="connsiteX60" fmla="*/ 107113 w 152377"/>
              <a:gd name="connsiteY60" fmla="*/ 130418 h 152377"/>
              <a:gd name="connsiteX61" fmla="*/ 105768 w 152377"/>
              <a:gd name="connsiteY61" fmla="*/ 129969 h 152377"/>
              <a:gd name="connsiteX62" fmla="*/ 71707 w 152377"/>
              <a:gd name="connsiteY62" fmla="*/ 129969 h 152377"/>
              <a:gd name="connsiteX63" fmla="*/ 64088 w 152377"/>
              <a:gd name="connsiteY63" fmla="*/ 122350 h 152377"/>
              <a:gd name="connsiteX64" fmla="*/ 64088 w 152377"/>
              <a:gd name="connsiteY64" fmla="*/ 113835 h 152377"/>
              <a:gd name="connsiteX65" fmla="*/ 63640 w 152377"/>
              <a:gd name="connsiteY65" fmla="*/ 112491 h 152377"/>
              <a:gd name="connsiteX66" fmla="*/ 77982 w 152377"/>
              <a:gd name="connsiteY66" fmla="*/ 112491 h 152377"/>
              <a:gd name="connsiteX67" fmla="*/ 90082 w 152377"/>
              <a:gd name="connsiteY67" fmla="*/ 100838 h 152377"/>
              <a:gd name="connsiteX68" fmla="*/ 90082 w 152377"/>
              <a:gd name="connsiteY68" fmla="*/ 58710 h 152377"/>
              <a:gd name="connsiteX69" fmla="*/ 134451 w 152377"/>
              <a:gd name="connsiteY69" fmla="*/ 58710 h 152377"/>
              <a:gd name="connsiteX70" fmla="*/ 135347 w 152377"/>
              <a:gd name="connsiteY70" fmla="*/ 58710 h 152377"/>
              <a:gd name="connsiteX71" fmla="*/ 136244 w 152377"/>
              <a:gd name="connsiteY71" fmla="*/ 58710 h 152377"/>
              <a:gd name="connsiteX72" fmla="*/ 139381 w 152377"/>
              <a:gd name="connsiteY72" fmla="*/ 58710 h 152377"/>
              <a:gd name="connsiteX73" fmla="*/ 147000 w 152377"/>
              <a:gd name="connsiteY73" fmla="*/ 66329 h 152377"/>
              <a:gd name="connsiteX74" fmla="*/ 147000 w 152377"/>
              <a:gd name="connsiteY74" fmla="*/ 122350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52377" h="152377">
                <a:moveTo>
                  <a:pt x="139829" y="53780"/>
                </a:moveTo>
                <a:lnTo>
                  <a:pt x="138485" y="53780"/>
                </a:lnTo>
                <a:lnTo>
                  <a:pt x="138485" y="12101"/>
                </a:lnTo>
                <a:cubicBezTo>
                  <a:pt x="138485" y="5378"/>
                  <a:pt x="132658" y="0"/>
                  <a:pt x="125936" y="0"/>
                </a:cubicBezTo>
                <a:lnTo>
                  <a:pt x="52884" y="0"/>
                </a:lnTo>
                <a:cubicBezTo>
                  <a:pt x="45713" y="0"/>
                  <a:pt x="40335" y="5378"/>
                  <a:pt x="40335" y="12101"/>
                </a:cubicBezTo>
                <a:lnTo>
                  <a:pt x="40335" y="35854"/>
                </a:lnTo>
                <a:lnTo>
                  <a:pt x="12101" y="35854"/>
                </a:lnTo>
                <a:cubicBezTo>
                  <a:pt x="5378" y="35854"/>
                  <a:pt x="0" y="41232"/>
                  <a:pt x="0" y="47506"/>
                </a:cubicBezTo>
                <a:lnTo>
                  <a:pt x="0" y="100390"/>
                </a:lnTo>
                <a:cubicBezTo>
                  <a:pt x="0" y="106664"/>
                  <a:pt x="5378" y="112043"/>
                  <a:pt x="12101" y="112043"/>
                </a:cubicBezTo>
                <a:lnTo>
                  <a:pt x="13445" y="112043"/>
                </a:lnTo>
                <a:lnTo>
                  <a:pt x="13445" y="136244"/>
                </a:lnTo>
                <a:cubicBezTo>
                  <a:pt x="13445" y="137140"/>
                  <a:pt x="13893" y="138036"/>
                  <a:pt x="14790" y="138485"/>
                </a:cubicBezTo>
                <a:cubicBezTo>
                  <a:pt x="15238" y="138485"/>
                  <a:pt x="15238" y="138485"/>
                  <a:pt x="15686" y="138485"/>
                </a:cubicBezTo>
                <a:cubicBezTo>
                  <a:pt x="16134" y="138485"/>
                  <a:pt x="16582" y="138485"/>
                  <a:pt x="17030" y="138036"/>
                </a:cubicBezTo>
                <a:lnTo>
                  <a:pt x="46161" y="112491"/>
                </a:lnTo>
                <a:lnTo>
                  <a:pt x="61399" y="112491"/>
                </a:lnTo>
                <a:cubicBezTo>
                  <a:pt x="60951" y="112939"/>
                  <a:pt x="60951" y="113387"/>
                  <a:pt x="60951" y="113835"/>
                </a:cubicBezTo>
                <a:lnTo>
                  <a:pt x="60951" y="122350"/>
                </a:lnTo>
                <a:cubicBezTo>
                  <a:pt x="60951" y="129073"/>
                  <a:pt x="66329" y="134451"/>
                  <a:pt x="73052" y="134451"/>
                </a:cubicBezTo>
                <a:lnTo>
                  <a:pt x="106216" y="134451"/>
                </a:lnTo>
                <a:lnTo>
                  <a:pt x="135347" y="152378"/>
                </a:lnTo>
                <a:cubicBezTo>
                  <a:pt x="135796" y="152378"/>
                  <a:pt x="136244" y="152826"/>
                  <a:pt x="136692" y="152826"/>
                </a:cubicBezTo>
                <a:cubicBezTo>
                  <a:pt x="137140" y="152826"/>
                  <a:pt x="137588" y="152826"/>
                  <a:pt x="137588" y="152378"/>
                </a:cubicBezTo>
                <a:cubicBezTo>
                  <a:pt x="138485" y="151930"/>
                  <a:pt x="138933" y="151033"/>
                  <a:pt x="138933" y="150585"/>
                </a:cubicBezTo>
                <a:lnTo>
                  <a:pt x="138933" y="134451"/>
                </a:lnTo>
                <a:lnTo>
                  <a:pt x="140277" y="134451"/>
                </a:lnTo>
                <a:cubicBezTo>
                  <a:pt x="147000" y="134451"/>
                  <a:pt x="152378" y="129073"/>
                  <a:pt x="152378" y="122350"/>
                </a:cubicBezTo>
                <a:lnTo>
                  <a:pt x="152378" y="66329"/>
                </a:lnTo>
                <a:cubicBezTo>
                  <a:pt x="151481" y="59607"/>
                  <a:pt x="146103" y="53780"/>
                  <a:pt x="139829" y="53780"/>
                </a:cubicBezTo>
                <a:close/>
                <a:moveTo>
                  <a:pt x="43921" y="12101"/>
                </a:moveTo>
                <a:cubicBezTo>
                  <a:pt x="43921" y="8067"/>
                  <a:pt x="47506" y="4482"/>
                  <a:pt x="51988" y="4482"/>
                </a:cubicBezTo>
                <a:lnTo>
                  <a:pt x="125039" y="4482"/>
                </a:lnTo>
                <a:cubicBezTo>
                  <a:pt x="129521" y="4482"/>
                  <a:pt x="133106" y="8067"/>
                  <a:pt x="133106" y="12101"/>
                </a:cubicBezTo>
                <a:lnTo>
                  <a:pt x="133106" y="53780"/>
                </a:lnTo>
                <a:lnTo>
                  <a:pt x="90082" y="53780"/>
                </a:lnTo>
                <a:lnTo>
                  <a:pt x="90082" y="47506"/>
                </a:lnTo>
                <a:cubicBezTo>
                  <a:pt x="90082" y="41232"/>
                  <a:pt x="84704" y="35854"/>
                  <a:pt x="77982" y="35854"/>
                </a:cubicBezTo>
                <a:lnTo>
                  <a:pt x="43472" y="35854"/>
                </a:lnTo>
                <a:lnTo>
                  <a:pt x="43472" y="12101"/>
                </a:lnTo>
                <a:close/>
                <a:moveTo>
                  <a:pt x="44817" y="107561"/>
                </a:moveTo>
                <a:cubicBezTo>
                  <a:pt x="44369" y="107561"/>
                  <a:pt x="43921" y="107561"/>
                  <a:pt x="43472" y="108009"/>
                </a:cubicBezTo>
                <a:lnTo>
                  <a:pt x="17479" y="130866"/>
                </a:lnTo>
                <a:lnTo>
                  <a:pt x="17479" y="109354"/>
                </a:lnTo>
                <a:cubicBezTo>
                  <a:pt x="17479" y="108009"/>
                  <a:pt x="16582" y="107113"/>
                  <a:pt x="15238" y="107113"/>
                </a:cubicBezTo>
                <a:lnTo>
                  <a:pt x="11652" y="107113"/>
                </a:lnTo>
                <a:cubicBezTo>
                  <a:pt x="7619" y="107113"/>
                  <a:pt x="4034" y="103976"/>
                  <a:pt x="4034" y="99942"/>
                </a:cubicBezTo>
                <a:lnTo>
                  <a:pt x="4034" y="47058"/>
                </a:lnTo>
                <a:cubicBezTo>
                  <a:pt x="4034" y="43025"/>
                  <a:pt x="7171" y="39887"/>
                  <a:pt x="11652" y="39887"/>
                </a:cubicBezTo>
                <a:lnTo>
                  <a:pt x="79326" y="39887"/>
                </a:lnTo>
                <a:cubicBezTo>
                  <a:pt x="83360" y="39887"/>
                  <a:pt x="86945" y="43025"/>
                  <a:pt x="86945" y="47058"/>
                </a:cubicBezTo>
                <a:lnTo>
                  <a:pt x="86945" y="99942"/>
                </a:lnTo>
                <a:cubicBezTo>
                  <a:pt x="86945" y="103976"/>
                  <a:pt x="83808" y="107113"/>
                  <a:pt x="79326" y="107113"/>
                </a:cubicBezTo>
                <a:lnTo>
                  <a:pt x="44817" y="107113"/>
                </a:lnTo>
                <a:close/>
                <a:moveTo>
                  <a:pt x="147000" y="122350"/>
                </a:moveTo>
                <a:cubicBezTo>
                  <a:pt x="147000" y="126384"/>
                  <a:pt x="143863" y="129969"/>
                  <a:pt x="139381" y="129969"/>
                </a:cubicBezTo>
                <a:lnTo>
                  <a:pt x="135796" y="129969"/>
                </a:lnTo>
                <a:cubicBezTo>
                  <a:pt x="134451" y="129969"/>
                  <a:pt x="133555" y="130866"/>
                  <a:pt x="133555" y="132210"/>
                </a:cubicBezTo>
                <a:lnTo>
                  <a:pt x="133555" y="146552"/>
                </a:lnTo>
                <a:lnTo>
                  <a:pt x="107113" y="130418"/>
                </a:lnTo>
                <a:cubicBezTo>
                  <a:pt x="106664" y="130418"/>
                  <a:pt x="106216" y="129969"/>
                  <a:pt x="105768" y="129969"/>
                </a:cubicBezTo>
                <a:lnTo>
                  <a:pt x="71707" y="129969"/>
                </a:lnTo>
                <a:cubicBezTo>
                  <a:pt x="67674" y="129969"/>
                  <a:pt x="64088" y="126384"/>
                  <a:pt x="64088" y="122350"/>
                </a:cubicBezTo>
                <a:lnTo>
                  <a:pt x="64088" y="113835"/>
                </a:lnTo>
                <a:cubicBezTo>
                  <a:pt x="64088" y="113387"/>
                  <a:pt x="64088" y="112939"/>
                  <a:pt x="63640" y="112491"/>
                </a:cubicBezTo>
                <a:lnTo>
                  <a:pt x="77982" y="112491"/>
                </a:lnTo>
                <a:cubicBezTo>
                  <a:pt x="84704" y="112491"/>
                  <a:pt x="90082" y="107113"/>
                  <a:pt x="90082" y="100838"/>
                </a:cubicBezTo>
                <a:lnTo>
                  <a:pt x="90082" y="58710"/>
                </a:lnTo>
                <a:lnTo>
                  <a:pt x="134451" y="58710"/>
                </a:lnTo>
                <a:cubicBezTo>
                  <a:pt x="134899" y="58710"/>
                  <a:pt x="134899" y="58710"/>
                  <a:pt x="135347" y="58710"/>
                </a:cubicBezTo>
                <a:cubicBezTo>
                  <a:pt x="135796" y="58710"/>
                  <a:pt x="135796" y="58710"/>
                  <a:pt x="136244" y="58710"/>
                </a:cubicBezTo>
                <a:lnTo>
                  <a:pt x="139381" y="58710"/>
                </a:lnTo>
                <a:cubicBezTo>
                  <a:pt x="143414" y="58710"/>
                  <a:pt x="147000" y="62296"/>
                  <a:pt x="147000" y="66329"/>
                </a:cubicBezTo>
                <a:lnTo>
                  <a:pt x="147000" y="122350"/>
                </a:lnTo>
                <a:close/>
              </a:path>
            </a:pathLst>
          </a:custGeom>
          <a:solidFill>
            <a:srgbClr val="231F20"/>
          </a:solidFill>
          <a:ln w="4477" cap="flat">
            <a:noFill/>
            <a:prstDash val="solid"/>
            <a:miter/>
          </a:ln>
        </p:spPr>
        <p:txBody>
          <a:bodyPr rtlCol="0" anchor="ctr"/>
          <a:lstStyle/>
          <a:p>
            <a:endParaRPr lang="en-US"/>
          </a:p>
        </p:txBody>
      </p:sp>
      <p:sp>
        <p:nvSpPr>
          <p:cNvPr id="2468" name="Freeform: Shape 2467">
            <a:extLst>
              <a:ext uri="{FF2B5EF4-FFF2-40B4-BE49-F238E27FC236}">
                <a16:creationId xmlns:a16="http://schemas.microsoft.com/office/drawing/2014/main" id="{EF61D4EA-55B6-4897-8310-E3B995AC2AAE}"/>
              </a:ext>
              <a:ext uri="{C183D7F6-B498-43B3-948B-1728B52AA6E4}">
                <adec:decorative xmlns:adec="http://schemas.microsoft.com/office/drawing/2017/decorative" val="1"/>
              </a:ext>
            </a:extLst>
          </p:cNvPr>
          <p:cNvSpPr>
            <a:spLocks noChangeAspect="1"/>
          </p:cNvSpPr>
          <p:nvPr/>
        </p:nvSpPr>
        <p:spPr>
          <a:xfrm>
            <a:off x="6425381" y="1718469"/>
            <a:ext cx="152378" cy="147896"/>
          </a:xfrm>
          <a:custGeom>
            <a:avLst/>
            <a:gdLst>
              <a:gd name="connsiteX0" fmla="*/ 29579 w 152377"/>
              <a:gd name="connsiteY0" fmla="*/ 151930 h 147896"/>
              <a:gd name="connsiteX1" fmla="*/ 28683 w 152377"/>
              <a:gd name="connsiteY1" fmla="*/ 151482 h 147896"/>
              <a:gd name="connsiteX2" fmla="*/ 27338 w 152377"/>
              <a:gd name="connsiteY2" fmla="*/ 149689 h 147896"/>
              <a:gd name="connsiteX3" fmla="*/ 27338 w 152377"/>
              <a:gd name="connsiteY3" fmla="*/ 125488 h 147896"/>
              <a:gd name="connsiteX4" fmla="*/ 12549 w 152377"/>
              <a:gd name="connsiteY4" fmla="*/ 125488 h 147896"/>
              <a:gd name="connsiteX5" fmla="*/ 0 w 152377"/>
              <a:gd name="connsiteY5" fmla="*/ 113835 h 147896"/>
              <a:gd name="connsiteX6" fmla="*/ 0 w 152377"/>
              <a:gd name="connsiteY6" fmla="*/ 12100 h 147896"/>
              <a:gd name="connsiteX7" fmla="*/ 12549 w 152377"/>
              <a:gd name="connsiteY7" fmla="*/ 0 h 147896"/>
              <a:gd name="connsiteX8" fmla="*/ 140725 w 152377"/>
              <a:gd name="connsiteY8" fmla="*/ 0 h 147896"/>
              <a:gd name="connsiteX9" fmla="*/ 153274 w 152377"/>
              <a:gd name="connsiteY9" fmla="*/ 12100 h 147896"/>
              <a:gd name="connsiteX10" fmla="*/ 153274 w 152377"/>
              <a:gd name="connsiteY10" fmla="*/ 113835 h 147896"/>
              <a:gd name="connsiteX11" fmla="*/ 140725 w 152377"/>
              <a:gd name="connsiteY11" fmla="*/ 125488 h 147896"/>
              <a:gd name="connsiteX12" fmla="*/ 70811 w 152377"/>
              <a:gd name="connsiteY12" fmla="*/ 125488 h 147896"/>
              <a:gd name="connsiteX13" fmla="*/ 30924 w 152377"/>
              <a:gd name="connsiteY13" fmla="*/ 151482 h 147896"/>
              <a:gd name="connsiteX14" fmla="*/ 29579 w 152377"/>
              <a:gd name="connsiteY14" fmla="*/ 151930 h 147896"/>
              <a:gd name="connsiteX15" fmla="*/ 12997 w 152377"/>
              <a:gd name="connsiteY15" fmla="*/ 4033 h 147896"/>
              <a:gd name="connsiteX16" fmla="*/ 4930 w 152377"/>
              <a:gd name="connsiteY16" fmla="*/ 11652 h 147896"/>
              <a:gd name="connsiteX17" fmla="*/ 4930 w 152377"/>
              <a:gd name="connsiteY17" fmla="*/ 113387 h 147896"/>
              <a:gd name="connsiteX18" fmla="*/ 12997 w 152377"/>
              <a:gd name="connsiteY18" fmla="*/ 120558 h 147896"/>
              <a:gd name="connsiteX19" fmla="*/ 30027 w 152377"/>
              <a:gd name="connsiteY19" fmla="*/ 120558 h 147896"/>
              <a:gd name="connsiteX20" fmla="*/ 32268 w 152377"/>
              <a:gd name="connsiteY20" fmla="*/ 122798 h 147896"/>
              <a:gd name="connsiteX21" fmla="*/ 32268 w 152377"/>
              <a:gd name="connsiteY21" fmla="*/ 145207 h 147896"/>
              <a:gd name="connsiteX22" fmla="*/ 69018 w 152377"/>
              <a:gd name="connsiteY22" fmla="*/ 121006 h 147896"/>
              <a:gd name="connsiteX23" fmla="*/ 70363 w 152377"/>
              <a:gd name="connsiteY23" fmla="*/ 120558 h 147896"/>
              <a:gd name="connsiteX24" fmla="*/ 140725 w 152377"/>
              <a:gd name="connsiteY24" fmla="*/ 120558 h 147896"/>
              <a:gd name="connsiteX25" fmla="*/ 148792 w 152377"/>
              <a:gd name="connsiteY25" fmla="*/ 113387 h 147896"/>
              <a:gd name="connsiteX26" fmla="*/ 148792 w 152377"/>
              <a:gd name="connsiteY26" fmla="*/ 11652 h 147896"/>
              <a:gd name="connsiteX27" fmla="*/ 140725 w 152377"/>
              <a:gd name="connsiteY27" fmla="*/ 4033 h 147896"/>
              <a:gd name="connsiteX28" fmla="*/ 12997 w 152377"/>
              <a:gd name="connsiteY28" fmla="*/ 403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29579" y="151930"/>
                </a:moveTo>
                <a:cubicBezTo>
                  <a:pt x="29131" y="151930"/>
                  <a:pt x="28683" y="151930"/>
                  <a:pt x="28683" y="151482"/>
                </a:cubicBezTo>
                <a:cubicBezTo>
                  <a:pt x="27786" y="151033"/>
                  <a:pt x="27338" y="150137"/>
                  <a:pt x="27338" y="149689"/>
                </a:cubicBezTo>
                <a:lnTo>
                  <a:pt x="27338" y="125488"/>
                </a:lnTo>
                <a:lnTo>
                  <a:pt x="12549" y="125488"/>
                </a:lnTo>
                <a:cubicBezTo>
                  <a:pt x="5378" y="125488"/>
                  <a:pt x="0" y="120558"/>
                  <a:pt x="0" y="113835"/>
                </a:cubicBezTo>
                <a:lnTo>
                  <a:pt x="0" y="12100"/>
                </a:lnTo>
                <a:cubicBezTo>
                  <a:pt x="0" y="5378"/>
                  <a:pt x="5378" y="0"/>
                  <a:pt x="12549" y="0"/>
                </a:cubicBezTo>
                <a:lnTo>
                  <a:pt x="140725" y="0"/>
                </a:lnTo>
                <a:cubicBezTo>
                  <a:pt x="147448" y="0"/>
                  <a:pt x="153274" y="5378"/>
                  <a:pt x="153274" y="12100"/>
                </a:cubicBezTo>
                <a:lnTo>
                  <a:pt x="153274" y="113835"/>
                </a:lnTo>
                <a:cubicBezTo>
                  <a:pt x="153274" y="120558"/>
                  <a:pt x="147896" y="125488"/>
                  <a:pt x="140725" y="125488"/>
                </a:cubicBezTo>
                <a:lnTo>
                  <a:pt x="70811" y="125488"/>
                </a:lnTo>
                <a:lnTo>
                  <a:pt x="30924" y="151482"/>
                </a:lnTo>
                <a:cubicBezTo>
                  <a:pt x="30476" y="151482"/>
                  <a:pt x="30027" y="151930"/>
                  <a:pt x="29579" y="151930"/>
                </a:cubicBezTo>
                <a:close/>
                <a:moveTo>
                  <a:pt x="12997" y="4033"/>
                </a:moveTo>
                <a:cubicBezTo>
                  <a:pt x="8515" y="4033"/>
                  <a:pt x="4930" y="7619"/>
                  <a:pt x="4930" y="11652"/>
                </a:cubicBezTo>
                <a:lnTo>
                  <a:pt x="4930" y="113387"/>
                </a:lnTo>
                <a:cubicBezTo>
                  <a:pt x="4930" y="117420"/>
                  <a:pt x="8067" y="120558"/>
                  <a:pt x="12997" y="120558"/>
                </a:cubicBezTo>
                <a:lnTo>
                  <a:pt x="30027" y="120558"/>
                </a:lnTo>
                <a:cubicBezTo>
                  <a:pt x="31372" y="120558"/>
                  <a:pt x="32268" y="121454"/>
                  <a:pt x="32268" y="122798"/>
                </a:cubicBezTo>
                <a:lnTo>
                  <a:pt x="32268" y="145207"/>
                </a:lnTo>
                <a:lnTo>
                  <a:pt x="69018" y="121006"/>
                </a:lnTo>
                <a:cubicBezTo>
                  <a:pt x="69466" y="120558"/>
                  <a:pt x="69915" y="120558"/>
                  <a:pt x="70363" y="120558"/>
                </a:cubicBezTo>
                <a:lnTo>
                  <a:pt x="140725" y="120558"/>
                </a:lnTo>
                <a:cubicBezTo>
                  <a:pt x="145207" y="120558"/>
                  <a:pt x="148792" y="117420"/>
                  <a:pt x="148792" y="113387"/>
                </a:cubicBezTo>
                <a:lnTo>
                  <a:pt x="148792" y="11652"/>
                </a:lnTo>
                <a:cubicBezTo>
                  <a:pt x="148792" y="7171"/>
                  <a:pt x="145207" y="4033"/>
                  <a:pt x="140725" y="4033"/>
                </a:cubicBezTo>
                <a:lnTo>
                  <a:pt x="12997" y="4033"/>
                </a:lnTo>
                <a:close/>
              </a:path>
            </a:pathLst>
          </a:custGeom>
          <a:solidFill>
            <a:srgbClr val="231F20"/>
          </a:solidFill>
          <a:ln w="4477" cap="flat">
            <a:noFill/>
            <a:prstDash val="solid"/>
            <a:miter/>
          </a:ln>
        </p:spPr>
        <p:txBody>
          <a:bodyPr rtlCol="0" anchor="ctr"/>
          <a:lstStyle/>
          <a:p>
            <a:endParaRPr lang="en-US"/>
          </a:p>
        </p:txBody>
      </p:sp>
      <p:grpSp>
        <p:nvGrpSpPr>
          <p:cNvPr id="2469" name="Group 2468">
            <a:extLst>
              <a:ext uri="{FF2B5EF4-FFF2-40B4-BE49-F238E27FC236}">
                <a16:creationId xmlns:a16="http://schemas.microsoft.com/office/drawing/2014/main" id="{9B098243-574E-45AC-A551-67838EF3FA8B}"/>
              </a:ext>
              <a:ext uri="{C183D7F6-B498-43B3-948B-1728B52AA6E4}">
                <adec:decorative xmlns:adec="http://schemas.microsoft.com/office/drawing/2017/decorative" val="1"/>
              </a:ext>
            </a:extLst>
          </p:cNvPr>
          <p:cNvGrpSpPr>
            <a:grpSpLocks noChangeAspect="1"/>
          </p:cNvGrpSpPr>
          <p:nvPr/>
        </p:nvGrpSpPr>
        <p:grpSpPr>
          <a:xfrm>
            <a:off x="6941225" y="1718021"/>
            <a:ext cx="152378" cy="147896"/>
            <a:chOff x="9106829" y="4204718"/>
            <a:chExt cx="152378" cy="147896"/>
          </a:xfrm>
        </p:grpSpPr>
        <p:sp>
          <p:nvSpPr>
            <p:cNvPr id="2500" name="Freeform: Shape 2499">
              <a:extLst>
                <a:ext uri="{FF2B5EF4-FFF2-40B4-BE49-F238E27FC236}">
                  <a16:creationId xmlns:a16="http://schemas.microsoft.com/office/drawing/2014/main" id="{75A5783E-2387-4C22-B778-C03CC09FC640}"/>
                </a:ext>
              </a:extLst>
            </p:cNvPr>
            <p:cNvSpPr/>
            <p:nvPr/>
          </p:nvSpPr>
          <p:spPr>
            <a:xfrm>
              <a:off x="9145751" y="4228872"/>
              <a:ext cx="76189" cy="76189"/>
            </a:xfrm>
            <a:custGeom>
              <a:avLst/>
              <a:gdLst>
                <a:gd name="connsiteX0" fmla="*/ 75361 w 76188"/>
                <a:gd name="connsiteY0" fmla="*/ 61895 h 76188"/>
                <a:gd name="connsiteX1" fmla="*/ 65501 w 76188"/>
                <a:gd name="connsiteY1" fmla="*/ 70410 h 76188"/>
                <a:gd name="connsiteX2" fmla="*/ 63260 w 76188"/>
                <a:gd name="connsiteY2" fmla="*/ 67721 h 76188"/>
                <a:gd name="connsiteX3" fmla="*/ 67742 w 76188"/>
                <a:gd name="connsiteY3" fmla="*/ 63687 h 76188"/>
                <a:gd name="connsiteX4" fmla="*/ 68190 w 76188"/>
                <a:gd name="connsiteY4" fmla="*/ 60550 h 76188"/>
                <a:gd name="connsiteX5" fmla="*/ 65053 w 76188"/>
                <a:gd name="connsiteY5" fmla="*/ 60102 h 76188"/>
                <a:gd name="connsiteX6" fmla="*/ 60571 w 76188"/>
                <a:gd name="connsiteY6" fmla="*/ 64135 h 76188"/>
                <a:gd name="connsiteX7" fmla="*/ 58330 w 76188"/>
                <a:gd name="connsiteY7" fmla="*/ 61447 h 76188"/>
                <a:gd name="connsiteX8" fmla="*/ 69086 w 76188"/>
                <a:gd name="connsiteY8" fmla="*/ 52483 h 76188"/>
                <a:gd name="connsiteX9" fmla="*/ 69535 w 76188"/>
                <a:gd name="connsiteY9" fmla="*/ 49346 h 76188"/>
                <a:gd name="connsiteX10" fmla="*/ 66397 w 76188"/>
                <a:gd name="connsiteY10" fmla="*/ 48898 h 76188"/>
                <a:gd name="connsiteX11" fmla="*/ 55641 w 76188"/>
                <a:gd name="connsiteY11" fmla="*/ 57861 h 76188"/>
                <a:gd name="connsiteX12" fmla="*/ 31888 w 76188"/>
                <a:gd name="connsiteY12" fmla="*/ 30523 h 76188"/>
                <a:gd name="connsiteX13" fmla="*/ 32336 w 76188"/>
                <a:gd name="connsiteY13" fmla="*/ 6321 h 76188"/>
                <a:gd name="connsiteX14" fmla="*/ 6342 w 76188"/>
                <a:gd name="connsiteY14" fmla="*/ 4529 h 76188"/>
                <a:gd name="connsiteX15" fmla="*/ 68 w 76188"/>
                <a:gd name="connsiteY15" fmla="*/ 17078 h 76188"/>
                <a:gd name="connsiteX16" fmla="*/ 4550 w 76188"/>
                <a:gd name="connsiteY16" fmla="*/ 30523 h 76188"/>
                <a:gd name="connsiteX17" fmla="*/ 17099 w 76188"/>
                <a:gd name="connsiteY17" fmla="*/ 36797 h 76188"/>
                <a:gd name="connsiteX18" fmla="*/ 18443 w 76188"/>
                <a:gd name="connsiteY18" fmla="*/ 36797 h 76188"/>
                <a:gd name="connsiteX19" fmla="*/ 28751 w 76188"/>
                <a:gd name="connsiteY19" fmla="*/ 33660 h 76188"/>
                <a:gd name="connsiteX20" fmla="*/ 64605 w 76188"/>
                <a:gd name="connsiteY20" fmla="*/ 75340 h 76188"/>
                <a:gd name="connsiteX21" fmla="*/ 65949 w 76188"/>
                <a:gd name="connsiteY21" fmla="*/ 76236 h 76188"/>
                <a:gd name="connsiteX22" fmla="*/ 65949 w 76188"/>
                <a:gd name="connsiteY22" fmla="*/ 76236 h 76188"/>
                <a:gd name="connsiteX23" fmla="*/ 67294 w 76188"/>
                <a:gd name="connsiteY23" fmla="*/ 75788 h 76188"/>
                <a:gd name="connsiteX24" fmla="*/ 78946 w 76188"/>
                <a:gd name="connsiteY24" fmla="*/ 65480 h 76188"/>
                <a:gd name="connsiteX25" fmla="*/ 79394 w 76188"/>
                <a:gd name="connsiteY25" fmla="*/ 62343 h 76188"/>
                <a:gd name="connsiteX26" fmla="*/ 75361 w 76188"/>
                <a:gd name="connsiteY26" fmla="*/ 61895 h 76188"/>
                <a:gd name="connsiteX27" fmla="*/ 16202 w 76188"/>
                <a:gd name="connsiteY27" fmla="*/ 32315 h 76188"/>
                <a:gd name="connsiteX28" fmla="*/ 6791 w 76188"/>
                <a:gd name="connsiteY28" fmla="*/ 27385 h 76188"/>
                <a:gd name="connsiteX29" fmla="*/ 8135 w 76188"/>
                <a:gd name="connsiteY29" fmla="*/ 7666 h 76188"/>
                <a:gd name="connsiteX30" fmla="*/ 17099 w 76188"/>
                <a:gd name="connsiteY30" fmla="*/ 4081 h 76188"/>
                <a:gd name="connsiteX31" fmla="*/ 27406 w 76188"/>
                <a:gd name="connsiteY31" fmla="*/ 9011 h 76188"/>
                <a:gd name="connsiteX32" fmla="*/ 26062 w 76188"/>
                <a:gd name="connsiteY32" fmla="*/ 28730 h 76188"/>
                <a:gd name="connsiteX33" fmla="*/ 16202 w 76188"/>
                <a:gd name="connsiteY33" fmla="*/ 32315 h 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188" h="76188">
                  <a:moveTo>
                    <a:pt x="75361" y="61895"/>
                  </a:moveTo>
                  <a:lnTo>
                    <a:pt x="65501" y="70410"/>
                  </a:lnTo>
                  <a:lnTo>
                    <a:pt x="63260" y="67721"/>
                  </a:lnTo>
                  <a:lnTo>
                    <a:pt x="67742" y="63687"/>
                  </a:lnTo>
                  <a:cubicBezTo>
                    <a:pt x="68638" y="62791"/>
                    <a:pt x="68638" y="61447"/>
                    <a:pt x="68190" y="60550"/>
                  </a:cubicBezTo>
                  <a:cubicBezTo>
                    <a:pt x="67294" y="59654"/>
                    <a:pt x="65949" y="59654"/>
                    <a:pt x="65053" y="60102"/>
                  </a:cubicBezTo>
                  <a:lnTo>
                    <a:pt x="60571" y="64135"/>
                  </a:lnTo>
                  <a:lnTo>
                    <a:pt x="58330" y="61447"/>
                  </a:lnTo>
                  <a:lnTo>
                    <a:pt x="69086" y="52483"/>
                  </a:lnTo>
                  <a:cubicBezTo>
                    <a:pt x="69983" y="51587"/>
                    <a:pt x="69983" y="50242"/>
                    <a:pt x="69535" y="49346"/>
                  </a:cubicBezTo>
                  <a:cubicBezTo>
                    <a:pt x="69086" y="48450"/>
                    <a:pt x="67294" y="48450"/>
                    <a:pt x="66397" y="48898"/>
                  </a:cubicBezTo>
                  <a:lnTo>
                    <a:pt x="55641" y="57861"/>
                  </a:lnTo>
                  <a:lnTo>
                    <a:pt x="31888" y="30523"/>
                  </a:lnTo>
                  <a:cubicBezTo>
                    <a:pt x="38163" y="23800"/>
                    <a:pt x="38163" y="13492"/>
                    <a:pt x="32336" y="6321"/>
                  </a:cubicBezTo>
                  <a:cubicBezTo>
                    <a:pt x="25614" y="-1297"/>
                    <a:pt x="13961" y="-2194"/>
                    <a:pt x="6342" y="4529"/>
                  </a:cubicBezTo>
                  <a:cubicBezTo>
                    <a:pt x="2757" y="7666"/>
                    <a:pt x="516" y="12148"/>
                    <a:pt x="68" y="17078"/>
                  </a:cubicBezTo>
                  <a:cubicBezTo>
                    <a:pt x="-380" y="22007"/>
                    <a:pt x="1413" y="26489"/>
                    <a:pt x="4550" y="30523"/>
                  </a:cubicBezTo>
                  <a:cubicBezTo>
                    <a:pt x="7687" y="34556"/>
                    <a:pt x="12169" y="36349"/>
                    <a:pt x="17099" y="36797"/>
                  </a:cubicBezTo>
                  <a:cubicBezTo>
                    <a:pt x="17547" y="36797"/>
                    <a:pt x="17995" y="36797"/>
                    <a:pt x="18443" y="36797"/>
                  </a:cubicBezTo>
                  <a:cubicBezTo>
                    <a:pt x="22028" y="36797"/>
                    <a:pt x="25614" y="35452"/>
                    <a:pt x="28751" y="33660"/>
                  </a:cubicBezTo>
                  <a:lnTo>
                    <a:pt x="64605" y="75340"/>
                  </a:lnTo>
                  <a:cubicBezTo>
                    <a:pt x="65053" y="75788"/>
                    <a:pt x="65501" y="76236"/>
                    <a:pt x="65949" y="76236"/>
                  </a:cubicBezTo>
                  <a:cubicBezTo>
                    <a:pt x="65949" y="76236"/>
                    <a:pt x="65949" y="76236"/>
                    <a:pt x="65949" y="76236"/>
                  </a:cubicBezTo>
                  <a:cubicBezTo>
                    <a:pt x="66397" y="76236"/>
                    <a:pt x="66845" y="76236"/>
                    <a:pt x="67294" y="75788"/>
                  </a:cubicBezTo>
                  <a:lnTo>
                    <a:pt x="78946" y="65480"/>
                  </a:lnTo>
                  <a:cubicBezTo>
                    <a:pt x="79842" y="64584"/>
                    <a:pt x="79842" y="63239"/>
                    <a:pt x="79394" y="62343"/>
                  </a:cubicBezTo>
                  <a:cubicBezTo>
                    <a:pt x="77602" y="61447"/>
                    <a:pt x="76257" y="61447"/>
                    <a:pt x="75361" y="61895"/>
                  </a:cubicBezTo>
                  <a:close/>
                  <a:moveTo>
                    <a:pt x="16202" y="32315"/>
                  </a:moveTo>
                  <a:cubicBezTo>
                    <a:pt x="12617" y="31867"/>
                    <a:pt x="9032" y="30523"/>
                    <a:pt x="6791" y="27385"/>
                  </a:cubicBezTo>
                  <a:cubicBezTo>
                    <a:pt x="1861" y="21559"/>
                    <a:pt x="2309" y="12596"/>
                    <a:pt x="8135" y="7666"/>
                  </a:cubicBezTo>
                  <a:cubicBezTo>
                    <a:pt x="10824" y="5425"/>
                    <a:pt x="13961" y="4081"/>
                    <a:pt x="17099" y="4081"/>
                  </a:cubicBezTo>
                  <a:cubicBezTo>
                    <a:pt x="21132" y="4081"/>
                    <a:pt x="24718" y="5873"/>
                    <a:pt x="27406" y="9011"/>
                  </a:cubicBezTo>
                  <a:cubicBezTo>
                    <a:pt x="32336" y="14837"/>
                    <a:pt x="31888" y="23800"/>
                    <a:pt x="26062" y="28730"/>
                  </a:cubicBezTo>
                  <a:cubicBezTo>
                    <a:pt x="23821" y="31419"/>
                    <a:pt x="20236" y="32764"/>
                    <a:pt x="16202" y="32315"/>
                  </a:cubicBezTo>
                  <a:close/>
                </a:path>
              </a:pathLst>
            </a:custGeom>
            <a:solidFill>
              <a:srgbClr val="231F20"/>
            </a:solidFill>
            <a:ln w="4477" cap="flat">
              <a:noFill/>
              <a:prstDash val="solid"/>
              <a:miter/>
            </a:ln>
          </p:spPr>
          <p:txBody>
            <a:bodyPr rtlCol="0" anchor="ctr"/>
            <a:lstStyle/>
            <a:p>
              <a:endParaRPr lang="en-US"/>
            </a:p>
          </p:txBody>
        </p:sp>
        <p:sp>
          <p:nvSpPr>
            <p:cNvPr id="2501" name="Freeform: Shape 2500">
              <a:extLst>
                <a:ext uri="{FF2B5EF4-FFF2-40B4-BE49-F238E27FC236}">
                  <a16:creationId xmlns:a16="http://schemas.microsoft.com/office/drawing/2014/main" id="{7D101488-323D-473C-8F69-D0B8D2AE1EC8}"/>
                </a:ext>
              </a:extLst>
            </p:cNvPr>
            <p:cNvSpPr/>
            <p:nvPr/>
          </p:nvSpPr>
          <p:spPr>
            <a:xfrm>
              <a:off x="9106829" y="4204718"/>
              <a:ext cx="152378" cy="147896"/>
            </a:xfrm>
            <a:custGeom>
              <a:avLst/>
              <a:gdLst>
                <a:gd name="connsiteX0" fmla="*/ 140277 w 152377"/>
                <a:gd name="connsiteY0" fmla="*/ 0 h 147896"/>
                <a:gd name="connsiteX1" fmla="*/ 12549 w 152377"/>
                <a:gd name="connsiteY1" fmla="*/ 0 h 147896"/>
                <a:gd name="connsiteX2" fmla="*/ 0 w 152377"/>
                <a:gd name="connsiteY2" fmla="*/ 12101 h 147896"/>
                <a:gd name="connsiteX3" fmla="*/ 0 w 152377"/>
                <a:gd name="connsiteY3" fmla="*/ 113835 h 147896"/>
                <a:gd name="connsiteX4" fmla="*/ 12549 w 152377"/>
                <a:gd name="connsiteY4" fmla="*/ 125488 h 147896"/>
                <a:gd name="connsiteX5" fmla="*/ 27338 w 152377"/>
                <a:gd name="connsiteY5" fmla="*/ 125488 h 147896"/>
                <a:gd name="connsiteX6" fmla="*/ 27338 w 152377"/>
                <a:gd name="connsiteY6" fmla="*/ 149689 h 147896"/>
                <a:gd name="connsiteX7" fmla="*/ 28683 w 152377"/>
                <a:gd name="connsiteY7" fmla="*/ 151482 h 147896"/>
                <a:gd name="connsiteX8" fmla="*/ 29579 w 152377"/>
                <a:gd name="connsiteY8" fmla="*/ 151930 h 147896"/>
                <a:gd name="connsiteX9" fmla="*/ 30924 w 152377"/>
                <a:gd name="connsiteY9" fmla="*/ 151482 h 147896"/>
                <a:gd name="connsiteX10" fmla="*/ 70811 w 152377"/>
                <a:gd name="connsiteY10" fmla="*/ 125040 h 147896"/>
                <a:gd name="connsiteX11" fmla="*/ 140277 w 152377"/>
                <a:gd name="connsiteY11" fmla="*/ 125040 h 147896"/>
                <a:gd name="connsiteX12" fmla="*/ 152826 w 152377"/>
                <a:gd name="connsiteY12" fmla="*/ 113387 h 147896"/>
                <a:gd name="connsiteX13" fmla="*/ 152826 w 152377"/>
                <a:gd name="connsiteY13" fmla="*/ 12101 h 147896"/>
                <a:gd name="connsiteX14" fmla="*/ 140277 w 152377"/>
                <a:gd name="connsiteY14" fmla="*/ 0 h 147896"/>
                <a:gd name="connsiteX15" fmla="*/ 148344 w 152377"/>
                <a:gd name="connsiteY15" fmla="*/ 114283 h 147896"/>
                <a:gd name="connsiteX16" fmla="*/ 140277 w 152377"/>
                <a:gd name="connsiteY16" fmla="*/ 121454 h 147896"/>
                <a:gd name="connsiteX17" fmla="*/ 69466 w 152377"/>
                <a:gd name="connsiteY17" fmla="*/ 121454 h 147896"/>
                <a:gd name="connsiteX18" fmla="*/ 68122 w 152377"/>
                <a:gd name="connsiteY18" fmla="*/ 121902 h 147896"/>
                <a:gd name="connsiteX19" fmla="*/ 31372 w 152377"/>
                <a:gd name="connsiteY19" fmla="*/ 146104 h 147896"/>
                <a:gd name="connsiteX20" fmla="*/ 31372 w 152377"/>
                <a:gd name="connsiteY20" fmla="*/ 123695 h 147896"/>
                <a:gd name="connsiteX21" fmla="*/ 29131 w 152377"/>
                <a:gd name="connsiteY21" fmla="*/ 121454 h 147896"/>
                <a:gd name="connsiteX22" fmla="*/ 12101 w 152377"/>
                <a:gd name="connsiteY22" fmla="*/ 121454 h 147896"/>
                <a:gd name="connsiteX23" fmla="*/ 4033 w 152377"/>
                <a:gd name="connsiteY23" fmla="*/ 114283 h 147896"/>
                <a:gd name="connsiteX24" fmla="*/ 4033 w 152377"/>
                <a:gd name="connsiteY24" fmla="*/ 12101 h 147896"/>
                <a:gd name="connsiteX25" fmla="*/ 12101 w 152377"/>
                <a:gd name="connsiteY25" fmla="*/ 4482 h 147896"/>
                <a:gd name="connsiteX26" fmla="*/ 140277 w 152377"/>
                <a:gd name="connsiteY26" fmla="*/ 4482 h 147896"/>
                <a:gd name="connsiteX27" fmla="*/ 148344 w 152377"/>
                <a:gd name="connsiteY27" fmla="*/ 12101 h 147896"/>
                <a:gd name="connsiteX28" fmla="*/ 148344 w 152377"/>
                <a:gd name="connsiteY28" fmla="*/ 11428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140277" y="0"/>
                  </a:moveTo>
                  <a:lnTo>
                    <a:pt x="12549" y="0"/>
                  </a:lnTo>
                  <a:cubicBezTo>
                    <a:pt x="5826" y="0"/>
                    <a:pt x="0" y="5378"/>
                    <a:pt x="0" y="12101"/>
                  </a:cubicBezTo>
                  <a:lnTo>
                    <a:pt x="0" y="113835"/>
                  </a:lnTo>
                  <a:cubicBezTo>
                    <a:pt x="0" y="120558"/>
                    <a:pt x="5378" y="125488"/>
                    <a:pt x="12549" y="125488"/>
                  </a:cubicBezTo>
                  <a:lnTo>
                    <a:pt x="27338" y="125488"/>
                  </a:lnTo>
                  <a:lnTo>
                    <a:pt x="27338" y="149689"/>
                  </a:lnTo>
                  <a:cubicBezTo>
                    <a:pt x="27338" y="150585"/>
                    <a:pt x="27787" y="151482"/>
                    <a:pt x="28683" y="151482"/>
                  </a:cubicBezTo>
                  <a:cubicBezTo>
                    <a:pt x="29131" y="151482"/>
                    <a:pt x="29579" y="151930"/>
                    <a:pt x="29579" y="151930"/>
                  </a:cubicBezTo>
                  <a:cubicBezTo>
                    <a:pt x="30027" y="151930"/>
                    <a:pt x="30476" y="151930"/>
                    <a:pt x="30924" y="151482"/>
                  </a:cubicBezTo>
                  <a:lnTo>
                    <a:pt x="70811" y="125040"/>
                  </a:lnTo>
                  <a:lnTo>
                    <a:pt x="140277" y="125040"/>
                  </a:lnTo>
                  <a:cubicBezTo>
                    <a:pt x="147448" y="125040"/>
                    <a:pt x="152826" y="120110"/>
                    <a:pt x="152826" y="113387"/>
                  </a:cubicBezTo>
                  <a:lnTo>
                    <a:pt x="152826" y="12101"/>
                  </a:lnTo>
                  <a:cubicBezTo>
                    <a:pt x="152826" y="5378"/>
                    <a:pt x="147000" y="0"/>
                    <a:pt x="140277" y="0"/>
                  </a:cubicBezTo>
                  <a:close/>
                  <a:moveTo>
                    <a:pt x="148344" y="114283"/>
                  </a:moveTo>
                  <a:cubicBezTo>
                    <a:pt x="148344" y="118317"/>
                    <a:pt x="145207" y="121454"/>
                    <a:pt x="140277" y="121454"/>
                  </a:cubicBezTo>
                  <a:lnTo>
                    <a:pt x="69466" y="121454"/>
                  </a:lnTo>
                  <a:cubicBezTo>
                    <a:pt x="69018" y="121454"/>
                    <a:pt x="68570" y="121454"/>
                    <a:pt x="68122" y="121902"/>
                  </a:cubicBezTo>
                  <a:lnTo>
                    <a:pt x="31372" y="146104"/>
                  </a:lnTo>
                  <a:lnTo>
                    <a:pt x="31372" y="123695"/>
                  </a:lnTo>
                  <a:cubicBezTo>
                    <a:pt x="31372" y="122350"/>
                    <a:pt x="30476" y="121454"/>
                    <a:pt x="29131" y="121454"/>
                  </a:cubicBezTo>
                  <a:lnTo>
                    <a:pt x="12101" y="121454"/>
                  </a:lnTo>
                  <a:cubicBezTo>
                    <a:pt x="7619" y="121454"/>
                    <a:pt x="4033" y="118317"/>
                    <a:pt x="4033" y="114283"/>
                  </a:cubicBezTo>
                  <a:lnTo>
                    <a:pt x="4033" y="12101"/>
                  </a:lnTo>
                  <a:cubicBezTo>
                    <a:pt x="4033" y="7619"/>
                    <a:pt x="7619" y="4482"/>
                    <a:pt x="12101" y="4482"/>
                  </a:cubicBezTo>
                  <a:lnTo>
                    <a:pt x="140277" y="4482"/>
                  </a:lnTo>
                  <a:cubicBezTo>
                    <a:pt x="144759" y="4482"/>
                    <a:pt x="148344" y="8067"/>
                    <a:pt x="148344" y="12101"/>
                  </a:cubicBezTo>
                  <a:lnTo>
                    <a:pt x="148344" y="114283"/>
                  </a:lnTo>
                  <a:close/>
                </a:path>
              </a:pathLst>
            </a:custGeom>
            <a:solidFill>
              <a:srgbClr val="231F20"/>
            </a:solidFill>
            <a:ln w="4477" cap="flat">
              <a:noFill/>
              <a:prstDash val="solid"/>
              <a:miter/>
            </a:ln>
          </p:spPr>
          <p:txBody>
            <a:bodyPr rtlCol="0" anchor="ctr"/>
            <a:lstStyle/>
            <a:p>
              <a:endParaRPr lang="en-US"/>
            </a:p>
          </p:txBody>
        </p:sp>
      </p:grpSp>
      <p:sp>
        <p:nvSpPr>
          <p:cNvPr id="2470" name="Freeform: Shape 2469">
            <a:extLst>
              <a:ext uri="{FF2B5EF4-FFF2-40B4-BE49-F238E27FC236}">
                <a16:creationId xmlns:a16="http://schemas.microsoft.com/office/drawing/2014/main" id="{FB00ACF2-A222-4305-9FB8-E138078104FF}"/>
              </a:ext>
              <a:ext uri="{C183D7F6-B498-43B3-948B-1728B52AA6E4}">
                <adec:decorative xmlns:adec="http://schemas.microsoft.com/office/drawing/2017/decorative" val="1"/>
              </a:ext>
            </a:extLst>
          </p:cNvPr>
          <p:cNvSpPr>
            <a:spLocks noChangeAspect="1"/>
          </p:cNvSpPr>
          <p:nvPr/>
        </p:nvSpPr>
        <p:spPr>
          <a:xfrm>
            <a:off x="8558895" y="1718021"/>
            <a:ext cx="94116" cy="152378"/>
          </a:xfrm>
          <a:custGeom>
            <a:avLst/>
            <a:gdLst>
              <a:gd name="connsiteX0" fmla="*/ 98373 w 94115"/>
              <a:gd name="connsiteY0" fmla="*/ 50195 h 152377"/>
              <a:gd name="connsiteX1" fmla="*/ 51315 w 94115"/>
              <a:gd name="connsiteY1" fmla="*/ 896 h 152377"/>
              <a:gd name="connsiteX2" fmla="*/ 51315 w 94115"/>
              <a:gd name="connsiteY2" fmla="*/ 896 h 152377"/>
              <a:gd name="connsiteX3" fmla="*/ 49523 w 94115"/>
              <a:gd name="connsiteY3" fmla="*/ 0 h 152377"/>
              <a:gd name="connsiteX4" fmla="*/ 47730 w 94115"/>
              <a:gd name="connsiteY4" fmla="*/ 896 h 152377"/>
              <a:gd name="connsiteX5" fmla="*/ 47730 w 94115"/>
              <a:gd name="connsiteY5" fmla="*/ 896 h 152377"/>
              <a:gd name="connsiteX6" fmla="*/ 672 w 94115"/>
              <a:gd name="connsiteY6" fmla="*/ 50195 h 152377"/>
              <a:gd name="connsiteX7" fmla="*/ 672 w 94115"/>
              <a:gd name="connsiteY7" fmla="*/ 53332 h 152377"/>
              <a:gd name="connsiteX8" fmla="*/ 2017 w 94115"/>
              <a:gd name="connsiteY8" fmla="*/ 53780 h 152377"/>
              <a:gd name="connsiteX9" fmla="*/ 3810 w 94115"/>
              <a:gd name="connsiteY9" fmla="*/ 52884 h 152377"/>
              <a:gd name="connsiteX10" fmla="*/ 46834 w 94115"/>
              <a:gd name="connsiteY10" fmla="*/ 7619 h 152377"/>
              <a:gd name="connsiteX11" fmla="*/ 46834 w 94115"/>
              <a:gd name="connsiteY11" fmla="*/ 150137 h 152377"/>
              <a:gd name="connsiteX12" fmla="*/ 49075 w 94115"/>
              <a:gd name="connsiteY12" fmla="*/ 152378 h 152377"/>
              <a:gd name="connsiteX13" fmla="*/ 51315 w 94115"/>
              <a:gd name="connsiteY13" fmla="*/ 150137 h 152377"/>
              <a:gd name="connsiteX14" fmla="*/ 51315 w 94115"/>
              <a:gd name="connsiteY14" fmla="*/ 7619 h 152377"/>
              <a:gd name="connsiteX15" fmla="*/ 94340 w 94115"/>
              <a:gd name="connsiteY15" fmla="*/ 52884 h 152377"/>
              <a:gd name="connsiteX16" fmla="*/ 97477 w 94115"/>
              <a:gd name="connsiteY16" fmla="*/ 52884 h 152377"/>
              <a:gd name="connsiteX17" fmla="*/ 98373 w 94115"/>
              <a:gd name="connsiteY17" fmla="*/ 50195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115" h="152377">
                <a:moveTo>
                  <a:pt x="98373" y="50195"/>
                </a:moveTo>
                <a:lnTo>
                  <a:pt x="51315" y="896"/>
                </a:lnTo>
                <a:cubicBezTo>
                  <a:pt x="51315" y="896"/>
                  <a:pt x="51315" y="896"/>
                  <a:pt x="51315" y="896"/>
                </a:cubicBezTo>
                <a:cubicBezTo>
                  <a:pt x="50867" y="448"/>
                  <a:pt x="50419" y="0"/>
                  <a:pt x="49523" y="0"/>
                </a:cubicBezTo>
                <a:cubicBezTo>
                  <a:pt x="48627" y="0"/>
                  <a:pt x="48178" y="448"/>
                  <a:pt x="47730" y="896"/>
                </a:cubicBezTo>
                <a:cubicBezTo>
                  <a:pt x="47730" y="896"/>
                  <a:pt x="47730" y="896"/>
                  <a:pt x="47730" y="896"/>
                </a:cubicBezTo>
                <a:lnTo>
                  <a:pt x="672" y="50195"/>
                </a:lnTo>
                <a:cubicBezTo>
                  <a:pt x="-224" y="51092"/>
                  <a:pt x="-224" y="52436"/>
                  <a:pt x="672" y="53332"/>
                </a:cubicBezTo>
                <a:cubicBezTo>
                  <a:pt x="1121" y="53780"/>
                  <a:pt x="1569" y="53780"/>
                  <a:pt x="2017" y="53780"/>
                </a:cubicBezTo>
                <a:cubicBezTo>
                  <a:pt x="2465" y="53780"/>
                  <a:pt x="3361" y="53332"/>
                  <a:pt x="3810" y="52884"/>
                </a:cubicBezTo>
                <a:lnTo>
                  <a:pt x="46834" y="7619"/>
                </a:lnTo>
                <a:lnTo>
                  <a:pt x="46834" y="150137"/>
                </a:lnTo>
                <a:cubicBezTo>
                  <a:pt x="46834" y="151482"/>
                  <a:pt x="47730" y="152378"/>
                  <a:pt x="49075" y="152378"/>
                </a:cubicBezTo>
                <a:cubicBezTo>
                  <a:pt x="50419" y="152378"/>
                  <a:pt x="51315" y="151482"/>
                  <a:pt x="51315" y="150137"/>
                </a:cubicBezTo>
                <a:lnTo>
                  <a:pt x="51315" y="7619"/>
                </a:lnTo>
                <a:lnTo>
                  <a:pt x="94340" y="52884"/>
                </a:lnTo>
                <a:cubicBezTo>
                  <a:pt x="95236" y="53780"/>
                  <a:pt x="96581" y="53780"/>
                  <a:pt x="97477" y="52884"/>
                </a:cubicBezTo>
                <a:cubicBezTo>
                  <a:pt x="98373" y="51988"/>
                  <a:pt x="98822" y="51092"/>
                  <a:pt x="98373" y="50195"/>
                </a:cubicBezTo>
                <a:close/>
              </a:path>
            </a:pathLst>
          </a:custGeom>
          <a:solidFill>
            <a:srgbClr val="231F20"/>
          </a:solidFill>
          <a:ln w="4477" cap="flat">
            <a:noFill/>
            <a:prstDash val="solid"/>
            <a:miter/>
          </a:ln>
        </p:spPr>
        <p:txBody>
          <a:bodyPr rtlCol="0" anchor="ctr"/>
          <a:lstStyle/>
          <a:p>
            <a:endParaRPr lang="en-US"/>
          </a:p>
        </p:txBody>
      </p:sp>
      <p:sp>
        <p:nvSpPr>
          <p:cNvPr id="2471" name="Freeform: Shape 2470">
            <a:extLst>
              <a:ext uri="{FF2B5EF4-FFF2-40B4-BE49-F238E27FC236}">
                <a16:creationId xmlns:a16="http://schemas.microsoft.com/office/drawing/2014/main" id="{1A7E19D4-C7BF-4CD7-AD2F-E6C616D113FE}"/>
              </a:ext>
              <a:ext uri="{C183D7F6-B498-43B3-948B-1728B52AA6E4}">
                <adec:decorative xmlns:adec="http://schemas.microsoft.com/office/drawing/2017/decorative" val="1"/>
              </a:ext>
            </a:extLst>
          </p:cNvPr>
          <p:cNvSpPr>
            <a:spLocks noChangeAspect="1"/>
          </p:cNvSpPr>
          <p:nvPr/>
        </p:nvSpPr>
        <p:spPr>
          <a:xfrm>
            <a:off x="8820178" y="1758580"/>
            <a:ext cx="98597" cy="53780"/>
          </a:xfrm>
          <a:custGeom>
            <a:avLst/>
            <a:gdLst>
              <a:gd name="connsiteX0" fmla="*/ 2017 w 98597"/>
              <a:gd name="connsiteY0" fmla="*/ 53556 h 53780"/>
              <a:gd name="connsiteX1" fmla="*/ 672 w 98597"/>
              <a:gd name="connsiteY1" fmla="*/ 53108 h 53780"/>
              <a:gd name="connsiteX2" fmla="*/ 672 w 98597"/>
              <a:gd name="connsiteY2" fmla="*/ 49971 h 53780"/>
              <a:gd name="connsiteX3" fmla="*/ 47730 w 98597"/>
              <a:gd name="connsiteY3" fmla="*/ 672 h 53780"/>
              <a:gd name="connsiteX4" fmla="*/ 50867 w 98597"/>
              <a:gd name="connsiteY4" fmla="*/ 672 h 53780"/>
              <a:gd name="connsiteX5" fmla="*/ 97925 w 98597"/>
              <a:gd name="connsiteY5" fmla="*/ 49971 h 53780"/>
              <a:gd name="connsiteX6" fmla="*/ 97925 w 98597"/>
              <a:gd name="connsiteY6" fmla="*/ 53108 h 53780"/>
              <a:gd name="connsiteX7" fmla="*/ 94788 w 98597"/>
              <a:gd name="connsiteY7" fmla="*/ 53108 h 53780"/>
              <a:gd name="connsiteX8" fmla="*/ 49523 w 98597"/>
              <a:gd name="connsiteY8" fmla="*/ 5602 h 53780"/>
              <a:gd name="connsiteX9" fmla="*/ 4258 w 98597"/>
              <a:gd name="connsiteY9" fmla="*/ 53108 h 53780"/>
              <a:gd name="connsiteX10" fmla="*/ 2017 w 98597"/>
              <a:gd name="connsiteY10" fmla="*/ 53556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597" h="53780">
                <a:moveTo>
                  <a:pt x="2017" y="53556"/>
                </a:moveTo>
                <a:cubicBezTo>
                  <a:pt x="1568" y="53556"/>
                  <a:pt x="1120" y="53556"/>
                  <a:pt x="672" y="53108"/>
                </a:cubicBezTo>
                <a:cubicBezTo>
                  <a:pt x="-224" y="52212"/>
                  <a:pt x="-224" y="50867"/>
                  <a:pt x="672" y="49971"/>
                </a:cubicBezTo>
                <a:lnTo>
                  <a:pt x="47730" y="672"/>
                </a:lnTo>
                <a:cubicBezTo>
                  <a:pt x="48626" y="-224"/>
                  <a:pt x="49971" y="-224"/>
                  <a:pt x="50867" y="672"/>
                </a:cubicBezTo>
                <a:lnTo>
                  <a:pt x="97925" y="49971"/>
                </a:lnTo>
                <a:cubicBezTo>
                  <a:pt x="98821" y="50867"/>
                  <a:pt x="98821" y="52212"/>
                  <a:pt x="97925" y="53108"/>
                </a:cubicBezTo>
                <a:cubicBezTo>
                  <a:pt x="97029" y="54005"/>
                  <a:pt x="95684" y="54005"/>
                  <a:pt x="94788" y="53108"/>
                </a:cubicBezTo>
                <a:lnTo>
                  <a:pt x="49523" y="5602"/>
                </a:lnTo>
                <a:lnTo>
                  <a:pt x="4258" y="53108"/>
                </a:lnTo>
                <a:cubicBezTo>
                  <a:pt x="3361" y="53556"/>
                  <a:pt x="2465" y="53556"/>
                  <a:pt x="2017" y="53556"/>
                </a:cubicBezTo>
                <a:close/>
              </a:path>
            </a:pathLst>
          </a:custGeom>
          <a:solidFill>
            <a:srgbClr val="231F20"/>
          </a:solidFill>
          <a:ln w="4477" cap="flat">
            <a:noFill/>
            <a:prstDash val="solid"/>
            <a:miter/>
          </a:ln>
        </p:spPr>
        <p:txBody>
          <a:bodyPr rtlCol="0" anchor="ctr"/>
          <a:lstStyle/>
          <a:p>
            <a:endParaRPr lang="en-US"/>
          </a:p>
        </p:txBody>
      </p:sp>
      <p:grpSp>
        <p:nvGrpSpPr>
          <p:cNvPr id="2472" name="Group 2471">
            <a:extLst>
              <a:ext uri="{FF2B5EF4-FFF2-40B4-BE49-F238E27FC236}">
                <a16:creationId xmlns:a16="http://schemas.microsoft.com/office/drawing/2014/main" id="{77B4DFFB-D595-46AB-A2F2-4A2EA49D0612}"/>
              </a:ext>
              <a:ext uri="{C183D7F6-B498-43B3-948B-1728B52AA6E4}">
                <adec:decorative xmlns:adec="http://schemas.microsoft.com/office/drawing/2017/decorative" val="1"/>
              </a:ext>
            </a:extLst>
          </p:cNvPr>
          <p:cNvGrpSpPr>
            <a:grpSpLocks noChangeAspect="1"/>
          </p:cNvGrpSpPr>
          <p:nvPr/>
        </p:nvGrpSpPr>
        <p:grpSpPr>
          <a:xfrm>
            <a:off x="9308012" y="1718021"/>
            <a:ext cx="152378" cy="152378"/>
            <a:chOff x="11473616" y="4204718"/>
            <a:chExt cx="152378" cy="152378"/>
          </a:xfrm>
        </p:grpSpPr>
        <p:sp>
          <p:nvSpPr>
            <p:cNvPr id="2498" name="Freeform: Shape 2497">
              <a:extLst>
                <a:ext uri="{FF2B5EF4-FFF2-40B4-BE49-F238E27FC236}">
                  <a16:creationId xmlns:a16="http://schemas.microsoft.com/office/drawing/2014/main" id="{E2B67FFA-6F1B-411B-B5E8-8B164796B8F7}"/>
                </a:ext>
              </a:extLst>
            </p:cNvPr>
            <p:cNvSpPr/>
            <p:nvPr/>
          </p:nvSpPr>
          <p:spPr>
            <a:xfrm>
              <a:off x="11473616" y="4204718"/>
              <a:ext cx="152378" cy="152378"/>
            </a:xfrm>
            <a:custGeom>
              <a:avLst/>
              <a:gdLst>
                <a:gd name="connsiteX0" fmla="*/ 76189 w 152377"/>
                <a:gd name="connsiteY0" fmla="*/ 0 h 152377"/>
                <a:gd name="connsiteX1" fmla="*/ 0 w 152377"/>
                <a:gd name="connsiteY1" fmla="*/ 76189 h 152377"/>
                <a:gd name="connsiteX2" fmla="*/ 76189 w 152377"/>
                <a:gd name="connsiteY2" fmla="*/ 152378 h 152377"/>
                <a:gd name="connsiteX3" fmla="*/ 152378 w 152377"/>
                <a:gd name="connsiteY3" fmla="*/ 76189 h 152377"/>
                <a:gd name="connsiteX4" fmla="*/ 76189 w 152377"/>
                <a:gd name="connsiteY4" fmla="*/ 0 h 152377"/>
                <a:gd name="connsiteX5" fmla="*/ 76189 w 152377"/>
                <a:gd name="connsiteY5" fmla="*/ 147896 h 152377"/>
                <a:gd name="connsiteX6" fmla="*/ 4482 w 152377"/>
                <a:gd name="connsiteY6" fmla="*/ 76189 h 152377"/>
                <a:gd name="connsiteX7" fmla="*/ 76189 w 152377"/>
                <a:gd name="connsiteY7" fmla="*/ 4482 h 152377"/>
                <a:gd name="connsiteX8" fmla="*/ 147896 w 152377"/>
                <a:gd name="connsiteY8" fmla="*/ 76189 h 152377"/>
                <a:gd name="connsiteX9" fmla="*/ 76189 w 152377"/>
                <a:gd name="connsiteY9" fmla="*/ 147896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0"/>
                  </a:moveTo>
                  <a:cubicBezTo>
                    <a:pt x="34061" y="0"/>
                    <a:pt x="0" y="34061"/>
                    <a:pt x="0" y="76189"/>
                  </a:cubicBezTo>
                  <a:cubicBezTo>
                    <a:pt x="0" y="118317"/>
                    <a:pt x="34061" y="152378"/>
                    <a:pt x="76189" y="152378"/>
                  </a:cubicBezTo>
                  <a:cubicBezTo>
                    <a:pt x="118316" y="152378"/>
                    <a:pt x="152378" y="118317"/>
                    <a:pt x="152378" y="76189"/>
                  </a:cubicBezTo>
                  <a:cubicBezTo>
                    <a:pt x="152378" y="34061"/>
                    <a:pt x="118316" y="0"/>
                    <a:pt x="76189" y="0"/>
                  </a:cubicBezTo>
                  <a:close/>
                  <a:moveTo>
                    <a:pt x="76189" y="147896"/>
                  </a:moveTo>
                  <a:cubicBezTo>
                    <a:pt x="36750" y="147896"/>
                    <a:pt x="4482" y="115628"/>
                    <a:pt x="4482" y="76189"/>
                  </a:cubicBezTo>
                  <a:cubicBezTo>
                    <a:pt x="4482" y="36750"/>
                    <a:pt x="36750" y="4482"/>
                    <a:pt x="76189" y="4482"/>
                  </a:cubicBezTo>
                  <a:cubicBezTo>
                    <a:pt x="115628" y="4482"/>
                    <a:pt x="147896" y="36750"/>
                    <a:pt x="147896" y="76189"/>
                  </a:cubicBezTo>
                  <a:cubicBezTo>
                    <a:pt x="147896" y="115628"/>
                    <a:pt x="115628" y="147896"/>
                    <a:pt x="76189" y="147896"/>
                  </a:cubicBezTo>
                  <a:close/>
                </a:path>
              </a:pathLst>
            </a:custGeom>
            <a:solidFill>
              <a:srgbClr val="231F20"/>
            </a:solidFill>
            <a:ln w="4477" cap="flat">
              <a:noFill/>
              <a:prstDash val="solid"/>
              <a:miter/>
            </a:ln>
          </p:spPr>
          <p:txBody>
            <a:bodyPr rtlCol="0" anchor="ctr"/>
            <a:lstStyle/>
            <a:p>
              <a:endParaRPr lang="en-US"/>
            </a:p>
          </p:txBody>
        </p:sp>
        <p:sp>
          <p:nvSpPr>
            <p:cNvPr id="2499" name="Freeform: Shape 2498">
              <a:extLst>
                <a:ext uri="{FF2B5EF4-FFF2-40B4-BE49-F238E27FC236}">
                  <a16:creationId xmlns:a16="http://schemas.microsoft.com/office/drawing/2014/main" id="{00FDB91D-FC13-4479-A1F0-F364F5AAC738}"/>
                </a:ext>
              </a:extLst>
            </p:cNvPr>
            <p:cNvSpPr/>
            <p:nvPr/>
          </p:nvSpPr>
          <p:spPr>
            <a:xfrm>
              <a:off x="11520001" y="4245053"/>
              <a:ext cx="58262" cy="85152"/>
            </a:xfrm>
            <a:custGeom>
              <a:avLst/>
              <a:gdLst>
                <a:gd name="connsiteX0" fmla="*/ 31148 w 58262"/>
                <a:gd name="connsiteY0" fmla="*/ 896 h 85152"/>
                <a:gd name="connsiteX1" fmla="*/ 31148 w 58262"/>
                <a:gd name="connsiteY1" fmla="*/ 896 h 85152"/>
                <a:gd name="connsiteX2" fmla="*/ 29355 w 58262"/>
                <a:gd name="connsiteY2" fmla="*/ 0 h 85152"/>
                <a:gd name="connsiteX3" fmla="*/ 27563 w 58262"/>
                <a:gd name="connsiteY3" fmla="*/ 896 h 85152"/>
                <a:gd name="connsiteX4" fmla="*/ 27563 w 58262"/>
                <a:gd name="connsiteY4" fmla="*/ 896 h 85152"/>
                <a:gd name="connsiteX5" fmla="*/ 673 w 58262"/>
                <a:gd name="connsiteY5" fmla="*/ 29131 h 85152"/>
                <a:gd name="connsiteX6" fmla="*/ 673 w 58262"/>
                <a:gd name="connsiteY6" fmla="*/ 32268 h 85152"/>
                <a:gd name="connsiteX7" fmla="*/ 2017 w 58262"/>
                <a:gd name="connsiteY7" fmla="*/ 32716 h 85152"/>
                <a:gd name="connsiteX8" fmla="*/ 3809 w 58262"/>
                <a:gd name="connsiteY8" fmla="*/ 31820 h 85152"/>
                <a:gd name="connsiteX9" fmla="*/ 27114 w 58262"/>
                <a:gd name="connsiteY9" fmla="*/ 7619 h 85152"/>
                <a:gd name="connsiteX10" fmla="*/ 27114 w 58262"/>
                <a:gd name="connsiteY10" fmla="*/ 86945 h 85152"/>
                <a:gd name="connsiteX11" fmla="*/ 29355 w 58262"/>
                <a:gd name="connsiteY11" fmla="*/ 89186 h 85152"/>
                <a:gd name="connsiteX12" fmla="*/ 31596 w 58262"/>
                <a:gd name="connsiteY12" fmla="*/ 86945 h 85152"/>
                <a:gd name="connsiteX13" fmla="*/ 31596 w 58262"/>
                <a:gd name="connsiteY13" fmla="*/ 7619 h 85152"/>
                <a:gd name="connsiteX14" fmla="*/ 54901 w 58262"/>
                <a:gd name="connsiteY14" fmla="*/ 31820 h 85152"/>
                <a:gd name="connsiteX15" fmla="*/ 58038 w 58262"/>
                <a:gd name="connsiteY15" fmla="*/ 31820 h 85152"/>
                <a:gd name="connsiteX16" fmla="*/ 58038 w 58262"/>
                <a:gd name="connsiteY16" fmla="*/ 28683 h 85152"/>
                <a:gd name="connsiteX17" fmla="*/ 31148 w 58262"/>
                <a:gd name="connsiteY17" fmla="*/ 896 h 8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62" h="85152">
                  <a:moveTo>
                    <a:pt x="31148" y="896"/>
                  </a:moveTo>
                  <a:cubicBezTo>
                    <a:pt x="31148" y="896"/>
                    <a:pt x="31148" y="896"/>
                    <a:pt x="31148" y="896"/>
                  </a:cubicBezTo>
                  <a:cubicBezTo>
                    <a:pt x="30700" y="448"/>
                    <a:pt x="30252" y="0"/>
                    <a:pt x="29355" y="0"/>
                  </a:cubicBezTo>
                  <a:cubicBezTo>
                    <a:pt x="28907" y="0"/>
                    <a:pt x="28011" y="448"/>
                    <a:pt x="27563" y="896"/>
                  </a:cubicBezTo>
                  <a:cubicBezTo>
                    <a:pt x="27563" y="896"/>
                    <a:pt x="27563" y="896"/>
                    <a:pt x="27563" y="896"/>
                  </a:cubicBezTo>
                  <a:lnTo>
                    <a:pt x="673" y="29131"/>
                  </a:lnTo>
                  <a:cubicBezTo>
                    <a:pt x="-224" y="30027"/>
                    <a:pt x="-224" y="31372"/>
                    <a:pt x="673" y="32268"/>
                  </a:cubicBezTo>
                  <a:cubicBezTo>
                    <a:pt x="1121" y="32716"/>
                    <a:pt x="1569" y="32716"/>
                    <a:pt x="2017" y="32716"/>
                  </a:cubicBezTo>
                  <a:cubicBezTo>
                    <a:pt x="2465" y="32716"/>
                    <a:pt x="3361" y="32268"/>
                    <a:pt x="3809" y="31820"/>
                  </a:cubicBezTo>
                  <a:lnTo>
                    <a:pt x="27114" y="7619"/>
                  </a:lnTo>
                  <a:lnTo>
                    <a:pt x="27114" y="86945"/>
                  </a:lnTo>
                  <a:cubicBezTo>
                    <a:pt x="27114" y="88290"/>
                    <a:pt x="28011" y="89186"/>
                    <a:pt x="29355" y="89186"/>
                  </a:cubicBezTo>
                  <a:cubicBezTo>
                    <a:pt x="30700" y="89186"/>
                    <a:pt x="31596" y="88290"/>
                    <a:pt x="31596" y="86945"/>
                  </a:cubicBezTo>
                  <a:lnTo>
                    <a:pt x="31596" y="7619"/>
                  </a:lnTo>
                  <a:lnTo>
                    <a:pt x="54901" y="31820"/>
                  </a:lnTo>
                  <a:cubicBezTo>
                    <a:pt x="55797" y="32716"/>
                    <a:pt x="57142" y="32716"/>
                    <a:pt x="58038" y="31820"/>
                  </a:cubicBezTo>
                  <a:cubicBezTo>
                    <a:pt x="58935" y="30924"/>
                    <a:pt x="58935" y="29579"/>
                    <a:pt x="58038" y="28683"/>
                  </a:cubicBezTo>
                  <a:lnTo>
                    <a:pt x="31148" y="896"/>
                  </a:lnTo>
                  <a:close/>
                </a:path>
              </a:pathLst>
            </a:custGeom>
            <a:solidFill>
              <a:srgbClr val="231F20"/>
            </a:solidFill>
            <a:ln w="4477" cap="flat">
              <a:noFill/>
              <a:prstDash val="solid"/>
              <a:miter/>
            </a:ln>
          </p:spPr>
          <p:txBody>
            <a:bodyPr rtlCol="0" anchor="ctr"/>
            <a:lstStyle/>
            <a:p>
              <a:endParaRPr lang="en-US"/>
            </a:p>
          </p:txBody>
        </p:sp>
      </p:grpSp>
      <p:grpSp>
        <p:nvGrpSpPr>
          <p:cNvPr id="2473" name="Group 2472">
            <a:extLst>
              <a:ext uri="{FF2B5EF4-FFF2-40B4-BE49-F238E27FC236}">
                <a16:creationId xmlns:a16="http://schemas.microsoft.com/office/drawing/2014/main" id="{E6794E41-CE00-4F44-8765-E5EE801ED3C6}"/>
              </a:ext>
              <a:ext uri="{C183D7F6-B498-43B3-948B-1728B52AA6E4}">
                <adec:decorative xmlns:adec="http://schemas.microsoft.com/office/drawing/2017/decorative" val="1"/>
              </a:ext>
            </a:extLst>
          </p:cNvPr>
          <p:cNvGrpSpPr>
            <a:grpSpLocks noChangeAspect="1"/>
          </p:cNvGrpSpPr>
          <p:nvPr/>
        </p:nvGrpSpPr>
        <p:grpSpPr>
          <a:xfrm>
            <a:off x="6681286" y="1718021"/>
            <a:ext cx="152378" cy="147896"/>
            <a:chOff x="8846890" y="4204718"/>
            <a:chExt cx="152378" cy="147896"/>
          </a:xfrm>
        </p:grpSpPr>
        <p:sp>
          <p:nvSpPr>
            <p:cNvPr id="2495" name="Freeform: Shape 2494">
              <a:extLst>
                <a:ext uri="{FF2B5EF4-FFF2-40B4-BE49-F238E27FC236}">
                  <a16:creationId xmlns:a16="http://schemas.microsoft.com/office/drawing/2014/main" id="{4F268B0F-9190-4CEC-8081-B7D9D5CD689E}"/>
                </a:ext>
              </a:extLst>
            </p:cNvPr>
            <p:cNvSpPr/>
            <p:nvPr/>
          </p:nvSpPr>
          <p:spPr>
            <a:xfrm>
              <a:off x="8846890" y="4204718"/>
              <a:ext cx="152378" cy="147896"/>
            </a:xfrm>
            <a:custGeom>
              <a:avLst/>
              <a:gdLst>
                <a:gd name="connsiteX0" fmla="*/ 140277 w 152377"/>
                <a:gd name="connsiteY0" fmla="*/ 0 h 147896"/>
                <a:gd name="connsiteX1" fmla="*/ 12549 w 152377"/>
                <a:gd name="connsiteY1" fmla="*/ 0 h 147896"/>
                <a:gd name="connsiteX2" fmla="*/ 0 w 152377"/>
                <a:gd name="connsiteY2" fmla="*/ 12101 h 147896"/>
                <a:gd name="connsiteX3" fmla="*/ 0 w 152377"/>
                <a:gd name="connsiteY3" fmla="*/ 113835 h 147896"/>
                <a:gd name="connsiteX4" fmla="*/ 12549 w 152377"/>
                <a:gd name="connsiteY4" fmla="*/ 125488 h 147896"/>
                <a:gd name="connsiteX5" fmla="*/ 27338 w 152377"/>
                <a:gd name="connsiteY5" fmla="*/ 125488 h 147896"/>
                <a:gd name="connsiteX6" fmla="*/ 27338 w 152377"/>
                <a:gd name="connsiteY6" fmla="*/ 149689 h 147896"/>
                <a:gd name="connsiteX7" fmla="*/ 28683 w 152377"/>
                <a:gd name="connsiteY7" fmla="*/ 151482 h 147896"/>
                <a:gd name="connsiteX8" fmla="*/ 29579 w 152377"/>
                <a:gd name="connsiteY8" fmla="*/ 151930 h 147896"/>
                <a:gd name="connsiteX9" fmla="*/ 30924 w 152377"/>
                <a:gd name="connsiteY9" fmla="*/ 151482 h 147896"/>
                <a:gd name="connsiteX10" fmla="*/ 70811 w 152377"/>
                <a:gd name="connsiteY10" fmla="*/ 125040 h 147896"/>
                <a:gd name="connsiteX11" fmla="*/ 140277 w 152377"/>
                <a:gd name="connsiteY11" fmla="*/ 125040 h 147896"/>
                <a:gd name="connsiteX12" fmla="*/ 152826 w 152377"/>
                <a:gd name="connsiteY12" fmla="*/ 113387 h 147896"/>
                <a:gd name="connsiteX13" fmla="*/ 152826 w 152377"/>
                <a:gd name="connsiteY13" fmla="*/ 11653 h 147896"/>
                <a:gd name="connsiteX14" fmla="*/ 140277 w 152377"/>
                <a:gd name="connsiteY14" fmla="*/ 0 h 147896"/>
                <a:gd name="connsiteX15" fmla="*/ 148344 w 152377"/>
                <a:gd name="connsiteY15" fmla="*/ 114283 h 147896"/>
                <a:gd name="connsiteX16" fmla="*/ 140277 w 152377"/>
                <a:gd name="connsiteY16" fmla="*/ 121454 h 147896"/>
                <a:gd name="connsiteX17" fmla="*/ 69466 w 152377"/>
                <a:gd name="connsiteY17" fmla="*/ 121454 h 147896"/>
                <a:gd name="connsiteX18" fmla="*/ 68122 w 152377"/>
                <a:gd name="connsiteY18" fmla="*/ 121902 h 147896"/>
                <a:gd name="connsiteX19" fmla="*/ 31372 w 152377"/>
                <a:gd name="connsiteY19" fmla="*/ 146104 h 147896"/>
                <a:gd name="connsiteX20" fmla="*/ 31372 w 152377"/>
                <a:gd name="connsiteY20" fmla="*/ 123695 h 147896"/>
                <a:gd name="connsiteX21" fmla="*/ 29131 w 152377"/>
                <a:gd name="connsiteY21" fmla="*/ 121454 h 147896"/>
                <a:gd name="connsiteX22" fmla="*/ 12101 w 152377"/>
                <a:gd name="connsiteY22" fmla="*/ 121454 h 147896"/>
                <a:gd name="connsiteX23" fmla="*/ 4033 w 152377"/>
                <a:gd name="connsiteY23" fmla="*/ 114283 h 147896"/>
                <a:gd name="connsiteX24" fmla="*/ 4033 w 152377"/>
                <a:gd name="connsiteY24" fmla="*/ 12549 h 147896"/>
                <a:gd name="connsiteX25" fmla="*/ 12101 w 152377"/>
                <a:gd name="connsiteY25" fmla="*/ 4930 h 147896"/>
                <a:gd name="connsiteX26" fmla="*/ 140277 w 152377"/>
                <a:gd name="connsiteY26" fmla="*/ 4930 h 147896"/>
                <a:gd name="connsiteX27" fmla="*/ 148344 w 152377"/>
                <a:gd name="connsiteY27" fmla="*/ 12549 h 147896"/>
                <a:gd name="connsiteX28" fmla="*/ 148344 w 152377"/>
                <a:gd name="connsiteY28" fmla="*/ 11428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140277" y="0"/>
                  </a:moveTo>
                  <a:lnTo>
                    <a:pt x="12549" y="0"/>
                  </a:lnTo>
                  <a:cubicBezTo>
                    <a:pt x="5826" y="0"/>
                    <a:pt x="0" y="5378"/>
                    <a:pt x="0" y="12101"/>
                  </a:cubicBezTo>
                  <a:lnTo>
                    <a:pt x="0" y="113835"/>
                  </a:lnTo>
                  <a:cubicBezTo>
                    <a:pt x="0" y="120558"/>
                    <a:pt x="5378" y="125488"/>
                    <a:pt x="12549" y="125488"/>
                  </a:cubicBezTo>
                  <a:lnTo>
                    <a:pt x="27338" y="125488"/>
                  </a:lnTo>
                  <a:lnTo>
                    <a:pt x="27338" y="149689"/>
                  </a:lnTo>
                  <a:cubicBezTo>
                    <a:pt x="27338" y="150585"/>
                    <a:pt x="27787" y="151482"/>
                    <a:pt x="28683" y="151482"/>
                  </a:cubicBezTo>
                  <a:cubicBezTo>
                    <a:pt x="29131" y="151482"/>
                    <a:pt x="29579" y="151930"/>
                    <a:pt x="29579" y="151930"/>
                  </a:cubicBezTo>
                  <a:cubicBezTo>
                    <a:pt x="30027" y="151930"/>
                    <a:pt x="30476" y="151930"/>
                    <a:pt x="30924" y="151482"/>
                  </a:cubicBezTo>
                  <a:lnTo>
                    <a:pt x="70811" y="125040"/>
                  </a:lnTo>
                  <a:lnTo>
                    <a:pt x="140277" y="125040"/>
                  </a:lnTo>
                  <a:cubicBezTo>
                    <a:pt x="147448" y="125040"/>
                    <a:pt x="152826" y="120110"/>
                    <a:pt x="152826" y="113387"/>
                  </a:cubicBezTo>
                  <a:lnTo>
                    <a:pt x="152826" y="11653"/>
                  </a:lnTo>
                  <a:cubicBezTo>
                    <a:pt x="152826" y="5826"/>
                    <a:pt x="147000" y="0"/>
                    <a:pt x="140277" y="0"/>
                  </a:cubicBezTo>
                  <a:close/>
                  <a:moveTo>
                    <a:pt x="148344" y="114283"/>
                  </a:moveTo>
                  <a:cubicBezTo>
                    <a:pt x="148344" y="118317"/>
                    <a:pt x="145207" y="121454"/>
                    <a:pt x="140277" y="121454"/>
                  </a:cubicBezTo>
                  <a:lnTo>
                    <a:pt x="69466" y="121454"/>
                  </a:lnTo>
                  <a:cubicBezTo>
                    <a:pt x="69018" y="121454"/>
                    <a:pt x="68570" y="121454"/>
                    <a:pt x="68122" y="121902"/>
                  </a:cubicBezTo>
                  <a:lnTo>
                    <a:pt x="31372" y="146104"/>
                  </a:lnTo>
                  <a:lnTo>
                    <a:pt x="31372" y="123695"/>
                  </a:lnTo>
                  <a:cubicBezTo>
                    <a:pt x="31372" y="122350"/>
                    <a:pt x="30476" y="121454"/>
                    <a:pt x="29131" y="121454"/>
                  </a:cubicBezTo>
                  <a:lnTo>
                    <a:pt x="12101" y="121454"/>
                  </a:lnTo>
                  <a:cubicBezTo>
                    <a:pt x="7619" y="121454"/>
                    <a:pt x="4033" y="118317"/>
                    <a:pt x="4033" y="114283"/>
                  </a:cubicBezTo>
                  <a:lnTo>
                    <a:pt x="4033" y="12549"/>
                  </a:lnTo>
                  <a:cubicBezTo>
                    <a:pt x="4033" y="8067"/>
                    <a:pt x="7619" y="4930"/>
                    <a:pt x="12101" y="4930"/>
                  </a:cubicBezTo>
                  <a:lnTo>
                    <a:pt x="140277" y="4930"/>
                  </a:lnTo>
                  <a:cubicBezTo>
                    <a:pt x="144759" y="4930"/>
                    <a:pt x="148344" y="8515"/>
                    <a:pt x="148344" y="12549"/>
                  </a:cubicBezTo>
                  <a:lnTo>
                    <a:pt x="148344" y="114283"/>
                  </a:lnTo>
                  <a:close/>
                </a:path>
              </a:pathLst>
            </a:custGeom>
            <a:solidFill>
              <a:srgbClr val="231F20"/>
            </a:solidFill>
            <a:ln w="4477" cap="flat">
              <a:noFill/>
              <a:prstDash val="solid"/>
              <a:miter/>
            </a:ln>
          </p:spPr>
          <p:txBody>
            <a:bodyPr rtlCol="0" anchor="ctr"/>
            <a:lstStyle/>
            <a:p>
              <a:endParaRPr lang="en-US"/>
            </a:p>
          </p:txBody>
        </p:sp>
        <p:sp>
          <p:nvSpPr>
            <p:cNvPr id="2496" name="Freeform: Shape 2495">
              <a:extLst>
                <a:ext uri="{FF2B5EF4-FFF2-40B4-BE49-F238E27FC236}">
                  <a16:creationId xmlns:a16="http://schemas.microsoft.com/office/drawing/2014/main" id="{8B35B837-3B9C-4E07-A093-11A2B68C88F4}"/>
                </a:ext>
              </a:extLst>
            </p:cNvPr>
            <p:cNvSpPr/>
            <p:nvPr/>
          </p:nvSpPr>
          <p:spPr>
            <a:xfrm>
              <a:off x="8894396" y="4231608"/>
              <a:ext cx="58262" cy="71707"/>
            </a:xfrm>
            <a:custGeom>
              <a:avLst/>
              <a:gdLst>
                <a:gd name="connsiteX0" fmla="*/ 56021 w 58262"/>
                <a:gd name="connsiteY0" fmla="*/ 26890 h 71707"/>
                <a:gd name="connsiteX1" fmla="*/ 51540 w 58262"/>
                <a:gd name="connsiteY1" fmla="*/ 26890 h 71707"/>
                <a:gd name="connsiteX2" fmla="*/ 51540 w 58262"/>
                <a:gd name="connsiteY2" fmla="*/ 22409 h 71707"/>
                <a:gd name="connsiteX3" fmla="*/ 29131 w 58262"/>
                <a:gd name="connsiteY3" fmla="*/ 0 h 71707"/>
                <a:gd name="connsiteX4" fmla="*/ 6723 w 58262"/>
                <a:gd name="connsiteY4" fmla="*/ 22409 h 71707"/>
                <a:gd name="connsiteX5" fmla="*/ 6723 w 58262"/>
                <a:gd name="connsiteY5" fmla="*/ 26890 h 71707"/>
                <a:gd name="connsiteX6" fmla="*/ 2241 w 58262"/>
                <a:gd name="connsiteY6" fmla="*/ 26890 h 71707"/>
                <a:gd name="connsiteX7" fmla="*/ 0 w 58262"/>
                <a:gd name="connsiteY7" fmla="*/ 29131 h 71707"/>
                <a:gd name="connsiteX8" fmla="*/ 0 w 58262"/>
                <a:gd name="connsiteY8" fmla="*/ 69466 h 71707"/>
                <a:gd name="connsiteX9" fmla="*/ 2241 w 58262"/>
                <a:gd name="connsiteY9" fmla="*/ 71707 h 71707"/>
                <a:gd name="connsiteX10" fmla="*/ 56021 w 58262"/>
                <a:gd name="connsiteY10" fmla="*/ 71707 h 71707"/>
                <a:gd name="connsiteX11" fmla="*/ 58262 w 58262"/>
                <a:gd name="connsiteY11" fmla="*/ 69466 h 71707"/>
                <a:gd name="connsiteX12" fmla="*/ 58262 w 58262"/>
                <a:gd name="connsiteY12" fmla="*/ 29131 h 71707"/>
                <a:gd name="connsiteX13" fmla="*/ 56021 w 58262"/>
                <a:gd name="connsiteY13" fmla="*/ 26890 h 71707"/>
                <a:gd name="connsiteX14" fmla="*/ 11204 w 58262"/>
                <a:gd name="connsiteY14" fmla="*/ 22409 h 71707"/>
                <a:gd name="connsiteX15" fmla="*/ 29131 w 58262"/>
                <a:gd name="connsiteY15" fmla="*/ 4482 h 71707"/>
                <a:gd name="connsiteX16" fmla="*/ 47058 w 58262"/>
                <a:gd name="connsiteY16" fmla="*/ 22409 h 71707"/>
                <a:gd name="connsiteX17" fmla="*/ 47058 w 58262"/>
                <a:gd name="connsiteY17" fmla="*/ 26890 h 71707"/>
                <a:gd name="connsiteX18" fmla="*/ 11204 w 58262"/>
                <a:gd name="connsiteY18" fmla="*/ 26890 h 71707"/>
                <a:gd name="connsiteX19" fmla="*/ 11204 w 58262"/>
                <a:gd name="connsiteY19" fmla="*/ 22409 h 71707"/>
                <a:gd name="connsiteX20" fmla="*/ 53780 w 58262"/>
                <a:gd name="connsiteY20" fmla="*/ 67226 h 71707"/>
                <a:gd name="connsiteX21" fmla="*/ 4482 w 58262"/>
                <a:gd name="connsiteY21" fmla="*/ 67226 h 71707"/>
                <a:gd name="connsiteX22" fmla="*/ 4482 w 58262"/>
                <a:gd name="connsiteY22" fmla="*/ 31372 h 71707"/>
                <a:gd name="connsiteX23" fmla="*/ 8963 w 58262"/>
                <a:gd name="connsiteY23" fmla="*/ 31372 h 71707"/>
                <a:gd name="connsiteX24" fmla="*/ 49299 w 58262"/>
                <a:gd name="connsiteY24" fmla="*/ 31372 h 71707"/>
                <a:gd name="connsiteX25" fmla="*/ 53780 w 58262"/>
                <a:gd name="connsiteY25" fmla="*/ 31372 h 71707"/>
                <a:gd name="connsiteX26" fmla="*/ 53780 w 58262"/>
                <a:gd name="connsiteY26" fmla="*/ 67226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262" h="71707">
                  <a:moveTo>
                    <a:pt x="56021" y="26890"/>
                  </a:moveTo>
                  <a:lnTo>
                    <a:pt x="51540" y="26890"/>
                  </a:lnTo>
                  <a:lnTo>
                    <a:pt x="51540" y="22409"/>
                  </a:lnTo>
                  <a:cubicBezTo>
                    <a:pt x="51540" y="9860"/>
                    <a:pt x="41680" y="0"/>
                    <a:pt x="29131" y="0"/>
                  </a:cubicBezTo>
                  <a:cubicBezTo>
                    <a:pt x="16582" y="0"/>
                    <a:pt x="6723" y="9860"/>
                    <a:pt x="6723" y="22409"/>
                  </a:cubicBezTo>
                  <a:lnTo>
                    <a:pt x="6723" y="26890"/>
                  </a:lnTo>
                  <a:lnTo>
                    <a:pt x="2241" y="26890"/>
                  </a:lnTo>
                  <a:cubicBezTo>
                    <a:pt x="896" y="26890"/>
                    <a:pt x="0" y="27787"/>
                    <a:pt x="0" y="29131"/>
                  </a:cubicBezTo>
                  <a:lnTo>
                    <a:pt x="0" y="69466"/>
                  </a:lnTo>
                  <a:cubicBezTo>
                    <a:pt x="0" y="70811"/>
                    <a:pt x="896" y="71707"/>
                    <a:pt x="2241" y="71707"/>
                  </a:cubicBezTo>
                  <a:lnTo>
                    <a:pt x="56021" y="71707"/>
                  </a:lnTo>
                  <a:cubicBezTo>
                    <a:pt x="57366" y="71707"/>
                    <a:pt x="58262" y="70811"/>
                    <a:pt x="58262" y="69466"/>
                  </a:cubicBezTo>
                  <a:lnTo>
                    <a:pt x="58262" y="29131"/>
                  </a:lnTo>
                  <a:cubicBezTo>
                    <a:pt x="58262" y="28235"/>
                    <a:pt x="57366" y="26890"/>
                    <a:pt x="56021" y="26890"/>
                  </a:cubicBezTo>
                  <a:close/>
                  <a:moveTo>
                    <a:pt x="11204" y="22409"/>
                  </a:moveTo>
                  <a:cubicBezTo>
                    <a:pt x="11204" y="12549"/>
                    <a:pt x="19271" y="4482"/>
                    <a:pt x="29131" y="4482"/>
                  </a:cubicBezTo>
                  <a:cubicBezTo>
                    <a:pt x="38991" y="4482"/>
                    <a:pt x="47058" y="12549"/>
                    <a:pt x="47058" y="22409"/>
                  </a:cubicBezTo>
                  <a:lnTo>
                    <a:pt x="47058" y="26890"/>
                  </a:lnTo>
                  <a:lnTo>
                    <a:pt x="11204" y="26890"/>
                  </a:lnTo>
                  <a:lnTo>
                    <a:pt x="11204" y="22409"/>
                  </a:lnTo>
                  <a:close/>
                  <a:moveTo>
                    <a:pt x="53780" y="67226"/>
                  </a:moveTo>
                  <a:lnTo>
                    <a:pt x="4482" y="67226"/>
                  </a:lnTo>
                  <a:lnTo>
                    <a:pt x="4482" y="31372"/>
                  </a:lnTo>
                  <a:lnTo>
                    <a:pt x="8963" y="31372"/>
                  </a:lnTo>
                  <a:lnTo>
                    <a:pt x="49299" y="31372"/>
                  </a:lnTo>
                  <a:lnTo>
                    <a:pt x="53780" y="31372"/>
                  </a:lnTo>
                  <a:lnTo>
                    <a:pt x="53780" y="67226"/>
                  </a:lnTo>
                  <a:close/>
                </a:path>
              </a:pathLst>
            </a:custGeom>
            <a:solidFill>
              <a:srgbClr val="231F20"/>
            </a:solidFill>
            <a:ln w="4477" cap="flat">
              <a:noFill/>
              <a:prstDash val="solid"/>
              <a:miter/>
            </a:ln>
          </p:spPr>
          <p:txBody>
            <a:bodyPr rtlCol="0" anchor="ctr"/>
            <a:lstStyle/>
            <a:p>
              <a:endParaRPr lang="en-US"/>
            </a:p>
          </p:txBody>
        </p:sp>
        <p:sp>
          <p:nvSpPr>
            <p:cNvPr id="2497" name="Freeform: Shape 2496">
              <a:extLst>
                <a:ext uri="{FF2B5EF4-FFF2-40B4-BE49-F238E27FC236}">
                  <a16:creationId xmlns:a16="http://schemas.microsoft.com/office/drawing/2014/main" id="{FB1EDAF2-9BCE-4CB8-95E7-AFC3BFBAF1EA}"/>
                </a:ext>
              </a:extLst>
            </p:cNvPr>
            <p:cNvSpPr/>
            <p:nvPr/>
          </p:nvSpPr>
          <p:spPr>
            <a:xfrm>
              <a:off x="8916805" y="4274184"/>
              <a:ext cx="13445" cy="17927"/>
            </a:xfrm>
            <a:custGeom>
              <a:avLst/>
              <a:gdLst>
                <a:gd name="connsiteX0" fmla="*/ 6723 w 13445"/>
                <a:gd name="connsiteY0" fmla="*/ 0 h 17926"/>
                <a:gd name="connsiteX1" fmla="*/ 0 w 13445"/>
                <a:gd name="connsiteY1" fmla="*/ 6723 h 17926"/>
                <a:gd name="connsiteX2" fmla="*/ 4482 w 13445"/>
                <a:gd name="connsiteY2" fmla="*/ 12997 h 17926"/>
                <a:gd name="connsiteX3" fmla="*/ 4482 w 13445"/>
                <a:gd name="connsiteY3" fmla="*/ 20168 h 17926"/>
                <a:gd name="connsiteX4" fmla="*/ 8963 w 13445"/>
                <a:gd name="connsiteY4" fmla="*/ 20168 h 17926"/>
                <a:gd name="connsiteX5" fmla="*/ 8963 w 13445"/>
                <a:gd name="connsiteY5" fmla="*/ 12997 h 17926"/>
                <a:gd name="connsiteX6" fmla="*/ 13445 w 13445"/>
                <a:gd name="connsiteY6" fmla="*/ 6723 h 17926"/>
                <a:gd name="connsiteX7" fmla="*/ 6723 w 13445"/>
                <a:gd name="connsiteY7" fmla="*/ 0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45" h="17926">
                  <a:moveTo>
                    <a:pt x="6723" y="0"/>
                  </a:moveTo>
                  <a:cubicBezTo>
                    <a:pt x="3137" y="0"/>
                    <a:pt x="0" y="3137"/>
                    <a:pt x="0" y="6723"/>
                  </a:cubicBezTo>
                  <a:cubicBezTo>
                    <a:pt x="0" y="9860"/>
                    <a:pt x="1793" y="12101"/>
                    <a:pt x="4482" y="12997"/>
                  </a:cubicBezTo>
                  <a:lnTo>
                    <a:pt x="4482" y="20168"/>
                  </a:lnTo>
                  <a:lnTo>
                    <a:pt x="8963" y="20168"/>
                  </a:lnTo>
                  <a:lnTo>
                    <a:pt x="8963" y="12997"/>
                  </a:lnTo>
                  <a:cubicBezTo>
                    <a:pt x="11653" y="12101"/>
                    <a:pt x="13445" y="9412"/>
                    <a:pt x="13445" y="6723"/>
                  </a:cubicBezTo>
                  <a:cubicBezTo>
                    <a:pt x="13445" y="3137"/>
                    <a:pt x="10308" y="0"/>
                    <a:pt x="6723" y="0"/>
                  </a:cubicBezTo>
                  <a:close/>
                </a:path>
              </a:pathLst>
            </a:custGeom>
            <a:solidFill>
              <a:srgbClr val="231F20"/>
            </a:solidFill>
            <a:ln w="4477" cap="flat">
              <a:noFill/>
              <a:prstDash val="solid"/>
              <a:miter/>
            </a:ln>
          </p:spPr>
          <p:txBody>
            <a:bodyPr rtlCol="0" anchor="ctr"/>
            <a:lstStyle/>
            <a:p>
              <a:endParaRPr lang="en-US"/>
            </a:p>
          </p:txBody>
        </p:sp>
      </p:grpSp>
      <p:grpSp>
        <p:nvGrpSpPr>
          <p:cNvPr id="2474" name="Group 2473">
            <a:extLst>
              <a:ext uri="{FF2B5EF4-FFF2-40B4-BE49-F238E27FC236}">
                <a16:creationId xmlns:a16="http://schemas.microsoft.com/office/drawing/2014/main" id="{5BDF6772-9570-4CD0-8717-9166C7463784}"/>
              </a:ext>
              <a:ext uri="{C183D7F6-B498-43B3-948B-1728B52AA6E4}">
                <adec:decorative xmlns:adec="http://schemas.microsoft.com/office/drawing/2017/decorative" val="1"/>
              </a:ext>
            </a:extLst>
          </p:cNvPr>
          <p:cNvGrpSpPr>
            <a:grpSpLocks noChangeAspect="1"/>
          </p:cNvGrpSpPr>
          <p:nvPr/>
        </p:nvGrpSpPr>
        <p:grpSpPr>
          <a:xfrm>
            <a:off x="7471410" y="1718021"/>
            <a:ext cx="152378" cy="152378"/>
            <a:chOff x="9637014" y="4204718"/>
            <a:chExt cx="152378" cy="152378"/>
          </a:xfrm>
        </p:grpSpPr>
        <p:sp>
          <p:nvSpPr>
            <p:cNvPr id="2493" name="Freeform: Shape 2492">
              <a:extLst>
                <a:ext uri="{FF2B5EF4-FFF2-40B4-BE49-F238E27FC236}">
                  <a16:creationId xmlns:a16="http://schemas.microsoft.com/office/drawing/2014/main" id="{E6809F73-74DE-4CF2-BC40-28AE199B29B7}"/>
                </a:ext>
              </a:extLst>
            </p:cNvPr>
            <p:cNvSpPr/>
            <p:nvPr/>
          </p:nvSpPr>
          <p:spPr>
            <a:xfrm>
              <a:off x="9637014" y="4204718"/>
              <a:ext cx="152378" cy="152378"/>
            </a:xfrm>
            <a:custGeom>
              <a:avLst/>
              <a:gdLst>
                <a:gd name="connsiteX0" fmla="*/ 29579 w 152377"/>
                <a:gd name="connsiteY0" fmla="*/ 152378 h 152377"/>
                <a:gd name="connsiteX1" fmla="*/ 28683 w 152377"/>
                <a:gd name="connsiteY1" fmla="*/ 151930 h 152377"/>
                <a:gd name="connsiteX2" fmla="*/ 27338 w 152377"/>
                <a:gd name="connsiteY2" fmla="*/ 150137 h 152377"/>
                <a:gd name="connsiteX3" fmla="*/ 27338 w 152377"/>
                <a:gd name="connsiteY3" fmla="*/ 125936 h 152377"/>
                <a:gd name="connsiteX4" fmla="*/ 12549 w 152377"/>
                <a:gd name="connsiteY4" fmla="*/ 125936 h 152377"/>
                <a:gd name="connsiteX5" fmla="*/ 0 w 152377"/>
                <a:gd name="connsiteY5" fmla="*/ 114283 h 152377"/>
                <a:gd name="connsiteX6" fmla="*/ 0 w 152377"/>
                <a:gd name="connsiteY6" fmla="*/ 12101 h 152377"/>
                <a:gd name="connsiteX7" fmla="*/ 12549 w 152377"/>
                <a:gd name="connsiteY7" fmla="*/ 0 h 152377"/>
                <a:gd name="connsiteX8" fmla="*/ 140277 w 152377"/>
                <a:gd name="connsiteY8" fmla="*/ 0 h 152377"/>
                <a:gd name="connsiteX9" fmla="*/ 152826 w 152377"/>
                <a:gd name="connsiteY9" fmla="*/ 12101 h 152377"/>
                <a:gd name="connsiteX10" fmla="*/ 152826 w 152377"/>
                <a:gd name="connsiteY10" fmla="*/ 113835 h 152377"/>
                <a:gd name="connsiteX11" fmla="*/ 140277 w 152377"/>
                <a:gd name="connsiteY11" fmla="*/ 125488 h 152377"/>
                <a:gd name="connsiteX12" fmla="*/ 70363 w 152377"/>
                <a:gd name="connsiteY12" fmla="*/ 125488 h 152377"/>
                <a:gd name="connsiteX13" fmla="*/ 30476 w 152377"/>
                <a:gd name="connsiteY13" fmla="*/ 151930 h 152377"/>
                <a:gd name="connsiteX14" fmla="*/ 29579 w 152377"/>
                <a:gd name="connsiteY14" fmla="*/ 152378 h 152377"/>
                <a:gd name="connsiteX15" fmla="*/ 12549 w 152377"/>
                <a:gd name="connsiteY15" fmla="*/ 4482 h 152377"/>
                <a:gd name="connsiteX16" fmla="*/ 4482 w 152377"/>
                <a:gd name="connsiteY16" fmla="*/ 12101 h 152377"/>
                <a:gd name="connsiteX17" fmla="*/ 4482 w 152377"/>
                <a:gd name="connsiteY17" fmla="*/ 113835 h 152377"/>
                <a:gd name="connsiteX18" fmla="*/ 12549 w 152377"/>
                <a:gd name="connsiteY18" fmla="*/ 121006 h 152377"/>
                <a:gd name="connsiteX19" fmla="*/ 29579 w 152377"/>
                <a:gd name="connsiteY19" fmla="*/ 121006 h 152377"/>
                <a:gd name="connsiteX20" fmla="*/ 31820 w 152377"/>
                <a:gd name="connsiteY20" fmla="*/ 123247 h 152377"/>
                <a:gd name="connsiteX21" fmla="*/ 31820 w 152377"/>
                <a:gd name="connsiteY21" fmla="*/ 145655 h 152377"/>
                <a:gd name="connsiteX22" fmla="*/ 68570 w 152377"/>
                <a:gd name="connsiteY22" fmla="*/ 121454 h 152377"/>
                <a:gd name="connsiteX23" fmla="*/ 69914 w 152377"/>
                <a:gd name="connsiteY23" fmla="*/ 121006 h 152377"/>
                <a:gd name="connsiteX24" fmla="*/ 140726 w 152377"/>
                <a:gd name="connsiteY24" fmla="*/ 121006 h 152377"/>
                <a:gd name="connsiteX25" fmla="*/ 148793 w 152377"/>
                <a:gd name="connsiteY25" fmla="*/ 113835 h 152377"/>
                <a:gd name="connsiteX26" fmla="*/ 148793 w 152377"/>
                <a:gd name="connsiteY26" fmla="*/ 12101 h 152377"/>
                <a:gd name="connsiteX27" fmla="*/ 140726 w 152377"/>
                <a:gd name="connsiteY27" fmla="*/ 4482 h 152377"/>
                <a:gd name="connsiteX28" fmla="*/ 12549 w 152377"/>
                <a:gd name="connsiteY28"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52377">
                  <a:moveTo>
                    <a:pt x="29579" y="152378"/>
                  </a:moveTo>
                  <a:cubicBezTo>
                    <a:pt x="29131" y="152378"/>
                    <a:pt x="28683" y="152378"/>
                    <a:pt x="28683" y="151930"/>
                  </a:cubicBezTo>
                  <a:cubicBezTo>
                    <a:pt x="27787" y="151482"/>
                    <a:pt x="27338" y="150585"/>
                    <a:pt x="27338" y="150137"/>
                  </a:cubicBezTo>
                  <a:lnTo>
                    <a:pt x="27338" y="125936"/>
                  </a:lnTo>
                  <a:lnTo>
                    <a:pt x="12549" y="125936"/>
                  </a:lnTo>
                  <a:cubicBezTo>
                    <a:pt x="5378" y="125936"/>
                    <a:pt x="0" y="121006"/>
                    <a:pt x="0" y="114283"/>
                  </a:cubicBezTo>
                  <a:lnTo>
                    <a:pt x="0" y="12101"/>
                  </a:lnTo>
                  <a:cubicBezTo>
                    <a:pt x="0" y="5378"/>
                    <a:pt x="5378" y="0"/>
                    <a:pt x="12549" y="0"/>
                  </a:cubicBezTo>
                  <a:lnTo>
                    <a:pt x="140277" y="0"/>
                  </a:lnTo>
                  <a:cubicBezTo>
                    <a:pt x="147000" y="0"/>
                    <a:pt x="152826" y="5378"/>
                    <a:pt x="152826" y="12101"/>
                  </a:cubicBezTo>
                  <a:lnTo>
                    <a:pt x="152826" y="113835"/>
                  </a:lnTo>
                  <a:cubicBezTo>
                    <a:pt x="152826" y="120558"/>
                    <a:pt x="147448" y="125488"/>
                    <a:pt x="140277" y="125488"/>
                  </a:cubicBezTo>
                  <a:lnTo>
                    <a:pt x="70363" y="125488"/>
                  </a:lnTo>
                  <a:lnTo>
                    <a:pt x="30476" y="151930"/>
                  </a:lnTo>
                  <a:cubicBezTo>
                    <a:pt x="30476" y="152378"/>
                    <a:pt x="30027" y="152378"/>
                    <a:pt x="29579" y="152378"/>
                  </a:cubicBezTo>
                  <a:close/>
                  <a:moveTo>
                    <a:pt x="12549" y="4482"/>
                  </a:moveTo>
                  <a:cubicBezTo>
                    <a:pt x="8067" y="4482"/>
                    <a:pt x="4482" y="8067"/>
                    <a:pt x="4482" y="12101"/>
                  </a:cubicBezTo>
                  <a:lnTo>
                    <a:pt x="4482" y="113835"/>
                  </a:lnTo>
                  <a:cubicBezTo>
                    <a:pt x="4482" y="117869"/>
                    <a:pt x="7619" y="121006"/>
                    <a:pt x="12549" y="121006"/>
                  </a:cubicBezTo>
                  <a:lnTo>
                    <a:pt x="29579" y="121006"/>
                  </a:lnTo>
                  <a:cubicBezTo>
                    <a:pt x="30924" y="121006"/>
                    <a:pt x="31820" y="121902"/>
                    <a:pt x="31820" y="123247"/>
                  </a:cubicBezTo>
                  <a:lnTo>
                    <a:pt x="31820" y="145655"/>
                  </a:lnTo>
                  <a:lnTo>
                    <a:pt x="68570" y="121454"/>
                  </a:lnTo>
                  <a:cubicBezTo>
                    <a:pt x="69018" y="121006"/>
                    <a:pt x="69466" y="121006"/>
                    <a:pt x="69914" y="121006"/>
                  </a:cubicBezTo>
                  <a:lnTo>
                    <a:pt x="140726" y="121006"/>
                  </a:lnTo>
                  <a:cubicBezTo>
                    <a:pt x="145207" y="121006"/>
                    <a:pt x="148793" y="117869"/>
                    <a:pt x="148793" y="113835"/>
                  </a:cubicBezTo>
                  <a:lnTo>
                    <a:pt x="148793" y="12101"/>
                  </a:lnTo>
                  <a:cubicBezTo>
                    <a:pt x="148793" y="7619"/>
                    <a:pt x="145207" y="4482"/>
                    <a:pt x="140726" y="4482"/>
                  </a:cubicBezTo>
                  <a:lnTo>
                    <a:pt x="12549" y="4482"/>
                  </a:lnTo>
                  <a:close/>
                </a:path>
              </a:pathLst>
            </a:custGeom>
            <a:solidFill>
              <a:srgbClr val="231F20"/>
            </a:solidFill>
            <a:ln w="4477" cap="flat">
              <a:noFill/>
              <a:prstDash val="solid"/>
              <a:miter/>
            </a:ln>
          </p:spPr>
          <p:txBody>
            <a:bodyPr rtlCol="0" anchor="ctr"/>
            <a:lstStyle/>
            <a:p>
              <a:endParaRPr lang="en-US"/>
            </a:p>
          </p:txBody>
        </p:sp>
        <p:sp>
          <p:nvSpPr>
            <p:cNvPr id="2494" name="Freeform: Shape 2493">
              <a:extLst>
                <a:ext uri="{FF2B5EF4-FFF2-40B4-BE49-F238E27FC236}">
                  <a16:creationId xmlns:a16="http://schemas.microsoft.com/office/drawing/2014/main" id="{BDFE1F36-BE06-4D86-B906-7D09E0384ED8}"/>
                </a:ext>
              </a:extLst>
            </p:cNvPr>
            <p:cNvSpPr/>
            <p:nvPr/>
          </p:nvSpPr>
          <p:spPr>
            <a:xfrm>
              <a:off x="9686537" y="4250207"/>
              <a:ext cx="53780" cy="35854"/>
            </a:xfrm>
            <a:custGeom>
              <a:avLst/>
              <a:gdLst>
                <a:gd name="connsiteX0" fmla="*/ 20392 w 53780"/>
                <a:gd name="connsiteY0" fmla="*/ 39663 h 35853"/>
                <a:gd name="connsiteX1" fmla="*/ 18599 w 53780"/>
                <a:gd name="connsiteY1" fmla="*/ 39215 h 35853"/>
                <a:gd name="connsiteX2" fmla="*/ 672 w 53780"/>
                <a:gd name="connsiteY2" fmla="*/ 21288 h 35853"/>
                <a:gd name="connsiteX3" fmla="*/ 672 w 53780"/>
                <a:gd name="connsiteY3" fmla="*/ 18151 h 35853"/>
                <a:gd name="connsiteX4" fmla="*/ 3810 w 53780"/>
                <a:gd name="connsiteY4" fmla="*/ 18151 h 35853"/>
                <a:gd name="connsiteX5" fmla="*/ 19944 w 53780"/>
                <a:gd name="connsiteY5" fmla="*/ 34285 h 35853"/>
                <a:gd name="connsiteX6" fmla="*/ 53556 w 53780"/>
                <a:gd name="connsiteY6" fmla="*/ 672 h 35853"/>
                <a:gd name="connsiteX7" fmla="*/ 56694 w 53780"/>
                <a:gd name="connsiteY7" fmla="*/ 672 h 35853"/>
                <a:gd name="connsiteX8" fmla="*/ 56694 w 53780"/>
                <a:gd name="connsiteY8" fmla="*/ 3809 h 35853"/>
                <a:gd name="connsiteX9" fmla="*/ 21736 w 53780"/>
                <a:gd name="connsiteY9" fmla="*/ 38767 h 35853"/>
                <a:gd name="connsiteX10" fmla="*/ 20392 w 53780"/>
                <a:gd name="connsiteY10" fmla="*/ 39663 h 3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780" h="35853">
                  <a:moveTo>
                    <a:pt x="20392" y="39663"/>
                  </a:moveTo>
                  <a:cubicBezTo>
                    <a:pt x="19944" y="39663"/>
                    <a:pt x="19047" y="39663"/>
                    <a:pt x="18599" y="39215"/>
                  </a:cubicBezTo>
                  <a:lnTo>
                    <a:pt x="672" y="21288"/>
                  </a:lnTo>
                  <a:cubicBezTo>
                    <a:pt x="-224" y="20392"/>
                    <a:pt x="-224" y="19047"/>
                    <a:pt x="672" y="18151"/>
                  </a:cubicBezTo>
                  <a:cubicBezTo>
                    <a:pt x="1569" y="17254"/>
                    <a:pt x="2913" y="17254"/>
                    <a:pt x="3810" y="18151"/>
                  </a:cubicBezTo>
                  <a:lnTo>
                    <a:pt x="19944" y="34285"/>
                  </a:lnTo>
                  <a:lnTo>
                    <a:pt x="53556" y="672"/>
                  </a:lnTo>
                  <a:cubicBezTo>
                    <a:pt x="54453" y="-224"/>
                    <a:pt x="55797" y="-224"/>
                    <a:pt x="56694" y="672"/>
                  </a:cubicBezTo>
                  <a:cubicBezTo>
                    <a:pt x="57590" y="1568"/>
                    <a:pt x="57590" y="2913"/>
                    <a:pt x="56694" y="3809"/>
                  </a:cubicBezTo>
                  <a:lnTo>
                    <a:pt x="21736" y="38767"/>
                  </a:lnTo>
                  <a:cubicBezTo>
                    <a:pt x="21288" y="39663"/>
                    <a:pt x="20840" y="39663"/>
                    <a:pt x="20392" y="39663"/>
                  </a:cubicBezTo>
                  <a:close/>
                </a:path>
              </a:pathLst>
            </a:custGeom>
            <a:solidFill>
              <a:srgbClr val="231F20"/>
            </a:solidFill>
            <a:ln w="4477" cap="flat">
              <a:noFill/>
              <a:prstDash val="solid"/>
              <a:miter/>
            </a:ln>
          </p:spPr>
          <p:txBody>
            <a:bodyPr rtlCol="0" anchor="ctr"/>
            <a:lstStyle/>
            <a:p>
              <a:endParaRPr lang="en-US"/>
            </a:p>
          </p:txBody>
        </p:sp>
      </p:grpSp>
      <p:grpSp>
        <p:nvGrpSpPr>
          <p:cNvPr id="2475" name="Group 2474">
            <a:extLst>
              <a:ext uri="{FF2B5EF4-FFF2-40B4-BE49-F238E27FC236}">
                <a16:creationId xmlns:a16="http://schemas.microsoft.com/office/drawing/2014/main" id="{D9C4797B-8E10-46CD-A935-F8733C5C27FA}"/>
              </a:ext>
              <a:ext uri="{C183D7F6-B498-43B3-948B-1728B52AA6E4}">
                <adec:decorative xmlns:adec="http://schemas.microsoft.com/office/drawing/2017/decorative" val="1"/>
              </a:ext>
            </a:extLst>
          </p:cNvPr>
          <p:cNvGrpSpPr>
            <a:grpSpLocks noChangeAspect="1"/>
          </p:cNvGrpSpPr>
          <p:nvPr/>
        </p:nvGrpSpPr>
        <p:grpSpPr>
          <a:xfrm>
            <a:off x="8001595" y="1718469"/>
            <a:ext cx="152378" cy="147896"/>
            <a:chOff x="10167199" y="4205166"/>
            <a:chExt cx="152378" cy="147896"/>
          </a:xfrm>
        </p:grpSpPr>
        <p:sp>
          <p:nvSpPr>
            <p:cNvPr id="2490" name="Freeform: Shape 2489">
              <a:extLst>
                <a:ext uri="{FF2B5EF4-FFF2-40B4-BE49-F238E27FC236}">
                  <a16:creationId xmlns:a16="http://schemas.microsoft.com/office/drawing/2014/main" id="{7A660847-0150-4DAC-AAE2-9B8663EB9878}"/>
                </a:ext>
              </a:extLst>
            </p:cNvPr>
            <p:cNvSpPr/>
            <p:nvPr/>
          </p:nvSpPr>
          <p:spPr>
            <a:xfrm>
              <a:off x="10167199" y="4205166"/>
              <a:ext cx="152378" cy="147896"/>
            </a:xfrm>
            <a:custGeom>
              <a:avLst/>
              <a:gdLst>
                <a:gd name="connsiteX0" fmla="*/ 29579 w 152377"/>
                <a:gd name="connsiteY0" fmla="*/ 151930 h 147896"/>
                <a:gd name="connsiteX1" fmla="*/ 28683 w 152377"/>
                <a:gd name="connsiteY1" fmla="*/ 151482 h 147896"/>
                <a:gd name="connsiteX2" fmla="*/ 27339 w 152377"/>
                <a:gd name="connsiteY2" fmla="*/ 149689 h 147896"/>
                <a:gd name="connsiteX3" fmla="*/ 27339 w 152377"/>
                <a:gd name="connsiteY3" fmla="*/ 125488 h 147896"/>
                <a:gd name="connsiteX4" fmla="*/ 12549 w 152377"/>
                <a:gd name="connsiteY4" fmla="*/ 125488 h 147896"/>
                <a:gd name="connsiteX5" fmla="*/ 0 w 152377"/>
                <a:gd name="connsiteY5" fmla="*/ 113835 h 147896"/>
                <a:gd name="connsiteX6" fmla="*/ 0 w 152377"/>
                <a:gd name="connsiteY6" fmla="*/ 12100 h 147896"/>
                <a:gd name="connsiteX7" fmla="*/ 12549 w 152377"/>
                <a:gd name="connsiteY7" fmla="*/ 0 h 147896"/>
                <a:gd name="connsiteX8" fmla="*/ 140277 w 152377"/>
                <a:gd name="connsiteY8" fmla="*/ 0 h 147896"/>
                <a:gd name="connsiteX9" fmla="*/ 152826 w 152377"/>
                <a:gd name="connsiteY9" fmla="*/ 12100 h 147896"/>
                <a:gd name="connsiteX10" fmla="*/ 152826 w 152377"/>
                <a:gd name="connsiteY10" fmla="*/ 113835 h 147896"/>
                <a:gd name="connsiteX11" fmla="*/ 140277 w 152377"/>
                <a:gd name="connsiteY11" fmla="*/ 125488 h 147896"/>
                <a:gd name="connsiteX12" fmla="*/ 70363 w 152377"/>
                <a:gd name="connsiteY12" fmla="*/ 125488 h 147896"/>
                <a:gd name="connsiteX13" fmla="*/ 30476 w 152377"/>
                <a:gd name="connsiteY13" fmla="*/ 151930 h 147896"/>
                <a:gd name="connsiteX14" fmla="*/ 29579 w 152377"/>
                <a:gd name="connsiteY14" fmla="*/ 151930 h 147896"/>
                <a:gd name="connsiteX15" fmla="*/ 12549 w 152377"/>
                <a:gd name="connsiteY15" fmla="*/ 4033 h 147896"/>
                <a:gd name="connsiteX16" fmla="*/ 4482 w 152377"/>
                <a:gd name="connsiteY16" fmla="*/ 11652 h 147896"/>
                <a:gd name="connsiteX17" fmla="*/ 4482 w 152377"/>
                <a:gd name="connsiteY17" fmla="*/ 113387 h 147896"/>
                <a:gd name="connsiteX18" fmla="*/ 12549 w 152377"/>
                <a:gd name="connsiteY18" fmla="*/ 120558 h 147896"/>
                <a:gd name="connsiteX19" fmla="*/ 29579 w 152377"/>
                <a:gd name="connsiteY19" fmla="*/ 120558 h 147896"/>
                <a:gd name="connsiteX20" fmla="*/ 31820 w 152377"/>
                <a:gd name="connsiteY20" fmla="*/ 122798 h 147896"/>
                <a:gd name="connsiteX21" fmla="*/ 31820 w 152377"/>
                <a:gd name="connsiteY21" fmla="*/ 145207 h 147896"/>
                <a:gd name="connsiteX22" fmla="*/ 68570 w 152377"/>
                <a:gd name="connsiteY22" fmla="*/ 121006 h 147896"/>
                <a:gd name="connsiteX23" fmla="*/ 69915 w 152377"/>
                <a:gd name="connsiteY23" fmla="*/ 120558 h 147896"/>
                <a:gd name="connsiteX24" fmla="*/ 140726 w 152377"/>
                <a:gd name="connsiteY24" fmla="*/ 120558 h 147896"/>
                <a:gd name="connsiteX25" fmla="*/ 148793 w 152377"/>
                <a:gd name="connsiteY25" fmla="*/ 113387 h 147896"/>
                <a:gd name="connsiteX26" fmla="*/ 148793 w 152377"/>
                <a:gd name="connsiteY26" fmla="*/ 11652 h 147896"/>
                <a:gd name="connsiteX27" fmla="*/ 140726 w 152377"/>
                <a:gd name="connsiteY27" fmla="*/ 4033 h 147896"/>
                <a:gd name="connsiteX28" fmla="*/ 12549 w 152377"/>
                <a:gd name="connsiteY28" fmla="*/ 403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29579" y="151930"/>
                  </a:moveTo>
                  <a:cubicBezTo>
                    <a:pt x="29131" y="151930"/>
                    <a:pt x="28683" y="151930"/>
                    <a:pt x="28683" y="151482"/>
                  </a:cubicBezTo>
                  <a:cubicBezTo>
                    <a:pt x="27787" y="151033"/>
                    <a:pt x="27339" y="150137"/>
                    <a:pt x="27339" y="149689"/>
                  </a:cubicBezTo>
                  <a:lnTo>
                    <a:pt x="27339" y="125488"/>
                  </a:lnTo>
                  <a:lnTo>
                    <a:pt x="12549" y="125488"/>
                  </a:lnTo>
                  <a:cubicBezTo>
                    <a:pt x="5378" y="125488"/>
                    <a:pt x="0" y="120558"/>
                    <a:pt x="0" y="113835"/>
                  </a:cubicBezTo>
                  <a:lnTo>
                    <a:pt x="0" y="12100"/>
                  </a:lnTo>
                  <a:cubicBezTo>
                    <a:pt x="0" y="5378"/>
                    <a:pt x="5378" y="0"/>
                    <a:pt x="12549" y="0"/>
                  </a:cubicBezTo>
                  <a:lnTo>
                    <a:pt x="140277" y="0"/>
                  </a:lnTo>
                  <a:cubicBezTo>
                    <a:pt x="147000" y="0"/>
                    <a:pt x="152826" y="5378"/>
                    <a:pt x="152826" y="12100"/>
                  </a:cubicBezTo>
                  <a:lnTo>
                    <a:pt x="152826" y="113835"/>
                  </a:lnTo>
                  <a:cubicBezTo>
                    <a:pt x="152826" y="120558"/>
                    <a:pt x="147448" y="125488"/>
                    <a:pt x="140277" y="125488"/>
                  </a:cubicBezTo>
                  <a:lnTo>
                    <a:pt x="70363" y="125488"/>
                  </a:lnTo>
                  <a:lnTo>
                    <a:pt x="30476" y="151930"/>
                  </a:lnTo>
                  <a:cubicBezTo>
                    <a:pt x="30476" y="151930"/>
                    <a:pt x="30027" y="151930"/>
                    <a:pt x="29579" y="151930"/>
                  </a:cubicBezTo>
                  <a:close/>
                  <a:moveTo>
                    <a:pt x="12549" y="4033"/>
                  </a:moveTo>
                  <a:cubicBezTo>
                    <a:pt x="8067" y="4033"/>
                    <a:pt x="4482" y="7619"/>
                    <a:pt x="4482" y="11652"/>
                  </a:cubicBezTo>
                  <a:lnTo>
                    <a:pt x="4482" y="113387"/>
                  </a:lnTo>
                  <a:cubicBezTo>
                    <a:pt x="4482" y="117420"/>
                    <a:pt x="7619" y="120558"/>
                    <a:pt x="12549" y="120558"/>
                  </a:cubicBezTo>
                  <a:lnTo>
                    <a:pt x="29579" y="120558"/>
                  </a:lnTo>
                  <a:cubicBezTo>
                    <a:pt x="30924" y="120558"/>
                    <a:pt x="31820" y="121454"/>
                    <a:pt x="31820" y="122798"/>
                  </a:cubicBezTo>
                  <a:lnTo>
                    <a:pt x="31820" y="145207"/>
                  </a:lnTo>
                  <a:lnTo>
                    <a:pt x="68570" y="121006"/>
                  </a:lnTo>
                  <a:cubicBezTo>
                    <a:pt x="69018" y="120558"/>
                    <a:pt x="69466" y="120558"/>
                    <a:pt x="69915" y="120558"/>
                  </a:cubicBezTo>
                  <a:lnTo>
                    <a:pt x="140726" y="120558"/>
                  </a:lnTo>
                  <a:cubicBezTo>
                    <a:pt x="145207" y="120558"/>
                    <a:pt x="148793" y="117420"/>
                    <a:pt x="148793" y="113387"/>
                  </a:cubicBezTo>
                  <a:lnTo>
                    <a:pt x="148793" y="11652"/>
                  </a:lnTo>
                  <a:cubicBezTo>
                    <a:pt x="148793" y="7171"/>
                    <a:pt x="145207" y="4033"/>
                    <a:pt x="140726" y="4033"/>
                  </a:cubicBezTo>
                  <a:lnTo>
                    <a:pt x="12549" y="4033"/>
                  </a:lnTo>
                  <a:close/>
                </a:path>
              </a:pathLst>
            </a:custGeom>
            <a:solidFill>
              <a:srgbClr val="231F20"/>
            </a:solidFill>
            <a:ln w="4477" cap="flat">
              <a:noFill/>
              <a:prstDash val="solid"/>
              <a:miter/>
            </a:ln>
          </p:spPr>
          <p:txBody>
            <a:bodyPr rtlCol="0" anchor="ctr"/>
            <a:lstStyle/>
            <a:p>
              <a:endParaRPr lang="en-US"/>
            </a:p>
          </p:txBody>
        </p:sp>
        <p:sp>
          <p:nvSpPr>
            <p:cNvPr id="2491" name="Freeform: Shape 2490">
              <a:extLst>
                <a:ext uri="{FF2B5EF4-FFF2-40B4-BE49-F238E27FC236}">
                  <a16:creationId xmlns:a16="http://schemas.microsoft.com/office/drawing/2014/main" id="{7348CB09-A809-4B11-8757-2105A604170A}"/>
                </a:ext>
              </a:extLst>
            </p:cNvPr>
            <p:cNvSpPr/>
            <p:nvPr/>
          </p:nvSpPr>
          <p:spPr>
            <a:xfrm>
              <a:off x="10232184" y="4256257"/>
              <a:ext cx="22409" cy="22409"/>
            </a:xfrm>
            <a:custGeom>
              <a:avLst/>
              <a:gdLst>
                <a:gd name="connsiteX0" fmla="*/ 11653 w 22408"/>
                <a:gd name="connsiteY0" fmla="*/ 23305 h 22408"/>
                <a:gd name="connsiteX1" fmla="*/ 0 w 22408"/>
                <a:gd name="connsiteY1" fmla="*/ 11653 h 22408"/>
                <a:gd name="connsiteX2" fmla="*/ 11653 w 22408"/>
                <a:gd name="connsiteY2" fmla="*/ 0 h 22408"/>
                <a:gd name="connsiteX3" fmla="*/ 23305 w 22408"/>
                <a:gd name="connsiteY3" fmla="*/ 11653 h 22408"/>
                <a:gd name="connsiteX4" fmla="*/ 11653 w 22408"/>
                <a:gd name="connsiteY4" fmla="*/ 23305 h 22408"/>
                <a:gd name="connsiteX5" fmla="*/ 11653 w 22408"/>
                <a:gd name="connsiteY5" fmla="*/ 4034 h 22408"/>
                <a:gd name="connsiteX6" fmla="*/ 4482 w 22408"/>
                <a:gd name="connsiteY6" fmla="*/ 11204 h 22408"/>
                <a:gd name="connsiteX7" fmla="*/ 11653 w 22408"/>
                <a:gd name="connsiteY7" fmla="*/ 18375 h 22408"/>
                <a:gd name="connsiteX8" fmla="*/ 18823 w 22408"/>
                <a:gd name="connsiteY8" fmla="*/ 11204 h 22408"/>
                <a:gd name="connsiteX9" fmla="*/ 11653 w 22408"/>
                <a:gd name="connsiteY9" fmla="*/ 4034 h 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8" h="22408">
                  <a:moveTo>
                    <a:pt x="11653" y="23305"/>
                  </a:moveTo>
                  <a:cubicBezTo>
                    <a:pt x="4930" y="23305"/>
                    <a:pt x="0" y="17927"/>
                    <a:pt x="0" y="11653"/>
                  </a:cubicBezTo>
                  <a:cubicBezTo>
                    <a:pt x="0" y="5378"/>
                    <a:pt x="5378" y="0"/>
                    <a:pt x="11653" y="0"/>
                  </a:cubicBezTo>
                  <a:cubicBezTo>
                    <a:pt x="17927" y="0"/>
                    <a:pt x="23305" y="5378"/>
                    <a:pt x="23305" y="11653"/>
                  </a:cubicBezTo>
                  <a:cubicBezTo>
                    <a:pt x="23305" y="17927"/>
                    <a:pt x="17927" y="23305"/>
                    <a:pt x="11653" y="23305"/>
                  </a:cubicBezTo>
                  <a:close/>
                  <a:moveTo>
                    <a:pt x="11653" y="4034"/>
                  </a:moveTo>
                  <a:cubicBezTo>
                    <a:pt x="7619" y="4034"/>
                    <a:pt x="4482" y="7171"/>
                    <a:pt x="4482" y="11204"/>
                  </a:cubicBezTo>
                  <a:cubicBezTo>
                    <a:pt x="4482" y="15238"/>
                    <a:pt x="7619" y="18375"/>
                    <a:pt x="11653" y="18375"/>
                  </a:cubicBezTo>
                  <a:cubicBezTo>
                    <a:pt x="15686" y="18375"/>
                    <a:pt x="18823" y="15238"/>
                    <a:pt x="18823" y="11204"/>
                  </a:cubicBezTo>
                  <a:cubicBezTo>
                    <a:pt x="18823" y="7171"/>
                    <a:pt x="15686" y="4034"/>
                    <a:pt x="11653" y="4034"/>
                  </a:cubicBezTo>
                  <a:close/>
                </a:path>
              </a:pathLst>
            </a:custGeom>
            <a:solidFill>
              <a:srgbClr val="231F20"/>
            </a:solidFill>
            <a:ln w="4477" cap="flat">
              <a:noFill/>
              <a:prstDash val="solid"/>
              <a:miter/>
            </a:ln>
          </p:spPr>
          <p:txBody>
            <a:bodyPr rtlCol="0" anchor="ctr"/>
            <a:lstStyle/>
            <a:p>
              <a:endParaRPr lang="en-US"/>
            </a:p>
          </p:txBody>
        </p:sp>
        <p:sp>
          <p:nvSpPr>
            <p:cNvPr id="2492" name="Freeform: Shape 2491">
              <a:extLst>
                <a:ext uri="{FF2B5EF4-FFF2-40B4-BE49-F238E27FC236}">
                  <a16:creationId xmlns:a16="http://schemas.microsoft.com/office/drawing/2014/main" id="{614A8538-137F-4F08-81FA-87AFAA39FCD5}"/>
                </a:ext>
              </a:extLst>
            </p:cNvPr>
            <p:cNvSpPr/>
            <p:nvPr/>
          </p:nvSpPr>
          <p:spPr>
            <a:xfrm>
              <a:off x="10207983" y="4232056"/>
              <a:ext cx="67226" cy="67226"/>
            </a:xfrm>
            <a:custGeom>
              <a:avLst/>
              <a:gdLst>
                <a:gd name="connsiteX0" fmla="*/ 38991 w 67225"/>
                <a:gd name="connsiteY0" fmla="*/ 71259 h 67225"/>
                <a:gd name="connsiteX1" fmla="*/ 32268 w 67225"/>
                <a:gd name="connsiteY1" fmla="*/ 71259 h 67225"/>
                <a:gd name="connsiteX2" fmla="*/ 30027 w 67225"/>
                <a:gd name="connsiteY2" fmla="*/ 69914 h 67225"/>
                <a:gd name="connsiteX3" fmla="*/ 27338 w 67225"/>
                <a:gd name="connsiteY3" fmla="*/ 61847 h 67225"/>
                <a:gd name="connsiteX4" fmla="*/ 22409 w 67225"/>
                <a:gd name="connsiteY4" fmla="*/ 60503 h 67225"/>
                <a:gd name="connsiteX5" fmla="*/ 13893 w 67225"/>
                <a:gd name="connsiteY5" fmla="*/ 63640 h 67225"/>
                <a:gd name="connsiteX6" fmla="*/ 11652 w 67225"/>
                <a:gd name="connsiteY6" fmla="*/ 63192 h 67225"/>
                <a:gd name="connsiteX7" fmla="*/ 8067 w 67225"/>
                <a:gd name="connsiteY7" fmla="*/ 59607 h 67225"/>
                <a:gd name="connsiteX8" fmla="*/ 7619 w 67225"/>
                <a:gd name="connsiteY8" fmla="*/ 57366 h 67225"/>
                <a:gd name="connsiteX9" fmla="*/ 10756 w 67225"/>
                <a:gd name="connsiteY9" fmla="*/ 48850 h 67225"/>
                <a:gd name="connsiteX10" fmla="*/ 9411 w 67225"/>
                <a:gd name="connsiteY10" fmla="*/ 43921 h 67225"/>
                <a:gd name="connsiteX11" fmla="*/ 1344 w 67225"/>
                <a:gd name="connsiteY11" fmla="*/ 41231 h 67225"/>
                <a:gd name="connsiteX12" fmla="*/ 0 w 67225"/>
                <a:gd name="connsiteY12" fmla="*/ 38991 h 67225"/>
                <a:gd name="connsiteX13" fmla="*/ 0 w 67225"/>
                <a:gd name="connsiteY13" fmla="*/ 32268 h 67225"/>
                <a:gd name="connsiteX14" fmla="*/ 1344 w 67225"/>
                <a:gd name="connsiteY14" fmla="*/ 30027 h 67225"/>
                <a:gd name="connsiteX15" fmla="*/ 9411 w 67225"/>
                <a:gd name="connsiteY15" fmla="*/ 27338 h 67225"/>
                <a:gd name="connsiteX16" fmla="*/ 10756 w 67225"/>
                <a:gd name="connsiteY16" fmla="*/ 22409 h 67225"/>
                <a:gd name="connsiteX17" fmla="*/ 7619 w 67225"/>
                <a:gd name="connsiteY17" fmla="*/ 13893 h 67225"/>
                <a:gd name="connsiteX18" fmla="*/ 8067 w 67225"/>
                <a:gd name="connsiteY18" fmla="*/ 11652 h 67225"/>
                <a:gd name="connsiteX19" fmla="*/ 11652 w 67225"/>
                <a:gd name="connsiteY19" fmla="*/ 8067 h 67225"/>
                <a:gd name="connsiteX20" fmla="*/ 13893 w 67225"/>
                <a:gd name="connsiteY20" fmla="*/ 7619 h 67225"/>
                <a:gd name="connsiteX21" fmla="*/ 22409 w 67225"/>
                <a:gd name="connsiteY21" fmla="*/ 10756 h 67225"/>
                <a:gd name="connsiteX22" fmla="*/ 27338 w 67225"/>
                <a:gd name="connsiteY22" fmla="*/ 9411 h 67225"/>
                <a:gd name="connsiteX23" fmla="*/ 30027 w 67225"/>
                <a:gd name="connsiteY23" fmla="*/ 1344 h 67225"/>
                <a:gd name="connsiteX24" fmla="*/ 32268 w 67225"/>
                <a:gd name="connsiteY24" fmla="*/ 0 h 67225"/>
                <a:gd name="connsiteX25" fmla="*/ 38991 w 67225"/>
                <a:gd name="connsiteY25" fmla="*/ 0 h 67225"/>
                <a:gd name="connsiteX26" fmla="*/ 41231 w 67225"/>
                <a:gd name="connsiteY26" fmla="*/ 1344 h 67225"/>
                <a:gd name="connsiteX27" fmla="*/ 43921 w 67225"/>
                <a:gd name="connsiteY27" fmla="*/ 9411 h 67225"/>
                <a:gd name="connsiteX28" fmla="*/ 48850 w 67225"/>
                <a:gd name="connsiteY28" fmla="*/ 10756 h 67225"/>
                <a:gd name="connsiteX29" fmla="*/ 57366 w 67225"/>
                <a:gd name="connsiteY29" fmla="*/ 7619 h 67225"/>
                <a:gd name="connsiteX30" fmla="*/ 59607 w 67225"/>
                <a:gd name="connsiteY30" fmla="*/ 8067 h 67225"/>
                <a:gd name="connsiteX31" fmla="*/ 63192 w 67225"/>
                <a:gd name="connsiteY31" fmla="*/ 11652 h 67225"/>
                <a:gd name="connsiteX32" fmla="*/ 63640 w 67225"/>
                <a:gd name="connsiteY32" fmla="*/ 13893 h 67225"/>
                <a:gd name="connsiteX33" fmla="*/ 60503 w 67225"/>
                <a:gd name="connsiteY33" fmla="*/ 22409 h 67225"/>
                <a:gd name="connsiteX34" fmla="*/ 61847 w 67225"/>
                <a:gd name="connsiteY34" fmla="*/ 27338 h 67225"/>
                <a:gd name="connsiteX35" fmla="*/ 69914 w 67225"/>
                <a:gd name="connsiteY35" fmla="*/ 30027 h 67225"/>
                <a:gd name="connsiteX36" fmla="*/ 71259 w 67225"/>
                <a:gd name="connsiteY36" fmla="*/ 32268 h 67225"/>
                <a:gd name="connsiteX37" fmla="*/ 71259 w 67225"/>
                <a:gd name="connsiteY37" fmla="*/ 38991 h 67225"/>
                <a:gd name="connsiteX38" fmla="*/ 69914 w 67225"/>
                <a:gd name="connsiteY38" fmla="*/ 41231 h 67225"/>
                <a:gd name="connsiteX39" fmla="*/ 61847 w 67225"/>
                <a:gd name="connsiteY39" fmla="*/ 43921 h 67225"/>
                <a:gd name="connsiteX40" fmla="*/ 60503 w 67225"/>
                <a:gd name="connsiteY40" fmla="*/ 48850 h 67225"/>
                <a:gd name="connsiteX41" fmla="*/ 63640 w 67225"/>
                <a:gd name="connsiteY41" fmla="*/ 57366 h 67225"/>
                <a:gd name="connsiteX42" fmla="*/ 63192 w 67225"/>
                <a:gd name="connsiteY42" fmla="*/ 59607 h 67225"/>
                <a:gd name="connsiteX43" fmla="*/ 59607 w 67225"/>
                <a:gd name="connsiteY43" fmla="*/ 63192 h 67225"/>
                <a:gd name="connsiteX44" fmla="*/ 57366 w 67225"/>
                <a:gd name="connsiteY44" fmla="*/ 63640 h 67225"/>
                <a:gd name="connsiteX45" fmla="*/ 48850 w 67225"/>
                <a:gd name="connsiteY45" fmla="*/ 60503 h 67225"/>
                <a:gd name="connsiteX46" fmla="*/ 43921 w 67225"/>
                <a:gd name="connsiteY46" fmla="*/ 61847 h 67225"/>
                <a:gd name="connsiteX47" fmla="*/ 41231 w 67225"/>
                <a:gd name="connsiteY47" fmla="*/ 69914 h 67225"/>
                <a:gd name="connsiteX48" fmla="*/ 38991 w 67225"/>
                <a:gd name="connsiteY48" fmla="*/ 71259 h 67225"/>
                <a:gd name="connsiteX49" fmla="*/ 34061 w 67225"/>
                <a:gd name="connsiteY49" fmla="*/ 66777 h 67225"/>
                <a:gd name="connsiteX50" fmla="*/ 37646 w 67225"/>
                <a:gd name="connsiteY50" fmla="*/ 66777 h 67225"/>
                <a:gd name="connsiteX51" fmla="*/ 40335 w 67225"/>
                <a:gd name="connsiteY51" fmla="*/ 59158 h 67225"/>
                <a:gd name="connsiteX52" fmla="*/ 41680 w 67225"/>
                <a:gd name="connsiteY52" fmla="*/ 57814 h 67225"/>
                <a:gd name="connsiteX53" fmla="*/ 48402 w 67225"/>
                <a:gd name="connsiteY53" fmla="*/ 55573 h 67225"/>
                <a:gd name="connsiteX54" fmla="*/ 49747 w 67225"/>
                <a:gd name="connsiteY54" fmla="*/ 55573 h 67225"/>
                <a:gd name="connsiteX55" fmla="*/ 57814 w 67225"/>
                <a:gd name="connsiteY55" fmla="*/ 58710 h 67225"/>
                <a:gd name="connsiteX56" fmla="*/ 59158 w 67225"/>
                <a:gd name="connsiteY56" fmla="*/ 57366 h 67225"/>
                <a:gd name="connsiteX57" fmla="*/ 56021 w 67225"/>
                <a:gd name="connsiteY57" fmla="*/ 49299 h 67225"/>
                <a:gd name="connsiteX58" fmla="*/ 56021 w 67225"/>
                <a:gd name="connsiteY58" fmla="*/ 47954 h 67225"/>
                <a:gd name="connsiteX59" fmla="*/ 58262 w 67225"/>
                <a:gd name="connsiteY59" fmla="*/ 41231 h 67225"/>
                <a:gd name="connsiteX60" fmla="*/ 59607 w 67225"/>
                <a:gd name="connsiteY60" fmla="*/ 39887 h 67225"/>
                <a:gd name="connsiteX61" fmla="*/ 67226 w 67225"/>
                <a:gd name="connsiteY61" fmla="*/ 37198 h 67225"/>
                <a:gd name="connsiteX62" fmla="*/ 67226 w 67225"/>
                <a:gd name="connsiteY62" fmla="*/ 34061 h 67225"/>
                <a:gd name="connsiteX63" fmla="*/ 59607 w 67225"/>
                <a:gd name="connsiteY63" fmla="*/ 31372 h 67225"/>
                <a:gd name="connsiteX64" fmla="*/ 58262 w 67225"/>
                <a:gd name="connsiteY64" fmla="*/ 30027 h 67225"/>
                <a:gd name="connsiteX65" fmla="*/ 56021 w 67225"/>
                <a:gd name="connsiteY65" fmla="*/ 23305 h 67225"/>
                <a:gd name="connsiteX66" fmla="*/ 56021 w 67225"/>
                <a:gd name="connsiteY66" fmla="*/ 21960 h 67225"/>
                <a:gd name="connsiteX67" fmla="*/ 59158 w 67225"/>
                <a:gd name="connsiteY67" fmla="*/ 13893 h 67225"/>
                <a:gd name="connsiteX68" fmla="*/ 57814 w 67225"/>
                <a:gd name="connsiteY68" fmla="*/ 12549 h 67225"/>
                <a:gd name="connsiteX69" fmla="*/ 49747 w 67225"/>
                <a:gd name="connsiteY69" fmla="*/ 15686 h 67225"/>
                <a:gd name="connsiteX70" fmla="*/ 48402 w 67225"/>
                <a:gd name="connsiteY70" fmla="*/ 15686 h 67225"/>
                <a:gd name="connsiteX71" fmla="*/ 41680 w 67225"/>
                <a:gd name="connsiteY71" fmla="*/ 13445 h 67225"/>
                <a:gd name="connsiteX72" fmla="*/ 40335 w 67225"/>
                <a:gd name="connsiteY72" fmla="*/ 12100 h 67225"/>
                <a:gd name="connsiteX73" fmla="*/ 37646 w 67225"/>
                <a:gd name="connsiteY73" fmla="*/ 4482 h 67225"/>
                <a:gd name="connsiteX74" fmla="*/ 34061 w 67225"/>
                <a:gd name="connsiteY74" fmla="*/ 4482 h 67225"/>
                <a:gd name="connsiteX75" fmla="*/ 31372 w 67225"/>
                <a:gd name="connsiteY75" fmla="*/ 12100 h 67225"/>
                <a:gd name="connsiteX76" fmla="*/ 30027 w 67225"/>
                <a:gd name="connsiteY76" fmla="*/ 13445 h 67225"/>
                <a:gd name="connsiteX77" fmla="*/ 23305 w 67225"/>
                <a:gd name="connsiteY77" fmla="*/ 15686 h 67225"/>
                <a:gd name="connsiteX78" fmla="*/ 21960 w 67225"/>
                <a:gd name="connsiteY78" fmla="*/ 15686 h 67225"/>
                <a:gd name="connsiteX79" fmla="*/ 13893 w 67225"/>
                <a:gd name="connsiteY79" fmla="*/ 12549 h 67225"/>
                <a:gd name="connsiteX80" fmla="*/ 12549 w 67225"/>
                <a:gd name="connsiteY80" fmla="*/ 13893 h 67225"/>
                <a:gd name="connsiteX81" fmla="*/ 15686 w 67225"/>
                <a:gd name="connsiteY81" fmla="*/ 21960 h 67225"/>
                <a:gd name="connsiteX82" fmla="*/ 15686 w 67225"/>
                <a:gd name="connsiteY82" fmla="*/ 23305 h 67225"/>
                <a:gd name="connsiteX83" fmla="*/ 13445 w 67225"/>
                <a:gd name="connsiteY83" fmla="*/ 30027 h 67225"/>
                <a:gd name="connsiteX84" fmla="*/ 12100 w 67225"/>
                <a:gd name="connsiteY84" fmla="*/ 31372 h 67225"/>
                <a:gd name="connsiteX85" fmla="*/ 4482 w 67225"/>
                <a:gd name="connsiteY85" fmla="*/ 34061 h 67225"/>
                <a:gd name="connsiteX86" fmla="*/ 4482 w 67225"/>
                <a:gd name="connsiteY86" fmla="*/ 37646 h 67225"/>
                <a:gd name="connsiteX87" fmla="*/ 12100 w 67225"/>
                <a:gd name="connsiteY87" fmla="*/ 40335 h 67225"/>
                <a:gd name="connsiteX88" fmla="*/ 13445 w 67225"/>
                <a:gd name="connsiteY88" fmla="*/ 41680 h 67225"/>
                <a:gd name="connsiteX89" fmla="*/ 15686 w 67225"/>
                <a:gd name="connsiteY89" fmla="*/ 48402 h 67225"/>
                <a:gd name="connsiteX90" fmla="*/ 15686 w 67225"/>
                <a:gd name="connsiteY90" fmla="*/ 49747 h 67225"/>
                <a:gd name="connsiteX91" fmla="*/ 12549 w 67225"/>
                <a:gd name="connsiteY91" fmla="*/ 57814 h 67225"/>
                <a:gd name="connsiteX92" fmla="*/ 13893 w 67225"/>
                <a:gd name="connsiteY92" fmla="*/ 59158 h 67225"/>
                <a:gd name="connsiteX93" fmla="*/ 21960 w 67225"/>
                <a:gd name="connsiteY93" fmla="*/ 56021 h 67225"/>
                <a:gd name="connsiteX94" fmla="*/ 23305 w 67225"/>
                <a:gd name="connsiteY94" fmla="*/ 56021 h 67225"/>
                <a:gd name="connsiteX95" fmla="*/ 30027 w 67225"/>
                <a:gd name="connsiteY95" fmla="*/ 58262 h 67225"/>
                <a:gd name="connsiteX96" fmla="*/ 31372 w 67225"/>
                <a:gd name="connsiteY96" fmla="*/ 59607 h 67225"/>
                <a:gd name="connsiteX97" fmla="*/ 34061 w 67225"/>
                <a:gd name="connsiteY97" fmla="*/ 66777 h 6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7225" h="67225">
                  <a:moveTo>
                    <a:pt x="38991" y="71259"/>
                  </a:moveTo>
                  <a:lnTo>
                    <a:pt x="32268" y="71259"/>
                  </a:lnTo>
                  <a:cubicBezTo>
                    <a:pt x="31372" y="71259"/>
                    <a:pt x="30476" y="70811"/>
                    <a:pt x="30027" y="69914"/>
                  </a:cubicBezTo>
                  <a:lnTo>
                    <a:pt x="27338" y="61847"/>
                  </a:lnTo>
                  <a:lnTo>
                    <a:pt x="22409" y="60503"/>
                  </a:lnTo>
                  <a:lnTo>
                    <a:pt x="13893" y="63640"/>
                  </a:lnTo>
                  <a:cubicBezTo>
                    <a:pt x="12997" y="64088"/>
                    <a:pt x="12100" y="63640"/>
                    <a:pt x="11652" y="63192"/>
                  </a:cubicBezTo>
                  <a:lnTo>
                    <a:pt x="8067" y="59607"/>
                  </a:lnTo>
                  <a:cubicBezTo>
                    <a:pt x="7619" y="59158"/>
                    <a:pt x="7171" y="58262"/>
                    <a:pt x="7619" y="57366"/>
                  </a:cubicBezTo>
                  <a:lnTo>
                    <a:pt x="10756" y="48850"/>
                  </a:lnTo>
                  <a:lnTo>
                    <a:pt x="9411" y="43921"/>
                  </a:lnTo>
                  <a:lnTo>
                    <a:pt x="1344" y="41231"/>
                  </a:lnTo>
                  <a:cubicBezTo>
                    <a:pt x="448" y="40783"/>
                    <a:pt x="0" y="39887"/>
                    <a:pt x="0" y="38991"/>
                  </a:cubicBezTo>
                  <a:lnTo>
                    <a:pt x="0" y="32268"/>
                  </a:lnTo>
                  <a:cubicBezTo>
                    <a:pt x="0" y="31372"/>
                    <a:pt x="448" y="30476"/>
                    <a:pt x="1344" y="30027"/>
                  </a:cubicBezTo>
                  <a:lnTo>
                    <a:pt x="9411" y="27338"/>
                  </a:lnTo>
                  <a:lnTo>
                    <a:pt x="10756" y="22409"/>
                  </a:lnTo>
                  <a:lnTo>
                    <a:pt x="7619" y="13893"/>
                  </a:lnTo>
                  <a:cubicBezTo>
                    <a:pt x="7171" y="12997"/>
                    <a:pt x="7619" y="12100"/>
                    <a:pt x="8067" y="11652"/>
                  </a:cubicBezTo>
                  <a:lnTo>
                    <a:pt x="11652" y="8067"/>
                  </a:lnTo>
                  <a:cubicBezTo>
                    <a:pt x="12100" y="7619"/>
                    <a:pt x="12997" y="7171"/>
                    <a:pt x="13893" y="7619"/>
                  </a:cubicBezTo>
                  <a:lnTo>
                    <a:pt x="22409" y="10756"/>
                  </a:lnTo>
                  <a:lnTo>
                    <a:pt x="27338" y="9411"/>
                  </a:lnTo>
                  <a:lnTo>
                    <a:pt x="30027" y="1344"/>
                  </a:lnTo>
                  <a:cubicBezTo>
                    <a:pt x="30476" y="448"/>
                    <a:pt x="31372" y="0"/>
                    <a:pt x="32268" y="0"/>
                  </a:cubicBezTo>
                  <a:lnTo>
                    <a:pt x="38991" y="0"/>
                  </a:lnTo>
                  <a:cubicBezTo>
                    <a:pt x="39887" y="0"/>
                    <a:pt x="40783" y="448"/>
                    <a:pt x="41231" y="1344"/>
                  </a:cubicBezTo>
                  <a:lnTo>
                    <a:pt x="43921" y="9411"/>
                  </a:lnTo>
                  <a:lnTo>
                    <a:pt x="48850" y="10756"/>
                  </a:lnTo>
                  <a:lnTo>
                    <a:pt x="57366" y="7619"/>
                  </a:lnTo>
                  <a:cubicBezTo>
                    <a:pt x="58262" y="7171"/>
                    <a:pt x="59158" y="7619"/>
                    <a:pt x="59607" y="8067"/>
                  </a:cubicBezTo>
                  <a:lnTo>
                    <a:pt x="63192" y="11652"/>
                  </a:lnTo>
                  <a:cubicBezTo>
                    <a:pt x="63640" y="12100"/>
                    <a:pt x="64088" y="12997"/>
                    <a:pt x="63640" y="13893"/>
                  </a:cubicBezTo>
                  <a:lnTo>
                    <a:pt x="60503" y="22409"/>
                  </a:lnTo>
                  <a:lnTo>
                    <a:pt x="61847" y="27338"/>
                  </a:lnTo>
                  <a:lnTo>
                    <a:pt x="69914" y="30027"/>
                  </a:lnTo>
                  <a:cubicBezTo>
                    <a:pt x="70811" y="30476"/>
                    <a:pt x="71259" y="31372"/>
                    <a:pt x="71259" y="32268"/>
                  </a:cubicBezTo>
                  <a:lnTo>
                    <a:pt x="71259" y="38991"/>
                  </a:lnTo>
                  <a:cubicBezTo>
                    <a:pt x="71259" y="39887"/>
                    <a:pt x="70811" y="40783"/>
                    <a:pt x="69914" y="41231"/>
                  </a:cubicBezTo>
                  <a:lnTo>
                    <a:pt x="61847" y="43921"/>
                  </a:lnTo>
                  <a:lnTo>
                    <a:pt x="60503" y="48850"/>
                  </a:lnTo>
                  <a:lnTo>
                    <a:pt x="63640" y="57366"/>
                  </a:lnTo>
                  <a:cubicBezTo>
                    <a:pt x="64088" y="58262"/>
                    <a:pt x="63640" y="59158"/>
                    <a:pt x="63192" y="59607"/>
                  </a:cubicBezTo>
                  <a:lnTo>
                    <a:pt x="59607" y="63192"/>
                  </a:lnTo>
                  <a:cubicBezTo>
                    <a:pt x="59158" y="63640"/>
                    <a:pt x="58262" y="64088"/>
                    <a:pt x="57366" y="63640"/>
                  </a:cubicBezTo>
                  <a:lnTo>
                    <a:pt x="48850" y="60503"/>
                  </a:lnTo>
                  <a:lnTo>
                    <a:pt x="43921" y="61847"/>
                  </a:lnTo>
                  <a:lnTo>
                    <a:pt x="41231" y="69914"/>
                  </a:lnTo>
                  <a:cubicBezTo>
                    <a:pt x="40783" y="70811"/>
                    <a:pt x="39887" y="71259"/>
                    <a:pt x="38991" y="71259"/>
                  </a:cubicBezTo>
                  <a:close/>
                  <a:moveTo>
                    <a:pt x="34061" y="66777"/>
                  </a:moveTo>
                  <a:lnTo>
                    <a:pt x="37646" y="66777"/>
                  </a:lnTo>
                  <a:lnTo>
                    <a:pt x="40335" y="59158"/>
                  </a:lnTo>
                  <a:cubicBezTo>
                    <a:pt x="40783" y="58710"/>
                    <a:pt x="41231" y="57814"/>
                    <a:pt x="41680" y="57814"/>
                  </a:cubicBezTo>
                  <a:lnTo>
                    <a:pt x="48402" y="55573"/>
                  </a:lnTo>
                  <a:cubicBezTo>
                    <a:pt x="48850" y="55573"/>
                    <a:pt x="49299" y="55573"/>
                    <a:pt x="49747" y="55573"/>
                  </a:cubicBezTo>
                  <a:lnTo>
                    <a:pt x="57814" y="58710"/>
                  </a:lnTo>
                  <a:lnTo>
                    <a:pt x="59158" y="57366"/>
                  </a:lnTo>
                  <a:lnTo>
                    <a:pt x="56021" y="49299"/>
                  </a:lnTo>
                  <a:cubicBezTo>
                    <a:pt x="56021" y="48850"/>
                    <a:pt x="56021" y="48402"/>
                    <a:pt x="56021" y="47954"/>
                  </a:cubicBezTo>
                  <a:lnTo>
                    <a:pt x="58262" y="41231"/>
                  </a:lnTo>
                  <a:cubicBezTo>
                    <a:pt x="58262" y="40335"/>
                    <a:pt x="59158" y="39887"/>
                    <a:pt x="59607" y="39887"/>
                  </a:cubicBezTo>
                  <a:lnTo>
                    <a:pt x="67226" y="37198"/>
                  </a:lnTo>
                  <a:lnTo>
                    <a:pt x="67226" y="34061"/>
                  </a:lnTo>
                  <a:lnTo>
                    <a:pt x="59607" y="31372"/>
                  </a:lnTo>
                  <a:cubicBezTo>
                    <a:pt x="59158" y="30924"/>
                    <a:pt x="58262" y="30476"/>
                    <a:pt x="58262" y="30027"/>
                  </a:cubicBezTo>
                  <a:lnTo>
                    <a:pt x="56021" y="23305"/>
                  </a:lnTo>
                  <a:cubicBezTo>
                    <a:pt x="56021" y="22857"/>
                    <a:pt x="56021" y="22409"/>
                    <a:pt x="56021" y="21960"/>
                  </a:cubicBezTo>
                  <a:lnTo>
                    <a:pt x="59158" y="13893"/>
                  </a:lnTo>
                  <a:lnTo>
                    <a:pt x="57814" y="12549"/>
                  </a:lnTo>
                  <a:lnTo>
                    <a:pt x="49747" y="15686"/>
                  </a:lnTo>
                  <a:cubicBezTo>
                    <a:pt x="49299" y="15686"/>
                    <a:pt x="48850" y="15686"/>
                    <a:pt x="48402" y="15686"/>
                  </a:cubicBezTo>
                  <a:lnTo>
                    <a:pt x="41680" y="13445"/>
                  </a:lnTo>
                  <a:cubicBezTo>
                    <a:pt x="40783" y="13445"/>
                    <a:pt x="40335" y="12549"/>
                    <a:pt x="40335" y="12100"/>
                  </a:cubicBezTo>
                  <a:lnTo>
                    <a:pt x="37646" y="4482"/>
                  </a:lnTo>
                  <a:lnTo>
                    <a:pt x="34061" y="4482"/>
                  </a:lnTo>
                  <a:lnTo>
                    <a:pt x="31372" y="12100"/>
                  </a:lnTo>
                  <a:cubicBezTo>
                    <a:pt x="30924" y="12549"/>
                    <a:pt x="30476" y="13445"/>
                    <a:pt x="30027" y="13445"/>
                  </a:cubicBezTo>
                  <a:lnTo>
                    <a:pt x="23305" y="15686"/>
                  </a:lnTo>
                  <a:cubicBezTo>
                    <a:pt x="22857" y="15686"/>
                    <a:pt x="22409" y="15686"/>
                    <a:pt x="21960" y="15686"/>
                  </a:cubicBezTo>
                  <a:lnTo>
                    <a:pt x="13893" y="12549"/>
                  </a:lnTo>
                  <a:lnTo>
                    <a:pt x="12549" y="13893"/>
                  </a:lnTo>
                  <a:lnTo>
                    <a:pt x="15686" y="21960"/>
                  </a:lnTo>
                  <a:cubicBezTo>
                    <a:pt x="15686" y="22409"/>
                    <a:pt x="15686" y="22857"/>
                    <a:pt x="15686" y="23305"/>
                  </a:cubicBezTo>
                  <a:lnTo>
                    <a:pt x="13445" y="30027"/>
                  </a:lnTo>
                  <a:cubicBezTo>
                    <a:pt x="13445" y="30924"/>
                    <a:pt x="12549" y="31372"/>
                    <a:pt x="12100" y="31372"/>
                  </a:cubicBezTo>
                  <a:lnTo>
                    <a:pt x="4482" y="34061"/>
                  </a:lnTo>
                  <a:lnTo>
                    <a:pt x="4482" y="37646"/>
                  </a:lnTo>
                  <a:lnTo>
                    <a:pt x="12100" y="40335"/>
                  </a:lnTo>
                  <a:cubicBezTo>
                    <a:pt x="12549" y="40783"/>
                    <a:pt x="13445" y="41231"/>
                    <a:pt x="13445" y="41680"/>
                  </a:cubicBezTo>
                  <a:lnTo>
                    <a:pt x="15686" y="48402"/>
                  </a:lnTo>
                  <a:cubicBezTo>
                    <a:pt x="15686" y="48850"/>
                    <a:pt x="15686" y="49299"/>
                    <a:pt x="15686" y="49747"/>
                  </a:cubicBezTo>
                  <a:lnTo>
                    <a:pt x="12549" y="57814"/>
                  </a:lnTo>
                  <a:lnTo>
                    <a:pt x="13893" y="59158"/>
                  </a:lnTo>
                  <a:lnTo>
                    <a:pt x="21960" y="56021"/>
                  </a:lnTo>
                  <a:cubicBezTo>
                    <a:pt x="22409" y="56021"/>
                    <a:pt x="22857" y="56021"/>
                    <a:pt x="23305" y="56021"/>
                  </a:cubicBezTo>
                  <a:lnTo>
                    <a:pt x="30027" y="58262"/>
                  </a:lnTo>
                  <a:cubicBezTo>
                    <a:pt x="30924" y="58262"/>
                    <a:pt x="31372" y="59158"/>
                    <a:pt x="31372" y="59607"/>
                  </a:cubicBezTo>
                  <a:lnTo>
                    <a:pt x="34061" y="66777"/>
                  </a:lnTo>
                  <a:close/>
                </a:path>
              </a:pathLst>
            </a:custGeom>
            <a:solidFill>
              <a:srgbClr val="231F20"/>
            </a:solidFill>
            <a:ln w="4477" cap="flat">
              <a:noFill/>
              <a:prstDash val="solid"/>
              <a:miter/>
            </a:ln>
          </p:spPr>
          <p:txBody>
            <a:bodyPr rtlCol="0" anchor="ctr"/>
            <a:lstStyle/>
            <a:p>
              <a:endParaRPr lang="en-US"/>
            </a:p>
          </p:txBody>
        </p:sp>
      </p:grpSp>
      <p:grpSp>
        <p:nvGrpSpPr>
          <p:cNvPr id="2476" name="Group 2475">
            <a:extLst>
              <a:ext uri="{FF2B5EF4-FFF2-40B4-BE49-F238E27FC236}">
                <a16:creationId xmlns:a16="http://schemas.microsoft.com/office/drawing/2014/main" id="{8CAE298A-5084-49BF-9AFB-73D91B49731C}"/>
              </a:ext>
              <a:ext uri="{C183D7F6-B498-43B3-948B-1728B52AA6E4}">
                <adec:decorative xmlns:adec="http://schemas.microsoft.com/office/drawing/2017/decorative" val="1"/>
              </a:ext>
            </a:extLst>
          </p:cNvPr>
          <p:cNvGrpSpPr>
            <a:grpSpLocks noChangeAspect="1"/>
          </p:cNvGrpSpPr>
          <p:nvPr/>
        </p:nvGrpSpPr>
        <p:grpSpPr>
          <a:xfrm>
            <a:off x="7741657" y="1718469"/>
            <a:ext cx="152378" cy="147896"/>
            <a:chOff x="9907261" y="4205166"/>
            <a:chExt cx="152378" cy="147896"/>
          </a:xfrm>
        </p:grpSpPr>
        <p:sp>
          <p:nvSpPr>
            <p:cNvPr id="2486" name="Freeform: Shape 2485">
              <a:extLst>
                <a:ext uri="{FF2B5EF4-FFF2-40B4-BE49-F238E27FC236}">
                  <a16:creationId xmlns:a16="http://schemas.microsoft.com/office/drawing/2014/main" id="{EAE015D7-45DA-4E82-A834-10CB928A9630}"/>
                </a:ext>
              </a:extLst>
            </p:cNvPr>
            <p:cNvSpPr/>
            <p:nvPr/>
          </p:nvSpPr>
          <p:spPr>
            <a:xfrm>
              <a:off x="9907261" y="4205166"/>
              <a:ext cx="152378" cy="147896"/>
            </a:xfrm>
            <a:custGeom>
              <a:avLst/>
              <a:gdLst>
                <a:gd name="connsiteX0" fmla="*/ 29579 w 152377"/>
                <a:gd name="connsiteY0" fmla="*/ 151930 h 147896"/>
                <a:gd name="connsiteX1" fmla="*/ 28683 w 152377"/>
                <a:gd name="connsiteY1" fmla="*/ 151482 h 147896"/>
                <a:gd name="connsiteX2" fmla="*/ 27339 w 152377"/>
                <a:gd name="connsiteY2" fmla="*/ 149689 h 147896"/>
                <a:gd name="connsiteX3" fmla="*/ 27339 w 152377"/>
                <a:gd name="connsiteY3" fmla="*/ 125488 h 147896"/>
                <a:gd name="connsiteX4" fmla="*/ 12549 w 152377"/>
                <a:gd name="connsiteY4" fmla="*/ 125488 h 147896"/>
                <a:gd name="connsiteX5" fmla="*/ 0 w 152377"/>
                <a:gd name="connsiteY5" fmla="*/ 113835 h 147896"/>
                <a:gd name="connsiteX6" fmla="*/ 0 w 152377"/>
                <a:gd name="connsiteY6" fmla="*/ 12100 h 147896"/>
                <a:gd name="connsiteX7" fmla="*/ 12549 w 152377"/>
                <a:gd name="connsiteY7" fmla="*/ 0 h 147896"/>
                <a:gd name="connsiteX8" fmla="*/ 140277 w 152377"/>
                <a:gd name="connsiteY8" fmla="*/ 0 h 147896"/>
                <a:gd name="connsiteX9" fmla="*/ 152826 w 152377"/>
                <a:gd name="connsiteY9" fmla="*/ 12100 h 147896"/>
                <a:gd name="connsiteX10" fmla="*/ 152826 w 152377"/>
                <a:gd name="connsiteY10" fmla="*/ 113835 h 147896"/>
                <a:gd name="connsiteX11" fmla="*/ 140277 w 152377"/>
                <a:gd name="connsiteY11" fmla="*/ 125488 h 147896"/>
                <a:gd name="connsiteX12" fmla="*/ 70363 w 152377"/>
                <a:gd name="connsiteY12" fmla="*/ 125488 h 147896"/>
                <a:gd name="connsiteX13" fmla="*/ 30476 w 152377"/>
                <a:gd name="connsiteY13" fmla="*/ 151930 h 147896"/>
                <a:gd name="connsiteX14" fmla="*/ 29579 w 152377"/>
                <a:gd name="connsiteY14" fmla="*/ 151930 h 147896"/>
                <a:gd name="connsiteX15" fmla="*/ 12549 w 152377"/>
                <a:gd name="connsiteY15" fmla="*/ 4033 h 147896"/>
                <a:gd name="connsiteX16" fmla="*/ 4482 w 152377"/>
                <a:gd name="connsiteY16" fmla="*/ 11652 h 147896"/>
                <a:gd name="connsiteX17" fmla="*/ 4482 w 152377"/>
                <a:gd name="connsiteY17" fmla="*/ 113387 h 147896"/>
                <a:gd name="connsiteX18" fmla="*/ 12549 w 152377"/>
                <a:gd name="connsiteY18" fmla="*/ 120558 h 147896"/>
                <a:gd name="connsiteX19" fmla="*/ 29579 w 152377"/>
                <a:gd name="connsiteY19" fmla="*/ 120558 h 147896"/>
                <a:gd name="connsiteX20" fmla="*/ 31820 w 152377"/>
                <a:gd name="connsiteY20" fmla="*/ 122798 h 147896"/>
                <a:gd name="connsiteX21" fmla="*/ 31820 w 152377"/>
                <a:gd name="connsiteY21" fmla="*/ 145207 h 147896"/>
                <a:gd name="connsiteX22" fmla="*/ 68570 w 152377"/>
                <a:gd name="connsiteY22" fmla="*/ 121006 h 147896"/>
                <a:gd name="connsiteX23" fmla="*/ 69915 w 152377"/>
                <a:gd name="connsiteY23" fmla="*/ 120558 h 147896"/>
                <a:gd name="connsiteX24" fmla="*/ 140726 w 152377"/>
                <a:gd name="connsiteY24" fmla="*/ 120558 h 147896"/>
                <a:gd name="connsiteX25" fmla="*/ 148793 w 152377"/>
                <a:gd name="connsiteY25" fmla="*/ 113387 h 147896"/>
                <a:gd name="connsiteX26" fmla="*/ 148793 w 152377"/>
                <a:gd name="connsiteY26" fmla="*/ 11652 h 147896"/>
                <a:gd name="connsiteX27" fmla="*/ 140726 w 152377"/>
                <a:gd name="connsiteY27" fmla="*/ 4033 h 147896"/>
                <a:gd name="connsiteX28" fmla="*/ 12549 w 152377"/>
                <a:gd name="connsiteY28" fmla="*/ 403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29579" y="151930"/>
                  </a:moveTo>
                  <a:cubicBezTo>
                    <a:pt x="29131" y="151930"/>
                    <a:pt x="28683" y="151930"/>
                    <a:pt x="28683" y="151482"/>
                  </a:cubicBezTo>
                  <a:cubicBezTo>
                    <a:pt x="27787" y="151033"/>
                    <a:pt x="27339" y="150137"/>
                    <a:pt x="27339" y="149689"/>
                  </a:cubicBezTo>
                  <a:lnTo>
                    <a:pt x="27339" y="125488"/>
                  </a:lnTo>
                  <a:lnTo>
                    <a:pt x="12549" y="125488"/>
                  </a:lnTo>
                  <a:cubicBezTo>
                    <a:pt x="5378" y="125488"/>
                    <a:pt x="0" y="120558"/>
                    <a:pt x="0" y="113835"/>
                  </a:cubicBezTo>
                  <a:lnTo>
                    <a:pt x="0" y="12100"/>
                  </a:lnTo>
                  <a:cubicBezTo>
                    <a:pt x="0" y="5378"/>
                    <a:pt x="5378" y="0"/>
                    <a:pt x="12549" y="0"/>
                  </a:cubicBezTo>
                  <a:lnTo>
                    <a:pt x="140277" y="0"/>
                  </a:lnTo>
                  <a:cubicBezTo>
                    <a:pt x="147000" y="0"/>
                    <a:pt x="152826" y="5378"/>
                    <a:pt x="152826" y="12100"/>
                  </a:cubicBezTo>
                  <a:lnTo>
                    <a:pt x="152826" y="113835"/>
                  </a:lnTo>
                  <a:cubicBezTo>
                    <a:pt x="152826" y="120558"/>
                    <a:pt x="147448" y="125488"/>
                    <a:pt x="140277" y="125488"/>
                  </a:cubicBezTo>
                  <a:lnTo>
                    <a:pt x="70363" y="125488"/>
                  </a:lnTo>
                  <a:lnTo>
                    <a:pt x="30476" y="151930"/>
                  </a:lnTo>
                  <a:cubicBezTo>
                    <a:pt x="30476" y="151930"/>
                    <a:pt x="30027" y="151930"/>
                    <a:pt x="29579" y="151930"/>
                  </a:cubicBezTo>
                  <a:close/>
                  <a:moveTo>
                    <a:pt x="12549" y="4033"/>
                  </a:moveTo>
                  <a:cubicBezTo>
                    <a:pt x="8067" y="4033"/>
                    <a:pt x="4482" y="7619"/>
                    <a:pt x="4482" y="11652"/>
                  </a:cubicBezTo>
                  <a:lnTo>
                    <a:pt x="4482" y="113387"/>
                  </a:lnTo>
                  <a:cubicBezTo>
                    <a:pt x="4482" y="117420"/>
                    <a:pt x="7619" y="120558"/>
                    <a:pt x="12549" y="120558"/>
                  </a:cubicBezTo>
                  <a:lnTo>
                    <a:pt x="29579" y="120558"/>
                  </a:lnTo>
                  <a:cubicBezTo>
                    <a:pt x="30924" y="120558"/>
                    <a:pt x="31820" y="121454"/>
                    <a:pt x="31820" y="122798"/>
                  </a:cubicBezTo>
                  <a:lnTo>
                    <a:pt x="31820" y="145207"/>
                  </a:lnTo>
                  <a:lnTo>
                    <a:pt x="68570" y="121006"/>
                  </a:lnTo>
                  <a:cubicBezTo>
                    <a:pt x="69018" y="120558"/>
                    <a:pt x="69466" y="120558"/>
                    <a:pt x="69915" y="120558"/>
                  </a:cubicBezTo>
                  <a:lnTo>
                    <a:pt x="140726" y="120558"/>
                  </a:lnTo>
                  <a:cubicBezTo>
                    <a:pt x="145207" y="120558"/>
                    <a:pt x="148793" y="117420"/>
                    <a:pt x="148793" y="113387"/>
                  </a:cubicBezTo>
                  <a:lnTo>
                    <a:pt x="148793" y="11652"/>
                  </a:lnTo>
                  <a:cubicBezTo>
                    <a:pt x="148793" y="7171"/>
                    <a:pt x="145207" y="4033"/>
                    <a:pt x="140726" y="4033"/>
                  </a:cubicBezTo>
                  <a:lnTo>
                    <a:pt x="12549" y="4033"/>
                  </a:lnTo>
                  <a:close/>
                </a:path>
              </a:pathLst>
            </a:custGeom>
            <a:solidFill>
              <a:srgbClr val="231F20"/>
            </a:solidFill>
            <a:ln w="4477" cap="flat">
              <a:noFill/>
              <a:prstDash val="solid"/>
              <a:miter/>
            </a:ln>
          </p:spPr>
          <p:txBody>
            <a:bodyPr rtlCol="0" anchor="ctr"/>
            <a:lstStyle/>
            <a:p>
              <a:endParaRPr lang="en-US"/>
            </a:p>
          </p:txBody>
        </p:sp>
        <p:sp>
          <p:nvSpPr>
            <p:cNvPr id="2487" name="Freeform: Shape 2486">
              <a:extLst>
                <a:ext uri="{FF2B5EF4-FFF2-40B4-BE49-F238E27FC236}">
                  <a16:creationId xmlns:a16="http://schemas.microsoft.com/office/drawing/2014/main" id="{F918C0C5-D00C-430C-ABF2-0D7C82FD1489}"/>
                </a:ext>
              </a:extLst>
            </p:cNvPr>
            <p:cNvSpPr/>
            <p:nvPr/>
          </p:nvSpPr>
          <p:spPr>
            <a:xfrm>
              <a:off x="9948156" y="4231608"/>
              <a:ext cx="67226" cy="58262"/>
            </a:xfrm>
            <a:custGeom>
              <a:avLst/>
              <a:gdLst>
                <a:gd name="connsiteX0" fmla="*/ 69354 w 67225"/>
                <a:gd name="connsiteY0" fmla="*/ 58262 h 58262"/>
                <a:gd name="connsiteX1" fmla="*/ 2129 w 67225"/>
                <a:gd name="connsiteY1" fmla="*/ 58262 h 58262"/>
                <a:gd name="connsiteX2" fmla="*/ 336 w 67225"/>
                <a:gd name="connsiteY2" fmla="*/ 56918 h 58262"/>
                <a:gd name="connsiteX3" fmla="*/ 336 w 67225"/>
                <a:gd name="connsiteY3" fmla="*/ 54677 h 58262"/>
                <a:gd name="connsiteX4" fmla="*/ 33949 w 67225"/>
                <a:gd name="connsiteY4" fmla="*/ 896 h 58262"/>
                <a:gd name="connsiteX5" fmla="*/ 35742 w 67225"/>
                <a:gd name="connsiteY5" fmla="*/ 0 h 58262"/>
                <a:gd name="connsiteX6" fmla="*/ 35742 w 67225"/>
                <a:gd name="connsiteY6" fmla="*/ 0 h 58262"/>
                <a:gd name="connsiteX7" fmla="*/ 37534 w 67225"/>
                <a:gd name="connsiteY7" fmla="*/ 896 h 58262"/>
                <a:gd name="connsiteX8" fmla="*/ 71147 w 67225"/>
                <a:gd name="connsiteY8" fmla="*/ 54677 h 58262"/>
                <a:gd name="connsiteX9" fmla="*/ 71147 w 67225"/>
                <a:gd name="connsiteY9" fmla="*/ 56918 h 58262"/>
                <a:gd name="connsiteX10" fmla="*/ 69354 w 67225"/>
                <a:gd name="connsiteY10" fmla="*/ 58262 h 58262"/>
                <a:gd name="connsiteX11" fmla="*/ 6162 w 67225"/>
                <a:gd name="connsiteY11" fmla="*/ 53780 h 58262"/>
                <a:gd name="connsiteX12" fmla="*/ 65321 w 67225"/>
                <a:gd name="connsiteY12" fmla="*/ 53780 h 58262"/>
                <a:gd name="connsiteX13" fmla="*/ 35742 w 67225"/>
                <a:gd name="connsiteY13" fmla="*/ 6723 h 58262"/>
                <a:gd name="connsiteX14" fmla="*/ 6162 w 67225"/>
                <a:gd name="connsiteY14" fmla="*/ 53780 h 5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225" h="58262">
                  <a:moveTo>
                    <a:pt x="69354" y="58262"/>
                  </a:moveTo>
                  <a:lnTo>
                    <a:pt x="2129" y="58262"/>
                  </a:lnTo>
                  <a:cubicBezTo>
                    <a:pt x="1232" y="58262"/>
                    <a:pt x="784" y="57814"/>
                    <a:pt x="336" y="56918"/>
                  </a:cubicBezTo>
                  <a:cubicBezTo>
                    <a:pt x="-112" y="56021"/>
                    <a:pt x="-112" y="55125"/>
                    <a:pt x="336" y="54677"/>
                  </a:cubicBezTo>
                  <a:lnTo>
                    <a:pt x="33949" y="896"/>
                  </a:lnTo>
                  <a:cubicBezTo>
                    <a:pt x="34397" y="448"/>
                    <a:pt x="35293" y="0"/>
                    <a:pt x="35742" y="0"/>
                  </a:cubicBezTo>
                  <a:lnTo>
                    <a:pt x="35742" y="0"/>
                  </a:lnTo>
                  <a:cubicBezTo>
                    <a:pt x="36638" y="0"/>
                    <a:pt x="37086" y="448"/>
                    <a:pt x="37534" y="896"/>
                  </a:cubicBezTo>
                  <a:lnTo>
                    <a:pt x="71147" y="54677"/>
                  </a:lnTo>
                  <a:cubicBezTo>
                    <a:pt x="71595" y="55573"/>
                    <a:pt x="71595" y="56021"/>
                    <a:pt x="71147" y="56918"/>
                  </a:cubicBezTo>
                  <a:cubicBezTo>
                    <a:pt x="70699" y="57814"/>
                    <a:pt x="70250" y="58262"/>
                    <a:pt x="69354" y="58262"/>
                  </a:cubicBezTo>
                  <a:close/>
                  <a:moveTo>
                    <a:pt x="6162" y="53780"/>
                  </a:moveTo>
                  <a:lnTo>
                    <a:pt x="65321" y="53780"/>
                  </a:lnTo>
                  <a:lnTo>
                    <a:pt x="35742" y="6723"/>
                  </a:lnTo>
                  <a:lnTo>
                    <a:pt x="6162" y="53780"/>
                  </a:lnTo>
                  <a:close/>
                </a:path>
              </a:pathLst>
            </a:custGeom>
            <a:solidFill>
              <a:srgbClr val="231F20"/>
            </a:solidFill>
            <a:ln w="4477" cap="flat">
              <a:noFill/>
              <a:prstDash val="solid"/>
              <a:miter/>
            </a:ln>
          </p:spPr>
          <p:txBody>
            <a:bodyPr rtlCol="0" anchor="ctr"/>
            <a:lstStyle/>
            <a:p>
              <a:endParaRPr lang="en-US"/>
            </a:p>
          </p:txBody>
        </p:sp>
        <p:sp>
          <p:nvSpPr>
            <p:cNvPr id="2488" name="Freeform: Shape 2487">
              <a:extLst>
                <a:ext uri="{FF2B5EF4-FFF2-40B4-BE49-F238E27FC236}">
                  <a16:creationId xmlns:a16="http://schemas.microsoft.com/office/drawing/2014/main" id="{793C6CCC-6B9C-4AD7-A1CB-86A3596E9B20}"/>
                </a:ext>
              </a:extLst>
            </p:cNvPr>
            <p:cNvSpPr/>
            <p:nvPr/>
          </p:nvSpPr>
          <p:spPr>
            <a:xfrm>
              <a:off x="9981657" y="4251775"/>
              <a:ext cx="4482" cy="17927"/>
            </a:xfrm>
            <a:custGeom>
              <a:avLst/>
              <a:gdLst>
                <a:gd name="connsiteX0" fmla="*/ 2241 w 4481"/>
                <a:gd name="connsiteY0" fmla="*/ 21064 h 17926"/>
                <a:gd name="connsiteX1" fmla="*/ 0 w 4481"/>
                <a:gd name="connsiteY1" fmla="*/ 18823 h 17926"/>
                <a:gd name="connsiteX2" fmla="*/ 0 w 4481"/>
                <a:gd name="connsiteY2" fmla="*/ 2241 h 17926"/>
                <a:gd name="connsiteX3" fmla="*/ 2241 w 4481"/>
                <a:gd name="connsiteY3" fmla="*/ 0 h 17926"/>
                <a:gd name="connsiteX4" fmla="*/ 4482 w 4481"/>
                <a:gd name="connsiteY4" fmla="*/ 2241 h 17926"/>
                <a:gd name="connsiteX5" fmla="*/ 4482 w 4481"/>
                <a:gd name="connsiteY5" fmla="*/ 18823 h 17926"/>
                <a:gd name="connsiteX6" fmla="*/ 2241 w 4481"/>
                <a:gd name="connsiteY6" fmla="*/ 21064 h 1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1" h="17926">
                  <a:moveTo>
                    <a:pt x="2241" y="21064"/>
                  </a:moveTo>
                  <a:cubicBezTo>
                    <a:pt x="896" y="21064"/>
                    <a:pt x="0" y="20168"/>
                    <a:pt x="0" y="18823"/>
                  </a:cubicBezTo>
                  <a:lnTo>
                    <a:pt x="0" y="2241"/>
                  </a:lnTo>
                  <a:cubicBezTo>
                    <a:pt x="0" y="896"/>
                    <a:pt x="896" y="0"/>
                    <a:pt x="2241" y="0"/>
                  </a:cubicBezTo>
                  <a:cubicBezTo>
                    <a:pt x="3585" y="0"/>
                    <a:pt x="4482" y="896"/>
                    <a:pt x="4482" y="2241"/>
                  </a:cubicBezTo>
                  <a:lnTo>
                    <a:pt x="4482" y="18823"/>
                  </a:lnTo>
                  <a:cubicBezTo>
                    <a:pt x="4482" y="20168"/>
                    <a:pt x="3585" y="21064"/>
                    <a:pt x="2241" y="21064"/>
                  </a:cubicBezTo>
                  <a:close/>
                </a:path>
              </a:pathLst>
            </a:custGeom>
            <a:solidFill>
              <a:srgbClr val="231F20"/>
            </a:solidFill>
            <a:ln w="4477" cap="flat">
              <a:noFill/>
              <a:prstDash val="solid"/>
              <a:miter/>
            </a:ln>
          </p:spPr>
          <p:txBody>
            <a:bodyPr rtlCol="0" anchor="ctr"/>
            <a:lstStyle/>
            <a:p>
              <a:endParaRPr lang="en-US"/>
            </a:p>
          </p:txBody>
        </p:sp>
        <p:sp>
          <p:nvSpPr>
            <p:cNvPr id="2489" name="Freeform: Shape 2488">
              <a:extLst>
                <a:ext uri="{FF2B5EF4-FFF2-40B4-BE49-F238E27FC236}">
                  <a16:creationId xmlns:a16="http://schemas.microsoft.com/office/drawing/2014/main" id="{462B74BD-BAC9-4F01-ABEC-0E2FCFDD784B}"/>
                </a:ext>
              </a:extLst>
            </p:cNvPr>
            <p:cNvSpPr/>
            <p:nvPr/>
          </p:nvSpPr>
          <p:spPr>
            <a:xfrm>
              <a:off x="9981657" y="4276425"/>
              <a:ext cx="4482" cy="4482"/>
            </a:xfrm>
            <a:custGeom>
              <a:avLst/>
              <a:gdLst>
                <a:gd name="connsiteX0" fmla="*/ 4482 w 4481"/>
                <a:gd name="connsiteY0" fmla="*/ 2241 h 4481"/>
                <a:gd name="connsiteX1" fmla="*/ 2241 w 4481"/>
                <a:gd name="connsiteY1" fmla="*/ 4482 h 4481"/>
                <a:gd name="connsiteX2" fmla="*/ 0 w 4481"/>
                <a:gd name="connsiteY2" fmla="*/ 2241 h 4481"/>
                <a:gd name="connsiteX3" fmla="*/ 2241 w 4481"/>
                <a:gd name="connsiteY3" fmla="*/ 0 h 4481"/>
                <a:gd name="connsiteX4" fmla="*/ 4482 w 4481"/>
                <a:gd name="connsiteY4" fmla="*/ 2241 h 4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1" h="4481">
                  <a:moveTo>
                    <a:pt x="4482" y="2241"/>
                  </a:moveTo>
                  <a:cubicBezTo>
                    <a:pt x="4482" y="3478"/>
                    <a:pt x="3478" y="4482"/>
                    <a:pt x="2241" y="4482"/>
                  </a:cubicBezTo>
                  <a:cubicBezTo>
                    <a:pt x="1003" y="4482"/>
                    <a:pt x="0" y="3478"/>
                    <a:pt x="0" y="2241"/>
                  </a:cubicBezTo>
                  <a:cubicBezTo>
                    <a:pt x="0" y="1003"/>
                    <a:pt x="1003" y="0"/>
                    <a:pt x="2241" y="0"/>
                  </a:cubicBezTo>
                  <a:cubicBezTo>
                    <a:pt x="3478" y="0"/>
                    <a:pt x="4482" y="1003"/>
                    <a:pt x="4482" y="2241"/>
                  </a:cubicBezTo>
                  <a:close/>
                </a:path>
              </a:pathLst>
            </a:custGeom>
            <a:solidFill>
              <a:srgbClr val="231F20"/>
            </a:solidFill>
            <a:ln w="4477" cap="flat">
              <a:noFill/>
              <a:prstDash val="solid"/>
              <a:miter/>
            </a:ln>
          </p:spPr>
          <p:txBody>
            <a:bodyPr rtlCol="0" anchor="ctr"/>
            <a:lstStyle/>
            <a:p>
              <a:endParaRPr lang="en-US"/>
            </a:p>
          </p:txBody>
        </p:sp>
      </p:grpSp>
      <p:grpSp>
        <p:nvGrpSpPr>
          <p:cNvPr id="2477" name="Group 2476">
            <a:extLst>
              <a:ext uri="{FF2B5EF4-FFF2-40B4-BE49-F238E27FC236}">
                <a16:creationId xmlns:a16="http://schemas.microsoft.com/office/drawing/2014/main" id="{7D042206-82C0-4F8A-95AF-94427DEA29AD}"/>
              </a:ext>
              <a:ext uri="{C183D7F6-B498-43B3-948B-1728B52AA6E4}">
                <adec:decorative xmlns:adec="http://schemas.microsoft.com/office/drawing/2017/decorative" val="1"/>
              </a:ext>
            </a:extLst>
          </p:cNvPr>
          <p:cNvGrpSpPr>
            <a:grpSpLocks noChangeAspect="1"/>
          </p:cNvGrpSpPr>
          <p:nvPr/>
        </p:nvGrpSpPr>
        <p:grpSpPr>
          <a:xfrm>
            <a:off x="7211471" y="1718021"/>
            <a:ext cx="152378" cy="147896"/>
            <a:chOff x="9377075" y="4204718"/>
            <a:chExt cx="152378" cy="147896"/>
          </a:xfrm>
        </p:grpSpPr>
        <p:sp>
          <p:nvSpPr>
            <p:cNvPr id="2484" name="Freeform: Shape 2483">
              <a:extLst>
                <a:ext uri="{FF2B5EF4-FFF2-40B4-BE49-F238E27FC236}">
                  <a16:creationId xmlns:a16="http://schemas.microsoft.com/office/drawing/2014/main" id="{F0C197CF-C010-4241-B6CF-A77105746B91}"/>
                </a:ext>
              </a:extLst>
            </p:cNvPr>
            <p:cNvSpPr/>
            <p:nvPr/>
          </p:nvSpPr>
          <p:spPr>
            <a:xfrm>
              <a:off x="9377075" y="4204718"/>
              <a:ext cx="152378" cy="147896"/>
            </a:xfrm>
            <a:custGeom>
              <a:avLst/>
              <a:gdLst>
                <a:gd name="connsiteX0" fmla="*/ 140277 w 152377"/>
                <a:gd name="connsiteY0" fmla="*/ 0 h 147896"/>
                <a:gd name="connsiteX1" fmla="*/ 12549 w 152377"/>
                <a:gd name="connsiteY1" fmla="*/ 0 h 147896"/>
                <a:gd name="connsiteX2" fmla="*/ 0 w 152377"/>
                <a:gd name="connsiteY2" fmla="*/ 12101 h 147896"/>
                <a:gd name="connsiteX3" fmla="*/ 0 w 152377"/>
                <a:gd name="connsiteY3" fmla="*/ 113835 h 147896"/>
                <a:gd name="connsiteX4" fmla="*/ 12549 w 152377"/>
                <a:gd name="connsiteY4" fmla="*/ 125488 h 147896"/>
                <a:gd name="connsiteX5" fmla="*/ 27338 w 152377"/>
                <a:gd name="connsiteY5" fmla="*/ 125488 h 147896"/>
                <a:gd name="connsiteX6" fmla="*/ 27338 w 152377"/>
                <a:gd name="connsiteY6" fmla="*/ 149689 h 147896"/>
                <a:gd name="connsiteX7" fmla="*/ 28683 w 152377"/>
                <a:gd name="connsiteY7" fmla="*/ 151482 h 147896"/>
                <a:gd name="connsiteX8" fmla="*/ 29579 w 152377"/>
                <a:gd name="connsiteY8" fmla="*/ 151930 h 147896"/>
                <a:gd name="connsiteX9" fmla="*/ 30924 w 152377"/>
                <a:gd name="connsiteY9" fmla="*/ 151482 h 147896"/>
                <a:gd name="connsiteX10" fmla="*/ 70811 w 152377"/>
                <a:gd name="connsiteY10" fmla="*/ 125040 h 147896"/>
                <a:gd name="connsiteX11" fmla="*/ 140726 w 152377"/>
                <a:gd name="connsiteY11" fmla="*/ 125040 h 147896"/>
                <a:gd name="connsiteX12" fmla="*/ 153274 w 152377"/>
                <a:gd name="connsiteY12" fmla="*/ 113387 h 147896"/>
                <a:gd name="connsiteX13" fmla="*/ 153274 w 152377"/>
                <a:gd name="connsiteY13" fmla="*/ 12101 h 147896"/>
                <a:gd name="connsiteX14" fmla="*/ 140277 w 152377"/>
                <a:gd name="connsiteY14" fmla="*/ 0 h 147896"/>
                <a:gd name="connsiteX15" fmla="*/ 148344 w 152377"/>
                <a:gd name="connsiteY15" fmla="*/ 114283 h 147896"/>
                <a:gd name="connsiteX16" fmla="*/ 140277 w 152377"/>
                <a:gd name="connsiteY16" fmla="*/ 121454 h 147896"/>
                <a:gd name="connsiteX17" fmla="*/ 69466 w 152377"/>
                <a:gd name="connsiteY17" fmla="*/ 121454 h 147896"/>
                <a:gd name="connsiteX18" fmla="*/ 68122 w 152377"/>
                <a:gd name="connsiteY18" fmla="*/ 121902 h 147896"/>
                <a:gd name="connsiteX19" fmla="*/ 31372 w 152377"/>
                <a:gd name="connsiteY19" fmla="*/ 146104 h 147896"/>
                <a:gd name="connsiteX20" fmla="*/ 31372 w 152377"/>
                <a:gd name="connsiteY20" fmla="*/ 123695 h 147896"/>
                <a:gd name="connsiteX21" fmla="*/ 29131 w 152377"/>
                <a:gd name="connsiteY21" fmla="*/ 121454 h 147896"/>
                <a:gd name="connsiteX22" fmla="*/ 12101 w 152377"/>
                <a:gd name="connsiteY22" fmla="*/ 121454 h 147896"/>
                <a:gd name="connsiteX23" fmla="*/ 4034 w 152377"/>
                <a:gd name="connsiteY23" fmla="*/ 114283 h 147896"/>
                <a:gd name="connsiteX24" fmla="*/ 4034 w 152377"/>
                <a:gd name="connsiteY24" fmla="*/ 12101 h 147896"/>
                <a:gd name="connsiteX25" fmla="*/ 12101 w 152377"/>
                <a:gd name="connsiteY25" fmla="*/ 4482 h 147896"/>
                <a:gd name="connsiteX26" fmla="*/ 139829 w 152377"/>
                <a:gd name="connsiteY26" fmla="*/ 4482 h 147896"/>
                <a:gd name="connsiteX27" fmla="*/ 147896 w 152377"/>
                <a:gd name="connsiteY27" fmla="*/ 12101 h 147896"/>
                <a:gd name="connsiteX28" fmla="*/ 147896 w 152377"/>
                <a:gd name="connsiteY28" fmla="*/ 114283 h 1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47896">
                  <a:moveTo>
                    <a:pt x="140277" y="0"/>
                  </a:moveTo>
                  <a:lnTo>
                    <a:pt x="12549" y="0"/>
                  </a:lnTo>
                  <a:cubicBezTo>
                    <a:pt x="5826" y="0"/>
                    <a:pt x="0" y="5378"/>
                    <a:pt x="0" y="12101"/>
                  </a:cubicBezTo>
                  <a:lnTo>
                    <a:pt x="0" y="113835"/>
                  </a:lnTo>
                  <a:cubicBezTo>
                    <a:pt x="0" y="120558"/>
                    <a:pt x="5378" y="125488"/>
                    <a:pt x="12549" y="125488"/>
                  </a:cubicBezTo>
                  <a:lnTo>
                    <a:pt x="27338" y="125488"/>
                  </a:lnTo>
                  <a:lnTo>
                    <a:pt x="27338" y="149689"/>
                  </a:lnTo>
                  <a:cubicBezTo>
                    <a:pt x="27338" y="150585"/>
                    <a:pt x="27787" y="151482"/>
                    <a:pt x="28683" y="151482"/>
                  </a:cubicBezTo>
                  <a:cubicBezTo>
                    <a:pt x="29131" y="151482"/>
                    <a:pt x="29579" y="151930"/>
                    <a:pt x="29579" y="151930"/>
                  </a:cubicBezTo>
                  <a:cubicBezTo>
                    <a:pt x="30027" y="151930"/>
                    <a:pt x="30476" y="151930"/>
                    <a:pt x="30924" y="151482"/>
                  </a:cubicBezTo>
                  <a:lnTo>
                    <a:pt x="70811" y="125040"/>
                  </a:lnTo>
                  <a:lnTo>
                    <a:pt x="140726" y="125040"/>
                  </a:lnTo>
                  <a:cubicBezTo>
                    <a:pt x="147896" y="125040"/>
                    <a:pt x="153274" y="120110"/>
                    <a:pt x="153274" y="113387"/>
                  </a:cubicBezTo>
                  <a:lnTo>
                    <a:pt x="153274" y="12101"/>
                  </a:lnTo>
                  <a:cubicBezTo>
                    <a:pt x="152826" y="5378"/>
                    <a:pt x="147448" y="0"/>
                    <a:pt x="140277" y="0"/>
                  </a:cubicBezTo>
                  <a:close/>
                  <a:moveTo>
                    <a:pt x="148344" y="114283"/>
                  </a:moveTo>
                  <a:cubicBezTo>
                    <a:pt x="148344" y="118317"/>
                    <a:pt x="145207" y="121454"/>
                    <a:pt x="140277" y="121454"/>
                  </a:cubicBezTo>
                  <a:lnTo>
                    <a:pt x="69466" y="121454"/>
                  </a:lnTo>
                  <a:cubicBezTo>
                    <a:pt x="69018" y="121454"/>
                    <a:pt x="68570" y="121454"/>
                    <a:pt x="68122" y="121902"/>
                  </a:cubicBezTo>
                  <a:lnTo>
                    <a:pt x="31372" y="146104"/>
                  </a:lnTo>
                  <a:lnTo>
                    <a:pt x="31372" y="123695"/>
                  </a:lnTo>
                  <a:cubicBezTo>
                    <a:pt x="31372" y="122350"/>
                    <a:pt x="30476" y="121454"/>
                    <a:pt x="29131" y="121454"/>
                  </a:cubicBezTo>
                  <a:lnTo>
                    <a:pt x="12101" y="121454"/>
                  </a:lnTo>
                  <a:cubicBezTo>
                    <a:pt x="7619" y="121454"/>
                    <a:pt x="4034" y="118317"/>
                    <a:pt x="4034" y="114283"/>
                  </a:cubicBezTo>
                  <a:lnTo>
                    <a:pt x="4034" y="12101"/>
                  </a:lnTo>
                  <a:cubicBezTo>
                    <a:pt x="4034" y="7619"/>
                    <a:pt x="7619" y="4482"/>
                    <a:pt x="12101" y="4482"/>
                  </a:cubicBezTo>
                  <a:lnTo>
                    <a:pt x="139829" y="4482"/>
                  </a:lnTo>
                  <a:cubicBezTo>
                    <a:pt x="144311" y="4482"/>
                    <a:pt x="147896" y="8067"/>
                    <a:pt x="147896" y="12101"/>
                  </a:cubicBezTo>
                  <a:lnTo>
                    <a:pt x="147896" y="114283"/>
                  </a:lnTo>
                  <a:close/>
                </a:path>
              </a:pathLst>
            </a:custGeom>
            <a:solidFill>
              <a:srgbClr val="231F20"/>
            </a:solidFill>
            <a:ln w="4477" cap="flat">
              <a:noFill/>
              <a:prstDash val="solid"/>
              <a:miter/>
            </a:ln>
          </p:spPr>
          <p:txBody>
            <a:bodyPr rtlCol="0" anchor="ctr"/>
            <a:lstStyle/>
            <a:p>
              <a:endParaRPr lang="en-US"/>
            </a:p>
          </p:txBody>
        </p:sp>
        <p:sp>
          <p:nvSpPr>
            <p:cNvPr id="2485" name="Freeform: Shape 2484">
              <a:extLst>
                <a:ext uri="{FF2B5EF4-FFF2-40B4-BE49-F238E27FC236}">
                  <a16:creationId xmlns:a16="http://schemas.microsoft.com/office/drawing/2014/main" id="{3E7F2B80-B1E9-49E9-8120-87036E39E2DC}"/>
                </a:ext>
              </a:extLst>
            </p:cNvPr>
            <p:cNvSpPr/>
            <p:nvPr/>
          </p:nvSpPr>
          <p:spPr>
            <a:xfrm>
              <a:off x="9431528" y="4245277"/>
              <a:ext cx="44817" cy="40335"/>
            </a:xfrm>
            <a:custGeom>
              <a:avLst/>
              <a:gdLst>
                <a:gd name="connsiteX0" fmla="*/ 43697 w 44817"/>
                <a:gd name="connsiteY0" fmla="*/ 672 h 40335"/>
                <a:gd name="connsiteX1" fmla="*/ 40560 w 44817"/>
                <a:gd name="connsiteY1" fmla="*/ 672 h 40335"/>
                <a:gd name="connsiteX2" fmla="*/ 22184 w 44817"/>
                <a:gd name="connsiteY2" fmla="*/ 19047 h 40335"/>
                <a:gd name="connsiteX3" fmla="*/ 3810 w 44817"/>
                <a:gd name="connsiteY3" fmla="*/ 672 h 40335"/>
                <a:gd name="connsiteX4" fmla="*/ 672 w 44817"/>
                <a:gd name="connsiteY4" fmla="*/ 672 h 40335"/>
                <a:gd name="connsiteX5" fmla="*/ 672 w 44817"/>
                <a:gd name="connsiteY5" fmla="*/ 3810 h 40335"/>
                <a:gd name="connsiteX6" fmla="*/ 19047 w 44817"/>
                <a:gd name="connsiteY6" fmla="*/ 22184 h 40335"/>
                <a:gd name="connsiteX7" fmla="*/ 672 w 44817"/>
                <a:gd name="connsiteY7" fmla="*/ 40560 h 40335"/>
                <a:gd name="connsiteX8" fmla="*/ 672 w 44817"/>
                <a:gd name="connsiteY8" fmla="*/ 43697 h 40335"/>
                <a:gd name="connsiteX9" fmla="*/ 2465 w 44817"/>
                <a:gd name="connsiteY9" fmla="*/ 44145 h 40335"/>
                <a:gd name="connsiteX10" fmla="*/ 4258 w 44817"/>
                <a:gd name="connsiteY10" fmla="*/ 43697 h 40335"/>
                <a:gd name="connsiteX11" fmla="*/ 22633 w 44817"/>
                <a:gd name="connsiteY11" fmla="*/ 25322 h 40335"/>
                <a:gd name="connsiteX12" fmla="*/ 41008 w 44817"/>
                <a:gd name="connsiteY12" fmla="*/ 43697 h 40335"/>
                <a:gd name="connsiteX13" fmla="*/ 42800 w 44817"/>
                <a:gd name="connsiteY13" fmla="*/ 44145 h 40335"/>
                <a:gd name="connsiteX14" fmla="*/ 44593 w 44817"/>
                <a:gd name="connsiteY14" fmla="*/ 43697 h 40335"/>
                <a:gd name="connsiteX15" fmla="*/ 44593 w 44817"/>
                <a:gd name="connsiteY15" fmla="*/ 40560 h 40335"/>
                <a:gd name="connsiteX16" fmla="*/ 26218 w 44817"/>
                <a:gd name="connsiteY16" fmla="*/ 22184 h 40335"/>
                <a:gd name="connsiteX17" fmla="*/ 44593 w 44817"/>
                <a:gd name="connsiteY17" fmla="*/ 3810 h 40335"/>
                <a:gd name="connsiteX18" fmla="*/ 43697 w 44817"/>
                <a:gd name="connsiteY18" fmla="*/ 672 h 4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17" h="40335">
                  <a:moveTo>
                    <a:pt x="43697" y="672"/>
                  </a:moveTo>
                  <a:cubicBezTo>
                    <a:pt x="42800" y="-224"/>
                    <a:pt x="41456" y="-224"/>
                    <a:pt x="40560" y="672"/>
                  </a:cubicBezTo>
                  <a:lnTo>
                    <a:pt x="22184" y="19047"/>
                  </a:lnTo>
                  <a:lnTo>
                    <a:pt x="3810" y="672"/>
                  </a:lnTo>
                  <a:cubicBezTo>
                    <a:pt x="2913" y="-224"/>
                    <a:pt x="1569" y="-224"/>
                    <a:pt x="672" y="672"/>
                  </a:cubicBezTo>
                  <a:cubicBezTo>
                    <a:pt x="-224" y="1569"/>
                    <a:pt x="-224" y="2913"/>
                    <a:pt x="672" y="3810"/>
                  </a:cubicBezTo>
                  <a:lnTo>
                    <a:pt x="19047" y="22184"/>
                  </a:lnTo>
                  <a:lnTo>
                    <a:pt x="672" y="40560"/>
                  </a:lnTo>
                  <a:cubicBezTo>
                    <a:pt x="-224" y="41456"/>
                    <a:pt x="-224" y="42800"/>
                    <a:pt x="672" y="43697"/>
                  </a:cubicBezTo>
                  <a:cubicBezTo>
                    <a:pt x="1121" y="44145"/>
                    <a:pt x="1569" y="44145"/>
                    <a:pt x="2465" y="44145"/>
                  </a:cubicBezTo>
                  <a:cubicBezTo>
                    <a:pt x="3361" y="44145"/>
                    <a:pt x="3810" y="44145"/>
                    <a:pt x="4258" y="43697"/>
                  </a:cubicBezTo>
                  <a:lnTo>
                    <a:pt x="22633" y="25322"/>
                  </a:lnTo>
                  <a:lnTo>
                    <a:pt x="41008" y="43697"/>
                  </a:lnTo>
                  <a:cubicBezTo>
                    <a:pt x="41456" y="44145"/>
                    <a:pt x="41904" y="44145"/>
                    <a:pt x="42800" y="44145"/>
                  </a:cubicBezTo>
                  <a:cubicBezTo>
                    <a:pt x="43697" y="44145"/>
                    <a:pt x="44145" y="44145"/>
                    <a:pt x="44593" y="43697"/>
                  </a:cubicBezTo>
                  <a:cubicBezTo>
                    <a:pt x="45489" y="42800"/>
                    <a:pt x="45489" y="41456"/>
                    <a:pt x="44593" y="40560"/>
                  </a:cubicBezTo>
                  <a:lnTo>
                    <a:pt x="26218" y="22184"/>
                  </a:lnTo>
                  <a:lnTo>
                    <a:pt x="44593" y="3810"/>
                  </a:lnTo>
                  <a:cubicBezTo>
                    <a:pt x="44593" y="2913"/>
                    <a:pt x="44593" y="1569"/>
                    <a:pt x="43697" y="672"/>
                  </a:cubicBezTo>
                  <a:close/>
                </a:path>
              </a:pathLst>
            </a:custGeom>
            <a:solidFill>
              <a:srgbClr val="231F20"/>
            </a:solidFill>
            <a:ln w="4477" cap="flat">
              <a:noFill/>
              <a:prstDash val="solid"/>
              <a:miter/>
            </a:ln>
          </p:spPr>
          <p:txBody>
            <a:bodyPr rtlCol="0" anchor="ctr"/>
            <a:lstStyle/>
            <a:p>
              <a:endParaRPr lang="en-US"/>
            </a:p>
          </p:txBody>
        </p:sp>
      </p:grpSp>
      <p:grpSp>
        <p:nvGrpSpPr>
          <p:cNvPr id="2478" name="Group 2477">
            <a:extLst>
              <a:ext uri="{FF2B5EF4-FFF2-40B4-BE49-F238E27FC236}">
                <a16:creationId xmlns:a16="http://schemas.microsoft.com/office/drawing/2014/main" id="{02368F70-F77D-4BF0-9BA6-8BB245320BBD}"/>
              </a:ext>
              <a:ext uri="{C183D7F6-B498-43B3-948B-1728B52AA6E4}">
                <adec:decorative xmlns:adec="http://schemas.microsoft.com/office/drawing/2017/decorative" val="1"/>
              </a:ext>
            </a:extLst>
          </p:cNvPr>
          <p:cNvGrpSpPr>
            <a:grpSpLocks noChangeAspect="1"/>
          </p:cNvGrpSpPr>
          <p:nvPr/>
        </p:nvGrpSpPr>
        <p:grpSpPr>
          <a:xfrm>
            <a:off x="8271842" y="1718021"/>
            <a:ext cx="152378" cy="152378"/>
            <a:chOff x="10437446" y="4204718"/>
            <a:chExt cx="152378" cy="152378"/>
          </a:xfrm>
        </p:grpSpPr>
        <p:sp>
          <p:nvSpPr>
            <p:cNvPr id="2482" name="Freeform: Shape 2481">
              <a:extLst>
                <a:ext uri="{FF2B5EF4-FFF2-40B4-BE49-F238E27FC236}">
                  <a16:creationId xmlns:a16="http://schemas.microsoft.com/office/drawing/2014/main" id="{F9DD14B9-C514-4659-BCFA-D021A80527B3}"/>
                </a:ext>
              </a:extLst>
            </p:cNvPr>
            <p:cNvSpPr/>
            <p:nvPr/>
          </p:nvSpPr>
          <p:spPr>
            <a:xfrm>
              <a:off x="10437446" y="4204718"/>
              <a:ext cx="152378" cy="152378"/>
            </a:xfrm>
            <a:custGeom>
              <a:avLst/>
              <a:gdLst>
                <a:gd name="connsiteX0" fmla="*/ 29579 w 152377"/>
                <a:gd name="connsiteY0" fmla="*/ 152378 h 152377"/>
                <a:gd name="connsiteX1" fmla="*/ 28683 w 152377"/>
                <a:gd name="connsiteY1" fmla="*/ 151930 h 152377"/>
                <a:gd name="connsiteX2" fmla="*/ 27339 w 152377"/>
                <a:gd name="connsiteY2" fmla="*/ 150137 h 152377"/>
                <a:gd name="connsiteX3" fmla="*/ 27339 w 152377"/>
                <a:gd name="connsiteY3" fmla="*/ 125936 h 152377"/>
                <a:gd name="connsiteX4" fmla="*/ 12549 w 152377"/>
                <a:gd name="connsiteY4" fmla="*/ 125936 h 152377"/>
                <a:gd name="connsiteX5" fmla="*/ 0 w 152377"/>
                <a:gd name="connsiteY5" fmla="*/ 114283 h 152377"/>
                <a:gd name="connsiteX6" fmla="*/ 0 w 152377"/>
                <a:gd name="connsiteY6" fmla="*/ 12101 h 152377"/>
                <a:gd name="connsiteX7" fmla="*/ 12549 w 152377"/>
                <a:gd name="connsiteY7" fmla="*/ 0 h 152377"/>
                <a:gd name="connsiteX8" fmla="*/ 140726 w 152377"/>
                <a:gd name="connsiteY8" fmla="*/ 0 h 152377"/>
                <a:gd name="connsiteX9" fmla="*/ 153274 w 152377"/>
                <a:gd name="connsiteY9" fmla="*/ 12101 h 152377"/>
                <a:gd name="connsiteX10" fmla="*/ 153274 w 152377"/>
                <a:gd name="connsiteY10" fmla="*/ 113835 h 152377"/>
                <a:gd name="connsiteX11" fmla="*/ 140726 w 152377"/>
                <a:gd name="connsiteY11" fmla="*/ 125488 h 152377"/>
                <a:gd name="connsiteX12" fmla="*/ 70811 w 152377"/>
                <a:gd name="connsiteY12" fmla="*/ 125488 h 152377"/>
                <a:gd name="connsiteX13" fmla="*/ 30924 w 152377"/>
                <a:gd name="connsiteY13" fmla="*/ 151930 h 152377"/>
                <a:gd name="connsiteX14" fmla="*/ 29579 w 152377"/>
                <a:gd name="connsiteY14" fmla="*/ 152378 h 152377"/>
                <a:gd name="connsiteX15" fmla="*/ 12997 w 152377"/>
                <a:gd name="connsiteY15" fmla="*/ 4482 h 152377"/>
                <a:gd name="connsiteX16" fmla="*/ 4930 w 152377"/>
                <a:gd name="connsiteY16" fmla="*/ 12101 h 152377"/>
                <a:gd name="connsiteX17" fmla="*/ 4930 w 152377"/>
                <a:gd name="connsiteY17" fmla="*/ 113835 h 152377"/>
                <a:gd name="connsiteX18" fmla="*/ 12997 w 152377"/>
                <a:gd name="connsiteY18" fmla="*/ 121006 h 152377"/>
                <a:gd name="connsiteX19" fmla="*/ 30027 w 152377"/>
                <a:gd name="connsiteY19" fmla="*/ 121006 h 152377"/>
                <a:gd name="connsiteX20" fmla="*/ 32268 w 152377"/>
                <a:gd name="connsiteY20" fmla="*/ 123247 h 152377"/>
                <a:gd name="connsiteX21" fmla="*/ 32268 w 152377"/>
                <a:gd name="connsiteY21" fmla="*/ 145655 h 152377"/>
                <a:gd name="connsiteX22" fmla="*/ 69018 w 152377"/>
                <a:gd name="connsiteY22" fmla="*/ 121454 h 152377"/>
                <a:gd name="connsiteX23" fmla="*/ 70363 w 152377"/>
                <a:gd name="connsiteY23" fmla="*/ 121006 h 152377"/>
                <a:gd name="connsiteX24" fmla="*/ 140726 w 152377"/>
                <a:gd name="connsiteY24" fmla="*/ 121006 h 152377"/>
                <a:gd name="connsiteX25" fmla="*/ 148793 w 152377"/>
                <a:gd name="connsiteY25" fmla="*/ 113835 h 152377"/>
                <a:gd name="connsiteX26" fmla="*/ 148793 w 152377"/>
                <a:gd name="connsiteY26" fmla="*/ 12101 h 152377"/>
                <a:gd name="connsiteX27" fmla="*/ 140726 w 152377"/>
                <a:gd name="connsiteY27" fmla="*/ 4482 h 152377"/>
                <a:gd name="connsiteX28" fmla="*/ 12997 w 152377"/>
                <a:gd name="connsiteY28"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377" h="152377">
                  <a:moveTo>
                    <a:pt x="29579" y="152378"/>
                  </a:moveTo>
                  <a:cubicBezTo>
                    <a:pt x="29131" y="152378"/>
                    <a:pt x="28683" y="152378"/>
                    <a:pt x="28683" y="151930"/>
                  </a:cubicBezTo>
                  <a:cubicBezTo>
                    <a:pt x="27787" y="151482"/>
                    <a:pt x="27339" y="150585"/>
                    <a:pt x="27339" y="150137"/>
                  </a:cubicBezTo>
                  <a:lnTo>
                    <a:pt x="27339" y="125936"/>
                  </a:lnTo>
                  <a:lnTo>
                    <a:pt x="12549" y="125936"/>
                  </a:lnTo>
                  <a:cubicBezTo>
                    <a:pt x="5378" y="125936"/>
                    <a:pt x="0" y="121006"/>
                    <a:pt x="0" y="114283"/>
                  </a:cubicBezTo>
                  <a:lnTo>
                    <a:pt x="0" y="12101"/>
                  </a:lnTo>
                  <a:cubicBezTo>
                    <a:pt x="0" y="5378"/>
                    <a:pt x="5378" y="0"/>
                    <a:pt x="12549" y="0"/>
                  </a:cubicBezTo>
                  <a:lnTo>
                    <a:pt x="140726" y="0"/>
                  </a:lnTo>
                  <a:cubicBezTo>
                    <a:pt x="147448" y="0"/>
                    <a:pt x="153274" y="5378"/>
                    <a:pt x="153274" y="12101"/>
                  </a:cubicBezTo>
                  <a:lnTo>
                    <a:pt x="153274" y="113835"/>
                  </a:lnTo>
                  <a:cubicBezTo>
                    <a:pt x="153274" y="120558"/>
                    <a:pt x="147896" y="125488"/>
                    <a:pt x="140726" y="125488"/>
                  </a:cubicBezTo>
                  <a:lnTo>
                    <a:pt x="70811" y="125488"/>
                  </a:lnTo>
                  <a:lnTo>
                    <a:pt x="30924" y="151930"/>
                  </a:lnTo>
                  <a:cubicBezTo>
                    <a:pt x="30476" y="152378"/>
                    <a:pt x="30027" y="152378"/>
                    <a:pt x="29579" y="152378"/>
                  </a:cubicBezTo>
                  <a:close/>
                  <a:moveTo>
                    <a:pt x="12997" y="4482"/>
                  </a:moveTo>
                  <a:cubicBezTo>
                    <a:pt x="8515" y="4482"/>
                    <a:pt x="4930" y="8067"/>
                    <a:pt x="4930" y="12101"/>
                  </a:cubicBezTo>
                  <a:lnTo>
                    <a:pt x="4930" y="113835"/>
                  </a:lnTo>
                  <a:cubicBezTo>
                    <a:pt x="4930" y="117869"/>
                    <a:pt x="8067" y="121006"/>
                    <a:pt x="12997" y="121006"/>
                  </a:cubicBezTo>
                  <a:lnTo>
                    <a:pt x="30027" y="121006"/>
                  </a:lnTo>
                  <a:cubicBezTo>
                    <a:pt x="31372" y="121006"/>
                    <a:pt x="32268" y="121902"/>
                    <a:pt x="32268" y="123247"/>
                  </a:cubicBezTo>
                  <a:lnTo>
                    <a:pt x="32268" y="145655"/>
                  </a:lnTo>
                  <a:lnTo>
                    <a:pt x="69018" y="121454"/>
                  </a:lnTo>
                  <a:cubicBezTo>
                    <a:pt x="69466" y="121006"/>
                    <a:pt x="69915" y="121006"/>
                    <a:pt x="70363" y="121006"/>
                  </a:cubicBezTo>
                  <a:lnTo>
                    <a:pt x="140726" y="121006"/>
                  </a:lnTo>
                  <a:cubicBezTo>
                    <a:pt x="145207" y="121006"/>
                    <a:pt x="148793" y="117869"/>
                    <a:pt x="148793" y="113835"/>
                  </a:cubicBezTo>
                  <a:lnTo>
                    <a:pt x="148793" y="12101"/>
                  </a:lnTo>
                  <a:cubicBezTo>
                    <a:pt x="148793" y="7619"/>
                    <a:pt x="145207" y="4482"/>
                    <a:pt x="140726" y="4482"/>
                  </a:cubicBezTo>
                  <a:lnTo>
                    <a:pt x="12997" y="4482"/>
                  </a:lnTo>
                  <a:close/>
                </a:path>
              </a:pathLst>
            </a:custGeom>
            <a:solidFill>
              <a:srgbClr val="231F20"/>
            </a:solidFill>
            <a:ln w="4477" cap="flat">
              <a:noFill/>
              <a:prstDash val="solid"/>
              <a:miter/>
            </a:ln>
          </p:spPr>
          <p:txBody>
            <a:bodyPr rtlCol="0" anchor="ctr"/>
            <a:lstStyle/>
            <a:p>
              <a:endParaRPr lang="en-US"/>
            </a:p>
          </p:txBody>
        </p:sp>
        <p:sp>
          <p:nvSpPr>
            <p:cNvPr id="2483" name="Freeform: Shape 2482">
              <a:extLst>
                <a:ext uri="{FF2B5EF4-FFF2-40B4-BE49-F238E27FC236}">
                  <a16:creationId xmlns:a16="http://schemas.microsoft.com/office/drawing/2014/main" id="{1E0A4A2A-D5F7-4E06-9AC4-324A1F090181}"/>
                </a:ext>
              </a:extLst>
            </p:cNvPr>
            <p:cNvSpPr/>
            <p:nvPr/>
          </p:nvSpPr>
          <p:spPr>
            <a:xfrm>
              <a:off x="10484504" y="4232056"/>
              <a:ext cx="58262" cy="71707"/>
            </a:xfrm>
            <a:custGeom>
              <a:avLst/>
              <a:gdLst>
                <a:gd name="connsiteX0" fmla="*/ 10308 w 58262"/>
                <a:gd name="connsiteY0" fmla="*/ 74396 h 71707"/>
                <a:gd name="connsiteX1" fmla="*/ 8963 w 58262"/>
                <a:gd name="connsiteY1" fmla="*/ 73948 h 71707"/>
                <a:gd name="connsiteX2" fmla="*/ 8067 w 58262"/>
                <a:gd name="connsiteY2" fmla="*/ 71259 h 71707"/>
                <a:gd name="connsiteX3" fmla="*/ 21960 w 58262"/>
                <a:gd name="connsiteY3" fmla="*/ 43472 h 71707"/>
                <a:gd name="connsiteX4" fmla="*/ 2241 w 58262"/>
                <a:gd name="connsiteY4" fmla="*/ 43472 h 71707"/>
                <a:gd name="connsiteX5" fmla="*/ 448 w 58262"/>
                <a:gd name="connsiteY5" fmla="*/ 42576 h 71707"/>
                <a:gd name="connsiteX6" fmla="*/ 0 w 58262"/>
                <a:gd name="connsiteY6" fmla="*/ 40335 h 71707"/>
                <a:gd name="connsiteX7" fmla="*/ 15686 w 58262"/>
                <a:gd name="connsiteY7" fmla="*/ 1344 h 71707"/>
                <a:gd name="connsiteX8" fmla="*/ 17927 w 58262"/>
                <a:gd name="connsiteY8" fmla="*/ 0 h 71707"/>
                <a:gd name="connsiteX9" fmla="*/ 17927 w 58262"/>
                <a:gd name="connsiteY9" fmla="*/ 0 h 71707"/>
                <a:gd name="connsiteX10" fmla="*/ 41232 w 58262"/>
                <a:gd name="connsiteY10" fmla="*/ 0 h 71707"/>
                <a:gd name="connsiteX11" fmla="*/ 43025 w 58262"/>
                <a:gd name="connsiteY11" fmla="*/ 896 h 71707"/>
                <a:gd name="connsiteX12" fmla="*/ 43025 w 58262"/>
                <a:gd name="connsiteY12" fmla="*/ 3137 h 71707"/>
                <a:gd name="connsiteX13" fmla="*/ 34957 w 58262"/>
                <a:gd name="connsiteY13" fmla="*/ 23305 h 71707"/>
                <a:gd name="connsiteX14" fmla="*/ 56918 w 58262"/>
                <a:gd name="connsiteY14" fmla="*/ 23305 h 71707"/>
                <a:gd name="connsiteX15" fmla="*/ 59159 w 58262"/>
                <a:gd name="connsiteY15" fmla="*/ 24649 h 71707"/>
                <a:gd name="connsiteX16" fmla="*/ 58710 w 58262"/>
                <a:gd name="connsiteY16" fmla="*/ 26890 h 71707"/>
                <a:gd name="connsiteX17" fmla="*/ 12101 w 58262"/>
                <a:gd name="connsiteY17" fmla="*/ 73500 h 71707"/>
                <a:gd name="connsiteX18" fmla="*/ 10308 w 58262"/>
                <a:gd name="connsiteY18" fmla="*/ 74396 h 71707"/>
                <a:gd name="connsiteX19" fmla="*/ 5826 w 58262"/>
                <a:gd name="connsiteY19" fmla="*/ 38543 h 71707"/>
                <a:gd name="connsiteX20" fmla="*/ 25994 w 58262"/>
                <a:gd name="connsiteY20" fmla="*/ 38543 h 71707"/>
                <a:gd name="connsiteX21" fmla="*/ 27787 w 58262"/>
                <a:gd name="connsiteY21" fmla="*/ 39439 h 71707"/>
                <a:gd name="connsiteX22" fmla="*/ 27787 w 58262"/>
                <a:gd name="connsiteY22" fmla="*/ 41680 h 71707"/>
                <a:gd name="connsiteX23" fmla="*/ 18375 w 58262"/>
                <a:gd name="connsiteY23" fmla="*/ 60503 h 71707"/>
                <a:gd name="connsiteX24" fmla="*/ 51540 w 58262"/>
                <a:gd name="connsiteY24" fmla="*/ 27338 h 71707"/>
                <a:gd name="connsiteX25" fmla="*/ 31820 w 58262"/>
                <a:gd name="connsiteY25" fmla="*/ 27338 h 71707"/>
                <a:gd name="connsiteX26" fmla="*/ 30027 w 58262"/>
                <a:gd name="connsiteY26" fmla="*/ 26442 h 71707"/>
                <a:gd name="connsiteX27" fmla="*/ 30027 w 58262"/>
                <a:gd name="connsiteY27" fmla="*/ 24201 h 71707"/>
                <a:gd name="connsiteX28" fmla="*/ 38094 w 58262"/>
                <a:gd name="connsiteY28" fmla="*/ 4033 h 71707"/>
                <a:gd name="connsiteX29" fmla="*/ 19720 w 58262"/>
                <a:gd name="connsiteY29" fmla="*/ 4033 h 71707"/>
                <a:gd name="connsiteX30" fmla="*/ 5826 w 58262"/>
                <a:gd name="connsiteY30" fmla="*/ 38543 h 7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62" h="71707">
                  <a:moveTo>
                    <a:pt x="10308" y="74396"/>
                  </a:moveTo>
                  <a:cubicBezTo>
                    <a:pt x="9860" y="74396"/>
                    <a:pt x="9412" y="74396"/>
                    <a:pt x="8963" y="73948"/>
                  </a:cubicBezTo>
                  <a:cubicBezTo>
                    <a:pt x="8067" y="73500"/>
                    <a:pt x="7619" y="72155"/>
                    <a:pt x="8067" y="71259"/>
                  </a:cubicBezTo>
                  <a:lnTo>
                    <a:pt x="21960" y="43472"/>
                  </a:lnTo>
                  <a:lnTo>
                    <a:pt x="2241" y="43472"/>
                  </a:lnTo>
                  <a:cubicBezTo>
                    <a:pt x="1345" y="43472"/>
                    <a:pt x="896" y="43024"/>
                    <a:pt x="448" y="42576"/>
                  </a:cubicBezTo>
                  <a:cubicBezTo>
                    <a:pt x="0" y="42128"/>
                    <a:pt x="0" y="41231"/>
                    <a:pt x="0" y="40335"/>
                  </a:cubicBezTo>
                  <a:lnTo>
                    <a:pt x="15686" y="1344"/>
                  </a:lnTo>
                  <a:cubicBezTo>
                    <a:pt x="16134" y="448"/>
                    <a:pt x="17031" y="0"/>
                    <a:pt x="17927" y="0"/>
                  </a:cubicBezTo>
                  <a:lnTo>
                    <a:pt x="17927" y="0"/>
                  </a:lnTo>
                  <a:lnTo>
                    <a:pt x="41232" y="0"/>
                  </a:lnTo>
                  <a:cubicBezTo>
                    <a:pt x="42128" y="0"/>
                    <a:pt x="42576" y="448"/>
                    <a:pt x="43025" y="896"/>
                  </a:cubicBezTo>
                  <a:cubicBezTo>
                    <a:pt x="43473" y="1344"/>
                    <a:pt x="43473" y="2241"/>
                    <a:pt x="43025" y="3137"/>
                  </a:cubicBezTo>
                  <a:lnTo>
                    <a:pt x="34957" y="23305"/>
                  </a:lnTo>
                  <a:lnTo>
                    <a:pt x="56918" y="23305"/>
                  </a:lnTo>
                  <a:cubicBezTo>
                    <a:pt x="57814" y="23305"/>
                    <a:pt x="58710" y="23753"/>
                    <a:pt x="59159" y="24649"/>
                  </a:cubicBezTo>
                  <a:cubicBezTo>
                    <a:pt x="59607" y="25545"/>
                    <a:pt x="59159" y="26442"/>
                    <a:pt x="58710" y="26890"/>
                  </a:cubicBezTo>
                  <a:lnTo>
                    <a:pt x="12101" y="73500"/>
                  </a:lnTo>
                  <a:cubicBezTo>
                    <a:pt x="11204" y="73948"/>
                    <a:pt x="10756" y="74396"/>
                    <a:pt x="10308" y="74396"/>
                  </a:cubicBezTo>
                  <a:close/>
                  <a:moveTo>
                    <a:pt x="5826" y="38543"/>
                  </a:moveTo>
                  <a:lnTo>
                    <a:pt x="25994" y="38543"/>
                  </a:lnTo>
                  <a:cubicBezTo>
                    <a:pt x="26890" y="38543"/>
                    <a:pt x="27339" y="38991"/>
                    <a:pt x="27787" y="39439"/>
                  </a:cubicBezTo>
                  <a:cubicBezTo>
                    <a:pt x="28235" y="39887"/>
                    <a:pt x="28235" y="40783"/>
                    <a:pt x="27787" y="41680"/>
                  </a:cubicBezTo>
                  <a:lnTo>
                    <a:pt x="18375" y="60503"/>
                  </a:lnTo>
                  <a:lnTo>
                    <a:pt x="51540" y="27338"/>
                  </a:lnTo>
                  <a:lnTo>
                    <a:pt x="31820" y="27338"/>
                  </a:lnTo>
                  <a:cubicBezTo>
                    <a:pt x="30924" y="27338"/>
                    <a:pt x="30476" y="26890"/>
                    <a:pt x="30027" y="26442"/>
                  </a:cubicBezTo>
                  <a:cubicBezTo>
                    <a:pt x="29579" y="25994"/>
                    <a:pt x="29579" y="25097"/>
                    <a:pt x="30027" y="24201"/>
                  </a:cubicBezTo>
                  <a:lnTo>
                    <a:pt x="38094" y="4033"/>
                  </a:lnTo>
                  <a:lnTo>
                    <a:pt x="19720" y="4033"/>
                  </a:lnTo>
                  <a:lnTo>
                    <a:pt x="5826" y="38543"/>
                  </a:lnTo>
                  <a:close/>
                </a:path>
              </a:pathLst>
            </a:custGeom>
            <a:solidFill>
              <a:srgbClr val="231F20"/>
            </a:solidFill>
            <a:ln w="4477" cap="flat">
              <a:noFill/>
              <a:prstDash val="solid"/>
              <a:miter/>
            </a:ln>
          </p:spPr>
          <p:txBody>
            <a:bodyPr rtlCol="0" anchor="ctr"/>
            <a:lstStyle/>
            <a:p>
              <a:endParaRPr lang="en-US"/>
            </a:p>
          </p:txBody>
        </p:sp>
      </p:grpSp>
      <p:grpSp>
        <p:nvGrpSpPr>
          <p:cNvPr id="2479" name="Group 2478">
            <a:extLst>
              <a:ext uri="{FF2B5EF4-FFF2-40B4-BE49-F238E27FC236}">
                <a16:creationId xmlns:a16="http://schemas.microsoft.com/office/drawing/2014/main" id="{782B140D-F33F-435F-9F63-AA0B4605EF0F}"/>
              </a:ext>
              <a:ext uri="{C183D7F6-B498-43B3-948B-1728B52AA6E4}">
                <adec:decorative xmlns:adec="http://schemas.microsoft.com/office/drawing/2017/decorative" val="1"/>
              </a:ext>
            </a:extLst>
          </p:cNvPr>
          <p:cNvGrpSpPr>
            <a:grpSpLocks noChangeAspect="1"/>
          </p:cNvGrpSpPr>
          <p:nvPr/>
        </p:nvGrpSpPr>
        <p:grpSpPr>
          <a:xfrm>
            <a:off x="9047176" y="1718021"/>
            <a:ext cx="152378" cy="152378"/>
            <a:chOff x="11212780" y="4204718"/>
            <a:chExt cx="152378" cy="152378"/>
          </a:xfrm>
        </p:grpSpPr>
        <p:sp>
          <p:nvSpPr>
            <p:cNvPr id="2480" name="Freeform: Shape 2479">
              <a:extLst>
                <a:ext uri="{FF2B5EF4-FFF2-40B4-BE49-F238E27FC236}">
                  <a16:creationId xmlns:a16="http://schemas.microsoft.com/office/drawing/2014/main" id="{90CB7691-3310-4935-AD40-B098383CDE13}"/>
                </a:ext>
              </a:extLst>
            </p:cNvPr>
            <p:cNvSpPr/>
            <p:nvPr/>
          </p:nvSpPr>
          <p:spPr>
            <a:xfrm>
              <a:off x="11212780" y="4204718"/>
              <a:ext cx="152378" cy="152378"/>
            </a:xfrm>
            <a:custGeom>
              <a:avLst/>
              <a:gdLst>
                <a:gd name="connsiteX0" fmla="*/ 76189 w 152377"/>
                <a:gd name="connsiteY0" fmla="*/ 152378 h 152377"/>
                <a:gd name="connsiteX1" fmla="*/ 0 w 152377"/>
                <a:gd name="connsiteY1" fmla="*/ 76189 h 152377"/>
                <a:gd name="connsiteX2" fmla="*/ 76189 w 152377"/>
                <a:gd name="connsiteY2" fmla="*/ 0 h 152377"/>
                <a:gd name="connsiteX3" fmla="*/ 152378 w 152377"/>
                <a:gd name="connsiteY3" fmla="*/ 76189 h 152377"/>
                <a:gd name="connsiteX4" fmla="*/ 76189 w 152377"/>
                <a:gd name="connsiteY4" fmla="*/ 152378 h 152377"/>
                <a:gd name="connsiteX5" fmla="*/ 76189 w 152377"/>
                <a:gd name="connsiteY5" fmla="*/ 4482 h 152377"/>
                <a:gd name="connsiteX6" fmla="*/ 4482 w 152377"/>
                <a:gd name="connsiteY6" fmla="*/ 76189 h 152377"/>
                <a:gd name="connsiteX7" fmla="*/ 76189 w 152377"/>
                <a:gd name="connsiteY7" fmla="*/ 147896 h 152377"/>
                <a:gd name="connsiteX8" fmla="*/ 147896 w 152377"/>
                <a:gd name="connsiteY8" fmla="*/ 76189 h 152377"/>
                <a:gd name="connsiteX9" fmla="*/ 76189 w 152377"/>
                <a:gd name="connsiteY9" fmla="*/ 4482 h 15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77" h="152377">
                  <a:moveTo>
                    <a:pt x="76189" y="152378"/>
                  </a:moveTo>
                  <a:cubicBezTo>
                    <a:pt x="34061" y="152378"/>
                    <a:pt x="0" y="118317"/>
                    <a:pt x="0" y="76189"/>
                  </a:cubicBezTo>
                  <a:cubicBezTo>
                    <a:pt x="0" y="34061"/>
                    <a:pt x="34061" y="0"/>
                    <a:pt x="76189" y="0"/>
                  </a:cubicBezTo>
                  <a:cubicBezTo>
                    <a:pt x="118317" y="0"/>
                    <a:pt x="152378" y="34061"/>
                    <a:pt x="152378" y="76189"/>
                  </a:cubicBezTo>
                  <a:cubicBezTo>
                    <a:pt x="152378" y="118317"/>
                    <a:pt x="117869" y="152378"/>
                    <a:pt x="76189" y="152378"/>
                  </a:cubicBezTo>
                  <a:close/>
                  <a:moveTo>
                    <a:pt x="76189" y="4482"/>
                  </a:moveTo>
                  <a:cubicBezTo>
                    <a:pt x="36750" y="4482"/>
                    <a:pt x="4482" y="36750"/>
                    <a:pt x="4482" y="76189"/>
                  </a:cubicBezTo>
                  <a:cubicBezTo>
                    <a:pt x="4482" y="115628"/>
                    <a:pt x="36750" y="147896"/>
                    <a:pt x="76189" y="147896"/>
                  </a:cubicBezTo>
                  <a:cubicBezTo>
                    <a:pt x="115628" y="147896"/>
                    <a:pt x="147896" y="115628"/>
                    <a:pt x="147896" y="76189"/>
                  </a:cubicBezTo>
                  <a:cubicBezTo>
                    <a:pt x="147896" y="36750"/>
                    <a:pt x="115628" y="4482"/>
                    <a:pt x="76189" y="4482"/>
                  </a:cubicBezTo>
                  <a:close/>
                </a:path>
              </a:pathLst>
            </a:custGeom>
            <a:solidFill>
              <a:srgbClr val="231F20"/>
            </a:solidFill>
            <a:ln w="4477" cap="flat">
              <a:noFill/>
              <a:prstDash val="solid"/>
              <a:miter/>
            </a:ln>
          </p:spPr>
          <p:txBody>
            <a:bodyPr rtlCol="0" anchor="ctr"/>
            <a:lstStyle/>
            <a:p>
              <a:endParaRPr lang="en-US"/>
            </a:p>
          </p:txBody>
        </p:sp>
        <p:sp>
          <p:nvSpPr>
            <p:cNvPr id="2481" name="Freeform: Shape 2480">
              <a:extLst>
                <a:ext uri="{FF2B5EF4-FFF2-40B4-BE49-F238E27FC236}">
                  <a16:creationId xmlns:a16="http://schemas.microsoft.com/office/drawing/2014/main" id="{F2BDC81F-7E67-429A-BF52-0BFB8BB912D1}"/>
                </a:ext>
              </a:extLst>
            </p:cNvPr>
            <p:cNvSpPr/>
            <p:nvPr/>
          </p:nvSpPr>
          <p:spPr>
            <a:xfrm>
              <a:off x="11239895" y="4252000"/>
              <a:ext cx="94116" cy="53780"/>
            </a:xfrm>
            <a:custGeom>
              <a:avLst/>
              <a:gdLst>
                <a:gd name="connsiteX0" fmla="*/ 2017 w 94115"/>
                <a:gd name="connsiteY0" fmla="*/ 53556 h 53780"/>
                <a:gd name="connsiteX1" fmla="*/ 673 w 94115"/>
                <a:gd name="connsiteY1" fmla="*/ 53108 h 53780"/>
                <a:gd name="connsiteX2" fmla="*/ 673 w 94115"/>
                <a:gd name="connsiteY2" fmla="*/ 49971 h 53780"/>
                <a:gd name="connsiteX3" fmla="*/ 47730 w 94115"/>
                <a:gd name="connsiteY3" fmla="*/ 672 h 53780"/>
                <a:gd name="connsiteX4" fmla="*/ 50867 w 94115"/>
                <a:gd name="connsiteY4" fmla="*/ 672 h 53780"/>
                <a:gd name="connsiteX5" fmla="*/ 97925 w 94115"/>
                <a:gd name="connsiteY5" fmla="*/ 49971 h 53780"/>
                <a:gd name="connsiteX6" fmla="*/ 97925 w 94115"/>
                <a:gd name="connsiteY6" fmla="*/ 53108 h 53780"/>
                <a:gd name="connsiteX7" fmla="*/ 94788 w 94115"/>
                <a:gd name="connsiteY7" fmla="*/ 53108 h 53780"/>
                <a:gd name="connsiteX8" fmla="*/ 49523 w 94115"/>
                <a:gd name="connsiteY8" fmla="*/ 5602 h 53780"/>
                <a:gd name="connsiteX9" fmla="*/ 4258 w 94115"/>
                <a:gd name="connsiteY9" fmla="*/ 53108 h 53780"/>
                <a:gd name="connsiteX10" fmla="*/ 2017 w 94115"/>
                <a:gd name="connsiteY10" fmla="*/ 53556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115" h="53780">
                  <a:moveTo>
                    <a:pt x="2017" y="53556"/>
                  </a:moveTo>
                  <a:cubicBezTo>
                    <a:pt x="1569" y="53556"/>
                    <a:pt x="1121" y="53556"/>
                    <a:pt x="673" y="53108"/>
                  </a:cubicBezTo>
                  <a:cubicBezTo>
                    <a:pt x="-224" y="52212"/>
                    <a:pt x="-224" y="50867"/>
                    <a:pt x="673" y="49971"/>
                  </a:cubicBezTo>
                  <a:lnTo>
                    <a:pt x="47730" y="672"/>
                  </a:lnTo>
                  <a:cubicBezTo>
                    <a:pt x="48626" y="-224"/>
                    <a:pt x="49971" y="-224"/>
                    <a:pt x="50867" y="672"/>
                  </a:cubicBezTo>
                  <a:lnTo>
                    <a:pt x="97925" y="49971"/>
                  </a:lnTo>
                  <a:cubicBezTo>
                    <a:pt x="98821" y="50867"/>
                    <a:pt x="98821" y="52212"/>
                    <a:pt x="97925" y="53108"/>
                  </a:cubicBezTo>
                  <a:cubicBezTo>
                    <a:pt x="97029" y="54005"/>
                    <a:pt x="95684" y="54005"/>
                    <a:pt x="94788" y="53108"/>
                  </a:cubicBezTo>
                  <a:lnTo>
                    <a:pt x="49523" y="5602"/>
                  </a:lnTo>
                  <a:lnTo>
                    <a:pt x="4258" y="53108"/>
                  </a:lnTo>
                  <a:cubicBezTo>
                    <a:pt x="2913" y="53556"/>
                    <a:pt x="2465" y="53556"/>
                    <a:pt x="2017" y="53556"/>
                  </a:cubicBezTo>
                  <a:close/>
                </a:path>
              </a:pathLst>
            </a:custGeom>
            <a:solidFill>
              <a:srgbClr val="231F20"/>
            </a:solidFill>
            <a:ln w="4477" cap="flat">
              <a:noFill/>
              <a:prstDash val="solid"/>
              <a:miter/>
            </a:ln>
          </p:spPr>
          <p:txBody>
            <a:bodyPr rtlCol="0" anchor="ctr"/>
            <a:lstStyle/>
            <a:p>
              <a:endParaRPr lang="en-US"/>
            </a:p>
          </p:txBody>
        </p:sp>
      </p:grpSp>
      <p:sp>
        <p:nvSpPr>
          <p:cNvPr id="2638" name="Graphic 16">
            <a:extLst>
              <a:ext uri="{FF2B5EF4-FFF2-40B4-BE49-F238E27FC236}">
                <a16:creationId xmlns:a16="http://schemas.microsoft.com/office/drawing/2014/main" id="{E6B4A981-B6D2-4A00-90DC-00C23BFC6E6E}"/>
              </a:ext>
              <a:ext uri="{C183D7F6-B498-43B3-948B-1728B52AA6E4}">
                <adec:decorative xmlns:adec="http://schemas.microsoft.com/office/drawing/2017/decorative" val="1"/>
              </a:ext>
            </a:extLst>
          </p:cNvPr>
          <p:cNvSpPr>
            <a:spLocks noChangeAspect="1"/>
          </p:cNvSpPr>
          <p:nvPr/>
        </p:nvSpPr>
        <p:spPr>
          <a:xfrm>
            <a:off x="8129768" y="2087633"/>
            <a:ext cx="133583" cy="147896"/>
          </a:xfrm>
          <a:custGeom>
            <a:avLst/>
            <a:gdLst>
              <a:gd name="connsiteX0" fmla="*/ 418121 w 418719"/>
              <a:gd name="connsiteY0" fmla="*/ 4636 h 463582"/>
              <a:gd name="connsiteX1" fmla="*/ 414083 w 418719"/>
              <a:gd name="connsiteY1" fmla="*/ 598 h 463582"/>
              <a:gd name="connsiteX2" fmla="*/ 411242 w 418719"/>
              <a:gd name="connsiteY2" fmla="*/ 0 h 463582"/>
              <a:gd name="connsiteX3" fmla="*/ 321516 w 418719"/>
              <a:gd name="connsiteY3" fmla="*/ 0 h 463582"/>
              <a:gd name="connsiteX4" fmla="*/ 314039 w 418719"/>
              <a:gd name="connsiteY4" fmla="*/ 7477 h 463582"/>
              <a:gd name="connsiteX5" fmla="*/ 321516 w 418719"/>
              <a:gd name="connsiteY5" fmla="*/ 14954 h 463582"/>
              <a:gd name="connsiteX6" fmla="*/ 393147 w 418719"/>
              <a:gd name="connsiteY6" fmla="*/ 14954 h 463582"/>
              <a:gd name="connsiteX7" fmla="*/ 288318 w 418719"/>
              <a:gd name="connsiteY7" fmla="*/ 119784 h 463582"/>
              <a:gd name="connsiteX8" fmla="*/ 209360 w 418719"/>
              <a:gd name="connsiteY8" fmla="*/ 89726 h 463582"/>
              <a:gd name="connsiteX9" fmla="*/ 130401 w 418719"/>
              <a:gd name="connsiteY9" fmla="*/ 119784 h 463582"/>
              <a:gd name="connsiteX10" fmla="*/ 107820 w 418719"/>
              <a:gd name="connsiteY10" fmla="*/ 97203 h 463582"/>
              <a:gd name="connsiteX11" fmla="*/ 147449 w 418719"/>
              <a:gd name="connsiteY11" fmla="*/ 57574 h 463582"/>
              <a:gd name="connsiteX12" fmla="*/ 147449 w 418719"/>
              <a:gd name="connsiteY12" fmla="*/ 46956 h 463582"/>
              <a:gd name="connsiteX13" fmla="*/ 136831 w 418719"/>
              <a:gd name="connsiteY13" fmla="*/ 46956 h 463582"/>
              <a:gd name="connsiteX14" fmla="*/ 97203 w 418719"/>
              <a:gd name="connsiteY14" fmla="*/ 86585 h 463582"/>
              <a:gd name="connsiteX15" fmla="*/ 25572 w 418719"/>
              <a:gd name="connsiteY15" fmla="*/ 14954 h 463582"/>
              <a:gd name="connsiteX16" fmla="*/ 97203 w 418719"/>
              <a:gd name="connsiteY16" fmla="*/ 14954 h 463582"/>
              <a:gd name="connsiteX17" fmla="*/ 104680 w 418719"/>
              <a:gd name="connsiteY17" fmla="*/ 7477 h 463582"/>
              <a:gd name="connsiteX18" fmla="*/ 97203 w 418719"/>
              <a:gd name="connsiteY18" fmla="*/ 0 h 463582"/>
              <a:gd name="connsiteX19" fmla="*/ 7477 w 418719"/>
              <a:gd name="connsiteY19" fmla="*/ 0 h 463582"/>
              <a:gd name="connsiteX20" fmla="*/ 4636 w 418719"/>
              <a:gd name="connsiteY20" fmla="*/ 598 h 463582"/>
              <a:gd name="connsiteX21" fmla="*/ 598 w 418719"/>
              <a:gd name="connsiteY21" fmla="*/ 4636 h 463582"/>
              <a:gd name="connsiteX22" fmla="*/ 0 w 418719"/>
              <a:gd name="connsiteY22" fmla="*/ 7477 h 463582"/>
              <a:gd name="connsiteX23" fmla="*/ 0 w 418719"/>
              <a:gd name="connsiteY23" fmla="*/ 97203 h 463582"/>
              <a:gd name="connsiteX24" fmla="*/ 7477 w 418719"/>
              <a:gd name="connsiteY24" fmla="*/ 104680 h 463582"/>
              <a:gd name="connsiteX25" fmla="*/ 14954 w 418719"/>
              <a:gd name="connsiteY25" fmla="*/ 97203 h 463582"/>
              <a:gd name="connsiteX26" fmla="*/ 14954 w 418719"/>
              <a:gd name="connsiteY26" fmla="*/ 25572 h 463582"/>
              <a:gd name="connsiteX27" fmla="*/ 86585 w 418719"/>
              <a:gd name="connsiteY27" fmla="*/ 97203 h 463582"/>
              <a:gd name="connsiteX28" fmla="*/ 46956 w 418719"/>
              <a:gd name="connsiteY28" fmla="*/ 136831 h 463582"/>
              <a:gd name="connsiteX29" fmla="*/ 46956 w 418719"/>
              <a:gd name="connsiteY29" fmla="*/ 147449 h 463582"/>
              <a:gd name="connsiteX30" fmla="*/ 52190 w 418719"/>
              <a:gd name="connsiteY30" fmla="*/ 149692 h 463582"/>
              <a:gd name="connsiteX31" fmla="*/ 57424 w 418719"/>
              <a:gd name="connsiteY31" fmla="*/ 147449 h 463582"/>
              <a:gd name="connsiteX32" fmla="*/ 97053 w 418719"/>
              <a:gd name="connsiteY32" fmla="*/ 107820 h 463582"/>
              <a:gd name="connsiteX33" fmla="*/ 119634 w 418719"/>
              <a:gd name="connsiteY33" fmla="*/ 130401 h 463582"/>
              <a:gd name="connsiteX34" fmla="*/ 89576 w 418719"/>
              <a:gd name="connsiteY34" fmla="*/ 209360 h 463582"/>
              <a:gd name="connsiteX35" fmla="*/ 201733 w 418719"/>
              <a:gd name="connsiteY35" fmla="*/ 328545 h 463582"/>
              <a:gd name="connsiteX36" fmla="*/ 201733 w 418719"/>
              <a:gd name="connsiteY36" fmla="*/ 381334 h 463582"/>
              <a:gd name="connsiteX37" fmla="*/ 141916 w 418719"/>
              <a:gd name="connsiteY37" fmla="*/ 381334 h 463582"/>
              <a:gd name="connsiteX38" fmla="*/ 134439 w 418719"/>
              <a:gd name="connsiteY38" fmla="*/ 388811 h 463582"/>
              <a:gd name="connsiteX39" fmla="*/ 141916 w 418719"/>
              <a:gd name="connsiteY39" fmla="*/ 396288 h 463582"/>
              <a:gd name="connsiteX40" fmla="*/ 201733 w 418719"/>
              <a:gd name="connsiteY40" fmla="*/ 396288 h 463582"/>
              <a:gd name="connsiteX41" fmla="*/ 201733 w 418719"/>
              <a:gd name="connsiteY41" fmla="*/ 456105 h 463582"/>
              <a:gd name="connsiteX42" fmla="*/ 209210 w 418719"/>
              <a:gd name="connsiteY42" fmla="*/ 463582 h 463582"/>
              <a:gd name="connsiteX43" fmla="*/ 216687 w 418719"/>
              <a:gd name="connsiteY43" fmla="*/ 456105 h 463582"/>
              <a:gd name="connsiteX44" fmla="*/ 216687 w 418719"/>
              <a:gd name="connsiteY44" fmla="*/ 396288 h 463582"/>
              <a:gd name="connsiteX45" fmla="*/ 276504 w 418719"/>
              <a:gd name="connsiteY45" fmla="*/ 396288 h 463582"/>
              <a:gd name="connsiteX46" fmla="*/ 283981 w 418719"/>
              <a:gd name="connsiteY46" fmla="*/ 388811 h 463582"/>
              <a:gd name="connsiteX47" fmla="*/ 276504 w 418719"/>
              <a:gd name="connsiteY47" fmla="*/ 381334 h 463582"/>
              <a:gd name="connsiteX48" fmla="*/ 216687 w 418719"/>
              <a:gd name="connsiteY48" fmla="*/ 381334 h 463582"/>
              <a:gd name="connsiteX49" fmla="*/ 216687 w 418719"/>
              <a:gd name="connsiteY49" fmla="*/ 328545 h 463582"/>
              <a:gd name="connsiteX50" fmla="*/ 328844 w 418719"/>
              <a:gd name="connsiteY50" fmla="*/ 209360 h 463582"/>
              <a:gd name="connsiteX51" fmla="*/ 298786 w 418719"/>
              <a:gd name="connsiteY51" fmla="*/ 130401 h 463582"/>
              <a:gd name="connsiteX52" fmla="*/ 403765 w 418719"/>
              <a:gd name="connsiteY52" fmla="*/ 25572 h 463582"/>
              <a:gd name="connsiteX53" fmla="*/ 403765 w 418719"/>
              <a:gd name="connsiteY53" fmla="*/ 97203 h 463582"/>
              <a:gd name="connsiteX54" fmla="*/ 411242 w 418719"/>
              <a:gd name="connsiteY54" fmla="*/ 104680 h 463582"/>
              <a:gd name="connsiteX55" fmla="*/ 418719 w 418719"/>
              <a:gd name="connsiteY55" fmla="*/ 97203 h 463582"/>
              <a:gd name="connsiteX56" fmla="*/ 418719 w 418719"/>
              <a:gd name="connsiteY56" fmla="*/ 7477 h 463582"/>
              <a:gd name="connsiteX57" fmla="*/ 418121 w 418719"/>
              <a:gd name="connsiteY57" fmla="*/ 4636 h 463582"/>
              <a:gd name="connsiteX58" fmla="*/ 209360 w 418719"/>
              <a:gd name="connsiteY58" fmla="*/ 314039 h 463582"/>
              <a:gd name="connsiteX59" fmla="*/ 104680 w 418719"/>
              <a:gd name="connsiteY59" fmla="*/ 209360 h 463582"/>
              <a:gd name="connsiteX60" fmla="*/ 209360 w 418719"/>
              <a:gd name="connsiteY60" fmla="*/ 104680 h 463582"/>
              <a:gd name="connsiteX61" fmla="*/ 314039 w 418719"/>
              <a:gd name="connsiteY61" fmla="*/ 209360 h 463582"/>
              <a:gd name="connsiteX62" fmla="*/ 209360 w 418719"/>
              <a:gd name="connsiteY62" fmla="*/ 314039 h 463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18719" h="463582">
                <a:moveTo>
                  <a:pt x="418121" y="4636"/>
                </a:moveTo>
                <a:cubicBezTo>
                  <a:pt x="417373" y="2841"/>
                  <a:pt x="415878" y="1346"/>
                  <a:pt x="414083" y="598"/>
                </a:cubicBezTo>
                <a:cubicBezTo>
                  <a:pt x="413186" y="150"/>
                  <a:pt x="412139" y="0"/>
                  <a:pt x="411242" y="0"/>
                </a:cubicBezTo>
                <a:lnTo>
                  <a:pt x="321516" y="0"/>
                </a:lnTo>
                <a:cubicBezTo>
                  <a:pt x="317329" y="0"/>
                  <a:pt x="314039" y="3290"/>
                  <a:pt x="314039" y="7477"/>
                </a:cubicBezTo>
                <a:cubicBezTo>
                  <a:pt x="314039" y="11664"/>
                  <a:pt x="317329" y="14954"/>
                  <a:pt x="321516" y="14954"/>
                </a:cubicBezTo>
                <a:lnTo>
                  <a:pt x="393147" y="14954"/>
                </a:lnTo>
                <a:lnTo>
                  <a:pt x="288318" y="119784"/>
                </a:lnTo>
                <a:cubicBezTo>
                  <a:pt x="267232" y="101091"/>
                  <a:pt x="239567" y="89726"/>
                  <a:pt x="209360" y="89726"/>
                </a:cubicBezTo>
                <a:cubicBezTo>
                  <a:pt x="179152" y="89726"/>
                  <a:pt x="151487" y="101091"/>
                  <a:pt x="130401" y="119784"/>
                </a:cubicBezTo>
                <a:lnTo>
                  <a:pt x="107820" y="97203"/>
                </a:lnTo>
                <a:lnTo>
                  <a:pt x="147449" y="57574"/>
                </a:lnTo>
                <a:cubicBezTo>
                  <a:pt x="150440" y="54583"/>
                  <a:pt x="150440" y="49947"/>
                  <a:pt x="147449" y="46956"/>
                </a:cubicBezTo>
                <a:cubicBezTo>
                  <a:pt x="144458" y="43966"/>
                  <a:pt x="139822" y="43966"/>
                  <a:pt x="136831" y="46956"/>
                </a:cubicBezTo>
                <a:lnTo>
                  <a:pt x="97203" y="86585"/>
                </a:lnTo>
                <a:lnTo>
                  <a:pt x="25572" y="14954"/>
                </a:lnTo>
                <a:lnTo>
                  <a:pt x="97203" y="14954"/>
                </a:lnTo>
                <a:cubicBezTo>
                  <a:pt x="101390" y="14954"/>
                  <a:pt x="104680" y="11664"/>
                  <a:pt x="104680" y="7477"/>
                </a:cubicBezTo>
                <a:cubicBezTo>
                  <a:pt x="104680" y="3290"/>
                  <a:pt x="101390" y="0"/>
                  <a:pt x="97203" y="0"/>
                </a:cubicBezTo>
                <a:lnTo>
                  <a:pt x="7477" y="0"/>
                </a:lnTo>
                <a:cubicBezTo>
                  <a:pt x="6430" y="0"/>
                  <a:pt x="5533" y="150"/>
                  <a:pt x="4636" y="598"/>
                </a:cubicBezTo>
                <a:cubicBezTo>
                  <a:pt x="2841" y="1346"/>
                  <a:pt x="1346" y="2841"/>
                  <a:pt x="598" y="4636"/>
                </a:cubicBezTo>
                <a:cubicBezTo>
                  <a:pt x="150" y="5533"/>
                  <a:pt x="0" y="6580"/>
                  <a:pt x="0" y="7477"/>
                </a:cubicBezTo>
                <a:lnTo>
                  <a:pt x="0" y="97203"/>
                </a:lnTo>
                <a:cubicBezTo>
                  <a:pt x="0" y="101390"/>
                  <a:pt x="3290" y="104680"/>
                  <a:pt x="7477" y="104680"/>
                </a:cubicBezTo>
                <a:cubicBezTo>
                  <a:pt x="11664" y="104680"/>
                  <a:pt x="14954" y="101390"/>
                  <a:pt x="14954" y="97203"/>
                </a:cubicBezTo>
                <a:lnTo>
                  <a:pt x="14954" y="25572"/>
                </a:lnTo>
                <a:lnTo>
                  <a:pt x="86585" y="97203"/>
                </a:lnTo>
                <a:lnTo>
                  <a:pt x="46956" y="136831"/>
                </a:lnTo>
                <a:cubicBezTo>
                  <a:pt x="43965" y="139822"/>
                  <a:pt x="43965" y="144458"/>
                  <a:pt x="46956" y="147449"/>
                </a:cubicBezTo>
                <a:cubicBezTo>
                  <a:pt x="48452" y="148944"/>
                  <a:pt x="50396" y="149692"/>
                  <a:pt x="52190" y="149692"/>
                </a:cubicBezTo>
                <a:cubicBezTo>
                  <a:pt x="53985" y="149692"/>
                  <a:pt x="56078" y="148944"/>
                  <a:pt x="57424" y="147449"/>
                </a:cubicBezTo>
                <a:lnTo>
                  <a:pt x="97053" y="107820"/>
                </a:lnTo>
                <a:lnTo>
                  <a:pt x="119634" y="130401"/>
                </a:lnTo>
                <a:cubicBezTo>
                  <a:pt x="100941" y="151487"/>
                  <a:pt x="89576" y="179152"/>
                  <a:pt x="89576" y="209360"/>
                </a:cubicBezTo>
                <a:cubicBezTo>
                  <a:pt x="89576" y="272766"/>
                  <a:pt x="139224" y="324657"/>
                  <a:pt x="201733" y="328545"/>
                </a:cubicBezTo>
                <a:lnTo>
                  <a:pt x="201733" y="381334"/>
                </a:lnTo>
                <a:lnTo>
                  <a:pt x="141916" y="381334"/>
                </a:lnTo>
                <a:cubicBezTo>
                  <a:pt x="137729" y="381334"/>
                  <a:pt x="134439" y="384624"/>
                  <a:pt x="134439" y="388811"/>
                </a:cubicBezTo>
                <a:cubicBezTo>
                  <a:pt x="134439" y="392998"/>
                  <a:pt x="137729" y="396288"/>
                  <a:pt x="141916" y="396288"/>
                </a:cubicBezTo>
                <a:lnTo>
                  <a:pt x="201733" y="396288"/>
                </a:lnTo>
                <a:lnTo>
                  <a:pt x="201733" y="456105"/>
                </a:lnTo>
                <a:cubicBezTo>
                  <a:pt x="201733" y="460292"/>
                  <a:pt x="205023" y="463582"/>
                  <a:pt x="209210" y="463582"/>
                </a:cubicBezTo>
                <a:cubicBezTo>
                  <a:pt x="213397" y="463582"/>
                  <a:pt x="216687" y="460292"/>
                  <a:pt x="216687" y="456105"/>
                </a:cubicBezTo>
                <a:lnTo>
                  <a:pt x="216687" y="396288"/>
                </a:lnTo>
                <a:lnTo>
                  <a:pt x="276504" y="396288"/>
                </a:lnTo>
                <a:cubicBezTo>
                  <a:pt x="280691" y="396288"/>
                  <a:pt x="283981" y="392998"/>
                  <a:pt x="283981" y="388811"/>
                </a:cubicBezTo>
                <a:cubicBezTo>
                  <a:pt x="283981" y="384624"/>
                  <a:pt x="280691" y="381334"/>
                  <a:pt x="276504" y="381334"/>
                </a:cubicBezTo>
                <a:lnTo>
                  <a:pt x="216687" y="381334"/>
                </a:lnTo>
                <a:lnTo>
                  <a:pt x="216687" y="328545"/>
                </a:lnTo>
                <a:cubicBezTo>
                  <a:pt x="279196" y="324657"/>
                  <a:pt x="328844" y="272766"/>
                  <a:pt x="328844" y="209360"/>
                </a:cubicBezTo>
                <a:cubicBezTo>
                  <a:pt x="328844" y="179002"/>
                  <a:pt x="317479" y="151487"/>
                  <a:pt x="298786" y="130401"/>
                </a:cubicBezTo>
                <a:lnTo>
                  <a:pt x="403765" y="25572"/>
                </a:lnTo>
                <a:lnTo>
                  <a:pt x="403765" y="97203"/>
                </a:lnTo>
                <a:cubicBezTo>
                  <a:pt x="403765" y="101390"/>
                  <a:pt x="407055" y="104680"/>
                  <a:pt x="411242" y="104680"/>
                </a:cubicBezTo>
                <a:cubicBezTo>
                  <a:pt x="415429" y="104680"/>
                  <a:pt x="418719" y="101390"/>
                  <a:pt x="418719" y="97203"/>
                </a:cubicBezTo>
                <a:lnTo>
                  <a:pt x="418719" y="7477"/>
                </a:lnTo>
                <a:cubicBezTo>
                  <a:pt x="418719" y="6430"/>
                  <a:pt x="418569" y="5533"/>
                  <a:pt x="418121" y="4636"/>
                </a:cubicBezTo>
                <a:close/>
                <a:moveTo>
                  <a:pt x="209360" y="314039"/>
                </a:moveTo>
                <a:cubicBezTo>
                  <a:pt x="151636" y="314039"/>
                  <a:pt x="104680" y="267083"/>
                  <a:pt x="104680" y="209360"/>
                </a:cubicBezTo>
                <a:cubicBezTo>
                  <a:pt x="104680" y="151636"/>
                  <a:pt x="151636" y="104680"/>
                  <a:pt x="209360" y="104680"/>
                </a:cubicBezTo>
                <a:cubicBezTo>
                  <a:pt x="267083" y="104680"/>
                  <a:pt x="314039" y="151636"/>
                  <a:pt x="314039" y="209360"/>
                </a:cubicBezTo>
                <a:cubicBezTo>
                  <a:pt x="314039" y="267083"/>
                  <a:pt x="267083" y="314039"/>
                  <a:pt x="209360" y="314039"/>
                </a:cubicBezTo>
                <a:close/>
              </a:path>
            </a:pathLst>
          </a:custGeom>
          <a:solidFill>
            <a:schemeClr val="tx1"/>
          </a:solidFill>
          <a:ln w="14628" cap="flat">
            <a:noFill/>
            <a:prstDash val="solid"/>
            <a:miter/>
          </a:ln>
        </p:spPr>
        <p:txBody>
          <a:bodyPr rtlCol="0" anchor="ctr"/>
          <a:lstStyle/>
          <a:p>
            <a:endParaRPr lang="de-DE" sz="800"/>
          </a:p>
        </p:txBody>
      </p:sp>
      <p:sp>
        <p:nvSpPr>
          <p:cNvPr id="2639" name="Graphic 5">
            <a:extLst>
              <a:ext uri="{FF2B5EF4-FFF2-40B4-BE49-F238E27FC236}">
                <a16:creationId xmlns:a16="http://schemas.microsoft.com/office/drawing/2014/main" id="{CAA3FE6B-197F-49E8-93E3-190AE09E7C0C}"/>
              </a:ext>
              <a:ext uri="{C183D7F6-B498-43B3-948B-1728B52AA6E4}">
                <adec:decorative xmlns:adec="http://schemas.microsoft.com/office/drawing/2017/decorative" val="1"/>
              </a:ext>
            </a:extLst>
          </p:cNvPr>
          <p:cNvSpPr>
            <a:spLocks noChangeAspect="1"/>
          </p:cNvSpPr>
          <p:nvPr/>
        </p:nvSpPr>
        <p:spPr>
          <a:xfrm>
            <a:off x="7290993" y="2082414"/>
            <a:ext cx="72811" cy="147896"/>
          </a:xfrm>
          <a:custGeom>
            <a:avLst/>
            <a:gdLst>
              <a:gd name="connsiteX0" fmla="*/ 160908 w 239268"/>
              <a:gd name="connsiteY0" fmla="*/ 119634 h 486012"/>
              <a:gd name="connsiteX1" fmla="*/ 239268 w 239268"/>
              <a:gd name="connsiteY1" fmla="*/ 7477 h 486012"/>
              <a:gd name="connsiteX2" fmla="*/ 231791 w 239268"/>
              <a:gd name="connsiteY2" fmla="*/ 0 h 486012"/>
              <a:gd name="connsiteX3" fmla="*/ 224314 w 239268"/>
              <a:gd name="connsiteY3" fmla="*/ 7477 h 486012"/>
              <a:gd name="connsiteX4" fmla="*/ 119634 w 239268"/>
              <a:gd name="connsiteY4" fmla="*/ 112157 h 486012"/>
              <a:gd name="connsiteX5" fmla="*/ 14954 w 239268"/>
              <a:gd name="connsiteY5" fmla="*/ 7477 h 486012"/>
              <a:gd name="connsiteX6" fmla="*/ 7477 w 239268"/>
              <a:gd name="connsiteY6" fmla="*/ 0 h 486012"/>
              <a:gd name="connsiteX7" fmla="*/ 0 w 239268"/>
              <a:gd name="connsiteY7" fmla="*/ 7477 h 486012"/>
              <a:gd name="connsiteX8" fmla="*/ 78360 w 239268"/>
              <a:gd name="connsiteY8" fmla="*/ 119634 h 486012"/>
              <a:gd name="connsiteX9" fmla="*/ 0 w 239268"/>
              <a:gd name="connsiteY9" fmla="*/ 231791 h 486012"/>
              <a:gd name="connsiteX10" fmla="*/ 112157 w 239268"/>
              <a:gd name="connsiteY10" fmla="*/ 350976 h 486012"/>
              <a:gd name="connsiteX11" fmla="*/ 112157 w 239268"/>
              <a:gd name="connsiteY11" fmla="*/ 403765 h 486012"/>
              <a:gd name="connsiteX12" fmla="*/ 52340 w 239268"/>
              <a:gd name="connsiteY12" fmla="*/ 403765 h 486012"/>
              <a:gd name="connsiteX13" fmla="*/ 44863 w 239268"/>
              <a:gd name="connsiteY13" fmla="*/ 411242 h 486012"/>
              <a:gd name="connsiteX14" fmla="*/ 52340 w 239268"/>
              <a:gd name="connsiteY14" fmla="*/ 418719 h 486012"/>
              <a:gd name="connsiteX15" fmla="*/ 112157 w 239268"/>
              <a:gd name="connsiteY15" fmla="*/ 418719 h 486012"/>
              <a:gd name="connsiteX16" fmla="*/ 112157 w 239268"/>
              <a:gd name="connsiteY16" fmla="*/ 478536 h 486012"/>
              <a:gd name="connsiteX17" fmla="*/ 119634 w 239268"/>
              <a:gd name="connsiteY17" fmla="*/ 486013 h 486012"/>
              <a:gd name="connsiteX18" fmla="*/ 127111 w 239268"/>
              <a:gd name="connsiteY18" fmla="*/ 478536 h 486012"/>
              <a:gd name="connsiteX19" fmla="*/ 127111 w 239268"/>
              <a:gd name="connsiteY19" fmla="*/ 418719 h 486012"/>
              <a:gd name="connsiteX20" fmla="*/ 186928 w 239268"/>
              <a:gd name="connsiteY20" fmla="*/ 418719 h 486012"/>
              <a:gd name="connsiteX21" fmla="*/ 194405 w 239268"/>
              <a:gd name="connsiteY21" fmla="*/ 411242 h 486012"/>
              <a:gd name="connsiteX22" fmla="*/ 186928 w 239268"/>
              <a:gd name="connsiteY22" fmla="*/ 403765 h 486012"/>
              <a:gd name="connsiteX23" fmla="*/ 127111 w 239268"/>
              <a:gd name="connsiteY23" fmla="*/ 403765 h 486012"/>
              <a:gd name="connsiteX24" fmla="*/ 127111 w 239268"/>
              <a:gd name="connsiteY24" fmla="*/ 350976 h 486012"/>
              <a:gd name="connsiteX25" fmla="*/ 239268 w 239268"/>
              <a:gd name="connsiteY25" fmla="*/ 231791 h 486012"/>
              <a:gd name="connsiteX26" fmla="*/ 160908 w 239268"/>
              <a:gd name="connsiteY26" fmla="*/ 119634 h 486012"/>
              <a:gd name="connsiteX27" fmla="*/ 119634 w 239268"/>
              <a:gd name="connsiteY27" fmla="*/ 336470 h 486012"/>
              <a:gd name="connsiteX28" fmla="*/ 14954 w 239268"/>
              <a:gd name="connsiteY28" fmla="*/ 231791 h 486012"/>
              <a:gd name="connsiteX29" fmla="*/ 119634 w 239268"/>
              <a:gd name="connsiteY29" fmla="*/ 127111 h 486012"/>
              <a:gd name="connsiteX30" fmla="*/ 224314 w 239268"/>
              <a:gd name="connsiteY30" fmla="*/ 231791 h 486012"/>
              <a:gd name="connsiteX31" fmla="*/ 119634 w 239268"/>
              <a:gd name="connsiteY31" fmla="*/ 336470 h 48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9268" h="486012">
                <a:moveTo>
                  <a:pt x="160908" y="119634"/>
                </a:moveTo>
                <a:cubicBezTo>
                  <a:pt x="206518" y="102736"/>
                  <a:pt x="239268" y="58920"/>
                  <a:pt x="239268" y="7477"/>
                </a:cubicBezTo>
                <a:cubicBezTo>
                  <a:pt x="239268" y="3290"/>
                  <a:pt x="235978" y="0"/>
                  <a:pt x="231791" y="0"/>
                </a:cubicBezTo>
                <a:cubicBezTo>
                  <a:pt x="227604" y="0"/>
                  <a:pt x="224314" y="3290"/>
                  <a:pt x="224314" y="7477"/>
                </a:cubicBezTo>
                <a:cubicBezTo>
                  <a:pt x="224314" y="65201"/>
                  <a:pt x="177357" y="112157"/>
                  <a:pt x="119634" y="112157"/>
                </a:cubicBezTo>
                <a:cubicBezTo>
                  <a:pt x="61911" y="112157"/>
                  <a:pt x="14954" y="65201"/>
                  <a:pt x="14954" y="7477"/>
                </a:cubicBezTo>
                <a:cubicBezTo>
                  <a:pt x="14954" y="3290"/>
                  <a:pt x="11664" y="0"/>
                  <a:pt x="7477" y="0"/>
                </a:cubicBezTo>
                <a:cubicBezTo>
                  <a:pt x="3290" y="0"/>
                  <a:pt x="0" y="3290"/>
                  <a:pt x="0" y="7477"/>
                </a:cubicBezTo>
                <a:cubicBezTo>
                  <a:pt x="0" y="58920"/>
                  <a:pt x="32750" y="102736"/>
                  <a:pt x="78360" y="119634"/>
                </a:cubicBezTo>
                <a:cubicBezTo>
                  <a:pt x="32750" y="136532"/>
                  <a:pt x="0" y="180348"/>
                  <a:pt x="0" y="231791"/>
                </a:cubicBezTo>
                <a:cubicBezTo>
                  <a:pt x="0" y="295197"/>
                  <a:pt x="49648" y="347088"/>
                  <a:pt x="112157" y="350976"/>
                </a:cubicBezTo>
                <a:lnTo>
                  <a:pt x="112157" y="403765"/>
                </a:lnTo>
                <a:lnTo>
                  <a:pt x="52340" y="403765"/>
                </a:lnTo>
                <a:cubicBezTo>
                  <a:pt x="48153" y="403765"/>
                  <a:pt x="44863" y="407054"/>
                  <a:pt x="44863" y="411242"/>
                </a:cubicBezTo>
                <a:cubicBezTo>
                  <a:pt x="44863" y="415429"/>
                  <a:pt x="48153" y="418719"/>
                  <a:pt x="52340" y="418719"/>
                </a:cubicBezTo>
                <a:lnTo>
                  <a:pt x="112157" y="418719"/>
                </a:lnTo>
                <a:lnTo>
                  <a:pt x="112157" y="478536"/>
                </a:lnTo>
                <a:cubicBezTo>
                  <a:pt x="112157" y="482723"/>
                  <a:pt x="115447" y="486013"/>
                  <a:pt x="119634" y="486013"/>
                </a:cubicBezTo>
                <a:cubicBezTo>
                  <a:pt x="123821" y="486013"/>
                  <a:pt x="127111" y="482723"/>
                  <a:pt x="127111" y="478536"/>
                </a:cubicBezTo>
                <a:lnTo>
                  <a:pt x="127111" y="418719"/>
                </a:lnTo>
                <a:lnTo>
                  <a:pt x="186928" y="418719"/>
                </a:lnTo>
                <a:cubicBezTo>
                  <a:pt x="191115" y="418719"/>
                  <a:pt x="194405" y="415429"/>
                  <a:pt x="194405" y="411242"/>
                </a:cubicBezTo>
                <a:cubicBezTo>
                  <a:pt x="194405" y="407054"/>
                  <a:pt x="191115" y="403765"/>
                  <a:pt x="186928" y="403765"/>
                </a:cubicBezTo>
                <a:lnTo>
                  <a:pt x="127111" y="403765"/>
                </a:lnTo>
                <a:lnTo>
                  <a:pt x="127111" y="350976"/>
                </a:lnTo>
                <a:cubicBezTo>
                  <a:pt x="189620" y="347088"/>
                  <a:pt x="239268" y="295197"/>
                  <a:pt x="239268" y="231791"/>
                </a:cubicBezTo>
                <a:cubicBezTo>
                  <a:pt x="239268" y="180348"/>
                  <a:pt x="206518" y="136532"/>
                  <a:pt x="160908" y="119634"/>
                </a:cubicBezTo>
                <a:close/>
                <a:moveTo>
                  <a:pt x="119634" y="336470"/>
                </a:moveTo>
                <a:cubicBezTo>
                  <a:pt x="61911" y="336470"/>
                  <a:pt x="14954" y="289514"/>
                  <a:pt x="14954" y="231791"/>
                </a:cubicBezTo>
                <a:cubicBezTo>
                  <a:pt x="14954" y="174067"/>
                  <a:pt x="61911" y="127111"/>
                  <a:pt x="119634" y="127111"/>
                </a:cubicBezTo>
                <a:cubicBezTo>
                  <a:pt x="177357" y="127111"/>
                  <a:pt x="224314" y="174067"/>
                  <a:pt x="224314" y="231791"/>
                </a:cubicBezTo>
                <a:cubicBezTo>
                  <a:pt x="224314" y="289514"/>
                  <a:pt x="177357" y="336470"/>
                  <a:pt x="119634" y="336470"/>
                </a:cubicBezTo>
                <a:close/>
              </a:path>
            </a:pathLst>
          </a:custGeom>
          <a:solidFill>
            <a:schemeClr val="tx1"/>
          </a:solidFill>
          <a:ln w="14883" cap="flat">
            <a:noFill/>
            <a:prstDash val="solid"/>
            <a:miter/>
          </a:ln>
        </p:spPr>
        <p:txBody>
          <a:bodyPr rtlCol="0" anchor="ctr"/>
          <a:lstStyle/>
          <a:p>
            <a:endParaRPr lang="de-DE" sz="800"/>
          </a:p>
        </p:txBody>
      </p:sp>
      <p:sp>
        <p:nvSpPr>
          <p:cNvPr id="2640" name="Graphic 5">
            <a:extLst>
              <a:ext uri="{FF2B5EF4-FFF2-40B4-BE49-F238E27FC236}">
                <a16:creationId xmlns:a16="http://schemas.microsoft.com/office/drawing/2014/main" id="{97DB2582-9F0E-4649-AC09-05827386A9CD}"/>
              </a:ext>
              <a:ext uri="{C183D7F6-B498-43B3-948B-1728B52AA6E4}">
                <adec:decorative xmlns:adec="http://schemas.microsoft.com/office/drawing/2017/decorative" val="1"/>
              </a:ext>
            </a:extLst>
          </p:cNvPr>
          <p:cNvSpPr>
            <a:spLocks noChangeAspect="1"/>
          </p:cNvSpPr>
          <p:nvPr/>
        </p:nvSpPr>
        <p:spPr>
          <a:xfrm>
            <a:off x="6671006" y="2119562"/>
            <a:ext cx="69945" cy="109287"/>
          </a:xfrm>
          <a:custGeom>
            <a:avLst/>
            <a:gdLst>
              <a:gd name="connsiteX0" fmla="*/ 239268 w 239268"/>
              <a:gd name="connsiteY0" fmla="*/ 119634 h 373856"/>
              <a:gd name="connsiteX1" fmla="*/ 119634 w 239268"/>
              <a:gd name="connsiteY1" fmla="*/ 0 h 373856"/>
              <a:gd name="connsiteX2" fmla="*/ 0 w 239268"/>
              <a:gd name="connsiteY2" fmla="*/ 119634 h 373856"/>
              <a:gd name="connsiteX3" fmla="*/ 112157 w 239268"/>
              <a:gd name="connsiteY3" fmla="*/ 238819 h 373856"/>
              <a:gd name="connsiteX4" fmla="*/ 112157 w 239268"/>
              <a:gd name="connsiteY4" fmla="*/ 291608 h 373856"/>
              <a:gd name="connsiteX5" fmla="*/ 52340 w 239268"/>
              <a:gd name="connsiteY5" fmla="*/ 291608 h 373856"/>
              <a:gd name="connsiteX6" fmla="*/ 44863 w 239268"/>
              <a:gd name="connsiteY6" fmla="*/ 299085 h 373856"/>
              <a:gd name="connsiteX7" fmla="*/ 52340 w 239268"/>
              <a:gd name="connsiteY7" fmla="*/ 306562 h 373856"/>
              <a:gd name="connsiteX8" fmla="*/ 112157 w 239268"/>
              <a:gd name="connsiteY8" fmla="*/ 306562 h 373856"/>
              <a:gd name="connsiteX9" fmla="*/ 112157 w 239268"/>
              <a:gd name="connsiteY9" fmla="*/ 366379 h 373856"/>
              <a:gd name="connsiteX10" fmla="*/ 119634 w 239268"/>
              <a:gd name="connsiteY10" fmla="*/ 373856 h 373856"/>
              <a:gd name="connsiteX11" fmla="*/ 127111 w 239268"/>
              <a:gd name="connsiteY11" fmla="*/ 366379 h 373856"/>
              <a:gd name="connsiteX12" fmla="*/ 127111 w 239268"/>
              <a:gd name="connsiteY12" fmla="*/ 306562 h 373856"/>
              <a:gd name="connsiteX13" fmla="*/ 186928 w 239268"/>
              <a:gd name="connsiteY13" fmla="*/ 306562 h 373856"/>
              <a:gd name="connsiteX14" fmla="*/ 194405 w 239268"/>
              <a:gd name="connsiteY14" fmla="*/ 299085 h 373856"/>
              <a:gd name="connsiteX15" fmla="*/ 186928 w 239268"/>
              <a:gd name="connsiteY15" fmla="*/ 291608 h 373856"/>
              <a:gd name="connsiteX16" fmla="*/ 127111 w 239268"/>
              <a:gd name="connsiteY16" fmla="*/ 291608 h 373856"/>
              <a:gd name="connsiteX17" fmla="*/ 127111 w 239268"/>
              <a:gd name="connsiteY17" fmla="*/ 238819 h 373856"/>
              <a:gd name="connsiteX18" fmla="*/ 239268 w 239268"/>
              <a:gd name="connsiteY18" fmla="*/ 119634 h 373856"/>
              <a:gd name="connsiteX19" fmla="*/ 14954 w 239268"/>
              <a:gd name="connsiteY19" fmla="*/ 119634 h 373856"/>
              <a:gd name="connsiteX20" fmla="*/ 119634 w 239268"/>
              <a:gd name="connsiteY20" fmla="*/ 14954 h 373856"/>
              <a:gd name="connsiteX21" fmla="*/ 224314 w 239268"/>
              <a:gd name="connsiteY21" fmla="*/ 119634 h 373856"/>
              <a:gd name="connsiteX22" fmla="*/ 119634 w 239268"/>
              <a:gd name="connsiteY22" fmla="*/ 224314 h 373856"/>
              <a:gd name="connsiteX23" fmla="*/ 14954 w 239268"/>
              <a:gd name="connsiteY23" fmla="*/ 119634 h 37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268" h="373856">
                <a:moveTo>
                  <a:pt x="239268" y="119634"/>
                </a:moveTo>
                <a:cubicBezTo>
                  <a:pt x="239268" y="53686"/>
                  <a:pt x="185582" y="0"/>
                  <a:pt x="119634" y="0"/>
                </a:cubicBezTo>
                <a:cubicBezTo>
                  <a:pt x="53686" y="0"/>
                  <a:pt x="0" y="53686"/>
                  <a:pt x="0" y="119634"/>
                </a:cubicBezTo>
                <a:cubicBezTo>
                  <a:pt x="0" y="185582"/>
                  <a:pt x="49648" y="234931"/>
                  <a:pt x="112157" y="238819"/>
                </a:cubicBezTo>
                <a:lnTo>
                  <a:pt x="112157" y="291608"/>
                </a:lnTo>
                <a:lnTo>
                  <a:pt x="52340" y="291608"/>
                </a:lnTo>
                <a:cubicBezTo>
                  <a:pt x="48153" y="291608"/>
                  <a:pt x="44863" y="294898"/>
                  <a:pt x="44863" y="299085"/>
                </a:cubicBezTo>
                <a:cubicBezTo>
                  <a:pt x="44863" y="303272"/>
                  <a:pt x="48153" y="306562"/>
                  <a:pt x="52340" y="306562"/>
                </a:cubicBezTo>
                <a:lnTo>
                  <a:pt x="112157" y="306562"/>
                </a:lnTo>
                <a:lnTo>
                  <a:pt x="112157" y="366379"/>
                </a:lnTo>
                <a:cubicBezTo>
                  <a:pt x="112157" y="370566"/>
                  <a:pt x="115447" y="373856"/>
                  <a:pt x="119634" y="373856"/>
                </a:cubicBezTo>
                <a:cubicBezTo>
                  <a:pt x="123821" y="373856"/>
                  <a:pt x="127111" y="370566"/>
                  <a:pt x="127111" y="366379"/>
                </a:cubicBezTo>
                <a:lnTo>
                  <a:pt x="127111" y="306562"/>
                </a:lnTo>
                <a:lnTo>
                  <a:pt x="186928" y="306562"/>
                </a:lnTo>
                <a:cubicBezTo>
                  <a:pt x="191115" y="306562"/>
                  <a:pt x="194405" y="303272"/>
                  <a:pt x="194405" y="299085"/>
                </a:cubicBezTo>
                <a:cubicBezTo>
                  <a:pt x="194405" y="294898"/>
                  <a:pt x="191115" y="291608"/>
                  <a:pt x="186928" y="291608"/>
                </a:cubicBezTo>
                <a:lnTo>
                  <a:pt x="127111" y="291608"/>
                </a:lnTo>
                <a:lnTo>
                  <a:pt x="127111" y="238819"/>
                </a:lnTo>
                <a:cubicBezTo>
                  <a:pt x="189620" y="234931"/>
                  <a:pt x="239268" y="183040"/>
                  <a:pt x="239268" y="119634"/>
                </a:cubicBezTo>
                <a:close/>
                <a:moveTo>
                  <a:pt x="14954" y="119634"/>
                </a:moveTo>
                <a:cubicBezTo>
                  <a:pt x="14954" y="61911"/>
                  <a:pt x="61911" y="14954"/>
                  <a:pt x="119634" y="14954"/>
                </a:cubicBezTo>
                <a:cubicBezTo>
                  <a:pt x="177357" y="14954"/>
                  <a:pt x="224314" y="61911"/>
                  <a:pt x="224314" y="119634"/>
                </a:cubicBezTo>
                <a:cubicBezTo>
                  <a:pt x="224314" y="177357"/>
                  <a:pt x="177357" y="224314"/>
                  <a:pt x="119634" y="224314"/>
                </a:cubicBezTo>
                <a:cubicBezTo>
                  <a:pt x="61911" y="224314"/>
                  <a:pt x="14954" y="177357"/>
                  <a:pt x="14954" y="119634"/>
                </a:cubicBezTo>
                <a:close/>
              </a:path>
            </a:pathLst>
          </a:custGeom>
          <a:solidFill>
            <a:schemeClr val="tx1"/>
          </a:solidFill>
          <a:ln w="14883" cap="flat">
            <a:noFill/>
            <a:prstDash val="solid"/>
            <a:miter/>
          </a:ln>
        </p:spPr>
        <p:txBody>
          <a:bodyPr rtlCol="0" anchor="ctr"/>
          <a:lstStyle/>
          <a:p>
            <a:endParaRPr lang="de-DE" sz="800"/>
          </a:p>
        </p:txBody>
      </p:sp>
      <p:sp>
        <p:nvSpPr>
          <p:cNvPr id="2641" name="Graphic 5">
            <a:extLst>
              <a:ext uri="{FF2B5EF4-FFF2-40B4-BE49-F238E27FC236}">
                <a16:creationId xmlns:a16="http://schemas.microsoft.com/office/drawing/2014/main" id="{071E0FE7-A06E-4ECE-9281-7B5F4B07DC47}"/>
              </a:ext>
              <a:ext uri="{C183D7F6-B498-43B3-948B-1728B52AA6E4}">
                <adec:decorative xmlns:adec="http://schemas.microsoft.com/office/drawing/2017/decorative" val="1"/>
              </a:ext>
            </a:extLst>
          </p:cNvPr>
          <p:cNvSpPr>
            <a:spLocks noChangeAspect="1"/>
          </p:cNvSpPr>
          <p:nvPr/>
        </p:nvSpPr>
        <p:spPr>
          <a:xfrm>
            <a:off x="6155114" y="2116587"/>
            <a:ext cx="101014" cy="101014"/>
          </a:xfrm>
          <a:custGeom>
            <a:avLst/>
            <a:gdLst>
              <a:gd name="connsiteX0" fmla="*/ 328396 w 328994"/>
              <a:gd name="connsiteY0" fmla="*/ 4636 h 328994"/>
              <a:gd name="connsiteX1" fmla="*/ 324358 w 328994"/>
              <a:gd name="connsiteY1" fmla="*/ 598 h 328994"/>
              <a:gd name="connsiteX2" fmla="*/ 321517 w 328994"/>
              <a:gd name="connsiteY2" fmla="*/ 0 h 328994"/>
              <a:gd name="connsiteX3" fmla="*/ 231791 w 328994"/>
              <a:gd name="connsiteY3" fmla="*/ 0 h 328994"/>
              <a:gd name="connsiteX4" fmla="*/ 224314 w 328994"/>
              <a:gd name="connsiteY4" fmla="*/ 7477 h 328994"/>
              <a:gd name="connsiteX5" fmla="*/ 231791 w 328994"/>
              <a:gd name="connsiteY5" fmla="*/ 14954 h 328994"/>
              <a:gd name="connsiteX6" fmla="*/ 303422 w 328994"/>
              <a:gd name="connsiteY6" fmla="*/ 14954 h 328994"/>
              <a:gd name="connsiteX7" fmla="*/ 198593 w 328994"/>
              <a:gd name="connsiteY7" fmla="*/ 119784 h 328994"/>
              <a:gd name="connsiteX8" fmla="*/ 119634 w 328994"/>
              <a:gd name="connsiteY8" fmla="*/ 89726 h 328994"/>
              <a:gd name="connsiteX9" fmla="*/ 0 w 328994"/>
              <a:gd name="connsiteY9" fmla="*/ 209360 h 328994"/>
              <a:gd name="connsiteX10" fmla="*/ 119634 w 328994"/>
              <a:gd name="connsiteY10" fmla="*/ 328994 h 328994"/>
              <a:gd name="connsiteX11" fmla="*/ 239268 w 328994"/>
              <a:gd name="connsiteY11" fmla="*/ 209360 h 328994"/>
              <a:gd name="connsiteX12" fmla="*/ 209210 w 328994"/>
              <a:gd name="connsiteY12" fmla="*/ 130401 h 328994"/>
              <a:gd name="connsiteX13" fmla="*/ 314040 w 328994"/>
              <a:gd name="connsiteY13" fmla="*/ 25572 h 328994"/>
              <a:gd name="connsiteX14" fmla="*/ 314040 w 328994"/>
              <a:gd name="connsiteY14" fmla="*/ 97203 h 328994"/>
              <a:gd name="connsiteX15" fmla="*/ 321517 w 328994"/>
              <a:gd name="connsiteY15" fmla="*/ 104680 h 328994"/>
              <a:gd name="connsiteX16" fmla="*/ 328994 w 328994"/>
              <a:gd name="connsiteY16" fmla="*/ 97203 h 328994"/>
              <a:gd name="connsiteX17" fmla="*/ 328994 w 328994"/>
              <a:gd name="connsiteY17" fmla="*/ 7477 h 328994"/>
              <a:gd name="connsiteX18" fmla="*/ 328396 w 328994"/>
              <a:gd name="connsiteY18" fmla="*/ 4636 h 328994"/>
              <a:gd name="connsiteX19" fmla="*/ 119634 w 328994"/>
              <a:gd name="connsiteY19" fmla="*/ 314040 h 328994"/>
              <a:gd name="connsiteX20" fmla="*/ 14954 w 328994"/>
              <a:gd name="connsiteY20" fmla="*/ 209360 h 328994"/>
              <a:gd name="connsiteX21" fmla="*/ 119634 w 328994"/>
              <a:gd name="connsiteY21" fmla="*/ 104680 h 328994"/>
              <a:gd name="connsiteX22" fmla="*/ 224314 w 328994"/>
              <a:gd name="connsiteY22" fmla="*/ 209360 h 328994"/>
              <a:gd name="connsiteX23" fmla="*/ 119634 w 328994"/>
              <a:gd name="connsiteY23" fmla="*/ 314040 h 32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8994" h="328994">
                <a:moveTo>
                  <a:pt x="328396" y="4636"/>
                </a:moveTo>
                <a:cubicBezTo>
                  <a:pt x="327648" y="2841"/>
                  <a:pt x="326153" y="1346"/>
                  <a:pt x="324358" y="598"/>
                </a:cubicBezTo>
                <a:cubicBezTo>
                  <a:pt x="323461" y="150"/>
                  <a:pt x="322414" y="0"/>
                  <a:pt x="321517" y="0"/>
                </a:cubicBezTo>
                <a:lnTo>
                  <a:pt x="231791" y="0"/>
                </a:lnTo>
                <a:cubicBezTo>
                  <a:pt x="227604" y="0"/>
                  <a:pt x="224314" y="3290"/>
                  <a:pt x="224314" y="7477"/>
                </a:cubicBezTo>
                <a:cubicBezTo>
                  <a:pt x="224314" y="11664"/>
                  <a:pt x="227604" y="14954"/>
                  <a:pt x="231791" y="14954"/>
                </a:cubicBezTo>
                <a:lnTo>
                  <a:pt x="303422" y="14954"/>
                </a:lnTo>
                <a:lnTo>
                  <a:pt x="198593" y="119784"/>
                </a:lnTo>
                <a:cubicBezTo>
                  <a:pt x="177507" y="101091"/>
                  <a:pt x="149842" y="89726"/>
                  <a:pt x="119634" y="89726"/>
                </a:cubicBezTo>
                <a:cubicBezTo>
                  <a:pt x="53686" y="89726"/>
                  <a:pt x="0" y="143411"/>
                  <a:pt x="0" y="209360"/>
                </a:cubicBezTo>
                <a:cubicBezTo>
                  <a:pt x="0" y="275308"/>
                  <a:pt x="53686" y="328994"/>
                  <a:pt x="119634" y="328994"/>
                </a:cubicBezTo>
                <a:cubicBezTo>
                  <a:pt x="185583" y="328994"/>
                  <a:pt x="239268" y="275308"/>
                  <a:pt x="239268" y="209360"/>
                </a:cubicBezTo>
                <a:cubicBezTo>
                  <a:pt x="239268" y="179003"/>
                  <a:pt x="227903" y="151487"/>
                  <a:pt x="209210" y="130401"/>
                </a:cubicBezTo>
                <a:lnTo>
                  <a:pt x="314040" y="25572"/>
                </a:lnTo>
                <a:lnTo>
                  <a:pt x="314040" y="97203"/>
                </a:lnTo>
                <a:cubicBezTo>
                  <a:pt x="314040" y="101390"/>
                  <a:pt x="317330" y="104680"/>
                  <a:pt x="321517" y="104680"/>
                </a:cubicBezTo>
                <a:cubicBezTo>
                  <a:pt x="325704" y="104680"/>
                  <a:pt x="328994" y="101390"/>
                  <a:pt x="328994" y="97203"/>
                </a:cubicBezTo>
                <a:lnTo>
                  <a:pt x="328994" y="7477"/>
                </a:lnTo>
                <a:cubicBezTo>
                  <a:pt x="328994" y="6430"/>
                  <a:pt x="328844" y="5533"/>
                  <a:pt x="328396" y="4636"/>
                </a:cubicBezTo>
                <a:close/>
                <a:moveTo>
                  <a:pt x="119634" y="314040"/>
                </a:moveTo>
                <a:cubicBezTo>
                  <a:pt x="61911" y="314040"/>
                  <a:pt x="14954" y="267083"/>
                  <a:pt x="14954" y="209360"/>
                </a:cubicBezTo>
                <a:cubicBezTo>
                  <a:pt x="14954" y="151636"/>
                  <a:pt x="61911" y="104680"/>
                  <a:pt x="119634" y="104680"/>
                </a:cubicBezTo>
                <a:cubicBezTo>
                  <a:pt x="177358" y="104680"/>
                  <a:pt x="224314" y="151636"/>
                  <a:pt x="224314" y="209360"/>
                </a:cubicBezTo>
                <a:cubicBezTo>
                  <a:pt x="224314" y="267083"/>
                  <a:pt x="177358" y="314040"/>
                  <a:pt x="119634" y="314040"/>
                </a:cubicBezTo>
                <a:close/>
              </a:path>
            </a:pathLst>
          </a:custGeom>
          <a:solidFill>
            <a:schemeClr val="tx1"/>
          </a:solidFill>
          <a:ln w="14720" cap="flat">
            <a:noFill/>
            <a:prstDash val="solid"/>
            <a:miter/>
          </a:ln>
        </p:spPr>
        <p:txBody>
          <a:bodyPr rtlCol="0" anchor="ctr"/>
          <a:lstStyle/>
          <a:p>
            <a:endParaRPr lang="en-US" sz="800"/>
          </a:p>
        </p:txBody>
      </p:sp>
      <p:sp>
        <p:nvSpPr>
          <p:cNvPr id="3" name="TextBox 2">
            <a:extLst>
              <a:ext uri="{FF2B5EF4-FFF2-40B4-BE49-F238E27FC236}">
                <a16:creationId xmlns:a16="http://schemas.microsoft.com/office/drawing/2014/main" id="{81C846C8-9C62-484D-B37D-85135CA9587C}"/>
              </a:ext>
              <a:ext uri="{C183D7F6-B498-43B3-948B-1728B52AA6E4}">
                <adec:decorative xmlns:adec="http://schemas.microsoft.com/office/drawing/2017/decorative" val="1"/>
              </a:ext>
            </a:extLst>
          </p:cNvPr>
          <p:cNvSpPr txBox="1"/>
          <p:nvPr/>
        </p:nvSpPr>
        <p:spPr>
          <a:xfrm>
            <a:off x="6270651" y="2134266"/>
            <a:ext cx="200376" cy="123111"/>
          </a:xfrm>
          <a:prstGeom prst="rect">
            <a:avLst/>
          </a:prstGeom>
          <a:noFill/>
        </p:spPr>
        <p:txBody>
          <a:bodyPr wrap="none" lIns="0" tIns="0" rIns="0" bIns="0" rtlCol="0">
            <a:spAutoFit/>
          </a:bodyPr>
          <a:lstStyle/>
          <a:p>
            <a:pPr algn="l"/>
            <a:r>
              <a:rPr lang="de-DE" sz="800"/>
              <a:t>man</a:t>
            </a:r>
          </a:p>
        </p:txBody>
      </p:sp>
      <p:sp>
        <p:nvSpPr>
          <p:cNvPr id="2642" name="TextBox 2641">
            <a:extLst>
              <a:ext uri="{FF2B5EF4-FFF2-40B4-BE49-F238E27FC236}">
                <a16:creationId xmlns:a16="http://schemas.microsoft.com/office/drawing/2014/main" id="{B67E8DDD-5F03-4624-B2B1-93DA144D1776}"/>
              </a:ext>
              <a:ext uri="{C183D7F6-B498-43B3-948B-1728B52AA6E4}">
                <adec:decorative xmlns:adec="http://schemas.microsoft.com/office/drawing/2017/decorative" val="1"/>
              </a:ext>
            </a:extLst>
          </p:cNvPr>
          <p:cNvSpPr txBox="1"/>
          <p:nvPr/>
        </p:nvSpPr>
        <p:spPr>
          <a:xfrm>
            <a:off x="6762672" y="2134266"/>
            <a:ext cx="341440" cy="123111"/>
          </a:xfrm>
          <a:prstGeom prst="rect">
            <a:avLst/>
          </a:prstGeom>
          <a:noFill/>
        </p:spPr>
        <p:txBody>
          <a:bodyPr wrap="none" lIns="0" tIns="0" rIns="0" bIns="0" rtlCol="0">
            <a:spAutoFit/>
          </a:bodyPr>
          <a:lstStyle/>
          <a:p>
            <a:pPr algn="l"/>
            <a:r>
              <a:rPr lang="de-DE" sz="800" err="1"/>
              <a:t>woman</a:t>
            </a:r>
            <a:endParaRPr lang="de-DE" sz="800"/>
          </a:p>
        </p:txBody>
      </p:sp>
      <p:sp>
        <p:nvSpPr>
          <p:cNvPr id="2643" name="TextBox 2642">
            <a:extLst>
              <a:ext uri="{FF2B5EF4-FFF2-40B4-BE49-F238E27FC236}">
                <a16:creationId xmlns:a16="http://schemas.microsoft.com/office/drawing/2014/main" id="{7ACA6CBE-0B2F-44F8-8A2B-966FC73273ED}"/>
              </a:ext>
              <a:ext uri="{C183D7F6-B498-43B3-948B-1728B52AA6E4}">
                <adec:decorative xmlns:adec="http://schemas.microsoft.com/office/drawing/2017/decorative" val="1"/>
              </a:ext>
            </a:extLst>
          </p:cNvPr>
          <p:cNvSpPr txBox="1"/>
          <p:nvPr/>
        </p:nvSpPr>
        <p:spPr>
          <a:xfrm>
            <a:off x="7433411" y="2134266"/>
            <a:ext cx="500137" cy="123111"/>
          </a:xfrm>
          <a:prstGeom prst="rect">
            <a:avLst/>
          </a:prstGeom>
          <a:noFill/>
        </p:spPr>
        <p:txBody>
          <a:bodyPr wrap="none" lIns="0" tIns="0" rIns="0" bIns="0" rtlCol="0">
            <a:spAutoFit/>
          </a:bodyPr>
          <a:lstStyle/>
          <a:p>
            <a:pPr algn="l"/>
            <a:r>
              <a:rPr lang="de-DE" sz="800"/>
              <a:t>non-</a:t>
            </a:r>
            <a:r>
              <a:rPr lang="de-DE" sz="800" err="1"/>
              <a:t>binary</a:t>
            </a:r>
            <a:endParaRPr lang="de-DE" sz="800"/>
          </a:p>
        </p:txBody>
      </p:sp>
      <p:sp>
        <p:nvSpPr>
          <p:cNvPr id="2644" name="TextBox 2643">
            <a:extLst>
              <a:ext uri="{FF2B5EF4-FFF2-40B4-BE49-F238E27FC236}">
                <a16:creationId xmlns:a16="http://schemas.microsoft.com/office/drawing/2014/main" id="{1782254B-507C-4AEE-841E-5B828BE44353}"/>
              </a:ext>
              <a:ext uri="{C183D7F6-B498-43B3-948B-1728B52AA6E4}">
                <adec:decorative xmlns:adec="http://schemas.microsoft.com/office/drawing/2017/decorative" val="1"/>
              </a:ext>
            </a:extLst>
          </p:cNvPr>
          <p:cNvSpPr txBox="1"/>
          <p:nvPr/>
        </p:nvSpPr>
        <p:spPr>
          <a:xfrm>
            <a:off x="8293110" y="2134266"/>
            <a:ext cx="575479" cy="123111"/>
          </a:xfrm>
          <a:prstGeom prst="rect">
            <a:avLst/>
          </a:prstGeom>
          <a:noFill/>
        </p:spPr>
        <p:txBody>
          <a:bodyPr wrap="none" lIns="0" tIns="0" rIns="0" bIns="0" rtlCol="0">
            <a:spAutoFit/>
          </a:bodyPr>
          <a:lstStyle/>
          <a:p>
            <a:pPr algn="l"/>
            <a:r>
              <a:rPr lang="de-DE" sz="800"/>
              <a:t>transgender</a:t>
            </a:r>
          </a:p>
        </p:txBody>
      </p:sp>
    </p:spTree>
    <p:extLst>
      <p:ext uri="{BB962C8B-B14F-4D97-AF65-F5344CB8AC3E}">
        <p14:creationId xmlns:p14="http://schemas.microsoft.com/office/powerpoint/2010/main" val="480246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Exemple d’un </a:t>
            </a:r>
            <a:r>
              <a:rPr lang="fr-FR" err="1"/>
              <a:t>tracert</a:t>
            </a:r>
            <a:endParaRPr lang="fr-FR"/>
          </a:p>
        </p:txBody>
      </p:sp>
      <p:sp>
        <p:nvSpPr>
          <p:cNvPr id="18" name="ZoneTexte 17">
            <a:extLst>
              <a:ext uri="{FF2B5EF4-FFF2-40B4-BE49-F238E27FC236}">
                <a16:creationId xmlns:a16="http://schemas.microsoft.com/office/drawing/2014/main" id="{109B9CDA-2421-8681-F4B8-DF5D6C53E5E4}"/>
              </a:ext>
            </a:extLst>
          </p:cNvPr>
          <p:cNvSpPr txBox="1"/>
          <p:nvPr/>
        </p:nvSpPr>
        <p:spPr>
          <a:xfrm>
            <a:off x="414970" y="1246834"/>
            <a:ext cx="8208912"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l">
              <a:spcBef>
                <a:spcPct val="0"/>
              </a:spcBef>
            </a:pPr>
            <a:r>
              <a:rPr lang="fr-FR" sz="1400" err="1">
                <a:solidFill>
                  <a:schemeClr val="bg1"/>
                </a:solidFill>
                <a:latin typeface="Courier New" panose="02070309020205020404" pitchFamily="49" charset="0"/>
                <a:cs typeface="Courier New" panose="02070309020205020404" pitchFamily="49" charset="0"/>
              </a:rPr>
              <a:t>tracert</a:t>
            </a:r>
            <a:r>
              <a:rPr lang="fr-FR" sz="1400">
                <a:solidFill>
                  <a:schemeClr val="bg1"/>
                </a:solidFill>
                <a:latin typeface="Courier New" panose="02070309020205020404" pitchFamily="49" charset="0"/>
                <a:cs typeface="Courier New" panose="02070309020205020404" pitchFamily="49" charset="0"/>
              </a:rPr>
              <a:t> google.com</a:t>
            </a:r>
          </a:p>
        </p:txBody>
      </p:sp>
      <p:sp>
        <p:nvSpPr>
          <p:cNvPr id="20" name="ZoneTexte 19">
            <a:extLst>
              <a:ext uri="{FF2B5EF4-FFF2-40B4-BE49-F238E27FC236}">
                <a16:creationId xmlns:a16="http://schemas.microsoft.com/office/drawing/2014/main" id="{A8290D6C-3AFA-E20B-8BFC-D4E63D9D63CB}"/>
              </a:ext>
            </a:extLst>
          </p:cNvPr>
          <p:cNvSpPr txBox="1"/>
          <p:nvPr/>
        </p:nvSpPr>
        <p:spPr>
          <a:xfrm>
            <a:off x="414970" y="2263652"/>
            <a:ext cx="8345326" cy="3541612"/>
          </a:xfrm>
          <a:prstGeom prst="rect">
            <a:avLst/>
          </a:prstGeom>
          <a:solidFill>
            <a:schemeClr val="tx2"/>
          </a:solidFill>
          <a:ln>
            <a:solidFill>
              <a:schemeClr val="bg1"/>
            </a:solidFill>
          </a:ln>
        </p:spPr>
        <p:txBody>
          <a:bodyPr vert="horz" wrap="square" lIns="90000" tIns="46800" rIns="90000" bIns="46800" rtlCol="0" anchor="ctr">
            <a:spAutoFit/>
          </a:bodyPr>
          <a:lstStyle>
            <a:defPPr>
              <a:defRPr lang="pt-PT"/>
            </a:defPPr>
            <a:lvl1pPr>
              <a:spcBef>
                <a:spcPct val="0"/>
              </a:spcBef>
              <a:defRPr sz="1400">
                <a:solidFill>
                  <a:schemeClr val="bg1"/>
                </a:solidFill>
                <a:latin typeface="Courier New" panose="02070309020205020404" pitchFamily="49" charset="0"/>
                <a:cs typeface="Courier New" panose="02070309020205020404" pitchFamily="49" charset="0"/>
              </a:defRPr>
            </a:lvl1pPr>
          </a:lstStyle>
          <a:p>
            <a:r>
              <a:rPr lang="fr-FR"/>
              <a:t>Détermination de l’itinéraire vers google.com [142.250.178.142]</a:t>
            </a:r>
          </a:p>
          <a:p>
            <a:r>
              <a:rPr lang="fr-FR"/>
              <a:t>avec un maximum de 30 sauts :</a:t>
            </a:r>
          </a:p>
          <a:p>
            <a:endParaRPr lang="fr-FR"/>
          </a:p>
          <a:p>
            <a:r>
              <a:rPr lang="fr-FR"/>
              <a:t>  1     1 ms    &lt;1 ms     2 ms  192.168.0.1</a:t>
            </a:r>
          </a:p>
          <a:p>
            <a:r>
              <a:rPr lang="fr-FR"/>
              <a:t>  2     *        *        *     Délai d’attente de la demande dépassé.</a:t>
            </a:r>
          </a:p>
          <a:p>
            <a:r>
              <a:rPr lang="fr-FR"/>
              <a:t>  3     *        *        *     Délai d’attente de la demande dépassé.</a:t>
            </a:r>
          </a:p>
          <a:p>
            <a:r>
              <a:rPr lang="fr-FR"/>
              <a:t>  4     *        *        *     Délai d’attente de la demande dépassé.</a:t>
            </a:r>
          </a:p>
          <a:p>
            <a:r>
              <a:rPr lang="fr-FR"/>
              <a:t>  5     *        *        *     Délai d’attente de la demande dépassé.</a:t>
            </a:r>
          </a:p>
          <a:p>
            <a:r>
              <a:rPr lang="fr-FR"/>
              <a:t>  6     *        *        *     Délai d’attente de la demande dépassé.</a:t>
            </a:r>
          </a:p>
          <a:p>
            <a:r>
              <a:rPr lang="fr-FR"/>
              <a:t>  7     7 ms     7 ms     7 ms  193.252.137.78</a:t>
            </a:r>
          </a:p>
          <a:p>
            <a:r>
              <a:rPr lang="fr-FR"/>
              <a:t>  8     8 ms     7 ms     7 ms  72.14.219.114</a:t>
            </a:r>
          </a:p>
          <a:p>
            <a:r>
              <a:rPr lang="fr-FR"/>
              <a:t>  9     8 ms     8 ms     8 ms  108.170.255.151</a:t>
            </a:r>
          </a:p>
          <a:p>
            <a:r>
              <a:rPr lang="fr-FR"/>
              <a:t> 10    13 ms    13 ms    13 ms  142.251.64.131</a:t>
            </a:r>
          </a:p>
          <a:p>
            <a:r>
              <a:rPr lang="fr-FR"/>
              <a:t> 11    14 ms     7 ms     7 ms  par21s22-in-f14.1e100.net [142.250.178.142]</a:t>
            </a:r>
          </a:p>
          <a:p>
            <a:endParaRPr lang="fr-FR"/>
          </a:p>
          <a:p>
            <a:r>
              <a:rPr lang="fr-FR"/>
              <a:t>Itinéraire déterminé.</a:t>
            </a:r>
          </a:p>
        </p:txBody>
      </p:sp>
      <p:sp>
        <p:nvSpPr>
          <p:cNvPr id="21" name="Rectangle 20">
            <a:extLst>
              <a:ext uri="{FF2B5EF4-FFF2-40B4-BE49-F238E27FC236}">
                <a16:creationId xmlns:a16="http://schemas.microsoft.com/office/drawing/2014/main" id="{D2E25917-3C82-DF38-B227-2B053986B9B7}"/>
              </a:ext>
            </a:extLst>
          </p:cNvPr>
          <p:cNvSpPr/>
          <p:nvPr/>
        </p:nvSpPr>
        <p:spPr>
          <a:xfrm>
            <a:off x="3719736" y="3170362"/>
            <a:ext cx="4248472" cy="1080120"/>
          </a:xfrm>
          <a:prstGeom prst="rect">
            <a:avLst/>
          </a:prstGeom>
          <a:noFill/>
          <a:ln w="19050">
            <a:solidFill>
              <a:schemeClr val="accent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accent2"/>
              </a:solidFill>
              <a:effectLst>
                <a:outerShdw blurRad="38100" dist="38100" dir="2700000" algn="tl">
                  <a:srgbClr val="000000">
                    <a:alpha val="43137"/>
                  </a:srgbClr>
                </a:outerShdw>
              </a:effectLst>
            </a:endParaRPr>
          </a:p>
        </p:txBody>
      </p:sp>
      <p:sp>
        <p:nvSpPr>
          <p:cNvPr id="22" name="ZoneTexte 21">
            <a:extLst>
              <a:ext uri="{FF2B5EF4-FFF2-40B4-BE49-F238E27FC236}">
                <a16:creationId xmlns:a16="http://schemas.microsoft.com/office/drawing/2014/main" id="{BDB9682A-5DAF-FEDB-4905-126F6DC6EC67}"/>
              </a:ext>
            </a:extLst>
          </p:cNvPr>
          <p:cNvSpPr txBox="1"/>
          <p:nvPr/>
        </p:nvSpPr>
        <p:spPr>
          <a:xfrm>
            <a:off x="9263144" y="3339999"/>
            <a:ext cx="2160240" cy="740845"/>
          </a:xfrm>
          <a:prstGeom prst="rect">
            <a:avLst/>
          </a:prstGeom>
          <a:noFill/>
          <a:ln>
            <a:solidFill>
              <a:schemeClr val="accent2"/>
            </a:solidFill>
          </a:ln>
          <a:effectLst>
            <a:outerShdw blurRad="50800" dist="38100" dir="2700000" algn="tl" rotWithShape="0">
              <a:prstClr val="black">
                <a:alpha val="40000"/>
              </a:prstClr>
            </a:outerShdw>
          </a:effectLst>
        </p:spPr>
        <p:txBody>
          <a:bodyPr vert="horz" wrap="square" lIns="90000" tIns="46800" rIns="90000" bIns="46800" rtlCol="0" anchor="ctr">
            <a:spAutoFit/>
          </a:bodyPr>
          <a:lstStyle/>
          <a:p>
            <a:pPr algn="l">
              <a:spcBef>
                <a:spcPct val="0"/>
              </a:spcBef>
            </a:pPr>
            <a:r>
              <a:rPr lang="fr-FR" sz="1400" b="1">
                <a:solidFill>
                  <a:schemeClr val="accent2"/>
                </a:solidFill>
                <a:effectLst>
                  <a:outerShdw blurRad="38100" dist="38100" dir="2700000" algn="tl">
                    <a:srgbClr val="000000">
                      <a:alpha val="43137"/>
                    </a:srgbClr>
                  </a:outerShdw>
                </a:effectLst>
              </a:rPr>
              <a:t>Le réseau interne cache ses nœuds pour des raisons de sécurité</a:t>
            </a:r>
          </a:p>
        </p:txBody>
      </p:sp>
      <p:sp>
        <p:nvSpPr>
          <p:cNvPr id="23" name="ZoneTexte 22">
            <a:extLst>
              <a:ext uri="{FF2B5EF4-FFF2-40B4-BE49-F238E27FC236}">
                <a16:creationId xmlns:a16="http://schemas.microsoft.com/office/drawing/2014/main" id="{2826A832-FC9A-30CB-BAAB-B2232A423479}"/>
              </a:ext>
            </a:extLst>
          </p:cNvPr>
          <p:cNvSpPr txBox="1"/>
          <p:nvPr/>
        </p:nvSpPr>
        <p:spPr>
          <a:xfrm>
            <a:off x="9263144" y="4395079"/>
            <a:ext cx="2160240" cy="956288"/>
          </a:xfrm>
          <a:prstGeom prst="rect">
            <a:avLst/>
          </a:prstGeom>
          <a:noFill/>
          <a:ln>
            <a:solidFill>
              <a:schemeClr val="accent2"/>
            </a:solidFill>
          </a:ln>
          <a:effectLst>
            <a:outerShdw blurRad="50800" dist="38100" dir="2700000" algn="tl" rotWithShape="0">
              <a:prstClr val="black">
                <a:alpha val="40000"/>
              </a:prstClr>
            </a:outerShdw>
          </a:effectLst>
        </p:spPr>
        <p:txBody>
          <a:bodyPr vert="horz" wrap="square" lIns="90000" tIns="46800" rIns="90000" bIns="46800" rtlCol="0" anchor="ctr">
            <a:spAutoFit/>
          </a:bodyPr>
          <a:lstStyle/>
          <a:p>
            <a:pPr algn="l">
              <a:spcBef>
                <a:spcPct val="0"/>
              </a:spcBef>
            </a:pPr>
            <a:r>
              <a:rPr lang="fr-FR" sz="1400" b="1">
                <a:solidFill>
                  <a:schemeClr val="accent2"/>
                </a:solidFill>
                <a:effectLst>
                  <a:outerShdw blurRad="38100" dist="38100" dir="2700000" algn="tl">
                    <a:srgbClr val="000000">
                      <a:alpha val="43137"/>
                    </a:srgbClr>
                  </a:outerShdw>
                </a:effectLst>
              </a:rPr>
              <a:t>Les </a:t>
            </a:r>
            <a:r>
              <a:rPr lang="fr-FR" sz="1400" b="1" err="1">
                <a:solidFill>
                  <a:schemeClr val="accent2"/>
                </a:solidFill>
                <a:effectLst>
                  <a:outerShdw blurRad="38100" dist="38100" dir="2700000" algn="tl">
                    <a:srgbClr val="000000">
                      <a:alpha val="43137"/>
                    </a:srgbClr>
                  </a:outerShdw>
                </a:effectLst>
              </a:rPr>
              <a:t>noeuds</a:t>
            </a:r>
            <a:r>
              <a:rPr lang="fr-FR" sz="1400" b="1">
                <a:solidFill>
                  <a:schemeClr val="accent2"/>
                </a:solidFill>
                <a:effectLst>
                  <a:outerShdw blurRad="38100" dist="38100" dir="2700000" algn="tl">
                    <a:srgbClr val="000000">
                      <a:alpha val="43137"/>
                    </a:srgbClr>
                  </a:outerShdw>
                </a:effectLst>
              </a:rPr>
              <a:t> externe sont affichés car il s’agit de partenaires publiques</a:t>
            </a:r>
          </a:p>
        </p:txBody>
      </p:sp>
      <p:sp>
        <p:nvSpPr>
          <p:cNvPr id="24" name="Rectangle 23">
            <a:extLst>
              <a:ext uri="{FF2B5EF4-FFF2-40B4-BE49-F238E27FC236}">
                <a16:creationId xmlns:a16="http://schemas.microsoft.com/office/drawing/2014/main" id="{5434DC21-9615-C5C6-68D6-4320B4587B16}"/>
              </a:ext>
            </a:extLst>
          </p:cNvPr>
          <p:cNvSpPr/>
          <p:nvPr/>
        </p:nvSpPr>
        <p:spPr>
          <a:xfrm>
            <a:off x="3719736" y="2954338"/>
            <a:ext cx="1368152" cy="216024"/>
          </a:xfrm>
          <a:prstGeom prst="rect">
            <a:avLst/>
          </a:prstGeom>
          <a:noFill/>
          <a:ln w="19050">
            <a:solidFill>
              <a:schemeClr val="accent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accent2"/>
              </a:solidFill>
              <a:effectLst>
                <a:outerShdw blurRad="38100" dist="38100" dir="2700000" algn="tl">
                  <a:srgbClr val="000000">
                    <a:alpha val="43137"/>
                  </a:srgbClr>
                </a:outerShdw>
              </a:effectLst>
            </a:endParaRPr>
          </a:p>
        </p:txBody>
      </p:sp>
      <p:sp>
        <p:nvSpPr>
          <p:cNvPr id="25" name="ZoneTexte 24">
            <a:extLst>
              <a:ext uri="{FF2B5EF4-FFF2-40B4-BE49-F238E27FC236}">
                <a16:creationId xmlns:a16="http://schemas.microsoft.com/office/drawing/2014/main" id="{55AC0A09-3CAB-9D38-486B-5254AEE2EDB2}"/>
              </a:ext>
            </a:extLst>
          </p:cNvPr>
          <p:cNvSpPr txBox="1"/>
          <p:nvPr/>
        </p:nvSpPr>
        <p:spPr>
          <a:xfrm>
            <a:off x="9263144" y="2456207"/>
            <a:ext cx="2160240" cy="740845"/>
          </a:xfrm>
          <a:prstGeom prst="rect">
            <a:avLst/>
          </a:prstGeom>
          <a:noFill/>
          <a:ln>
            <a:solidFill>
              <a:schemeClr val="accent2"/>
            </a:solidFill>
          </a:ln>
          <a:effectLst>
            <a:outerShdw blurRad="50800" dist="38100" dir="2700000" algn="tl" rotWithShape="0">
              <a:prstClr val="black">
                <a:alpha val="40000"/>
              </a:prstClr>
            </a:outerShdw>
          </a:effectLst>
        </p:spPr>
        <p:txBody>
          <a:bodyPr vert="horz" wrap="square" lIns="90000" tIns="46800" rIns="90000" bIns="46800" rtlCol="0" anchor="ctr">
            <a:spAutoFit/>
          </a:bodyPr>
          <a:lstStyle/>
          <a:p>
            <a:pPr algn="l">
              <a:spcBef>
                <a:spcPct val="0"/>
              </a:spcBef>
            </a:pPr>
            <a:r>
              <a:rPr lang="fr-FR" sz="1400" b="1">
                <a:solidFill>
                  <a:schemeClr val="accent2"/>
                </a:solidFill>
                <a:effectLst>
                  <a:outerShdw blurRad="38100" dist="38100" dir="2700000" algn="tl">
                    <a:srgbClr val="000000">
                      <a:alpha val="43137"/>
                    </a:srgbClr>
                  </a:outerShdw>
                </a:effectLst>
              </a:rPr>
              <a:t>Je parle avec la </a:t>
            </a:r>
            <a:r>
              <a:rPr lang="fr-FR" sz="1400" b="1" err="1">
                <a:solidFill>
                  <a:schemeClr val="accent2"/>
                </a:solidFill>
                <a:effectLst>
                  <a:outerShdw blurRad="38100" dist="38100" dir="2700000" algn="tl">
                    <a:srgbClr val="000000">
                      <a:alpha val="43137"/>
                    </a:srgbClr>
                  </a:outerShdw>
                </a:effectLst>
              </a:rPr>
              <a:t>gateway</a:t>
            </a:r>
            <a:r>
              <a:rPr lang="fr-FR" sz="1400" b="1">
                <a:solidFill>
                  <a:schemeClr val="accent2"/>
                </a:solidFill>
                <a:effectLst>
                  <a:outerShdw blurRad="38100" dist="38100" dir="2700000" algn="tl">
                    <a:srgbClr val="000000">
                      <a:alpha val="43137"/>
                    </a:srgbClr>
                  </a:outerShdw>
                </a:effectLst>
              </a:rPr>
              <a:t> de mon réseau</a:t>
            </a:r>
          </a:p>
        </p:txBody>
      </p:sp>
      <p:sp>
        <p:nvSpPr>
          <p:cNvPr id="26" name="Rectangle 25">
            <a:extLst>
              <a:ext uri="{FF2B5EF4-FFF2-40B4-BE49-F238E27FC236}">
                <a16:creationId xmlns:a16="http://schemas.microsoft.com/office/drawing/2014/main" id="{00FB20FD-983C-13D1-1F1E-8C39C3697612}"/>
              </a:ext>
            </a:extLst>
          </p:cNvPr>
          <p:cNvSpPr/>
          <p:nvPr/>
        </p:nvSpPr>
        <p:spPr>
          <a:xfrm>
            <a:off x="3719736" y="4250482"/>
            <a:ext cx="4824536" cy="1080120"/>
          </a:xfrm>
          <a:prstGeom prst="rect">
            <a:avLst/>
          </a:prstGeom>
          <a:noFill/>
          <a:ln w="19050">
            <a:solidFill>
              <a:schemeClr val="accent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accent2"/>
              </a:solidFill>
              <a:effectLst>
                <a:outerShdw blurRad="38100" dist="38100" dir="2700000" algn="tl">
                  <a:srgbClr val="000000">
                    <a:alpha val="43137"/>
                  </a:srgbClr>
                </a:outerShdw>
              </a:effectLst>
            </a:endParaRPr>
          </a:p>
        </p:txBody>
      </p:sp>
      <p:cxnSp>
        <p:nvCxnSpPr>
          <p:cNvPr id="28" name="Connecteur droit 27">
            <a:extLst>
              <a:ext uri="{FF2B5EF4-FFF2-40B4-BE49-F238E27FC236}">
                <a16:creationId xmlns:a16="http://schemas.microsoft.com/office/drawing/2014/main" id="{BDDCCE94-CDF8-5302-A7DC-2CB51E9FB9A3}"/>
              </a:ext>
            </a:extLst>
          </p:cNvPr>
          <p:cNvCxnSpPr>
            <a:stCxn id="25" idx="1"/>
            <a:endCxn id="24" idx="3"/>
          </p:cNvCxnSpPr>
          <p:nvPr/>
        </p:nvCxnSpPr>
        <p:spPr>
          <a:xfrm flipH="1">
            <a:off x="5087888" y="2826630"/>
            <a:ext cx="4175256" cy="235720"/>
          </a:xfrm>
          <a:prstGeom prst="line">
            <a:avLst/>
          </a:prstGeom>
          <a:ln w="28575">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Connecteur droit 28">
            <a:extLst>
              <a:ext uri="{FF2B5EF4-FFF2-40B4-BE49-F238E27FC236}">
                <a16:creationId xmlns:a16="http://schemas.microsoft.com/office/drawing/2014/main" id="{94BB0FC3-2619-DBA3-EC55-FBEFD1A562B1}"/>
              </a:ext>
            </a:extLst>
          </p:cNvPr>
          <p:cNvCxnSpPr>
            <a:cxnSpLocks/>
            <a:stCxn id="22" idx="1"/>
            <a:endCxn id="21" idx="3"/>
          </p:cNvCxnSpPr>
          <p:nvPr/>
        </p:nvCxnSpPr>
        <p:spPr>
          <a:xfrm flipH="1">
            <a:off x="7968208" y="3710422"/>
            <a:ext cx="1294936" cy="0"/>
          </a:xfrm>
          <a:prstGeom prst="line">
            <a:avLst/>
          </a:prstGeom>
          <a:ln w="28575">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C605D1DC-96AD-9EEA-CA92-F70C55AEC8BA}"/>
              </a:ext>
            </a:extLst>
          </p:cNvPr>
          <p:cNvCxnSpPr>
            <a:cxnSpLocks/>
            <a:stCxn id="23" idx="1"/>
          </p:cNvCxnSpPr>
          <p:nvPr/>
        </p:nvCxnSpPr>
        <p:spPr>
          <a:xfrm flipH="1" flipV="1">
            <a:off x="8544272" y="4819110"/>
            <a:ext cx="718872" cy="54113"/>
          </a:xfrm>
          <a:prstGeom prst="line">
            <a:avLst/>
          </a:prstGeom>
          <a:ln w="28575">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2754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Exemple d’un </a:t>
            </a:r>
            <a:r>
              <a:rPr lang="fr-FR" err="1"/>
              <a:t>tracert</a:t>
            </a:r>
            <a:endParaRPr lang="fr-FR"/>
          </a:p>
        </p:txBody>
      </p:sp>
      <p:sp>
        <p:nvSpPr>
          <p:cNvPr id="18" name="ZoneTexte 17">
            <a:extLst>
              <a:ext uri="{FF2B5EF4-FFF2-40B4-BE49-F238E27FC236}">
                <a16:creationId xmlns:a16="http://schemas.microsoft.com/office/drawing/2014/main" id="{109B9CDA-2421-8681-F4B8-DF5D6C53E5E4}"/>
              </a:ext>
            </a:extLst>
          </p:cNvPr>
          <p:cNvSpPr txBox="1"/>
          <p:nvPr/>
        </p:nvSpPr>
        <p:spPr>
          <a:xfrm>
            <a:off x="410466" y="1055924"/>
            <a:ext cx="9357942"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l">
              <a:spcBef>
                <a:spcPct val="0"/>
              </a:spcBef>
            </a:pPr>
            <a:r>
              <a:rPr lang="fr-FR" sz="1400" err="1">
                <a:solidFill>
                  <a:schemeClr val="bg1"/>
                </a:solidFill>
                <a:latin typeface="Courier New" panose="02070309020205020404" pitchFamily="49" charset="0"/>
                <a:cs typeface="Courier New" panose="02070309020205020404" pitchFamily="49" charset="0"/>
              </a:rPr>
              <a:t>tracert</a:t>
            </a:r>
            <a:r>
              <a:rPr lang="fr-FR" sz="1400">
                <a:solidFill>
                  <a:schemeClr val="bg1"/>
                </a:solidFill>
                <a:latin typeface="Courier New" panose="02070309020205020404" pitchFamily="49" charset="0"/>
                <a:cs typeface="Courier New" panose="02070309020205020404" pitchFamily="49" charset="0"/>
              </a:rPr>
              <a:t> www.capgemini.com</a:t>
            </a:r>
          </a:p>
        </p:txBody>
      </p:sp>
      <p:sp>
        <p:nvSpPr>
          <p:cNvPr id="20" name="ZoneTexte 19">
            <a:extLst>
              <a:ext uri="{FF2B5EF4-FFF2-40B4-BE49-F238E27FC236}">
                <a16:creationId xmlns:a16="http://schemas.microsoft.com/office/drawing/2014/main" id="{A8290D6C-3AFA-E20B-8BFC-D4E63D9D63CB}"/>
              </a:ext>
            </a:extLst>
          </p:cNvPr>
          <p:cNvSpPr txBox="1"/>
          <p:nvPr/>
        </p:nvSpPr>
        <p:spPr>
          <a:xfrm>
            <a:off x="410466" y="1698653"/>
            <a:ext cx="9357942" cy="4526497"/>
          </a:xfrm>
          <a:prstGeom prst="rect">
            <a:avLst/>
          </a:prstGeom>
          <a:solidFill>
            <a:schemeClr val="tx2"/>
          </a:solidFill>
          <a:ln>
            <a:solidFill>
              <a:schemeClr val="bg1"/>
            </a:solidFill>
          </a:ln>
        </p:spPr>
        <p:txBody>
          <a:bodyPr vert="horz" wrap="square" lIns="90000" tIns="46800" rIns="90000" bIns="46800" rtlCol="0" anchor="ctr">
            <a:spAutoFit/>
          </a:bodyPr>
          <a:lstStyle>
            <a:defPPr>
              <a:defRPr lang="pt-PT"/>
            </a:defPPr>
            <a:lvl1pPr>
              <a:spcBef>
                <a:spcPct val="0"/>
              </a:spcBef>
              <a:defRPr sz="1400">
                <a:solidFill>
                  <a:schemeClr val="bg1"/>
                </a:solidFill>
                <a:latin typeface="Courier New" panose="02070309020205020404" pitchFamily="49" charset="0"/>
                <a:cs typeface="Courier New" panose="02070309020205020404" pitchFamily="49" charset="0"/>
              </a:defRPr>
            </a:lvl1pPr>
          </a:lstStyle>
          <a:p>
            <a:r>
              <a:rPr lang="fr-FR" sz="1200"/>
              <a:t>Détermination de l’itinéraire vers d30u0fefm819f2.cloudfront.net [52.84.150.39]</a:t>
            </a:r>
          </a:p>
          <a:p>
            <a:r>
              <a:rPr lang="fr-FR" sz="1200"/>
              <a:t>avec un maximum de 30 sauts :</a:t>
            </a:r>
          </a:p>
          <a:p>
            <a:endParaRPr lang="fr-FR" sz="1200"/>
          </a:p>
          <a:p>
            <a:r>
              <a:rPr lang="fr-FR" sz="1200"/>
              <a:t>  1     1 ms     1 ms     1 ms  192.168.0.1</a:t>
            </a:r>
          </a:p>
          <a:p>
            <a:r>
              <a:rPr lang="fr-FR" sz="1200"/>
              <a:t>  2     *        *        *     Délai d’attente de la demande dépassé.</a:t>
            </a:r>
          </a:p>
          <a:p>
            <a:r>
              <a:rPr lang="fr-FR" sz="1200"/>
              <a:t>  3     *        *        *     Délai d’attente de la demande dépassé.</a:t>
            </a:r>
          </a:p>
          <a:p>
            <a:r>
              <a:rPr lang="fr-FR" sz="1200"/>
              <a:t>  4     *        7 ms     8 ms  intf-fogi-arc2-ig3.nmidf306.rbci.orange.net [193.252.137.241]</a:t>
            </a:r>
          </a:p>
          <a:p>
            <a:r>
              <a:rPr lang="fr-FR" sz="1200"/>
              <a:t>  5     *        *        *     Délai d’attente de la demande dépassé.</a:t>
            </a:r>
          </a:p>
          <a:p>
            <a:r>
              <a:rPr lang="fr-FR" sz="1200"/>
              <a:t>  6     *        *        *     Délai d’attente de la demande dépassé.</a:t>
            </a:r>
          </a:p>
          <a:p>
            <a:r>
              <a:rPr lang="fr-FR" sz="1200"/>
              <a:t>  7     8 ms     7 ms     7 ms  193.252.137.78</a:t>
            </a:r>
          </a:p>
          <a:p>
            <a:r>
              <a:rPr lang="fr-FR" sz="1200"/>
              <a:t>  8     8 ms     8 ms     8 ms  193.251.131.0</a:t>
            </a:r>
          </a:p>
          <a:p>
            <a:r>
              <a:rPr lang="fr-FR" sz="1200"/>
              <a:t>  9     *        *        *     Délai d’attente de la demande dépassé.</a:t>
            </a:r>
          </a:p>
          <a:p>
            <a:r>
              <a:rPr lang="fr-FR" sz="1200"/>
              <a:t> 10     *        *        *     Délai d’attente de la demande dépassé.</a:t>
            </a:r>
          </a:p>
          <a:p>
            <a:r>
              <a:rPr lang="fr-FR" sz="1200"/>
              <a:t> 11     *        *        *     Délai d’attente de la demande dépassé.</a:t>
            </a:r>
          </a:p>
          <a:p>
            <a:r>
              <a:rPr lang="fr-FR" sz="1200"/>
              <a:t> 12     *        *        *     Délai d’attente de la demande dépassé.</a:t>
            </a:r>
          </a:p>
          <a:p>
            <a:r>
              <a:rPr lang="fr-FR" sz="1200"/>
              <a:t> 13     *        *        *     Délai d’attente de la demande dépassé.</a:t>
            </a:r>
          </a:p>
          <a:p>
            <a:r>
              <a:rPr lang="fr-FR" sz="1200"/>
              <a:t> 14     *        *        *     Délai d’attente de la demande dépassé.</a:t>
            </a:r>
          </a:p>
          <a:p>
            <a:r>
              <a:rPr lang="fr-FR" sz="1200"/>
              <a:t> 15     *        *        *     Délai d’attente de la demande dépassé.</a:t>
            </a:r>
          </a:p>
          <a:p>
            <a:r>
              <a:rPr lang="fr-FR" sz="1200"/>
              <a:t> 16     *        *        *     Délai d’attente de la demande dépassé.</a:t>
            </a:r>
          </a:p>
          <a:p>
            <a:r>
              <a:rPr lang="fr-FR" sz="1200"/>
              <a:t> 17     *        *        *     Délai d’attente de la demande dépassé.</a:t>
            </a:r>
          </a:p>
          <a:p>
            <a:r>
              <a:rPr lang="fr-FR" sz="1200"/>
              <a:t> 18     *        *        *     Délai d’attente de la demande dépassé.</a:t>
            </a:r>
          </a:p>
          <a:p>
            <a:r>
              <a:rPr lang="fr-FR" sz="1200"/>
              <a:t> 19     8 ms     7 ms     7 ms  52.84.150.39</a:t>
            </a:r>
          </a:p>
          <a:p>
            <a:endParaRPr lang="fr-FR" sz="1200"/>
          </a:p>
          <a:p>
            <a:r>
              <a:rPr lang="fr-FR" sz="1200"/>
              <a:t>Itinéraire déterminé.</a:t>
            </a:r>
          </a:p>
        </p:txBody>
      </p:sp>
    </p:spTree>
    <p:extLst>
      <p:ext uri="{BB962C8B-B14F-4D97-AF65-F5344CB8AC3E}">
        <p14:creationId xmlns:p14="http://schemas.microsoft.com/office/powerpoint/2010/main" val="314182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624107"/>
            <a:ext cx="11369042" cy="2089291"/>
          </a:xfrm>
        </p:spPr>
        <p:txBody>
          <a:bodyPr/>
          <a:lstStyle/>
          <a:p>
            <a:pPr marL="285750" indent="-285750">
              <a:buFont typeface="Arial" panose="020B0604020202020204" pitchFamily="34" charset="0"/>
              <a:buChar char="•"/>
            </a:pPr>
            <a:r>
              <a:rPr lang="fr-FR" sz="1600" b="1"/>
              <a:t>Les nœuds intermédiaires peuvent </a:t>
            </a:r>
          </a:p>
          <a:p>
            <a:pPr marL="466725" lvl="1" indent="-285750">
              <a:buFont typeface="Arial" panose="020B0604020202020204" pitchFamily="34" charset="0"/>
              <a:buChar char="•"/>
            </a:pPr>
            <a:r>
              <a:rPr lang="fr-FR"/>
              <a:t>Accéder et mémoriser les données échangées</a:t>
            </a:r>
          </a:p>
          <a:p>
            <a:pPr marL="466725" lvl="1" indent="-285750">
              <a:buFont typeface="Arial" panose="020B0604020202020204" pitchFamily="34" charset="0"/>
              <a:buChar char="•"/>
            </a:pPr>
            <a:r>
              <a:rPr lang="fr-FR"/>
              <a:t>Corrompre les données échangées à leur avantage</a:t>
            </a:r>
          </a:p>
          <a:p>
            <a:pPr marL="285750" indent="-285750">
              <a:buFont typeface="Arial" panose="020B0604020202020204" pitchFamily="34" charset="0"/>
              <a:buChar char="•"/>
            </a:pPr>
            <a:r>
              <a:rPr lang="fr-FR" sz="1600" b="1"/>
              <a:t>Dans cette exemple, Alice donne ses coordonnées bancaires a Bob pour qu’il puisse lui faire un virement</a:t>
            </a:r>
          </a:p>
          <a:p>
            <a:pPr marL="466725" lvl="1" indent="-285750">
              <a:buFont typeface="Arial" panose="020B0604020202020204" pitchFamily="34" charset="0"/>
              <a:buChar char="•"/>
            </a:pPr>
            <a:r>
              <a:rPr lang="fr-FR"/>
              <a:t>Le Nœud 3 altère la donnée pour y mettre son propre relevé d’identité bancaire</a:t>
            </a:r>
          </a:p>
          <a:p>
            <a:pPr marL="466725" lvl="1" indent="-285750">
              <a:buFont typeface="Arial" panose="020B0604020202020204" pitchFamily="34" charset="0"/>
              <a:buChar char="•"/>
            </a:pPr>
            <a:r>
              <a:rPr lang="fr-FR"/>
              <a:t>Bob ne peut pas savoir que la donnée a été altérée …</a:t>
            </a: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Exemples d’attaques « Man in the Middle »</a:t>
            </a:r>
          </a:p>
        </p:txBody>
      </p:sp>
      <p:grpSp>
        <p:nvGrpSpPr>
          <p:cNvPr id="6" name="Groupe 5">
            <a:extLst>
              <a:ext uri="{FF2B5EF4-FFF2-40B4-BE49-F238E27FC236}">
                <a16:creationId xmlns:a16="http://schemas.microsoft.com/office/drawing/2014/main" id="{4E16524D-3658-EE2F-02CF-1D70BDE46AA4}"/>
              </a:ext>
            </a:extLst>
          </p:cNvPr>
          <p:cNvGrpSpPr/>
          <p:nvPr/>
        </p:nvGrpSpPr>
        <p:grpSpPr>
          <a:xfrm>
            <a:off x="1102160" y="4079913"/>
            <a:ext cx="9892107" cy="1368152"/>
            <a:chOff x="1271464" y="1700808"/>
            <a:chExt cx="9892107" cy="1368152"/>
          </a:xfrm>
        </p:grpSpPr>
        <p:sp>
          <p:nvSpPr>
            <p:cNvPr id="7" name="Ellipse 6">
              <a:extLst>
                <a:ext uri="{FF2B5EF4-FFF2-40B4-BE49-F238E27FC236}">
                  <a16:creationId xmlns:a16="http://schemas.microsoft.com/office/drawing/2014/main" id="{929C82F8-E96B-A9A7-27FC-6068D6F2A13C}"/>
                </a:ext>
              </a:extLst>
            </p:cNvPr>
            <p:cNvSpPr/>
            <p:nvPr/>
          </p:nvSpPr>
          <p:spPr>
            <a:xfrm>
              <a:off x="1271464" y="2492896"/>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A</a:t>
              </a:r>
            </a:p>
          </p:txBody>
        </p:sp>
        <p:sp>
          <p:nvSpPr>
            <p:cNvPr id="8" name="Ellipse 7">
              <a:extLst>
                <a:ext uri="{FF2B5EF4-FFF2-40B4-BE49-F238E27FC236}">
                  <a16:creationId xmlns:a16="http://schemas.microsoft.com/office/drawing/2014/main" id="{9B66F796-A56D-B101-6FDB-83BD9847F5F9}"/>
                </a:ext>
              </a:extLst>
            </p:cNvPr>
            <p:cNvSpPr/>
            <p:nvPr/>
          </p:nvSpPr>
          <p:spPr>
            <a:xfrm>
              <a:off x="3134673"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1</a:t>
              </a:r>
            </a:p>
          </p:txBody>
        </p:sp>
        <p:sp>
          <p:nvSpPr>
            <p:cNvPr id="9" name="Ellipse 8">
              <a:extLst>
                <a:ext uri="{FF2B5EF4-FFF2-40B4-BE49-F238E27FC236}">
                  <a16:creationId xmlns:a16="http://schemas.microsoft.com/office/drawing/2014/main" id="{E2343A20-061E-1EAC-1BA5-7220CE401947}"/>
                </a:ext>
              </a:extLst>
            </p:cNvPr>
            <p:cNvSpPr/>
            <p:nvPr/>
          </p:nvSpPr>
          <p:spPr>
            <a:xfrm>
              <a:off x="4997882"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2</a:t>
              </a:r>
            </a:p>
          </p:txBody>
        </p:sp>
        <p:sp>
          <p:nvSpPr>
            <p:cNvPr id="10" name="Ellipse 9">
              <a:extLst>
                <a:ext uri="{FF2B5EF4-FFF2-40B4-BE49-F238E27FC236}">
                  <a16:creationId xmlns:a16="http://schemas.microsoft.com/office/drawing/2014/main" id="{1B1167BE-73FD-FC8D-4A97-66EED07FB36B}"/>
                </a:ext>
              </a:extLst>
            </p:cNvPr>
            <p:cNvSpPr/>
            <p:nvPr/>
          </p:nvSpPr>
          <p:spPr>
            <a:xfrm>
              <a:off x="6861090"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3</a:t>
              </a:r>
            </a:p>
          </p:txBody>
        </p:sp>
        <p:sp>
          <p:nvSpPr>
            <p:cNvPr id="11" name="Ellipse 10">
              <a:extLst>
                <a:ext uri="{FF2B5EF4-FFF2-40B4-BE49-F238E27FC236}">
                  <a16:creationId xmlns:a16="http://schemas.microsoft.com/office/drawing/2014/main" id="{F770243E-62B6-F153-A4DB-6415322A98C2}"/>
                </a:ext>
              </a:extLst>
            </p:cNvPr>
            <p:cNvSpPr/>
            <p:nvPr/>
          </p:nvSpPr>
          <p:spPr>
            <a:xfrm>
              <a:off x="8724300"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4</a:t>
              </a:r>
            </a:p>
          </p:txBody>
        </p:sp>
        <p:sp>
          <p:nvSpPr>
            <p:cNvPr id="12" name="Ellipse 11">
              <a:extLst>
                <a:ext uri="{FF2B5EF4-FFF2-40B4-BE49-F238E27FC236}">
                  <a16:creationId xmlns:a16="http://schemas.microsoft.com/office/drawing/2014/main" id="{ABCBB293-1EF6-83AB-08C6-F4F9BBACB02B}"/>
                </a:ext>
              </a:extLst>
            </p:cNvPr>
            <p:cNvSpPr/>
            <p:nvPr/>
          </p:nvSpPr>
          <p:spPr>
            <a:xfrm>
              <a:off x="10587507" y="1700808"/>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B</a:t>
              </a:r>
            </a:p>
          </p:txBody>
        </p:sp>
        <p:cxnSp>
          <p:nvCxnSpPr>
            <p:cNvPr id="13" name="Connecteur droit avec flèche 12">
              <a:extLst>
                <a:ext uri="{FF2B5EF4-FFF2-40B4-BE49-F238E27FC236}">
                  <a16:creationId xmlns:a16="http://schemas.microsoft.com/office/drawing/2014/main" id="{D7047D8D-9FE9-34DD-D6E1-8CFE6786283D}"/>
                </a:ext>
              </a:extLst>
            </p:cNvPr>
            <p:cNvCxnSpPr>
              <a:cxnSpLocks/>
              <a:stCxn id="7" idx="6"/>
              <a:endCxn id="8" idx="2"/>
            </p:cNvCxnSpPr>
            <p:nvPr/>
          </p:nvCxnSpPr>
          <p:spPr>
            <a:xfrm flipV="1">
              <a:off x="1847528"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7F349496-BC9F-6E16-9484-3E1A3D1477CC}"/>
                </a:ext>
              </a:extLst>
            </p:cNvPr>
            <p:cNvCxnSpPr>
              <a:cxnSpLocks/>
              <a:stCxn id="8" idx="6"/>
              <a:endCxn id="9" idx="2"/>
            </p:cNvCxnSpPr>
            <p:nvPr/>
          </p:nvCxnSpPr>
          <p:spPr>
            <a:xfrm>
              <a:off x="3710737"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3C5D0723-9D69-3279-329E-3171043305CC}"/>
                </a:ext>
              </a:extLst>
            </p:cNvPr>
            <p:cNvCxnSpPr>
              <a:cxnSpLocks/>
              <a:stCxn id="9" idx="6"/>
              <a:endCxn id="10" idx="2"/>
            </p:cNvCxnSpPr>
            <p:nvPr/>
          </p:nvCxnSpPr>
          <p:spPr>
            <a:xfrm flipV="1">
              <a:off x="5573946" y="1988840"/>
              <a:ext cx="1287144"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ECEC01AB-497C-7C4F-3253-AA5982A39F84}"/>
                </a:ext>
              </a:extLst>
            </p:cNvPr>
            <p:cNvCxnSpPr>
              <a:cxnSpLocks/>
              <a:stCxn id="10" idx="6"/>
              <a:endCxn id="11" idx="2"/>
            </p:cNvCxnSpPr>
            <p:nvPr/>
          </p:nvCxnSpPr>
          <p:spPr>
            <a:xfrm>
              <a:off x="7437154" y="1988840"/>
              <a:ext cx="1287146"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A8261543-6339-5805-4410-E2DE54469F02}"/>
                </a:ext>
              </a:extLst>
            </p:cNvPr>
            <p:cNvCxnSpPr>
              <a:cxnSpLocks/>
              <a:stCxn id="11" idx="6"/>
              <a:endCxn id="12" idx="2"/>
            </p:cNvCxnSpPr>
            <p:nvPr/>
          </p:nvCxnSpPr>
          <p:spPr>
            <a:xfrm flipV="1">
              <a:off x="9300364" y="1988840"/>
              <a:ext cx="1287143"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0" name="Rectangle : carré corné 19">
            <a:extLst>
              <a:ext uri="{FF2B5EF4-FFF2-40B4-BE49-F238E27FC236}">
                <a16:creationId xmlns:a16="http://schemas.microsoft.com/office/drawing/2014/main" id="{2FE90F1F-B6CF-413D-A312-F1C1A77CCFC9}"/>
              </a:ext>
            </a:extLst>
          </p:cNvPr>
          <p:cNvSpPr/>
          <p:nvPr/>
        </p:nvSpPr>
        <p:spPr>
          <a:xfrm>
            <a:off x="1125333" y="4203738"/>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b="1">
                <a:solidFill>
                  <a:schemeClr val="bg1"/>
                </a:solidFill>
              </a:rPr>
              <a:t>IBAN</a:t>
            </a:r>
          </a:p>
          <a:p>
            <a:pPr algn="ctr"/>
            <a:r>
              <a:rPr lang="fr-FR" sz="1050" b="1">
                <a:solidFill>
                  <a:schemeClr val="bg1"/>
                </a:solidFill>
              </a:rPr>
              <a:t>BIC</a:t>
            </a:r>
          </a:p>
        </p:txBody>
      </p:sp>
      <p:sp>
        <p:nvSpPr>
          <p:cNvPr id="21" name="Rectangle : carré corné 20">
            <a:extLst>
              <a:ext uri="{FF2B5EF4-FFF2-40B4-BE49-F238E27FC236}">
                <a16:creationId xmlns:a16="http://schemas.microsoft.com/office/drawing/2014/main" id="{F8485B85-DB19-E5B1-AB1B-CBB55894EBBF}"/>
              </a:ext>
            </a:extLst>
          </p:cNvPr>
          <p:cNvSpPr/>
          <p:nvPr/>
        </p:nvSpPr>
        <p:spPr>
          <a:xfrm>
            <a:off x="2991878" y="4760752"/>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2" name="Rectangle : carré corné 21">
            <a:extLst>
              <a:ext uri="{FF2B5EF4-FFF2-40B4-BE49-F238E27FC236}">
                <a16:creationId xmlns:a16="http://schemas.microsoft.com/office/drawing/2014/main" id="{42C3550E-6674-D624-B253-F6D5DB7F5102}"/>
              </a:ext>
            </a:extLst>
          </p:cNvPr>
          <p:cNvSpPr/>
          <p:nvPr/>
        </p:nvSpPr>
        <p:spPr>
          <a:xfrm>
            <a:off x="4863559" y="4184688"/>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3" name="Rectangle : carré corné 22">
            <a:extLst>
              <a:ext uri="{FF2B5EF4-FFF2-40B4-BE49-F238E27FC236}">
                <a16:creationId xmlns:a16="http://schemas.microsoft.com/office/drawing/2014/main" id="{C197AB3C-633D-0EF7-E1BE-1BB4E79FA1E8}"/>
              </a:ext>
            </a:extLst>
          </p:cNvPr>
          <p:cNvSpPr/>
          <p:nvPr/>
        </p:nvSpPr>
        <p:spPr>
          <a:xfrm>
            <a:off x="6744072" y="4760752"/>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4" name="Rectangle : carré corné 23">
            <a:extLst>
              <a:ext uri="{FF2B5EF4-FFF2-40B4-BE49-F238E27FC236}">
                <a16:creationId xmlns:a16="http://schemas.microsoft.com/office/drawing/2014/main" id="{F9F215C7-5011-FE4F-0250-47AB4179B8A9}"/>
              </a:ext>
            </a:extLst>
          </p:cNvPr>
          <p:cNvSpPr/>
          <p:nvPr/>
        </p:nvSpPr>
        <p:spPr>
          <a:xfrm>
            <a:off x="8582718" y="4184688"/>
            <a:ext cx="520620" cy="576064"/>
          </a:xfrm>
          <a:prstGeom prst="foldedCorner">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25" name="Rectangle : carré corné 24">
            <a:extLst>
              <a:ext uri="{FF2B5EF4-FFF2-40B4-BE49-F238E27FC236}">
                <a16:creationId xmlns:a16="http://schemas.microsoft.com/office/drawing/2014/main" id="{F52B1BC9-EE11-913F-6A0A-BF44DFB8C132}"/>
              </a:ext>
            </a:extLst>
          </p:cNvPr>
          <p:cNvSpPr/>
          <p:nvPr/>
        </p:nvSpPr>
        <p:spPr>
          <a:xfrm>
            <a:off x="10467382" y="4763989"/>
            <a:ext cx="520620" cy="576064"/>
          </a:xfrm>
          <a:prstGeom prst="foldedCorner">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sp>
        <p:nvSpPr>
          <p:cNvPr id="4" name="Rectangle : carré corné 3">
            <a:extLst>
              <a:ext uri="{FF2B5EF4-FFF2-40B4-BE49-F238E27FC236}">
                <a16:creationId xmlns:a16="http://schemas.microsoft.com/office/drawing/2014/main" id="{FE0AD2AE-31C5-77CB-66E6-903CA8376D25}"/>
              </a:ext>
            </a:extLst>
          </p:cNvPr>
          <p:cNvSpPr/>
          <p:nvPr/>
        </p:nvSpPr>
        <p:spPr>
          <a:xfrm>
            <a:off x="6743755" y="5808105"/>
            <a:ext cx="520620" cy="576064"/>
          </a:xfrm>
          <a:prstGeom prst="foldedCorner">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b="1">
                <a:solidFill>
                  <a:schemeClr val="bg1"/>
                </a:solidFill>
              </a:rPr>
              <a:t>IBAN</a:t>
            </a:r>
          </a:p>
          <a:p>
            <a:pPr algn="ctr"/>
            <a:r>
              <a:rPr lang="fr-FR" sz="800" b="1">
                <a:solidFill>
                  <a:schemeClr val="bg1"/>
                </a:solidFill>
              </a:rPr>
              <a:t>BIC</a:t>
            </a:r>
          </a:p>
        </p:txBody>
      </p:sp>
      <p:cxnSp>
        <p:nvCxnSpPr>
          <p:cNvPr id="19" name="Connecteur droit avec flèche 18">
            <a:extLst>
              <a:ext uri="{FF2B5EF4-FFF2-40B4-BE49-F238E27FC236}">
                <a16:creationId xmlns:a16="http://schemas.microsoft.com/office/drawing/2014/main" id="{D2BCB0B3-3A74-8F0F-D2E6-1199706EB51A}"/>
              </a:ext>
            </a:extLst>
          </p:cNvPr>
          <p:cNvCxnSpPr>
            <a:cxnSpLocks/>
            <a:stCxn id="23" idx="2"/>
            <a:endCxn id="4" idx="0"/>
          </p:cNvCxnSpPr>
          <p:nvPr/>
        </p:nvCxnSpPr>
        <p:spPr>
          <a:xfrm flipH="1">
            <a:off x="7004065" y="5336816"/>
            <a:ext cx="317" cy="471289"/>
          </a:xfrm>
          <a:prstGeom prst="straightConnector1">
            <a:avLst/>
          </a:prstGeom>
          <a:ln w="38100">
            <a:solidFill>
              <a:srgbClr val="E3002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123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412776"/>
            <a:ext cx="11369042" cy="2304256"/>
          </a:xfrm>
        </p:spPr>
        <p:txBody>
          <a:bodyPr/>
          <a:lstStyle/>
          <a:p>
            <a:pPr marL="285750" indent="-285750">
              <a:buFont typeface="Arial" panose="020B0604020202020204" pitchFamily="34" charset="0"/>
              <a:buChar char="•"/>
            </a:pPr>
            <a:r>
              <a:rPr lang="fr-FR" sz="1600" b="1"/>
              <a:t>Deux objectifs : </a:t>
            </a:r>
          </a:p>
          <a:p>
            <a:pPr marL="466725" lvl="1" indent="-285750">
              <a:buFont typeface="Arial" panose="020B0604020202020204" pitchFamily="34" charset="0"/>
              <a:buChar char="•"/>
            </a:pPr>
            <a:r>
              <a:rPr lang="fr-FR"/>
              <a:t>Assurer la confidentialité des messages entre deux partenaires</a:t>
            </a:r>
          </a:p>
          <a:p>
            <a:pPr marL="466725" lvl="1" indent="-285750">
              <a:buFont typeface="Arial" panose="020B0604020202020204" pitchFamily="34" charset="0"/>
              <a:buChar char="•"/>
            </a:pPr>
            <a:r>
              <a:rPr lang="fr-FR"/>
              <a:t>Assurer l’intégrité du message échangé entre deux partenaires</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r>
              <a:rPr lang="fr-FR" sz="1600" b="1"/>
              <a:t>Dans ce nouvel exemple, Alice chiffre la donnée qu’elle souhaite partager avec Bob</a:t>
            </a:r>
          </a:p>
          <a:p>
            <a:pPr marL="466725" lvl="1" indent="-285750">
              <a:buFont typeface="Arial" panose="020B0604020202020204" pitchFamily="34" charset="0"/>
              <a:buChar char="•"/>
            </a:pPr>
            <a:r>
              <a:rPr lang="fr-FR"/>
              <a:t>Seul Bob possède ce qu’il faut pour déchiffrer la donnée</a:t>
            </a:r>
          </a:p>
          <a:p>
            <a:pPr marL="466725" lvl="1" indent="-285750">
              <a:buFont typeface="Arial" panose="020B0604020202020204" pitchFamily="34" charset="0"/>
              <a:buChar char="•"/>
            </a:pPr>
            <a:r>
              <a:rPr lang="fr-FR"/>
              <a:t>En plus d’être chiffrée, la donnée est protégée de la corruption : on ne peut pas la lire, et si on la modifie, alors on ne pourra plus déchiffrer le contenu et </a:t>
            </a:r>
            <a:r>
              <a:rPr lang="fr-FR" err="1"/>
              <a:t>BoB</a:t>
            </a:r>
            <a:r>
              <a:rPr lang="fr-FR"/>
              <a:t> sera au courant qu’une corruption a eu lieu</a:t>
            </a:r>
          </a:p>
          <a:p>
            <a:pPr marL="285750" indent="-285750">
              <a:buFont typeface="Arial" panose="020B0604020202020204" pitchFamily="34" charset="0"/>
              <a:buChar char="•"/>
            </a:pPr>
            <a:endParaRPr lang="fr-FR"/>
          </a:p>
          <a:p>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La cryptographie dans tout ça </a:t>
            </a:r>
          </a:p>
        </p:txBody>
      </p:sp>
      <p:grpSp>
        <p:nvGrpSpPr>
          <p:cNvPr id="2" name="Groupe 1">
            <a:extLst>
              <a:ext uri="{FF2B5EF4-FFF2-40B4-BE49-F238E27FC236}">
                <a16:creationId xmlns:a16="http://schemas.microsoft.com/office/drawing/2014/main" id="{F3AB3C0E-D918-A40E-9639-B6B65B5F3AD7}"/>
              </a:ext>
            </a:extLst>
          </p:cNvPr>
          <p:cNvGrpSpPr/>
          <p:nvPr/>
        </p:nvGrpSpPr>
        <p:grpSpPr>
          <a:xfrm>
            <a:off x="623392" y="4761148"/>
            <a:ext cx="9892107" cy="1368152"/>
            <a:chOff x="1271464" y="1700808"/>
            <a:chExt cx="9892107" cy="1368152"/>
          </a:xfrm>
        </p:grpSpPr>
        <p:sp>
          <p:nvSpPr>
            <p:cNvPr id="4" name="Ellipse 3">
              <a:extLst>
                <a:ext uri="{FF2B5EF4-FFF2-40B4-BE49-F238E27FC236}">
                  <a16:creationId xmlns:a16="http://schemas.microsoft.com/office/drawing/2014/main" id="{C9FD2AE9-85F0-65C0-1837-9EFEFCA4B5F3}"/>
                </a:ext>
              </a:extLst>
            </p:cNvPr>
            <p:cNvSpPr/>
            <p:nvPr/>
          </p:nvSpPr>
          <p:spPr>
            <a:xfrm>
              <a:off x="1271464" y="2492896"/>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A</a:t>
              </a:r>
            </a:p>
          </p:txBody>
        </p:sp>
        <p:sp>
          <p:nvSpPr>
            <p:cNvPr id="18" name="Ellipse 17">
              <a:extLst>
                <a:ext uri="{FF2B5EF4-FFF2-40B4-BE49-F238E27FC236}">
                  <a16:creationId xmlns:a16="http://schemas.microsoft.com/office/drawing/2014/main" id="{87ED97C1-6C30-E7B5-A55F-CF0642332502}"/>
                </a:ext>
              </a:extLst>
            </p:cNvPr>
            <p:cNvSpPr/>
            <p:nvPr/>
          </p:nvSpPr>
          <p:spPr>
            <a:xfrm>
              <a:off x="3134673"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1</a:t>
              </a:r>
            </a:p>
          </p:txBody>
        </p:sp>
        <p:sp>
          <p:nvSpPr>
            <p:cNvPr id="19" name="Ellipse 18">
              <a:extLst>
                <a:ext uri="{FF2B5EF4-FFF2-40B4-BE49-F238E27FC236}">
                  <a16:creationId xmlns:a16="http://schemas.microsoft.com/office/drawing/2014/main" id="{E03B6331-3B82-7031-269E-D4B5E7997739}"/>
                </a:ext>
              </a:extLst>
            </p:cNvPr>
            <p:cNvSpPr/>
            <p:nvPr/>
          </p:nvSpPr>
          <p:spPr>
            <a:xfrm>
              <a:off x="4997882"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2</a:t>
              </a:r>
            </a:p>
          </p:txBody>
        </p:sp>
        <p:sp>
          <p:nvSpPr>
            <p:cNvPr id="20" name="Ellipse 19">
              <a:extLst>
                <a:ext uri="{FF2B5EF4-FFF2-40B4-BE49-F238E27FC236}">
                  <a16:creationId xmlns:a16="http://schemas.microsoft.com/office/drawing/2014/main" id="{D4DD4471-8E36-1087-53B3-FB7BAE1DA451}"/>
                </a:ext>
              </a:extLst>
            </p:cNvPr>
            <p:cNvSpPr/>
            <p:nvPr/>
          </p:nvSpPr>
          <p:spPr>
            <a:xfrm>
              <a:off x="6861090" y="1700808"/>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3</a:t>
              </a:r>
            </a:p>
          </p:txBody>
        </p:sp>
        <p:sp>
          <p:nvSpPr>
            <p:cNvPr id="21" name="Ellipse 20">
              <a:extLst>
                <a:ext uri="{FF2B5EF4-FFF2-40B4-BE49-F238E27FC236}">
                  <a16:creationId xmlns:a16="http://schemas.microsoft.com/office/drawing/2014/main" id="{57626108-6410-17EB-6382-8D37568980A8}"/>
                </a:ext>
              </a:extLst>
            </p:cNvPr>
            <p:cNvSpPr/>
            <p:nvPr/>
          </p:nvSpPr>
          <p:spPr>
            <a:xfrm>
              <a:off x="8724300" y="2492896"/>
              <a:ext cx="576064" cy="576064"/>
            </a:xfrm>
            <a:prstGeom prst="ellipse">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4</a:t>
              </a:r>
            </a:p>
          </p:txBody>
        </p:sp>
        <p:sp>
          <p:nvSpPr>
            <p:cNvPr id="22" name="Ellipse 21">
              <a:extLst>
                <a:ext uri="{FF2B5EF4-FFF2-40B4-BE49-F238E27FC236}">
                  <a16:creationId xmlns:a16="http://schemas.microsoft.com/office/drawing/2014/main" id="{81F2A65E-EDB3-76B8-B54C-BA1E2800BE3E}"/>
                </a:ext>
              </a:extLst>
            </p:cNvPr>
            <p:cNvSpPr/>
            <p:nvPr/>
          </p:nvSpPr>
          <p:spPr>
            <a:xfrm>
              <a:off x="10587507" y="1700808"/>
              <a:ext cx="576064" cy="576064"/>
            </a:xfrm>
            <a:prstGeom prst="ellipse">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bg1"/>
                  </a:solidFill>
                </a:rPr>
                <a:t>B</a:t>
              </a:r>
            </a:p>
          </p:txBody>
        </p:sp>
        <p:cxnSp>
          <p:nvCxnSpPr>
            <p:cNvPr id="23" name="Connecteur droit avec flèche 22">
              <a:extLst>
                <a:ext uri="{FF2B5EF4-FFF2-40B4-BE49-F238E27FC236}">
                  <a16:creationId xmlns:a16="http://schemas.microsoft.com/office/drawing/2014/main" id="{2BFCBB7B-5589-388E-DF43-E1319991A84A}"/>
                </a:ext>
              </a:extLst>
            </p:cNvPr>
            <p:cNvCxnSpPr>
              <a:cxnSpLocks/>
              <a:stCxn id="4" idx="6"/>
              <a:endCxn id="18" idx="2"/>
            </p:cNvCxnSpPr>
            <p:nvPr/>
          </p:nvCxnSpPr>
          <p:spPr>
            <a:xfrm flipV="1">
              <a:off x="1847528"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330A878C-90E2-9C64-3639-F2AE524B8FD8}"/>
                </a:ext>
              </a:extLst>
            </p:cNvPr>
            <p:cNvCxnSpPr>
              <a:cxnSpLocks/>
              <a:stCxn id="18" idx="6"/>
              <a:endCxn id="19" idx="2"/>
            </p:cNvCxnSpPr>
            <p:nvPr/>
          </p:nvCxnSpPr>
          <p:spPr>
            <a:xfrm>
              <a:off x="3710737" y="1988840"/>
              <a:ext cx="1287145"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E1686C84-D83B-B17D-8492-9B603E1C1C2A}"/>
                </a:ext>
              </a:extLst>
            </p:cNvPr>
            <p:cNvCxnSpPr>
              <a:cxnSpLocks/>
              <a:stCxn id="19" idx="6"/>
              <a:endCxn id="20" idx="2"/>
            </p:cNvCxnSpPr>
            <p:nvPr/>
          </p:nvCxnSpPr>
          <p:spPr>
            <a:xfrm flipV="1">
              <a:off x="5573946" y="1988840"/>
              <a:ext cx="1287144"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220671E7-0D90-4A95-23C7-A8DD491E21D7}"/>
                </a:ext>
              </a:extLst>
            </p:cNvPr>
            <p:cNvCxnSpPr>
              <a:cxnSpLocks/>
              <a:stCxn id="20" idx="6"/>
              <a:endCxn id="21" idx="2"/>
            </p:cNvCxnSpPr>
            <p:nvPr/>
          </p:nvCxnSpPr>
          <p:spPr>
            <a:xfrm>
              <a:off x="7437154" y="1988840"/>
              <a:ext cx="1287146"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Connecteur droit avec flèche 26">
              <a:extLst>
                <a:ext uri="{FF2B5EF4-FFF2-40B4-BE49-F238E27FC236}">
                  <a16:creationId xmlns:a16="http://schemas.microsoft.com/office/drawing/2014/main" id="{453D345E-E675-6299-6E9F-4FB6BCDE49D7}"/>
                </a:ext>
              </a:extLst>
            </p:cNvPr>
            <p:cNvCxnSpPr>
              <a:cxnSpLocks/>
              <a:stCxn id="21" idx="6"/>
              <a:endCxn id="22" idx="2"/>
            </p:cNvCxnSpPr>
            <p:nvPr/>
          </p:nvCxnSpPr>
          <p:spPr>
            <a:xfrm flipV="1">
              <a:off x="9300364" y="1988840"/>
              <a:ext cx="1287143" cy="792088"/>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8" name="Rectangle : carré corné 27">
            <a:extLst>
              <a:ext uri="{FF2B5EF4-FFF2-40B4-BE49-F238E27FC236}">
                <a16:creationId xmlns:a16="http://schemas.microsoft.com/office/drawing/2014/main" id="{1F76CD77-64BF-00D9-F546-51DA50885E13}"/>
              </a:ext>
            </a:extLst>
          </p:cNvPr>
          <p:cNvSpPr/>
          <p:nvPr/>
        </p:nvSpPr>
        <p:spPr>
          <a:xfrm>
            <a:off x="646565" y="4884973"/>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b="1">
                <a:solidFill>
                  <a:schemeClr val="bg1"/>
                </a:solidFill>
              </a:rPr>
              <a:t>IBAN</a:t>
            </a:r>
          </a:p>
          <a:p>
            <a:pPr algn="ctr"/>
            <a:r>
              <a:rPr lang="fr-FR" sz="1050" b="1">
                <a:solidFill>
                  <a:schemeClr val="bg1"/>
                </a:solidFill>
              </a:rPr>
              <a:t>BIC</a:t>
            </a:r>
          </a:p>
        </p:txBody>
      </p:sp>
      <p:cxnSp>
        <p:nvCxnSpPr>
          <p:cNvPr id="37" name="Connecteur droit avec flèche 36">
            <a:extLst>
              <a:ext uri="{FF2B5EF4-FFF2-40B4-BE49-F238E27FC236}">
                <a16:creationId xmlns:a16="http://schemas.microsoft.com/office/drawing/2014/main" id="{8EBDC7E0-F1E6-F41D-0B25-039DED2B7310}"/>
              </a:ext>
            </a:extLst>
          </p:cNvPr>
          <p:cNvCxnSpPr>
            <a:cxnSpLocks/>
            <a:stCxn id="28" idx="0"/>
            <a:endCxn id="36" idx="2"/>
          </p:cNvCxnSpPr>
          <p:nvPr/>
        </p:nvCxnSpPr>
        <p:spPr>
          <a:xfrm flipV="1">
            <a:off x="906875" y="4478190"/>
            <a:ext cx="0" cy="406783"/>
          </a:xfrm>
          <a:prstGeom prst="straightConnector1">
            <a:avLst/>
          </a:prstGeom>
          <a:ln w="38100">
            <a:solidFill>
              <a:srgbClr val="92D05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43" name="Groupe 42">
            <a:extLst>
              <a:ext uri="{FF2B5EF4-FFF2-40B4-BE49-F238E27FC236}">
                <a16:creationId xmlns:a16="http://schemas.microsoft.com/office/drawing/2014/main" id="{3B94B388-3DA6-DB04-65B8-92C64C0A1136}"/>
              </a:ext>
            </a:extLst>
          </p:cNvPr>
          <p:cNvGrpSpPr/>
          <p:nvPr/>
        </p:nvGrpSpPr>
        <p:grpSpPr>
          <a:xfrm>
            <a:off x="646565" y="3902126"/>
            <a:ext cx="520620" cy="576064"/>
            <a:chOff x="1222629" y="4010138"/>
            <a:chExt cx="520620" cy="576064"/>
          </a:xfrm>
        </p:grpSpPr>
        <p:sp>
          <p:nvSpPr>
            <p:cNvPr id="36" name="Rectangle : carré corné 35">
              <a:extLst>
                <a:ext uri="{FF2B5EF4-FFF2-40B4-BE49-F238E27FC236}">
                  <a16:creationId xmlns:a16="http://schemas.microsoft.com/office/drawing/2014/main" id="{F02F2CF4-064A-F7CF-9E06-6BB298B2DD6F}"/>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050" b="1">
                <a:solidFill>
                  <a:schemeClr val="bg1"/>
                </a:solidFill>
              </a:endParaRPr>
            </a:p>
          </p:txBody>
        </p:sp>
        <p:pic>
          <p:nvPicPr>
            <p:cNvPr id="41" name="Graphique 40" descr="Clé avec un remplissage uni">
              <a:extLst>
                <a:ext uri="{FF2B5EF4-FFF2-40B4-BE49-F238E27FC236}">
                  <a16:creationId xmlns:a16="http://schemas.microsoft.com/office/drawing/2014/main" id="{C8161DED-ABC8-F5C4-E71C-1EB7A7DC91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44" name="Groupe 43">
            <a:extLst>
              <a:ext uri="{FF2B5EF4-FFF2-40B4-BE49-F238E27FC236}">
                <a16:creationId xmlns:a16="http://schemas.microsoft.com/office/drawing/2014/main" id="{5C8BFA7E-D3B4-73F5-3748-29CDECD9F4B7}"/>
              </a:ext>
            </a:extLst>
          </p:cNvPr>
          <p:cNvGrpSpPr/>
          <p:nvPr/>
        </p:nvGrpSpPr>
        <p:grpSpPr>
          <a:xfrm>
            <a:off x="2514323" y="5557451"/>
            <a:ext cx="520620" cy="576064"/>
            <a:chOff x="1222629" y="4010138"/>
            <a:chExt cx="520620" cy="576064"/>
          </a:xfrm>
        </p:grpSpPr>
        <p:sp>
          <p:nvSpPr>
            <p:cNvPr id="45" name="Rectangle : carré corné 44">
              <a:extLst>
                <a:ext uri="{FF2B5EF4-FFF2-40B4-BE49-F238E27FC236}">
                  <a16:creationId xmlns:a16="http://schemas.microsoft.com/office/drawing/2014/main" id="{FD0A0567-E915-565F-5F5B-6E735004A2DD}"/>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46" name="Graphique 45" descr="Clé avec un remplissage uni">
              <a:extLst>
                <a:ext uri="{FF2B5EF4-FFF2-40B4-BE49-F238E27FC236}">
                  <a16:creationId xmlns:a16="http://schemas.microsoft.com/office/drawing/2014/main" id="{FE3A78E6-0939-3238-90B4-4D2926C2B2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47" name="Groupe 46">
            <a:extLst>
              <a:ext uri="{FF2B5EF4-FFF2-40B4-BE49-F238E27FC236}">
                <a16:creationId xmlns:a16="http://schemas.microsoft.com/office/drawing/2014/main" id="{33D6E9B8-A4FE-DE49-B2C0-E89E6C53E52D}"/>
              </a:ext>
            </a:extLst>
          </p:cNvPr>
          <p:cNvGrpSpPr/>
          <p:nvPr/>
        </p:nvGrpSpPr>
        <p:grpSpPr>
          <a:xfrm>
            <a:off x="4383465" y="4761148"/>
            <a:ext cx="520620" cy="576064"/>
            <a:chOff x="1222629" y="4010138"/>
            <a:chExt cx="520620" cy="576064"/>
          </a:xfrm>
        </p:grpSpPr>
        <p:sp>
          <p:nvSpPr>
            <p:cNvPr id="48" name="Rectangle : carré corné 47">
              <a:extLst>
                <a:ext uri="{FF2B5EF4-FFF2-40B4-BE49-F238E27FC236}">
                  <a16:creationId xmlns:a16="http://schemas.microsoft.com/office/drawing/2014/main" id="{A8361647-8D78-8E0E-2AF6-35B77D7255D8}"/>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49" name="Graphique 48" descr="Clé avec un remplissage uni">
              <a:extLst>
                <a:ext uri="{FF2B5EF4-FFF2-40B4-BE49-F238E27FC236}">
                  <a16:creationId xmlns:a16="http://schemas.microsoft.com/office/drawing/2014/main" id="{6FF71A22-0D5A-E838-5231-8F90FB38D7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50" name="Groupe 49">
            <a:extLst>
              <a:ext uri="{FF2B5EF4-FFF2-40B4-BE49-F238E27FC236}">
                <a16:creationId xmlns:a16="http://schemas.microsoft.com/office/drawing/2014/main" id="{4CAFD09A-6A1C-C99A-A0A7-A574B044B1B5}"/>
              </a:ext>
            </a:extLst>
          </p:cNvPr>
          <p:cNvGrpSpPr/>
          <p:nvPr/>
        </p:nvGrpSpPr>
        <p:grpSpPr>
          <a:xfrm>
            <a:off x="6234807" y="5553236"/>
            <a:ext cx="520620" cy="576064"/>
            <a:chOff x="1222629" y="4010138"/>
            <a:chExt cx="520620" cy="576064"/>
          </a:xfrm>
        </p:grpSpPr>
        <p:sp>
          <p:nvSpPr>
            <p:cNvPr id="51" name="Rectangle : carré corné 50">
              <a:extLst>
                <a:ext uri="{FF2B5EF4-FFF2-40B4-BE49-F238E27FC236}">
                  <a16:creationId xmlns:a16="http://schemas.microsoft.com/office/drawing/2014/main" id="{64532A0B-86DE-922F-224C-ABBEA753C63B}"/>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52" name="Graphique 51" descr="Clé avec un remplissage uni">
              <a:extLst>
                <a:ext uri="{FF2B5EF4-FFF2-40B4-BE49-F238E27FC236}">
                  <a16:creationId xmlns:a16="http://schemas.microsoft.com/office/drawing/2014/main" id="{5F0AF793-E59D-FBB9-7FB2-D1149345481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56" name="Groupe 55">
            <a:extLst>
              <a:ext uri="{FF2B5EF4-FFF2-40B4-BE49-F238E27FC236}">
                <a16:creationId xmlns:a16="http://schemas.microsoft.com/office/drawing/2014/main" id="{CE69BD68-9847-8242-8C8D-AAD53C3816C8}"/>
              </a:ext>
            </a:extLst>
          </p:cNvPr>
          <p:cNvGrpSpPr/>
          <p:nvPr/>
        </p:nvGrpSpPr>
        <p:grpSpPr>
          <a:xfrm>
            <a:off x="8109901" y="4761148"/>
            <a:ext cx="520620" cy="576064"/>
            <a:chOff x="1222629" y="4010138"/>
            <a:chExt cx="520620" cy="576064"/>
          </a:xfrm>
        </p:grpSpPr>
        <p:sp>
          <p:nvSpPr>
            <p:cNvPr id="57" name="Rectangle : carré corné 56">
              <a:extLst>
                <a:ext uri="{FF2B5EF4-FFF2-40B4-BE49-F238E27FC236}">
                  <a16:creationId xmlns:a16="http://schemas.microsoft.com/office/drawing/2014/main" id="{E205E8A2-6B27-DF57-C065-EFA15B744723}"/>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58" name="Graphique 57" descr="Clé avec un remplissage uni">
              <a:extLst>
                <a:ext uri="{FF2B5EF4-FFF2-40B4-BE49-F238E27FC236}">
                  <a16:creationId xmlns:a16="http://schemas.microsoft.com/office/drawing/2014/main" id="{D9CC807E-439B-1322-4106-41AB706DF0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grpSp>
        <p:nvGrpSpPr>
          <p:cNvPr id="59" name="Groupe 58">
            <a:extLst>
              <a:ext uri="{FF2B5EF4-FFF2-40B4-BE49-F238E27FC236}">
                <a16:creationId xmlns:a16="http://schemas.microsoft.com/office/drawing/2014/main" id="{D2040DAF-E6FE-765A-3639-710F1768548B}"/>
              </a:ext>
            </a:extLst>
          </p:cNvPr>
          <p:cNvGrpSpPr/>
          <p:nvPr/>
        </p:nvGrpSpPr>
        <p:grpSpPr>
          <a:xfrm>
            <a:off x="9999781" y="5553236"/>
            <a:ext cx="520620" cy="576064"/>
            <a:chOff x="1222629" y="4010138"/>
            <a:chExt cx="520620" cy="576064"/>
          </a:xfrm>
        </p:grpSpPr>
        <p:sp>
          <p:nvSpPr>
            <p:cNvPr id="60" name="Rectangle : carré corné 59">
              <a:extLst>
                <a:ext uri="{FF2B5EF4-FFF2-40B4-BE49-F238E27FC236}">
                  <a16:creationId xmlns:a16="http://schemas.microsoft.com/office/drawing/2014/main" id="{8B7C348F-4234-BCF6-545C-63DA5A5E7BA9}"/>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61" name="Graphique 60" descr="Clé avec un remplissage uni">
              <a:extLst>
                <a:ext uri="{FF2B5EF4-FFF2-40B4-BE49-F238E27FC236}">
                  <a16:creationId xmlns:a16="http://schemas.microsoft.com/office/drawing/2014/main" id="{5E1D28C9-B4BF-4A0A-1197-1890D137D2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cxnSp>
        <p:nvCxnSpPr>
          <p:cNvPr id="62" name="Connecteur droit avec flèche 61">
            <a:extLst>
              <a:ext uri="{FF2B5EF4-FFF2-40B4-BE49-F238E27FC236}">
                <a16:creationId xmlns:a16="http://schemas.microsoft.com/office/drawing/2014/main" id="{CB352FAE-E27D-B6A9-B69F-1BCABDC563F7}"/>
              </a:ext>
            </a:extLst>
          </p:cNvPr>
          <p:cNvCxnSpPr>
            <a:cxnSpLocks/>
            <a:stCxn id="60" idx="3"/>
            <a:endCxn id="65" idx="1"/>
          </p:cNvCxnSpPr>
          <p:nvPr/>
        </p:nvCxnSpPr>
        <p:spPr>
          <a:xfrm>
            <a:off x="10520401" y="5841268"/>
            <a:ext cx="472143" cy="0"/>
          </a:xfrm>
          <a:prstGeom prst="straightConnector1">
            <a:avLst/>
          </a:prstGeom>
          <a:ln w="38100">
            <a:solidFill>
              <a:srgbClr val="92D05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5" name="Rectangle : carré corné 64">
            <a:extLst>
              <a:ext uri="{FF2B5EF4-FFF2-40B4-BE49-F238E27FC236}">
                <a16:creationId xmlns:a16="http://schemas.microsoft.com/office/drawing/2014/main" id="{2396B6D4-419C-C6D1-3F1D-A54181CF3CD3}"/>
              </a:ext>
            </a:extLst>
          </p:cNvPr>
          <p:cNvSpPr/>
          <p:nvPr/>
        </p:nvSpPr>
        <p:spPr>
          <a:xfrm>
            <a:off x="10992544" y="5553236"/>
            <a:ext cx="520620" cy="576064"/>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b="1">
                <a:solidFill>
                  <a:schemeClr val="bg1"/>
                </a:solidFill>
              </a:rPr>
              <a:t>IBAN</a:t>
            </a:r>
          </a:p>
          <a:p>
            <a:pPr algn="ctr"/>
            <a:r>
              <a:rPr lang="fr-FR" sz="1050" b="1">
                <a:solidFill>
                  <a:schemeClr val="bg1"/>
                </a:solidFill>
              </a:rPr>
              <a:t>BIC</a:t>
            </a:r>
          </a:p>
        </p:txBody>
      </p:sp>
    </p:spTree>
    <p:extLst>
      <p:ext uri="{BB962C8B-B14F-4D97-AF65-F5344CB8AC3E}">
        <p14:creationId xmlns:p14="http://schemas.microsoft.com/office/powerpoint/2010/main" val="3178987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AA7F2A3-B0C0-D68A-CA8D-C23BFCFC8367}"/>
              </a:ext>
            </a:extLst>
          </p:cNvPr>
          <p:cNvSpPr>
            <a:spLocks noGrp="1"/>
          </p:cNvSpPr>
          <p:nvPr>
            <p:ph type="body" sz="quarter" idx="17"/>
          </p:nvPr>
        </p:nvSpPr>
        <p:spPr>
          <a:xfrm>
            <a:off x="414971" y="1196752"/>
            <a:ext cx="11369042" cy="5184576"/>
          </a:xfrm>
        </p:spPr>
        <p:txBody>
          <a:bodyPr/>
          <a:lstStyle/>
          <a:p>
            <a:pPr marL="285750" indent="-285750">
              <a:buFont typeface="Arial" panose="020B0604020202020204" pitchFamily="34" charset="0"/>
              <a:buChar char="•"/>
            </a:pPr>
            <a:r>
              <a:rPr lang="fr-FR" sz="1600" b="1"/>
              <a:t>Algorithme de chiffrement</a:t>
            </a:r>
          </a:p>
          <a:p>
            <a:pPr marL="466725" lvl="1" indent="-285750">
              <a:buFont typeface="Arial" panose="020B0604020202020204" pitchFamily="34" charset="0"/>
              <a:buChar char="•"/>
            </a:pPr>
            <a:r>
              <a:rPr lang="fr-FR"/>
              <a:t>Permet de chiffrer / déchiffrer une donnée : la donnée est conservée pendant le transfert, elle est juste cachée</a:t>
            </a:r>
          </a:p>
          <a:p>
            <a:pPr marL="466725" lvl="1" indent="-285750">
              <a:buFont typeface="Arial" panose="020B0604020202020204" pitchFamily="34" charset="0"/>
              <a:buChar char="•"/>
            </a:pPr>
            <a:r>
              <a:rPr lang="fr-FR"/>
              <a:t>Utilisé pour assurer la confidentialité et la provenance de la donnée</a:t>
            </a:r>
          </a:p>
          <a:p>
            <a:pPr marL="466725" lvl="1" indent="-285750">
              <a:buFont typeface="Arial" panose="020B0604020202020204" pitchFamily="34" charset="0"/>
              <a:buChar char="•"/>
            </a:pPr>
            <a:r>
              <a:rPr lang="fr-FR"/>
              <a:t>Exemples d’algorithmes : AES, RSA, ECDSA …</a:t>
            </a:r>
          </a:p>
          <a:p>
            <a:pPr marL="466725" lvl="1" indent="-285750">
              <a:buFont typeface="Arial" panose="020B0604020202020204" pitchFamily="34" charset="0"/>
              <a:buChar char="•"/>
            </a:pPr>
            <a:endParaRPr lang="fr-FR"/>
          </a:p>
          <a:p>
            <a:pPr lvl="1" indent="0">
              <a:buNone/>
            </a:pPr>
            <a:endParaRPr lang="fr-FR"/>
          </a:p>
          <a:p>
            <a:pPr marL="466725" lvl="1" indent="-285750">
              <a:buFont typeface="Arial" panose="020B0604020202020204" pitchFamily="34" charset="0"/>
              <a:buChar char="•"/>
            </a:pPr>
            <a:endParaRPr lang="fr-FR"/>
          </a:p>
          <a:p>
            <a:pPr lvl="1" indent="0">
              <a:buNone/>
            </a:pPr>
            <a:endParaRPr lang="fr-FR"/>
          </a:p>
          <a:p>
            <a:pPr lvl="1" indent="0">
              <a:buNone/>
            </a:pPr>
            <a:endParaRPr lang="fr-FR"/>
          </a:p>
          <a:p>
            <a:pPr marL="285750" indent="-285750">
              <a:buFont typeface="Arial" panose="020B0604020202020204" pitchFamily="34" charset="0"/>
              <a:buChar char="•"/>
            </a:pPr>
            <a:r>
              <a:rPr lang="fr-FR" sz="1600" b="1"/>
              <a:t>Algorithme de hash</a:t>
            </a:r>
          </a:p>
          <a:p>
            <a:pPr marL="466725" lvl="1" indent="-285750">
              <a:buFont typeface="Arial" panose="020B0604020202020204" pitchFamily="34" charset="0"/>
              <a:buChar char="•"/>
            </a:pPr>
            <a:r>
              <a:rPr lang="fr-FR"/>
              <a:t>Transforme une donnée en une valeur aléatoire reproductible : on ne peut pas retourner sur la valeur initiale</a:t>
            </a:r>
          </a:p>
          <a:p>
            <a:pPr marL="466725" lvl="1" indent="-285750">
              <a:buFont typeface="Arial" panose="020B0604020202020204" pitchFamily="34" charset="0"/>
              <a:buChar char="•"/>
            </a:pPr>
            <a:r>
              <a:rPr lang="fr-FR"/>
              <a:t>Utilisé pour de la signature et s’assurer que la donnée n’a pas été corrompue</a:t>
            </a:r>
          </a:p>
          <a:p>
            <a:pPr marL="466725" lvl="1" indent="-285750">
              <a:buFont typeface="Arial" panose="020B0604020202020204" pitchFamily="34" charset="0"/>
              <a:buChar char="•"/>
            </a:pPr>
            <a:r>
              <a:rPr lang="fr-FR"/>
              <a:t>Exemples d’algorithmes : SHA, MD5, Argon2id …</a:t>
            </a:r>
          </a:p>
          <a:p>
            <a:pPr marL="466725" lvl="1" indent="-285750">
              <a:buFont typeface="Arial" panose="020B0604020202020204" pitchFamily="34" charset="0"/>
              <a:buChar char="•"/>
            </a:pPr>
            <a:endParaRPr lang="fr-FR"/>
          </a:p>
          <a:p>
            <a:pPr marL="285750" indent="-285750">
              <a:buFont typeface="Arial" panose="020B0604020202020204" pitchFamily="34" charset="0"/>
              <a:buChar char="•"/>
            </a:pPr>
            <a:endParaRPr lang="fr-FR"/>
          </a:p>
          <a:p>
            <a:endParaRPr lang="fr-FR"/>
          </a:p>
        </p:txBody>
      </p:sp>
      <p:sp>
        <p:nvSpPr>
          <p:cNvPr id="3" name="Titre 2">
            <a:extLst>
              <a:ext uri="{FF2B5EF4-FFF2-40B4-BE49-F238E27FC236}">
                <a16:creationId xmlns:a16="http://schemas.microsoft.com/office/drawing/2014/main" id="{F1261247-D114-B15E-D6B0-FD5D1DC5DAEA}"/>
              </a:ext>
            </a:extLst>
          </p:cNvPr>
          <p:cNvSpPr>
            <a:spLocks noGrp="1"/>
          </p:cNvSpPr>
          <p:nvPr>
            <p:ph type="title"/>
          </p:nvPr>
        </p:nvSpPr>
        <p:spPr/>
        <p:txBody>
          <a:bodyPr anchor="ctr"/>
          <a:lstStyle/>
          <a:p>
            <a:r>
              <a:rPr lang="fr-FR"/>
              <a:t>Deux types d’algorithmes mathématiques</a:t>
            </a:r>
          </a:p>
        </p:txBody>
      </p:sp>
      <p:sp>
        <p:nvSpPr>
          <p:cNvPr id="6" name="Rectangle : carré corné 5">
            <a:extLst>
              <a:ext uri="{FF2B5EF4-FFF2-40B4-BE49-F238E27FC236}">
                <a16:creationId xmlns:a16="http://schemas.microsoft.com/office/drawing/2014/main" id="{F82E0ED5-7559-C5B8-00BA-78DAD259FBC0}"/>
              </a:ext>
            </a:extLst>
          </p:cNvPr>
          <p:cNvSpPr/>
          <p:nvPr/>
        </p:nvSpPr>
        <p:spPr>
          <a:xfrm>
            <a:off x="2063552" y="2492896"/>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grpSp>
        <p:nvGrpSpPr>
          <p:cNvPr id="7" name="Groupe 6">
            <a:extLst>
              <a:ext uri="{FF2B5EF4-FFF2-40B4-BE49-F238E27FC236}">
                <a16:creationId xmlns:a16="http://schemas.microsoft.com/office/drawing/2014/main" id="{1CB28D3C-28BC-696F-CA34-63BA5C9A7FE6}"/>
              </a:ext>
            </a:extLst>
          </p:cNvPr>
          <p:cNvGrpSpPr/>
          <p:nvPr/>
        </p:nvGrpSpPr>
        <p:grpSpPr>
          <a:xfrm>
            <a:off x="5087888" y="2499718"/>
            <a:ext cx="818425" cy="1064306"/>
            <a:chOff x="1222629" y="4010138"/>
            <a:chExt cx="520620" cy="576064"/>
          </a:xfrm>
        </p:grpSpPr>
        <p:sp>
          <p:nvSpPr>
            <p:cNvPr id="8" name="Rectangle : carré corné 7">
              <a:extLst>
                <a:ext uri="{FF2B5EF4-FFF2-40B4-BE49-F238E27FC236}">
                  <a16:creationId xmlns:a16="http://schemas.microsoft.com/office/drawing/2014/main" id="{DE13C4AA-6F00-AF4A-7A55-0234DAFA4F82}"/>
                </a:ext>
              </a:extLst>
            </p:cNvPr>
            <p:cNvSpPr/>
            <p:nvPr/>
          </p:nvSpPr>
          <p:spPr>
            <a:xfrm>
              <a:off x="1222629" y="4010138"/>
              <a:ext cx="520620" cy="576064"/>
            </a:xfrm>
            <a:prstGeom prst="foldedCorner">
              <a:avLst/>
            </a:prstGeom>
            <a:solidFill>
              <a:schemeClr val="accent4">
                <a:lumMod val="75000"/>
                <a:lumOff val="25000"/>
              </a:schemeClr>
            </a:solidFill>
            <a:ln/>
            <a:effectLst>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pic>
          <p:nvPicPr>
            <p:cNvPr id="9" name="Graphique 8" descr="Clé avec un remplissage uni">
              <a:extLst>
                <a:ext uri="{FF2B5EF4-FFF2-40B4-BE49-F238E27FC236}">
                  <a16:creationId xmlns:a16="http://schemas.microsoft.com/office/drawing/2014/main" id="{3F2B344D-35D4-C62B-0074-C622A31E23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331" y="4064562"/>
              <a:ext cx="467217" cy="467217"/>
            </a:xfrm>
            <a:prstGeom prst="rect">
              <a:avLst/>
            </a:prstGeom>
            <a:effectLst>
              <a:outerShdw blurRad="50800" dist="38100" dir="2700000" algn="tl" rotWithShape="0">
                <a:prstClr val="black">
                  <a:alpha val="40000"/>
                </a:prstClr>
              </a:outerShdw>
            </a:effectLst>
          </p:spPr>
        </p:pic>
      </p:grpSp>
      <p:sp>
        <p:nvSpPr>
          <p:cNvPr id="13" name="Rectangle : carré corné 12">
            <a:extLst>
              <a:ext uri="{FF2B5EF4-FFF2-40B4-BE49-F238E27FC236}">
                <a16:creationId xmlns:a16="http://schemas.microsoft.com/office/drawing/2014/main" id="{0F5ACCE5-B4D5-E72A-9CDA-C75F6EF1DD4B}"/>
              </a:ext>
            </a:extLst>
          </p:cNvPr>
          <p:cNvSpPr/>
          <p:nvPr/>
        </p:nvSpPr>
        <p:spPr>
          <a:xfrm>
            <a:off x="8112224" y="2492896"/>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cxnSp>
        <p:nvCxnSpPr>
          <p:cNvPr id="14" name="Connecteur droit avec flèche 13">
            <a:extLst>
              <a:ext uri="{FF2B5EF4-FFF2-40B4-BE49-F238E27FC236}">
                <a16:creationId xmlns:a16="http://schemas.microsoft.com/office/drawing/2014/main" id="{27E6479B-159A-2E11-7E58-C46169B3F902}"/>
              </a:ext>
            </a:extLst>
          </p:cNvPr>
          <p:cNvCxnSpPr>
            <a:cxnSpLocks/>
            <a:stCxn id="6" idx="3"/>
            <a:endCxn id="9" idx="1"/>
          </p:cNvCxnSpPr>
          <p:nvPr/>
        </p:nvCxnSpPr>
        <p:spPr>
          <a:xfrm>
            <a:off x="2881977" y="3025050"/>
            <a:ext cx="2247887" cy="682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8597B3D3-DCF7-6A84-8567-65D420B58A37}"/>
              </a:ext>
            </a:extLst>
          </p:cNvPr>
          <p:cNvCxnSpPr>
            <a:cxnSpLocks/>
            <a:stCxn id="8" idx="3"/>
            <a:endCxn id="13" idx="1"/>
          </p:cNvCxnSpPr>
          <p:nvPr/>
        </p:nvCxnSpPr>
        <p:spPr>
          <a:xfrm flipV="1">
            <a:off x="5906313" y="3025050"/>
            <a:ext cx="2205911" cy="6821"/>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1" name="Graphique 30" descr="Clé avec un remplissage uni">
            <a:extLst>
              <a:ext uri="{FF2B5EF4-FFF2-40B4-BE49-F238E27FC236}">
                <a16:creationId xmlns:a16="http://schemas.microsoft.com/office/drawing/2014/main" id="{4E716F3E-A7D9-E0E5-AC91-5CCA92066C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46749" y="2420888"/>
            <a:ext cx="734474" cy="748178"/>
          </a:xfrm>
          <a:prstGeom prst="rect">
            <a:avLst/>
          </a:prstGeom>
          <a:effectLst>
            <a:outerShdw blurRad="50800" dist="38100" dir="2700000" algn="tl" rotWithShape="0">
              <a:prstClr val="black">
                <a:alpha val="40000"/>
              </a:prstClr>
            </a:outerShdw>
          </a:effectLst>
        </p:spPr>
      </p:pic>
      <p:pic>
        <p:nvPicPr>
          <p:cNvPr id="32" name="Graphique 31" descr="Clé avec un remplissage uni">
            <a:extLst>
              <a:ext uri="{FF2B5EF4-FFF2-40B4-BE49-F238E27FC236}">
                <a16:creationId xmlns:a16="http://schemas.microsoft.com/office/drawing/2014/main" id="{B2E0E02C-13BA-DF25-B33F-E3C0572E7D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2031" y="2420888"/>
            <a:ext cx="734474" cy="748178"/>
          </a:xfrm>
          <a:prstGeom prst="rect">
            <a:avLst/>
          </a:prstGeom>
          <a:effectLst>
            <a:outerShdw blurRad="50800" dist="38100" dir="2700000" algn="tl" rotWithShape="0">
              <a:prstClr val="black">
                <a:alpha val="40000"/>
              </a:prstClr>
            </a:outerShdw>
          </a:effectLst>
        </p:spPr>
      </p:pic>
      <p:sp>
        <p:nvSpPr>
          <p:cNvPr id="33" name="Rectangle : carré corné 32">
            <a:extLst>
              <a:ext uri="{FF2B5EF4-FFF2-40B4-BE49-F238E27FC236}">
                <a16:creationId xmlns:a16="http://schemas.microsoft.com/office/drawing/2014/main" id="{8D0970B9-1099-9E5B-86FF-69D2DE677B8A}"/>
              </a:ext>
            </a:extLst>
          </p:cNvPr>
          <p:cNvSpPr/>
          <p:nvPr/>
        </p:nvSpPr>
        <p:spPr>
          <a:xfrm>
            <a:off x="1260902" y="5238191"/>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sp>
        <p:nvSpPr>
          <p:cNvPr id="39" name="Rectangle : carré corné 38">
            <a:extLst>
              <a:ext uri="{FF2B5EF4-FFF2-40B4-BE49-F238E27FC236}">
                <a16:creationId xmlns:a16="http://schemas.microsoft.com/office/drawing/2014/main" id="{DC223013-54BB-AC17-5008-565BF18EB5CA}"/>
              </a:ext>
            </a:extLst>
          </p:cNvPr>
          <p:cNvSpPr/>
          <p:nvPr/>
        </p:nvSpPr>
        <p:spPr>
          <a:xfrm>
            <a:off x="9609507" y="5245013"/>
            <a:ext cx="818425" cy="1064307"/>
          </a:xfrm>
          <a:prstGeom prst="foldedCorner">
            <a:avLst/>
          </a:prstGeom>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algn="ctr"/>
            <a:r>
              <a:rPr lang="fr-FR" sz="700">
                <a:solidFill>
                  <a:schemeClr val="bg1"/>
                </a:solidFill>
              </a:rPr>
              <a:t>Mon message personnel et très confidentiel  que seul BOB doit pouvoir voir</a:t>
            </a:r>
          </a:p>
        </p:txBody>
      </p:sp>
      <p:cxnSp>
        <p:nvCxnSpPr>
          <p:cNvPr id="40" name="Connecteur droit avec flèche 39">
            <a:extLst>
              <a:ext uri="{FF2B5EF4-FFF2-40B4-BE49-F238E27FC236}">
                <a16:creationId xmlns:a16="http://schemas.microsoft.com/office/drawing/2014/main" id="{6BDA723F-6144-904E-FA23-46D401B56F5C}"/>
              </a:ext>
            </a:extLst>
          </p:cNvPr>
          <p:cNvCxnSpPr>
            <a:cxnSpLocks/>
            <a:stCxn id="33" idx="3"/>
            <a:endCxn id="64" idx="1"/>
          </p:cNvCxnSpPr>
          <p:nvPr/>
        </p:nvCxnSpPr>
        <p:spPr>
          <a:xfrm>
            <a:off x="2079327" y="5770345"/>
            <a:ext cx="1885909" cy="6822"/>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2DA2EE5F-BF43-C6D3-2A81-3E9669D1F892}"/>
              </a:ext>
            </a:extLst>
          </p:cNvPr>
          <p:cNvCxnSpPr>
            <a:cxnSpLocks/>
            <a:stCxn id="64" idx="3"/>
            <a:endCxn id="39" idx="1"/>
          </p:cNvCxnSpPr>
          <p:nvPr/>
        </p:nvCxnSpPr>
        <p:spPr>
          <a:xfrm>
            <a:off x="7723599" y="5777167"/>
            <a:ext cx="1885908" cy="0"/>
          </a:xfrm>
          <a:prstGeom prst="straightConnector1">
            <a:avLst/>
          </a:prstGeom>
          <a:ln w="38100">
            <a:solidFill>
              <a:schemeClr val="accent4">
                <a:lumMod val="50000"/>
                <a:lumOff val="5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4" name="ZoneTexte 63">
            <a:extLst>
              <a:ext uri="{FF2B5EF4-FFF2-40B4-BE49-F238E27FC236}">
                <a16:creationId xmlns:a16="http://schemas.microsoft.com/office/drawing/2014/main" id="{85E3DCAB-C8D7-EB78-65D4-F8D5EF88B603}"/>
              </a:ext>
            </a:extLst>
          </p:cNvPr>
          <p:cNvSpPr txBox="1"/>
          <p:nvPr/>
        </p:nvSpPr>
        <p:spPr>
          <a:xfrm>
            <a:off x="3965236" y="5622188"/>
            <a:ext cx="3758363"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ctr">
              <a:spcBef>
                <a:spcPct val="0"/>
              </a:spcBef>
            </a:pPr>
            <a:r>
              <a:rPr lang="fr-FR" sz="1400" b="1">
                <a:solidFill>
                  <a:schemeClr val="bg1"/>
                </a:solidFill>
                <a:latin typeface="Courier New" panose="02070309020205020404" pitchFamily="49" charset="0"/>
                <a:cs typeface="Courier New" panose="02070309020205020404" pitchFamily="49" charset="0"/>
              </a:rPr>
              <a:t>63df5164562040649e802e32b4fea86c</a:t>
            </a:r>
          </a:p>
        </p:txBody>
      </p:sp>
      <p:sp>
        <p:nvSpPr>
          <p:cNvPr id="71" name="ZoneTexte 70">
            <a:extLst>
              <a:ext uri="{FF2B5EF4-FFF2-40B4-BE49-F238E27FC236}">
                <a16:creationId xmlns:a16="http://schemas.microsoft.com/office/drawing/2014/main" id="{F4A73818-E4E5-4DF8-A310-ED68C37D6F4D}"/>
              </a:ext>
            </a:extLst>
          </p:cNvPr>
          <p:cNvSpPr txBox="1"/>
          <p:nvPr/>
        </p:nvSpPr>
        <p:spPr>
          <a:xfrm>
            <a:off x="2758835" y="5389720"/>
            <a:ext cx="526892" cy="309958"/>
          </a:xfrm>
          <a:prstGeom prst="rect">
            <a:avLst/>
          </a:prstGeom>
          <a:solidFill>
            <a:schemeClr val="tx2"/>
          </a:solidFill>
          <a:ln>
            <a:solidFill>
              <a:schemeClr val="bg1"/>
            </a:solidFill>
          </a:ln>
        </p:spPr>
        <p:txBody>
          <a:bodyPr vert="horz" wrap="square" lIns="90000" tIns="46800" rIns="90000" bIns="46800" rtlCol="0" anchor="ctr">
            <a:spAutoFit/>
          </a:bodyPr>
          <a:lstStyle/>
          <a:p>
            <a:pPr algn="ctr">
              <a:spcBef>
                <a:spcPct val="0"/>
              </a:spcBef>
            </a:pPr>
            <a:r>
              <a:rPr lang="fr-FR" sz="1400" b="1">
                <a:solidFill>
                  <a:schemeClr val="bg1"/>
                </a:solidFill>
                <a:latin typeface="Courier New" panose="02070309020205020404" pitchFamily="49" charset="0"/>
                <a:cs typeface="Courier New" panose="02070309020205020404" pitchFamily="49" charset="0"/>
              </a:rPr>
              <a:t>Md5</a:t>
            </a:r>
          </a:p>
        </p:txBody>
      </p:sp>
      <p:sp>
        <p:nvSpPr>
          <p:cNvPr id="74" name="Signe de multiplication 73">
            <a:extLst>
              <a:ext uri="{FF2B5EF4-FFF2-40B4-BE49-F238E27FC236}">
                <a16:creationId xmlns:a16="http://schemas.microsoft.com/office/drawing/2014/main" id="{583D5FDA-AD4B-8DEA-2246-942C5654F974}"/>
              </a:ext>
            </a:extLst>
          </p:cNvPr>
          <p:cNvSpPr/>
          <p:nvPr/>
        </p:nvSpPr>
        <p:spPr>
          <a:xfrm>
            <a:off x="8574409" y="4914448"/>
            <a:ext cx="1853523" cy="1665398"/>
          </a:xfrm>
          <a:prstGeom prst="mathMultiply">
            <a:avLst/>
          </a:prstGeom>
          <a:solidFill>
            <a:srgbClr val="A6001A"/>
          </a:solidFill>
          <a:ln>
            <a:solidFill>
              <a:srgbClr val="FF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800" b="1" err="1">
              <a:solidFill>
                <a:schemeClr val="bg1"/>
              </a:solidFill>
            </a:endParaRPr>
          </a:p>
        </p:txBody>
      </p:sp>
      <p:sp>
        <p:nvSpPr>
          <p:cNvPr id="2" name="ZoneTexte 1">
            <a:extLst>
              <a:ext uri="{FF2B5EF4-FFF2-40B4-BE49-F238E27FC236}">
                <a16:creationId xmlns:a16="http://schemas.microsoft.com/office/drawing/2014/main" id="{90376EBC-E427-81E0-AAE5-8538F07F7131}"/>
              </a:ext>
            </a:extLst>
          </p:cNvPr>
          <p:cNvSpPr txBox="1"/>
          <p:nvPr/>
        </p:nvSpPr>
        <p:spPr>
          <a:xfrm>
            <a:off x="8386898" y="4651747"/>
            <a:ext cx="2228544" cy="525401"/>
          </a:xfrm>
          <a:prstGeom prst="rect">
            <a:avLst/>
          </a:prstGeom>
          <a:noFill/>
        </p:spPr>
        <p:txBody>
          <a:bodyPr vert="horz" wrap="square" lIns="90000" tIns="46800" rIns="90000" bIns="46800" rtlCol="0" anchor="ctr">
            <a:spAutoFit/>
          </a:bodyPr>
          <a:lstStyle/>
          <a:p>
            <a:pPr algn="ctr">
              <a:spcBef>
                <a:spcPct val="0"/>
              </a:spcBef>
            </a:pPr>
            <a:r>
              <a:rPr lang="fr-FR" sz="1400" b="1">
                <a:solidFill>
                  <a:srgbClr val="FF304D"/>
                </a:solidFill>
                <a:effectLst>
                  <a:outerShdw blurRad="38100" dist="38100" dir="2700000" algn="tl">
                    <a:srgbClr val="000000">
                      <a:alpha val="43137"/>
                    </a:srgbClr>
                  </a:outerShdw>
                </a:effectLst>
              </a:rPr>
              <a:t>Un hash ne contient pas la donnée initiale</a:t>
            </a:r>
          </a:p>
        </p:txBody>
      </p:sp>
    </p:spTree>
    <p:extLst>
      <p:ext uri="{BB962C8B-B14F-4D97-AF65-F5344CB8AC3E}">
        <p14:creationId xmlns:p14="http://schemas.microsoft.com/office/powerpoint/2010/main" val="3719828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heme/theme1.xml><?xml version="1.0" encoding="utf-8"?>
<a:theme xmlns:a="http://schemas.openxmlformats.org/drawingml/2006/main" name="Capgemini_2024">
  <a:themeElements>
    <a:clrScheme name="Capgemini">
      <a:dk1>
        <a:sysClr val="windowText" lastClr="000000"/>
      </a:dk1>
      <a:lt1>
        <a:srgbClr val="FFFFFF"/>
      </a:lt1>
      <a:dk2>
        <a:srgbClr val="000000"/>
      </a:dk2>
      <a:lt2>
        <a:srgbClr val="ECECEC"/>
      </a:lt2>
      <a:accent1>
        <a:srgbClr val="0070AD"/>
      </a:accent1>
      <a:accent2>
        <a:srgbClr val="12ABDB"/>
      </a:accent2>
      <a:accent3>
        <a:srgbClr val="14596B"/>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4.pptx" id="{CAED51C0-F65D-4BF6-BF3B-AADDC8FCC7A2}" vid="{4D682C99-A36A-4849-ABF2-97DF139CA549}"/>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11" ma:contentTypeDescription="Create a new document." ma:contentTypeScope="" ma:versionID="3aaf0f9d2064301305610fb2c4a290e0">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2b8266dd3e8c0b66e3d5c70a7635ee51"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Public (Sec 0)</Classification>
  </documentManagement>
</p:properties>
</file>

<file path=customXml/itemProps1.xml><?xml version="1.0" encoding="utf-8"?>
<ds:datastoreItem xmlns:ds="http://schemas.openxmlformats.org/officeDocument/2006/customXml" ds:itemID="{B4AA0B75-F81E-4CBD-8D2B-14583811BDF9}">
  <ds:schemaRefs>
    <ds:schemaRef ds:uri="http://schemas.microsoft.com/sharepoint/v3/contenttype/forms"/>
  </ds:schemaRefs>
</ds:datastoreItem>
</file>

<file path=customXml/itemProps2.xml><?xml version="1.0" encoding="utf-8"?>
<ds:datastoreItem xmlns:ds="http://schemas.openxmlformats.org/officeDocument/2006/customXml" ds:itemID="{C9565FE6-4397-4CDB-BFD3-3E8F9147D792}">
  <ds:schemaRefs>
    <ds:schemaRef ds:uri="83fd27e2-85d6-4e10-9bbd-a3e555ecf21b"/>
    <ds:schemaRef ds:uri="f1122fed-4606-4ec8-90ef-13536176a3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06F49AD-A221-42E1-BFF9-A401606CF2EE}">
  <ds:schemaRefs>
    <ds:schemaRef ds:uri="83fd27e2-85d6-4e10-9bbd-a3e555ecf21b"/>
    <ds:schemaRef ds:uri="f1122fed-4606-4ec8-90ef-13536176a3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 template-Master_2024</Template>
  <Application>Microsoft Office PowerPoint</Application>
  <PresentationFormat>Widescreen</PresentationFormat>
  <Slides>46</Slides>
  <Notes>1</Notes>
  <HiddenSlides>7</HiddenSlides>
  <ScaleCrop>false</ScaleCrop>
  <HeadingPairs>
    <vt:vector size="4" baseType="variant">
      <vt:variant>
        <vt:lpstr>Theme</vt:lpstr>
      </vt:variant>
      <vt:variant>
        <vt:i4>1</vt:i4>
      </vt:variant>
      <vt:variant>
        <vt:lpstr>Slide Titles</vt:lpstr>
      </vt:variant>
      <vt:variant>
        <vt:i4>46</vt:i4>
      </vt:variant>
    </vt:vector>
  </HeadingPairs>
  <TitlesOfParts>
    <vt:vector size="47" baseType="lpstr">
      <vt:lpstr>Capgemini_2024</vt:lpstr>
      <vt:lpstr>Sécurité et certificats</vt:lpstr>
      <vt:lpstr>Programme du jour</vt:lpstr>
      <vt:lpstr>PowerPoint Presentation</vt:lpstr>
      <vt:lpstr>Fonctionnement d’un réseau</vt:lpstr>
      <vt:lpstr>Exemple d’un tracert</vt:lpstr>
      <vt:lpstr>Exemple d’un tracert</vt:lpstr>
      <vt:lpstr>Exemples d’attaques « Man in the Middle »</vt:lpstr>
      <vt:lpstr>La cryptographie dans tout ça </vt:lpstr>
      <vt:lpstr>Deux types d’algorithmes mathématiques</vt:lpstr>
      <vt:lpstr>PowerPoint Presentation</vt:lpstr>
      <vt:lpstr>La cryptographie symétrique</vt:lpstr>
      <vt:lpstr>La cryptographie asymétrique</vt:lpstr>
      <vt:lpstr>La signature</vt:lpstr>
      <vt:lpstr>PowerPoint Presentation</vt:lpstr>
      <vt:lpstr>PowerPoint Presentation</vt:lpstr>
      <vt:lpstr>Problématique initiale</vt:lpstr>
      <vt:lpstr>Le Handshake Protocol expliqué à ma sœur </vt:lpstr>
      <vt:lpstr>Le Handshake Protocol en action</vt:lpstr>
      <vt:lpstr>Comment éviter le Man in the Middle ?</vt:lpstr>
      <vt:lpstr>PowerPoint Presentation</vt:lpstr>
      <vt:lpstr>PowerPoint Presentation</vt:lpstr>
      <vt:lpstr>Un certificat, c’est quoi ?</vt:lpstr>
      <vt:lpstr>Un partenaire de confiance ?</vt:lpstr>
      <vt:lpstr>Les stores</vt:lpstr>
      <vt:lpstr>PowerPoint Presentation</vt:lpstr>
      <vt:lpstr>A l’origine d’une PKI, une AC …</vt:lpstr>
      <vt:lpstr>Revenons à Alice et Bob …</vt:lpstr>
      <vt:lpstr>Revenons à Alice et Bob …</vt:lpstr>
      <vt:lpstr>Les CSR (PKCS#10 pour les intimes)</vt:lpstr>
      <vt:lpstr>Les CSR en image</vt:lpstr>
      <vt:lpstr>PowerPoint Presentation</vt:lpstr>
      <vt:lpstr>Une identification dans les deux sens</vt:lpstr>
      <vt:lpstr>Le Handshake Protocol mTLS en action</vt:lpstr>
      <vt:lpstr>Des détails qui comptes</vt:lpstr>
      <vt:lpstr>PowerPoint Presentation</vt:lpstr>
      <vt:lpstr>Les normes cryptographiques, pourquoi ?</vt:lpstr>
      <vt:lpstr>Les normes PKCS (Public-Key Cryptography Standards)</vt:lpstr>
      <vt:lpstr>PowerPoint Presentation</vt:lpstr>
      <vt:lpstr>About Capgemini  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vt:lpstr>
      <vt:lpstr>Tips Read me and delete me</vt:lpstr>
      <vt:lpstr>Shapes &amp; icons</vt:lpstr>
      <vt:lpstr>Shapes vibrant blue</vt:lpstr>
      <vt:lpstr>Shapes white</vt:lpstr>
      <vt:lpstr>Icons style</vt:lpstr>
      <vt:lpstr>Icons examples</vt:lpstr>
      <vt:lpstr>Icons exampl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écurité et certificats</dc:title>
  <dc:subject/>
  <dc:creator>WANONO, Nathan</dc:creator>
  <cp:keywords/>
  <cp:revision>1</cp:revision>
  <dcterms:created xsi:type="dcterms:W3CDTF">2024-09-10T08:04:14Z</dcterms:created>
  <dcterms:modified xsi:type="dcterms:W3CDTF">2024-09-19T07:53:05Z</dcterms:modified>
  <cp:category>Company confidentie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y fmtid="{D5CDD505-2E9C-101B-9397-08002B2CF9AE}" pid="3" name="MediaServiceImageTags">
    <vt:lpwstr/>
  </property>
</Properties>
</file>